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6"/>
  </p:notesMasterIdLst>
  <p:sldIdLst>
    <p:sldId id="338" r:id="rId5"/>
    <p:sldId id="336" r:id="rId6"/>
    <p:sldId id="335" r:id="rId7"/>
    <p:sldId id="337" r:id="rId8"/>
    <p:sldId id="334" r:id="rId9"/>
    <p:sldId id="333" r:id="rId10"/>
    <p:sldId id="317" r:id="rId11"/>
    <p:sldId id="325" r:id="rId12"/>
    <p:sldId id="332" r:id="rId13"/>
    <p:sldId id="318" r:id="rId14"/>
    <p:sldId id="331"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6504" userDrawn="1">
          <p15:clr>
            <a:srgbClr val="A4A3A4"/>
          </p15:clr>
        </p15:guide>
        <p15:guide id="3" orient="horz" pos="3696" userDrawn="1">
          <p15:clr>
            <a:srgbClr val="A4A3A4"/>
          </p15:clr>
        </p15:guide>
        <p15:guide id="4" orient="horz" pos="196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4054"/>
    <a:srgbClr val="468C8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090DEF-8299-D668-C7BA-692098EBC3A8}" v="12" dt="2023-11-30T07:29:22.020"/>
    <p1510:client id="{2A79FBD0-3E56-4579-8136-68DE0A3A9906}" v="11" dt="2023-11-29T22:43:55.231"/>
    <p1510:client id="{361F6754-FE07-3434-F7A7-F47E245E2EDB}" v="2" dt="2023-11-30T05:59:53.926"/>
    <p1510:client id="{41BE60C5-0939-D24C-BFA8-3B4DA58B0BFA}" v="219" dt="2023-11-30T03:34:20.419"/>
    <p1510:client id="{4583FAE8-4C0B-2BFB-FF44-8B5E35499106}" v="3" dt="2023-11-30T08:56:23.409"/>
    <p1510:client id="{6C298D8D-0568-4C80-B5CE-22346A977EC9}" v="83" dt="2023-11-30T07:48:41.244"/>
    <p1510:client id="{7B7B36AF-0AC1-475F-A517-CB290CFCAA7C}" v="272" dt="2023-11-30T01:07:13.817"/>
    <p1510:client id="{9737249F-8B34-EE7E-E667-F0B8E5C43F2D}" v="8" dt="2023-11-30T02:56:22.071"/>
    <p1510:client id="{CB8AA4FE-AA25-98F9-817A-984CF2F7DE75}" v="29" dt="2023-11-30T07:15:36.644"/>
    <p1510:client id="{CF897A23-5027-224A-838C-C2B794400B6C}" v="85" dt="2023-11-30T21:52:03.591"/>
    <p1510:client id="{CFD45ECC-4478-04F5-FBDF-A03563ABFEEF}" v="152" dt="2023-11-30T07:30:10.805"/>
    <p1510:client id="{D7FCC1F6-292F-8873-B6B1-752C175D6A35}" v="279" dt="2023-11-30T17:18:17.383"/>
    <p1510:client id="{E22FFE1F-0808-E85B-8370-60A564CE2481}" v="71" dt="2023-11-30T08:54:36.826"/>
    <p1510:client id="{F11F6D0C-A876-83B9-E628-A9DFF981F817}" v="32" dt="2023-11-30T17:23:46.884"/>
    <p1510:client id="{F67E5B4C-6FA2-FF6B-AF92-3F228D060E61}" v="225" dt="2023-11-30T07:27:11.0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52"/>
  </p:normalViewPr>
  <p:slideViewPr>
    <p:cSldViewPr snapToGrid="0">
      <p:cViewPr varScale="1">
        <p:scale>
          <a:sx n="76" d="100"/>
          <a:sy n="76" d="100"/>
        </p:scale>
        <p:origin x="216" y="504"/>
      </p:cViewPr>
      <p:guideLst>
        <p:guide pos="6504"/>
        <p:guide orient="horz" pos="3696"/>
        <p:guide orient="horz" pos="19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C5D2A-7B90-4A80-BFF9-68B69E9F1785}"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05496BE5-BF4B-4271-B66A-C96038286088}">
      <dgm:prSet phldrT="[Text]" phldr="0"/>
      <dgm:spPr/>
      <dgm:t>
        <a:bodyPr/>
        <a:lstStyle/>
        <a:p>
          <a:pPr rtl="0"/>
          <a:r>
            <a:rPr lang="en-US">
              <a:latin typeface="Posterama"/>
            </a:rPr>
            <a:t>Dynamic Cancellation Charges System</a:t>
          </a:r>
          <a:endParaRPr lang="en-US"/>
        </a:p>
      </dgm:t>
    </dgm:pt>
    <dgm:pt modelId="{0DA7AFBC-15E6-44D0-87F3-F91F03E5D1A7}" type="parTrans" cxnId="{DFFA4514-A0E6-4D72-8EC9-70D29D920ABD}">
      <dgm:prSet/>
      <dgm:spPr/>
      <dgm:t>
        <a:bodyPr/>
        <a:lstStyle/>
        <a:p>
          <a:endParaRPr lang="en-US"/>
        </a:p>
      </dgm:t>
    </dgm:pt>
    <dgm:pt modelId="{5EAE0E3A-D608-4EF1-90C1-EDCE47346948}" type="sibTrans" cxnId="{DFFA4514-A0E6-4D72-8EC9-70D29D920ABD}">
      <dgm:prSet/>
      <dgm:spPr/>
      <dgm:t>
        <a:bodyPr/>
        <a:lstStyle/>
        <a:p>
          <a:endParaRPr lang="en-US"/>
        </a:p>
      </dgm:t>
    </dgm:pt>
    <dgm:pt modelId="{B21BDC38-4B9F-43DA-AB97-176700312210}">
      <dgm:prSet phldrT="[Text]" phldr="0"/>
      <dgm:spPr/>
      <dgm:t>
        <a:bodyPr/>
        <a:lstStyle/>
        <a:p>
          <a:pPr rtl="0"/>
          <a:r>
            <a:rPr lang="en-US">
              <a:latin typeface="Posterama"/>
            </a:rPr>
            <a:t>Develop system for calculating flexible cancellation charges</a:t>
          </a:r>
          <a:endParaRPr lang="en-US"/>
        </a:p>
      </dgm:t>
    </dgm:pt>
    <dgm:pt modelId="{DA57ECE2-0E20-4B0D-B060-40DAF96004E1}" type="parTrans" cxnId="{A2DDC136-1C9E-45A9-8A7E-5014D0D61994}">
      <dgm:prSet/>
      <dgm:spPr/>
      <dgm:t>
        <a:bodyPr/>
        <a:lstStyle/>
        <a:p>
          <a:endParaRPr lang="en-US"/>
        </a:p>
      </dgm:t>
    </dgm:pt>
    <dgm:pt modelId="{47993FA3-2CBE-4224-B295-C07B4AC274C0}" type="sibTrans" cxnId="{A2DDC136-1C9E-45A9-8A7E-5014D0D61994}">
      <dgm:prSet/>
      <dgm:spPr/>
      <dgm:t>
        <a:bodyPr/>
        <a:lstStyle/>
        <a:p>
          <a:endParaRPr lang="en-US"/>
        </a:p>
      </dgm:t>
    </dgm:pt>
    <dgm:pt modelId="{886FAFA5-0A5A-4D81-AD84-B91220913DE6}">
      <dgm:prSet phldr="0"/>
      <dgm:spPr/>
      <dgm:t>
        <a:bodyPr/>
        <a:lstStyle/>
        <a:p>
          <a:pPr rtl="0"/>
          <a:r>
            <a:rPr lang="en-US" b="0">
              <a:solidFill>
                <a:schemeClr val="bg1"/>
              </a:solidFill>
              <a:latin typeface="Posterama"/>
            </a:rPr>
            <a:t>Identified main drivers like no.of</a:t>
          </a:r>
          <a:r>
            <a:rPr lang="en-US" b="0">
              <a:solidFill>
                <a:schemeClr val="bg1"/>
              </a:solidFill>
            </a:rPr>
            <a:t> </a:t>
          </a:r>
          <a:r>
            <a:rPr lang="en-US" b="0">
              <a:solidFill>
                <a:schemeClr val="bg1"/>
              </a:solidFill>
              <a:latin typeface="Posterama"/>
            </a:rPr>
            <a:t>previous cancellations, lead time, arrival day, market segment, etc</a:t>
          </a:r>
        </a:p>
      </dgm:t>
    </dgm:pt>
    <dgm:pt modelId="{EECE211F-7977-4D65-8F13-1EC86B31B18C}" type="parTrans" cxnId="{AF7793CE-3D7D-4DB6-BD16-6F97C6E3A75E}">
      <dgm:prSet/>
      <dgm:spPr/>
    </dgm:pt>
    <dgm:pt modelId="{887A6266-157E-4DFF-95ED-5B0C6F7A64AF}" type="sibTrans" cxnId="{AF7793CE-3D7D-4DB6-BD16-6F97C6E3A75E}">
      <dgm:prSet/>
      <dgm:spPr/>
    </dgm:pt>
    <dgm:pt modelId="{EB14008B-58F0-4130-ACD1-9842EE3B1361}">
      <dgm:prSet phldr="0"/>
      <dgm:spPr/>
      <dgm:t>
        <a:bodyPr/>
        <a:lstStyle/>
        <a:p>
          <a:pPr rtl="0"/>
          <a:r>
            <a:rPr lang="en-US">
              <a:latin typeface="Posterama"/>
            </a:rPr>
            <a:t>Clearly communicate the policies to the customers</a:t>
          </a:r>
          <a:endParaRPr lang="en-US"/>
        </a:p>
      </dgm:t>
    </dgm:pt>
    <dgm:pt modelId="{885B12ED-F181-4578-9117-BABEC20D5303}" type="parTrans" cxnId="{8DF87ECD-B7C9-45D1-9DA9-9101C57CCF93}">
      <dgm:prSet/>
      <dgm:spPr/>
    </dgm:pt>
    <dgm:pt modelId="{C92929BC-5918-449F-B272-7751097A5865}" type="sibTrans" cxnId="{8DF87ECD-B7C9-45D1-9DA9-9101C57CCF93}">
      <dgm:prSet/>
      <dgm:spPr/>
    </dgm:pt>
    <dgm:pt modelId="{FFFF7259-C227-43BA-8EB0-4B53B6906C0A}" type="pres">
      <dgm:prSet presAssocID="{67CC5D2A-7B90-4A80-BFF9-68B69E9F1785}" presName="theList" presStyleCnt="0">
        <dgm:presLayoutVars>
          <dgm:dir/>
          <dgm:animLvl val="lvl"/>
          <dgm:resizeHandles val="exact"/>
        </dgm:presLayoutVars>
      </dgm:prSet>
      <dgm:spPr/>
    </dgm:pt>
    <dgm:pt modelId="{AE482633-25E7-4FC4-A6F2-596162E7D658}" type="pres">
      <dgm:prSet presAssocID="{05496BE5-BF4B-4271-B66A-C96038286088}" presName="compNode" presStyleCnt="0"/>
      <dgm:spPr/>
    </dgm:pt>
    <dgm:pt modelId="{B71C191D-61DF-464B-AD19-ED8532223121}" type="pres">
      <dgm:prSet presAssocID="{05496BE5-BF4B-4271-B66A-C96038286088}" presName="aNode" presStyleLbl="bgShp" presStyleIdx="0" presStyleCnt="1"/>
      <dgm:spPr/>
    </dgm:pt>
    <dgm:pt modelId="{CEDB26C1-E183-47D9-852F-0228ACF48F90}" type="pres">
      <dgm:prSet presAssocID="{05496BE5-BF4B-4271-B66A-C96038286088}" presName="textNode" presStyleLbl="bgShp" presStyleIdx="0" presStyleCnt="1"/>
      <dgm:spPr/>
    </dgm:pt>
    <dgm:pt modelId="{390E926B-116E-4E33-A233-2292017FDC68}" type="pres">
      <dgm:prSet presAssocID="{05496BE5-BF4B-4271-B66A-C96038286088}" presName="compChildNode" presStyleCnt="0"/>
      <dgm:spPr/>
    </dgm:pt>
    <dgm:pt modelId="{2DAA4AEA-4C2E-4072-A88A-6FA57EF56684}" type="pres">
      <dgm:prSet presAssocID="{05496BE5-BF4B-4271-B66A-C96038286088}" presName="theInnerList" presStyleCnt="0"/>
      <dgm:spPr/>
    </dgm:pt>
    <dgm:pt modelId="{713F0F21-1B35-49CF-9CC9-F8CE5A59DB4C}" type="pres">
      <dgm:prSet presAssocID="{886FAFA5-0A5A-4D81-AD84-B91220913DE6}" presName="childNode" presStyleLbl="node1" presStyleIdx="0" presStyleCnt="3">
        <dgm:presLayoutVars>
          <dgm:bulletEnabled val="1"/>
        </dgm:presLayoutVars>
      </dgm:prSet>
      <dgm:spPr/>
    </dgm:pt>
    <dgm:pt modelId="{AEACC6E3-B669-41CD-96A1-297DA9E0CB72}" type="pres">
      <dgm:prSet presAssocID="{886FAFA5-0A5A-4D81-AD84-B91220913DE6}" presName="aSpace2" presStyleCnt="0"/>
      <dgm:spPr/>
    </dgm:pt>
    <dgm:pt modelId="{F9D35211-8720-430D-AF93-FB967EC65D83}" type="pres">
      <dgm:prSet presAssocID="{B21BDC38-4B9F-43DA-AB97-176700312210}" presName="childNode" presStyleLbl="node1" presStyleIdx="1" presStyleCnt="3">
        <dgm:presLayoutVars>
          <dgm:bulletEnabled val="1"/>
        </dgm:presLayoutVars>
      </dgm:prSet>
      <dgm:spPr/>
    </dgm:pt>
    <dgm:pt modelId="{0E9D07A7-D4DF-43A2-B5F0-B2B64D3741CD}" type="pres">
      <dgm:prSet presAssocID="{B21BDC38-4B9F-43DA-AB97-176700312210}" presName="aSpace2" presStyleCnt="0"/>
      <dgm:spPr/>
    </dgm:pt>
    <dgm:pt modelId="{AB040F71-8E0D-4C55-A46F-51A2F54D7E7F}" type="pres">
      <dgm:prSet presAssocID="{EB14008B-58F0-4130-ACD1-9842EE3B1361}" presName="childNode" presStyleLbl="node1" presStyleIdx="2" presStyleCnt="3">
        <dgm:presLayoutVars>
          <dgm:bulletEnabled val="1"/>
        </dgm:presLayoutVars>
      </dgm:prSet>
      <dgm:spPr/>
    </dgm:pt>
  </dgm:ptLst>
  <dgm:cxnLst>
    <dgm:cxn modelId="{FE36A603-D02F-4262-9FDC-95E3FFDDAF96}" type="presOf" srcId="{EB14008B-58F0-4130-ACD1-9842EE3B1361}" destId="{AB040F71-8E0D-4C55-A46F-51A2F54D7E7F}" srcOrd="0" destOrd="0" presId="urn:microsoft.com/office/officeart/2005/8/layout/lProcess2"/>
    <dgm:cxn modelId="{DFFA4514-A0E6-4D72-8EC9-70D29D920ABD}" srcId="{67CC5D2A-7B90-4A80-BFF9-68B69E9F1785}" destId="{05496BE5-BF4B-4271-B66A-C96038286088}" srcOrd="0" destOrd="0" parTransId="{0DA7AFBC-15E6-44D0-87F3-F91F03E5D1A7}" sibTransId="{5EAE0E3A-D608-4EF1-90C1-EDCE47346948}"/>
    <dgm:cxn modelId="{A2DDC136-1C9E-45A9-8A7E-5014D0D61994}" srcId="{05496BE5-BF4B-4271-B66A-C96038286088}" destId="{B21BDC38-4B9F-43DA-AB97-176700312210}" srcOrd="1" destOrd="0" parTransId="{DA57ECE2-0E20-4B0D-B060-40DAF96004E1}" sibTransId="{47993FA3-2CBE-4224-B295-C07B4AC274C0}"/>
    <dgm:cxn modelId="{C4EEA93F-1D59-490B-894F-5920DC79601E}" type="presOf" srcId="{67CC5D2A-7B90-4A80-BFF9-68B69E9F1785}" destId="{FFFF7259-C227-43BA-8EB0-4B53B6906C0A}" srcOrd="0" destOrd="0" presId="urn:microsoft.com/office/officeart/2005/8/layout/lProcess2"/>
    <dgm:cxn modelId="{C9E0C848-2E82-47D5-920B-BBA1B130ACBE}" type="presOf" srcId="{05496BE5-BF4B-4271-B66A-C96038286088}" destId="{B71C191D-61DF-464B-AD19-ED8532223121}" srcOrd="0" destOrd="0" presId="urn:microsoft.com/office/officeart/2005/8/layout/lProcess2"/>
    <dgm:cxn modelId="{C6D5EBC9-F287-4BD7-AFE5-2F224C0E710E}" type="presOf" srcId="{B21BDC38-4B9F-43DA-AB97-176700312210}" destId="{F9D35211-8720-430D-AF93-FB967EC65D83}" srcOrd="0" destOrd="0" presId="urn:microsoft.com/office/officeart/2005/8/layout/lProcess2"/>
    <dgm:cxn modelId="{8DF87ECD-B7C9-45D1-9DA9-9101C57CCF93}" srcId="{05496BE5-BF4B-4271-B66A-C96038286088}" destId="{EB14008B-58F0-4130-ACD1-9842EE3B1361}" srcOrd="2" destOrd="0" parTransId="{885B12ED-F181-4578-9117-BABEC20D5303}" sibTransId="{C92929BC-5918-449F-B272-7751097A5865}"/>
    <dgm:cxn modelId="{AF7793CE-3D7D-4DB6-BD16-6F97C6E3A75E}" srcId="{05496BE5-BF4B-4271-B66A-C96038286088}" destId="{886FAFA5-0A5A-4D81-AD84-B91220913DE6}" srcOrd="0" destOrd="0" parTransId="{EECE211F-7977-4D65-8F13-1EC86B31B18C}" sibTransId="{887A6266-157E-4DFF-95ED-5B0C6F7A64AF}"/>
    <dgm:cxn modelId="{1D4AC6EC-C628-46B3-B995-D7F9E3FFB35B}" type="presOf" srcId="{886FAFA5-0A5A-4D81-AD84-B91220913DE6}" destId="{713F0F21-1B35-49CF-9CC9-F8CE5A59DB4C}" srcOrd="0" destOrd="0" presId="urn:microsoft.com/office/officeart/2005/8/layout/lProcess2"/>
    <dgm:cxn modelId="{0D78EEFB-21F1-4DE0-9043-C2EC4512AF75}" type="presOf" srcId="{05496BE5-BF4B-4271-B66A-C96038286088}" destId="{CEDB26C1-E183-47D9-852F-0228ACF48F90}" srcOrd="1" destOrd="0" presId="urn:microsoft.com/office/officeart/2005/8/layout/lProcess2"/>
    <dgm:cxn modelId="{5510CEA5-8DC9-4D67-941F-BAE59AFB4FE1}" type="presParOf" srcId="{FFFF7259-C227-43BA-8EB0-4B53B6906C0A}" destId="{AE482633-25E7-4FC4-A6F2-596162E7D658}" srcOrd="0" destOrd="0" presId="urn:microsoft.com/office/officeart/2005/8/layout/lProcess2"/>
    <dgm:cxn modelId="{CF8FE0D7-C681-4E24-9C76-0069B3DE2B8D}" type="presParOf" srcId="{AE482633-25E7-4FC4-A6F2-596162E7D658}" destId="{B71C191D-61DF-464B-AD19-ED8532223121}" srcOrd="0" destOrd="0" presId="urn:microsoft.com/office/officeart/2005/8/layout/lProcess2"/>
    <dgm:cxn modelId="{E87294C5-7A7B-46A4-A02B-765786E0BF86}" type="presParOf" srcId="{AE482633-25E7-4FC4-A6F2-596162E7D658}" destId="{CEDB26C1-E183-47D9-852F-0228ACF48F90}" srcOrd="1" destOrd="0" presId="urn:microsoft.com/office/officeart/2005/8/layout/lProcess2"/>
    <dgm:cxn modelId="{728CEE6A-8318-47DC-AAE4-01C135D12234}" type="presParOf" srcId="{AE482633-25E7-4FC4-A6F2-596162E7D658}" destId="{390E926B-116E-4E33-A233-2292017FDC68}" srcOrd="2" destOrd="0" presId="urn:microsoft.com/office/officeart/2005/8/layout/lProcess2"/>
    <dgm:cxn modelId="{8A688CE3-FDEF-4C8D-971E-F611F28B1CD9}" type="presParOf" srcId="{390E926B-116E-4E33-A233-2292017FDC68}" destId="{2DAA4AEA-4C2E-4072-A88A-6FA57EF56684}" srcOrd="0" destOrd="0" presId="urn:microsoft.com/office/officeart/2005/8/layout/lProcess2"/>
    <dgm:cxn modelId="{1A98ECAE-7DD3-4AD3-AA70-FA3887D7C43C}" type="presParOf" srcId="{2DAA4AEA-4C2E-4072-A88A-6FA57EF56684}" destId="{713F0F21-1B35-49CF-9CC9-F8CE5A59DB4C}" srcOrd="0" destOrd="0" presId="urn:microsoft.com/office/officeart/2005/8/layout/lProcess2"/>
    <dgm:cxn modelId="{416EEFE5-A151-4746-AF18-C8E0392CCAA4}" type="presParOf" srcId="{2DAA4AEA-4C2E-4072-A88A-6FA57EF56684}" destId="{AEACC6E3-B669-41CD-96A1-297DA9E0CB72}" srcOrd="1" destOrd="0" presId="urn:microsoft.com/office/officeart/2005/8/layout/lProcess2"/>
    <dgm:cxn modelId="{AF3829D6-CF76-45EB-9C24-49F81BFF24D2}" type="presParOf" srcId="{2DAA4AEA-4C2E-4072-A88A-6FA57EF56684}" destId="{F9D35211-8720-430D-AF93-FB967EC65D83}" srcOrd="2" destOrd="0" presId="urn:microsoft.com/office/officeart/2005/8/layout/lProcess2"/>
    <dgm:cxn modelId="{C978F770-80B0-4807-9CB1-5DFAA6E1C34C}" type="presParOf" srcId="{2DAA4AEA-4C2E-4072-A88A-6FA57EF56684}" destId="{0E9D07A7-D4DF-43A2-B5F0-B2B64D3741CD}" srcOrd="3" destOrd="0" presId="urn:microsoft.com/office/officeart/2005/8/layout/lProcess2"/>
    <dgm:cxn modelId="{E479C85F-5E57-427A-8D19-EF412A8FF178}" type="presParOf" srcId="{2DAA4AEA-4C2E-4072-A88A-6FA57EF56684}" destId="{AB040F71-8E0D-4C55-A46F-51A2F54D7E7F}"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C52CEF-7318-4EC4-9126-D85B2F5BC4CC}"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6501164D-07CA-406A-A79F-E157C27F5F13}">
      <dgm:prSet phldrT="[Text]" phldr="0"/>
      <dgm:spPr/>
      <dgm:t>
        <a:bodyPr/>
        <a:lstStyle/>
        <a:p>
          <a:pPr rtl="0"/>
          <a:r>
            <a:rPr lang="en-US" b="0">
              <a:latin typeface="Posterama"/>
            </a:rPr>
            <a:t>Personalised Customer Experience</a:t>
          </a:r>
          <a:endParaRPr lang="en-US" b="0"/>
        </a:p>
      </dgm:t>
    </dgm:pt>
    <dgm:pt modelId="{AE208CF5-6C12-40E6-ADC5-980C84DAB297}" type="parTrans" cxnId="{4B354AC1-8DF2-4F73-8407-EE127A4BE53C}">
      <dgm:prSet/>
      <dgm:spPr/>
      <dgm:t>
        <a:bodyPr/>
        <a:lstStyle/>
        <a:p>
          <a:endParaRPr lang="en-US"/>
        </a:p>
      </dgm:t>
    </dgm:pt>
    <dgm:pt modelId="{7B406299-FBF6-479D-AD32-BBB98012A79D}" type="sibTrans" cxnId="{4B354AC1-8DF2-4F73-8407-EE127A4BE53C}">
      <dgm:prSet/>
      <dgm:spPr/>
      <dgm:t>
        <a:bodyPr/>
        <a:lstStyle/>
        <a:p>
          <a:endParaRPr lang="en-US"/>
        </a:p>
      </dgm:t>
    </dgm:pt>
    <dgm:pt modelId="{69CA33FE-6173-4EF2-9640-87D031E80177}">
      <dgm:prSet phldrT="[Text]" phldr="0"/>
      <dgm:spPr/>
      <dgm:t>
        <a:bodyPr/>
        <a:lstStyle/>
        <a:p>
          <a:pPr rtl="0"/>
          <a:r>
            <a:rPr lang="en-US">
              <a:latin typeface="Posterama"/>
            </a:rPr>
            <a:t> Create customised offers or packages</a:t>
          </a:r>
        </a:p>
      </dgm:t>
    </dgm:pt>
    <dgm:pt modelId="{B81222F2-9408-42BE-B403-549ED6940610}" type="parTrans" cxnId="{AB9C89D9-C9A3-478E-8211-F8BEE786BC65}">
      <dgm:prSet/>
      <dgm:spPr/>
      <dgm:t>
        <a:bodyPr/>
        <a:lstStyle/>
        <a:p>
          <a:endParaRPr lang="en-US"/>
        </a:p>
      </dgm:t>
    </dgm:pt>
    <dgm:pt modelId="{DFB2CD7E-A7E3-4A98-B1FB-F27F22548BEE}" type="sibTrans" cxnId="{AB9C89D9-C9A3-478E-8211-F8BEE786BC65}">
      <dgm:prSet/>
      <dgm:spPr/>
      <dgm:t>
        <a:bodyPr/>
        <a:lstStyle/>
        <a:p>
          <a:endParaRPr lang="en-US"/>
        </a:p>
      </dgm:t>
    </dgm:pt>
    <dgm:pt modelId="{28B2A3AB-F7A7-48A9-8743-722D800983E9}">
      <dgm:prSet phldrT="[Text]" phldr="0"/>
      <dgm:spPr/>
      <dgm:t>
        <a:bodyPr/>
        <a:lstStyle/>
        <a:p>
          <a:r>
            <a:rPr lang="en-US">
              <a:latin typeface="Posterama"/>
            </a:rPr>
            <a:t>Exclusive perks for loyal customers </a:t>
          </a:r>
          <a:endParaRPr lang="en-US"/>
        </a:p>
      </dgm:t>
    </dgm:pt>
    <dgm:pt modelId="{00D8E513-9BB6-4026-AB1A-8724F03A1494}" type="parTrans" cxnId="{281F0173-4258-417A-BE07-8AAE82924AA5}">
      <dgm:prSet/>
      <dgm:spPr/>
      <dgm:t>
        <a:bodyPr/>
        <a:lstStyle/>
        <a:p>
          <a:endParaRPr lang="en-US"/>
        </a:p>
      </dgm:t>
    </dgm:pt>
    <dgm:pt modelId="{54B2064D-3923-4DBF-AFF9-1BB13E79F5C7}" type="sibTrans" cxnId="{281F0173-4258-417A-BE07-8AAE82924AA5}">
      <dgm:prSet/>
      <dgm:spPr/>
      <dgm:t>
        <a:bodyPr/>
        <a:lstStyle/>
        <a:p>
          <a:endParaRPr lang="en-US"/>
        </a:p>
      </dgm:t>
    </dgm:pt>
    <dgm:pt modelId="{3C3BCA52-3CDF-4B05-984C-6C70BE9889F8}">
      <dgm:prSet phldrT="[Text]" phldr="0"/>
      <dgm:spPr/>
      <dgm:t>
        <a:bodyPr/>
        <a:lstStyle/>
        <a:p>
          <a:pPr rtl="0"/>
          <a:r>
            <a:rPr lang="en-US">
              <a:latin typeface="Posterama"/>
            </a:rPr>
            <a:t>Advertising &amp; Sales Promotions</a:t>
          </a:r>
          <a:endParaRPr lang="en-US"/>
        </a:p>
      </dgm:t>
    </dgm:pt>
    <dgm:pt modelId="{3C242CB1-E2B7-4306-9BDE-0FA93958CA24}" type="parTrans" cxnId="{160B07CC-0F39-43C9-885A-A369BFFB17E0}">
      <dgm:prSet/>
      <dgm:spPr/>
      <dgm:t>
        <a:bodyPr/>
        <a:lstStyle/>
        <a:p>
          <a:endParaRPr lang="en-US"/>
        </a:p>
      </dgm:t>
    </dgm:pt>
    <dgm:pt modelId="{2D916401-61CF-47DB-B6E9-C61FC3BE670E}" type="sibTrans" cxnId="{160B07CC-0F39-43C9-885A-A369BFFB17E0}">
      <dgm:prSet/>
      <dgm:spPr/>
      <dgm:t>
        <a:bodyPr/>
        <a:lstStyle/>
        <a:p>
          <a:endParaRPr lang="en-US"/>
        </a:p>
      </dgm:t>
    </dgm:pt>
    <dgm:pt modelId="{92DDD6D6-976D-4833-ACB9-D4A643A34833}">
      <dgm:prSet phldrT="[Text]" phldr="0"/>
      <dgm:spPr/>
      <dgm:t>
        <a:bodyPr/>
        <a:lstStyle/>
        <a:p>
          <a:pPr rtl="0"/>
          <a:r>
            <a:rPr lang="en-US">
              <a:latin typeface="Posterama"/>
            </a:rPr>
            <a:t>Boost offline market segment by advertising at gas stations, grocery stores, </a:t>
          </a:r>
          <a:r>
            <a:rPr lang="en-US" err="1">
              <a:latin typeface="Posterama"/>
            </a:rPr>
            <a:t>etc</a:t>
          </a:r>
          <a:endParaRPr lang="en-US"/>
        </a:p>
      </dgm:t>
    </dgm:pt>
    <dgm:pt modelId="{31CADE6E-997D-4BAC-9892-D031290406FC}" type="parTrans" cxnId="{86740476-A563-4FE5-97FE-1DFB0621EA12}">
      <dgm:prSet/>
      <dgm:spPr/>
      <dgm:t>
        <a:bodyPr/>
        <a:lstStyle/>
        <a:p>
          <a:endParaRPr lang="en-US"/>
        </a:p>
      </dgm:t>
    </dgm:pt>
    <dgm:pt modelId="{7CEA26C8-607C-44A8-99C2-FF3C2192B35B}" type="sibTrans" cxnId="{86740476-A563-4FE5-97FE-1DFB0621EA12}">
      <dgm:prSet/>
      <dgm:spPr/>
      <dgm:t>
        <a:bodyPr/>
        <a:lstStyle/>
        <a:p>
          <a:endParaRPr lang="en-US"/>
        </a:p>
      </dgm:t>
    </dgm:pt>
    <dgm:pt modelId="{9D4C0707-3BDD-4A2F-9629-3D877E78639B}">
      <dgm:prSet phldr="0"/>
      <dgm:spPr/>
      <dgm:t>
        <a:bodyPr/>
        <a:lstStyle/>
        <a:p>
          <a:r>
            <a:rPr lang="en-US">
              <a:latin typeface="Posterama"/>
            </a:rPr>
            <a:t>Loyalty Programs</a:t>
          </a:r>
          <a:endParaRPr lang="en-US"/>
        </a:p>
      </dgm:t>
    </dgm:pt>
    <dgm:pt modelId="{CEFFF41A-3CCA-4474-B20E-482353407508}" type="parTrans" cxnId="{DF8FAFDD-EAFB-4832-98AA-A74D057EFB76}">
      <dgm:prSet/>
      <dgm:spPr/>
    </dgm:pt>
    <dgm:pt modelId="{FC3BE531-0777-4283-8D73-BD3C66844B46}" type="sibTrans" cxnId="{DF8FAFDD-EAFB-4832-98AA-A74D057EFB76}">
      <dgm:prSet/>
      <dgm:spPr/>
    </dgm:pt>
    <dgm:pt modelId="{40CD49C4-7B74-4A9A-B645-CCC77C8981C1}">
      <dgm:prSet phldr="0"/>
      <dgm:spPr/>
      <dgm:t>
        <a:bodyPr/>
        <a:lstStyle/>
        <a:p>
          <a:pPr rtl="0"/>
          <a:r>
            <a:rPr lang="en-US">
              <a:latin typeface="Posterama"/>
            </a:rPr>
            <a:t>Incentives for direct bookings</a:t>
          </a:r>
          <a:endParaRPr lang="en-US"/>
        </a:p>
      </dgm:t>
    </dgm:pt>
    <dgm:pt modelId="{19A67B80-D72B-484F-AE61-85F99E2D4577}" type="parTrans" cxnId="{C9B7A0BC-AE1E-4DB4-9C96-B3CCDA6FB91E}">
      <dgm:prSet/>
      <dgm:spPr/>
    </dgm:pt>
    <dgm:pt modelId="{3453E700-FE08-485A-B21B-290E9F9799A8}" type="sibTrans" cxnId="{C9B7A0BC-AE1E-4DB4-9C96-B3CCDA6FB91E}">
      <dgm:prSet/>
      <dgm:spPr/>
    </dgm:pt>
    <dgm:pt modelId="{D74B0F0F-1AF2-405D-9661-D8B6896FED0D}">
      <dgm:prSet phldr="0"/>
      <dgm:spPr/>
      <dgm:t>
        <a:bodyPr/>
        <a:lstStyle/>
        <a:p>
          <a:pPr rtl="0"/>
          <a:r>
            <a:rPr lang="en-US">
              <a:latin typeface="Posterama"/>
            </a:rPr>
            <a:t>Establish a tiered loyalty program</a:t>
          </a:r>
        </a:p>
      </dgm:t>
    </dgm:pt>
    <dgm:pt modelId="{6E1B7B4F-8ED3-4E40-A081-8D4426762017}" type="parTrans" cxnId="{792B087A-76B0-419C-ABDD-7B37292444DF}">
      <dgm:prSet/>
      <dgm:spPr/>
    </dgm:pt>
    <dgm:pt modelId="{956C5AAE-8780-47A5-91DD-74EF57780654}" type="sibTrans" cxnId="{792B087A-76B0-419C-ABDD-7B37292444DF}">
      <dgm:prSet/>
      <dgm:spPr/>
    </dgm:pt>
    <dgm:pt modelId="{F33421C4-8675-46BC-8534-C64B9E86921F}">
      <dgm:prSet phldr="0"/>
      <dgm:spPr/>
      <dgm:t>
        <a:bodyPr/>
        <a:lstStyle/>
        <a:p>
          <a:pPr rtl="0"/>
          <a:r>
            <a:rPr lang="en-US">
              <a:latin typeface="Posterama"/>
            </a:rPr>
            <a:t>Implement customer relationship system to track preferences</a:t>
          </a:r>
          <a:endParaRPr lang="en-US"/>
        </a:p>
      </dgm:t>
    </dgm:pt>
    <dgm:pt modelId="{820047D0-CEB4-478E-8472-30939B0F3867}" type="parTrans" cxnId="{3725EDC5-C5A9-41D9-8672-46928789DCE9}">
      <dgm:prSet/>
      <dgm:spPr/>
    </dgm:pt>
    <dgm:pt modelId="{3E2C4C58-EB29-46CE-8640-06A71861B449}" type="sibTrans" cxnId="{3725EDC5-C5A9-41D9-8672-46928789DCE9}">
      <dgm:prSet/>
      <dgm:spPr/>
    </dgm:pt>
    <dgm:pt modelId="{5EDFFF0D-369E-4246-8D10-E3B5C221B079}">
      <dgm:prSet phldr="0"/>
      <dgm:spPr/>
      <dgm:t>
        <a:bodyPr/>
        <a:lstStyle/>
        <a:p>
          <a:pPr rtl="0"/>
          <a:r>
            <a:rPr lang="en-US">
              <a:latin typeface="Posterama"/>
            </a:rPr>
            <a:t>Showcase testimonials of positive guest experience</a:t>
          </a:r>
        </a:p>
      </dgm:t>
    </dgm:pt>
    <dgm:pt modelId="{886F4C85-7067-4B79-B3FD-F88CE6BA6C19}" type="parTrans" cxnId="{C73356FB-2CF3-4B58-9094-7A4832BE38D1}">
      <dgm:prSet/>
      <dgm:spPr/>
    </dgm:pt>
    <dgm:pt modelId="{0F946643-6398-45CA-8118-F5F74AB3482B}" type="sibTrans" cxnId="{C73356FB-2CF3-4B58-9094-7A4832BE38D1}">
      <dgm:prSet/>
      <dgm:spPr/>
    </dgm:pt>
    <dgm:pt modelId="{DBA3C957-0E1F-4FB0-A15A-CC01483A45D8}">
      <dgm:prSet phldr="0"/>
      <dgm:spPr/>
      <dgm:t>
        <a:bodyPr/>
        <a:lstStyle/>
        <a:p>
          <a:pPr rtl="0"/>
          <a:r>
            <a:rPr lang="en-US">
              <a:latin typeface="Posterama"/>
            </a:rPr>
            <a:t>Use targeted online advertising platforms like Google </a:t>
          </a:r>
        </a:p>
      </dgm:t>
    </dgm:pt>
    <dgm:pt modelId="{0AA95362-748B-41F3-A9B0-AE766DB3CFE7}" type="parTrans" cxnId="{FF233420-BF17-4318-85D6-F6104A05C890}">
      <dgm:prSet/>
      <dgm:spPr/>
    </dgm:pt>
    <dgm:pt modelId="{46F35879-BF26-41F9-9E0D-71E627E330C3}" type="sibTrans" cxnId="{FF233420-BF17-4318-85D6-F6104A05C890}">
      <dgm:prSet/>
      <dgm:spPr/>
    </dgm:pt>
    <dgm:pt modelId="{58A8C4F8-E1F4-4AB5-8BAC-A90325333852}" type="pres">
      <dgm:prSet presAssocID="{A0C52CEF-7318-4EC4-9126-D85B2F5BC4CC}" presName="theList" presStyleCnt="0">
        <dgm:presLayoutVars>
          <dgm:dir/>
          <dgm:animLvl val="lvl"/>
          <dgm:resizeHandles val="exact"/>
        </dgm:presLayoutVars>
      </dgm:prSet>
      <dgm:spPr/>
    </dgm:pt>
    <dgm:pt modelId="{2E19AD01-384F-4C37-BCAA-399F5D0434FF}" type="pres">
      <dgm:prSet presAssocID="{6501164D-07CA-406A-A79F-E157C27F5F13}" presName="compNode" presStyleCnt="0"/>
      <dgm:spPr/>
    </dgm:pt>
    <dgm:pt modelId="{CAA822A0-F3B0-42C6-B89B-8B033A2DD3D7}" type="pres">
      <dgm:prSet presAssocID="{6501164D-07CA-406A-A79F-E157C27F5F13}" presName="aNode" presStyleLbl="bgShp" presStyleIdx="0" presStyleCnt="3"/>
      <dgm:spPr/>
    </dgm:pt>
    <dgm:pt modelId="{09EF326C-5DEA-457A-9199-3239FD132276}" type="pres">
      <dgm:prSet presAssocID="{6501164D-07CA-406A-A79F-E157C27F5F13}" presName="textNode" presStyleLbl="bgShp" presStyleIdx="0" presStyleCnt="3"/>
      <dgm:spPr/>
    </dgm:pt>
    <dgm:pt modelId="{8FE7BDED-C105-4D2D-89BD-1367CDEB5051}" type="pres">
      <dgm:prSet presAssocID="{6501164D-07CA-406A-A79F-E157C27F5F13}" presName="compChildNode" presStyleCnt="0"/>
      <dgm:spPr/>
    </dgm:pt>
    <dgm:pt modelId="{31B02753-B92D-48A1-A884-1B3A77D61171}" type="pres">
      <dgm:prSet presAssocID="{6501164D-07CA-406A-A79F-E157C27F5F13}" presName="theInnerList" presStyleCnt="0"/>
      <dgm:spPr/>
    </dgm:pt>
    <dgm:pt modelId="{43013126-0DA4-4434-93B8-2623A09C0BA4}" type="pres">
      <dgm:prSet presAssocID="{69CA33FE-6173-4EF2-9640-87D031E80177}" presName="childNode" presStyleLbl="node1" presStyleIdx="0" presStyleCnt="8">
        <dgm:presLayoutVars>
          <dgm:bulletEnabled val="1"/>
        </dgm:presLayoutVars>
      </dgm:prSet>
      <dgm:spPr/>
    </dgm:pt>
    <dgm:pt modelId="{0AFAF0B9-7F2F-4ACA-A908-FB30DA3EB3B4}" type="pres">
      <dgm:prSet presAssocID="{69CA33FE-6173-4EF2-9640-87D031E80177}" presName="aSpace2" presStyleCnt="0"/>
      <dgm:spPr/>
    </dgm:pt>
    <dgm:pt modelId="{31A2CF45-A722-4534-BB98-D04691E3E22C}" type="pres">
      <dgm:prSet presAssocID="{F33421C4-8675-46BC-8534-C64B9E86921F}" presName="childNode" presStyleLbl="node1" presStyleIdx="1" presStyleCnt="8">
        <dgm:presLayoutVars>
          <dgm:bulletEnabled val="1"/>
        </dgm:presLayoutVars>
      </dgm:prSet>
      <dgm:spPr/>
    </dgm:pt>
    <dgm:pt modelId="{0D79095D-88F7-437A-A9B4-E8ADEA24753F}" type="pres">
      <dgm:prSet presAssocID="{F33421C4-8675-46BC-8534-C64B9E86921F}" presName="aSpace2" presStyleCnt="0"/>
      <dgm:spPr/>
    </dgm:pt>
    <dgm:pt modelId="{505D7B5C-C2E2-4B84-ADA8-EEEF1114B15D}" type="pres">
      <dgm:prSet presAssocID="{5EDFFF0D-369E-4246-8D10-E3B5C221B079}" presName="childNode" presStyleLbl="node1" presStyleIdx="2" presStyleCnt="8">
        <dgm:presLayoutVars>
          <dgm:bulletEnabled val="1"/>
        </dgm:presLayoutVars>
      </dgm:prSet>
      <dgm:spPr/>
    </dgm:pt>
    <dgm:pt modelId="{28E2817C-A661-4F64-BE1B-37E54B6B90F9}" type="pres">
      <dgm:prSet presAssocID="{6501164D-07CA-406A-A79F-E157C27F5F13}" presName="aSpace" presStyleCnt="0"/>
      <dgm:spPr/>
    </dgm:pt>
    <dgm:pt modelId="{522141C1-613B-441C-9A1D-9E7101F6DF4E}" type="pres">
      <dgm:prSet presAssocID="{9D4C0707-3BDD-4A2F-9629-3D877E78639B}" presName="compNode" presStyleCnt="0"/>
      <dgm:spPr/>
    </dgm:pt>
    <dgm:pt modelId="{C3FDC35D-3647-4592-B54B-A7F3FDE06557}" type="pres">
      <dgm:prSet presAssocID="{9D4C0707-3BDD-4A2F-9629-3D877E78639B}" presName="aNode" presStyleLbl="bgShp" presStyleIdx="1" presStyleCnt="3"/>
      <dgm:spPr/>
    </dgm:pt>
    <dgm:pt modelId="{BF48D447-3548-4EC8-B38D-8BA85047BFBF}" type="pres">
      <dgm:prSet presAssocID="{9D4C0707-3BDD-4A2F-9629-3D877E78639B}" presName="textNode" presStyleLbl="bgShp" presStyleIdx="1" presStyleCnt="3"/>
      <dgm:spPr/>
    </dgm:pt>
    <dgm:pt modelId="{8F8E317C-A9DA-4329-9D1C-BC295D1A6CBC}" type="pres">
      <dgm:prSet presAssocID="{9D4C0707-3BDD-4A2F-9629-3D877E78639B}" presName="compChildNode" presStyleCnt="0"/>
      <dgm:spPr/>
    </dgm:pt>
    <dgm:pt modelId="{68081A33-D8D7-4AAA-9F51-289A50519453}" type="pres">
      <dgm:prSet presAssocID="{9D4C0707-3BDD-4A2F-9629-3D877E78639B}" presName="theInnerList" presStyleCnt="0"/>
      <dgm:spPr/>
    </dgm:pt>
    <dgm:pt modelId="{5D8E9F09-5959-40D6-9CB2-31575E6D8E4A}" type="pres">
      <dgm:prSet presAssocID="{D74B0F0F-1AF2-405D-9661-D8B6896FED0D}" presName="childNode" presStyleLbl="node1" presStyleIdx="3" presStyleCnt="8">
        <dgm:presLayoutVars>
          <dgm:bulletEnabled val="1"/>
        </dgm:presLayoutVars>
      </dgm:prSet>
      <dgm:spPr/>
    </dgm:pt>
    <dgm:pt modelId="{4396F667-DCDC-474D-9026-442A373B68A3}" type="pres">
      <dgm:prSet presAssocID="{D74B0F0F-1AF2-405D-9661-D8B6896FED0D}" presName="aSpace2" presStyleCnt="0"/>
      <dgm:spPr/>
    </dgm:pt>
    <dgm:pt modelId="{1FCBF0EC-C3DA-4029-930F-AD0FF8C81C26}" type="pres">
      <dgm:prSet presAssocID="{28B2A3AB-F7A7-48A9-8743-722D800983E9}" presName="childNode" presStyleLbl="node1" presStyleIdx="4" presStyleCnt="8">
        <dgm:presLayoutVars>
          <dgm:bulletEnabled val="1"/>
        </dgm:presLayoutVars>
      </dgm:prSet>
      <dgm:spPr/>
    </dgm:pt>
    <dgm:pt modelId="{B948ACD2-857A-4202-BA67-0998DDB339A1}" type="pres">
      <dgm:prSet presAssocID="{28B2A3AB-F7A7-48A9-8743-722D800983E9}" presName="aSpace2" presStyleCnt="0"/>
      <dgm:spPr/>
    </dgm:pt>
    <dgm:pt modelId="{1E4FAA3E-4BB2-4210-8A5B-5298B87ECC8B}" type="pres">
      <dgm:prSet presAssocID="{40CD49C4-7B74-4A9A-B645-CCC77C8981C1}" presName="childNode" presStyleLbl="node1" presStyleIdx="5" presStyleCnt="8">
        <dgm:presLayoutVars>
          <dgm:bulletEnabled val="1"/>
        </dgm:presLayoutVars>
      </dgm:prSet>
      <dgm:spPr/>
    </dgm:pt>
    <dgm:pt modelId="{E2F5098C-C9F1-4030-9479-595EFFDF42D8}" type="pres">
      <dgm:prSet presAssocID="{9D4C0707-3BDD-4A2F-9629-3D877E78639B}" presName="aSpace" presStyleCnt="0"/>
      <dgm:spPr/>
    </dgm:pt>
    <dgm:pt modelId="{0BE490F4-26C4-4E2A-9A52-F6952B0AF736}" type="pres">
      <dgm:prSet presAssocID="{3C3BCA52-3CDF-4B05-984C-6C70BE9889F8}" presName="compNode" presStyleCnt="0"/>
      <dgm:spPr/>
    </dgm:pt>
    <dgm:pt modelId="{FF380151-FAA7-4C25-8E64-64D5527B3453}" type="pres">
      <dgm:prSet presAssocID="{3C3BCA52-3CDF-4B05-984C-6C70BE9889F8}" presName="aNode" presStyleLbl="bgShp" presStyleIdx="2" presStyleCnt="3"/>
      <dgm:spPr/>
    </dgm:pt>
    <dgm:pt modelId="{8C9D6FA0-D7E1-4C0B-820E-C6DA748D42AC}" type="pres">
      <dgm:prSet presAssocID="{3C3BCA52-3CDF-4B05-984C-6C70BE9889F8}" presName="textNode" presStyleLbl="bgShp" presStyleIdx="2" presStyleCnt="3"/>
      <dgm:spPr/>
    </dgm:pt>
    <dgm:pt modelId="{38F2D8CC-7532-40CE-9D7B-D1B9311F3431}" type="pres">
      <dgm:prSet presAssocID="{3C3BCA52-3CDF-4B05-984C-6C70BE9889F8}" presName="compChildNode" presStyleCnt="0"/>
      <dgm:spPr/>
    </dgm:pt>
    <dgm:pt modelId="{D35A5D04-E4EF-4DF7-AA31-6F78D2B2CAFB}" type="pres">
      <dgm:prSet presAssocID="{3C3BCA52-3CDF-4B05-984C-6C70BE9889F8}" presName="theInnerList" presStyleCnt="0"/>
      <dgm:spPr/>
    </dgm:pt>
    <dgm:pt modelId="{87F2A0D9-0CCB-4735-844D-BB30CCF64EB4}" type="pres">
      <dgm:prSet presAssocID="{92DDD6D6-976D-4833-ACB9-D4A643A34833}" presName="childNode" presStyleLbl="node1" presStyleIdx="6" presStyleCnt="8">
        <dgm:presLayoutVars>
          <dgm:bulletEnabled val="1"/>
        </dgm:presLayoutVars>
      </dgm:prSet>
      <dgm:spPr/>
    </dgm:pt>
    <dgm:pt modelId="{2EAB57E2-04E7-4957-98D5-936E7938411A}" type="pres">
      <dgm:prSet presAssocID="{92DDD6D6-976D-4833-ACB9-D4A643A34833}" presName="aSpace2" presStyleCnt="0"/>
      <dgm:spPr/>
    </dgm:pt>
    <dgm:pt modelId="{589AB9F4-35EC-4F92-9DF4-5EF5A76CA89E}" type="pres">
      <dgm:prSet presAssocID="{DBA3C957-0E1F-4FB0-A15A-CC01483A45D8}" presName="childNode" presStyleLbl="node1" presStyleIdx="7" presStyleCnt="8">
        <dgm:presLayoutVars>
          <dgm:bulletEnabled val="1"/>
        </dgm:presLayoutVars>
      </dgm:prSet>
      <dgm:spPr/>
    </dgm:pt>
  </dgm:ptLst>
  <dgm:cxnLst>
    <dgm:cxn modelId="{EFD32908-EF80-4632-BA3B-FD760D104C0A}" type="presOf" srcId="{D74B0F0F-1AF2-405D-9661-D8B6896FED0D}" destId="{5D8E9F09-5959-40D6-9CB2-31575E6D8E4A}" srcOrd="0" destOrd="0" presId="urn:microsoft.com/office/officeart/2005/8/layout/lProcess2"/>
    <dgm:cxn modelId="{6C3C150C-BF02-401C-8FCB-A23F624D52C1}" type="presOf" srcId="{69CA33FE-6173-4EF2-9640-87D031E80177}" destId="{43013126-0DA4-4434-93B8-2623A09C0BA4}" srcOrd="0" destOrd="0" presId="urn:microsoft.com/office/officeart/2005/8/layout/lProcess2"/>
    <dgm:cxn modelId="{4F30E40D-9289-4996-B58B-13092037A848}" type="presOf" srcId="{28B2A3AB-F7A7-48A9-8743-722D800983E9}" destId="{1FCBF0EC-C3DA-4029-930F-AD0FF8C81C26}" srcOrd="0" destOrd="0" presId="urn:microsoft.com/office/officeart/2005/8/layout/lProcess2"/>
    <dgm:cxn modelId="{02CA821F-B112-4507-8538-7CB7ACEA8548}" type="presOf" srcId="{6501164D-07CA-406A-A79F-E157C27F5F13}" destId="{CAA822A0-F3B0-42C6-B89B-8B033A2DD3D7}" srcOrd="0" destOrd="0" presId="urn:microsoft.com/office/officeart/2005/8/layout/lProcess2"/>
    <dgm:cxn modelId="{FF233420-BF17-4318-85D6-F6104A05C890}" srcId="{3C3BCA52-3CDF-4B05-984C-6C70BE9889F8}" destId="{DBA3C957-0E1F-4FB0-A15A-CC01483A45D8}" srcOrd="1" destOrd="0" parTransId="{0AA95362-748B-41F3-A9B0-AE766DB3CFE7}" sibTransId="{46F35879-BF26-41F9-9E0D-71E627E330C3}"/>
    <dgm:cxn modelId="{76B0D93E-E97D-48CC-BAAA-5187BFF19866}" type="presOf" srcId="{40CD49C4-7B74-4A9A-B645-CCC77C8981C1}" destId="{1E4FAA3E-4BB2-4210-8A5B-5298B87ECC8B}" srcOrd="0" destOrd="0" presId="urn:microsoft.com/office/officeart/2005/8/layout/lProcess2"/>
    <dgm:cxn modelId="{281F0173-4258-417A-BE07-8AAE82924AA5}" srcId="{9D4C0707-3BDD-4A2F-9629-3D877E78639B}" destId="{28B2A3AB-F7A7-48A9-8743-722D800983E9}" srcOrd="1" destOrd="0" parTransId="{00D8E513-9BB6-4026-AB1A-8724F03A1494}" sibTransId="{54B2064D-3923-4DBF-AFF9-1BB13E79F5C7}"/>
    <dgm:cxn modelId="{86740476-A563-4FE5-97FE-1DFB0621EA12}" srcId="{3C3BCA52-3CDF-4B05-984C-6C70BE9889F8}" destId="{92DDD6D6-976D-4833-ACB9-D4A643A34833}" srcOrd="0" destOrd="0" parTransId="{31CADE6E-997D-4BAC-9892-D031290406FC}" sibTransId="{7CEA26C8-607C-44A8-99C2-FF3C2192B35B}"/>
    <dgm:cxn modelId="{792B087A-76B0-419C-ABDD-7B37292444DF}" srcId="{9D4C0707-3BDD-4A2F-9629-3D877E78639B}" destId="{D74B0F0F-1AF2-405D-9661-D8B6896FED0D}" srcOrd="0" destOrd="0" parTransId="{6E1B7B4F-8ED3-4E40-A081-8D4426762017}" sibTransId="{956C5AAE-8780-47A5-91DD-74EF57780654}"/>
    <dgm:cxn modelId="{7B33DD7A-D363-4646-994A-38969D18AB15}" type="presOf" srcId="{F33421C4-8675-46BC-8534-C64B9E86921F}" destId="{31A2CF45-A722-4534-BB98-D04691E3E22C}" srcOrd="0" destOrd="0" presId="urn:microsoft.com/office/officeart/2005/8/layout/lProcess2"/>
    <dgm:cxn modelId="{8047517E-001F-4A28-904F-4CA2E2793CAC}" type="presOf" srcId="{92DDD6D6-976D-4833-ACB9-D4A643A34833}" destId="{87F2A0D9-0CCB-4735-844D-BB30CCF64EB4}" srcOrd="0" destOrd="0" presId="urn:microsoft.com/office/officeart/2005/8/layout/lProcess2"/>
    <dgm:cxn modelId="{69B23A8E-A322-4821-996A-197F6B38C32F}" type="presOf" srcId="{9D4C0707-3BDD-4A2F-9629-3D877E78639B}" destId="{C3FDC35D-3647-4592-B54B-A7F3FDE06557}" srcOrd="0" destOrd="0" presId="urn:microsoft.com/office/officeart/2005/8/layout/lProcess2"/>
    <dgm:cxn modelId="{0D96F08F-A113-4A2D-9DEE-1B793E1304C3}" type="presOf" srcId="{A0C52CEF-7318-4EC4-9126-D85B2F5BC4CC}" destId="{58A8C4F8-E1F4-4AB5-8BAC-A90325333852}" srcOrd="0" destOrd="0" presId="urn:microsoft.com/office/officeart/2005/8/layout/lProcess2"/>
    <dgm:cxn modelId="{A4FD5795-7D99-4E27-A3EA-1E31101EE212}" type="presOf" srcId="{5EDFFF0D-369E-4246-8D10-E3B5C221B079}" destId="{505D7B5C-C2E2-4B84-ADA8-EEEF1114B15D}" srcOrd="0" destOrd="0" presId="urn:microsoft.com/office/officeart/2005/8/layout/lProcess2"/>
    <dgm:cxn modelId="{480FCC9A-D740-4919-8028-BB6F230024E7}" type="presOf" srcId="{6501164D-07CA-406A-A79F-E157C27F5F13}" destId="{09EF326C-5DEA-457A-9199-3239FD132276}" srcOrd="1" destOrd="0" presId="urn:microsoft.com/office/officeart/2005/8/layout/lProcess2"/>
    <dgm:cxn modelId="{7D2ACA9E-3E5B-4802-A78B-35788AF6C9A9}" type="presOf" srcId="{9D4C0707-3BDD-4A2F-9629-3D877E78639B}" destId="{BF48D447-3548-4EC8-B38D-8BA85047BFBF}" srcOrd="1" destOrd="0" presId="urn:microsoft.com/office/officeart/2005/8/layout/lProcess2"/>
    <dgm:cxn modelId="{80454AA3-534E-45F4-9B0E-407D58930478}" type="presOf" srcId="{DBA3C957-0E1F-4FB0-A15A-CC01483A45D8}" destId="{589AB9F4-35EC-4F92-9DF4-5EF5A76CA89E}" srcOrd="0" destOrd="0" presId="urn:microsoft.com/office/officeart/2005/8/layout/lProcess2"/>
    <dgm:cxn modelId="{7D1774A4-0EE3-46C5-A579-8518963ECC5F}" type="presOf" srcId="{3C3BCA52-3CDF-4B05-984C-6C70BE9889F8}" destId="{FF380151-FAA7-4C25-8E64-64D5527B3453}" srcOrd="0" destOrd="0" presId="urn:microsoft.com/office/officeart/2005/8/layout/lProcess2"/>
    <dgm:cxn modelId="{C9B7A0BC-AE1E-4DB4-9C96-B3CCDA6FB91E}" srcId="{9D4C0707-3BDD-4A2F-9629-3D877E78639B}" destId="{40CD49C4-7B74-4A9A-B645-CCC77C8981C1}" srcOrd="2" destOrd="0" parTransId="{19A67B80-D72B-484F-AE61-85F99E2D4577}" sibTransId="{3453E700-FE08-485A-B21B-290E9F9799A8}"/>
    <dgm:cxn modelId="{F09D7BC0-81AA-43A7-9722-B2E5C013124D}" type="presOf" srcId="{3C3BCA52-3CDF-4B05-984C-6C70BE9889F8}" destId="{8C9D6FA0-D7E1-4C0B-820E-C6DA748D42AC}" srcOrd="1" destOrd="0" presId="urn:microsoft.com/office/officeart/2005/8/layout/lProcess2"/>
    <dgm:cxn modelId="{4B354AC1-8DF2-4F73-8407-EE127A4BE53C}" srcId="{A0C52CEF-7318-4EC4-9126-D85B2F5BC4CC}" destId="{6501164D-07CA-406A-A79F-E157C27F5F13}" srcOrd="0" destOrd="0" parTransId="{AE208CF5-6C12-40E6-ADC5-980C84DAB297}" sibTransId="{7B406299-FBF6-479D-AD32-BBB98012A79D}"/>
    <dgm:cxn modelId="{3725EDC5-C5A9-41D9-8672-46928789DCE9}" srcId="{6501164D-07CA-406A-A79F-E157C27F5F13}" destId="{F33421C4-8675-46BC-8534-C64B9E86921F}" srcOrd="1" destOrd="0" parTransId="{820047D0-CEB4-478E-8472-30939B0F3867}" sibTransId="{3E2C4C58-EB29-46CE-8640-06A71861B449}"/>
    <dgm:cxn modelId="{160B07CC-0F39-43C9-885A-A369BFFB17E0}" srcId="{A0C52CEF-7318-4EC4-9126-D85B2F5BC4CC}" destId="{3C3BCA52-3CDF-4B05-984C-6C70BE9889F8}" srcOrd="2" destOrd="0" parTransId="{3C242CB1-E2B7-4306-9BDE-0FA93958CA24}" sibTransId="{2D916401-61CF-47DB-B6E9-C61FC3BE670E}"/>
    <dgm:cxn modelId="{AB9C89D9-C9A3-478E-8211-F8BEE786BC65}" srcId="{6501164D-07CA-406A-A79F-E157C27F5F13}" destId="{69CA33FE-6173-4EF2-9640-87D031E80177}" srcOrd="0" destOrd="0" parTransId="{B81222F2-9408-42BE-B403-549ED6940610}" sibTransId="{DFB2CD7E-A7E3-4A98-B1FB-F27F22548BEE}"/>
    <dgm:cxn modelId="{DF8FAFDD-EAFB-4832-98AA-A74D057EFB76}" srcId="{A0C52CEF-7318-4EC4-9126-D85B2F5BC4CC}" destId="{9D4C0707-3BDD-4A2F-9629-3D877E78639B}" srcOrd="1" destOrd="0" parTransId="{CEFFF41A-3CCA-4474-B20E-482353407508}" sibTransId="{FC3BE531-0777-4283-8D73-BD3C66844B46}"/>
    <dgm:cxn modelId="{C73356FB-2CF3-4B58-9094-7A4832BE38D1}" srcId="{6501164D-07CA-406A-A79F-E157C27F5F13}" destId="{5EDFFF0D-369E-4246-8D10-E3B5C221B079}" srcOrd="2" destOrd="0" parTransId="{886F4C85-7067-4B79-B3FD-F88CE6BA6C19}" sibTransId="{0F946643-6398-45CA-8118-F5F74AB3482B}"/>
    <dgm:cxn modelId="{A16EB5ED-3437-4DB7-BA72-36A3AFE7BC08}" type="presParOf" srcId="{58A8C4F8-E1F4-4AB5-8BAC-A90325333852}" destId="{2E19AD01-384F-4C37-BCAA-399F5D0434FF}" srcOrd="0" destOrd="0" presId="urn:microsoft.com/office/officeart/2005/8/layout/lProcess2"/>
    <dgm:cxn modelId="{9A70E770-CF2D-4EBE-AD08-85C1ECFFED90}" type="presParOf" srcId="{2E19AD01-384F-4C37-BCAA-399F5D0434FF}" destId="{CAA822A0-F3B0-42C6-B89B-8B033A2DD3D7}" srcOrd="0" destOrd="0" presId="urn:microsoft.com/office/officeart/2005/8/layout/lProcess2"/>
    <dgm:cxn modelId="{45093CD8-EBBE-4F82-9831-82F8FFC21060}" type="presParOf" srcId="{2E19AD01-384F-4C37-BCAA-399F5D0434FF}" destId="{09EF326C-5DEA-457A-9199-3239FD132276}" srcOrd="1" destOrd="0" presId="urn:microsoft.com/office/officeart/2005/8/layout/lProcess2"/>
    <dgm:cxn modelId="{B1EEAA3C-B6CE-439E-8665-FA79B85B1B71}" type="presParOf" srcId="{2E19AD01-384F-4C37-BCAA-399F5D0434FF}" destId="{8FE7BDED-C105-4D2D-89BD-1367CDEB5051}" srcOrd="2" destOrd="0" presId="urn:microsoft.com/office/officeart/2005/8/layout/lProcess2"/>
    <dgm:cxn modelId="{7AA4A134-8045-43A5-A9F7-0794A040A310}" type="presParOf" srcId="{8FE7BDED-C105-4D2D-89BD-1367CDEB5051}" destId="{31B02753-B92D-48A1-A884-1B3A77D61171}" srcOrd="0" destOrd="0" presId="urn:microsoft.com/office/officeart/2005/8/layout/lProcess2"/>
    <dgm:cxn modelId="{C6295069-5497-4B2E-92F9-7C1FF2B95719}" type="presParOf" srcId="{31B02753-B92D-48A1-A884-1B3A77D61171}" destId="{43013126-0DA4-4434-93B8-2623A09C0BA4}" srcOrd="0" destOrd="0" presId="urn:microsoft.com/office/officeart/2005/8/layout/lProcess2"/>
    <dgm:cxn modelId="{0D720E01-F9CE-4548-B360-08329B947279}" type="presParOf" srcId="{31B02753-B92D-48A1-A884-1B3A77D61171}" destId="{0AFAF0B9-7F2F-4ACA-A908-FB30DA3EB3B4}" srcOrd="1" destOrd="0" presId="urn:microsoft.com/office/officeart/2005/8/layout/lProcess2"/>
    <dgm:cxn modelId="{35EA1154-E848-4112-A1F1-69A51ADBE282}" type="presParOf" srcId="{31B02753-B92D-48A1-A884-1B3A77D61171}" destId="{31A2CF45-A722-4534-BB98-D04691E3E22C}" srcOrd="2" destOrd="0" presId="urn:microsoft.com/office/officeart/2005/8/layout/lProcess2"/>
    <dgm:cxn modelId="{5B923E31-39B9-4626-9CD8-B0CA545D29ED}" type="presParOf" srcId="{31B02753-B92D-48A1-A884-1B3A77D61171}" destId="{0D79095D-88F7-437A-A9B4-E8ADEA24753F}" srcOrd="3" destOrd="0" presId="urn:microsoft.com/office/officeart/2005/8/layout/lProcess2"/>
    <dgm:cxn modelId="{47A78473-8861-4D1F-B903-8C2A546829D0}" type="presParOf" srcId="{31B02753-B92D-48A1-A884-1B3A77D61171}" destId="{505D7B5C-C2E2-4B84-ADA8-EEEF1114B15D}" srcOrd="4" destOrd="0" presId="urn:microsoft.com/office/officeart/2005/8/layout/lProcess2"/>
    <dgm:cxn modelId="{D45E9885-2309-4B00-80F9-215EC9BF1BBD}" type="presParOf" srcId="{58A8C4F8-E1F4-4AB5-8BAC-A90325333852}" destId="{28E2817C-A661-4F64-BE1B-37E54B6B90F9}" srcOrd="1" destOrd="0" presId="urn:microsoft.com/office/officeart/2005/8/layout/lProcess2"/>
    <dgm:cxn modelId="{5D479751-5CAF-46F2-A776-F819444F2E60}" type="presParOf" srcId="{58A8C4F8-E1F4-4AB5-8BAC-A90325333852}" destId="{522141C1-613B-441C-9A1D-9E7101F6DF4E}" srcOrd="2" destOrd="0" presId="urn:microsoft.com/office/officeart/2005/8/layout/lProcess2"/>
    <dgm:cxn modelId="{618FDF80-2B9B-4DFA-95A4-3E8E37078A7C}" type="presParOf" srcId="{522141C1-613B-441C-9A1D-9E7101F6DF4E}" destId="{C3FDC35D-3647-4592-B54B-A7F3FDE06557}" srcOrd="0" destOrd="0" presId="urn:microsoft.com/office/officeart/2005/8/layout/lProcess2"/>
    <dgm:cxn modelId="{96A96C46-B129-4BAB-84C0-7476F29D1D5E}" type="presParOf" srcId="{522141C1-613B-441C-9A1D-9E7101F6DF4E}" destId="{BF48D447-3548-4EC8-B38D-8BA85047BFBF}" srcOrd="1" destOrd="0" presId="urn:microsoft.com/office/officeart/2005/8/layout/lProcess2"/>
    <dgm:cxn modelId="{219C15D8-77D5-410C-BFF9-923D291F9B01}" type="presParOf" srcId="{522141C1-613B-441C-9A1D-9E7101F6DF4E}" destId="{8F8E317C-A9DA-4329-9D1C-BC295D1A6CBC}" srcOrd="2" destOrd="0" presId="urn:microsoft.com/office/officeart/2005/8/layout/lProcess2"/>
    <dgm:cxn modelId="{C52FA041-9B07-4CE4-85E0-B815FFDDA32C}" type="presParOf" srcId="{8F8E317C-A9DA-4329-9D1C-BC295D1A6CBC}" destId="{68081A33-D8D7-4AAA-9F51-289A50519453}" srcOrd="0" destOrd="0" presId="urn:microsoft.com/office/officeart/2005/8/layout/lProcess2"/>
    <dgm:cxn modelId="{4CD27B90-303B-49C7-A08F-75294601FE05}" type="presParOf" srcId="{68081A33-D8D7-4AAA-9F51-289A50519453}" destId="{5D8E9F09-5959-40D6-9CB2-31575E6D8E4A}" srcOrd="0" destOrd="0" presId="urn:microsoft.com/office/officeart/2005/8/layout/lProcess2"/>
    <dgm:cxn modelId="{BD8E5B37-55FE-4FD8-AAB1-FCBCE7CB4879}" type="presParOf" srcId="{68081A33-D8D7-4AAA-9F51-289A50519453}" destId="{4396F667-DCDC-474D-9026-442A373B68A3}" srcOrd="1" destOrd="0" presId="urn:microsoft.com/office/officeart/2005/8/layout/lProcess2"/>
    <dgm:cxn modelId="{61A74516-A41F-4AD7-B0DD-74042F499DD6}" type="presParOf" srcId="{68081A33-D8D7-4AAA-9F51-289A50519453}" destId="{1FCBF0EC-C3DA-4029-930F-AD0FF8C81C26}" srcOrd="2" destOrd="0" presId="urn:microsoft.com/office/officeart/2005/8/layout/lProcess2"/>
    <dgm:cxn modelId="{CC059D4D-7BA4-4DDE-8E66-238BD730D02B}" type="presParOf" srcId="{68081A33-D8D7-4AAA-9F51-289A50519453}" destId="{B948ACD2-857A-4202-BA67-0998DDB339A1}" srcOrd="3" destOrd="0" presId="urn:microsoft.com/office/officeart/2005/8/layout/lProcess2"/>
    <dgm:cxn modelId="{1C4059F9-FDC9-46E6-A6D3-B3793EF3EC26}" type="presParOf" srcId="{68081A33-D8D7-4AAA-9F51-289A50519453}" destId="{1E4FAA3E-4BB2-4210-8A5B-5298B87ECC8B}" srcOrd="4" destOrd="0" presId="urn:microsoft.com/office/officeart/2005/8/layout/lProcess2"/>
    <dgm:cxn modelId="{F347139E-050D-4CDC-93CF-0E62676586B8}" type="presParOf" srcId="{58A8C4F8-E1F4-4AB5-8BAC-A90325333852}" destId="{E2F5098C-C9F1-4030-9479-595EFFDF42D8}" srcOrd="3" destOrd="0" presId="urn:microsoft.com/office/officeart/2005/8/layout/lProcess2"/>
    <dgm:cxn modelId="{745DA24C-C677-45CA-B97E-3B92E464F088}" type="presParOf" srcId="{58A8C4F8-E1F4-4AB5-8BAC-A90325333852}" destId="{0BE490F4-26C4-4E2A-9A52-F6952B0AF736}" srcOrd="4" destOrd="0" presId="urn:microsoft.com/office/officeart/2005/8/layout/lProcess2"/>
    <dgm:cxn modelId="{B738753F-3F09-4423-BA02-1B6E67696543}" type="presParOf" srcId="{0BE490F4-26C4-4E2A-9A52-F6952B0AF736}" destId="{FF380151-FAA7-4C25-8E64-64D5527B3453}" srcOrd="0" destOrd="0" presId="urn:microsoft.com/office/officeart/2005/8/layout/lProcess2"/>
    <dgm:cxn modelId="{336D26EA-18DD-4ED0-B8E2-6025854B989B}" type="presParOf" srcId="{0BE490F4-26C4-4E2A-9A52-F6952B0AF736}" destId="{8C9D6FA0-D7E1-4C0B-820E-C6DA748D42AC}" srcOrd="1" destOrd="0" presId="urn:microsoft.com/office/officeart/2005/8/layout/lProcess2"/>
    <dgm:cxn modelId="{4C2DE851-91C0-496B-9014-2143D79F0D0B}" type="presParOf" srcId="{0BE490F4-26C4-4E2A-9A52-F6952B0AF736}" destId="{38F2D8CC-7532-40CE-9D7B-D1B9311F3431}" srcOrd="2" destOrd="0" presId="urn:microsoft.com/office/officeart/2005/8/layout/lProcess2"/>
    <dgm:cxn modelId="{DA071EB7-1328-436C-9DB7-21B3E7CA08CB}" type="presParOf" srcId="{38F2D8CC-7532-40CE-9D7B-D1B9311F3431}" destId="{D35A5D04-E4EF-4DF7-AA31-6F78D2B2CAFB}" srcOrd="0" destOrd="0" presId="urn:microsoft.com/office/officeart/2005/8/layout/lProcess2"/>
    <dgm:cxn modelId="{1EC034EB-376A-4FCD-B238-4AD8E1ECF9AB}" type="presParOf" srcId="{D35A5D04-E4EF-4DF7-AA31-6F78D2B2CAFB}" destId="{87F2A0D9-0CCB-4735-844D-BB30CCF64EB4}" srcOrd="0" destOrd="0" presId="urn:microsoft.com/office/officeart/2005/8/layout/lProcess2"/>
    <dgm:cxn modelId="{80E261B0-BCD4-4000-A3E0-BAFF8549BE0D}" type="presParOf" srcId="{D35A5D04-E4EF-4DF7-AA31-6F78D2B2CAFB}" destId="{2EAB57E2-04E7-4957-98D5-936E7938411A}" srcOrd="1" destOrd="0" presId="urn:microsoft.com/office/officeart/2005/8/layout/lProcess2"/>
    <dgm:cxn modelId="{ADEF3009-19CE-480C-89BC-2307FDFBAB29}" type="presParOf" srcId="{D35A5D04-E4EF-4DF7-AA31-6F78D2B2CAFB}" destId="{589AB9F4-35EC-4F92-9DF4-5EF5A76CA89E}"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C191D-61DF-464B-AD19-ED8532223121}">
      <dsp:nvSpPr>
        <dsp:cNvPr id="0" name=""/>
        <dsp:cNvSpPr/>
      </dsp:nvSpPr>
      <dsp:spPr>
        <a:xfrm>
          <a:off x="0" y="0"/>
          <a:ext cx="3938016" cy="399897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a:latin typeface="Posterama"/>
            </a:rPr>
            <a:t>Dynamic Cancellation Charges System</a:t>
          </a:r>
          <a:endParaRPr lang="en-US" sz="2900" kern="1200"/>
        </a:p>
      </dsp:txBody>
      <dsp:txXfrm>
        <a:off x="0" y="0"/>
        <a:ext cx="3938016" cy="1199692"/>
      </dsp:txXfrm>
    </dsp:sp>
    <dsp:sp modelId="{713F0F21-1B35-49CF-9CC9-F8CE5A59DB4C}">
      <dsp:nvSpPr>
        <dsp:cNvPr id="0" name=""/>
        <dsp:cNvSpPr/>
      </dsp:nvSpPr>
      <dsp:spPr>
        <a:xfrm>
          <a:off x="393801" y="1200034"/>
          <a:ext cx="3150412" cy="7856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rtl="0">
            <a:lnSpc>
              <a:spcPct val="90000"/>
            </a:lnSpc>
            <a:spcBef>
              <a:spcPct val="0"/>
            </a:spcBef>
            <a:spcAft>
              <a:spcPct val="35000"/>
            </a:spcAft>
            <a:buNone/>
          </a:pPr>
          <a:r>
            <a:rPr lang="en-US" sz="1400" b="0" kern="1200">
              <a:solidFill>
                <a:schemeClr val="bg1"/>
              </a:solidFill>
              <a:latin typeface="Posterama"/>
            </a:rPr>
            <a:t>Identified main drivers like no.of</a:t>
          </a:r>
          <a:r>
            <a:rPr lang="en-US" sz="1400" b="0" kern="1200">
              <a:solidFill>
                <a:schemeClr val="bg1"/>
              </a:solidFill>
            </a:rPr>
            <a:t> </a:t>
          </a:r>
          <a:r>
            <a:rPr lang="en-US" sz="1400" b="0" kern="1200">
              <a:solidFill>
                <a:schemeClr val="bg1"/>
              </a:solidFill>
              <a:latin typeface="Posterama"/>
            </a:rPr>
            <a:t>previous cancellations, lead time, arrival day, market segment, etc</a:t>
          </a:r>
        </a:p>
      </dsp:txBody>
      <dsp:txXfrm>
        <a:off x="416812" y="1223045"/>
        <a:ext cx="3104390" cy="739616"/>
      </dsp:txXfrm>
    </dsp:sp>
    <dsp:sp modelId="{F9D35211-8720-430D-AF93-FB967EC65D83}">
      <dsp:nvSpPr>
        <dsp:cNvPr id="0" name=""/>
        <dsp:cNvSpPr/>
      </dsp:nvSpPr>
      <dsp:spPr>
        <a:xfrm>
          <a:off x="393801" y="2106540"/>
          <a:ext cx="3150412" cy="7856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Posterama"/>
            </a:rPr>
            <a:t>Develop system for calculating flexible cancellation charges</a:t>
          </a:r>
          <a:endParaRPr lang="en-US" sz="1400" kern="1200"/>
        </a:p>
      </dsp:txBody>
      <dsp:txXfrm>
        <a:off x="416812" y="2129551"/>
        <a:ext cx="3104390" cy="739616"/>
      </dsp:txXfrm>
    </dsp:sp>
    <dsp:sp modelId="{AB040F71-8E0D-4C55-A46F-51A2F54D7E7F}">
      <dsp:nvSpPr>
        <dsp:cNvPr id="0" name=""/>
        <dsp:cNvSpPr/>
      </dsp:nvSpPr>
      <dsp:spPr>
        <a:xfrm>
          <a:off x="393801" y="3013046"/>
          <a:ext cx="3150412" cy="7856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Posterama"/>
            </a:rPr>
            <a:t>Clearly communicate the policies to the customers</a:t>
          </a:r>
          <a:endParaRPr lang="en-US" sz="1400" kern="1200"/>
        </a:p>
      </dsp:txBody>
      <dsp:txXfrm>
        <a:off x="416812" y="3036057"/>
        <a:ext cx="3104390" cy="7396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822A0-F3B0-42C6-B89B-8B033A2DD3D7}">
      <dsp:nvSpPr>
        <dsp:cNvPr id="0" name=""/>
        <dsp:cNvSpPr/>
      </dsp:nvSpPr>
      <dsp:spPr>
        <a:xfrm>
          <a:off x="1292" y="0"/>
          <a:ext cx="3361010" cy="438849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b="0" kern="1200">
              <a:latin typeface="Posterama"/>
            </a:rPr>
            <a:t>Personalised Customer Experience</a:t>
          </a:r>
          <a:endParaRPr lang="en-US" sz="2500" b="0" kern="1200"/>
        </a:p>
      </dsp:txBody>
      <dsp:txXfrm>
        <a:off x="1292" y="0"/>
        <a:ext cx="3361010" cy="1316549"/>
      </dsp:txXfrm>
    </dsp:sp>
    <dsp:sp modelId="{43013126-0DA4-4434-93B8-2623A09C0BA4}">
      <dsp:nvSpPr>
        <dsp:cNvPr id="0" name=""/>
        <dsp:cNvSpPr/>
      </dsp:nvSpPr>
      <dsp:spPr>
        <a:xfrm>
          <a:off x="337393" y="1316924"/>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 Create customised offers or packages</a:t>
          </a:r>
        </a:p>
      </dsp:txBody>
      <dsp:txXfrm>
        <a:off x="362645" y="1342176"/>
        <a:ext cx="2638304" cy="811660"/>
      </dsp:txXfrm>
    </dsp:sp>
    <dsp:sp modelId="{31A2CF45-A722-4534-BB98-D04691E3E22C}">
      <dsp:nvSpPr>
        <dsp:cNvPr id="0" name=""/>
        <dsp:cNvSpPr/>
      </dsp:nvSpPr>
      <dsp:spPr>
        <a:xfrm>
          <a:off x="337393" y="2311729"/>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Implement customer relationship system to track preferences</a:t>
          </a:r>
          <a:endParaRPr lang="en-US" sz="1600" kern="1200"/>
        </a:p>
      </dsp:txBody>
      <dsp:txXfrm>
        <a:off x="362645" y="2336981"/>
        <a:ext cx="2638304" cy="811660"/>
      </dsp:txXfrm>
    </dsp:sp>
    <dsp:sp modelId="{505D7B5C-C2E2-4B84-ADA8-EEEF1114B15D}">
      <dsp:nvSpPr>
        <dsp:cNvPr id="0" name=""/>
        <dsp:cNvSpPr/>
      </dsp:nvSpPr>
      <dsp:spPr>
        <a:xfrm>
          <a:off x="337393" y="3306533"/>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Showcase testimonials of positive guest experience</a:t>
          </a:r>
        </a:p>
      </dsp:txBody>
      <dsp:txXfrm>
        <a:off x="362645" y="3331785"/>
        <a:ext cx="2638304" cy="811660"/>
      </dsp:txXfrm>
    </dsp:sp>
    <dsp:sp modelId="{C3FDC35D-3647-4592-B54B-A7F3FDE06557}">
      <dsp:nvSpPr>
        <dsp:cNvPr id="0" name=""/>
        <dsp:cNvSpPr/>
      </dsp:nvSpPr>
      <dsp:spPr>
        <a:xfrm>
          <a:off x="3614379" y="0"/>
          <a:ext cx="3361010" cy="438849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Posterama"/>
            </a:rPr>
            <a:t>Loyalty Programs</a:t>
          </a:r>
          <a:endParaRPr lang="en-US" sz="2500" kern="1200"/>
        </a:p>
      </dsp:txBody>
      <dsp:txXfrm>
        <a:off x="3614379" y="0"/>
        <a:ext cx="3361010" cy="1316549"/>
      </dsp:txXfrm>
    </dsp:sp>
    <dsp:sp modelId="{5D8E9F09-5959-40D6-9CB2-31575E6D8E4A}">
      <dsp:nvSpPr>
        <dsp:cNvPr id="0" name=""/>
        <dsp:cNvSpPr/>
      </dsp:nvSpPr>
      <dsp:spPr>
        <a:xfrm>
          <a:off x="3950480" y="1316924"/>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Establish a tiered loyalty program</a:t>
          </a:r>
        </a:p>
      </dsp:txBody>
      <dsp:txXfrm>
        <a:off x="3975732" y="1342176"/>
        <a:ext cx="2638304" cy="811660"/>
      </dsp:txXfrm>
    </dsp:sp>
    <dsp:sp modelId="{1FCBF0EC-C3DA-4029-930F-AD0FF8C81C26}">
      <dsp:nvSpPr>
        <dsp:cNvPr id="0" name=""/>
        <dsp:cNvSpPr/>
      </dsp:nvSpPr>
      <dsp:spPr>
        <a:xfrm>
          <a:off x="3950480" y="2311729"/>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Posterama"/>
            </a:rPr>
            <a:t>Exclusive perks for loyal customers </a:t>
          </a:r>
          <a:endParaRPr lang="en-US" sz="1600" kern="1200"/>
        </a:p>
      </dsp:txBody>
      <dsp:txXfrm>
        <a:off x="3975732" y="2336981"/>
        <a:ext cx="2638304" cy="811660"/>
      </dsp:txXfrm>
    </dsp:sp>
    <dsp:sp modelId="{1E4FAA3E-4BB2-4210-8A5B-5298B87ECC8B}">
      <dsp:nvSpPr>
        <dsp:cNvPr id="0" name=""/>
        <dsp:cNvSpPr/>
      </dsp:nvSpPr>
      <dsp:spPr>
        <a:xfrm>
          <a:off x="3950480" y="3306533"/>
          <a:ext cx="2688808" cy="8621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Incentives for direct bookings</a:t>
          </a:r>
          <a:endParaRPr lang="en-US" sz="1600" kern="1200"/>
        </a:p>
      </dsp:txBody>
      <dsp:txXfrm>
        <a:off x="3975732" y="3331785"/>
        <a:ext cx="2638304" cy="811660"/>
      </dsp:txXfrm>
    </dsp:sp>
    <dsp:sp modelId="{FF380151-FAA7-4C25-8E64-64D5527B3453}">
      <dsp:nvSpPr>
        <dsp:cNvPr id="0" name=""/>
        <dsp:cNvSpPr/>
      </dsp:nvSpPr>
      <dsp:spPr>
        <a:xfrm>
          <a:off x="7227466" y="0"/>
          <a:ext cx="3361010" cy="438849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a:latin typeface="Posterama"/>
            </a:rPr>
            <a:t>Advertising &amp; Sales Promotions</a:t>
          </a:r>
          <a:endParaRPr lang="en-US" sz="2500" kern="1200"/>
        </a:p>
      </dsp:txBody>
      <dsp:txXfrm>
        <a:off x="7227466" y="0"/>
        <a:ext cx="3361010" cy="1316549"/>
      </dsp:txXfrm>
    </dsp:sp>
    <dsp:sp modelId="{87F2A0D9-0CCB-4735-844D-BB30CCF64EB4}">
      <dsp:nvSpPr>
        <dsp:cNvPr id="0" name=""/>
        <dsp:cNvSpPr/>
      </dsp:nvSpPr>
      <dsp:spPr>
        <a:xfrm>
          <a:off x="7563567" y="1317835"/>
          <a:ext cx="2688808" cy="132319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Boost offline market segment by advertising at gas stations, grocery stores, </a:t>
          </a:r>
          <a:r>
            <a:rPr lang="en-US" sz="1600" kern="1200" err="1">
              <a:latin typeface="Posterama"/>
            </a:rPr>
            <a:t>etc</a:t>
          </a:r>
          <a:endParaRPr lang="en-US" sz="1600" kern="1200"/>
        </a:p>
      </dsp:txBody>
      <dsp:txXfrm>
        <a:off x="7602322" y="1356590"/>
        <a:ext cx="2611298" cy="1245682"/>
      </dsp:txXfrm>
    </dsp:sp>
    <dsp:sp modelId="{589AB9F4-35EC-4F92-9DF4-5EF5A76CA89E}">
      <dsp:nvSpPr>
        <dsp:cNvPr id="0" name=""/>
        <dsp:cNvSpPr/>
      </dsp:nvSpPr>
      <dsp:spPr>
        <a:xfrm>
          <a:off x="7563567" y="2844595"/>
          <a:ext cx="2688808" cy="132319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Posterama"/>
            </a:rPr>
            <a:t>Use targeted online advertising platforms like Google </a:t>
          </a:r>
        </a:p>
      </dsp:txBody>
      <dsp:txXfrm>
        <a:off x="7602322" y="2883350"/>
        <a:ext cx="2611298" cy="124568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D16CA8-7DCC-4F2C-A1EF-C632B9D3E96D}" type="datetimeFigureOut">
              <a:rPr lang="en-US" smtClean="0"/>
              <a:t>12/1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990660-4B7D-4C11-96DB-B19FFA8CA93C}" type="slidenum">
              <a:rPr lang="en-US" smtClean="0"/>
              <a:t>‹#›</a:t>
            </a:fld>
            <a:endParaRPr lang="en-US"/>
          </a:p>
        </p:txBody>
      </p:sp>
    </p:spTree>
    <p:extLst>
      <p:ext uri="{BB962C8B-B14F-4D97-AF65-F5344CB8AC3E}">
        <p14:creationId xmlns:p14="http://schemas.microsoft.com/office/powerpoint/2010/main" val="3767361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8B990660-4B7D-4C11-96DB-B19FFA8CA93C}" type="slidenum">
              <a:rPr lang="en-US" smtClean="0"/>
              <a:t>2</a:t>
            </a:fld>
            <a:endParaRPr lang="en-US"/>
          </a:p>
        </p:txBody>
      </p:sp>
    </p:spTree>
    <p:extLst>
      <p:ext uri="{BB962C8B-B14F-4D97-AF65-F5344CB8AC3E}">
        <p14:creationId xmlns:p14="http://schemas.microsoft.com/office/powerpoint/2010/main" val="2141245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990660-4B7D-4C11-96DB-B19FFA8CA93C}" type="slidenum">
              <a:rPr lang="en-US" smtClean="0"/>
              <a:t>4</a:t>
            </a:fld>
            <a:endParaRPr lang="en-US"/>
          </a:p>
        </p:txBody>
      </p:sp>
    </p:spTree>
    <p:extLst>
      <p:ext uri="{BB962C8B-B14F-4D97-AF65-F5344CB8AC3E}">
        <p14:creationId xmlns:p14="http://schemas.microsoft.com/office/powerpoint/2010/main" val="1056149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990660-4B7D-4C11-96DB-B19FFA8CA93C}" type="slidenum">
              <a:rPr lang="en-US" smtClean="0"/>
              <a:t>5</a:t>
            </a:fld>
            <a:endParaRPr lang="en-US"/>
          </a:p>
        </p:txBody>
      </p:sp>
    </p:spTree>
    <p:extLst>
      <p:ext uri="{BB962C8B-B14F-4D97-AF65-F5344CB8AC3E}">
        <p14:creationId xmlns:p14="http://schemas.microsoft.com/office/powerpoint/2010/main" val="2781560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D1D5DB"/>
                </a:solidFill>
                <a:effectLst/>
                <a:latin typeface="Söhne"/>
              </a:rPr>
              <a:t>ChatGPT - </a:t>
            </a:r>
            <a:r>
              <a:rPr lang="en-US" b="0" i="0">
                <a:solidFill>
                  <a:srgbClr val="ECECF1"/>
                </a:solidFill>
                <a:effectLst/>
                <a:latin typeface="Söhne"/>
              </a:rPr>
              <a:t>For Hotel cancellation analysis we chose logistic regression model. Please provide General information about the model/analytics .</a:t>
            </a:r>
          </a:p>
          <a:p>
            <a:pPr algn="l"/>
            <a:endParaRPr lang="en-US" b="0" i="0">
              <a:solidFill>
                <a:srgbClr val="D1D5DB"/>
              </a:solidFill>
              <a:effectLst/>
              <a:latin typeface="Söhne"/>
            </a:endParaRPr>
          </a:p>
          <a:p>
            <a:pPr algn="l"/>
            <a:endParaRPr lang="en-US" b="0" i="0">
              <a:solidFill>
                <a:srgbClr val="D1D5DB"/>
              </a:solidFill>
              <a:effectLst/>
              <a:latin typeface="Söhne"/>
            </a:endParaRPr>
          </a:p>
          <a:p>
            <a:pPr algn="l"/>
            <a:r>
              <a:rPr lang="en-US" b="0" i="0">
                <a:solidFill>
                  <a:srgbClr val="D1D5DB"/>
                </a:solidFill>
                <a:effectLst/>
                <a:latin typeface="Söhne"/>
              </a:rPr>
              <a:t>Logistic regression is a statistical method used for analyzing a dataset in which there are one or more independent variables that can be used to predict the outcome of a categorical dependent variable. In the context of hotel cancellation analysis, logistic regression can be employed to predict the probability of hotel guests canceling their reservations based on various features or factors.</a:t>
            </a:r>
          </a:p>
          <a:p>
            <a:pPr algn="l"/>
            <a:r>
              <a:rPr lang="en-US" b="0" i="0">
                <a:solidFill>
                  <a:srgbClr val="D1D5DB"/>
                </a:solidFill>
                <a:effectLst/>
                <a:latin typeface="Söhne"/>
              </a:rPr>
              <a:t>Here's some general information about logistic regression and its application in analytics:</a:t>
            </a:r>
          </a:p>
          <a:p>
            <a:pPr algn="l">
              <a:buFont typeface="+mj-lt"/>
              <a:buAutoNum type="arabicPeriod"/>
            </a:pPr>
            <a:r>
              <a:rPr lang="en-US" b="1" i="0">
                <a:solidFill>
                  <a:srgbClr val="D1D5DB"/>
                </a:solidFill>
                <a:effectLst/>
                <a:latin typeface="Söhne"/>
              </a:rPr>
              <a:t>Binary Outcome:</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Logistic regression is particularly useful when the dependent variable is binary, meaning it has only two possible outcomes. In the case of hotel cancellation analysis, the outcome variable might be binary, indicating whether a booking was canceled (1) or not (0).</a:t>
            </a:r>
          </a:p>
          <a:p>
            <a:pPr algn="l">
              <a:buFont typeface="+mj-lt"/>
              <a:buAutoNum type="arabicPeriod"/>
            </a:pPr>
            <a:r>
              <a:rPr lang="en-US" b="1" i="0">
                <a:solidFill>
                  <a:srgbClr val="D1D5DB"/>
                </a:solidFill>
                <a:effectLst/>
                <a:latin typeface="Söhne"/>
              </a:rPr>
              <a:t>Log-Odds Transformation:</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Logistic regression models the relationship between the independent variables and the log-odds of the dependent variable. The logistic function (sigmoid function) is used to transform these log-odds into probabilities. This function ensures that the predicted probabilities lie between 0 and 1.</a:t>
            </a:r>
          </a:p>
          <a:p>
            <a:pPr algn="l">
              <a:buFont typeface="+mj-lt"/>
              <a:buAutoNum type="arabicPeriod"/>
            </a:pPr>
            <a:r>
              <a:rPr lang="en-US" b="1" i="0">
                <a:solidFill>
                  <a:srgbClr val="D1D5DB"/>
                </a:solidFill>
                <a:effectLst/>
                <a:latin typeface="Söhne"/>
              </a:rPr>
              <a:t>Interpretability:</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The coefficients of the logistic regression model represent the change in the log-odds of the dependent variable for a one-unit change in the corresponding independent variable. These coefficients can be interpreted to understand the impact of each predictor on the likelihood of the event (cancellation in this case).</a:t>
            </a:r>
          </a:p>
          <a:p>
            <a:pPr algn="l">
              <a:buFont typeface="+mj-lt"/>
              <a:buAutoNum type="arabicPeriod"/>
            </a:pPr>
            <a:r>
              <a:rPr lang="en-US" b="1" i="0">
                <a:solidFill>
                  <a:srgbClr val="D1D5DB"/>
                </a:solidFill>
                <a:effectLst/>
                <a:latin typeface="Söhne"/>
              </a:rPr>
              <a:t>Assumptions:</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Logistic regression assumes that the relationship between the independent variables and the log-odds of the dependent variable is linear. It also assumes that there is no multicollinearity among the independent variables.</a:t>
            </a:r>
          </a:p>
          <a:p>
            <a:pPr algn="l">
              <a:buFont typeface="+mj-lt"/>
              <a:buAutoNum type="arabicPeriod"/>
            </a:pPr>
            <a:r>
              <a:rPr lang="en-US" b="1" i="0">
                <a:solidFill>
                  <a:srgbClr val="D1D5DB"/>
                </a:solidFill>
                <a:effectLst/>
                <a:latin typeface="Söhne"/>
              </a:rPr>
              <a:t>Model Evaluation:</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Model performance can be evaluated using various metrics such as accuracy, precision, recall, F1 score, and area under the Receiver Operating Characteristic (ROC) curve. These metrics help assess how well the model predicts cancellations and whether it is suitable for practical use.</a:t>
            </a:r>
          </a:p>
          <a:p>
            <a:pPr algn="l">
              <a:buFont typeface="+mj-lt"/>
              <a:buAutoNum type="arabicPeriod"/>
            </a:pPr>
            <a:r>
              <a:rPr lang="en-US" b="1" i="0">
                <a:solidFill>
                  <a:srgbClr val="D1D5DB"/>
                </a:solidFill>
                <a:effectLst/>
                <a:latin typeface="Söhne"/>
              </a:rPr>
              <a:t>Feature Selection:</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Logistic regression allows for the inclusion of multiple independent variables, but it's important to select relevant features. Feature selection methods can help identify the most influential predictors and improve model performance.</a:t>
            </a:r>
          </a:p>
          <a:p>
            <a:pPr algn="l">
              <a:buFont typeface="+mj-lt"/>
              <a:buAutoNum type="arabicPeriod"/>
            </a:pPr>
            <a:r>
              <a:rPr lang="en-US" b="1" i="0">
                <a:solidFill>
                  <a:srgbClr val="D1D5DB"/>
                </a:solidFill>
                <a:effectLst/>
                <a:latin typeface="Söhne"/>
              </a:rPr>
              <a:t>Implementation in Analytics:</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Logistic regression can be implemented using various statistical software or programming languages such as Python (using libraries like scikit-learn or </a:t>
            </a:r>
            <a:r>
              <a:rPr lang="en-US" b="0" i="0" err="1">
                <a:solidFill>
                  <a:srgbClr val="D1D5DB"/>
                </a:solidFill>
                <a:effectLst/>
                <a:latin typeface="Söhne"/>
              </a:rPr>
              <a:t>StatsModels</a:t>
            </a:r>
            <a:r>
              <a:rPr lang="en-US" b="0" i="0">
                <a:solidFill>
                  <a:srgbClr val="D1D5DB"/>
                </a:solidFill>
                <a:effectLst/>
                <a:latin typeface="Söhne"/>
              </a:rPr>
              <a:t>), R, SAS, and others. These tools provide functions for model training, evaluation, and interpretation.</a:t>
            </a:r>
          </a:p>
          <a:p>
            <a:pPr algn="l">
              <a:buFont typeface="+mj-lt"/>
              <a:buAutoNum type="arabicPeriod"/>
            </a:pPr>
            <a:r>
              <a:rPr lang="en-US" b="1" i="0">
                <a:solidFill>
                  <a:srgbClr val="D1D5DB"/>
                </a:solidFill>
                <a:effectLst/>
                <a:latin typeface="Söhne"/>
              </a:rPr>
              <a:t>Business Insights:</a:t>
            </a:r>
            <a:endParaRPr lang="en-US" b="0" i="0">
              <a:solidFill>
                <a:srgbClr val="D1D5DB"/>
              </a:solidFill>
              <a:effectLst/>
              <a:latin typeface="Söhne"/>
            </a:endParaRPr>
          </a:p>
          <a:p>
            <a:pPr marL="742950" lvl="1" indent="-285750" algn="l">
              <a:buFont typeface="+mj-lt"/>
              <a:buAutoNum type="arabicPeriod"/>
            </a:pPr>
            <a:r>
              <a:rPr lang="en-US" b="0" i="0">
                <a:solidFill>
                  <a:srgbClr val="D1D5DB"/>
                </a:solidFill>
                <a:effectLst/>
                <a:latin typeface="Söhne"/>
              </a:rPr>
              <a:t>Analyzing the logistic regression results can provide valuable insights for hotel management. For example, which factors contribute significantly to cancellations? Understanding these factors can inform strategic decisions to minimize cancellations and optimize hotel operations.</a:t>
            </a:r>
          </a:p>
          <a:p>
            <a:endParaRPr lang="en-US"/>
          </a:p>
        </p:txBody>
      </p:sp>
      <p:sp>
        <p:nvSpPr>
          <p:cNvPr id="4" name="Slide Number Placeholder 3"/>
          <p:cNvSpPr>
            <a:spLocks noGrp="1"/>
          </p:cNvSpPr>
          <p:nvPr>
            <p:ph type="sldNum" sz="quarter" idx="5"/>
          </p:nvPr>
        </p:nvSpPr>
        <p:spPr/>
        <p:txBody>
          <a:bodyPr/>
          <a:lstStyle/>
          <a:p>
            <a:fld id="{8B990660-4B7D-4C11-96DB-B19FFA8CA93C}" type="slidenum">
              <a:rPr lang="en-US" smtClean="0"/>
              <a:t>6</a:t>
            </a:fld>
            <a:endParaRPr lang="en-US"/>
          </a:p>
        </p:txBody>
      </p:sp>
    </p:spTree>
    <p:extLst>
      <p:ext uri="{BB962C8B-B14F-4D97-AF65-F5344CB8AC3E}">
        <p14:creationId xmlns:p14="http://schemas.microsoft.com/office/powerpoint/2010/main" val="9387848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6"/>
        </a:solidFill>
        <a:effectLst/>
      </p:bgPr>
    </p:bg>
    <p:spTree>
      <p:nvGrpSpPr>
        <p:cNvPr id="1" name=""/>
        <p:cNvGrpSpPr/>
        <p:nvPr/>
      </p:nvGrpSpPr>
      <p:grpSpPr>
        <a:xfrm>
          <a:off x="0" y="0"/>
          <a:ext cx="0" cy="0"/>
          <a:chOff x="0" y="0"/>
          <a:chExt cx="0" cy="0"/>
        </a:xfrm>
      </p:grpSpPr>
      <p:sp>
        <p:nvSpPr>
          <p:cNvPr id="833" name="Rectangle 832">
            <a:extLst>
              <a:ext uri="{FF2B5EF4-FFF2-40B4-BE49-F238E27FC236}">
                <a16:creationId xmlns:a16="http://schemas.microsoft.com/office/drawing/2014/main" id="{8E22E039-2338-41C1-B766-1F3E903EC727}"/>
              </a:ext>
            </a:extLst>
          </p:cNvPr>
          <p:cNvSpPr/>
          <p:nvPr userDrawn="1"/>
        </p:nvSpPr>
        <p:spPr>
          <a:xfrm>
            <a:off x="4114800" y="1499616"/>
            <a:ext cx="7196328" cy="335584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53</a:t>
            </a:r>
          </a:p>
          <a:p>
            <a:pPr algn="ctr"/>
            <a:endParaRPr lang="en-US"/>
          </a:p>
        </p:txBody>
      </p:sp>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6437376" y="1874520"/>
            <a:ext cx="4379976" cy="1547583"/>
          </a:xfrm>
        </p:spPr>
        <p:txBody>
          <a:bodyPr anchor="b">
            <a:normAutofit/>
          </a:bodyPr>
          <a:lstStyle>
            <a:lvl1pPr algn="l">
              <a:defRPr sz="3800" b="1" baseline="0"/>
            </a:lvl1pPr>
          </a:lstStyle>
          <a:p>
            <a:r>
              <a:rPr lang="en-US"/>
              <a:t>CLICK TO EDIT TITLE</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p:nvPr>
        </p:nvSpPr>
        <p:spPr>
          <a:xfrm>
            <a:off x="6437376" y="3483864"/>
            <a:ext cx="4379976" cy="613370"/>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0" name="Picture Placeholder 16" descr="abstract colorful illustration of buildings">
            <a:extLst>
              <a:ext uri="{FF2B5EF4-FFF2-40B4-BE49-F238E27FC236}">
                <a16:creationId xmlns:a16="http://schemas.microsoft.com/office/drawing/2014/main" id="{BB4F6769-F2AF-40E9-9E50-F81C7E6E6806}"/>
              </a:ext>
            </a:extLst>
          </p:cNvPr>
          <p:cNvGrpSpPr/>
          <p:nvPr userDrawn="1"/>
        </p:nvGrpSpPr>
        <p:grpSpPr>
          <a:xfrm>
            <a:off x="0" y="0"/>
            <a:ext cx="6883718" cy="6858751"/>
            <a:chOff x="0" y="0"/>
            <a:chExt cx="6883718" cy="6858751"/>
          </a:xfrm>
        </p:grpSpPr>
        <p:sp>
          <p:nvSpPr>
            <p:cNvPr id="11" name="Freeform: Shape 10">
              <a:extLst>
                <a:ext uri="{FF2B5EF4-FFF2-40B4-BE49-F238E27FC236}">
                  <a16:creationId xmlns:a16="http://schemas.microsoft.com/office/drawing/2014/main" id="{14671802-9C9A-4E24-88D9-E06A86FB078E}"/>
                </a:ext>
              </a:extLst>
            </p:cNvPr>
            <p:cNvSpPr/>
            <p:nvPr/>
          </p:nvSpPr>
          <p:spPr>
            <a:xfrm>
              <a:off x="5857321" y="5581719"/>
              <a:ext cx="1004801" cy="684694"/>
            </a:xfrm>
            <a:custGeom>
              <a:avLst/>
              <a:gdLst>
                <a:gd name="connsiteX0" fmla="*/ 398872 w 1004801"/>
                <a:gd name="connsiteY0" fmla="*/ 684694 h 684694"/>
                <a:gd name="connsiteX1" fmla="*/ 1004802 w 1004801"/>
                <a:gd name="connsiteY1" fmla="*/ 115598 h 684694"/>
                <a:gd name="connsiteX2" fmla="*/ 846015 w 1004801"/>
                <a:gd name="connsiteY2" fmla="*/ 68596 h 684694"/>
                <a:gd name="connsiteX3" fmla="*/ 705012 w 1004801"/>
                <a:gd name="connsiteY3" fmla="*/ 26676 h 684694"/>
                <a:gd name="connsiteX4" fmla="*/ 613551 w 1004801"/>
                <a:gd name="connsiteY4" fmla="*/ 0 h 684694"/>
                <a:gd name="connsiteX5" fmla="*/ 0 w 1004801"/>
                <a:gd name="connsiteY5" fmla="*/ 557664 h 68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801" h="684694">
                  <a:moveTo>
                    <a:pt x="398872" y="684694"/>
                  </a:moveTo>
                  <a:lnTo>
                    <a:pt x="1004802" y="115598"/>
                  </a:lnTo>
                  <a:lnTo>
                    <a:pt x="846015" y="68596"/>
                  </a:lnTo>
                  <a:lnTo>
                    <a:pt x="705012" y="26676"/>
                  </a:lnTo>
                  <a:lnTo>
                    <a:pt x="613551" y="0"/>
                  </a:lnTo>
                  <a:lnTo>
                    <a:pt x="0" y="557664"/>
                  </a:lnTo>
                  <a:close/>
                </a:path>
              </a:pathLst>
            </a:custGeom>
            <a:solidFill>
              <a:schemeClr val="accent6">
                <a:lumMod val="60000"/>
                <a:lumOff val="40000"/>
              </a:schemeClr>
            </a:solidFill>
            <a:ln w="1268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1FC496BE-6A74-4380-A871-1125ECCA3B69}"/>
                </a:ext>
              </a:extLst>
            </p:cNvPr>
            <p:cNvSpPr/>
            <p:nvPr/>
          </p:nvSpPr>
          <p:spPr>
            <a:xfrm>
              <a:off x="6247300" y="5712561"/>
              <a:ext cx="621173" cy="1142003"/>
            </a:xfrm>
            <a:custGeom>
              <a:avLst/>
              <a:gdLst>
                <a:gd name="connsiteX0" fmla="*/ 17784 w 621173"/>
                <a:gd name="connsiteY0" fmla="*/ 566556 h 1142003"/>
                <a:gd name="connsiteX1" fmla="*/ 0 w 621173"/>
                <a:gd name="connsiteY1" fmla="*/ 1142004 h 1142003"/>
                <a:gd name="connsiteX2" fmla="*/ 570362 w 621173"/>
                <a:gd name="connsiteY2" fmla="*/ 1142004 h 1142003"/>
                <a:gd name="connsiteX3" fmla="*/ 621174 w 621173"/>
                <a:gd name="connsiteY3" fmla="*/ 0 h 1142003"/>
              </a:gdLst>
              <a:ahLst/>
              <a:cxnLst>
                <a:cxn ang="0">
                  <a:pos x="connsiteX0" y="connsiteY0"/>
                </a:cxn>
                <a:cxn ang="0">
                  <a:pos x="connsiteX1" y="connsiteY1"/>
                </a:cxn>
                <a:cxn ang="0">
                  <a:pos x="connsiteX2" y="connsiteY2"/>
                </a:cxn>
                <a:cxn ang="0">
                  <a:pos x="connsiteX3" y="connsiteY3"/>
                </a:cxn>
              </a:cxnLst>
              <a:rect l="l" t="t" r="r" b="b"/>
              <a:pathLst>
                <a:path w="621173" h="1142003">
                  <a:moveTo>
                    <a:pt x="17784" y="566556"/>
                  </a:moveTo>
                  <a:lnTo>
                    <a:pt x="0" y="1142004"/>
                  </a:lnTo>
                  <a:lnTo>
                    <a:pt x="570362" y="1142004"/>
                  </a:lnTo>
                  <a:lnTo>
                    <a:pt x="621174" y="0"/>
                  </a:lnTo>
                  <a:close/>
                </a:path>
              </a:pathLst>
            </a:custGeom>
            <a:solidFill>
              <a:schemeClr val="accent6">
                <a:lumMod val="60000"/>
                <a:lumOff val="40000"/>
              </a:schemeClr>
            </a:solidFill>
            <a:ln w="1268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1EB51B5-EE77-4EF7-BF37-F8B133937C28}"/>
                </a:ext>
              </a:extLst>
            </p:cNvPr>
            <p:cNvSpPr/>
            <p:nvPr/>
          </p:nvSpPr>
          <p:spPr>
            <a:xfrm>
              <a:off x="1091181" y="6228304"/>
              <a:ext cx="652930" cy="626260"/>
            </a:xfrm>
            <a:custGeom>
              <a:avLst/>
              <a:gdLst>
                <a:gd name="connsiteX0" fmla="*/ 647849 w 652930"/>
                <a:gd name="connsiteY0" fmla="*/ 242628 h 626260"/>
                <a:gd name="connsiteX1" fmla="*/ 652931 w 652930"/>
                <a:gd name="connsiteY1" fmla="*/ 238818 h 626260"/>
                <a:gd name="connsiteX2" fmla="*/ 635146 w 652930"/>
                <a:gd name="connsiteY2" fmla="*/ 232466 h 626260"/>
                <a:gd name="connsiteX3" fmla="*/ 0 w 652930"/>
                <a:gd name="connsiteY3" fmla="*/ 0 h 626260"/>
                <a:gd name="connsiteX4" fmla="*/ 58433 w 652930"/>
                <a:gd name="connsiteY4" fmla="*/ 626260 h 626260"/>
                <a:gd name="connsiteX5" fmla="*/ 144813 w 652930"/>
                <a:gd name="connsiteY5" fmla="*/ 626260 h 626260"/>
                <a:gd name="connsiteX6" fmla="*/ 647849 w 652930"/>
                <a:gd name="connsiteY6" fmla="*/ 242628 h 62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930" h="626260">
                  <a:moveTo>
                    <a:pt x="647849" y="242628"/>
                  </a:moveTo>
                  <a:lnTo>
                    <a:pt x="652931" y="238818"/>
                  </a:lnTo>
                  <a:lnTo>
                    <a:pt x="635146" y="232466"/>
                  </a:lnTo>
                  <a:lnTo>
                    <a:pt x="0" y="0"/>
                  </a:lnTo>
                  <a:lnTo>
                    <a:pt x="58433" y="626260"/>
                  </a:lnTo>
                  <a:lnTo>
                    <a:pt x="144813" y="626260"/>
                  </a:lnTo>
                  <a:lnTo>
                    <a:pt x="647849" y="242628"/>
                  </a:lnTo>
                  <a:close/>
                </a:path>
              </a:pathLst>
            </a:custGeom>
            <a:solidFill>
              <a:schemeClr val="accent2"/>
            </a:solidFill>
            <a:ln w="1268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BB46DE2-4842-42F7-8D46-63B751567E8D}"/>
                </a:ext>
              </a:extLst>
            </p:cNvPr>
            <p:cNvSpPr/>
            <p:nvPr/>
          </p:nvSpPr>
          <p:spPr>
            <a:xfrm>
              <a:off x="1759355" y="6473473"/>
              <a:ext cx="638957" cy="233736"/>
            </a:xfrm>
            <a:custGeom>
              <a:avLst/>
              <a:gdLst>
                <a:gd name="connsiteX0" fmla="*/ 637687 w 638957"/>
                <a:gd name="connsiteY0" fmla="*/ 233736 h 233736"/>
                <a:gd name="connsiteX1" fmla="*/ 638957 w 638957"/>
                <a:gd name="connsiteY1" fmla="*/ 233736 h 233736"/>
                <a:gd name="connsiteX2" fmla="*/ 1270 w 638957"/>
                <a:gd name="connsiteY2" fmla="*/ 0 h 233736"/>
                <a:gd name="connsiteX3" fmla="*/ 0 w 638957"/>
                <a:gd name="connsiteY3" fmla="*/ 0 h 233736"/>
              </a:gdLst>
              <a:ahLst/>
              <a:cxnLst>
                <a:cxn ang="0">
                  <a:pos x="connsiteX0" y="connsiteY0"/>
                </a:cxn>
                <a:cxn ang="0">
                  <a:pos x="connsiteX1" y="connsiteY1"/>
                </a:cxn>
                <a:cxn ang="0">
                  <a:pos x="connsiteX2" y="connsiteY2"/>
                </a:cxn>
                <a:cxn ang="0">
                  <a:pos x="connsiteX3" y="connsiteY3"/>
                </a:cxn>
              </a:cxnLst>
              <a:rect l="l" t="t" r="r" b="b"/>
              <a:pathLst>
                <a:path w="638957" h="233736">
                  <a:moveTo>
                    <a:pt x="637687" y="233736"/>
                  </a:moveTo>
                  <a:lnTo>
                    <a:pt x="638957" y="233736"/>
                  </a:lnTo>
                  <a:lnTo>
                    <a:pt x="1270" y="0"/>
                  </a:lnTo>
                  <a:lnTo>
                    <a:pt x="0" y="0"/>
                  </a:lnTo>
                  <a:close/>
                </a:path>
              </a:pathLst>
            </a:custGeom>
            <a:solidFill>
              <a:srgbClr val="F9AA19"/>
            </a:solidFill>
            <a:ln w="1268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E15756E-4ED9-48D0-9D1F-15B74033831A}"/>
                </a:ext>
              </a:extLst>
            </p:cNvPr>
            <p:cNvSpPr/>
            <p:nvPr/>
          </p:nvSpPr>
          <p:spPr>
            <a:xfrm>
              <a:off x="1735220" y="6439175"/>
              <a:ext cx="15243" cy="13973"/>
            </a:xfrm>
            <a:custGeom>
              <a:avLst/>
              <a:gdLst>
                <a:gd name="connsiteX0" fmla="*/ 1270 w 15243"/>
                <a:gd name="connsiteY0" fmla="*/ 8892 h 13973"/>
                <a:gd name="connsiteX1" fmla="*/ 15243 w 15243"/>
                <a:gd name="connsiteY1" fmla="*/ 13973 h 13973"/>
                <a:gd name="connsiteX2" fmla="*/ 15243 w 15243"/>
                <a:gd name="connsiteY2" fmla="*/ 5081 h 13973"/>
                <a:gd name="connsiteX3" fmla="*/ 0 w 15243"/>
                <a:gd name="connsiteY3" fmla="*/ 0 h 13973"/>
              </a:gdLst>
              <a:ahLst/>
              <a:cxnLst>
                <a:cxn ang="0">
                  <a:pos x="connsiteX0" y="connsiteY0"/>
                </a:cxn>
                <a:cxn ang="0">
                  <a:pos x="connsiteX1" y="connsiteY1"/>
                </a:cxn>
                <a:cxn ang="0">
                  <a:pos x="connsiteX2" y="connsiteY2"/>
                </a:cxn>
                <a:cxn ang="0">
                  <a:pos x="connsiteX3" y="connsiteY3"/>
                </a:cxn>
              </a:cxnLst>
              <a:rect l="l" t="t" r="r" b="b"/>
              <a:pathLst>
                <a:path w="15243" h="13973">
                  <a:moveTo>
                    <a:pt x="1270" y="8892"/>
                  </a:moveTo>
                  <a:lnTo>
                    <a:pt x="15243" y="13973"/>
                  </a:lnTo>
                  <a:lnTo>
                    <a:pt x="15243" y="5081"/>
                  </a:lnTo>
                  <a:lnTo>
                    <a:pt x="0" y="0"/>
                  </a:lnTo>
                  <a:close/>
                </a:path>
              </a:pathLst>
            </a:custGeom>
            <a:solidFill>
              <a:srgbClr val="F2494C"/>
            </a:solidFill>
            <a:ln w="1268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0E72BD9-1593-47EC-9FCF-E9FE8EE2D87F}"/>
                </a:ext>
              </a:extLst>
            </p:cNvPr>
            <p:cNvSpPr/>
            <p:nvPr/>
          </p:nvSpPr>
          <p:spPr>
            <a:xfrm>
              <a:off x="1742841" y="6421391"/>
              <a:ext cx="5081" cy="6351"/>
            </a:xfrm>
            <a:custGeom>
              <a:avLst/>
              <a:gdLst>
                <a:gd name="connsiteX0" fmla="*/ 5081 w 5081"/>
                <a:gd name="connsiteY0" fmla="*/ 6352 h 6351"/>
                <a:gd name="connsiteX1" fmla="*/ 5081 w 5081"/>
                <a:gd name="connsiteY1" fmla="*/ 0 h 6351"/>
                <a:gd name="connsiteX2" fmla="*/ 0 w 5081"/>
                <a:gd name="connsiteY2" fmla="*/ 5081 h 6351"/>
              </a:gdLst>
              <a:ahLst/>
              <a:cxnLst>
                <a:cxn ang="0">
                  <a:pos x="connsiteX0" y="connsiteY0"/>
                </a:cxn>
                <a:cxn ang="0">
                  <a:pos x="connsiteX1" y="connsiteY1"/>
                </a:cxn>
                <a:cxn ang="0">
                  <a:pos x="connsiteX2" y="connsiteY2"/>
                </a:cxn>
              </a:cxnLst>
              <a:rect l="l" t="t" r="r" b="b"/>
              <a:pathLst>
                <a:path w="5081" h="6351">
                  <a:moveTo>
                    <a:pt x="5081" y="6352"/>
                  </a:moveTo>
                  <a:lnTo>
                    <a:pt x="5081" y="0"/>
                  </a:lnTo>
                  <a:lnTo>
                    <a:pt x="0" y="5081"/>
                  </a:lnTo>
                  <a:close/>
                </a:path>
              </a:pathLst>
            </a:custGeom>
            <a:solidFill>
              <a:srgbClr val="F2494C"/>
            </a:solidFill>
            <a:ln w="1268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012E07E1-DC65-4E1E-ACE1-984E3E62358F}"/>
                </a:ext>
              </a:extLst>
            </p:cNvPr>
            <p:cNvSpPr/>
            <p:nvPr/>
          </p:nvSpPr>
          <p:spPr>
            <a:xfrm>
              <a:off x="1089911" y="6204168"/>
              <a:ext cx="630065" cy="238817"/>
            </a:xfrm>
            <a:custGeom>
              <a:avLst/>
              <a:gdLst>
                <a:gd name="connsiteX0" fmla="*/ 0 w 630065"/>
                <a:gd name="connsiteY0" fmla="*/ 0 h 238817"/>
                <a:gd name="connsiteX1" fmla="*/ 0 w 630065"/>
                <a:gd name="connsiteY1" fmla="*/ 7622 h 238817"/>
                <a:gd name="connsiteX2" fmla="*/ 630065 w 630065"/>
                <a:gd name="connsiteY2" fmla="*/ 238818 h 238817"/>
                <a:gd name="connsiteX3" fmla="*/ 630065 w 630065"/>
                <a:gd name="connsiteY3" fmla="*/ 229925 h 238817"/>
              </a:gdLst>
              <a:ahLst/>
              <a:cxnLst>
                <a:cxn ang="0">
                  <a:pos x="connsiteX0" y="connsiteY0"/>
                </a:cxn>
                <a:cxn ang="0">
                  <a:pos x="connsiteX1" y="connsiteY1"/>
                </a:cxn>
                <a:cxn ang="0">
                  <a:pos x="connsiteX2" y="connsiteY2"/>
                </a:cxn>
                <a:cxn ang="0">
                  <a:pos x="connsiteX3" y="connsiteY3"/>
                </a:cxn>
              </a:cxnLst>
              <a:rect l="l" t="t" r="r" b="b"/>
              <a:pathLst>
                <a:path w="630065" h="238817">
                  <a:moveTo>
                    <a:pt x="0" y="0"/>
                  </a:moveTo>
                  <a:lnTo>
                    <a:pt x="0" y="7622"/>
                  </a:lnTo>
                  <a:lnTo>
                    <a:pt x="630065" y="238818"/>
                  </a:lnTo>
                  <a:lnTo>
                    <a:pt x="630065" y="229925"/>
                  </a:lnTo>
                  <a:close/>
                </a:path>
              </a:pathLst>
            </a:custGeom>
            <a:solidFill>
              <a:srgbClr val="F39896"/>
            </a:solidFill>
            <a:ln w="1268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0A4D431-DB37-4617-A1D4-D7A16214E846}"/>
                </a:ext>
              </a:extLst>
            </p:cNvPr>
            <p:cNvSpPr/>
            <p:nvPr/>
          </p:nvSpPr>
          <p:spPr>
            <a:xfrm>
              <a:off x="1096262" y="5751940"/>
              <a:ext cx="650389" cy="668180"/>
            </a:xfrm>
            <a:custGeom>
              <a:avLst/>
              <a:gdLst>
                <a:gd name="connsiteX0" fmla="*/ 630065 w 650389"/>
                <a:gd name="connsiteY0" fmla="*/ 668180 h 668180"/>
                <a:gd name="connsiteX1" fmla="*/ 650390 w 650389"/>
                <a:gd name="connsiteY1" fmla="*/ 651667 h 668180"/>
                <a:gd name="connsiteX2" fmla="*/ 600849 w 650389"/>
                <a:gd name="connsiteY2" fmla="*/ 0 h 668180"/>
                <a:gd name="connsiteX3" fmla="*/ 0 w 650389"/>
                <a:gd name="connsiteY3" fmla="*/ 438255 h 668180"/>
              </a:gdLst>
              <a:ahLst/>
              <a:cxnLst>
                <a:cxn ang="0">
                  <a:pos x="connsiteX0" y="connsiteY0"/>
                </a:cxn>
                <a:cxn ang="0">
                  <a:pos x="connsiteX1" y="connsiteY1"/>
                </a:cxn>
                <a:cxn ang="0">
                  <a:pos x="connsiteX2" y="connsiteY2"/>
                </a:cxn>
                <a:cxn ang="0">
                  <a:pos x="connsiteX3" y="connsiteY3"/>
                </a:cxn>
              </a:cxnLst>
              <a:rect l="l" t="t" r="r" b="b"/>
              <a:pathLst>
                <a:path w="650389" h="668180">
                  <a:moveTo>
                    <a:pt x="630065" y="668180"/>
                  </a:moveTo>
                  <a:lnTo>
                    <a:pt x="650390" y="651667"/>
                  </a:lnTo>
                  <a:lnTo>
                    <a:pt x="600849" y="0"/>
                  </a:lnTo>
                  <a:lnTo>
                    <a:pt x="0" y="438255"/>
                  </a:lnTo>
                  <a:close/>
                </a:path>
              </a:pathLst>
            </a:custGeom>
            <a:solidFill>
              <a:schemeClr val="accent5"/>
            </a:solidFill>
            <a:ln w="1268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3BFD618-6E12-4E2D-8814-1A923D4E1DB6}"/>
                </a:ext>
              </a:extLst>
            </p:cNvPr>
            <p:cNvSpPr/>
            <p:nvPr/>
          </p:nvSpPr>
          <p:spPr>
            <a:xfrm>
              <a:off x="787581" y="5243818"/>
              <a:ext cx="905718" cy="1610746"/>
            </a:xfrm>
            <a:custGeom>
              <a:avLst/>
              <a:gdLst>
                <a:gd name="connsiteX0" fmla="*/ 288356 w 905718"/>
                <a:gd name="connsiteY0" fmla="*/ 974324 h 1610746"/>
                <a:gd name="connsiteX1" fmla="*/ 288356 w 905718"/>
                <a:gd name="connsiteY1" fmla="*/ 974324 h 1610746"/>
                <a:gd name="connsiteX2" fmla="*/ 285816 w 905718"/>
                <a:gd name="connsiteY2" fmla="*/ 950188 h 1610746"/>
                <a:gd name="connsiteX3" fmla="*/ 285816 w 905718"/>
                <a:gd name="connsiteY3" fmla="*/ 950188 h 1610746"/>
                <a:gd name="connsiteX4" fmla="*/ 285816 w 905718"/>
                <a:gd name="connsiteY4" fmla="*/ 948918 h 1610746"/>
                <a:gd name="connsiteX5" fmla="*/ 285816 w 905718"/>
                <a:gd name="connsiteY5" fmla="*/ 947648 h 1610746"/>
                <a:gd name="connsiteX6" fmla="*/ 285816 w 905718"/>
                <a:gd name="connsiteY6" fmla="*/ 947648 h 1610746"/>
                <a:gd name="connsiteX7" fmla="*/ 285816 w 905718"/>
                <a:gd name="connsiteY7" fmla="*/ 947648 h 1610746"/>
                <a:gd name="connsiteX8" fmla="*/ 285816 w 905718"/>
                <a:gd name="connsiteY8" fmla="*/ 947648 h 1610746"/>
                <a:gd name="connsiteX9" fmla="*/ 285816 w 905718"/>
                <a:gd name="connsiteY9" fmla="*/ 946377 h 1610746"/>
                <a:gd name="connsiteX10" fmla="*/ 285816 w 905718"/>
                <a:gd name="connsiteY10" fmla="*/ 946377 h 1610746"/>
                <a:gd name="connsiteX11" fmla="*/ 287086 w 905718"/>
                <a:gd name="connsiteY11" fmla="*/ 945107 h 1610746"/>
                <a:gd name="connsiteX12" fmla="*/ 287086 w 905718"/>
                <a:gd name="connsiteY12" fmla="*/ 945107 h 1610746"/>
                <a:gd name="connsiteX13" fmla="*/ 905719 w 905718"/>
                <a:gd name="connsiteY13" fmla="*/ 494149 h 1610746"/>
                <a:gd name="connsiteX14" fmla="*/ 867610 w 905718"/>
                <a:gd name="connsiteY14" fmla="*/ 0 h 1610746"/>
                <a:gd name="connsiteX15" fmla="*/ 0 w 905718"/>
                <a:gd name="connsiteY15" fmla="*/ 611017 h 1610746"/>
                <a:gd name="connsiteX16" fmla="*/ 43190 w 905718"/>
                <a:gd name="connsiteY16" fmla="*/ 1044191 h 1610746"/>
                <a:gd name="connsiteX17" fmla="*/ 104164 w 905718"/>
                <a:gd name="connsiteY17" fmla="*/ 1067056 h 1610746"/>
                <a:gd name="connsiteX18" fmla="*/ 104164 w 905718"/>
                <a:gd name="connsiteY18" fmla="*/ 1067056 h 1610746"/>
                <a:gd name="connsiteX19" fmla="*/ 105434 w 905718"/>
                <a:gd name="connsiteY19" fmla="*/ 1067056 h 1610746"/>
                <a:gd name="connsiteX20" fmla="*/ 105434 w 905718"/>
                <a:gd name="connsiteY20" fmla="*/ 1067056 h 1610746"/>
                <a:gd name="connsiteX21" fmla="*/ 106705 w 905718"/>
                <a:gd name="connsiteY21" fmla="*/ 1068327 h 1610746"/>
                <a:gd name="connsiteX22" fmla="*/ 106705 w 905718"/>
                <a:gd name="connsiteY22" fmla="*/ 1068327 h 1610746"/>
                <a:gd name="connsiteX23" fmla="*/ 106705 w 905718"/>
                <a:gd name="connsiteY23" fmla="*/ 1068327 h 1610746"/>
                <a:gd name="connsiteX24" fmla="*/ 106705 w 905718"/>
                <a:gd name="connsiteY24" fmla="*/ 1069597 h 1610746"/>
                <a:gd name="connsiteX25" fmla="*/ 106705 w 905718"/>
                <a:gd name="connsiteY25" fmla="*/ 1070867 h 1610746"/>
                <a:gd name="connsiteX26" fmla="*/ 106705 w 905718"/>
                <a:gd name="connsiteY26" fmla="*/ 1072138 h 1610746"/>
                <a:gd name="connsiteX27" fmla="*/ 106705 w 905718"/>
                <a:gd name="connsiteY27" fmla="*/ 1072138 h 1610746"/>
                <a:gd name="connsiteX28" fmla="*/ 154976 w 905718"/>
                <a:gd name="connsiteY28" fmla="*/ 1566286 h 1610746"/>
                <a:gd name="connsiteX29" fmla="*/ 269302 w 905718"/>
                <a:gd name="connsiteY29" fmla="*/ 1610746 h 1610746"/>
                <a:gd name="connsiteX30" fmla="*/ 345520 w 905718"/>
                <a:gd name="connsiteY30" fmla="*/ 1610746 h 1610746"/>
                <a:gd name="connsiteX31" fmla="*/ 287086 w 905718"/>
                <a:gd name="connsiteY31" fmla="*/ 974324 h 1610746"/>
                <a:gd name="connsiteX32" fmla="*/ 288356 w 905718"/>
                <a:gd name="connsiteY32" fmla="*/ 974324 h 161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05718" h="1610746">
                  <a:moveTo>
                    <a:pt x="288356" y="974324"/>
                  </a:moveTo>
                  <a:lnTo>
                    <a:pt x="288356" y="974324"/>
                  </a:lnTo>
                  <a:lnTo>
                    <a:pt x="285816" y="950188"/>
                  </a:lnTo>
                  <a:lnTo>
                    <a:pt x="285816" y="950188"/>
                  </a:lnTo>
                  <a:lnTo>
                    <a:pt x="285816" y="948918"/>
                  </a:lnTo>
                  <a:cubicBezTo>
                    <a:pt x="285816" y="948918"/>
                    <a:pt x="285816" y="947648"/>
                    <a:pt x="285816" y="947648"/>
                  </a:cubicBezTo>
                  <a:cubicBezTo>
                    <a:pt x="285816" y="947648"/>
                    <a:pt x="285816" y="947648"/>
                    <a:pt x="285816" y="947648"/>
                  </a:cubicBezTo>
                  <a:lnTo>
                    <a:pt x="285816" y="947648"/>
                  </a:lnTo>
                  <a:lnTo>
                    <a:pt x="285816" y="947648"/>
                  </a:lnTo>
                  <a:cubicBezTo>
                    <a:pt x="285816" y="947648"/>
                    <a:pt x="285816" y="946377"/>
                    <a:pt x="285816" y="946377"/>
                  </a:cubicBezTo>
                  <a:lnTo>
                    <a:pt x="285816" y="946377"/>
                  </a:lnTo>
                  <a:lnTo>
                    <a:pt x="287086" y="945107"/>
                  </a:lnTo>
                  <a:lnTo>
                    <a:pt x="287086" y="945107"/>
                  </a:lnTo>
                  <a:lnTo>
                    <a:pt x="905719" y="494149"/>
                  </a:lnTo>
                  <a:lnTo>
                    <a:pt x="867610" y="0"/>
                  </a:lnTo>
                  <a:lnTo>
                    <a:pt x="0" y="611017"/>
                  </a:lnTo>
                  <a:lnTo>
                    <a:pt x="43190" y="1044191"/>
                  </a:lnTo>
                  <a:lnTo>
                    <a:pt x="104164" y="1067056"/>
                  </a:lnTo>
                  <a:lnTo>
                    <a:pt x="104164" y="1067056"/>
                  </a:lnTo>
                  <a:lnTo>
                    <a:pt x="105434" y="1067056"/>
                  </a:lnTo>
                  <a:lnTo>
                    <a:pt x="105434" y="1067056"/>
                  </a:lnTo>
                  <a:lnTo>
                    <a:pt x="106705" y="1068327"/>
                  </a:lnTo>
                  <a:lnTo>
                    <a:pt x="106705" y="1068327"/>
                  </a:lnTo>
                  <a:lnTo>
                    <a:pt x="106705" y="1068327"/>
                  </a:lnTo>
                  <a:lnTo>
                    <a:pt x="106705" y="1069597"/>
                  </a:lnTo>
                  <a:cubicBezTo>
                    <a:pt x="106705" y="1069597"/>
                    <a:pt x="106705" y="1069597"/>
                    <a:pt x="106705" y="1070867"/>
                  </a:cubicBezTo>
                  <a:cubicBezTo>
                    <a:pt x="106705" y="1070867"/>
                    <a:pt x="106705" y="1072138"/>
                    <a:pt x="106705" y="1072138"/>
                  </a:cubicBezTo>
                  <a:lnTo>
                    <a:pt x="106705" y="1072138"/>
                  </a:lnTo>
                  <a:lnTo>
                    <a:pt x="154976" y="1566286"/>
                  </a:lnTo>
                  <a:lnTo>
                    <a:pt x="269302" y="1610746"/>
                  </a:lnTo>
                  <a:lnTo>
                    <a:pt x="345520" y="1610746"/>
                  </a:lnTo>
                  <a:lnTo>
                    <a:pt x="287086" y="974324"/>
                  </a:lnTo>
                  <a:lnTo>
                    <a:pt x="288356" y="974324"/>
                  </a:lnTo>
                  <a:close/>
                </a:path>
              </a:pathLst>
            </a:custGeom>
            <a:solidFill>
              <a:schemeClr val="accent4"/>
            </a:solidFill>
            <a:ln w="1268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A3893BD-2114-45DF-8E58-BD4DD8C6D0F5}"/>
                </a:ext>
              </a:extLst>
            </p:cNvPr>
            <p:cNvSpPr/>
            <p:nvPr/>
          </p:nvSpPr>
          <p:spPr>
            <a:xfrm>
              <a:off x="391250" y="5720182"/>
              <a:ext cx="424277" cy="561474"/>
            </a:xfrm>
            <a:custGeom>
              <a:avLst/>
              <a:gdLst>
                <a:gd name="connsiteX0" fmla="*/ 381088 w 424277"/>
                <a:gd name="connsiteY0" fmla="*/ 135923 h 561474"/>
                <a:gd name="connsiteX1" fmla="*/ 0 w 424277"/>
                <a:gd name="connsiteY1" fmla="*/ 0 h 561474"/>
                <a:gd name="connsiteX2" fmla="*/ 45731 w 424277"/>
                <a:gd name="connsiteY2" fmla="*/ 421741 h 561474"/>
                <a:gd name="connsiteX3" fmla="*/ 424278 w 424277"/>
                <a:gd name="connsiteY3" fmla="*/ 561475 h 561474"/>
              </a:gdLst>
              <a:ahLst/>
              <a:cxnLst>
                <a:cxn ang="0">
                  <a:pos x="connsiteX0" y="connsiteY0"/>
                </a:cxn>
                <a:cxn ang="0">
                  <a:pos x="connsiteX1" y="connsiteY1"/>
                </a:cxn>
                <a:cxn ang="0">
                  <a:pos x="connsiteX2" y="connsiteY2"/>
                </a:cxn>
                <a:cxn ang="0">
                  <a:pos x="connsiteX3" y="connsiteY3"/>
                </a:cxn>
              </a:cxnLst>
              <a:rect l="l" t="t" r="r" b="b"/>
              <a:pathLst>
                <a:path w="424277" h="561474">
                  <a:moveTo>
                    <a:pt x="381088" y="135923"/>
                  </a:moveTo>
                  <a:lnTo>
                    <a:pt x="0" y="0"/>
                  </a:lnTo>
                  <a:lnTo>
                    <a:pt x="45731" y="421741"/>
                  </a:lnTo>
                  <a:lnTo>
                    <a:pt x="424278" y="561475"/>
                  </a:lnTo>
                  <a:close/>
                </a:path>
              </a:pathLst>
            </a:custGeom>
            <a:solidFill>
              <a:schemeClr val="accent6">
                <a:lumMod val="60000"/>
                <a:lumOff val="40000"/>
              </a:schemeClr>
            </a:solidFill>
            <a:ln w="1268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7018BE9A-C970-4573-8F23-DB44EB78EBC0}"/>
                </a:ext>
              </a:extLst>
            </p:cNvPr>
            <p:cNvSpPr/>
            <p:nvPr/>
          </p:nvSpPr>
          <p:spPr>
            <a:xfrm>
              <a:off x="487792" y="6331199"/>
              <a:ext cx="440791" cy="473823"/>
            </a:xfrm>
            <a:custGeom>
              <a:avLst/>
              <a:gdLst>
                <a:gd name="connsiteX0" fmla="*/ 395061 w 440791"/>
                <a:gd name="connsiteY0" fmla="*/ 0 h 473823"/>
                <a:gd name="connsiteX1" fmla="*/ 0 w 440791"/>
                <a:gd name="connsiteY1" fmla="*/ 287089 h 473823"/>
                <a:gd name="connsiteX2" fmla="*/ 2541 w 440791"/>
                <a:gd name="connsiteY2" fmla="*/ 304874 h 473823"/>
                <a:gd name="connsiteX3" fmla="*/ 440792 w 440791"/>
                <a:gd name="connsiteY3" fmla="*/ 473824 h 473823"/>
              </a:gdLst>
              <a:ahLst/>
              <a:cxnLst>
                <a:cxn ang="0">
                  <a:pos x="connsiteX0" y="connsiteY0"/>
                </a:cxn>
                <a:cxn ang="0">
                  <a:pos x="connsiteX1" y="connsiteY1"/>
                </a:cxn>
                <a:cxn ang="0">
                  <a:pos x="connsiteX2" y="connsiteY2"/>
                </a:cxn>
                <a:cxn ang="0">
                  <a:pos x="connsiteX3" y="connsiteY3"/>
                </a:cxn>
              </a:cxnLst>
              <a:rect l="l" t="t" r="r" b="b"/>
              <a:pathLst>
                <a:path w="440791" h="473823">
                  <a:moveTo>
                    <a:pt x="395061" y="0"/>
                  </a:moveTo>
                  <a:lnTo>
                    <a:pt x="0" y="287089"/>
                  </a:lnTo>
                  <a:lnTo>
                    <a:pt x="2541" y="304874"/>
                  </a:lnTo>
                  <a:lnTo>
                    <a:pt x="440792" y="473824"/>
                  </a:lnTo>
                  <a:close/>
                </a:path>
              </a:pathLst>
            </a:custGeom>
            <a:solidFill>
              <a:schemeClr val="accent4"/>
            </a:solidFill>
            <a:ln w="1268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FB54ADD-CF55-44BE-9038-16638782C9C5}"/>
                </a:ext>
              </a:extLst>
            </p:cNvPr>
            <p:cNvSpPr/>
            <p:nvPr/>
          </p:nvSpPr>
          <p:spPr>
            <a:xfrm>
              <a:off x="438251" y="6158437"/>
              <a:ext cx="434440" cy="443336"/>
            </a:xfrm>
            <a:custGeom>
              <a:avLst/>
              <a:gdLst>
                <a:gd name="connsiteX0" fmla="*/ 382358 w 434440"/>
                <a:gd name="connsiteY0" fmla="*/ 142274 h 443336"/>
                <a:gd name="connsiteX1" fmla="*/ 0 w 434440"/>
                <a:gd name="connsiteY1" fmla="*/ 0 h 443336"/>
                <a:gd name="connsiteX2" fmla="*/ 48271 w 434440"/>
                <a:gd name="connsiteY2" fmla="*/ 443337 h 443336"/>
                <a:gd name="connsiteX3" fmla="*/ 434440 w 434440"/>
                <a:gd name="connsiteY3" fmla="*/ 161329 h 443336"/>
              </a:gdLst>
              <a:ahLst/>
              <a:cxnLst>
                <a:cxn ang="0">
                  <a:pos x="connsiteX0" y="connsiteY0"/>
                </a:cxn>
                <a:cxn ang="0">
                  <a:pos x="connsiteX1" y="connsiteY1"/>
                </a:cxn>
                <a:cxn ang="0">
                  <a:pos x="connsiteX2" y="connsiteY2"/>
                </a:cxn>
                <a:cxn ang="0">
                  <a:pos x="connsiteX3" y="connsiteY3"/>
                </a:cxn>
              </a:cxnLst>
              <a:rect l="l" t="t" r="r" b="b"/>
              <a:pathLst>
                <a:path w="434440" h="443336">
                  <a:moveTo>
                    <a:pt x="382358" y="142274"/>
                  </a:moveTo>
                  <a:lnTo>
                    <a:pt x="0" y="0"/>
                  </a:lnTo>
                  <a:lnTo>
                    <a:pt x="48271" y="443337"/>
                  </a:lnTo>
                  <a:lnTo>
                    <a:pt x="434440" y="161329"/>
                  </a:lnTo>
                  <a:close/>
                </a:path>
              </a:pathLst>
            </a:custGeom>
            <a:solidFill>
              <a:schemeClr val="accent3"/>
            </a:solidFill>
            <a:ln w="1268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8B020B8-0802-4658-B3DF-6E6277C29A57}"/>
                </a:ext>
              </a:extLst>
            </p:cNvPr>
            <p:cNvSpPr/>
            <p:nvPr/>
          </p:nvSpPr>
          <p:spPr>
            <a:xfrm>
              <a:off x="276923" y="4658208"/>
              <a:ext cx="1378267" cy="1183923"/>
            </a:xfrm>
            <a:custGeom>
              <a:avLst/>
              <a:gdLst>
                <a:gd name="connsiteX0" fmla="*/ 1378268 w 1378267"/>
                <a:gd name="connsiteY0" fmla="*/ 565286 h 1183923"/>
                <a:gd name="connsiteX1" fmla="*/ 1369376 w 1378267"/>
                <a:gd name="connsiteY1" fmla="*/ 448417 h 1183923"/>
                <a:gd name="connsiteX2" fmla="*/ 978126 w 1378267"/>
                <a:gd name="connsiteY2" fmla="*/ 320117 h 1183923"/>
                <a:gd name="connsiteX3" fmla="*/ 771068 w 1378267"/>
                <a:gd name="connsiteY3" fmla="*/ 252791 h 1183923"/>
                <a:gd name="connsiteX4" fmla="*/ 0 w 1378267"/>
                <a:gd name="connsiteY4" fmla="*/ 0 h 1183923"/>
                <a:gd name="connsiteX5" fmla="*/ 111786 w 1378267"/>
                <a:gd name="connsiteY5" fmla="*/ 1045461 h 1183923"/>
                <a:gd name="connsiteX6" fmla="*/ 501766 w 1378267"/>
                <a:gd name="connsiteY6" fmla="*/ 1183924 h 118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267" h="1183923">
                  <a:moveTo>
                    <a:pt x="1378268" y="565286"/>
                  </a:moveTo>
                  <a:lnTo>
                    <a:pt x="1369376" y="448417"/>
                  </a:lnTo>
                  <a:lnTo>
                    <a:pt x="978126" y="320117"/>
                  </a:lnTo>
                  <a:lnTo>
                    <a:pt x="771068" y="252791"/>
                  </a:lnTo>
                  <a:lnTo>
                    <a:pt x="0" y="0"/>
                  </a:lnTo>
                  <a:lnTo>
                    <a:pt x="111786" y="1045461"/>
                  </a:lnTo>
                  <a:lnTo>
                    <a:pt x="501766" y="1183924"/>
                  </a:lnTo>
                  <a:close/>
                </a:path>
              </a:pathLst>
            </a:custGeom>
            <a:solidFill>
              <a:schemeClr val="accent6">
                <a:lumMod val="75000"/>
              </a:schemeClr>
            </a:solidFill>
            <a:ln w="12688"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CF68FEFE-BB1C-4FEE-BBEC-002A91AEAEFF}"/>
                </a:ext>
              </a:extLst>
            </p:cNvPr>
            <p:cNvSpPr/>
            <p:nvPr/>
          </p:nvSpPr>
          <p:spPr>
            <a:xfrm>
              <a:off x="1260130" y="6484906"/>
              <a:ext cx="1122939" cy="369658"/>
            </a:xfrm>
            <a:custGeom>
              <a:avLst/>
              <a:gdLst>
                <a:gd name="connsiteX0" fmla="*/ 485252 w 1122939"/>
                <a:gd name="connsiteY0" fmla="*/ 0 h 369658"/>
                <a:gd name="connsiteX1" fmla="*/ 0 w 1122939"/>
                <a:gd name="connsiteY1" fmla="*/ 369658 h 369658"/>
                <a:gd name="connsiteX2" fmla="*/ 951450 w 1122939"/>
                <a:gd name="connsiteY2" fmla="*/ 369658 h 369658"/>
                <a:gd name="connsiteX3" fmla="*/ 1122939 w 1122939"/>
                <a:gd name="connsiteY3" fmla="*/ 233736 h 369658"/>
              </a:gdLst>
              <a:ahLst/>
              <a:cxnLst>
                <a:cxn ang="0">
                  <a:pos x="connsiteX0" y="connsiteY0"/>
                </a:cxn>
                <a:cxn ang="0">
                  <a:pos x="connsiteX1" y="connsiteY1"/>
                </a:cxn>
                <a:cxn ang="0">
                  <a:pos x="connsiteX2" y="connsiteY2"/>
                </a:cxn>
                <a:cxn ang="0">
                  <a:pos x="connsiteX3" y="connsiteY3"/>
                </a:cxn>
              </a:cxnLst>
              <a:rect l="l" t="t" r="r" b="b"/>
              <a:pathLst>
                <a:path w="1122939" h="369658">
                  <a:moveTo>
                    <a:pt x="485252" y="0"/>
                  </a:moveTo>
                  <a:lnTo>
                    <a:pt x="0" y="369658"/>
                  </a:lnTo>
                  <a:lnTo>
                    <a:pt x="951450" y="369658"/>
                  </a:lnTo>
                  <a:lnTo>
                    <a:pt x="1122939" y="233736"/>
                  </a:lnTo>
                  <a:close/>
                </a:path>
              </a:pathLst>
            </a:custGeom>
            <a:solidFill>
              <a:schemeClr val="accent2"/>
            </a:solidFill>
            <a:ln w="12688"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64B2A1C9-5DE9-4D03-A6FA-CB80875D9C4F}"/>
                </a:ext>
              </a:extLst>
            </p:cNvPr>
            <p:cNvSpPr/>
            <p:nvPr/>
          </p:nvSpPr>
          <p:spPr>
            <a:xfrm>
              <a:off x="491603" y="6652586"/>
              <a:ext cx="524630" cy="201978"/>
            </a:xfrm>
            <a:custGeom>
              <a:avLst/>
              <a:gdLst>
                <a:gd name="connsiteX0" fmla="*/ 0 w 524630"/>
                <a:gd name="connsiteY0" fmla="*/ 0 h 201978"/>
                <a:gd name="connsiteX1" fmla="*/ 11433 w 524630"/>
                <a:gd name="connsiteY1" fmla="*/ 101624 h 201978"/>
                <a:gd name="connsiteX2" fmla="*/ 268032 w 524630"/>
                <a:gd name="connsiteY2" fmla="*/ 201978 h 201978"/>
                <a:gd name="connsiteX3" fmla="*/ 524631 w 524630"/>
                <a:gd name="connsiteY3" fmla="*/ 201978 h 201978"/>
                <a:gd name="connsiteX4" fmla="*/ 443332 w 524630"/>
                <a:gd name="connsiteY4" fmla="*/ 170220 h 20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0" h="201978">
                  <a:moveTo>
                    <a:pt x="0" y="0"/>
                  </a:moveTo>
                  <a:lnTo>
                    <a:pt x="11433" y="101624"/>
                  </a:lnTo>
                  <a:lnTo>
                    <a:pt x="268032" y="201978"/>
                  </a:lnTo>
                  <a:lnTo>
                    <a:pt x="524631" y="201978"/>
                  </a:lnTo>
                  <a:lnTo>
                    <a:pt x="443332" y="170220"/>
                  </a:lnTo>
                  <a:close/>
                </a:path>
              </a:pathLst>
            </a:custGeom>
            <a:solidFill>
              <a:schemeClr val="accent5"/>
            </a:solidFill>
            <a:ln w="12688"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D84251B-E6C4-4A94-818E-7BA63659B14E}"/>
                </a:ext>
              </a:extLst>
            </p:cNvPr>
            <p:cNvSpPr/>
            <p:nvPr/>
          </p:nvSpPr>
          <p:spPr>
            <a:xfrm>
              <a:off x="504306" y="6771994"/>
              <a:ext cx="214679" cy="82569"/>
            </a:xfrm>
            <a:custGeom>
              <a:avLst/>
              <a:gdLst>
                <a:gd name="connsiteX0" fmla="*/ 8892 w 214679"/>
                <a:gd name="connsiteY0" fmla="*/ 82570 h 82569"/>
                <a:gd name="connsiteX1" fmla="*/ 214679 w 214679"/>
                <a:gd name="connsiteY1" fmla="*/ 82570 h 82569"/>
                <a:gd name="connsiteX2" fmla="*/ 0 w 214679"/>
                <a:gd name="connsiteY2" fmla="*/ 0 h 82569"/>
              </a:gdLst>
              <a:ahLst/>
              <a:cxnLst>
                <a:cxn ang="0">
                  <a:pos x="connsiteX0" y="connsiteY0"/>
                </a:cxn>
                <a:cxn ang="0">
                  <a:pos x="connsiteX1" y="connsiteY1"/>
                </a:cxn>
                <a:cxn ang="0">
                  <a:pos x="connsiteX2" y="connsiteY2"/>
                </a:cxn>
              </a:cxnLst>
              <a:rect l="l" t="t" r="r" b="b"/>
              <a:pathLst>
                <a:path w="214679" h="82569">
                  <a:moveTo>
                    <a:pt x="8892" y="82570"/>
                  </a:moveTo>
                  <a:lnTo>
                    <a:pt x="214679" y="82570"/>
                  </a:lnTo>
                  <a:lnTo>
                    <a:pt x="0" y="0"/>
                  </a:lnTo>
                  <a:close/>
                </a:path>
              </a:pathLst>
            </a:custGeom>
            <a:solidFill>
              <a:srgbClr val="E8E7E3"/>
            </a:solidFill>
            <a:ln w="12688"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B00B4B3-E46D-4915-9C2D-E22A60CAE338}"/>
                </a:ext>
              </a:extLst>
            </p:cNvPr>
            <p:cNvSpPr/>
            <p:nvPr/>
          </p:nvSpPr>
          <p:spPr>
            <a:xfrm>
              <a:off x="0" y="4098003"/>
              <a:ext cx="499225" cy="2756561"/>
            </a:xfrm>
            <a:custGeom>
              <a:avLst/>
              <a:gdLst>
                <a:gd name="connsiteX0" fmla="*/ 499225 w 499225"/>
                <a:gd name="connsiteY0" fmla="*/ 2756561 h 2756561"/>
                <a:gd name="connsiteX1" fmla="*/ 489063 w 499225"/>
                <a:gd name="connsiteY1" fmla="*/ 2662559 h 2756561"/>
                <a:gd name="connsiteX2" fmla="*/ 475090 w 499225"/>
                <a:gd name="connsiteY2" fmla="*/ 2544421 h 2756561"/>
                <a:gd name="connsiteX3" fmla="*/ 472549 w 499225"/>
                <a:gd name="connsiteY3" fmla="*/ 2517744 h 2756561"/>
                <a:gd name="connsiteX4" fmla="*/ 421737 w 499225"/>
                <a:gd name="connsiteY4" fmla="*/ 2050272 h 2756561"/>
                <a:gd name="connsiteX5" fmla="*/ 374736 w 499225"/>
                <a:gd name="connsiteY5" fmla="*/ 1612017 h 2756561"/>
                <a:gd name="connsiteX6" fmla="*/ 260410 w 499225"/>
                <a:gd name="connsiteY6" fmla="*/ 551312 h 2756561"/>
                <a:gd name="connsiteX7" fmla="*/ 200706 w 499225"/>
                <a:gd name="connsiteY7" fmla="*/ 0 h 2756561"/>
                <a:gd name="connsiteX8" fmla="*/ 0 w 499225"/>
                <a:gd name="connsiteY8" fmla="*/ 124490 h 2756561"/>
                <a:gd name="connsiteX9" fmla="*/ 0 w 499225"/>
                <a:gd name="connsiteY9" fmla="*/ 2600314 h 2756561"/>
                <a:gd name="connsiteX10" fmla="*/ 0 w 499225"/>
                <a:gd name="connsiteY10" fmla="*/ 2756561 h 27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225" h="2756561">
                  <a:moveTo>
                    <a:pt x="499225" y="2756561"/>
                  </a:moveTo>
                  <a:lnTo>
                    <a:pt x="489063" y="2662559"/>
                  </a:lnTo>
                  <a:lnTo>
                    <a:pt x="475090" y="2544421"/>
                  </a:lnTo>
                  <a:lnTo>
                    <a:pt x="472549" y="2517744"/>
                  </a:lnTo>
                  <a:lnTo>
                    <a:pt x="421737" y="2050272"/>
                  </a:lnTo>
                  <a:lnTo>
                    <a:pt x="374736" y="1612017"/>
                  </a:lnTo>
                  <a:lnTo>
                    <a:pt x="260410" y="551312"/>
                  </a:lnTo>
                  <a:lnTo>
                    <a:pt x="200706" y="0"/>
                  </a:lnTo>
                  <a:lnTo>
                    <a:pt x="0" y="124490"/>
                  </a:lnTo>
                  <a:lnTo>
                    <a:pt x="0" y="2600314"/>
                  </a:lnTo>
                  <a:lnTo>
                    <a:pt x="0" y="2756561"/>
                  </a:lnTo>
                  <a:close/>
                </a:path>
              </a:pathLst>
            </a:custGeom>
            <a:solidFill>
              <a:schemeClr val="accent3"/>
            </a:solidFill>
            <a:ln w="12688"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DD3659DE-5889-4904-94EF-48471A05337D}"/>
                </a:ext>
              </a:extLst>
            </p:cNvPr>
            <p:cNvSpPr/>
            <p:nvPr/>
          </p:nvSpPr>
          <p:spPr>
            <a:xfrm>
              <a:off x="0" y="6824077"/>
              <a:ext cx="3810" cy="30486"/>
            </a:xfrm>
            <a:custGeom>
              <a:avLst/>
              <a:gdLst>
                <a:gd name="connsiteX0" fmla="*/ 0 w 3810"/>
                <a:gd name="connsiteY0" fmla="*/ 0 h 30486"/>
                <a:gd name="connsiteX1" fmla="*/ 0 w 3810"/>
                <a:gd name="connsiteY1" fmla="*/ 30487 h 30486"/>
                <a:gd name="connsiteX2" fmla="*/ 3811 w 3810"/>
                <a:gd name="connsiteY2" fmla="*/ 30487 h 30486"/>
              </a:gdLst>
              <a:ahLst/>
              <a:cxnLst>
                <a:cxn ang="0">
                  <a:pos x="connsiteX0" y="connsiteY0"/>
                </a:cxn>
                <a:cxn ang="0">
                  <a:pos x="connsiteX1" y="connsiteY1"/>
                </a:cxn>
                <a:cxn ang="0">
                  <a:pos x="connsiteX2" y="connsiteY2"/>
                </a:cxn>
              </a:cxnLst>
              <a:rect l="l" t="t" r="r" b="b"/>
              <a:pathLst>
                <a:path w="3810" h="30486">
                  <a:moveTo>
                    <a:pt x="0" y="0"/>
                  </a:moveTo>
                  <a:lnTo>
                    <a:pt x="0" y="30487"/>
                  </a:lnTo>
                  <a:lnTo>
                    <a:pt x="3811" y="30487"/>
                  </a:lnTo>
                  <a:close/>
                </a:path>
              </a:pathLst>
            </a:custGeom>
            <a:solidFill>
              <a:srgbClr val="F9AA19"/>
            </a:solidFill>
            <a:ln w="12688"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8314215-70A1-4594-9067-199778346569}"/>
                </a:ext>
              </a:extLst>
            </p:cNvPr>
            <p:cNvSpPr/>
            <p:nvPr/>
          </p:nvSpPr>
          <p:spPr>
            <a:xfrm>
              <a:off x="4158939" y="2718452"/>
              <a:ext cx="1669164" cy="1321117"/>
            </a:xfrm>
            <a:custGeom>
              <a:avLst/>
              <a:gdLst>
                <a:gd name="connsiteX0" fmla="*/ 344249 w 1669164"/>
                <a:gd name="connsiteY0" fmla="*/ 1083570 h 1321117"/>
                <a:gd name="connsiteX1" fmla="*/ 344249 w 1669164"/>
                <a:gd name="connsiteY1" fmla="*/ 1083570 h 1321117"/>
                <a:gd name="connsiteX2" fmla="*/ 344249 w 1669164"/>
                <a:gd name="connsiteY2" fmla="*/ 1083570 h 1321117"/>
                <a:gd name="connsiteX3" fmla="*/ 345520 w 1669164"/>
                <a:gd name="connsiteY3" fmla="*/ 1083570 h 1321117"/>
                <a:gd name="connsiteX4" fmla="*/ 346790 w 1669164"/>
                <a:gd name="connsiteY4" fmla="*/ 1083570 h 1321117"/>
                <a:gd name="connsiteX5" fmla="*/ 350601 w 1669164"/>
                <a:gd name="connsiteY5" fmla="*/ 1083570 h 1321117"/>
                <a:gd name="connsiteX6" fmla="*/ 1004802 w 1669164"/>
                <a:gd name="connsiteY6" fmla="*/ 1257602 h 1321117"/>
                <a:gd name="connsiteX7" fmla="*/ 1031478 w 1669164"/>
                <a:gd name="connsiteY7" fmla="*/ 1265224 h 1321117"/>
                <a:gd name="connsiteX8" fmla="*/ 1661544 w 1669164"/>
                <a:gd name="connsiteY8" fmla="*/ 779967 h 1321117"/>
                <a:gd name="connsiteX9" fmla="*/ 1669165 w 1669164"/>
                <a:gd name="connsiteY9" fmla="*/ 398876 h 1321117"/>
                <a:gd name="connsiteX10" fmla="*/ 0 w 1669164"/>
                <a:gd name="connsiteY10" fmla="*/ 0 h 1321117"/>
                <a:gd name="connsiteX11" fmla="*/ 24135 w 1669164"/>
                <a:gd name="connsiteY11" fmla="*/ 1321117 h 1321117"/>
                <a:gd name="connsiteX12" fmla="*/ 344249 w 1669164"/>
                <a:gd name="connsiteY12" fmla="*/ 1083570 h 132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9164" h="1321117">
                  <a:moveTo>
                    <a:pt x="344249" y="1083570"/>
                  </a:moveTo>
                  <a:lnTo>
                    <a:pt x="344249" y="1083570"/>
                  </a:lnTo>
                  <a:lnTo>
                    <a:pt x="344249" y="1083570"/>
                  </a:lnTo>
                  <a:lnTo>
                    <a:pt x="345520" y="1083570"/>
                  </a:lnTo>
                  <a:lnTo>
                    <a:pt x="346790" y="1083570"/>
                  </a:lnTo>
                  <a:lnTo>
                    <a:pt x="350601" y="1083570"/>
                  </a:lnTo>
                  <a:lnTo>
                    <a:pt x="1004802" y="1257602"/>
                  </a:lnTo>
                  <a:lnTo>
                    <a:pt x="1031478" y="1265224"/>
                  </a:lnTo>
                  <a:lnTo>
                    <a:pt x="1661544" y="779967"/>
                  </a:lnTo>
                  <a:lnTo>
                    <a:pt x="1669165" y="398876"/>
                  </a:lnTo>
                  <a:lnTo>
                    <a:pt x="0" y="0"/>
                  </a:lnTo>
                  <a:lnTo>
                    <a:pt x="24135" y="1321117"/>
                  </a:lnTo>
                  <a:lnTo>
                    <a:pt x="344249" y="1083570"/>
                  </a:lnTo>
                  <a:close/>
                </a:path>
              </a:pathLst>
            </a:custGeom>
            <a:solidFill>
              <a:schemeClr val="accent2">
                <a:lumMod val="75000"/>
              </a:schemeClr>
            </a:solidFill>
            <a:ln w="12688"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7D2B3EF-E12A-41BE-8D09-BEA2EF18EBE2}"/>
                </a:ext>
              </a:extLst>
            </p:cNvPr>
            <p:cNvSpPr/>
            <p:nvPr/>
          </p:nvSpPr>
          <p:spPr>
            <a:xfrm>
              <a:off x="4514621" y="3817266"/>
              <a:ext cx="638957" cy="1354145"/>
            </a:xfrm>
            <a:custGeom>
              <a:avLst/>
              <a:gdLst>
                <a:gd name="connsiteX0" fmla="*/ 0 w 638957"/>
                <a:gd name="connsiteY0" fmla="*/ 0 h 1354145"/>
                <a:gd name="connsiteX1" fmla="*/ 12703 w 638957"/>
                <a:gd name="connsiteY1" fmla="*/ 1168681 h 1354145"/>
                <a:gd name="connsiteX2" fmla="*/ 635147 w 638957"/>
                <a:gd name="connsiteY2" fmla="*/ 1354145 h 1354145"/>
                <a:gd name="connsiteX3" fmla="*/ 638958 w 638957"/>
                <a:gd name="connsiteY3" fmla="*/ 170221 h 1354145"/>
              </a:gdLst>
              <a:ahLst/>
              <a:cxnLst>
                <a:cxn ang="0">
                  <a:pos x="connsiteX0" y="connsiteY0"/>
                </a:cxn>
                <a:cxn ang="0">
                  <a:pos x="connsiteX1" y="connsiteY1"/>
                </a:cxn>
                <a:cxn ang="0">
                  <a:pos x="connsiteX2" y="connsiteY2"/>
                </a:cxn>
                <a:cxn ang="0">
                  <a:pos x="connsiteX3" y="connsiteY3"/>
                </a:cxn>
              </a:cxnLst>
              <a:rect l="l" t="t" r="r" b="b"/>
              <a:pathLst>
                <a:path w="638957" h="1354145">
                  <a:moveTo>
                    <a:pt x="0" y="0"/>
                  </a:moveTo>
                  <a:lnTo>
                    <a:pt x="12703" y="1168681"/>
                  </a:lnTo>
                  <a:lnTo>
                    <a:pt x="635147" y="1354145"/>
                  </a:lnTo>
                  <a:lnTo>
                    <a:pt x="638958" y="170221"/>
                  </a:lnTo>
                  <a:close/>
                </a:path>
              </a:pathLst>
            </a:custGeom>
            <a:solidFill>
              <a:schemeClr val="accent6">
                <a:lumMod val="75000"/>
              </a:schemeClr>
            </a:solidFill>
            <a:ln w="12688"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36F9AC3C-A1C0-40DE-930A-CC59F20FF36C}"/>
                </a:ext>
              </a:extLst>
            </p:cNvPr>
            <p:cNvSpPr/>
            <p:nvPr/>
          </p:nvSpPr>
          <p:spPr>
            <a:xfrm>
              <a:off x="5163741" y="3991298"/>
              <a:ext cx="20324" cy="1189005"/>
            </a:xfrm>
            <a:custGeom>
              <a:avLst/>
              <a:gdLst>
                <a:gd name="connsiteX0" fmla="*/ 5081 w 20324"/>
                <a:gd name="connsiteY0" fmla="*/ 0 h 1189005"/>
                <a:gd name="connsiteX1" fmla="*/ 0 w 20324"/>
                <a:gd name="connsiteY1" fmla="*/ 1185194 h 1189005"/>
                <a:gd name="connsiteX2" fmla="*/ 15244 w 20324"/>
                <a:gd name="connsiteY2" fmla="*/ 1189005 h 1189005"/>
                <a:gd name="connsiteX3" fmla="*/ 20325 w 20324"/>
                <a:gd name="connsiteY3" fmla="*/ 3811 h 1189005"/>
              </a:gdLst>
              <a:ahLst/>
              <a:cxnLst>
                <a:cxn ang="0">
                  <a:pos x="connsiteX0" y="connsiteY0"/>
                </a:cxn>
                <a:cxn ang="0">
                  <a:pos x="connsiteX1" y="connsiteY1"/>
                </a:cxn>
                <a:cxn ang="0">
                  <a:pos x="connsiteX2" y="connsiteY2"/>
                </a:cxn>
                <a:cxn ang="0">
                  <a:pos x="connsiteX3" y="connsiteY3"/>
                </a:cxn>
              </a:cxnLst>
              <a:rect l="l" t="t" r="r" b="b"/>
              <a:pathLst>
                <a:path w="20324" h="1189005">
                  <a:moveTo>
                    <a:pt x="5081" y="0"/>
                  </a:moveTo>
                  <a:lnTo>
                    <a:pt x="0" y="1185194"/>
                  </a:lnTo>
                  <a:lnTo>
                    <a:pt x="15244" y="1189005"/>
                  </a:lnTo>
                  <a:lnTo>
                    <a:pt x="20325" y="3811"/>
                  </a:lnTo>
                  <a:close/>
                </a:path>
              </a:pathLst>
            </a:custGeom>
            <a:solidFill>
              <a:srgbClr val="66B2B0"/>
            </a:solidFill>
            <a:ln w="1268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B55C9F2C-7F71-4CFC-B17D-A0EF33118EF6}"/>
                </a:ext>
              </a:extLst>
            </p:cNvPr>
            <p:cNvSpPr/>
            <p:nvPr/>
          </p:nvSpPr>
          <p:spPr>
            <a:xfrm>
              <a:off x="5192957" y="3514933"/>
              <a:ext cx="626254" cy="1659017"/>
            </a:xfrm>
            <a:custGeom>
              <a:avLst/>
              <a:gdLst>
                <a:gd name="connsiteX0" fmla="*/ 0 w 626254"/>
                <a:gd name="connsiteY0" fmla="*/ 1659018 h 1659017"/>
                <a:gd name="connsiteX1" fmla="*/ 604660 w 626254"/>
                <a:gd name="connsiteY1" fmla="*/ 1155977 h 1659017"/>
                <a:gd name="connsiteX2" fmla="*/ 626255 w 626254"/>
                <a:gd name="connsiteY2" fmla="*/ 0 h 1659017"/>
                <a:gd name="connsiteX3" fmla="*/ 6351 w 626254"/>
                <a:gd name="connsiteY3" fmla="*/ 478905 h 1659017"/>
              </a:gdLst>
              <a:ahLst/>
              <a:cxnLst>
                <a:cxn ang="0">
                  <a:pos x="connsiteX0" y="connsiteY0"/>
                </a:cxn>
                <a:cxn ang="0">
                  <a:pos x="connsiteX1" y="connsiteY1"/>
                </a:cxn>
                <a:cxn ang="0">
                  <a:pos x="connsiteX2" y="connsiteY2"/>
                </a:cxn>
                <a:cxn ang="0">
                  <a:pos x="connsiteX3" y="connsiteY3"/>
                </a:cxn>
              </a:cxnLst>
              <a:rect l="l" t="t" r="r" b="b"/>
              <a:pathLst>
                <a:path w="626254" h="1659017">
                  <a:moveTo>
                    <a:pt x="0" y="1659018"/>
                  </a:moveTo>
                  <a:lnTo>
                    <a:pt x="604660" y="1155977"/>
                  </a:lnTo>
                  <a:lnTo>
                    <a:pt x="626255" y="0"/>
                  </a:lnTo>
                  <a:lnTo>
                    <a:pt x="6351" y="478905"/>
                  </a:lnTo>
                  <a:close/>
                </a:path>
              </a:pathLst>
            </a:custGeom>
            <a:solidFill>
              <a:schemeClr val="bg1">
                <a:lumMod val="85000"/>
              </a:schemeClr>
            </a:solidFill>
            <a:ln w="1268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22E9F38A-109E-4700-832E-76BC121A62CE}"/>
                </a:ext>
              </a:extLst>
            </p:cNvPr>
            <p:cNvSpPr/>
            <p:nvPr/>
          </p:nvSpPr>
          <p:spPr>
            <a:xfrm>
              <a:off x="3725769" y="0"/>
              <a:ext cx="788852" cy="5506771"/>
            </a:xfrm>
            <a:custGeom>
              <a:avLst/>
              <a:gdLst>
                <a:gd name="connsiteX0" fmla="*/ 128300 w 788852"/>
                <a:gd name="connsiteY0" fmla="*/ 4884322 h 5506771"/>
                <a:gd name="connsiteX1" fmla="*/ 144814 w 788852"/>
                <a:gd name="connsiteY1" fmla="*/ 5506772 h 5506771"/>
                <a:gd name="connsiteX2" fmla="*/ 788852 w 788852"/>
                <a:gd name="connsiteY2" fmla="*/ 4994839 h 5506771"/>
                <a:gd name="connsiteX3" fmla="*/ 788852 w 788852"/>
                <a:gd name="connsiteY3" fmla="*/ 4994839 h 5506771"/>
                <a:gd name="connsiteX4" fmla="*/ 787582 w 788852"/>
                <a:gd name="connsiteY4" fmla="*/ 4993569 h 5506771"/>
                <a:gd name="connsiteX5" fmla="*/ 787582 w 788852"/>
                <a:gd name="connsiteY5" fmla="*/ 4992298 h 5506771"/>
                <a:gd name="connsiteX6" fmla="*/ 787582 w 788852"/>
                <a:gd name="connsiteY6" fmla="*/ 4991028 h 5506771"/>
                <a:gd name="connsiteX7" fmla="*/ 787582 w 788852"/>
                <a:gd name="connsiteY7" fmla="*/ 4991028 h 5506771"/>
                <a:gd name="connsiteX8" fmla="*/ 774879 w 788852"/>
                <a:gd name="connsiteY8" fmla="*/ 3822347 h 5506771"/>
                <a:gd name="connsiteX9" fmla="*/ 453495 w 788852"/>
                <a:gd name="connsiteY9" fmla="*/ 4057354 h 5506771"/>
                <a:gd name="connsiteX10" fmla="*/ 452224 w 788852"/>
                <a:gd name="connsiteY10" fmla="*/ 4057354 h 5506771"/>
                <a:gd name="connsiteX11" fmla="*/ 450954 w 788852"/>
                <a:gd name="connsiteY11" fmla="*/ 4057354 h 5506771"/>
                <a:gd name="connsiteX12" fmla="*/ 449684 w 788852"/>
                <a:gd name="connsiteY12" fmla="*/ 4057354 h 5506771"/>
                <a:gd name="connsiteX13" fmla="*/ 448414 w 788852"/>
                <a:gd name="connsiteY13" fmla="*/ 4057354 h 5506771"/>
                <a:gd name="connsiteX14" fmla="*/ 448414 w 788852"/>
                <a:gd name="connsiteY14" fmla="*/ 4057354 h 5506771"/>
                <a:gd name="connsiteX15" fmla="*/ 447143 w 788852"/>
                <a:gd name="connsiteY15" fmla="*/ 4057354 h 5506771"/>
                <a:gd name="connsiteX16" fmla="*/ 445873 w 788852"/>
                <a:gd name="connsiteY16" fmla="*/ 4057354 h 5506771"/>
                <a:gd name="connsiteX17" fmla="*/ 444603 w 788852"/>
                <a:gd name="connsiteY17" fmla="*/ 4056083 h 5506771"/>
                <a:gd name="connsiteX18" fmla="*/ 443333 w 788852"/>
                <a:gd name="connsiteY18" fmla="*/ 4054813 h 5506771"/>
                <a:gd name="connsiteX19" fmla="*/ 443333 w 788852"/>
                <a:gd name="connsiteY19" fmla="*/ 4054813 h 5506771"/>
                <a:gd name="connsiteX20" fmla="*/ 443333 w 788852"/>
                <a:gd name="connsiteY20" fmla="*/ 4053543 h 5506771"/>
                <a:gd name="connsiteX21" fmla="*/ 442062 w 788852"/>
                <a:gd name="connsiteY21" fmla="*/ 4052273 h 5506771"/>
                <a:gd name="connsiteX22" fmla="*/ 442062 w 788852"/>
                <a:gd name="connsiteY22" fmla="*/ 4051002 h 5506771"/>
                <a:gd name="connsiteX23" fmla="*/ 442062 w 788852"/>
                <a:gd name="connsiteY23" fmla="*/ 4049732 h 5506771"/>
                <a:gd name="connsiteX24" fmla="*/ 417927 w 788852"/>
                <a:gd name="connsiteY24" fmla="*/ 2704479 h 5506771"/>
                <a:gd name="connsiteX25" fmla="*/ 367115 w 788852"/>
                <a:gd name="connsiteY25" fmla="*/ 0 h 5506771"/>
                <a:gd name="connsiteX26" fmla="*/ 0 w 788852"/>
                <a:gd name="connsiteY26" fmla="*/ 0 h 5506771"/>
                <a:gd name="connsiteX27" fmla="*/ 113056 w 788852"/>
                <a:gd name="connsiteY27" fmla="*/ 4303793 h 5506771"/>
                <a:gd name="connsiteX28" fmla="*/ 128300 w 788852"/>
                <a:gd name="connsiteY28" fmla="*/ 4884322 h 5506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8852" h="5506771">
                  <a:moveTo>
                    <a:pt x="128300" y="4884322"/>
                  </a:moveTo>
                  <a:lnTo>
                    <a:pt x="144814" y="5506772"/>
                  </a:lnTo>
                  <a:lnTo>
                    <a:pt x="788852" y="4994839"/>
                  </a:lnTo>
                  <a:lnTo>
                    <a:pt x="788852" y="4994839"/>
                  </a:lnTo>
                  <a:cubicBezTo>
                    <a:pt x="788852" y="4994839"/>
                    <a:pt x="787582" y="4993569"/>
                    <a:pt x="787582" y="4993569"/>
                  </a:cubicBezTo>
                  <a:cubicBezTo>
                    <a:pt x="787582" y="4993569"/>
                    <a:pt x="787582" y="4992298"/>
                    <a:pt x="787582" y="4992298"/>
                  </a:cubicBezTo>
                  <a:lnTo>
                    <a:pt x="787582" y="4991028"/>
                  </a:lnTo>
                  <a:lnTo>
                    <a:pt x="787582" y="4991028"/>
                  </a:lnTo>
                  <a:lnTo>
                    <a:pt x="774879" y="3822347"/>
                  </a:lnTo>
                  <a:lnTo>
                    <a:pt x="453495" y="4057354"/>
                  </a:lnTo>
                  <a:lnTo>
                    <a:pt x="452224" y="4057354"/>
                  </a:lnTo>
                  <a:lnTo>
                    <a:pt x="450954" y="4057354"/>
                  </a:lnTo>
                  <a:lnTo>
                    <a:pt x="449684" y="4057354"/>
                  </a:lnTo>
                  <a:lnTo>
                    <a:pt x="448414" y="4057354"/>
                  </a:lnTo>
                  <a:lnTo>
                    <a:pt x="448414" y="4057354"/>
                  </a:lnTo>
                  <a:lnTo>
                    <a:pt x="447143" y="4057354"/>
                  </a:lnTo>
                  <a:lnTo>
                    <a:pt x="445873" y="4057354"/>
                  </a:lnTo>
                  <a:lnTo>
                    <a:pt x="444603" y="4056083"/>
                  </a:lnTo>
                  <a:cubicBezTo>
                    <a:pt x="444603" y="4056083"/>
                    <a:pt x="443333" y="4056083"/>
                    <a:pt x="443333" y="4054813"/>
                  </a:cubicBezTo>
                  <a:lnTo>
                    <a:pt x="443333" y="4054813"/>
                  </a:lnTo>
                  <a:cubicBezTo>
                    <a:pt x="443333" y="4054813"/>
                    <a:pt x="443333" y="4054813"/>
                    <a:pt x="443333" y="4053543"/>
                  </a:cubicBezTo>
                  <a:cubicBezTo>
                    <a:pt x="443333" y="4053543"/>
                    <a:pt x="443333" y="4052273"/>
                    <a:pt x="442062" y="4052273"/>
                  </a:cubicBezTo>
                  <a:cubicBezTo>
                    <a:pt x="442062" y="4052273"/>
                    <a:pt x="442062" y="4051002"/>
                    <a:pt x="442062" y="4051002"/>
                  </a:cubicBezTo>
                  <a:cubicBezTo>
                    <a:pt x="442062" y="4051002"/>
                    <a:pt x="442062" y="4051002"/>
                    <a:pt x="442062" y="4049732"/>
                  </a:cubicBezTo>
                  <a:lnTo>
                    <a:pt x="417927" y="2704479"/>
                  </a:lnTo>
                  <a:lnTo>
                    <a:pt x="367115" y="0"/>
                  </a:lnTo>
                  <a:lnTo>
                    <a:pt x="0" y="0"/>
                  </a:lnTo>
                  <a:lnTo>
                    <a:pt x="113056" y="4303793"/>
                  </a:lnTo>
                  <a:lnTo>
                    <a:pt x="128300" y="4884322"/>
                  </a:lnTo>
                  <a:close/>
                </a:path>
              </a:pathLst>
            </a:custGeom>
            <a:solidFill>
              <a:schemeClr val="accent6">
                <a:lumMod val="60000"/>
                <a:lumOff val="40000"/>
              </a:schemeClr>
            </a:solidFill>
            <a:ln w="12688"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D6FBE40-97F1-4DC8-8AC1-4023306C0DC8}"/>
                </a:ext>
              </a:extLst>
            </p:cNvPr>
            <p:cNvSpPr/>
            <p:nvPr/>
          </p:nvSpPr>
          <p:spPr>
            <a:xfrm>
              <a:off x="3869312" y="4996108"/>
              <a:ext cx="2583775" cy="1138193"/>
            </a:xfrm>
            <a:custGeom>
              <a:avLst/>
              <a:gdLst>
                <a:gd name="connsiteX0" fmla="*/ 1971495 w 2583775"/>
                <a:gd name="connsiteY0" fmla="*/ 1138193 h 1138193"/>
                <a:gd name="connsiteX1" fmla="*/ 2583776 w 2583775"/>
                <a:gd name="connsiteY1" fmla="*/ 580530 h 1138193"/>
                <a:gd name="connsiteX2" fmla="*/ 2197607 w 2583775"/>
                <a:gd name="connsiteY2" fmla="*/ 464932 h 1138193"/>
                <a:gd name="connsiteX3" fmla="*/ 1956251 w 2583775"/>
                <a:gd name="connsiteY3" fmla="*/ 393795 h 1138193"/>
                <a:gd name="connsiteX4" fmla="*/ 1693300 w 2583775"/>
                <a:gd name="connsiteY4" fmla="*/ 315036 h 1138193"/>
                <a:gd name="connsiteX5" fmla="*/ 1313483 w 2583775"/>
                <a:gd name="connsiteY5" fmla="*/ 201979 h 1138193"/>
                <a:gd name="connsiteX6" fmla="*/ 1284266 w 2583775"/>
                <a:gd name="connsiteY6" fmla="*/ 193087 h 1138193"/>
                <a:gd name="connsiteX7" fmla="*/ 647849 w 2583775"/>
                <a:gd name="connsiteY7" fmla="*/ 2541 h 1138193"/>
                <a:gd name="connsiteX8" fmla="*/ 647849 w 2583775"/>
                <a:gd name="connsiteY8" fmla="*/ 2541 h 1138193"/>
                <a:gd name="connsiteX9" fmla="*/ 646579 w 2583775"/>
                <a:gd name="connsiteY9" fmla="*/ 2541 h 1138193"/>
                <a:gd name="connsiteX10" fmla="*/ 645309 w 2583775"/>
                <a:gd name="connsiteY10" fmla="*/ 1270 h 1138193"/>
                <a:gd name="connsiteX11" fmla="*/ 644038 w 2583775"/>
                <a:gd name="connsiteY11" fmla="*/ 0 h 1138193"/>
                <a:gd name="connsiteX12" fmla="*/ 0 w 2583775"/>
                <a:gd name="connsiteY12" fmla="*/ 511933 h 1138193"/>
                <a:gd name="connsiteX13" fmla="*/ 0 w 2583775"/>
                <a:gd name="connsiteY13" fmla="*/ 511933 h 1138193"/>
                <a:gd name="connsiteX14" fmla="*/ 1971495 w 2583775"/>
                <a:gd name="connsiteY14" fmla="*/ 1138193 h 113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3775" h="1138193">
                  <a:moveTo>
                    <a:pt x="1971495" y="1138193"/>
                  </a:moveTo>
                  <a:lnTo>
                    <a:pt x="2583776" y="580530"/>
                  </a:lnTo>
                  <a:lnTo>
                    <a:pt x="2197607" y="464932"/>
                  </a:lnTo>
                  <a:lnTo>
                    <a:pt x="1956251" y="393795"/>
                  </a:lnTo>
                  <a:lnTo>
                    <a:pt x="1693300" y="315036"/>
                  </a:lnTo>
                  <a:lnTo>
                    <a:pt x="1313483" y="201979"/>
                  </a:lnTo>
                  <a:lnTo>
                    <a:pt x="1284266" y="193087"/>
                  </a:lnTo>
                  <a:lnTo>
                    <a:pt x="647849" y="2541"/>
                  </a:lnTo>
                  <a:lnTo>
                    <a:pt x="647849" y="2541"/>
                  </a:lnTo>
                  <a:lnTo>
                    <a:pt x="646579" y="2541"/>
                  </a:lnTo>
                  <a:lnTo>
                    <a:pt x="645309" y="1270"/>
                  </a:lnTo>
                  <a:lnTo>
                    <a:pt x="644038" y="0"/>
                  </a:lnTo>
                  <a:lnTo>
                    <a:pt x="0" y="511933"/>
                  </a:lnTo>
                  <a:lnTo>
                    <a:pt x="0" y="511933"/>
                  </a:lnTo>
                  <a:lnTo>
                    <a:pt x="1971495" y="1138193"/>
                  </a:lnTo>
                  <a:close/>
                </a:path>
              </a:pathLst>
            </a:custGeom>
            <a:solidFill>
              <a:schemeClr val="accent6">
                <a:lumMod val="75000"/>
              </a:schemeClr>
            </a:solidFill>
            <a:ln w="12688"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83D4488-DD75-48FF-9FA3-61D687B0E37C}"/>
                </a:ext>
              </a:extLst>
            </p:cNvPr>
            <p:cNvSpPr/>
            <p:nvPr/>
          </p:nvSpPr>
          <p:spPr>
            <a:xfrm>
              <a:off x="236274" y="0"/>
              <a:ext cx="848555" cy="1441796"/>
            </a:xfrm>
            <a:custGeom>
              <a:avLst/>
              <a:gdLst>
                <a:gd name="connsiteX0" fmla="*/ 510658 w 848555"/>
                <a:gd name="connsiteY0" fmla="*/ 1441796 h 1441796"/>
                <a:gd name="connsiteX1" fmla="*/ 848556 w 848555"/>
                <a:gd name="connsiteY1" fmla="*/ 1265224 h 1441796"/>
                <a:gd name="connsiteX2" fmla="*/ 744392 w 848555"/>
                <a:gd name="connsiteY2" fmla="*/ 0 h 1441796"/>
                <a:gd name="connsiteX3" fmla="*/ 0 w 848555"/>
                <a:gd name="connsiteY3" fmla="*/ 0 h 1441796"/>
                <a:gd name="connsiteX4" fmla="*/ 133381 w 848555"/>
                <a:gd name="connsiteY4" fmla="*/ 1356686 h 144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555" h="1441796">
                  <a:moveTo>
                    <a:pt x="510658" y="1441796"/>
                  </a:moveTo>
                  <a:lnTo>
                    <a:pt x="848556" y="1265224"/>
                  </a:lnTo>
                  <a:lnTo>
                    <a:pt x="744392" y="0"/>
                  </a:lnTo>
                  <a:lnTo>
                    <a:pt x="0" y="0"/>
                  </a:lnTo>
                  <a:lnTo>
                    <a:pt x="133381" y="1356686"/>
                  </a:lnTo>
                  <a:close/>
                </a:path>
              </a:pathLst>
            </a:custGeom>
            <a:solidFill>
              <a:schemeClr val="accent6">
                <a:lumMod val="75000"/>
              </a:schemeClr>
            </a:solidFill>
            <a:ln w="12688"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75673053-481D-4218-898D-C5783F0F9DDB}"/>
                </a:ext>
              </a:extLst>
            </p:cNvPr>
            <p:cNvSpPr/>
            <p:nvPr/>
          </p:nvSpPr>
          <p:spPr>
            <a:xfrm>
              <a:off x="995909" y="0"/>
              <a:ext cx="354411" cy="1257601"/>
            </a:xfrm>
            <a:custGeom>
              <a:avLst/>
              <a:gdLst>
                <a:gd name="connsiteX0" fmla="*/ 156246 w 354411"/>
                <a:gd name="connsiteY0" fmla="*/ 1230926 h 1257601"/>
                <a:gd name="connsiteX1" fmla="*/ 104164 w 354411"/>
                <a:gd name="connsiteY1" fmla="*/ 597043 h 1257601"/>
                <a:gd name="connsiteX2" fmla="*/ 104164 w 354411"/>
                <a:gd name="connsiteY2" fmla="*/ 597043 h 1257601"/>
                <a:gd name="connsiteX3" fmla="*/ 104164 w 354411"/>
                <a:gd name="connsiteY3" fmla="*/ 595773 h 1257601"/>
                <a:gd name="connsiteX4" fmla="*/ 104164 w 354411"/>
                <a:gd name="connsiteY4" fmla="*/ 594503 h 1257601"/>
                <a:gd name="connsiteX5" fmla="*/ 104164 w 354411"/>
                <a:gd name="connsiteY5" fmla="*/ 594503 h 1257601"/>
                <a:gd name="connsiteX6" fmla="*/ 104164 w 354411"/>
                <a:gd name="connsiteY6" fmla="*/ 594503 h 1257601"/>
                <a:gd name="connsiteX7" fmla="*/ 104164 w 354411"/>
                <a:gd name="connsiteY7" fmla="*/ 594503 h 1257601"/>
                <a:gd name="connsiteX8" fmla="*/ 104164 w 354411"/>
                <a:gd name="connsiteY8" fmla="*/ 593232 h 1257601"/>
                <a:gd name="connsiteX9" fmla="*/ 105434 w 354411"/>
                <a:gd name="connsiteY9" fmla="*/ 591962 h 1257601"/>
                <a:gd name="connsiteX10" fmla="*/ 106705 w 354411"/>
                <a:gd name="connsiteY10" fmla="*/ 590692 h 1257601"/>
                <a:gd name="connsiteX11" fmla="*/ 107975 w 354411"/>
                <a:gd name="connsiteY11" fmla="*/ 589422 h 1257601"/>
                <a:gd name="connsiteX12" fmla="*/ 107975 w 354411"/>
                <a:gd name="connsiteY12" fmla="*/ 589422 h 1257601"/>
                <a:gd name="connsiteX13" fmla="*/ 107975 w 354411"/>
                <a:gd name="connsiteY13" fmla="*/ 589422 h 1257601"/>
                <a:gd name="connsiteX14" fmla="*/ 354412 w 354411"/>
                <a:gd name="connsiteY14" fmla="*/ 467472 h 1257601"/>
                <a:gd name="connsiteX15" fmla="*/ 320114 w 354411"/>
                <a:gd name="connsiteY15" fmla="*/ 0 h 1257601"/>
                <a:gd name="connsiteX16" fmla="*/ 0 w 354411"/>
                <a:gd name="connsiteY16" fmla="*/ 0 h 1257601"/>
                <a:gd name="connsiteX17" fmla="*/ 104164 w 354411"/>
                <a:gd name="connsiteY17" fmla="*/ 1257602 h 1257601"/>
                <a:gd name="connsiteX18" fmla="*/ 156246 w 354411"/>
                <a:gd name="connsiteY18" fmla="*/ 1230926 h 125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4411" h="1257601">
                  <a:moveTo>
                    <a:pt x="156246" y="1230926"/>
                  </a:moveTo>
                  <a:lnTo>
                    <a:pt x="104164" y="597043"/>
                  </a:lnTo>
                  <a:lnTo>
                    <a:pt x="104164" y="597043"/>
                  </a:lnTo>
                  <a:cubicBezTo>
                    <a:pt x="104164" y="597043"/>
                    <a:pt x="104164" y="595773"/>
                    <a:pt x="104164" y="595773"/>
                  </a:cubicBezTo>
                  <a:cubicBezTo>
                    <a:pt x="104164" y="595773"/>
                    <a:pt x="104164" y="595773"/>
                    <a:pt x="104164" y="594503"/>
                  </a:cubicBezTo>
                  <a:lnTo>
                    <a:pt x="104164" y="594503"/>
                  </a:lnTo>
                  <a:lnTo>
                    <a:pt x="104164" y="594503"/>
                  </a:lnTo>
                  <a:lnTo>
                    <a:pt x="104164" y="594503"/>
                  </a:lnTo>
                  <a:cubicBezTo>
                    <a:pt x="104164" y="594503"/>
                    <a:pt x="104164" y="593232"/>
                    <a:pt x="104164" y="593232"/>
                  </a:cubicBezTo>
                  <a:cubicBezTo>
                    <a:pt x="104164" y="593232"/>
                    <a:pt x="104164" y="591962"/>
                    <a:pt x="105434" y="591962"/>
                  </a:cubicBezTo>
                  <a:lnTo>
                    <a:pt x="106705" y="590692"/>
                  </a:lnTo>
                  <a:lnTo>
                    <a:pt x="107975" y="589422"/>
                  </a:lnTo>
                  <a:lnTo>
                    <a:pt x="107975" y="589422"/>
                  </a:lnTo>
                  <a:lnTo>
                    <a:pt x="107975" y="589422"/>
                  </a:lnTo>
                  <a:lnTo>
                    <a:pt x="354412" y="467472"/>
                  </a:lnTo>
                  <a:lnTo>
                    <a:pt x="320114" y="0"/>
                  </a:lnTo>
                  <a:lnTo>
                    <a:pt x="0" y="0"/>
                  </a:lnTo>
                  <a:lnTo>
                    <a:pt x="104164" y="1257602"/>
                  </a:lnTo>
                  <a:lnTo>
                    <a:pt x="156246" y="1230926"/>
                  </a:lnTo>
                  <a:close/>
                </a:path>
              </a:pathLst>
            </a:custGeom>
            <a:solidFill>
              <a:schemeClr val="accent2">
                <a:lumMod val="75000"/>
              </a:schemeClr>
            </a:solidFill>
            <a:ln w="12688"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087C03A3-39DB-4601-B585-4A32662E0551}"/>
                </a:ext>
              </a:extLst>
            </p:cNvPr>
            <p:cNvSpPr/>
            <p:nvPr/>
          </p:nvSpPr>
          <p:spPr>
            <a:xfrm>
              <a:off x="4517161" y="5729074"/>
              <a:ext cx="1732679" cy="1125489"/>
            </a:xfrm>
            <a:custGeom>
              <a:avLst/>
              <a:gdLst>
                <a:gd name="connsiteX0" fmla="*/ 1322375 w 1732679"/>
                <a:gd name="connsiteY0" fmla="*/ 421741 h 1125489"/>
                <a:gd name="connsiteX1" fmla="*/ 0 w 1732679"/>
                <a:gd name="connsiteY1" fmla="*/ 0 h 1125489"/>
                <a:gd name="connsiteX2" fmla="*/ 6351 w 1732679"/>
                <a:gd name="connsiteY2" fmla="*/ 642774 h 1125489"/>
                <a:gd name="connsiteX3" fmla="*/ 1445593 w 1732679"/>
                <a:gd name="connsiteY3" fmla="*/ 1125490 h 1125489"/>
                <a:gd name="connsiteX4" fmla="*/ 1714896 w 1732679"/>
                <a:gd name="connsiteY4" fmla="*/ 1125490 h 1125489"/>
                <a:gd name="connsiteX5" fmla="*/ 1732680 w 1732679"/>
                <a:gd name="connsiteY5" fmla="*/ 551312 h 112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2679" h="1125489">
                  <a:moveTo>
                    <a:pt x="1322375" y="421741"/>
                  </a:moveTo>
                  <a:lnTo>
                    <a:pt x="0" y="0"/>
                  </a:lnTo>
                  <a:lnTo>
                    <a:pt x="6351" y="642774"/>
                  </a:lnTo>
                  <a:lnTo>
                    <a:pt x="1445593" y="1125490"/>
                  </a:lnTo>
                  <a:lnTo>
                    <a:pt x="1714896" y="1125490"/>
                  </a:lnTo>
                  <a:lnTo>
                    <a:pt x="1732680" y="551312"/>
                  </a:lnTo>
                  <a:close/>
                </a:path>
              </a:pathLst>
            </a:custGeom>
            <a:solidFill>
              <a:schemeClr val="bg1">
                <a:lumMod val="85000"/>
              </a:schemeClr>
            </a:solidFill>
            <a:ln w="12688"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590E88E9-8564-4575-9A95-ACF7B0736763}"/>
                </a:ext>
              </a:extLst>
            </p:cNvPr>
            <p:cNvSpPr/>
            <p:nvPr/>
          </p:nvSpPr>
          <p:spPr>
            <a:xfrm>
              <a:off x="3788013" y="5528366"/>
              <a:ext cx="707552" cy="668180"/>
            </a:xfrm>
            <a:custGeom>
              <a:avLst/>
              <a:gdLst>
                <a:gd name="connsiteX0" fmla="*/ 77488 w 707552"/>
                <a:gd name="connsiteY0" fmla="*/ 0 h 668180"/>
                <a:gd name="connsiteX1" fmla="*/ 35568 w 707552"/>
                <a:gd name="connsiteY1" fmla="*/ 33028 h 668180"/>
                <a:gd name="connsiteX2" fmla="*/ 35568 w 707552"/>
                <a:gd name="connsiteY2" fmla="*/ 33028 h 668180"/>
                <a:gd name="connsiteX3" fmla="*/ 35568 w 707552"/>
                <a:gd name="connsiteY3" fmla="*/ 33028 h 668180"/>
                <a:gd name="connsiteX4" fmla="*/ 35568 w 707552"/>
                <a:gd name="connsiteY4" fmla="*/ 33028 h 668180"/>
                <a:gd name="connsiteX5" fmla="*/ 36838 w 707552"/>
                <a:gd name="connsiteY5" fmla="*/ 34298 h 668180"/>
                <a:gd name="connsiteX6" fmla="*/ 36838 w 707552"/>
                <a:gd name="connsiteY6" fmla="*/ 35568 h 668180"/>
                <a:gd name="connsiteX7" fmla="*/ 36838 w 707552"/>
                <a:gd name="connsiteY7" fmla="*/ 36839 h 668180"/>
                <a:gd name="connsiteX8" fmla="*/ 36838 w 707552"/>
                <a:gd name="connsiteY8" fmla="*/ 38109 h 668180"/>
                <a:gd name="connsiteX9" fmla="*/ 36838 w 707552"/>
                <a:gd name="connsiteY9" fmla="*/ 39379 h 668180"/>
                <a:gd name="connsiteX10" fmla="*/ 36838 w 707552"/>
                <a:gd name="connsiteY10" fmla="*/ 39379 h 668180"/>
                <a:gd name="connsiteX11" fmla="*/ 36838 w 707552"/>
                <a:gd name="connsiteY11" fmla="*/ 40650 h 668180"/>
                <a:gd name="connsiteX12" fmla="*/ 35568 w 707552"/>
                <a:gd name="connsiteY12" fmla="*/ 41920 h 668180"/>
                <a:gd name="connsiteX13" fmla="*/ 35568 w 707552"/>
                <a:gd name="connsiteY13" fmla="*/ 41920 h 668180"/>
                <a:gd name="connsiteX14" fmla="*/ 0 w 707552"/>
                <a:gd name="connsiteY14" fmla="*/ 73678 h 668180"/>
                <a:gd name="connsiteX15" fmla="*/ 15243 w 707552"/>
                <a:gd name="connsiteY15" fmla="*/ 624990 h 668180"/>
                <a:gd name="connsiteX16" fmla="*/ 144813 w 707552"/>
                <a:gd name="connsiteY16" fmla="*/ 668180 h 668180"/>
                <a:gd name="connsiteX17" fmla="*/ 663093 w 707552"/>
                <a:gd name="connsiteY17" fmla="*/ 237547 h 668180"/>
                <a:gd name="connsiteX18" fmla="*/ 707553 w 707552"/>
                <a:gd name="connsiteY18" fmla="*/ 200708 h 668180"/>
                <a:gd name="connsiteX19" fmla="*/ 77488 w 707552"/>
                <a:gd name="connsiteY19" fmla="*/ 0 h 66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7552" h="668180">
                  <a:moveTo>
                    <a:pt x="77488" y="0"/>
                  </a:moveTo>
                  <a:lnTo>
                    <a:pt x="35568" y="33028"/>
                  </a:lnTo>
                  <a:lnTo>
                    <a:pt x="35568" y="33028"/>
                  </a:lnTo>
                  <a:lnTo>
                    <a:pt x="35568" y="33028"/>
                  </a:lnTo>
                  <a:lnTo>
                    <a:pt x="35568" y="33028"/>
                  </a:lnTo>
                  <a:cubicBezTo>
                    <a:pt x="35568" y="33028"/>
                    <a:pt x="35568" y="34298"/>
                    <a:pt x="36838" y="34298"/>
                  </a:cubicBezTo>
                  <a:lnTo>
                    <a:pt x="36838" y="35568"/>
                  </a:lnTo>
                  <a:cubicBezTo>
                    <a:pt x="36838" y="35568"/>
                    <a:pt x="36838" y="36839"/>
                    <a:pt x="36838" y="36839"/>
                  </a:cubicBezTo>
                  <a:cubicBezTo>
                    <a:pt x="36838" y="36839"/>
                    <a:pt x="36838" y="38109"/>
                    <a:pt x="36838" y="38109"/>
                  </a:cubicBezTo>
                  <a:cubicBezTo>
                    <a:pt x="36838" y="38109"/>
                    <a:pt x="36838" y="38109"/>
                    <a:pt x="36838" y="39379"/>
                  </a:cubicBezTo>
                  <a:lnTo>
                    <a:pt x="36838" y="39379"/>
                  </a:lnTo>
                  <a:cubicBezTo>
                    <a:pt x="36838" y="39379"/>
                    <a:pt x="36838" y="40650"/>
                    <a:pt x="36838" y="40650"/>
                  </a:cubicBezTo>
                  <a:lnTo>
                    <a:pt x="35568" y="41920"/>
                  </a:lnTo>
                  <a:lnTo>
                    <a:pt x="35568" y="41920"/>
                  </a:lnTo>
                  <a:lnTo>
                    <a:pt x="0" y="73678"/>
                  </a:lnTo>
                  <a:lnTo>
                    <a:pt x="15243" y="624990"/>
                  </a:lnTo>
                  <a:lnTo>
                    <a:pt x="144813" y="668180"/>
                  </a:lnTo>
                  <a:lnTo>
                    <a:pt x="663093" y="237547"/>
                  </a:lnTo>
                  <a:lnTo>
                    <a:pt x="707553" y="200708"/>
                  </a:lnTo>
                  <a:lnTo>
                    <a:pt x="77488" y="0"/>
                  </a:lnTo>
                  <a:close/>
                </a:path>
              </a:pathLst>
            </a:custGeom>
            <a:solidFill>
              <a:schemeClr val="tx2"/>
            </a:solidFill>
            <a:ln w="12688"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1D733241-E121-49BC-B4F6-2754E89A13FC}"/>
                </a:ext>
              </a:extLst>
            </p:cNvPr>
            <p:cNvSpPr/>
            <p:nvPr/>
          </p:nvSpPr>
          <p:spPr>
            <a:xfrm>
              <a:off x="4462539" y="5741778"/>
              <a:ext cx="47000" cy="624990"/>
            </a:xfrm>
            <a:custGeom>
              <a:avLst/>
              <a:gdLst>
                <a:gd name="connsiteX0" fmla="*/ 7622 w 47000"/>
                <a:gd name="connsiteY0" fmla="*/ 611017 h 624990"/>
                <a:gd name="connsiteX1" fmla="*/ 47001 w 47000"/>
                <a:gd name="connsiteY1" fmla="*/ 624990 h 624990"/>
                <a:gd name="connsiteX2" fmla="*/ 39379 w 47000"/>
                <a:gd name="connsiteY2" fmla="*/ 0 h 624990"/>
                <a:gd name="connsiteX3" fmla="*/ 0 w 47000"/>
                <a:gd name="connsiteY3" fmla="*/ 33028 h 624990"/>
              </a:gdLst>
              <a:ahLst/>
              <a:cxnLst>
                <a:cxn ang="0">
                  <a:pos x="connsiteX0" y="connsiteY0"/>
                </a:cxn>
                <a:cxn ang="0">
                  <a:pos x="connsiteX1" y="connsiteY1"/>
                </a:cxn>
                <a:cxn ang="0">
                  <a:pos x="connsiteX2" y="connsiteY2"/>
                </a:cxn>
                <a:cxn ang="0">
                  <a:pos x="connsiteX3" y="connsiteY3"/>
                </a:cxn>
              </a:cxnLst>
              <a:rect l="l" t="t" r="r" b="b"/>
              <a:pathLst>
                <a:path w="47000" h="624990">
                  <a:moveTo>
                    <a:pt x="7622" y="611017"/>
                  </a:moveTo>
                  <a:lnTo>
                    <a:pt x="47001" y="624990"/>
                  </a:lnTo>
                  <a:lnTo>
                    <a:pt x="39379" y="0"/>
                  </a:lnTo>
                  <a:lnTo>
                    <a:pt x="0" y="33028"/>
                  </a:lnTo>
                  <a:close/>
                </a:path>
              </a:pathLst>
            </a:custGeom>
            <a:solidFill>
              <a:srgbClr val="F9C996"/>
            </a:solidFill>
            <a:ln w="12688"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0E82B6E-7AE3-4C39-9F98-93C148037B12}"/>
                </a:ext>
              </a:extLst>
            </p:cNvPr>
            <p:cNvSpPr/>
            <p:nvPr/>
          </p:nvSpPr>
          <p:spPr>
            <a:xfrm>
              <a:off x="3784202" y="5495338"/>
              <a:ext cx="69866" cy="59704"/>
            </a:xfrm>
            <a:custGeom>
              <a:avLst/>
              <a:gdLst>
                <a:gd name="connsiteX0" fmla="*/ 22866 w 69866"/>
                <a:gd name="connsiteY0" fmla="*/ 59704 h 59704"/>
                <a:gd name="connsiteX1" fmla="*/ 69866 w 69866"/>
                <a:gd name="connsiteY1" fmla="*/ 22865 h 59704"/>
                <a:gd name="connsiteX2" fmla="*/ 0 w 69866"/>
                <a:gd name="connsiteY2" fmla="*/ 0 h 59704"/>
                <a:gd name="connsiteX3" fmla="*/ 1270 w 69866"/>
                <a:gd name="connsiteY3" fmla="*/ 53353 h 59704"/>
              </a:gdLst>
              <a:ahLst/>
              <a:cxnLst>
                <a:cxn ang="0">
                  <a:pos x="connsiteX0" y="connsiteY0"/>
                </a:cxn>
                <a:cxn ang="0">
                  <a:pos x="connsiteX1" y="connsiteY1"/>
                </a:cxn>
                <a:cxn ang="0">
                  <a:pos x="connsiteX2" y="connsiteY2"/>
                </a:cxn>
                <a:cxn ang="0">
                  <a:pos x="connsiteX3" y="connsiteY3"/>
                </a:cxn>
              </a:cxnLst>
              <a:rect l="l" t="t" r="r" b="b"/>
              <a:pathLst>
                <a:path w="69866" h="59704">
                  <a:moveTo>
                    <a:pt x="22866" y="59704"/>
                  </a:moveTo>
                  <a:lnTo>
                    <a:pt x="69866" y="22865"/>
                  </a:lnTo>
                  <a:lnTo>
                    <a:pt x="0" y="0"/>
                  </a:lnTo>
                  <a:lnTo>
                    <a:pt x="1270" y="53353"/>
                  </a:lnTo>
                  <a:close/>
                </a:path>
              </a:pathLst>
            </a:custGeom>
            <a:solidFill>
              <a:srgbClr val="22B0AE"/>
            </a:solidFill>
            <a:ln w="12688"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7EC5A61-A004-47EF-AA48-D545B1144F98}"/>
                </a:ext>
              </a:extLst>
            </p:cNvPr>
            <p:cNvSpPr/>
            <p:nvPr/>
          </p:nvSpPr>
          <p:spPr>
            <a:xfrm>
              <a:off x="5836996" y="5082489"/>
              <a:ext cx="232463" cy="360766"/>
            </a:xfrm>
            <a:custGeom>
              <a:avLst/>
              <a:gdLst>
                <a:gd name="connsiteX0" fmla="*/ 0 w 232463"/>
                <a:gd name="connsiteY0" fmla="*/ 293441 h 360766"/>
                <a:gd name="connsiteX1" fmla="*/ 226112 w 232463"/>
                <a:gd name="connsiteY1" fmla="*/ 360767 h 360766"/>
                <a:gd name="connsiteX2" fmla="*/ 232463 w 232463"/>
                <a:gd name="connsiteY2" fmla="*/ 67326 h 360766"/>
                <a:gd name="connsiteX3" fmla="*/ 5081 w 232463"/>
                <a:gd name="connsiteY3" fmla="*/ 0 h 360766"/>
              </a:gdLst>
              <a:ahLst/>
              <a:cxnLst>
                <a:cxn ang="0">
                  <a:pos x="connsiteX0" y="connsiteY0"/>
                </a:cxn>
                <a:cxn ang="0">
                  <a:pos x="connsiteX1" y="connsiteY1"/>
                </a:cxn>
                <a:cxn ang="0">
                  <a:pos x="connsiteX2" y="connsiteY2"/>
                </a:cxn>
                <a:cxn ang="0">
                  <a:pos x="connsiteX3" y="connsiteY3"/>
                </a:cxn>
              </a:cxnLst>
              <a:rect l="l" t="t" r="r" b="b"/>
              <a:pathLst>
                <a:path w="232463" h="360766">
                  <a:moveTo>
                    <a:pt x="0" y="293441"/>
                  </a:moveTo>
                  <a:lnTo>
                    <a:pt x="226112" y="360767"/>
                  </a:lnTo>
                  <a:lnTo>
                    <a:pt x="232463" y="67326"/>
                  </a:lnTo>
                  <a:lnTo>
                    <a:pt x="5081" y="0"/>
                  </a:lnTo>
                  <a:close/>
                </a:path>
              </a:pathLst>
            </a:custGeom>
            <a:solidFill>
              <a:schemeClr val="accent6">
                <a:lumMod val="75000"/>
              </a:schemeClr>
            </a:solidFill>
            <a:ln w="12688"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2F3412DE-36C9-4239-9A36-0146CC5E383B}"/>
                </a:ext>
              </a:extLst>
            </p:cNvPr>
            <p:cNvSpPr/>
            <p:nvPr/>
          </p:nvSpPr>
          <p:spPr>
            <a:xfrm>
              <a:off x="5201849" y="4684884"/>
              <a:ext cx="1202967" cy="609746"/>
            </a:xfrm>
            <a:custGeom>
              <a:avLst/>
              <a:gdLst>
                <a:gd name="connsiteX0" fmla="*/ 362034 w 1202967"/>
                <a:gd name="connsiteY0" fmla="*/ 609746 h 609746"/>
                <a:gd name="connsiteX1" fmla="*/ 628795 w 1202967"/>
                <a:gd name="connsiteY1" fmla="*/ 382362 h 609746"/>
                <a:gd name="connsiteX2" fmla="*/ 630065 w 1202967"/>
                <a:gd name="connsiteY2" fmla="*/ 382362 h 609746"/>
                <a:gd name="connsiteX3" fmla="*/ 631336 w 1202967"/>
                <a:gd name="connsiteY3" fmla="*/ 382362 h 609746"/>
                <a:gd name="connsiteX4" fmla="*/ 631336 w 1202967"/>
                <a:gd name="connsiteY4" fmla="*/ 382362 h 609746"/>
                <a:gd name="connsiteX5" fmla="*/ 632606 w 1202967"/>
                <a:gd name="connsiteY5" fmla="*/ 382362 h 609746"/>
                <a:gd name="connsiteX6" fmla="*/ 633876 w 1202967"/>
                <a:gd name="connsiteY6" fmla="*/ 382362 h 609746"/>
                <a:gd name="connsiteX7" fmla="*/ 635147 w 1202967"/>
                <a:gd name="connsiteY7" fmla="*/ 382362 h 609746"/>
                <a:gd name="connsiteX8" fmla="*/ 636417 w 1202967"/>
                <a:gd name="connsiteY8" fmla="*/ 382362 h 609746"/>
                <a:gd name="connsiteX9" fmla="*/ 875232 w 1202967"/>
                <a:gd name="connsiteY9" fmla="*/ 452229 h 609746"/>
                <a:gd name="connsiteX10" fmla="*/ 1202968 w 1202967"/>
                <a:gd name="connsiteY10" fmla="*/ 166410 h 609746"/>
                <a:gd name="connsiteX11" fmla="*/ 605930 w 1202967"/>
                <a:gd name="connsiteY11" fmla="*/ 0 h 609746"/>
                <a:gd name="connsiteX12" fmla="*/ 0 w 1202967"/>
                <a:gd name="connsiteY12" fmla="*/ 504311 h 609746"/>
                <a:gd name="connsiteX13" fmla="*/ 362034 w 1202967"/>
                <a:gd name="connsiteY13" fmla="*/ 609746 h 6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2967" h="609746">
                  <a:moveTo>
                    <a:pt x="362034" y="609746"/>
                  </a:moveTo>
                  <a:lnTo>
                    <a:pt x="628795" y="382362"/>
                  </a:lnTo>
                  <a:lnTo>
                    <a:pt x="630065" y="382362"/>
                  </a:lnTo>
                  <a:lnTo>
                    <a:pt x="631336" y="382362"/>
                  </a:lnTo>
                  <a:lnTo>
                    <a:pt x="631336" y="382362"/>
                  </a:lnTo>
                  <a:lnTo>
                    <a:pt x="632606" y="382362"/>
                  </a:lnTo>
                  <a:lnTo>
                    <a:pt x="633876" y="382362"/>
                  </a:lnTo>
                  <a:lnTo>
                    <a:pt x="635147" y="382362"/>
                  </a:lnTo>
                  <a:lnTo>
                    <a:pt x="636417" y="382362"/>
                  </a:lnTo>
                  <a:lnTo>
                    <a:pt x="875232" y="452229"/>
                  </a:lnTo>
                  <a:lnTo>
                    <a:pt x="1202968" y="166410"/>
                  </a:lnTo>
                  <a:lnTo>
                    <a:pt x="605930" y="0"/>
                  </a:lnTo>
                  <a:lnTo>
                    <a:pt x="0" y="504311"/>
                  </a:lnTo>
                  <a:lnTo>
                    <a:pt x="362034" y="609746"/>
                  </a:lnTo>
                  <a:close/>
                </a:path>
              </a:pathLst>
            </a:custGeom>
            <a:solidFill>
              <a:schemeClr val="bg1">
                <a:lumMod val="85000"/>
              </a:schemeClr>
            </a:solidFill>
            <a:ln w="12688"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E6395DCF-6C1A-4BC0-8AB0-3AD744C4ADEF}"/>
                </a:ext>
              </a:extLst>
            </p:cNvPr>
            <p:cNvSpPr/>
            <p:nvPr/>
          </p:nvSpPr>
          <p:spPr>
            <a:xfrm>
              <a:off x="5581667" y="5090111"/>
              <a:ext cx="245166" cy="282007"/>
            </a:xfrm>
            <a:custGeom>
              <a:avLst/>
              <a:gdLst>
                <a:gd name="connsiteX0" fmla="*/ 0 w 245166"/>
                <a:gd name="connsiteY0" fmla="*/ 209600 h 282007"/>
                <a:gd name="connsiteX1" fmla="*/ 240085 w 245166"/>
                <a:gd name="connsiteY1" fmla="*/ 282007 h 282007"/>
                <a:gd name="connsiteX2" fmla="*/ 245167 w 245166"/>
                <a:gd name="connsiteY2" fmla="*/ 0 h 282007"/>
              </a:gdLst>
              <a:ahLst/>
              <a:cxnLst>
                <a:cxn ang="0">
                  <a:pos x="connsiteX0" y="connsiteY0"/>
                </a:cxn>
                <a:cxn ang="0">
                  <a:pos x="connsiteX1" y="connsiteY1"/>
                </a:cxn>
                <a:cxn ang="0">
                  <a:pos x="connsiteX2" y="connsiteY2"/>
                </a:cxn>
              </a:cxnLst>
              <a:rect l="l" t="t" r="r" b="b"/>
              <a:pathLst>
                <a:path w="245166" h="282007">
                  <a:moveTo>
                    <a:pt x="0" y="209600"/>
                  </a:moveTo>
                  <a:lnTo>
                    <a:pt x="240085" y="282007"/>
                  </a:lnTo>
                  <a:lnTo>
                    <a:pt x="245167" y="0"/>
                  </a:lnTo>
                  <a:close/>
                </a:path>
              </a:pathLst>
            </a:custGeom>
            <a:solidFill>
              <a:srgbClr val="F4F5F3"/>
            </a:solidFill>
            <a:ln w="12688"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6B2446F5-2D4C-4EFF-BD37-E5226A9F9C34}"/>
                </a:ext>
              </a:extLst>
            </p:cNvPr>
            <p:cNvSpPr/>
            <p:nvPr/>
          </p:nvSpPr>
          <p:spPr>
            <a:xfrm>
              <a:off x="4524783" y="6387092"/>
              <a:ext cx="1390970" cy="464932"/>
            </a:xfrm>
            <a:custGeom>
              <a:avLst/>
              <a:gdLst>
                <a:gd name="connsiteX0" fmla="*/ 0 w 1390970"/>
                <a:gd name="connsiteY0" fmla="*/ 7622 h 464932"/>
                <a:gd name="connsiteX1" fmla="*/ 1133101 w 1390970"/>
                <a:gd name="connsiteY1" fmla="*/ 388714 h 464932"/>
                <a:gd name="connsiteX2" fmla="*/ 1134372 w 1390970"/>
                <a:gd name="connsiteY2" fmla="*/ 388714 h 464932"/>
                <a:gd name="connsiteX3" fmla="*/ 1135642 w 1390970"/>
                <a:gd name="connsiteY3" fmla="*/ 388714 h 464932"/>
                <a:gd name="connsiteX4" fmla="*/ 1136912 w 1390970"/>
                <a:gd name="connsiteY4" fmla="*/ 388714 h 464932"/>
                <a:gd name="connsiteX5" fmla="*/ 1136912 w 1390970"/>
                <a:gd name="connsiteY5" fmla="*/ 388714 h 464932"/>
                <a:gd name="connsiteX6" fmla="*/ 1136912 w 1390970"/>
                <a:gd name="connsiteY6" fmla="*/ 388714 h 464932"/>
                <a:gd name="connsiteX7" fmla="*/ 1136912 w 1390970"/>
                <a:gd name="connsiteY7" fmla="*/ 389984 h 464932"/>
                <a:gd name="connsiteX8" fmla="*/ 1136912 w 1390970"/>
                <a:gd name="connsiteY8" fmla="*/ 389984 h 464932"/>
                <a:gd name="connsiteX9" fmla="*/ 1138182 w 1390970"/>
                <a:gd name="connsiteY9" fmla="*/ 391254 h 464932"/>
                <a:gd name="connsiteX10" fmla="*/ 1138182 w 1390970"/>
                <a:gd name="connsiteY10" fmla="*/ 391254 h 464932"/>
                <a:gd name="connsiteX11" fmla="*/ 1138182 w 1390970"/>
                <a:gd name="connsiteY11" fmla="*/ 392525 h 464932"/>
                <a:gd name="connsiteX12" fmla="*/ 1138182 w 1390970"/>
                <a:gd name="connsiteY12" fmla="*/ 393795 h 464932"/>
                <a:gd name="connsiteX13" fmla="*/ 1138182 w 1390970"/>
                <a:gd name="connsiteY13" fmla="*/ 393795 h 464932"/>
                <a:gd name="connsiteX14" fmla="*/ 1138182 w 1390970"/>
                <a:gd name="connsiteY14" fmla="*/ 393795 h 464932"/>
                <a:gd name="connsiteX15" fmla="*/ 1136912 w 1390970"/>
                <a:gd name="connsiteY15" fmla="*/ 464932 h 464932"/>
                <a:gd name="connsiteX16" fmla="*/ 1390971 w 1390970"/>
                <a:gd name="connsiteY16" fmla="*/ 464932 h 464932"/>
                <a:gd name="connsiteX17" fmla="*/ 1270 w 1390970"/>
                <a:gd name="connsiteY17" fmla="*/ 0 h 464932"/>
                <a:gd name="connsiteX18" fmla="*/ 0 w 1390970"/>
                <a:gd name="connsiteY18" fmla="*/ 7622 h 4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90970" h="464932">
                  <a:moveTo>
                    <a:pt x="0" y="7622"/>
                  </a:moveTo>
                  <a:lnTo>
                    <a:pt x="1133101" y="388714"/>
                  </a:lnTo>
                  <a:lnTo>
                    <a:pt x="1134372" y="388714"/>
                  </a:lnTo>
                  <a:lnTo>
                    <a:pt x="1135642" y="388714"/>
                  </a:lnTo>
                  <a:lnTo>
                    <a:pt x="1136912" y="388714"/>
                  </a:lnTo>
                  <a:lnTo>
                    <a:pt x="1136912" y="388714"/>
                  </a:lnTo>
                  <a:lnTo>
                    <a:pt x="1136912" y="388714"/>
                  </a:lnTo>
                  <a:lnTo>
                    <a:pt x="1136912" y="389984"/>
                  </a:lnTo>
                  <a:lnTo>
                    <a:pt x="1136912" y="389984"/>
                  </a:lnTo>
                  <a:lnTo>
                    <a:pt x="1138182" y="391254"/>
                  </a:lnTo>
                  <a:lnTo>
                    <a:pt x="1138182" y="391254"/>
                  </a:lnTo>
                  <a:cubicBezTo>
                    <a:pt x="1138182" y="391254"/>
                    <a:pt x="1138182" y="392525"/>
                    <a:pt x="1138182" y="392525"/>
                  </a:cubicBezTo>
                  <a:cubicBezTo>
                    <a:pt x="1138182" y="392525"/>
                    <a:pt x="1138182" y="393795"/>
                    <a:pt x="1138182" y="393795"/>
                  </a:cubicBezTo>
                  <a:lnTo>
                    <a:pt x="1138182" y="393795"/>
                  </a:lnTo>
                  <a:lnTo>
                    <a:pt x="1138182" y="393795"/>
                  </a:lnTo>
                  <a:lnTo>
                    <a:pt x="1136912" y="464932"/>
                  </a:lnTo>
                  <a:lnTo>
                    <a:pt x="1390971" y="464932"/>
                  </a:lnTo>
                  <a:lnTo>
                    <a:pt x="1270" y="0"/>
                  </a:lnTo>
                  <a:lnTo>
                    <a:pt x="0" y="7622"/>
                  </a:lnTo>
                  <a:close/>
                </a:path>
              </a:pathLst>
            </a:custGeom>
            <a:solidFill>
              <a:srgbClr val="9FD1D0"/>
            </a:solidFill>
            <a:ln w="12688"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3D553354-CFFE-4B53-83BB-4A22E9360C6E}"/>
                </a:ext>
              </a:extLst>
            </p:cNvPr>
            <p:cNvSpPr/>
            <p:nvPr/>
          </p:nvSpPr>
          <p:spPr>
            <a:xfrm>
              <a:off x="3768959" y="4899566"/>
              <a:ext cx="86379" cy="603394"/>
            </a:xfrm>
            <a:custGeom>
              <a:avLst/>
              <a:gdLst>
                <a:gd name="connsiteX0" fmla="*/ 13973 w 86379"/>
                <a:gd name="connsiteY0" fmla="*/ 580529 h 603394"/>
                <a:gd name="connsiteX1" fmla="*/ 86380 w 86379"/>
                <a:gd name="connsiteY1" fmla="*/ 603395 h 603394"/>
                <a:gd name="connsiteX2" fmla="*/ 71136 w 86379"/>
                <a:gd name="connsiteY2" fmla="*/ 0 h 603394"/>
                <a:gd name="connsiteX3" fmla="*/ 0 w 86379"/>
                <a:gd name="connsiteY3" fmla="*/ 54623 h 603394"/>
              </a:gdLst>
              <a:ahLst/>
              <a:cxnLst>
                <a:cxn ang="0">
                  <a:pos x="connsiteX0" y="connsiteY0"/>
                </a:cxn>
                <a:cxn ang="0">
                  <a:pos x="connsiteX1" y="connsiteY1"/>
                </a:cxn>
                <a:cxn ang="0">
                  <a:pos x="connsiteX2" y="connsiteY2"/>
                </a:cxn>
                <a:cxn ang="0">
                  <a:pos x="connsiteX3" y="connsiteY3"/>
                </a:cxn>
              </a:cxnLst>
              <a:rect l="l" t="t" r="r" b="b"/>
              <a:pathLst>
                <a:path w="86379" h="603394">
                  <a:moveTo>
                    <a:pt x="13973" y="580529"/>
                  </a:moveTo>
                  <a:lnTo>
                    <a:pt x="86380" y="603395"/>
                  </a:lnTo>
                  <a:lnTo>
                    <a:pt x="71136" y="0"/>
                  </a:lnTo>
                  <a:lnTo>
                    <a:pt x="0" y="54623"/>
                  </a:lnTo>
                  <a:close/>
                </a:path>
              </a:pathLst>
            </a:custGeom>
            <a:solidFill>
              <a:srgbClr val="22B0AE"/>
            </a:solidFill>
            <a:ln w="12688"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16AFA78A-B024-40F4-8E2B-0F0DCE1BEA57}"/>
                </a:ext>
              </a:extLst>
            </p:cNvPr>
            <p:cNvSpPr/>
            <p:nvPr/>
          </p:nvSpPr>
          <p:spPr>
            <a:xfrm>
              <a:off x="3749905" y="4288549"/>
              <a:ext cx="88920" cy="646585"/>
            </a:xfrm>
            <a:custGeom>
              <a:avLst/>
              <a:gdLst>
                <a:gd name="connsiteX0" fmla="*/ 88921 w 88920"/>
                <a:gd name="connsiteY0" fmla="*/ 591962 h 646585"/>
                <a:gd name="connsiteX1" fmla="*/ 73677 w 88920"/>
                <a:gd name="connsiteY1" fmla="*/ 21595 h 646585"/>
                <a:gd name="connsiteX2" fmla="*/ 0 w 88920"/>
                <a:gd name="connsiteY2" fmla="*/ 0 h 646585"/>
                <a:gd name="connsiteX3" fmla="*/ 17784 w 88920"/>
                <a:gd name="connsiteY3" fmla="*/ 646585 h 646585"/>
              </a:gdLst>
              <a:ahLst/>
              <a:cxnLst>
                <a:cxn ang="0">
                  <a:pos x="connsiteX0" y="connsiteY0"/>
                </a:cxn>
                <a:cxn ang="0">
                  <a:pos x="connsiteX1" y="connsiteY1"/>
                </a:cxn>
                <a:cxn ang="0">
                  <a:pos x="connsiteX2" y="connsiteY2"/>
                </a:cxn>
                <a:cxn ang="0">
                  <a:pos x="connsiteX3" y="connsiteY3"/>
                </a:cxn>
              </a:cxnLst>
              <a:rect l="l" t="t" r="r" b="b"/>
              <a:pathLst>
                <a:path w="88920" h="646585">
                  <a:moveTo>
                    <a:pt x="88921" y="591962"/>
                  </a:moveTo>
                  <a:lnTo>
                    <a:pt x="73677" y="21595"/>
                  </a:lnTo>
                  <a:lnTo>
                    <a:pt x="0" y="0"/>
                  </a:lnTo>
                  <a:lnTo>
                    <a:pt x="17784" y="646585"/>
                  </a:lnTo>
                  <a:close/>
                </a:path>
              </a:pathLst>
            </a:custGeom>
            <a:solidFill>
              <a:schemeClr val="accent2">
                <a:lumMod val="50000"/>
              </a:schemeClr>
            </a:solidFill>
            <a:ln w="12688"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953BC36-E832-43B0-BAD0-9F61C7F10B86}"/>
                </a:ext>
              </a:extLst>
            </p:cNvPr>
            <p:cNvSpPr/>
            <p:nvPr/>
          </p:nvSpPr>
          <p:spPr>
            <a:xfrm>
              <a:off x="3066487" y="0"/>
              <a:ext cx="753283" cy="4289819"/>
            </a:xfrm>
            <a:custGeom>
              <a:avLst/>
              <a:gdLst>
                <a:gd name="connsiteX0" fmla="*/ 43190 w 753283"/>
                <a:gd name="connsiteY0" fmla="*/ 1106436 h 4289819"/>
                <a:gd name="connsiteX1" fmla="*/ 106705 w 753283"/>
                <a:gd name="connsiteY1" fmla="*/ 2687965 h 4289819"/>
                <a:gd name="connsiteX2" fmla="*/ 285816 w 753283"/>
                <a:gd name="connsiteY2" fmla="*/ 2731156 h 4289819"/>
                <a:gd name="connsiteX3" fmla="*/ 285816 w 753283"/>
                <a:gd name="connsiteY3" fmla="*/ 2731156 h 4289819"/>
                <a:gd name="connsiteX4" fmla="*/ 287086 w 753283"/>
                <a:gd name="connsiteY4" fmla="*/ 2731156 h 4289819"/>
                <a:gd name="connsiteX5" fmla="*/ 288357 w 753283"/>
                <a:gd name="connsiteY5" fmla="*/ 2731156 h 4289819"/>
                <a:gd name="connsiteX6" fmla="*/ 288357 w 753283"/>
                <a:gd name="connsiteY6" fmla="*/ 2731156 h 4289819"/>
                <a:gd name="connsiteX7" fmla="*/ 289627 w 753283"/>
                <a:gd name="connsiteY7" fmla="*/ 2732426 h 4289819"/>
                <a:gd name="connsiteX8" fmla="*/ 289627 w 753283"/>
                <a:gd name="connsiteY8" fmla="*/ 2733696 h 4289819"/>
                <a:gd name="connsiteX9" fmla="*/ 289627 w 753283"/>
                <a:gd name="connsiteY9" fmla="*/ 2733696 h 4289819"/>
                <a:gd name="connsiteX10" fmla="*/ 289627 w 753283"/>
                <a:gd name="connsiteY10" fmla="*/ 2733696 h 4289819"/>
                <a:gd name="connsiteX11" fmla="*/ 289627 w 753283"/>
                <a:gd name="connsiteY11" fmla="*/ 2734967 h 4289819"/>
                <a:gd name="connsiteX12" fmla="*/ 289627 w 753283"/>
                <a:gd name="connsiteY12" fmla="*/ 2734967 h 4289819"/>
                <a:gd name="connsiteX13" fmla="*/ 289627 w 753283"/>
                <a:gd name="connsiteY13" fmla="*/ 2736237 h 4289819"/>
                <a:gd name="connsiteX14" fmla="*/ 289627 w 753283"/>
                <a:gd name="connsiteY14" fmla="*/ 2736237 h 4289819"/>
                <a:gd name="connsiteX15" fmla="*/ 289627 w 753283"/>
                <a:gd name="connsiteY15" fmla="*/ 2736237 h 4289819"/>
                <a:gd name="connsiteX16" fmla="*/ 308681 w 753283"/>
                <a:gd name="connsiteY16" fmla="*/ 3250710 h 4289819"/>
                <a:gd name="connsiteX17" fmla="*/ 649120 w 753283"/>
                <a:gd name="connsiteY17" fmla="*/ 3339632 h 4289819"/>
                <a:gd name="connsiteX18" fmla="*/ 649120 w 753283"/>
                <a:gd name="connsiteY18" fmla="*/ 3339632 h 4289819"/>
                <a:gd name="connsiteX19" fmla="*/ 650390 w 753283"/>
                <a:gd name="connsiteY19" fmla="*/ 3339632 h 4289819"/>
                <a:gd name="connsiteX20" fmla="*/ 651661 w 753283"/>
                <a:gd name="connsiteY20" fmla="*/ 3339632 h 4289819"/>
                <a:gd name="connsiteX21" fmla="*/ 651661 w 753283"/>
                <a:gd name="connsiteY21" fmla="*/ 3339632 h 4289819"/>
                <a:gd name="connsiteX22" fmla="*/ 652931 w 753283"/>
                <a:gd name="connsiteY22" fmla="*/ 3340902 h 4289819"/>
                <a:gd name="connsiteX23" fmla="*/ 652931 w 753283"/>
                <a:gd name="connsiteY23" fmla="*/ 3340902 h 4289819"/>
                <a:gd name="connsiteX24" fmla="*/ 652931 w 753283"/>
                <a:gd name="connsiteY24" fmla="*/ 3340902 h 4289819"/>
                <a:gd name="connsiteX25" fmla="*/ 652931 w 753283"/>
                <a:gd name="connsiteY25" fmla="*/ 3340902 h 4289819"/>
                <a:gd name="connsiteX26" fmla="*/ 652931 w 753283"/>
                <a:gd name="connsiteY26" fmla="*/ 3342172 h 4289819"/>
                <a:gd name="connsiteX27" fmla="*/ 652931 w 753283"/>
                <a:gd name="connsiteY27" fmla="*/ 3343443 h 4289819"/>
                <a:gd name="connsiteX28" fmla="*/ 652931 w 753283"/>
                <a:gd name="connsiteY28" fmla="*/ 3343443 h 4289819"/>
                <a:gd name="connsiteX29" fmla="*/ 652931 w 753283"/>
                <a:gd name="connsiteY29" fmla="*/ 3343443 h 4289819"/>
                <a:gd name="connsiteX30" fmla="*/ 678336 w 753283"/>
                <a:gd name="connsiteY30" fmla="*/ 4268225 h 4289819"/>
                <a:gd name="connsiteX31" fmla="*/ 753284 w 753283"/>
                <a:gd name="connsiteY31" fmla="*/ 4289820 h 4289819"/>
                <a:gd name="connsiteX32" fmla="*/ 645309 w 753283"/>
                <a:gd name="connsiteY32" fmla="*/ 0 h 4289819"/>
                <a:gd name="connsiteX33" fmla="*/ 0 w 753283"/>
                <a:gd name="connsiteY33" fmla="*/ 0 h 4289819"/>
                <a:gd name="connsiteX34" fmla="*/ 33028 w 753283"/>
                <a:gd name="connsiteY34" fmla="*/ 829509 h 4289819"/>
                <a:gd name="connsiteX35" fmla="*/ 43190 w 753283"/>
                <a:gd name="connsiteY35" fmla="*/ 1106436 h 4289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3283" h="4289819">
                  <a:moveTo>
                    <a:pt x="43190" y="1106436"/>
                  </a:moveTo>
                  <a:lnTo>
                    <a:pt x="106705" y="2687965"/>
                  </a:lnTo>
                  <a:lnTo>
                    <a:pt x="285816" y="2731156"/>
                  </a:lnTo>
                  <a:lnTo>
                    <a:pt x="285816" y="2731156"/>
                  </a:lnTo>
                  <a:lnTo>
                    <a:pt x="287086" y="2731156"/>
                  </a:lnTo>
                  <a:lnTo>
                    <a:pt x="288357" y="2731156"/>
                  </a:lnTo>
                  <a:lnTo>
                    <a:pt x="288357" y="2731156"/>
                  </a:lnTo>
                  <a:lnTo>
                    <a:pt x="289627" y="2732426"/>
                  </a:lnTo>
                  <a:cubicBezTo>
                    <a:pt x="289627" y="2732426"/>
                    <a:pt x="289627" y="2732426"/>
                    <a:pt x="289627" y="2733696"/>
                  </a:cubicBezTo>
                  <a:lnTo>
                    <a:pt x="289627" y="2733696"/>
                  </a:lnTo>
                  <a:lnTo>
                    <a:pt x="289627" y="2733696"/>
                  </a:lnTo>
                  <a:cubicBezTo>
                    <a:pt x="289627" y="2733696"/>
                    <a:pt x="289627" y="2734967"/>
                    <a:pt x="289627" y="2734967"/>
                  </a:cubicBezTo>
                  <a:lnTo>
                    <a:pt x="289627" y="2734967"/>
                  </a:lnTo>
                  <a:lnTo>
                    <a:pt x="289627" y="2736237"/>
                  </a:lnTo>
                  <a:lnTo>
                    <a:pt x="289627" y="2736237"/>
                  </a:lnTo>
                  <a:lnTo>
                    <a:pt x="289627" y="2736237"/>
                  </a:lnTo>
                  <a:lnTo>
                    <a:pt x="308681" y="3250710"/>
                  </a:lnTo>
                  <a:lnTo>
                    <a:pt x="649120" y="3339632"/>
                  </a:lnTo>
                  <a:lnTo>
                    <a:pt x="649120" y="3339632"/>
                  </a:lnTo>
                  <a:lnTo>
                    <a:pt x="650390" y="3339632"/>
                  </a:lnTo>
                  <a:lnTo>
                    <a:pt x="651661" y="3339632"/>
                  </a:lnTo>
                  <a:lnTo>
                    <a:pt x="651661" y="3339632"/>
                  </a:lnTo>
                  <a:lnTo>
                    <a:pt x="652931" y="3340902"/>
                  </a:lnTo>
                  <a:lnTo>
                    <a:pt x="652931" y="3340902"/>
                  </a:lnTo>
                  <a:lnTo>
                    <a:pt x="652931" y="3340902"/>
                  </a:lnTo>
                  <a:lnTo>
                    <a:pt x="652931" y="3340902"/>
                  </a:lnTo>
                  <a:lnTo>
                    <a:pt x="652931" y="3342172"/>
                  </a:lnTo>
                  <a:lnTo>
                    <a:pt x="652931" y="3343443"/>
                  </a:lnTo>
                  <a:lnTo>
                    <a:pt x="652931" y="3343443"/>
                  </a:lnTo>
                  <a:lnTo>
                    <a:pt x="652931" y="3343443"/>
                  </a:lnTo>
                  <a:lnTo>
                    <a:pt x="678336" y="4268225"/>
                  </a:lnTo>
                  <a:lnTo>
                    <a:pt x="753284" y="4289820"/>
                  </a:lnTo>
                  <a:lnTo>
                    <a:pt x="645309" y="0"/>
                  </a:lnTo>
                  <a:lnTo>
                    <a:pt x="0" y="0"/>
                  </a:lnTo>
                  <a:lnTo>
                    <a:pt x="33028" y="829509"/>
                  </a:lnTo>
                  <a:lnTo>
                    <a:pt x="43190" y="1106436"/>
                  </a:lnTo>
                  <a:close/>
                </a:path>
              </a:pathLst>
            </a:custGeom>
            <a:solidFill>
              <a:schemeClr val="accent6">
                <a:lumMod val="75000"/>
              </a:schemeClr>
            </a:solidFill>
            <a:ln w="12688"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A80A9D40-0DCB-43B7-82DA-C7D435364AC7}"/>
                </a:ext>
              </a:extLst>
            </p:cNvPr>
            <p:cNvSpPr/>
            <p:nvPr/>
          </p:nvSpPr>
          <p:spPr>
            <a:xfrm>
              <a:off x="4470160" y="6369308"/>
              <a:ext cx="39379" cy="20324"/>
            </a:xfrm>
            <a:custGeom>
              <a:avLst/>
              <a:gdLst>
                <a:gd name="connsiteX0" fmla="*/ 39379 w 39379"/>
                <a:gd name="connsiteY0" fmla="*/ 20325 h 20324"/>
                <a:gd name="connsiteX1" fmla="*/ 39379 w 39379"/>
                <a:gd name="connsiteY1" fmla="*/ 12703 h 20324"/>
                <a:gd name="connsiteX2" fmla="*/ 0 w 39379"/>
                <a:gd name="connsiteY2" fmla="*/ 0 h 20324"/>
                <a:gd name="connsiteX3" fmla="*/ 0 w 39379"/>
                <a:gd name="connsiteY3" fmla="*/ 7622 h 20324"/>
              </a:gdLst>
              <a:ahLst/>
              <a:cxnLst>
                <a:cxn ang="0">
                  <a:pos x="connsiteX0" y="connsiteY0"/>
                </a:cxn>
                <a:cxn ang="0">
                  <a:pos x="connsiteX1" y="connsiteY1"/>
                </a:cxn>
                <a:cxn ang="0">
                  <a:pos x="connsiteX2" y="connsiteY2"/>
                </a:cxn>
                <a:cxn ang="0">
                  <a:pos x="connsiteX3" y="connsiteY3"/>
                </a:cxn>
              </a:cxnLst>
              <a:rect l="l" t="t" r="r" b="b"/>
              <a:pathLst>
                <a:path w="39379" h="20324">
                  <a:moveTo>
                    <a:pt x="39379" y="20325"/>
                  </a:moveTo>
                  <a:lnTo>
                    <a:pt x="39379" y="12703"/>
                  </a:lnTo>
                  <a:lnTo>
                    <a:pt x="0" y="0"/>
                  </a:lnTo>
                  <a:lnTo>
                    <a:pt x="0" y="7622"/>
                  </a:lnTo>
                  <a:close/>
                </a:path>
              </a:pathLst>
            </a:custGeom>
            <a:solidFill>
              <a:srgbClr val="F2494C"/>
            </a:solidFill>
            <a:ln w="12688"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62ECC7E-AA12-4C28-941C-F0C5C99B24F6}"/>
                </a:ext>
              </a:extLst>
            </p:cNvPr>
            <p:cNvSpPr/>
            <p:nvPr/>
          </p:nvSpPr>
          <p:spPr>
            <a:xfrm>
              <a:off x="3330708" y="5786238"/>
              <a:ext cx="1124209" cy="1068326"/>
            </a:xfrm>
            <a:custGeom>
              <a:avLst/>
              <a:gdLst>
                <a:gd name="connsiteX0" fmla="*/ 1124209 w 1124209"/>
                <a:gd name="connsiteY0" fmla="*/ 572908 h 1068326"/>
                <a:gd name="connsiteX1" fmla="*/ 1116588 w 1124209"/>
                <a:gd name="connsiteY1" fmla="*/ 0 h 1068326"/>
                <a:gd name="connsiteX2" fmla="*/ 607200 w 1124209"/>
                <a:gd name="connsiteY2" fmla="*/ 424282 h 1068326"/>
                <a:gd name="connsiteX3" fmla="*/ 0 w 1124209"/>
                <a:gd name="connsiteY3" fmla="*/ 928593 h 1068326"/>
                <a:gd name="connsiteX4" fmla="*/ 5081 w 1124209"/>
                <a:gd name="connsiteY4" fmla="*/ 1068326 h 1068326"/>
                <a:gd name="connsiteX5" fmla="*/ 571632 w 1124209"/>
                <a:gd name="connsiteY5" fmla="*/ 1068326 h 1068326"/>
                <a:gd name="connsiteX6" fmla="*/ 1124209 w 1124209"/>
                <a:gd name="connsiteY6" fmla="*/ 593233 h 106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209" h="1068326">
                  <a:moveTo>
                    <a:pt x="1124209" y="572908"/>
                  </a:moveTo>
                  <a:lnTo>
                    <a:pt x="1116588" y="0"/>
                  </a:lnTo>
                  <a:lnTo>
                    <a:pt x="607200" y="424282"/>
                  </a:lnTo>
                  <a:lnTo>
                    <a:pt x="0" y="928593"/>
                  </a:lnTo>
                  <a:lnTo>
                    <a:pt x="5081" y="1068326"/>
                  </a:lnTo>
                  <a:lnTo>
                    <a:pt x="571632" y="1068326"/>
                  </a:lnTo>
                  <a:lnTo>
                    <a:pt x="1124209" y="593233"/>
                  </a:lnTo>
                  <a:close/>
                </a:path>
              </a:pathLst>
            </a:custGeom>
            <a:solidFill>
              <a:schemeClr val="accent5"/>
            </a:solidFill>
            <a:ln w="12688"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B26E688-5B90-4D93-930F-38847C2A5C36}"/>
                </a:ext>
              </a:extLst>
            </p:cNvPr>
            <p:cNvSpPr/>
            <p:nvPr/>
          </p:nvSpPr>
          <p:spPr>
            <a:xfrm>
              <a:off x="2925484" y="6577638"/>
              <a:ext cx="395061" cy="276926"/>
            </a:xfrm>
            <a:custGeom>
              <a:avLst/>
              <a:gdLst>
                <a:gd name="connsiteX0" fmla="*/ 255329 w 395061"/>
                <a:gd name="connsiteY0" fmla="*/ 91462 h 276926"/>
                <a:gd name="connsiteX1" fmla="*/ 0 w 395061"/>
                <a:gd name="connsiteY1" fmla="*/ 0 h 276926"/>
                <a:gd name="connsiteX2" fmla="*/ 13973 w 395061"/>
                <a:gd name="connsiteY2" fmla="*/ 276926 h 276926"/>
                <a:gd name="connsiteX3" fmla="*/ 395061 w 395061"/>
                <a:gd name="connsiteY3" fmla="*/ 276926 h 276926"/>
                <a:gd name="connsiteX4" fmla="*/ 389980 w 395061"/>
                <a:gd name="connsiteY4" fmla="*/ 138464 h 27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61" h="276926">
                  <a:moveTo>
                    <a:pt x="255329" y="91462"/>
                  </a:moveTo>
                  <a:lnTo>
                    <a:pt x="0" y="0"/>
                  </a:lnTo>
                  <a:lnTo>
                    <a:pt x="13973" y="276926"/>
                  </a:lnTo>
                  <a:lnTo>
                    <a:pt x="395061" y="276926"/>
                  </a:lnTo>
                  <a:lnTo>
                    <a:pt x="389980" y="138464"/>
                  </a:lnTo>
                  <a:close/>
                </a:path>
              </a:pathLst>
            </a:custGeom>
            <a:solidFill>
              <a:schemeClr val="accent5"/>
            </a:solidFill>
            <a:ln w="12688"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07BD80EF-44B2-47DB-976C-7CDE4830B894}"/>
                </a:ext>
              </a:extLst>
            </p:cNvPr>
            <p:cNvSpPr/>
            <p:nvPr/>
          </p:nvSpPr>
          <p:spPr>
            <a:xfrm>
              <a:off x="3198597" y="6166059"/>
              <a:ext cx="718985" cy="536068"/>
            </a:xfrm>
            <a:custGeom>
              <a:avLst/>
              <a:gdLst>
                <a:gd name="connsiteX0" fmla="*/ 489063 w 718985"/>
                <a:gd name="connsiteY0" fmla="*/ 90192 h 536068"/>
                <a:gd name="connsiteX1" fmla="*/ 0 w 718985"/>
                <a:gd name="connsiteY1" fmla="*/ 492879 h 536068"/>
                <a:gd name="connsiteX2" fmla="*/ 123218 w 718985"/>
                <a:gd name="connsiteY2" fmla="*/ 536068 h 536068"/>
                <a:gd name="connsiteX3" fmla="*/ 718986 w 718985"/>
                <a:gd name="connsiteY3" fmla="*/ 40650 h 536068"/>
                <a:gd name="connsiteX4" fmla="*/ 598308 w 718985"/>
                <a:gd name="connsiteY4" fmla="*/ 0 h 536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985" h="536068">
                  <a:moveTo>
                    <a:pt x="489063" y="90192"/>
                  </a:moveTo>
                  <a:lnTo>
                    <a:pt x="0" y="492879"/>
                  </a:lnTo>
                  <a:lnTo>
                    <a:pt x="123218" y="536068"/>
                  </a:lnTo>
                  <a:lnTo>
                    <a:pt x="718986" y="40650"/>
                  </a:lnTo>
                  <a:lnTo>
                    <a:pt x="598308" y="0"/>
                  </a:lnTo>
                  <a:close/>
                </a:path>
              </a:pathLst>
            </a:custGeom>
            <a:solidFill>
              <a:schemeClr val="accent4"/>
            </a:solidFill>
            <a:ln w="12688"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A062865-8984-4F4C-8405-614945C676CE}"/>
                </a:ext>
              </a:extLst>
            </p:cNvPr>
            <p:cNvSpPr/>
            <p:nvPr/>
          </p:nvSpPr>
          <p:spPr>
            <a:xfrm>
              <a:off x="0" y="1337631"/>
              <a:ext cx="749472" cy="387442"/>
            </a:xfrm>
            <a:custGeom>
              <a:avLst/>
              <a:gdLst>
                <a:gd name="connsiteX0" fmla="*/ 749473 w 749472"/>
                <a:gd name="connsiteY0" fmla="*/ 175302 h 387442"/>
                <a:gd name="connsiteX1" fmla="*/ 740581 w 749472"/>
                <a:gd name="connsiteY1" fmla="*/ 172761 h 387442"/>
                <a:gd name="connsiteX2" fmla="*/ 734229 w 749472"/>
                <a:gd name="connsiteY2" fmla="*/ 179113 h 387442"/>
                <a:gd name="connsiteX3" fmla="*/ 726608 w 749472"/>
                <a:gd name="connsiteY3" fmla="*/ 172761 h 387442"/>
                <a:gd name="connsiteX4" fmla="*/ 721526 w 749472"/>
                <a:gd name="connsiteY4" fmla="*/ 123220 h 387442"/>
                <a:gd name="connsiteX5" fmla="*/ 721526 w 749472"/>
                <a:gd name="connsiteY5" fmla="*/ 123220 h 387442"/>
                <a:gd name="connsiteX6" fmla="*/ 721526 w 749472"/>
                <a:gd name="connsiteY6" fmla="*/ 121949 h 387442"/>
                <a:gd name="connsiteX7" fmla="*/ 721526 w 749472"/>
                <a:gd name="connsiteY7" fmla="*/ 120679 h 387442"/>
                <a:gd name="connsiteX8" fmla="*/ 721526 w 749472"/>
                <a:gd name="connsiteY8" fmla="*/ 120679 h 387442"/>
                <a:gd name="connsiteX9" fmla="*/ 721526 w 749472"/>
                <a:gd name="connsiteY9" fmla="*/ 120679 h 387442"/>
                <a:gd name="connsiteX10" fmla="*/ 721526 w 749472"/>
                <a:gd name="connsiteY10" fmla="*/ 119409 h 387442"/>
                <a:gd name="connsiteX11" fmla="*/ 721526 w 749472"/>
                <a:gd name="connsiteY11" fmla="*/ 119409 h 387442"/>
                <a:gd name="connsiteX12" fmla="*/ 721526 w 749472"/>
                <a:gd name="connsiteY12" fmla="*/ 118138 h 387442"/>
                <a:gd name="connsiteX13" fmla="*/ 721526 w 749472"/>
                <a:gd name="connsiteY13" fmla="*/ 118138 h 387442"/>
                <a:gd name="connsiteX14" fmla="*/ 722797 w 749472"/>
                <a:gd name="connsiteY14" fmla="*/ 116868 h 387442"/>
                <a:gd name="connsiteX15" fmla="*/ 722797 w 749472"/>
                <a:gd name="connsiteY15" fmla="*/ 116868 h 387442"/>
                <a:gd name="connsiteX16" fmla="*/ 724067 w 749472"/>
                <a:gd name="connsiteY16" fmla="*/ 115598 h 387442"/>
                <a:gd name="connsiteX17" fmla="*/ 724067 w 749472"/>
                <a:gd name="connsiteY17" fmla="*/ 115598 h 387442"/>
                <a:gd name="connsiteX18" fmla="*/ 724067 w 749472"/>
                <a:gd name="connsiteY18" fmla="*/ 115598 h 387442"/>
                <a:gd name="connsiteX19" fmla="*/ 724067 w 749472"/>
                <a:gd name="connsiteY19" fmla="*/ 115598 h 387442"/>
                <a:gd name="connsiteX20" fmla="*/ 360763 w 749472"/>
                <a:gd name="connsiteY20" fmla="*/ 30487 h 387442"/>
                <a:gd name="connsiteX21" fmla="*/ 223572 w 749472"/>
                <a:gd name="connsiteY21" fmla="*/ 0 h 387442"/>
                <a:gd name="connsiteX22" fmla="*/ 0 w 749472"/>
                <a:gd name="connsiteY22" fmla="*/ 114327 h 387442"/>
                <a:gd name="connsiteX23" fmla="*/ 0 w 749472"/>
                <a:gd name="connsiteY23" fmla="*/ 304873 h 387442"/>
                <a:gd name="connsiteX24" fmla="*/ 346790 w 749472"/>
                <a:gd name="connsiteY24" fmla="*/ 387443 h 387442"/>
                <a:gd name="connsiteX25" fmla="*/ 749473 w 749472"/>
                <a:gd name="connsiteY25" fmla="*/ 175302 h 38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472" h="387442">
                  <a:moveTo>
                    <a:pt x="749473" y="175302"/>
                  </a:moveTo>
                  <a:lnTo>
                    <a:pt x="740581" y="172761"/>
                  </a:lnTo>
                  <a:cubicBezTo>
                    <a:pt x="740581" y="176572"/>
                    <a:pt x="736770" y="177843"/>
                    <a:pt x="734229" y="179113"/>
                  </a:cubicBezTo>
                  <a:cubicBezTo>
                    <a:pt x="730418" y="179113"/>
                    <a:pt x="726608" y="176572"/>
                    <a:pt x="726608" y="172761"/>
                  </a:cubicBezTo>
                  <a:lnTo>
                    <a:pt x="721526" y="123220"/>
                  </a:lnTo>
                  <a:lnTo>
                    <a:pt x="721526" y="123220"/>
                  </a:lnTo>
                  <a:cubicBezTo>
                    <a:pt x="721526" y="123220"/>
                    <a:pt x="721526" y="121949"/>
                    <a:pt x="721526" y="121949"/>
                  </a:cubicBezTo>
                  <a:cubicBezTo>
                    <a:pt x="721526" y="121949"/>
                    <a:pt x="721526" y="120679"/>
                    <a:pt x="721526" y="120679"/>
                  </a:cubicBezTo>
                  <a:lnTo>
                    <a:pt x="721526" y="120679"/>
                  </a:lnTo>
                  <a:lnTo>
                    <a:pt x="721526" y="120679"/>
                  </a:lnTo>
                  <a:cubicBezTo>
                    <a:pt x="721526" y="120679"/>
                    <a:pt x="721526" y="119409"/>
                    <a:pt x="721526" y="119409"/>
                  </a:cubicBezTo>
                  <a:lnTo>
                    <a:pt x="721526" y="119409"/>
                  </a:lnTo>
                  <a:cubicBezTo>
                    <a:pt x="721526" y="119409"/>
                    <a:pt x="721526" y="119409"/>
                    <a:pt x="721526" y="118138"/>
                  </a:cubicBezTo>
                  <a:lnTo>
                    <a:pt x="721526" y="118138"/>
                  </a:lnTo>
                  <a:cubicBezTo>
                    <a:pt x="721526" y="118138"/>
                    <a:pt x="721526" y="118138"/>
                    <a:pt x="722797" y="116868"/>
                  </a:cubicBezTo>
                  <a:lnTo>
                    <a:pt x="722797" y="116868"/>
                  </a:lnTo>
                  <a:lnTo>
                    <a:pt x="724067" y="115598"/>
                  </a:lnTo>
                  <a:lnTo>
                    <a:pt x="724067" y="115598"/>
                  </a:lnTo>
                  <a:lnTo>
                    <a:pt x="724067" y="115598"/>
                  </a:lnTo>
                  <a:lnTo>
                    <a:pt x="724067" y="115598"/>
                  </a:lnTo>
                  <a:lnTo>
                    <a:pt x="360763" y="30487"/>
                  </a:lnTo>
                  <a:lnTo>
                    <a:pt x="223572" y="0"/>
                  </a:lnTo>
                  <a:lnTo>
                    <a:pt x="0" y="114327"/>
                  </a:lnTo>
                  <a:lnTo>
                    <a:pt x="0" y="304873"/>
                  </a:lnTo>
                  <a:lnTo>
                    <a:pt x="346790" y="387443"/>
                  </a:lnTo>
                  <a:lnTo>
                    <a:pt x="749473" y="175302"/>
                  </a:lnTo>
                  <a:close/>
                </a:path>
              </a:pathLst>
            </a:custGeom>
            <a:solidFill>
              <a:schemeClr val="accent4"/>
            </a:solidFill>
            <a:ln w="12688"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20FDC9F-A54D-4BF1-B6B7-47747819CF30}"/>
                </a:ext>
              </a:extLst>
            </p:cNvPr>
            <p:cNvSpPr/>
            <p:nvPr/>
          </p:nvSpPr>
          <p:spPr>
            <a:xfrm>
              <a:off x="736769" y="1469742"/>
              <a:ext cx="644038" cy="2901376"/>
            </a:xfrm>
            <a:custGeom>
              <a:avLst/>
              <a:gdLst>
                <a:gd name="connsiteX0" fmla="*/ 359493 w 644038"/>
                <a:gd name="connsiteY0" fmla="*/ 2813726 h 2901376"/>
                <a:gd name="connsiteX1" fmla="*/ 359493 w 644038"/>
                <a:gd name="connsiteY1" fmla="*/ 2813726 h 2901376"/>
                <a:gd name="connsiteX2" fmla="*/ 614822 w 644038"/>
                <a:gd name="connsiteY2" fmla="*/ 2892484 h 2901376"/>
                <a:gd name="connsiteX3" fmla="*/ 614822 w 644038"/>
                <a:gd name="connsiteY3" fmla="*/ 2892484 h 2901376"/>
                <a:gd name="connsiteX4" fmla="*/ 644039 w 644038"/>
                <a:gd name="connsiteY4" fmla="*/ 2901377 h 2901376"/>
                <a:gd name="connsiteX5" fmla="*/ 414116 w 644038"/>
                <a:gd name="connsiteY5" fmla="*/ 92732 h 2901376"/>
                <a:gd name="connsiteX6" fmla="*/ 0 w 644038"/>
                <a:gd name="connsiteY6" fmla="*/ 0 h 2901376"/>
                <a:gd name="connsiteX7" fmla="*/ 3811 w 644038"/>
                <a:gd name="connsiteY7" fmla="*/ 39380 h 2901376"/>
                <a:gd name="connsiteX8" fmla="*/ 3811 w 644038"/>
                <a:gd name="connsiteY8" fmla="*/ 41920 h 2901376"/>
                <a:gd name="connsiteX9" fmla="*/ 12703 w 644038"/>
                <a:gd name="connsiteY9" fmla="*/ 44461 h 2901376"/>
                <a:gd name="connsiteX10" fmla="*/ 20325 w 644038"/>
                <a:gd name="connsiteY10" fmla="*/ 40650 h 2901376"/>
                <a:gd name="connsiteX11" fmla="*/ 30487 w 644038"/>
                <a:gd name="connsiteY11" fmla="*/ 43190 h 2901376"/>
                <a:gd name="connsiteX12" fmla="*/ 30487 w 644038"/>
                <a:gd name="connsiteY12" fmla="*/ 43190 h 2901376"/>
                <a:gd name="connsiteX13" fmla="*/ 27946 w 644038"/>
                <a:gd name="connsiteY13" fmla="*/ 53353 h 2901376"/>
                <a:gd name="connsiteX14" fmla="*/ 27946 w 644038"/>
                <a:gd name="connsiteY14" fmla="*/ 53353 h 2901376"/>
                <a:gd name="connsiteX15" fmla="*/ 25406 w 644038"/>
                <a:gd name="connsiteY15" fmla="*/ 54623 h 2901376"/>
                <a:gd name="connsiteX16" fmla="*/ 271843 w 644038"/>
                <a:gd name="connsiteY16" fmla="*/ 2787049 h 2901376"/>
                <a:gd name="connsiteX17" fmla="*/ 274383 w 644038"/>
                <a:gd name="connsiteY17" fmla="*/ 2787049 h 2901376"/>
                <a:gd name="connsiteX18" fmla="*/ 359493 w 644038"/>
                <a:gd name="connsiteY18" fmla="*/ 2813726 h 290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038" h="2901376">
                  <a:moveTo>
                    <a:pt x="359493" y="2813726"/>
                  </a:moveTo>
                  <a:lnTo>
                    <a:pt x="359493" y="2813726"/>
                  </a:lnTo>
                  <a:lnTo>
                    <a:pt x="614822" y="2892484"/>
                  </a:lnTo>
                  <a:lnTo>
                    <a:pt x="614822" y="2892484"/>
                  </a:lnTo>
                  <a:lnTo>
                    <a:pt x="644039" y="2901377"/>
                  </a:lnTo>
                  <a:lnTo>
                    <a:pt x="414116" y="92732"/>
                  </a:lnTo>
                  <a:lnTo>
                    <a:pt x="0" y="0"/>
                  </a:lnTo>
                  <a:lnTo>
                    <a:pt x="3811" y="39380"/>
                  </a:lnTo>
                  <a:cubicBezTo>
                    <a:pt x="3811" y="40650"/>
                    <a:pt x="3811" y="40650"/>
                    <a:pt x="3811" y="41920"/>
                  </a:cubicBezTo>
                  <a:lnTo>
                    <a:pt x="12703" y="44461"/>
                  </a:lnTo>
                  <a:lnTo>
                    <a:pt x="20325" y="40650"/>
                  </a:lnTo>
                  <a:cubicBezTo>
                    <a:pt x="24136" y="38109"/>
                    <a:pt x="27946" y="40650"/>
                    <a:pt x="30487" y="43190"/>
                  </a:cubicBezTo>
                  <a:cubicBezTo>
                    <a:pt x="30487" y="43190"/>
                    <a:pt x="30487" y="43190"/>
                    <a:pt x="30487" y="43190"/>
                  </a:cubicBezTo>
                  <a:cubicBezTo>
                    <a:pt x="33028" y="47001"/>
                    <a:pt x="30487" y="50812"/>
                    <a:pt x="27946" y="53353"/>
                  </a:cubicBezTo>
                  <a:cubicBezTo>
                    <a:pt x="27946" y="53353"/>
                    <a:pt x="27946" y="53353"/>
                    <a:pt x="27946" y="53353"/>
                  </a:cubicBezTo>
                  <a:lnTo>
                    <a:pt x="25406" y="54623"/>
                  </a:lnTo>
                  <a:lnTo>
                    <a:pt x="271843" y="2787049"/>
                  </a:lnTo>
                  <a:cubicBezTo>
                    <a:pt x="273113" y="2787049"/>
                    <a:pt x="274383" y="2787049"/>
                    <a:pt x="274383" y="2787049"/>
                  </a:cubicBezTo>
                  <a:lnTo>
                    <a:pt x="359493" y="2813726"/>
                  </a:lnTo>
                  <a:close/>
                </a:path>
              </a:pathLst>
            </a:custGeom>
            <a:solidFill>
              <a:schemeClr val="accent6">
                <a:lumMod val="50000"/>
              </a:schemeClr>
            </a:solidFill>
            <a:ln w="12688"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F543B1CB-A948-43DC-BF6C-F8782E02FC7F}"/>
                </a:ext>
              </a:extLst>
            </p:cNvPr>
            <p:cNvSpPr/>
            <p:nvPr/>
          </p:nvSpPr>
          <p:spPr>
            <a:xfrm>
              <a:off x="0" y="1524365"/>
              <a:ext cx="1134371" cy="3370118"/>
            </a:xfrm>
            <a:custGeom>
              <a:avLst/>
              <a:gdLst>
                <a:gd name="connsiteX0" fmla="*/ 209598 w 1134371"/>
                <a:gd name="connsiteY0" fmla="*/ 2554583 h 3370118"/>
                <a:gd name="connsiteX1" fmla="*/ 209598 w 1134371"/>
                <a:gd name="connsiteY1" fmla="*/ 2554583 h 3370118"/>
                <a:gd name="connsiteX2" fmla="*/ 209598 w 1134371"/>
                <a:gd name="connsiteY2" fmla="*/ 2554583 h 3370118"/>
                <a:gd name="connsiteX3" fmla="*/ 212139 w 1134371"/>
                <a:gd name="connsiteY3" fmla="*/ 2554583 h 3370118"/>
                <a:gd name="connsiteX4" fmla="*/ 212139 w 1134371"/>
                <a:gd name="connsiteY4" fmla="*/ 2554583 h 3370118"/>
                <a:gd name="connsiteX5" fmla="*/ 213409 w 1134371"/>
                <a:gd name="connsiteY5" fmla="*/ 2555854 h 3370118"/>
                <a:gd name="connsiteX6" fmla="*/ 214680 w 1134371"/>
                <a:gd name="connsiteY6" fmla="*/ 2557124 h 3370118"/>
                <a:gd name="connsiteX7" fmla="*/ 214680 w 1134371"/>
                <a:gd name="connsiteY7" fmla="*/ 2557124 h 3370118"/>
                <a:gd name="connsiteX8" fmla="*/ 214680 w 1134371"/>
                <a:gd name="connsiteY8" fmla="*/ 2557124 h 3370118"/>
                <a:gd name="connsiteX9" fmla="*/ 214680 w 1134371"/>
                <a:gd name="connsiteY9" fmla="*/ 2558394 h 3370118"/>
                <a:gd name="connsiteX10" fmla="*/ 214680 w 1134371"/>
                <a:gd name="connsiteY10" fmla="*/ 2559664 h 3370118"/>
                <a:gd name="connsiteX11" fmla="*/ 214680 w 1134371"/>
                <a:gd name="connsiteY11" fmla="*/ 2559664 h 3370118"/>
                <a:gd name="connsiteX12" fmla="*/ 214680 w 1134371"/>
                <a:gd name="connsiteY12" fmla="*/ 2559664 h 3370118"/>
                <a:gd name="connsiteX13" fmla="*/ 274383 w 1134371"/>
                <a:gd name="connsiteY13" fmla="*/ 3117328 h 3370118"/>
                <a:gd name="connsiteX14" fmla="*/ 1049262 w 1134371"/>
                <a:gd name="connsiteY14" fmla="*/ 3370119 h 3370118"/>
                <a:gd name="connsiteX15" fmla="*/ 1134372 w 1134371"/>
                <a:gd name="connsiteY15" fmla="*/ 3312955 h 3370118"/>
                <a:gd name="connsiteX16" fmla="*/ 1086101 w 1134371"/>
                <a:gd name="connsiteY16" fmla="*/ 2771806 h 3370118"/>
                <a:gd name="connsiteX17" fmla="*/ 1006072 w 1134371"/>
                <a:gd name="connsiteY17" fmla="*/ 2746399 h 3370118"/>
                <a:gd name="connsiteX18" fmla="*/ 1000991 w 1134371"/>
                <a:gd name="connsiteY18" fmla="*/ 2737507 h 3370118"/>
                <a:gd name="connsiteX19" fmla="*/ 1007342 w 1134371"/>
                <a:gd name="connsiteY19" fmla="*/ 2732426 h 3370118"/>
                <a:gd name="connsiteX20" fmla="*/ 762176 w 1134371"/>
                <a:gd name="connsiteY20" fmla="*/ 0 h 3370118"/>
                <a:gd name="connsiteX21" fmla="*/ 355682 w 1134371"/>
                <a:gd name="connsiteY21" fmla="*/ 213411 h 3370118"/>
                <a:gd name="connsiteX22" fmla="*/ 419197 w 1134371"/>
                <a:gd name="connsiteY22" fmla="*/ 847293 h 3370118"/>
                <a:gd name="connsiteX23" fmla="*/ 419197 w 1134371"/>
                <a:gd name="connsiteY23" fmla="*/ 847293 h 3370118"/>
                <a:gd name="connsiteX24" fmla="*/ 419197 w 1134371"/>
                <a:gd name="connsiteY24" fmla="*/ 847293 h 3370118"/>
                <a:gd name="connsiteX25" fmla="*/ 419197 w 1134371"/>
                <a:gd name="connsiteY25" fmla="*/ 848564 h 3370118"/>
                <a:gd name="connsiteX26" fmla="*/ 419197 w 1134371"/>
                <a:gd name="connsiteY26" fmla="*/ 848564 h 3370118"/>
                <a:gd name="connsiteX27" fmla="*/ 419197 w 1134371"/>
                <a:gd name="connsiteY27" fmla="*/ 848564 h 3370118"/>
                <a:gd name="connsiteX28" fmla="*/ 419197 w 1134371"/>
                <a:gd name="connsiteY28" fmla="*/ 848564 h 3370118"/>
                <a:gd name="connsiteX29" fmla="*/ 419197 w 1134371"/>
                <a:gd name="connsiteY29" fmla="*/ 849834 h 3370118"/>
                <a:gd name="connsiteX30" fmla="*/ 417926 w 1134371"/>
                <a:gd name="connsiteY30" fmla="*/ 851104 h 3370118"/>
                <a:gd name="connsiteX31" fmla="*/ 417926 w 1134371"/>
                <a:gd name="connsiteY31" fmla="*/ 851104 h 3370118"/>
                <a:gd name="connsiteX32" fmla="*/ 417926 w 1134371"/>
                <a:gd name="connsiteY32" fmla="*/ 851104 h 3370118"/>
                <a:gd name="connsiteX33" fmla="*/ 416656 w 1134371"/>
                <a:gd name="connsiteY33" fmla="*/ 852375 h 3370118"/>
                <a:gd name="connsiteX34" fmla="*/ 415386 w 1134371"/>
                <a:gd name="connsiteY34" fmla="*/ 853645 h 3370118"/>
                <a:gd name="connsiteX35" fmla="*/ 415386 w 1134371"/>
                <a:gd name="connsiteY35" fmla="*/ 853645 h 3370118"/>
                <a:gd name="connsiteX36" fmla="*/ 0 w 1134371"/>
                <a:gd name="connsiteY36" fmla="*/ 1083570 h 3370118"/>
                <a:gd name="connsiteX37" fmla="*/ 0 w 1134371"/>
                <a:gd name="connsiteY37" fmla="*/ 1953729 h 3370118"/>
                <a:gd name="connsiteX38" fmla="*/ 62244 w 1134371"/>
                <a:gd name="connsiteY38" fmla="*/ 2508852 h 3370118"/>
                <a:gd name="connsiteX39" fmla="*/ 209598 w 1134371"/>
                <a:gd name="connsiteY39" fmla="*/ 2554583 h 337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34371" h="3370118">
                  <a:moveTo>
                    <a:pt x="209598" y="2554583"/>
                  </a:moveTo>
                  <a:lnTo>
                    <a:pt x="209598" y="2554583"/>
                  </a:lnTo>
                  <a:lnTo>
                    <a:pt x="209598" y="2554583"/>
                  </a:lnTo>
                  <a:lnTo>
                    <a:pt x="212139" y="2554583"/>
                  </a:lnTo>
                  <a:lnTo>
                    <a:pt x="212139" y="2554583"/>
                  </a:lnTo>
                  <a:cubicBezTo>
                    <a:pt x="212139" y="2554583"/>
                    <a:pt x="212139" y="2554583"/>
                    <a:pt x="213409" y="2555854"/>
                  </a:cubicBezTo>
                  <a:lnTo>
                    <a:pt x="214680" y="2557124"/>
                  </a:lnTo>
                  <a:lnTo>
                    <a:pt x="214680" y="2557124"/>
                  </a:lnTo>
                  <a:lnTo>
                    <a:pt x="214680" y="2557124"/>
                  </a:lnTo>
                  <a:cubicBezTo>
                    <a:pt x="214680" y="2557124"/>
                    <a:pt x="214680" y="2558394"/>
                    <a:pt x="214680" y="2558394"/>
                  </a:cubicBezTo>
                  <a:lnTo>
                    <a:pt x="214680" y="2559664"/>
                  </a:lnTo>
                  <a:lnTo>
                    <a:pt x="214680" y="2559664"/>
                  </a:lnTo>
                  <a:lnTo>
                    <a:pt x="214680" y="2559664"/>
                  </a:lnTo>
                  <a:lnTo>
                    <a:pt x="274383" y="3117328"/>
                  </a:lnTo>
                  <a:lnTo>
                    <a:pt x="1049262" y="3370119"/>
                  </a:lnTo>
                  <a:lnTo>
                    <a:pt x="1134372" y="3312955"/>
                  </a:lnTo>
                  <a:lnTo>
                    <a:pt x="1086101" y="2771806"/>
                  </a:lnTo>
                  <a:lnTo>
                    <a:pt x="1006072" y="2746399"/>
                  </a:lnTo>
                  <a:cubicBezTo>
                    <a:pt x="1002261" y="2745129"/>
                    <a:pt x="999721" y="2741318"/>
                    <a:pt x="1000991" y="2737507"/>
                  </a:cubicBezTo>
                  <a:cubicBezTo>
                    <a:pt x="1002261" y="2734966"/>
                    <a:pt x="1004802" y="2732426"/>
                    <a:pt x="1007342" y="2732426"/>
                  </a:cubicBezTo>
                  <a:lnTo>
                    <a:pt x="762176" y="0"/>
                  </a:lnTo>
                  <a:lnTo>
                    <a:pt x="355682" y="213411"/>
                  </a:lnTo>
                  <a:lnTo>
                    <a:pt x="419197" y="847293"/>
                  </a:lnTo>
                  <a:lnTo>
                    <a:pt x="419197" y="847293"/>
                  </a:lnTo>
                  <a:lnTo>
                    <a:pt x="419197" y="847293"/>
                  </a:lnTo>
                  <a:cubicBezTo>
                    <a:pt x="419197" y="848564"/>
                    <a:pt x="419197" y="848564"/>
                    <a:pt x="419197" y="848564"/>
                  </a:cubicBezTo>
                  <a:cubicBezTo>
                    <a:pt x="419197" y="848564"/>
                    <a:pt x="419197" y="848564"/>
                    <a:pt x="419197" y="848564"/>
                  </a:cubicBezTo>
                  <a:lnTo>
                    <a:pt x="419197" y="848564"/>
                  </a:lnTo>
                  <a:lnTo>
                    <a:pt x="419197" y="848564"/>
                  </a:lnTo>
                  <a:lnTo>
                    <a:pt x="419197" y="849834"/>
                  </a:lnTo>
                  <a:cubicBezTo>
                    <a:pt x="419197" y="849834"/>
                    <a:pt x="419197" y="851104"/>
                    <a:pt x="417926" y="851104"/>
                  </a:cubicBezTo>
                  <a:lnTo>
                    <a:pt x="417926" y="851104"/>
                  </a:lnTo>
                  <a:lnTo>
                    <a:pt x="417926" y="851104"/>
                  </a:lnTo>
                  <a:cubicBezTo>
                    <a:pt x="417926" y="851104"/>
                    <a:pt x="416656" y="852375"/>
                    <a:pt x="416656" y="852375"/>
                  </a:cubicBezTo>
                  <a:cubicBezTo>
                    <a:pt x="416656" y="852375"/>
                    <a:pt x="416656" y="853645"/>
                    <a:pt x="415386" y="853645"/>
                  </a:cubicBezTo>
                  <a:lnTo>
                    <a:pt x="415386" y="853645"/>
                  </a:lnTo>
                  <a:lnTo>
                    <a:pt x="0" y="1083570"/>
                  </a:lnTo>
                  <a:lnTo>
                    <a:pt x="0" y="1953729"/>
                  </a:lnTo>
                  <a:lnTo>
                    <a:pt x="62244" y="2508852"/>
                  </a:lnTo>
                  <a:lnTo>
                    <a:pt x="209598" y="2554583"/>
                  </a:lnTo>
                  <a:close/>
                </a:path>
              </a:pathLst>
            </a:custGeom>
            <a:solidFill>
              <a:schemeClr val="accent5"/>
            </a:solidFill>
            <a:ln w="12688"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190563F-7F0D-4BA3-A5B0-523044464D53}"/>
                </a:ext>
              </a:extLst>
            </p:cNvPr>
            <p:cNvSpPr/>
            <p:nvPr/>
          </p:nvSpPr>
          <p:spPr>
            <a:xfrm>
              <a:off x="1064505" y="4301252"/>
              <a:ext cx="318843" cy="661828"/>
            </a:xfrm>
            <a:custGeom>
              <a:avLst/>
              <a:gdLst>
                <a:gd name="connsiteX0" fmla="*/ 318844 w 318843"/>
                <a:gd name="connsiteY0" fmla="*/ 574178 h 661828"/>
                <a:gd name="connsiteX1" fmla="*/ 313762 w 318843"/>
                <a:gd name="connsiteY1" fmla="*/ 515744 h 661828"/>
                <a:gd name="connsiteX2" fmla="*/ 313762 w 318843"/>
                <a:gd name="connsiteY2" fmla="*/ 515744 h 661828"/>
                <a:gd name="connsiteX3" fmla="*/ 276924 w 318843"/>
                <a:gd name="connsiteY3" fmla="*/ 73678 h 661828"/>
                <a:gd name="connsiteX4" fmla="*/ 36838 w 318843"/>
                <a:gd name="connsiteY4" fmla="*/ 0 h 661828"/>
                <a:gd name="connsiteX5" fmla="*/ 85110 w 318843"/>
                <a:gd name="connsiteY5" fmla="*/ 539880 h 661828"/>
                <a:gd name="connsiteX6" fmla="*/ 85110 w 318843"/>
                <a:gd name="connsiteY6" fmla="*/ 541150 h 661828"/>
                <a:gd name="connsiteX7" fmla="*/ 85110 w 318843"/>
                <a:gd name="connsiteY7" fmla="*/ 542420 h 661828"/>
                <a:gd name="connsiteX8" fmla="*/ 83839 w 318843"/>
                <a:gd name="connsiteY8" fmla="*/ 543690 h 661828"/>
                <a:gd name="connsiteX9" fmla="*/ 83839 w 318843"/>
                <a:gd name="connsiteY9" fmla="*/ 544961 h 661828"/>
                <a:gd name="connsiteX10" fmla="*/ 82569 w 318843"/>
                <a:gd name="connsiteY10" fmla="*/ 546231 h 661828"/>
                <a:gd name="connsiteX11" fmla="*/ 81299 w 318843"/>
                <a:gd name="connsiteY11" fmla="*/ 547502 h 661828"/>
                <a:gd name="connsiteX12" fmla="*/ 0 w 318843"/>
                <a:gd name="connsiteY12" fmla="*/ 600854 h 661828"/>
                <a:gd name="connsiteX13" fmla="*/ 188003 w 318843"/>
                <a:gd name="connsiteY13" fmla="*/ 661829 h 661828"/>
                <a:gd name="connsiteX14" fmla="*/ 318844 w 318843"/>
                <a:gd name="connsiteY14" fmla="*/ 574178 h 66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843" h="661828">
                  <a:moveTo>
                    <a:pt x="318844" y="574178"/>
                  </a:moveTo>
                  <a:lnTo>
                    <a:pt x="313762" y="515744"/>
                  </a:lnTo>
                  <a:lnTo>
                    <a:pt x="313762" y="515744"/>
                  </a:lnTo>
                  <a:lnTo>
                    <a:pt x="276924" y="73678"/>
                  </a:lnTo>
                  <a:lnTo>
                    <a:pt x="36838" y="0"/>
                  </a:lnTo>
                  <a:lnTo>
                    <a:pt x="85110" y="539880"/>
                  </a:lnTo>
                  <a:cubicBezTo>
                    <a:pt x="85110" y="539880"/>
                    <a:pt x="85110" y="539880"/>
                    <a:pt x="85110" y="541150"/>
                  </a:cubicBezTo>
                  <a:cubicBezTo>
                    <a:pt x="85110" y="542420"/>
                    <a:pt x="85110" y="542420"/>
                    <a:pt x="85110" y="542420"/>
                  </a:cubicBezTo>
                  <a:cubicBezTo>
                    <a:pt x="85110" y="542420"/>
                    <a:pt x="85110" y="543690"/>
                    <a:pt x="83839" y="543690"/>
                  </a:cubicBezTo>
                  <a:cubicBezTo>
                    <a:pt x="83839" y="543690"/>
                    <a:pt x="83839" y="544961"/>
                    <a:pt x="83839" y="544961"/>
                  </a:cubicBezTo>
                  <a:lnTo>
                    <a:pt x="82569" y="546231"/>
                  </a:lnTo>
                  <a:lnTo>
                    <a:pt x="81299" y="547502"/>
                  </a:lnTo>
                  <a:lnTo>
                    <a:pt x="0" y="600854"/>
                  </a:lnTo>
                  <a:lnTo>
                    <a:pt x="188003" y="661829"/>
                  </a:lnTo>
                  <a:lnTo>
                    <a:pt x="318844" y="574178"/>
                  </a:lnTo>
                  <a:close/>
                </a:path>
              </a:pathLst>
            </a:custGeom>
            <a:solidFill>
              <a:schemeClr val="accent6">
                <a:lumMod val="75000"/>
              </a:schemeClr>
            </a:solidFill>
            <a:ln w="12688"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E2F599D-C923-4AC9-AB68-5A6CECC32E19}"/>
                </a:ext>
              </a:extLst>
            </p:cNvPr>
            <p:cNvSpPr/>
            <p:nvPr/>
          </p:nvSpPr>
          <p:spPr>
            <a:xfrm>
              <a:off x="1359213" y="4378741"/>
              <a:ext cx="77487" cy="445876"/>
            </a:xfrm>
            <a:custGeom>
              <a:avLst/>
              <a:gdLst>
                <a:gd name="connsiteX0" fmla="*/ 77488 w 77487"/>
                <a:gd name="connsiteY0" fmla="*/ 445877 h 445876"/>
                <a:gd name="connsiteX1" fmla="*/ 41920 w 77487"/>
                <a:gd name="connsiteY1" fmla="*/ 3811 h 445876"/>
                <a:gd name="connsiteX2" fmla="*/ 34298 w 77487"/>
                <a:gd name="connsiteY2" fmla="*/ 8892 h 445876"/>
                <a:gd name="connsiteX3" fmla="*/ 34298 w 77487"/>
                <a:gd name="connsiteY3" fmla="*/ 8892 h 445876"/>
                <a:gd name="connsiteX4" fmla="*/ 34298 w 77487"/>
                <a:gd name="connsiteY4" fmla="*/ 8892 h 445876"/>
                <a:gd name="connsiteX5" fmla="*/ 33028 w 77487"/>
                <a:gd name="connsiteY5" fmla="*/ 8892 h 445876"/>
                <a:gd name="connsiteX6" fmla="*/ 33028 w 77487"/>
                <a:gd name="connsiteY6" fmla="*/ 8892 h 445876"/>
                <a:gd name="connsiteX7" fmla="*/ 31757 w 77487"/>
                <a:gd name="connsiteY7" fmla="*/ 8892 h 445876"/>
                <a:gd name="connsiteX8" fmla="*/ 30487 w 77487"/>
                <a:gd name="connsiteY8" fmla="*/ 8892 h 445876"/>
                <a:gd name="connsiteX9" fmla="*/ 29217 w 77487"/>
                <a:gd name="connsiteY9" fmla="*/ 8892 h 445876"/>
                <a:gd name="connsiteX10" fmla="*/ 29217 w 77487"/>
                <a:gd name="connsiteY10" fmla="*/ 8892 h 445876"/>
                <a:gd name="connsiteX11" fmla="*/ 0 w 77487"/>
                <a:gd name="connsiteY11" fmla="*/ 0 h 445876"/>
                <a:gd name="connsiteX12" fmla="*/ 35568 w 77487"/>
                <a:gd name="connsiteY12" fmla="*/ 431904 h 445876"/>
                <a:gd name="connsiteX13" fmla="*/ 77488 w 77487"/>
                <a:gd name="connsiteY13" fmla="*/ 445877 h 44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87" h="445876">
                  <a:moveTo>
                    <a:pt x="77488" y="445877"/>
                  </a:moveTo>
                  <a:lnTo>
                    <a:pt x="41920" y="3811"/>
                  </a:lnTo>
                  <a:lnTo>
                    <a:pt x="34298" y="8892"/>
                  </a:lnTo>
                  <a:lnTo>
                    <a:pt x="34298" y="8892"/>
                  </a:lnTo>
                  <a:lnTo>
                    <a:pt x="34298" y="8892"/>
                  </a:lnTo>
                  <a:lnTo>
                    <a:pt x="33028" y="8892"/>
                  </a:lnTo>
                  <a:lnTo>
                    <a:pt x="33028" y="8892"/>
                  </a:lnTo>
                  <a:lnTo>
                    <a:pt x="31757" y="8892"/>
                  </a:lnTo>
                  <a:lnTo>
                    <a:pt x="30487" y="8892"/>
                  </a:lnTo>
                  <a:lnTo>
                    <a:pt x="29217" y="8892"/>
                  </a:lnTo>
                  <a:lnTo>
                    <a:pt x="29217" y="8892"/>
                  </a:lnTo>
                  <a:lnTo>
                    <a:pt x="0" y="0"/>
                  </a:lnTo>
                  <a:lnTo>
                    <a:pt x="35568" y="431904"/>
                  </a:lnTo>
                  <a:lnTo>
                    <a:pt x="77488" y="445877"/>
                  </a:lnTo>
                  <a:close/>
                </a:path>
              </a:pathLst>
            </a:custGeom>
            <a:solidFill>
              <a:schemeClr val="tx2"/>
            </a:solidFill>
            <a:ln w="12688"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D59AC5BE-ABD6-463A-8C86-2DD140DD4E75}"/>
                </a:ext>
              </a:extLst>
            </p:cNvPr>
            <p:cNvSpPr/>
            <p:nvPr/>
          </p:nvSpPr>
          <p:spPr>
            <a:xfrm>
              <a:off x="1394781" y="4827158"/>
              <a:ext cx="40649" cy="38109"/>
            </a:xfrm>
            <a:custGeom>
              <a:avLst/>
              <a:gdLst>
                <a:gd name="connsiteX0" fmla="*/ 0 w 40649"/>
                <a:gd name="connsiteY0" fmla="*/ 0 h 38109"/>
                <a:gd name="connsiteX1" fmla="*/ 3811 w 40649"/>
                <a:gd name="connsiteY1" fmla="*/ 38109 h 38109"/>
                <a:gd name="connsiteX2" fmla="*/ 40649 w 40649"/>
                <a:gd name="connsiteY2" fmla="*/ 12703 h 38109"/>
              </a:gdLst>
              <a:ahLst/>
              <a:cxnLst>
                <a:cxn ang="0">
                  <a:pos x="connsiteX0" y="connsiteY0"/>
                </a:cxn>
                <a:cxn ang="0">
                  <a:pos x="connsiteX1" y="connsiteY1"/>
                </a:cxn>
                <a:cxn ang="0">
                  <a:pos x="connsiteX2" y="connsiteY2"/>
                </a:cxn>
              </a:cxnLst>
              <a:rect l="l" t="t" r="r" b="b"/>
              <a:pathLst>
                <a:path w="40649" h="38109">
                  <a:moveTo>
                    <a:pt x="0" y="0"/>
                  </a:moveTo>
                  <a:lnTo>
                    <a:pt x="3811" y="38109"/>
                  </a:lnTo>
                  <a:lnTo>
                    <a:pt x="40649" y="12703"/>
                  </a:lnTo>
                  <a:close/>
                </a:path>
              </a:pathLst>
            </a:custGeom>
            <a:solidFill>
              <a:srgbClr val="22B0AE"/>
            </a:solidFill>
            <a:ln w="12688"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59CC25E9-AD0A-4F25-B227-AD67DD39B2AF}"/>
                </a:ext>
              </a:extLst>
            </p:cNvPr>
            <p:cNvSpPr/>
            <p:nvPr/>
          </p:nvSpPr>
          <p:spPr>
            <a:xfrm>
              <a:off x="0" y="1657747"/>
              <a:ext cx="402682" cy="703748"/>
            </a:xfrm>
            <a:custGeom>
              <a:avLst/>
              <a:gdLst>
                <a:gd name="connsiteX0" fmla="*/ 340439 w 402682"/>
                <a:gd name="connsiteY0" fmla="*/ 81299 h 703748"/>
                <a:gd name="connsiteX1" fmla="*/ 0 w 402682"/>
                <a:gd name="connsiteY1" fmla="*/ 0 h 703748"/>
                <a:gd name="connsiteX2" fmla="*/ 0 w 402682"/>
                <a:gd name="connsiteY2" fmla="*/ 600854 h 703748"/>
                <a:gd name="connsiteX3" fmla="*/ 402683 w 402682"/>
                <a:gd name="connsiteY3" fmla="*/ 703749 h 703748"/>
              </a:gdLst>
              <a:ahLst/>
              <a:cxnLst>
                <a:cxn ang="0">
                  <a:pos x="connsiteX0" y="connsiteY0"/>
                </a:cxn>
                <a:cxn ang="0">
                  <a:pos x="connsiteX1" y="connsiteY1"/>
                </a:cxn>
                <a:cxn ang="0">
                  <a:pos x="connsiteX2" y="connsiteY2"/>
                </a:cxn>
                <a:cxn ang="0">
                  <a:pos x="connsiteX3" y="connsiteY3"/>
                </a:cxn>
              </a:cxnLst>
              <a:rect l="l" t="t" r="r" b="b"/>
              <a:pathLst>
                <a:path w="402682" h="703748">
                  <a:moveTo>
                    <a:pt x="340439" y="81299"/>
                  </a:moveTo>
                  <a:lnTo>
                    <a:pt x="0" y="0"/>
                  </a:lnTo>
                  <a:lnTo>
                    <a:pt x="0" y="600854"/>
                  </a:lnTo>
                  <a:lnTo>
                    <a:pt x="402683" y="703749"/>
                  </a:lnTo>
                  <a:close/>
                </a:path>
              </a:pathLst>
            </a:custGeom>
            <a:solidFill>
              <a:schemeClr val="accent5"/>
            </a:solidFill>
            <a:ln w="12688"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4BC65CD5-3826-425E-9E14-B628285371FA}"/>
                </a:ext>
              </a:extLst>
            </p:cNvPr>
            <p:cNvSpPr/>
            <p:nvPr/>
          </p:nvSpPr>
          <p:spPr>
            <a:xfrm>
              <a:off x="0" y="2273845"/>
              <a:ext cx="391250" cy="316305"/>
            </a:xfrm>
            <a:custGeom>
              <a:avLst/>
              <a:gdLst>
                <a:gd name="connsiteX0" fmla="*/ 0 w 391250"/>
                <a:gd name="connsiteY0" fmla="*/ 0 h 316305"/>
                <a:gd name="connsiteX1" fmla="*/ 0 w 391250"/>
                <a:gd name="connsiteY1" fmla="*/ 316306 h 316305"/>
                <a:gd name="connsiteX2" fmla="*/ 391250 w 391250"/>
                <a:gd name="connsiteY2" fmla="*/ 100354 h 316305"/>
              </a:gdLst>
              <a:ahLst/>
              <a:cxnLst>
                <a:cxn ang="0">
                  <a:pos x="connsiteX0" y="connsiteY0"/>
                </a:cxn>
                <a:cxn ang="0">
                  <a:pos x="connsiteX1" y="connsiteY1"/>
                </a:cxn>
                <a:cxn ang="0">
                  <a:pos x="connsiteX2" y="connsiteY2"/>
                </a:cxn>
              </a:cxnLst>
              <a:rect l="l" t="t" r="r" b="b"/>
              <a:pathLst>
                <a:path w="391250" h="316305">
                  <a:moveTo>
                    <a:pt x="0" y="0"/>
                  </a:moveTo>
                  <a:lnTo>
                    <a:pt x="0" y="316306"/>
                  </a:lnTo>
                  <a:lnTo>
                    <a:pt x="391250" y="100354"/>
                  </a:lnTo>
                  <a:close/>
                </a:path>
              </a:pathLst>
            </a:custGeom>
            <a:solidFill>
              <a:schemeClr val="accent6">
                <a:lumMod val="75000"/>
              </a:schemeClr>
            </a:solidFill>
            <a:ln w="12688"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5BBF63E0-1C32-4D5D-B1CA-19565C8FB7D5}"/>
                </a:ext>
              </a:extLst>
            </p:cNvPr>
            <p:cNvSpPr/>
            <p:nvPr/>
          </p:nvSpPr>
          <p:spPr>
            <a:xfrm>
              <a:off x="0" y="3614017"/>
              <a:ext cx="45730" cy="414119"/>
            </a:xfrm>
            <a:custGeom>
              <a:avLst/>
              <a:gdLst>
                <a:gd name="connsiteX0" fmla="*/ 0 w 45730"/>
                <a:gd name="connsiteY0" fmla="*/ 0 h 414119"/>
                <a:gd name="connsiteX1" fmla="*/ 0 w 45730"/>
                <a:gd name="connsiteY1" fmla="*/ 400146 h 414119"/>
                <a:gd name="connsiteX2" fmla="*/ 45731 w 45730"/>
                <a:gd name="connsiteY2" fmla="*/ 414119 h 414119"/>
              </a:gdLst>
              <a:ahLst/>
              <a:cxnLst>
                <a:cxn ang="0">
                  <a:pos x="connsiteX0" y="connsiteY0"/>
                </a:cxn>
                <a:cxn ang="0">
                  <a:pos x="connsiteX1" y="connsiteY1"/>
                </a:cxn>
                <a:cxn ang="0">
                  <a:pos x="connsiteX2" y="connsiteY2"/>
                </a:cxn>
              </a:cxnLst>
              <a:rect l="l" t="t" r="r" b="b"/>
              <a:pathLst>
                <a:path w="45730" h="414119">
                  <a:moveTo>
                    <a:pt x="0" y="0"/>
                  </a:moveTo>
                  <a:lnTo>
                    <a:pt x="0" y="400146"/>
                  </a:lnTo>
                  <a:lnTo>
                    <a:pt x="45731" y="414119"/>
                  </a:lnTo>
                  <a:close/>
                </a:path>
              </a:pathLst>
            </a:custGeom>
            <a:solidFill>
              <a:srgbClr val="9FD1D0"/>
            </a:solidFill>
            <a:ln w="12688"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98C4D2CD-4C27-4921-8BD7-B3C92CAA0457}"/>
                </a:ext>
              </a:extLst>
            </p:cNvPr>
            <p:cNvSpPr/>
            <p:nvPr/>
          </p:nvSpPr>
          <p:spPr>
            <a:xfrm>
              <a:off x="1166129" y="1380821"/>
              <a:ext cx="497954" cy="2987757"/>
            </a:xfrm>
            <a:custGeom>
              <a:avLst/>
              <a:gdLst>
                <a:gd name="connsiteX0" fmla="*/ 497955 w 497954"/>
                <a:gd name="connsiteY0" fmla="*/ 2168411 h 2987757"/>
                <a:gd name="connsiteX1" fmla="*/ 337898 w 497954"/>
                <a:gd name="connsiteY1" fmla="*/ 0 h 2987757"/>
                <a:gd name="connsiteX2" fmla="*/ 0 w 497954"/>
                <a:gd name="connsiteY2" fmla="*/ 180383 h 2987757"/>
                <a:gd name="connsiteX3" fmla="*/ 229923 w 497954"/>
                <a:gd name="connsiteY3" fmla="*/ 2987757 h 2987757"/>
                <a:gd name="connsiteX4" fmla="*/ 245166 w 497954"/>
                <a:gd name="connsiteY4" fmla="*/ 2977595 h 2987757"/>
                <a:gd name="connsiteX5" fmla="*/ 415386 w 497954"/>
                <a:gd name="connsiteY5" fmla="*/ 2864538 h 2987757"/>
                <a:gd name="connsiteX6" fmla="*/ 368385 w 497954"/>
                <a:gd name="connsiteY6" fmla="*/ 2254791 h 2987757"/>
                <a:gd name="connsiteX7" fmla="*/ 368385 w 497954"/>
                <a:gd name="connsiteY7" fmla="*/ 2253521 h 2987757"/>
                <a:gd name="connsiteX8" fmla="*/ 368385 w 497954"/>
                <a:gd name="connsiteY8" fmla="*/ 2252251 h 2987757"/>
                <a:gd name="connsiteX9" fmla="*/ 368385 w 497954"/>
                <a:gd name="connsiteY9" fmla="*/ 2252251 h 2987757"/>
                <a:gd name="connsiteX10" fmla="*/ 368385 w 497954"/>
                <a:gd name="connsiteY10" fmla="*/ 2252251 h 2987757"/>
                <a:gd name="connsiteX11" fmla="*/ 368385 w 497954"/>
                <a:gd name="connsiteY11" fmla="*/ 2252251 h 2987757"/>
                <a:gd name="connsiteX12" fmla="*/ 368385 w 497954"/>
                <a:gd name="connsiteY12" fmla="*/ 2250980 h 2987757"/>
                <a:gd name="connsiteX13" fmla="*/ 368385 w 497954"/>
                <a:gd name="connsiteY13" fmla="*/ 2250980 h 2987757"/>
                <a:gd name="connsiteX14" fmla="*/ 369655 w 497954"/>
                <a:gd name="connsiteY14" fmla="*/ 2249710 h 2987757"/>
                <a:gd name="connsiteX15" fmla="*/ 370926 w 497954"/>
                <a:gd name="connsiteY15" fmla="*/ 2248440 h 2987757"/>
                <a:gd name="connsiteX16" fmla="*/ 497955 w 497954"/>
                <a:gd name="connsiteY16" fmla="*/ 2168411 h 298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7954" h="2987757">
                  <a:moveTo>
                    <a:pt x="497955" y="2168411"/>
                  </a:moveTo>
                  <a:lnTo>
                    <a:pt x="337898" y="0"/>
                  </a:lnTo>
                  <a:lnTo>
                    <a:pt x="0" y="180383"/>
                  </a:lnTo>
                  <a:lnTo>
                    <a:pt x="229923" y="2987757"/>
                  </a:lnTo>
                  <a:lnTo>
                    <a:pt x="245166" y="2977595"/>
                  </a:lnTo>
                  <a:lnTo>
                    <a:pt x="415386" y="2864538"/>
                  </a:lnTo>
                  <a:lnTo>
                    <a:pt x="368385" y="2254791"/>
                  </a:lnTo>
                  <a:cubicBezTo>
                    <a:pt x="368385" y="2254791"/>
                    <a:pt x="368385" y="2254791"/>
                    <a:pt x="368385" y="2253521"/>
                  </a:cubicBezTo>
                  <a:cubicBezTo>
                    <a:pt x="368385" y="2253521"/>
                    <a:pt x="368385" y="2252251"/>
                    <a:pt x="368385" y="2252251"/>
                  </a:cubicBezTo>
                  <a:lnTo>
                    <a:pt x="368385" y="2252251"/>
                  </a:lnTo>
                  <a:lnTo>
                    <a:pt x="368385" y="2252251"/>
                  </a:lnTo>
                  <a:lnTo>
                    <a:pt x="368385" y="2252251"/>
                  </a:lnTo>
                  <a:cubicBezTo>
                    <a:pt x="368385" y="2252251"/>
                    <a:pt x="368385" y="2250980"/>
                    <a:pt x="368385" y="2250980"/>
                  </a:cubicBezTo>
                  <a:lnTo>
                    <a:pt x="368385" y="2250980"/>
                  </a:lnTo>
                  <a:cubicBezTo>
                    <a:pt x="368385" y="2250980"/>
                    <a:pt x="368385" y="2250980"/>
                    <a:pt x="369655" y="2249710"/>
                  </a:cubicBezTo>
                  <a:lnTo>
                    <a:pt x="370926" y="2248440"/>
                  </a:lnTo>
                  <a:lnTo>
                    <a:pt x="497955" y="2168411"/>
                  </a:lnTo>
                  <a:close/>
                </a:path>
              </a:pathLst>
            </a:custGeom>
            <a:solidFill>
              <a:schemeClr val="accent5"/>
            </a:solidFill>
            <a:ln w="12688"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681D00B2-0C80-4662-B105-49A74C91D9B6}"/>
                </a:ext>
              </a:extLst>
            </p:cNvPr>
            <p:cNvSpPr/>
            <p:nvPr/>
          </p:nvSpPr>
          <p:spPr>
            <a:xfrm>
              <a:off x="1779680" y="795210"/>
              <a:ext cx="1316023" cy="736776"/>
            </a:xfrm>
            <a:custGeom>
              <a:avLst/>
              <a:gdLst>
                <a:gd name="connsiteX0" fmla="*/ 1082290 w 1316023"/>
                <a:gd name="connsiteY0" fmla="*/ 35569 h 736776"/>
                <a:gd name="connsiteX1" fmla="*/ 1075938 w 1316023"/>
                <a:gd name="connsiteY1" fmla="*/ 31758 h 736776"/>
                <a:gd name="connsiteX2" fmla="*/ 0 w 1316023"/>
                <a:gd name="connsiteY2" fmla="*/ 616098 h 736776"/>
                <a:gd name="connsiteX3" fmla="*/ 553848 w 1316023"/>
                <a:gd name="connsiteY3" fmla="*/ 736777 h 736776"/>
                <a:gd name="connsiteX4" fmla="*/ 1316023 w 1316023"/>
                <a:gd name="connsiteY4" fmla="*/ 307414 h 736776"/>
                <a:gd name="connsiteX5" fmla="*/ 1305861 w 1316023"/>
                <a:gd name="connsiteY5" fmla="*/ 41920 h 736776"/>
                <a:gd name="connsiteX6" fmla="*/ 1088641 w 1316023"/>
                <a:gd name="connsiteY6" fmla="*/ 0 h 736776"/>
                <a:gd name="connsiteX7" fmla="*/ 1089911 w 1316023"/>
                <a:gd name="connsiteY7" fmla="*/ 27947 h 736776"/>
                <a:gd name="connsiteX8" fmla="*/ 1082290 w 1316023"/>
                <a:gd name="connsiteY8" fmla="*/ 35569 h 73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023" h="736776">
                  <a:moveTo>
                    <a:pt x="1082290" y="35569"/>
                  </a:moveTo>
                  <a:cubicBezTo>
                    <a:pt x="1079749" y="35569"/>
                    <a:pt x="1077208" y="34298"/>
                    <a:pt x="1075938" y="31758"/>
                  </a:cubicBezTo>
                  <a:lnTo>
                    <a:pt x="0" y="616098"/>
                  </a:lnTo>
                  <a:lnTo>
                    <a:pt x="553848" y="736777"/>
                  </a:lnTo>
                  <a:lnTo>
                    <a:pt x="1316023" y="307414"/>
                  </a:lnTo>
                  <a:lnTo>
                    <a:pt x="1305861" y="41920"/>
                  </a:lnTo>
                  <a:lnTo>
                    <a:pt x="1088641" y="0"/>
                  </a:lnTo>
                  <a:lnTo>
                    <a:pt x="1089911" y="27947"/>
                  </a:lnTo>
                  <a:cubicBezTo>
                    <a:pt x="1088641" y="31758"/>
                    <a:pt x="1086101" y="34298"/>
                    <a:pt x="1082290" y="35569"/>
                  </a:cubicBezTo>
                  <a:close/>
                </a:path>
              </a:pathLst>
            </a:custGeom>
            <a:solidFill>
              <a:schemeClr val="accent5"/>
            </a:solidFill>
            <a:ln w="12688"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09D237A5-9767-4194-8359-9FD42A225611}"/>
                </a:ext>
              </a:extLst>
            </p:cNvPr>
            <p:cNvSpPr/>
            <p:nvPr/>
          </p:nvSpPr>
          <p:spPr>
            <a:xfrm>
              <a:off x="1728868" y="160058"/>
              <a:ext cx="1125479" cy="1249979"/>
            </a:xfrm>
            <a:custGeom>
              <a:avLst/>
              <a:gdLst>
                <a:gd name="connsiteX0" fmla="*/ 47001 w 1125479"/>
                <a:gd name="connsiteY0" fmla="*/ 1249980 h 1249979"/>
                <a:gd name="connsiteX1" fmla="*/ 49541 w 1125479"/>
                <a:gd name="connsiteY1" fmla="*/ 1249980 h 1249979"/>
                <a:gd name="connsiteX2" fmla="*/ 1125480 w 1125479"/>
                <a:gd name="connsiteY2" fmla="*/ 665640 h 1249979"/>
                <a:gd name="connsiteX3" fmla="*/ 1124209 w 1125479"/>
                <a:gd name="connsiteY3" fmla="*/ 661829 h 1249979"/>
                <a:gd name="connsiteX4" fmla="*/ 1122939 w 1125479"/>
                <a:gd name="connsiteY4" fmla="*/ 624990 h 1249979"/>
                <a:gd name="connsiteX5" fmla="*/ 1122939 w 1125479"/>
                <a:gd name="connsiteY5" fmla="*/ 624990 h 1249979"/>
                <a:gd name="connsiteX6" fmla="*/ 1094993 w 1125479"/>
                <a:gd name="connsiteY6" fmla="*/ 0 h 1249979"/>
                <a:gd name="connsiteX7" fmla="*/ 0 w 1125479"/>
                <a:gd name="connsiteY7" fmla="*/ 561475 h 1249979"/>
                <a:gd name="connsiteX8" fmla="*/ 47001 w 1125479"/>
                <a:gd name="connsiteY8" fmla="*/ 1249980 h 124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479" h="1249979">
                  <a:moveTo>
                    <a:pt x="47001" y="1249980"/>
                  </a:moveTo>
                  <a:lnTo>
                    <a:pt x="49541" y="1249980"/>
                  </a:lnTo>
                  <a:lnTo>
                    <a:pt x="1125480" y="665640"/>
                  </a:lnTo>
                  <a:cubicBezTo>
                    <a:pt x="1124209" y="664369"/>
                    <a:pt x="1124209" y="663099"/>
                    <a:pt x="1124209" y="661829"/>
                  </a:cubicBezTo>
                  <a:lnTo>
                    <a:pt x="1122939" y="624990"/>
                  </a:lnTo>
                  <a:lnTo>
                    <a:pt x="1122939" y="624990"/>
                  </a:lnTo>
                  <a:lnTo>
                    <a:pt x="1094993" y="0"/>
                  </a:lnTo>
                  <a:lnTo>
                    <a:pt x="0" y="561475"/>
                  </a:lnTo>
                  <a:lnTo>
                    <a:pt x="47001" y="1249980"/>
                  </a:lnTo>
                  <a:close/>
                </a:path>
              </a:pathLst>
            </a:custGeom>
            <a:solidFill>
              <a:schemeClr val="accent2">
                <a:lumMod val="75000"/>
              </a:schemeClr>
            </a:solidFill>
            <a:ln w="12688"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C987BAB-6DB6-4A36-A29F-579BC72DDF32}"/>
                </a:ext>
              </a:extLst>
            </p:cNvPr>
            <p:cNvSpPr/>
            <p:nvPr/>
          </p:nvSpPr>
          <p:spPr>
            <a:xfrm>
              <a:off x="2341150" y="1117868"/>
              <a:ext cx="816798" cy="1947377"/>
            </a:xfrm>
            <a:custGeom>
              <a:avLst/>
              <a:gdLst>
                <a:gd name="connsiteX0" fmla="*/ 86380 w 816798"/>
                <a:gd name="connsiteY0" fmla="*/ 1947377 h 1947377"/>
                <a:gd name="connsiteX1" fmla="*/ 721526 w 816798"/>
                <a:gd name="connsiteY1" fmla="*/ 1544691 h 1947377"/>
                <a:gd name="connsiteX2" fmla="*/ 721526 w 816798"/>
                <a:gd name="connsiteY2" fmla="*/ 1544691 h 1947377"/>
                <a:gd name="connsiteX3" fmla="*/ 724067 w 816798"/>
                <a:gd name="connsiteY3" fmla="*/ 1543420 h 1947377"/>
                <a:gd name="connsiteX4" fmla="*/ 724067 w 816798"/>
                <a:gd name="connsiteY4" fmla="*/ 1543420 h 1947377"/>
                <a:gd name="connsiteX5" fmla="*/ 726608 w 816798"/>
                <a:gd name="connsiteY5" fmla="*/ 1543420 h 1947377"/>
                <a:gd name="connsiteX6" fmla="*/ 816798 w 816798"/>
                <a:gd name="connsiteY6" fmla="*/ 1565016 h 1947377"/>
                <a:gd name="connsiteX7" fmla="*/ 754554 w 816798"/>
                <a:gd name="connsiteY7" fmla="*/ 0 h 1947377"/>
                <a:gd name="connsiteX8" fmla="*/ 0 w 816798"/>
                <a:gd name="connsiteY8" fmla="*/ 424282 h 1947377"/>
                <a:gd name="connsiteX9" fmla="*/ 86380 w 816798"/>
                <a:gd name="connsiteY9" fmla="*/ 1947377 h 19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6798" h="1947377">
                  <a:moveTo>
                    <a:pt x="86380" y="1947377"/>
                  </a:moveTo>
                  <a:lnTo>
                    <a:pt x="721526" y="1544691"/>
                  </a:lnTo>
                  <a:lnTo>
                    <a:pt x="721526" y="1544691"/>
                  </a:lnTo>
                  <a:cubicBezTo>
                    <a:pt x="722797" y="1544691"/>
                    <a:pt x="722797" y="1543420"/>
                    <a:pt x="724067" y="1543420"/>
                  </a:cubicBezTo>
                  <a:lnTo>
                    <a:pt x="724067" y="1543420"/>
                  </a:lnTo>
                  <a:lnTo>
                    <a:pt x="726608" y="1543420"/>
                  </a:lnTo>
                  <a:lnTo>
                    <a:pt x="816798" y="1565016"/>
                  </a:lnTo>
                  <a:lnTo>
                    <a:pt x="754554" y="0"/>
                  </a:lnTo>
                  <a:lnTo>
                    <a:pt x="0" y="424282"/>
                  </a:lnTo>
                  <a:lnTo>
                    <a:pt x="86380" y="1947377"/>
                  </a:lnTo>
                  <a:close/>
                </a:path>
              </a:pathLst>
            </a:custGeom>
            <a:solidFill>
              <a:schemeClr val="accent6">
                <a:lumMod val="50000"/>
              </a:schemeClr>
            </a:solidFill>
            <a:ln w="12688"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98D51778-4491-406F-A2D6-1B9750DA4AF0}"/>
                </a:ext>
              </a:extLst>
            </p:cNvPr>
            <p:cNvSpPr/>
            <p:nvPr/>
          </p:nvSpPr>
          <p:spPr>
            <a:xfrm>
              <a:off x="749472" y="1247439"/>
              <a:ext cx="759635" cy="301062"/>
            </a:xfrm>
            <a:custGeom>
              <a:avLst/>
              <a:gdLst>
                <a:gd name="connsiteX0" fmla="*/ 757095 w 759635"/>
                <a:gd name="connsiteY0" fmla="*/ 114327 h 301062"/>
                <a:gd name="connsiteX1" fmla="*/ 759635 w 759635"/>
                <a:gd name="connsiteY1" fmla="*/ 113057 h 301062"/>
                <a:gd name="connsiteX2" fmla="*/ 421737 w 759635"/>
                <a:gd name="connsiteY2" fmla="*/ 39380 h 301062"/>
                <a:gd name="connsiteX3" fmla="*/ 415386 w 759635"/>
                <a:gd name="connsiteY3" fmla="*/ 45731 h 301062"/>
                <a:gd name="connsiteX4" fmla="*/ 407764 w 759635"/>
                <a:gd name="connsiteY4" fmla="*/ 39380 h 301062"/>
                <a:gd name="connsiteX5" fmla="*/ 403953 w 759635"/>
                <a:gd name="connsiteY5" fmla="*/ 0 h 301062"/>
                <a:gd name="connsiteX6" fmla="*/ 346790 w 759635"/>
                <a:gd name="connsiteY6" fmla="*/ 29217 h 301062"/>
                <a:gd name="connsiteX7" fmla="*/ 346790 w 759635"/>
                <a:gd name="connsiteY7" fmla="*/ 29217 h 301062"/>
                <a:gd name="connsiteX8" fmla="*/ 1270 w 759635"/>
                <a:gd name="connsiteY8" fmla="*/ 209600 h 301062"/>
                <a:gd name="connsiteX9" fmla="*/ 0 w 759635"/>
                <a:gd name="connsiteY9" fmla="*/ 209600 h 301062"/>
                <a:gd name="connsiteX10" fmla="*/ 406494 w 759635"/>
                <a:gd name="connsiteY10" fmla="*/ 301062 h 301062"/>
                <a:gd name="connsiteX11" fmla="*/ 757095 w 759635"/>
                <a:gd name="connsiteY11" fmla="*/ 114327 h 30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635" h="301062">
                  <a:moveTo>
                    <a:pt x="757095" y="114327"/>
                  </a:moveTo>
                  <a:lnTo>
                    <a:pt x="759635" y="113057"/>
                  </a:lnTo>
                  <a:lnTo>
                    <a:pt x="421737" y="39380"/>
                  </a:lnTo>
                  <a:cubicBezTo>
                    <a:pt x="420467" y="43190"/>
                    <a:pt x="417926" y="44461"/>
                    <a:pt x="415386" y="45731"/>
                  </a:cubicBezTo>
                  <a:cubicBezTo>
                    <a:pt x="411575" y="45731"/>
                    <a:pt x="407764" y="43190"/>
                    <a:pt x="407764" y="39380"/>
                  </a:cubicBezTo>
                  <a:lnTo>
                    <a:pt x="403953" y="0"/>
                  </a:lnTo>
                  <a:lnTo>
                    <a:pt x="346790" y="29217"/>
                  </a:lnTo>
                  <a:lnTo>
                    <a:pt x="346790" y="29217"/>
                  </a:lnTo>
                  <a:lnTo>
                    <a:pt x="1270" y="209600"/>
                  </a:lnTo>
                  <a:lnTo>
                    <a:pt x="0" y="209600"/>
                  </a:lnTo>
                  <a:lnTo>
                    <a:pt x="406494" y="301062"/>
                  </a:lnTo>
                  <a:lnTo>
                    <a:pt x="757095" y="114327"/>
                  </a:lnTo>
                  <a:close/>
                </a:path>
              </a:pathLst>
            </a:custGeom>
            <a:solidFill>
              <a:schemeClr val="accent6">
                <a:lumMod val="50000"/>
              </a:schemeClr>
            </a:solidFill>
            <a:ln w="12688"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013649C4-EFAE-4B29-B1AD-9D0B4DCE2273}"/>
                </a:ext>
              </a:extLst>
            </p:cNvPr>
            <p:cNvSpPr/>
            <p:nvPr/>
          </p:nvSpPr>
          <p:spPr>
            <a:xfrm>
              <a:off x="1116587" y="605935"/>
              <a:ext cx="644038" cy="802832"/>
            </a:xfrm>
            <a:custGeom>
              <a:avLst/>
              <a:gdLst>
                <a:gd name="connsiteX0" fmla="*/ 54623 w 644038"/>
                <a:gd name="connsiteY0" fmla="*/ 680883 h 802832"/>
                <a:gd name="connsiteX1" fmla="*/ 392521 w 644038"/>
                <a:gd name="connsiteY1" fmla="*/ 754561 h 802832"/>
                <a:gd name="connsiteX2" fmla="*/ 400142 w 644038"/>
                <a:gd name="connsiteY2" fmla="*/ 750750 h 802832"/>
                <a:gd name="connsiteX3" fmla="*/ 400142 w 644038"/>
                <a:gd name="connsiteY3" fmla="*/ 750750 h 802832"/>
                <a:gd name="connsiteX4" fmla="*/ 401413 w 644038"/>
                <a:gd name="connsiteY4" fmla="*/ 750750 h 802832"/>
                <a:gd name="connsiteX5" fmla="*/ 402683 w 644038"/>
                <a:gd name="connsiteY5" fmla="*/ 750750 h 802832"/>
                <a:gd name="connsiteX6" fmla="*/ 405223 w 644038"/>
                <a:gd name="connsiteY6" fmla="*/ 750750 h 802832"/>
                <a:gd name="connsiteX7" fmla="*/ 644039 w 644038"/>
                <a:gd name="connsiteY7" fmla="*/ 802833 h 802832"/>
                <a:gd name="connsiteX8" fmla="*/ 597038 w 644038"/>
                <a:gd name="connsiteY8" fmla="*/ 118138 h 802832"/>
                <a:gd name="connsiteX9" fmla="*/ 0 w 644038"/>
                <a:gd name="connsiteY9" fmla="*/ 0 h 802832"/>
                <a:gd name="connsiteX10" fmla="*/ 50812 w 644038"/>
                <a:gd name="connsiteY10" fmla="*/ 628801 h 802832"/>
                <a:gd name="connsiteX11" fmla="*/ 54623 w 644038"/>
                <a:gd name="connsiteY11" fmla="*/ 680883 h 802832"/>
                <a:gd name="connsiteX12" fmla="*/ 54623 w 644038"/>
                <a:gd name="connsiteY12" fmla="*/ 680883 h 80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038" h="802832">
                  <a:moveTo>
                    <a:pt x="54623" y="680883"/>
                  </a:moveTo>
                  <a:lnTo>
                    <a:pt x="392521" y="754561"/>
                  </a:lnTo>
                  <a:lnTo>
                    <a:pt x="400142" y="750750"/>
                  </a:lnTo>
                  <a:lnTo>
                    <a:pt x="400142" y="750750"/>
                  </a:lnTo>
                  <a:lnTo>
                    <a:pt x="401413" y="750750"/>
                  </a:lnTo>
                  <a:lnTo>
                    <a:pt x="402683" y="750750"/>
                  </a:lnTo>
                  <a:lnTo>
                    <a:pt x="405223" y="750750"/>
                  </a:lnTo>
                  <a:lnTo>
                    <a:pt x="644039" y="802833"/>
                  </a:lnTo>
                  <a:lnTo>
                    <a:pt x="597038" y="118138"/>
                  </a:lnTo>
                  <a:lnTo>
                    <a:pt x="0" y="0"/>
                  </a:lnTo>
                  <a:lnTo>
                    <a:pt x="50812" y="628801"/>
                  </a:lnTo>
                  <a:lnTo>
                    <a:pt x="54623" y="680883"/>
                  </a:lnTo>
                  <a:cubicBezTo>
                    <a:pt x="54623" y="679613"/>
                    <a:pt x="54623" y="680883"/>
                    <a:pt x="54623" y="680883"/>
                  </a:cubicBezTo>
                  <a:close/>
                </a:path>
              </a:pathLst>
            </a:custGeom>
            <a:solidFill>
              <a:schemeClr val="accent6">
                <a:lumMod val="75000"/>
              </a:schemeClr>
            </a:solidFill>
            <a:ln w="12688"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17AB7EFE-A604-449F-84DE-BC37DAEFA026}"/>
                </a:ext>
              </a:extLst>
            </p:cNvPr>
            <p:cNvSpPr/>
            <p:nvPr/>
          </p:nvSpPr>
          <p:spPr>
            <a:xfrm>
              <a:off x="1528162" y="1371929"/>
              <a:ext cx="368384" cy="2162059"/>
            </a:xfrm>
            <a:custGeom>
              <a:avLst/>
              <a:gdLst>
                <a:gd name="connsiteX0" fmla="*/ 368385 w 368384"/>
                <a:gd name="connsiteY0" fmla="*/ 2029947 h 2162059"/>
                <a:gd name="connsiteX1" fmla="*/ 233734 w 368384"/>
                <a:gd name="connsiteY1" fmla="*/ 50812 h 2162059"/>
                <a:gd name="connsiteX2" fmla="*/ 0 w 368384"/>
                <a:gd name="connsiteY2" fmla="*/ 0 h 2162059"/>
                <a:gd name="connsiteX3" fmla="*/ 160057 w 368384"/>
                <a:gd name="connsiteY3" fmla="*/ 2162059 h 2162059"/>
              </a:gdLst>
              <a:ahLst/>
              <a:cxnLst>
                <a:cxn ang="0">
                  <a:pos x="connsiteX0" y="connsiteY0"/>
                </a:cxn>
                <a:cxn ang="0">
                  <a:pos x="connsiteX1" y="connsiteY1"/>
                </a:cxn>
                <a:cxn ang="0">
                  <a:pos x="connsiteX2" y="connsiteY2"/>
                </a:cxn>
                <a:cxn ang="0">
                  <a:pos x="connsiteX3" y="connsiteY3"/>
                </a:cxn>
              </a:cxnLst>
              <a:rect l="l" t="t" r="r" b="b"/>
              <a:pathLst>
                <a:path w="368384" h="2162059">
                  <a:moveTo>
                    <a:pt x="368385" y="2029947"/>
                  </a:moveTo>
                  <a:lnTo>
                    <a:pt x="233734" y="50812"/>
                  </a:lnTo>
                  <a:lnTo>
                    <a:pt x="0" y="0"/>
                  </a:lnTo>
                  <a:lnTo>
                    <a:pt x="160057" y="2162059"/>
                  </a:lnTo>
                  <a:close/>
                </a:path>
              </a:pathLst>
            </a:custGeom>
            <a:solidFill>
              <a:schemeClr val="accent5"/>
            </a:solidFill>
            <a:ln w="12688"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2B431582-6F05-484D-97D1-8DF253BBA8F7}"/>
                </a:ext>
              </a:extLst>
            </p:cNvPr>
            <p:cNvSpPr/>
            <p:nvPr/>
          </p:nvSpPr>
          <p:spPr>
            <a:xfrm>
              <a:off x="1777139" y="1426552"/>
              <a:ext cx="635146" cy="1965161"/>
            </a:xfrm>
            <a:custGeom>
              <a:avLst/>
              <a:gdLst>
                <a:gd name="connsiteX0" fmla="*/ 635147 w 635146"/>
                <a:gd name="connsiteY0" fmla="*/ 1647585 h 1965161"/>
                <a:gd name="connsiteX1" fmla="*/ 548767 w 635146"/>
                <a:gd name="connsiteY1" fmla="*/ 119409 h 1965161"/>
                <a:gd name="connsiteX2" fmla="*/ 0 w 635146"/>
                <a:gd name="connsiteY2" fmla="*/ 0 h 1965161"/>
                <a:gd name="connsiteX3" fmla="*/ 134651 w 635146"/>
                <a:gd name="connsiteY3" fmla="*/ 1965162 h 1965161"/>
              </a:gdLst>
              <a:ahLst/>
              <a:cxnLst>
                <a:cxn ang="0">
                  <a:pos x="connsiteX0" y="connsiteY0"/>
                </a:cxn>
                <a:cxn ang="0">
                  <a:pos x="connsiteX1" y="connsiteY1"/>
                </a:cxn>
                <a:cxn ang="0">
                  <a:pos x="connsiteX2" y="connsiteY2"/>
                </a:cxn>
                <a:cxn ang="0">
                  <a:pos x="connsiteX3" y="connsiteY3"/>
                </a:cxn>
              </a:cxnLst>
              <a:rect l="l" t="t" r="r" b="b"/>
              <a:pathLst>
                <a:path w="635146" h="1965161">
                  <a:moveTo>
                    <a:pt x="635147" y="1647585"/>
                  </a:moveTo>
                  <a:lnTo>
                    <a:pt x="548767" y="119409"/>
                  </a:lnTo>
                  <a:lnTo>
                    <a:pt x="0" y="0"/>
                  </a:lnTo>
                  <a:lnTo>
                    <a:pt x="134651" y="1965162"/>
                  </a:lnTo>
                  <a:close/>
                </a:path>
              </a:pathLst>
            </a:custGeom>
            <a:solidFill>
              <a:schemeClr val="accent2">
                <a:lumMod val="75000"/>
              </a:schemeClr>
            </a:solidFill>
            <a:ln w="12688"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B72E1E45-A096-437E-80E7-8C127D10A721}"/>
                </a:ext>
              </a:extLst>
            </p:cNvPr>
            <p:cNvSpPr/>
            <p:nvPr/>
          </p:nvSpPr>
          <p:spPr>
            <a:xfrm>
              <a:off x="0" y="4029407"/>
              <a:ext cx="189273" cy="175301"/>
            </a:xfrm>
            <a:custGeom>
              <a:avLst/>
              <a:gdLst>
                <a:gd name="connsiteX0" fmla="*/ 53352 w 189273"/>
                <a:gd name="connsiteY0" fmla="*/ 16514 h 175301"/>
                <a:gd name="connsiteX1" fmla="*/ 53352 w 189273"/>
                <a:gd name="connsiteY1" fmla="*/ 16514 h 175301"/>
                <a:gd name="connsiteX2" fmla="*/ 52082 w 189273"/>
                <a:gd name="connsiteY2" fmla="*/ 16514 h 175301"/>
                <a:gd name="connsiteX3" fmla="*/ 0 w 189273"/>
                <a:gd name="connsiteY3" fmla="*/ 0 h 175301"/>
                <a:gd name="connsiteX4" fmla="*/ 0 w 189273"/>
                <a:gd name="connsiteY4" fmla="*/ 175302 h 175301"/>
                <a:gd name="connsiteX5" fmla="*/ 189274 w 189273"/>
                <a:gd name="connsiteY5" fmla="*/ 58434 h 17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273" h="175301">
                  <a:moveTo>
                    <a:pt x="53352" y="16514"/>
                  </a:moveTo>
                  <a:lnTo>
                    <a:pt x="53352" y="16514"/>
                  </a:lnTo>
                  <a:lnTo>
                    <a:pt x="52082" y="16514"/>
                  </a:lnTo>
                  <a:lnTo>
                    <a:pt x="0" y="0"/>
                  </a:lnTo>
                  <a:lnTo>
                    <a:pt x="0" y="175302"/>
                  </a:lnTo>
                  <a:lnTo>
                    <a:pt x="189274" y="58434"/>
                  </a:lnTo>
                  <a:close/>
                </a:path>
              </a:pathLst>
            </a:custGeom>
            <a:solidFill>
              <a:schemeClr val="accent2"/>
            </a:solidFill>
            <a:ln w="12688"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87187D76-FA8A-4639-8235-252E4DA8F716}"/>
                </a:ext>
              </a:extLst>
            </p:cNvPr>
            <p:cNvSpPr/>
            <p:nvPr/>
          </p:nvSpPr>
          <p:spPr>
            <a:xfrm>
              <a:off x="3785473" y="5563935"/>
              <a:ext cx="6351" cy="7621"/>
            </a:xfrm>
            <a:custGeom>
              <a:avLst/>
              <a:gdLst>
                <a:gd name="connsiteX0" fmla="*/ 0 w 6351"/>
                <a:gd name="connsiteY0" fmla="*/ 0 h 7621"/>
                <a:gd name="connsiteX1" fmla="*/ 0 w 6351"/>
                <a:gd name="connsiteY1" fmla="*/ 7622 h 7621"/>
                <a:gd name="connsiteX2" fmla="*/ 6351 w 6351"/>
                <a:gd name="connsiteY2" fmla="*/ 2541 h 7621"/>
              </a:gdLst>
              <a:ahLst/>
              <a:cxnLst>
                <a:cxn ang="0">
                  <a:pos x="connsiteX0" y="connsiteY0"/>
                </a:cxn>
                <a:cxn ang="0">
                  <a:pos x="connsiteX1" y="connsiteY1"/>
                </a:cxn>
                <a:cxn ang="0">
                  <a:pos x="connsiteX2" y="connsiteY2"/>
                </a:cxn>
              </a:cxnLst>
              <a:rect l="l" t="t" r="r" b="b"/>
              <a:pathLst>
                <a:path w="6351" h="7621">
                  <a:moveTo>
                    <a:pt x="0" y="0"/>
                  </a:moveTo>
                  <a:lnTo>
                    <a:pt x="0" y="7622"/>
                  </a:lnTo>
                  <a:lnTo>
                    <a:pt x="6351" y="2541"/>
                  </a:lnTo>
                  <a:close/>
                </a:path>
              </a:pathLst>
            </a:custGeom>
            <a:solidFill>
              <a:srgbClr val="0A4054"/>
            </a:solidFill>
            <a:ln w="12688"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F071BE8E-2426-4943-9AF4-7DE1ECC77839}"/>
                </a:ext>
              </a:extLst>
            </p:cNvPr>
            <p:cNvSpPr/>
            <p:nvPr/>
          </p:nvSpPr>
          <p:spPr>
            <a:xfrm>
              <a:off x="2405934" y="6718642"/>
              <a:ext cx="8892" cy="135922"/>
            </a:xfrm>
            <a:custGeom>
              <a:avLst/>
              <a:gdLst>
                <a:gd name="connsiteX0" fmla="*/ 0 w 8892"/>
                <a:gd name="connsiteY0" fmla="*/ 1270 h 135922"/>
                <a:gd name="connsiteX1" fmla="*/ 8892 w 8892"/>
                <a:gd name="connsiteY1" fmla="*/ 135922 h 135922"/>
                <a:gd name="connsiteX2" fmla="*/ 8892 w 8892"/>
                <a:gd name="connsiteY2" fmla="*/ 135922 h 135922"/>
                <a:gd name="connsiteX3" fmla="*/ 0 w 8892"/>
                <a:gd name="connsiteY3" fmla="*/ 0 h 135922"/>
              </a:gdLst>
              <a:ahLst/>
              <a:cxnLst>
                <a:cxn ang="0">
                  <a:pos x="connsiteX0" y="connsiteY0"/>
                </a:cxn>
                <a:cxn ang="0">
                  <a:pos x="connsiteX1" y="connsiteY1"/>
                </a:cxn>
                <a:cxn ang="0">
                  <a:pos x="connsiteX2" y="connsiteY2"/>
                </a:cxn>
                <a:cxn ang="0">
                  <a:pos x="connsiteX3" y="connsiteY3"/>
                </a:cxn>
              </a:cxnLst>
              <a:rect l="l" t="t" r="r" b="b"/>
              <a:pathLst>
                <a:path w="8892" h="135922">
                  <a:moveTo>
                    <a:pt x="0" y="1270"/>
                  </a:moveTo>
                  <a:lnTo>
                    <a:pt x="8892" y="135922"/>
                  </a:lnTo>
                  <a:lnTo>
                    <a:pt x="8892" y="135922"/>
                  </a:lnTo>
                  <a:lnTo>
                    <a:pt x="0" y="0"/>
                  </a:lnTo>
                  <a:close/>
                </a:path>
              </a:pathLst>
            </a:custGeom>
            <a:solidFill>
              <a:srgbClr val="F9C996"/>
            </a:solidFill>
            <a:ln w="12688"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872DDEA6-650E-4657-9AA5-11604059D9C1}"/>
                </a:ext>
              </a:extLst>
            </p:cNvPr>
            <p:cNvSpPr/>
            <p:nvPr/>
          </p:nvSpPr>
          <p:spPr>
            <a:xfrm>
              <a:off x="3925205" y="6390903"/>
              <a:ext cx="1714895" cy="463660"/>
            </a:xfrm>
            <a:custGeom>
              <a:avLst/>
              <a:gdLst>
                <a:gd name="connsiteX0" fmla="*/ 589416 w 1714895"/>
                <a:gd name="connsiteY0" fmla="*/ 16514 h 463660"/>
                <a:gd name="connsiteX1" fmla="*/ 538604 w 1714895"/>
                <a:gd name="connsiteY1" fmla="*/ 0 h 463660"/>
                <a:gd name="connsiteX2" fmla="*/ 0 w 1714895"/>
                <a:gd name="connsiteY2" fmla="*/ 463661 h 463660"/>
                <a:gd name="connsiteX3" fmla="*/ 1642489 w 1714895"/>
                <a:gd name="connsiteY3" fmla="*/ 463661 h 463660"/>
                <a:gd name="connsiteX4" fmla="*/ 1714896 w 1714895"/>
                <a:gd name="connsiteY4" fmla="*/ 396335 h 46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895" h="463660">
                  <a:moveTo>
                    <a:pt x="589416" y="16514"/>
                  </a:moveTo>
                  <a:lnTo>
                    <a:pt x="538604" y="0"/>
                  </a:lnTo>
                  <a:lnTo>
                    <a:pt x="0" y="463661"/>
                  </a:lnTo>
                  <a:lnTo>
                    <a:pt x="1642489" y="463661"/>
                  </a:lnTo>
                  <a:lnTo>
                    <a:pt x="1714896" y="396335"/>
                  </a:lnTo>
                  <a:close/>
                </a:path>
              </a:pathLst>
            </a:custGeom>
            <a:solidFill>
              <a:schemeClr val="accent3"/>
            </a:solidFill>
            <a:ln w="12688"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3965E061-7185-46A5-8945-E0D9F5D2150B}"/>
                </a:ext>
              </a:extLst>
            </p:cNvPr>
            <p:cNvSpPr/>
            <p:nvPr/>
          </p:nvSpPr>
          <p:spPr>
            <a:xfrm>
              <a:off x="2235715" y="6731345"/>
              <a:ext cx="163867" cy="123218"/>
            </a:xfrm>
            <a:custGeom>
              <a:avLst/>
              <a:gdLst>
                <a:gd name="connsiteX0" fmla="*/ 0 w 163867"/>
                <a:gd name="connsiteY0" fmla="*/ 123219 h 123218"/>
                <a:gd name="connsiteX1" fmla="*/ 163868 w 163867"/>
                <a:gd name="connsiteY1" fmla="*/ 123219 h 123218"/>
                <a:gd name="connsiteX2" fmla="*/ 156246 w 163867"/>
                <a:gd name="connsiteY2" fmla="*/ 0 h 123218"/>
              </a:gdLst>
              <a:ahLst/>
              <a:cxnLst>
                <a:cxn ang="0">
                  <a:pos x="connsiteX0" y="connsiteY0"/>
                </a:cxn>
                <a:cxn ang="0">
                  <a:pos x="connsiteX1" y="connsiteY1"/>
                </a:cxn>
                <a:cxn ang="0">
                  <a:pos x="connsiteX2" y="connsiteY2"/>
                </a:cxn>
              </a:cxnLst>
              <a:rect l="l" t="t" r="r" b="b"/>
              <a:pathLst>
                <a:path w="163867" h="123218">
                  <a:moveTo>
                    <a:pt x="0" y="123219"/>
                  </a:moveTo>
                  <a:lnTo>
                    <a:pt x="163868" y="123219"/>
                  </a:lnTo>
                  <a:lnTo>
                    <a:pt x="156246" y="0"/>
                  </a:lnTo>
                  <a:close/>
                </a:path>
              </a:pathLst>
            </a:custGeom>
            <a:solidFill>
              <a:srgbClr val="9FD1D0"/>
            </a:solidFill>
            <a:ln w="12688"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AA787658-0A3E-4817-B4D6-1218CC5FA313}"/>
                </a:ext>
              </a:extLst>
            </p:cNvPr>
            <p:cNvSpPr/>
            <p:nvPr/>
          </p:nvSpPr>
          <p:spPr>
            <a:xfrm>
              <a:off x="3603821" y="3362497"/>
              <a:ext cx="182922" cy="2872159"/>
            </a:xfrm>
            <a:custGeom>
              <a:avLst/>
              <a:gdLst>
                <a:gd name="connsiteX0" fmla="*/ 86380 w 182922"/>
                <a:gd name="connsiteY0" fmla="*/ 2872159 h 2872159"/>
                <a:gd name="connsiteX1" fmla="*/ 182922 w 182922"/>
                <a:gd name="connsiteY1" fmla="*/ 2792130 h 2872159"/>
                <a:gd name="connsiteX2" fmla="*/ 167678 w 182922"/>
                <a:gd name="connsiteY2" fmla="*/ 2235737 h 2872159"/>
                <a:gd name="connsiteX3" fmla="*/ 167678 w 182922"/>
                <a:gd name="connsiteY3" fmla="*/ 2224304 h 2872159"/>
                <a:gd name="connsiteX4" fmla="*/ 167678 w 182922"/>
                <a:gd name="connsiteY4" fmla="*/ 2224304 h 2872159"/>
                <a:gd name="connsiteX5" fmla="*/ 167678 w 182922"/>
                <a:gd name="connsiteY5" fmla="*/ 2224304 h 2872159"/>
                <a:gd name="connsiteX6" fmla="*/ 166408 w 182922"/>
                <a:gd name="connsiteY6" fmla="*/ 2191276 h 2872159"/>
                <a:gd name="connsiteX7" fmla="*/ 166408 w 182922"/>
                <a:gd name="connsiteY7" fmla="*/ 2191276 h 2872159"/>
                <a:gd name="connsiteX8" fmla="*/ 166408 w 182922"/>
                <a:gd name="connsiteY8" fmla="*/ 2191276 h 2872159"/>
                <a:gd name="connsiteX9" fmla="*/ 166408 w 182922"/>
                <a:gd name="connsiteY9" fmla="*/ 2191276 h 2872159"/>
                <a:gd name="connsiteX10" fmla="*/ 165138 w 182922"/>
                <a:gd name="connsiteY10" fmla="*/ 2123950 h 2872159"/>
                <a:gd name="connsiteX11" fmla="*/ 149894 w 182922"/>
                <a:gd name="connsiteY11" fmla="*/ 1587881 h 2872159"/>
                <a:gd name="connsiteX12" fmla="*/ 130840 w 182922"/>
                <a:gd name="connsiteY12" fmla="*/ 917160 h 2872159"/>
                <a:gd name="connsiteX13" fmla="*/ 105434 w 182922"/>
                <a:gd name="connsiteY13" fmla="*/ 0 h 2872159"/>
                <a:gd name="connsiteX14" fmla="*/ 0 w 182922"/>
                <a:gd name="connsiteY14" fmla="*/ 72407 h 287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922" h="2872159">
                  <a:moveTo>
                    <a:pt x="86380" y="2872159"/>
                  </a:moveTo>
                  <a:lnTo>
                    <a:pt x="182922" y="2792130"/>
                  </a:lnTo>
                  <a:lnTo>
                    <a:pt x="167678" y="2235737"/>
                  </a:lnTo>
                  <a:lnTo>
                    <a:pt x="167678" y="2224304"/>
                  </a:lnTo>
                  <a:lnTo>
                    <a:pt x="167678" y="2224304"/>
                  </a:lnTo>
                  <a:lnTo>
                    <a:pt x="167678" y="2224304"/>
                  </a:lnTo>
                  <a:lnTo>
                    <a:pt x="166408" y="2191276"/>
                  </a:lnTo>
                  <a:lnTo>
                    <a:pt x="166408" y="2191276"/>
                  </a:lnTo>
                  <a:lnTo>
                    <a:pt x="166408" y="2191276"/>
                  </a:lnTo>
                  <a:lnTo>
                    <a:pt x="166408" y="2191276"/>
                  </a:lnTo>
                  <a:lnTo>
                    <a:pt x="165138" y="2123950"/>
                  </a:lnTo>
                  <a:lnTo>
                    <a:pt x="149894" y="1587881"/>
                  </a:lnTo>
                  <a:lnTo>
                    <a:pt x="130840" y="917160"/>
                  </a:lnTo>
                  <a:lnTo>
                    <a:pt x="105434" y="0"/>
                  </a:lnTo>
                  <a:lnTo>
                    <a:pt x="0" y="72407"/>
                  </a:lnTo>
                  <a:close/>
                </a:path>
              </a:pathLst>
            </a:custGeom>
            <a:solidFill>
              <a:schemeClr val="accent6">
                <a:lumMod val="50000"/>
              </a:schemeClr>
            </a:solidFill>
            <a:ln w="12688"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161736DD-6E77-47EF-A8E4-E8E1C82729D7}"/>
                </a:ext>
              </a:extLst>
            </p:cNvPr>
            <p:cNvSpPr/>
            <p:nvPr/>
          </p:nvSpPr>
          <p:spPr>
            <a:xfrm>
              <a:off x="1559919" y="2676532"/>
              <a:ext cx="2139173" cy="1222033"/>
            </a:xfrm>
            <a:custGeom>
              <a:avLst/>
              <a:gdLst>
                <a:gd name="connsiteX0" fmla="*/ 865069 w 2139173"/>
                <a:gd name="connsiteY0" fmla="*/ 407768 h 1222033"/>
                <a:gd name="connsiteX1" fmla="*/ 349331 w 2139173"/>
                <a:gd name="connsiteY1" fmla="*/ 734236 h 1222033"/>
                <a:gd name="connsiteX2" fmla="*/ 125759 w 2139173"/>
                <a:gd name="connsiteY2" fmla="*/ 875240 h 1222033"/>
                <a:gd name="connsiteX3" fmla="*/ 125759 w 2139173"/>
                <a:gd name="connsiteY3" fmla="*/ 875240 h 1222033"/>
                <a:gd name="connsiteX4" fmla="*/ 116867 w 2139173"/>
                <a:gd name="connsiteY4" fmla="*/ 881592 h 1222033"/>
                <a:gd name="connsiteX5" fmla="*/ 116867 w 2139173"/>
                <a:gd name="connsiteY5" fmla="*/ 881592 h 1222033"/>
                <a:gd name="connsiteX6" fmla="*/ 0 w 2139173"/>
                <a:gd name="connsiteY6" fmla="*/ 955269 h 1222033"/>
                <a:gd name="connsiteX7" fmla="*/ 938746 w 2139173"/>
                <a:gd name="connsiteY7" fmla="*/ 1222033 h 1222033"/>
                <a:gd name="connsiteX8" fmla="*/ 1753004 w 2139173"/>
                <a:gd name="connsiteY8" fmla="*/ 673262 h 1222033"/>
                <a:gd name="connsiteX9" fmla="*/ 1753004 w 2139173"/>
                <a:gd name="connsiteY9" fmla="*/ 673262 h 1222033"/>
                <a:gd name="connsiteX10" fmla="*/ 1753004 w 2139173"/>
                <a:gd name="connsiteY10" fmla="*/ 673262 h 1222033"/>
                <a:gd name="connsiteX11" fmla="*/ 1754275 w 2139173"/>
                <a:gd name="connsiteY11" fmla="*/ 673262 h 1222033"/>
                <a:gd name="connsiteX12" fmla="*/ 1755545 w 2139173"/>
                <a:gd name="connsiteY12" fmla="*/ 673262 h 1222033"/>
                <a:gd name="connsiteX13" fmla="*/ 1759356 w 2139173"/>
                <a:gd name="connsiteY13" fmla="*/ 673262 h 1222033"/>
                <a:gd name="connsiteX14" fmla="*/ 2035009 w 2139173"/>
                <a:gd name="connsiteY14" fmla="*/ 745669 h 1222033"/>
                <a:gd name="connsiteX15" fmla="*/ 2139174 w 2139173"/>
                <a:gd name="connsiteY15" fmla="*/ 674532 h 1222033"/>
                <a:gd name="connsiteX16" fmla="*/ 1808897 w 2139173"/>
                <a:gd name="connsiteY16" fmla="*/ 588151 h 1222033"/>
                <a:gd name="connsiteX17" fmla="*/ 1220752 w 2139173"/>
                <a:gd name="connsiteY17" fmla="*/ 435715 h 1222033"/>
                <a:gd name="connsiteX18" fmla="*/ 1220752 w 2139173"/>
                <a:gd name="connsiteY18" fmla="*/ 435715 h 1222033"/>
                <a:gd name="connsiteX19" fmla="*/ 1219481 w 2139173"/>
                <a:gd name="connsiteY19" fmla="*/ 435715 h 1222033"/>
                <a:gd name="connsiteX20" fmla="*/ 1218211 w 2139173"/>
                <a:gd name="connsiteY20" fmla="*/ 434444 h 1222033"/>
                <a:gd name="connsiteX21" fmla="*/ 1216941 w 2139173"/>
                <a:gd name="connsiteY21" fmla="*/ 433174 h 1222033"/>
                <a:gd name="connsiteX22" fmla="*/ 1216941 w 2139173"/>
                <a:gd name="connsiteY22" fmla="*/ 433174 h 1222033"/>
                <a:gd name="connsiteX23" fmla="*/ 1215670 w 2139173"/>
                <a:gd name="connsiteY23" fmla="*/ 431904 h 1222033"/>
                <a:gd name="connsiteX24" fmla="*/ 1215670 w 2139173"/>
                <a:gd name="connsiteY24" fmla="*/ 430633 h 1222033"/>
                <a:gd name="connsiteX25" fmla="*/ 1215670 w 2139173"/>
                <a:gd name="connsiteY25" fmla="*/ 429363 h 1222033"/>
                <a:gd name="connsiteX26" fmla="*/ 1215670 w 2139173"/>
                <a:gd name="connsiteY26" fmla="*/ 428093 h 1222033"/>
                <a:gd name="connsiteX27" fmla="*/ 1215670 w 2139173"/>
                <a:gd name="connsiteY27" fmla="*/ 428093 h 1222033"/>
                <a:gd name="connsiteX28" fmla="*/ 1215670 w 2139173"/>
                <a:gd name="connsiteY28" fmla="*/ 426823 h 1222033"/>
                <a:gd name="connsiteX29" fmla="*/ 1216941 w 2139173"/>
                <a:gd name="connsiteY29" fmla="*/ 425552 h 1222033"/>
                <a:gd name="connsiteX30" fmla="*/ 1218211 w 2139173"/>
                <a:gd name="connsiteY30" fmla="*/ 424282 h 1222033"/>
                <a:gd name="connsiteX31" fmla="*/ 1219481 w 2139173"/>
                <a:gd name="connsiteY31" fmla="*/ 423012 h 1222033"/>
                <a:gd name="connsiteX32" fmla="*/ 1774599 w 2139173"/>
                <a:gd name="connsiteY32" fmla="*/ 64786 h 1222033"/>
                <a:gd name="connsiteX33" fmla="*/ 1606921 w 2139173"/>
                <a:gd name="connsiteY33" fmla="*/ 24136 h 1222033"/>
                <a:gd name="connsiteX34" fmla="*/ 1510378 w 2139173"/>
                <a:gd name="connsiteY34" fmla="*/ 0 h 1222033"/>
                <a:gd name="connsiteX35" fmla="*/ 865069 w 2139173"/>
                <a:gd name="connsiteY35" fmla="*/ 407768 h 122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139173" h="1222033">
                  <a:moveTo>
                    <a:pt x="865069" y="407768"/>
                  </a:moveTo>
                  <a:lnTo>
                    <a:pt x="349331" y="734236"/>
                  </a:lnTo>
                  <a:lnTo>
                    <a:pt x="125759" y="875240"/>
                  </a:lnTo>
                  <a:lnTo>
                    <a:pt x="125759" y="875240"/>
                  </a:lnTo>
                  <a:lnTo>
                    <a:pt x="116867" y="881592"/>
                  </a:lnTo>
                  <a:lnTo>
                    <a:pt x="116867" y="881592"/>
                  </a:lnTo>
                  <a:lnTo>
                    <a:pt x="0" y="955269"/>
                  </a:lnTo>
                  <a:lnTo>
                    <a:pt x="938746" y="1222033"/>
                  </a:lnTo>
                  <a:lnTo>
                    <a:pt x="1753004" y="673262"/>
                  </a:lnTo>
                  <a:lnTo>
                    <a:pt x="1753004" y="673262"/>
                  </a:lnTo>
                  <a:lnTo>
                    <a:pt x="1753004" y="673262"/>
                  </a:lnTo>
                  <a:lnTo>
                    <a:pt x="1754275" y="673262"/>
                  </a:lnTo>
                  <a:lnTo>
                    <a:pt x="1755545" y="673262"/>
                  </a:lnTo>
                  <a:lnTo>
                    <a:pt x="1759356" y="673262"/>
                  </a:lnTo>
                  <a:lnTo>
                    <a:pt x="2035009" y="745669"/>
                  </a:lnTo>
                  <a:lnTo>
                    <a:pt x="2139174" y="674532"/>
                  </a:lnTo>
                  <a:lnTo>
                    <a:pt x="1808897" y="588151"/>
                  </a:lnTo>
                  <a:lnTo>
                    <a:pt x="1220752" y="435715"/>
                  </a:lnTo>
                  <a:lnTo>
                    <a:pt x="1220752" y="435715"/>
                  </a:lnTo>
                  <a:lnTo>
                    <a:pt x="1219481" y="435715"/>
                  </a:lnTo>
                  <a:lnTo>
                    <a:pt x="1218211" y="434444"/>
                  </a:lnTo>
                  <a:cubicBezTo>
                    <a:pt x="1218211" y="433174"/>
                    <a:pt x="1216941" y="433174"/>
                    <a:pt x="1216941" y="433174"/>
                  </a:cubicBezTo>
                  <a:lnTo>
                    <a:pt x="1216941" y="433174"/>
                  </a:lnTo>
                  <a:cubicBezTo>
                    <a:pt x="1216941" y="433174"/>
                    <a:pt x="1216941" y="431904"/>
                    <a:pt x="1215670" y="431904"/>
                  </a:cubicBezTo>
                  <a:cubicBezTo>
                    <a:pt x="1215670" y="431904"/>
                    <a:pt x="1215670" y="430633"/>
                    <a:pt x="1215670" y="430633"/>
                  </a:cubicBezTo>
                  <a:cubicBezTo>
                    <a:pt x="1215670" y="430633"/>
                    <a:pt x="1215670" y="429363"/>
                    <a:pt x="1215670" y="429363"/>
                  </a:cubicBezTo>
                  <a:cubicBezTo>
                    <a:pt x="1215670" y="429363"/>
                    <a:pt x="1215670" y="428093"/>
                    <a:pt x="1215670" y="428093"/>
                  </a:cubicBezTo>
                  <a:lnTo>
                    <a:pt x="1215670" y="428093"/>
                  </a:lnTo>
                  <a:cubicBezTo>
                    <a:pt x="1215670" y="428093"/>
                    <a:pt x="1215670" y="428093"/>
                    <a:pt x="1215670" y="426823"/>
                  </a:cubicBezTo>
                  <a:lnTo>
                    <a:pt x="1216941" y="425552"/>
                  </a:lnTo>
                  <a:lnTo>
                    <a:pt x="1218211" y="424282"/>
                  </a:lnTo>
                  <a:lnTo>
                    <a:pt x="1219481" y="423012"/>
                  </a:lnTo>
                  <a:lnTo>
                    <a:pt x="1774599" y="64786"/>
                  </a:lnTo>
                  <a:lnTo>
                    <a:pt x="1606921" y="24136"/>
                  </a:lnTo>
                  <a:lnTo>
                    <a:pt x="1510378" y="0"/>
                  </a:lnTo>
                  <a:lnTo>
                    <a:pt x="865069" y="407768"/>
                  </a:lnTo>
                  <a:close/>
                </a:path>
              </a:pathLst>
            </a:custGeom>
            <a:solidFill>
              <a:schemeClr val="accent2">
                <a:lumMod val="50000"/>
              </a:schemeClr>
            </a:solidFill>
            <a:ln w="12688"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30A73723-722A-42CA-B563-29BC977D8E64}"/>
                </a:ext>
              </a:extLst>
            </p:cNvPr>
            <p:cNvSpPr/>
            <p:nvPr/>
          </p:nvSpPr>
          <p:spPr>
            <a:xfrm>
              <a:off x="1549757" y="3645774"/>
              <a:ext cx="1105154" cy="3208789"/>
            </a:xfrm>
            <a:custGeom>
              <a:avLst/>
              <a:gdLst>
                <a:gd name="connsiteX0" fmla="*/ 0 w 1105154"/>
                <a:gd name="connsiteY0" fmla="*/ 0 h 3208789"/>
                <a:gd name="connsiteX1" fmla="*/ 47001 w 1105154"/>
                <a:gd name="connsiteY1" fmla="*/ 603395 h 3208789"/>
                <a:gd name="connsiteX2" fmla="*/ 96542 w 1105154"/>
                <a:gd name="connsiteY2" fmla="*/ 1251250 h 3208789"/>
                <a:gd name="connsiteX3" fmla="*/ 96542 w 1105154"/>
                <a:gd name="connsiteY3" fmla="*/ 1251250 h 3208789"/>
                <a:gd name="connsiteX4" fmla="*/ 111786 w 1105154"/>
                <a:gd name="connsiteY4" fmla="*/ 1454499 h 3208789"/>
                <a:gd name="connsiteX5" fmla="*/ 111786 w 1105154"/>
                <a:gd name="connsiteY5" fmla="*/ 1454499 h 3208789"/>
                <a:gd name="connsiteX6" fmla="*/ 121948 w 1105154"/>
                <a:gd name="connsiteY6" fmla="*/ 1580259 h 3208789"/>
                <a:gd name="connsiteX7" fmla="*/ 161327 w 1105154"/>
                <a:gd name="connsiteY7" fmla="*/ 2092192 h 3208789"/>
                <a:gd name="connsiteX8" fmla="*/ 213409 w 1105154"/>
                <a:gd name="connsiteY8" fmla="*/ 2761643 h 3208789"/>
                <a:gd name="connsiteX9" fmla="*/ 217220 w 1105154"/>
                <a:gd name="connsiteY9" fmla="*/ 2813725 h 3208789"/>
                <a:gd name="connsiteX10" fmla="*/ 867610 w 1105154"/>
                <a:gd name="connsiteY10" fmla="*/ 3051273 h 3208789"/>
                <a:gd name="connsiteX11" fmla="*/ 867610 w 1105154"/>
                <a:gd name="connsiteY11" fmla="*/ 3051273 h 3208789"/>
                <a:gd name="connsiteX12" fmla="*/ 868880 w 1105154"/>
                <a:gd name="connsiteY12" fmla="*/ 3052543 h 3208789"/>
                <a:gd name="connsiteX13" fmla="*/ 870151 w 1105154"/>
                <a:gd name="connsiteY13" fmla="*/ 3052543 h 3208789"/>
                <a:gd name="connsiteX14" fmla="*/ 870151 w 1105154"/>
                <a:gd name="connsiteY14" fmla="*/ 3052543 h 3208789"/>
                <a:gd name="connsiteX15" fmla="*/ 870151 w 1105154"/>
                <a:gd name="connsiteY15" fmla="*/ 3052543 h 3208789"/>
                <a:gd name="connsiteX16" fmla="*/ 870151 w 1105154"/>
                <a:gd name="connsiteY16" fmla="*/ 3052543 h 3208789"/>
                <a:gd name="connsiteX17" fmla="*/ 870151 w 1105154"/>
                <a:gd name="connsiteY17" fmla="*/ 3053813 h 3208789"/>
                <a:gd name="connsiteX18" fmla="*/ 870151 w 1105154"/>
                <a:gd name="connsiteY18" fmla="*/ 3055083 h 3208789"/>
                <a:gd name="connsiteX19" fmla="*/ 870151 w 1105154"/>
                <a:gd name="connsiteY19" fmla="*/ 3056353 h 3208789"/>
                <a:gd name="connsiteX20" fmla="*/ 870151 w 1105154"/>
                <a:gd name="connsiteY20" fmla="*/ 3057624 h 3208789"/>
                <a:gd name="connsiteX21" fmla="*/ 879043 w 1105154"/>
                <a:gd name="connsiteY21" fmla="*/ 3208790 h 3208789"/>
                <a:gd name="connsiteX22" fmla="*/ 1105155 w 1105154"/>
                <a:gd name="connsiteY22" fmla="*/ 3208790 h 3208789"/>
                <a:gd name="connsiteX23" fmla="*/ 940017 w 1105154"/>
                <a:gd name="connsiteY23" fmla="*/ 268034 h 3208789"/>
                <a:gd name="connsiteX24" fmla="*/ 0 w 1105154"/>
                <a:gd name="connsiteY24" fmla="*/ 0 h 320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05154" h="3208789">
                  <a:moveTo>
                    <a:pt x="0" y="0"/>
                  </a:moveTo>
                  <a:lnTo>
                    <a:pt x="47001" y="603395"/>
                  </a:lnTo>
                  <a:lnTo>
                    <a:pt x="96542" y="1251250"/>
                  </a:lnTo>
                  <a:lnTo>
                    <a:pt x="96542" y="1251250"/>
                  </a:lnTo>
                  <a:lnTo>
                    <a:pt x="111786" y="1454499"/>
                  </a:lnTo>
                  <a:lnTo>
                    <a:pt x="111786" y="1454499"/>
                  </a:lnTo>
                  <a:lnTo>
                    <a:pt x="121948" y="1580259"/>
                  </a:lnTo>
                  <a:lnTo>
                    <a:pt x="161327" y="2092192"/>
                  </a:lnTo>
                  <a:lnTo>
                    <a:pt x="213409" y="2761643"/>
                  </a:lnTo>
                  <a:lnTo>
                    <a:pt x="217220" y="2813725"/>
                  </a:lnTo>
                  <a:lnTo>
                    <a:pt x="867610" y="3051273"/>
                  </a:lnTo>
                  <a:lnTo>
                    <a:pt x="867610" y="3051273"/>
                  </a:lnTo>
                  <a:lnTo>
                    <a:pt x="868880" y="3052543"/>
                  </a:lnTo>
                  <a:lnTo>
                    <a:pt x="870151" y="3052543"/>
                  </a:lnTo>
                  <a:lnTo>
                    <a:pt x="870151" y="3052543"/>
                  </a:lnTo>
                  <a:lnTo>
                    <a:pt x="870151" y="3052543"/>
                  </a:lnTo>
                  <a:cubicBezTo>
                    <a:pt x="870151" y="3052543"/>
                    <a:pt x="870151" y="3052543"/>
                    <a:pt x="870151" y="3052543"/>
                  </a:cubicBezTo>
                  <a:lnTo>
                    <a:pt x="870151" y="3053813"/>
                  </a:lnTo>
                  <a:lnTo>
                    <a:pt x="870151" y="3055083"/>
                  </a:lnTo>
                  <a:lnTo>
                    <a:pt x="870151" y="3056353"/>
                  </a:lnTo>
                  <a:cubicBezTo>
                    <a:pt x="870151" y="3056353"/>
                    <a:pt x="870151" y="3056353"/>
                    <a:pt x="870151" y="3057624"/>
                  </a:cubicBezTo>
                  <a:lnTo>
                    <a:pt x="879043" y="3208790"/>
                  </a:lnTo>
                  <a:lnTo>
                    <a:pt x="1105155" y="3208790"/>
                  </a:lnTo>
                  <a:lnTo>
                    <a:pt x="940017" y="268034"/>
                  </a:lnTo>
                  <a:lnTo>
                    <a:pt x="0" y="0"/>
                  </a:lnTo>
                  <a:close/>
                </a:path>
              </a:pathLst>
            </a:custGeom>
            <a:solidFill>
              <a:schemeClr val="accent3"/>
            </a:solidFill>
            <a:ln w="12688"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51B40325-48B6-4D41-96CB-58E4E2E5DED2}"/>
                </a:ext>
              </a:extLst>
            </p:cNvPr>
            <p:cNvSpPr/>
            <p:nvPr/>
          </p:nvSpPr>
          <p:spPr>
            <a:xfrm>
              <a:off x="1131831" y="50812"/>
              <a:ext cx="1675516" cy="658017"/>
            </a:xfrm>
            <a:custGeom>
              <a:avLst/>
              <a:gdLst>
                <a:gd name="connsiteX0" fmla="*/ 588146 w 1675516"/>
                <a:gd name="connsiteY0" fmla="*/ 658018 h 658017"/>
                <a:gd name="connsiteX1" fmla="*/ 1675517 w 1675516"/>
                <a:gd name="connsiteY1" fmla="*/ 101624 h 658017"/>
                <a:gd name="connsiteX2" fmla="*/ 1097533 w 1675516"/>
                <a:gd name="connsiteY2" fmla="*/ 0 h 658017"/>
                <a:gd name="connsiteX3" fmla="*/ 231193 w 1675516"/>
                <a:gd name="connsiteY3" fmla="*/ 428093 h 658017"/>
                <a:gd name="connsiteX4" fmla="*/ 229923 w 1675516"/>
                <a:gd name="connsiteY4" fmla="*/ 428093 h 658017"/>
                <a:gd name="connsiteX5" fmla="*/ 229923 w 1675516"/>
                <a:gd name="connsiteY5" fmla="*/ 428093 h 658017"/>
                <a:gd name="connsiteX6" fmla="*/ 0 w 1675516"/>
                <a:gd name="connsiteY6" fmla="*/ 542420 h 65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5516" h="658017">
                  <a:moveTo>
                    <a:pt x="588146" y="658018"/>
                  </a:moveTo>
                  <a:lnTo>
                    <a:pt x="1675517" y="101624"/>
                  </a:lnTo>
                  <a:lnTo>
                    <a:pt x="1097533" y="0"/>
                  </a:lnTo>
                  <a:lnTo>
                    <a:pt x="231193" y="428093"/>
                  </a:lnTo>
                  <a:lnTo>
                    <a:pt x="229923" y="428093"/>
                  </a:lnTo>
                  <a:lnTo>
                    <a:pt x="229923" y="428093"/>
                  </a:lnTo>
                  <a:lnTo>
                    <a:pt x="0" y="542420"/>
                  </a:lnTo>
                  <a:close/>
                </a:path>
              </a:pathLst>
            </a:custGeom>
            <a:solidFill>
              <a:schemeClr val="accent5"/>
            </a:solidFill>
            <a:ln w="12688"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496156C4-CED6-4DCE-8F3E-13D1D4EE5421}"/>
                </a:ext>
              </a:extLst>
            </p:cNvPr>
            <p:cNvSpPr/>
            <p:nvPr/>
          </p:nvSpPr>
          <p:spPr>
            <a:xfrm>
              <a:off x="1421457" y="4263143"/>
              <a:ext cx="208328" cy="623719"/>
            </a:xfrm>
            <a:custGeom>
              <a:avLst/>
              <a:gdLst>
                <a:gd name="connsiteX0" fmla="*/ 38109 w 208328"/>
                <a:gd name="connsiteY0" fmla="*/ 569096 h 623719"/>
                <a:gd name="connsiteX1" fmla="*/ 208328 w 208328"/>
                <a:gd name="connsiteY1" fmla="*/ 623720 h 623719"/>
                <a:gd name="connsiteX2" fmla="*/ 160057 w 208328"/>
                <a:gd name="connsiteY2" fmla="*/ 0 h 623719"/>
                <a:gd name="connsiteX3" fmla="*/ 0 w 208328"/>
                <a:gd name="connsiteY3" fmla="*/ 105435 h 623719"/>
              </a:gdLst>
              <a:ahLst/>
              <a:cxnLst>
                <a:cxn ang="0">
                  <a:pos x="connsiteX0" y="connsiteY0"/>
                </a:cxn>
                <a:cxn ang="0">
                  <a:pos x="connsiteX1" y="connsiteY1"/>
                </a:cxn>
                <a:cxn ang="0">
                  <a:pos x="connsiteX2" y="connsiteY2"/>
                </a:cxn>
                <a:cxn ang="0">
                  <a:pos x="connsiteX3" y="connsiteY3"/>
                </a:cxn>
              </a:cxnLst>
              <a:rect l="l" t="t" r="r" b="b"/>
              <a:pathLst>
                <a:path w="208328" h="623719">
                  <a:moveTo>
                    <a:pt x="38109" y="569096"/>
                  </a:moveTo>
                  <a:lnTo>
                    <a:pt x="208328" y="623720"/>
                  </a:lnTo>
                  <a:lnTo>
                    <a:pt x="160057" y="0"/>
                  </a:lnTo>
                  <a:lnTo>
                    <a:pt x="0" y="105435"/>
                  </a:lnTo>
                  <a:close/>
                </a:path>
              </a:pathLst>
            </a:custGeom>
            <a:solidFill>
              <a:schemeClr val="accent6"/>
            </a:solidFill>
            <a:ln w="12688"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9489FD7F-CB1A-4BA1-80A1-E927DD233945}"/>
                </a:ext>
              </a:extLst>
            </p:cNvPr>
            <p:cNvSpPr/>
            <p:nvPr/>
          </p:nvSpPr>
          <p:spPr>
            <a:xfrm>
              <a:off x="1275374" y="4846213"/>
              <a:ext cx="372195" cy="242628"/>
            </a:xfrm>
            <a:custGeom>
              <a:avLst/>
              <a:gdLst>
                <a:gd name="connsiteX0" fmla="*/ 177841 w 372195"/>
                <a:gd name="connsiteY0" fmla="*/ 0 h 242628"/>
                <a:gd name="connsiteX1" fmla="*/ 171490 w 372195"/>
                <a:gd name="connsiteY1" fmla="*/ 6352 h 242628"/>
                <a:gd name="connsiteX2" fmla="*/ 170219 w 372195"/>
                <a:gd name="connsiteY2" fmla="*/ 6352 h 242628"/>
                <a:gd name="connsiteX3" fmla="*/ 121948 w 372195"/>
                <a:gd name="connsiteY3" fmla="*/ 39380 h 242628"/>
                <a:gd name="connsiteX4" fmla="*/ 0 w 372195"/>
                <a:gd name="connsiteY4" fmla="*/ 121949 h 242628"/>
                <a:gd name="connsiteX5" fmla="*/ 372196 w 372195"/>
                <a:gd name="connsiteY5" fmla="*/ 242628 h 242628"/>
                <a:gd name="connsiteX6" fmla="*/ 358223 w 372195"/>
                <a:gd name="connsiteY6" fmla="*/ 55893 h 242628"/>
                <a:gd name="connsiteX7" fmla="*/ 177841 w 372195"/>
                <a:gd name="connsiteY7" fmla="*/ 0 h 242628"/>
                <a:gd name="connsiteX8" fmla="*/ 177841 w 372195"/>
                <a:gd name="connsiteY8" fmla="*/ 0 h 24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195" h="242628">
                  <a:moveTo>
                    <a:pt x="177841" y="0"/>
                  </a:moveTo>
                  <a:cubicBezTo>
                    <a:pt x="177841" y="3811"/>
                    <a:pt x="174030" y="5081"/>
                    <a:pt x="171490" y="6352"/>
                  </a:cubicBezTo>
                  <a:lnTo>
                    <a:pt x="170219" y="6352"/>
                  </a:lnTo>
                  <a:lnTo>
                    <a:pt x="121948" y="39380"/>
                  </a:lnTo>
                  <a:lnTo>
                    <a:pt x="0" y="121949"/>
                  </a:lnTo>
                  <a:lnTo>
                    <a:pt x="372196" y="242628"/>
                  </a:lnTo>
                  <a:lnTo>
                    <a:pt x="358223" y="55893"/>
                  </a:lnTo>
                  <a:lnTo>
                    <a:pt x="177841" y="0"/>
                  </a:lnTo>
                  <a:lnTo>
                    <a:pt x="177841" y="0"/>
                  </a:lnTo>
                  <a:close/>
                </a:path>
              </a:pathLst>
            </a:custGeom>
            <a:solidFill>
              <a:srgbClr val="F4F5F3"/>
            </a:solidFill>
            <a:ln w="12688"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99568E3A-4C4B-4F9D-8AD6-542F0989074E}"/>
                </a:ext>
              </a:extLst>
            </p:cNvPr>
            <p:cNvSpPr/>
            <p:nvPr/>
          </p:nvSpPr>
          <p:spPr>
            <a:xfrm>
              <a:off x="5589289" y="6801212"/>
              <a:ext cx="57163" cy="53352"/>
            </a:xfrm>
            <a:custGeom>
              <a:avLst/>
              <a:gdLst>
                <a:gd name="connsiteX0" fmla="*/ 0 w 57163"/>
                <a:gd name="connsiteY0" fmla="*/ 53352 h 53352"/>
                <a:gd name="connsiteX1" fmla="*/ 57163 w 57163"/>
                <a:gd name="connsiteY1" fmla="*/ 53352 h 53352"/>
                <a:gd name="connsiteX2" fmla="*/ 57163 w 57163"/>
                <a:gd name="connsiteY2" fmla="*/ 0 h 53352"/>
              </a:gdLst>
              <a:ahLst/>
              <a:cxnLst>
                <a:cxn ang="0">
                  <a:pos x="connsiteX0" y="connsiteY0"/>
                </a:cxn>
                <a:cxn ang="0">
                  <a:pos x="connsiteX1" y="connsiteY1"/>
                </a:cxn>
                <a:cxn ang="0">
                  <a:pos x="connsiteX2" y="connsiteY2"/>
                </a:cxn>
              </a:cxnLst>
              <a:rect l="l" t="t" r="r" b="b"/>
              <a:pathLst>
                <a:path w="57163" h="53352">
                  <a:moveTo>
                    <a:pt x="0" y="53352"/>
                  </a:moveTo>
                  <a:lnTo>
                    <a:pt x="57163" y="53352"/>
                  </a:lnTo>
                  <a:lnTo>
                    <a:pt x="57163" y="0"/>
                  </a:lnTo>
                  <a:close/>
                </a:path>
              </a:pathLst>
            </a:custGeom>
            <a:solidFill>
              <a:srgbClr val="9FD1D0"/>
            </a:solidFill>
            <a:ln w="12688"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3698BA7-726B-4050-BCE9-963CDC71091B}"/>
                </a:ext>
              </a:extLst>
            </p:cNvPr>
            <p:cNvSpPr/>
            <p:nvPr/>
          </p:nvSpPr>
          <p:spPr>
            <a:xfrm>
              <a:off x="2507558" y="3371389"/>
              <a:ext cx="903178" cy="3481905"/>
            </a:xfrm>
            <a:custGeom>
              <a:avLst/>
              <a:gdLst>
                <a:gd name="connsiteX0" fmla="*/ 402683 w 903178"/>
                <a:gd name="connsiteY0" fmla="*/ 3194817 h 3481905"/>
                <a:gd name="connsiteX1" fmla="*/ 402683 w 903178"/>
                <a:gd name="connsiteY1" fmla="*/ 3193546 h 3481905"/>
                <a:gd name="connsiteX2" fmla="*/ 402683 w 903178"/>
                <a:gd name="connsiteY2" fmla="*/ 3193546 h 3481905"/>
                <a:gd name="connsiteX3" fmla="*/ 402683 w 903178"/>
                <a:gd name="connsiteY3" fmla="*/ 3192277 h 3481905"/>
                <a:gd name="connsiteX4" fmla="*/ 402683 w 903178"/>
                <a:gd name="connsiteY4" fmla="*/ 3192277 h 3481905"/>
                <a:gd name="connsiteX5" fmla="*/ 402683 w 903178"/>
                <a:gd name="connsiteY5" fmla="*/ 3192277 h 3481905"/>
                <a:gd name="connsiteX6" fmla="*/ 403953 w 903178"/>
                <a:gd name="connsiteY6" fmla="*/ 3191006 h 3481905"/>
                <a:gd name="connsiteX7" fmla="*/ 403953 w 903178"/>
                <a:gd name="connsiteY7" fmla="*/ 3189736 h 3481905"/>
                <a:gd name="connsiteX8" fmla="*/ 403953 w 903178"/>
                <a:gd name="connsiteY8" fmla="*/ 3189736 h 3481905"/>
                <a:gd name="connsiteX9" fmla="*/ 403953 w 903178"/>
                <a:gd name="connsiteY9" fmla="*/ 3189736 h 3481905"/>
                <a:gd name="connsiteX10" fmla="*/ 903178 w 903178"/>
                <a:gd name="connsiteY10" fmla="*/ 2785779 h 3481905"/>
                <a:gd name="connsiteX11" fmla="*/ 800285 w 903178"/>
                <a:gd name="connsiteY11" fmla="*/ 0 h 3481905"/>
                <a:gd name="connsiteX12" fmla="*/ 0 w 903178"/>
                <a:gd name="connsiteY12" fmla="*/ 539880 h 3481905"/>
                <a:gd name="connsiteX13" fmla="*/ 163868 w 903178"/>
                <a:gd name="connsiteY13" fmla="*/ 3481906 h 3481905"/>
                <a:gd name="connsiteX14" fmla="*/ 416656 w 903178"/>
                <a:gd name="connsiteY14" fmla="*/ 3481906 h 3481905"/>
                <a:gd name="connsiteX15" fmla="*/ 402683 w 903178"/>
                <a:gd name="connsiteY15" fmla="*/ 3194817 h 3481905"/>
                <a:gd name="connsiteX16" fmla="*/ 402683 w 903178"/>
                <a:gd name="connsiteY16" fmla="*/ 3194817 h 348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3178" h="3481905">
                  <a:moveTo>
                    <a:pt x="402683" y="3194817"/>
                  </a:moveTo>
                  <a:cubicBezTo>
                    <a:pt x="402683" y="3194817"/>
                    <a:pt x="402683" y="3193546"/>
                    <a:pt x="402683" y="3193546"/>
                  </a:cubicBezTo>
                  <a:lnTo>
                    <a:pt x="402683" y="3193546"/>
                  </a:lnTo>
                  <a:cubicBezTo>
                    <a:pt x="402683" y="3193546"/>
                    <a:pt x="402683" y="3193546"/>
                    <a:pt x="402683" y="3192277"/>
                  </a:cubicBezTo>
                  <a:lnTo>
                    <a:pt x="402683" y="3192277"/>
                  </a:lnTo>
                  <a:lnTo>
                    <a:pt x="402683" y="3192277"/>
                  </a:lnTo>
                  <a:lnTo>
                    <a:pt x="403953" y="3191006"/>
                  </a:lnTo>
                  <a:cubicBezTo>
                    <a:pt x="403953" y="3191006"/>
                    <a:pt x="403953" y="3191006"/>
                    <a:pt x="403953" y="3189736"/>
                  </a:cubicBezTo>
                  <a:lnTo>
                    <a:pt x="403953" y="3189736"/>
                  </a:lnTo>
                  <a:lnTo>
                    <a:pt x="403953" y="3189736"/>
                  </a:lnTo>
                  <a:lnTo>
                    <a:pt x="903178" y="2785779"/>
                  </a:lnTo>
                  <a:lnTo>
                    <a:pt x="800285" y="0"/>
                  </a:lnTo>
                  <a:lnTo>
                    <a:pt x="0" y="539880"/>
                  </a:lnTo>
                  <a:lnTo>
                    <a:pt x="163868" y="3481906"/>
                  </a:lnTo>
                  <a:lnTo>
                    <a:pt x="416656" y="3481906"/>
                  </a:lnTo>
                  <a:lnTo>
                    <a:pt x="402683" y="3194817"/>
                  </a:lnTo>
                  <a:cubicBezTo>
                    <a:pt x="402683" y="3196087"/>
                    <a:pt x="402683" y="3194817"/>
                    <a:pt x="402683" y="3194817"/>
                  </a:cubicBezTo>
                  <a:close/>
                </a:path>
              </a:pathLst>
            </a:custGeom>
            <a:solidFill>
              <a:schemeClr val="accent6">
                <a:lumMod val="75000"/>
              </a:schemeClr>
            </a:solidFill>
            <a:ln w="12688"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E72EE989-7C22-4731-B17C-96874280597F}"/>
                </a:ext>
              </a:extLst>
            </p:cNvPr>
            <p:cNvSpPr/>
            <p:nvPr/>
          </p:nvSpPr>
          <p:spPr>
            <a:xfrm>
              <a:off x="2933106" y="6168600"/>
              <a:ext cx="734229" cy="483986"/>
            </a:xfrm>
            <a:custGeom>
              <a:avLst/>
              <a:gdLst>
                <a:gd name="connsiteX0" fmla="*/ 489063 w 734229"/>
                <a:gd name="connsiteY0" fmla="*/ 0 h 483986"/>
                <a:gd name="connsiteX1" fmla="*/ 0 w 734229"/>
                <a:gd name="connsiteY1" fmla="*/ 395065 h 483986"/>
                <a:gd name="connsiteX2" fmla="*/ 248978 w 734229"/>
                <a:gd name="connsiteY2" fmla="*/ 483986 h 483986"/>
                <a:gd name="connsiteX3" fmla="*/ 734230 w 734229"/>
                <a:gd name="connsiteY3" fmla="*/ 83840 h 483986"/>
              </a:gdLst>
              <a:ahLst/>
              <a:cxnLst>
                <a:cxn ang="0">
                  <a:pos x="connsiteX0" y="connsiteY0"/>
                </a:cxn>
                <a:cxn ang="0">
                  <a:pos x="connsiteX1" y="connsiteY1"/>
                </a:cxn>
                <a:cxn ang="0">
                  <a:pos x="connsiteX2" y="connsiteY2"/>
                </a:cxn>
                <a:cxn ang="0">
                  <a:pos x="connsiteX3" y="connsiteY3"/>
                </a:cxn>
              </a:cxnLst>
              <a:rect l="l" t="t" r="r" b="b"/>
              <a:pathLst>
                <a:path w="734229" h="483986">
                  <a:moveTo>
                    <a:pt x="489063" y="0"/>
                  </a:moveTo>
                  <a:lnTo>
                    <a:pt x="0" y="395065"/>
                  </a:lnTo>
                  <a:lnTo>
                    <a:pt x="248978" y="483986"/>
                  </a:lnTo>
                  <a:lnTo>
                    <a:pt x="734230" y="83840"/>
                  </a:lnTo>
                  <a:close/>
                </a:path>
              </a:pathLst>
            </a:custGeom>
            <a:solidFill>
              <a:schemeClr val="accent2">
                <a:lumMod val="50000"/>
              </a:schemeClr>
            </a:solidFill>
            <a:ln w="12688"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F4D0BBE5-BDD6-4CD7-8618-221AB164F63A}"/>
                </a:ext>
              </a:extLst>
            </p:cNvPr>
            <p:cNvSpPr/>
            <p:nvPr/>
          </p:nvSpPr>
          <p:spPr>
            <a:xfrm>
              <a:off x="3324356" y="3367578"/>
              <a:ext cx="350600" cy="2872159"/>
            </a:xfrm>
            <a:custGeom>
              <a:avLst/>
              <a:gdLst>
                <a:gd name="connsiteX0" fmla="*/ 264221 w 350600"/>
                <a:gd name="connsiteY0" fmla="*/ 69867 h 2872159"/>
                <a:gd name="connsiteX1" fmla="*/ 0 w 350600"/>
                <a:gd name="connsiteY1" fmla="*/ 0 h 2872159"/>
                <a:gd name="connsiteX2" fmla="*/ 102893 w 350600"/>
                <a:gd name="connsiteY2" fmla="*/ 2787049 h 2872159"/>
                <a:gd name="connsiteX3" fmla="*/ 350601 w 350600"/>
                <a:gd name="connsiteY3" fmla="*/ 2872160 h 2872159"/>
              </a:gdLst>
              <a:ahLst/>
              <a:cxnLst>
                <a:cxn ang="0">
                  <a:pos x="connsiteX0" y="connsiteY0"/>
                </a:cxn>
                <a:cxn ang="0">
                  <a:pos x="connsiteX1" y="connsiteY1"/>
                </a:cxn>
                <a:cxn ang="0">
                  <a:pos x="connsiteX2" y="connsiteY2"/>
                </a:cxn>
                <a:cxn ang="0">
                  <a:pos x="connsiteX3" y="connsiteY3"/>
                </a:cxn>
              </a:cxnLst>
              <a:rect l="l" t="t" r="r" b="b"/>
              <a:pathLst>
                <a:path w="350600" h="2872159">
                  <a:moveTo>
                    <a:pt x="264221" y="69867"/>
                  </a:moveTo>
                  <a:lnTo>
                    <a:pt x="0" y="0"/>
                  </a:lnTo>
                  <a:lnTo>
                    <a:pt x="102893" y="2787049"/>
                  </a:lnTo>
                  <a:lnTo>
                    <a:pt x="350601" y="2872160"/>
                  </a:lnTo>
                  <a:close/>
                </a:path>
              </a:pathLst>
            </a:custGeom>
            <a:solidFill>
              <a:srgbClr val="E8E7E3"/>
            </a:solidFill>
            <a:ln w="12688"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6E8FBA2B-6018-4F10-9B4B-71AC3338FE72}"/>
                </a:ext>
              </a:extLst>
            </p:cNvPr>
            <p:cNvSpPr/>
            <p:nvPr/>
          </p:nvSpPr>
          <p:spPr>
            <a:xfrm>
              <a:off x="2799725" y="2752750"/>
              <a:ext cx="561469" cy="496689"/>
            </a:xfrm>
            <a:custGeom>
              <a:avLst/>
              <a:gdLst>
                <a:gd name="connsiteX0" fmla="*/ 561470 w 561469"/>
                <a:gd name="connsiteY0" fmla="*/ 496689 h 496689"/>
                <a:gd name="connsiteX1" fmla="*/ 543686 w 561469"/>
                <a:gd name="connsiteY1" fmla="*/ 0 h 496689"/>
                <a:gd name="connsiteX2" fmla="*/ 0 w 561469"/>
                <a:gd name="connsiteY2" fmla="*/ 350604 h 496689"/>
              </a:gdLst>
              <a:ahLst/>
              <a:cxnLst>
                <a:cxn ang="0">
                  <a:pos x="connsiteX0" y="connsiteY0"/>
                </a:cxn>
                <a:cxn ang="0">
                  <a:pos x="connsiteX1" y="connsiteY1"/>
                </a:cxn>
                <a:cxn ang="0">
                  <a:pos x="connsiteX2" y="connsiteY2"/>
                </a:cxn>
              </a:cxnLst>
              <a:rect l="l" t="t" r="r" b="b"/>
              <a:pathLst>
                <a:path w="561469" h="496689">
                  <a:moveTo>
                    <a:pt x="561470" y="496689"/>
                  </a:moveTo>
                  <a:lnTo>
                    <a:pt x="543686" y="0"/>
                  </a:lnTo>
                  <a:lnTo>
                    <a:pt x="0" y="350604"/>
                  </a:lnTo>
                  <a:close/>
                </a:path>
              </a:pathLst>
            </a:custGeom>
            <a:solidFill>
              <a:srgbClr val="22B0AE"/>
            </a:solidFill>
            <a:ln w="12688"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74382914-1307-4F05-8AE6-E241CFB636FE}"/>
                </a:ext>
              </a:extLst>
            </p:cNvPr>
            <p:cNvSpPr/>
            <p:nvPr/>
          </p:nvSpPr>
          <p:spPr>
            <a:xfrm>
              <a:off x="3767689" y="4880511"/>
              <a:ext cx="72406" cy="73677"/>
            </a:xfrm>
            <a:custGeom>
              <a:avLst/>
              <a:gdLst>
                <a:gd name="connsiteX0" fmla="*/ 0 w 72406"/>
                <a:gd name="connsiteY0" fmla="*/ 69867 h 73677"/>
                <a:gd name="connsiteX1" fmla="*/ 1270 w 72406"/>
                <a:gd name="connsiteY1" fmla="*/ 73678 h 73677"/>
                <a:gd name="connsiteX2" fmla="*/ 72406 w 72406"/>
                <a:gd name="connsiteY2" fmla="*/ 19055 h 73677"/>
                <a:gd name="connsiteX3" fmla="*/ 71136 w 72406"/>
                <a:gd name="connsiteY3" fmla="*/ 3811 h 73677"/>
                <a:gd name="connsiteX4" fmla="*/ 71136 w 72406"/>
                <a:gd name="connsiteY4" fmla="*/ 0 h 73677"/>
                <a:gd name="connsiteX5" fmla="*/ 0 w 72406"/>
                <a:gd name="connsiteY5" fmla="*/ 54623 h 7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06" h="73677">
                  <a:moveTo>
                    <a:pt x="0" y="69867"/>
                  </a:moveTo>
                  <a:lnTo>
                    <a:pt x="1270" y="73678"/>
                  </a:lnTo>
                  <a:lnTo>
                    <a:pt x="72406" y="19055"/>
                  </a:lnTo>
                  <a:lnTo>
                    <a:pt x="71136" y="3811"/>
                  </a:lnTo>
                  <a:lnTo>
                    <a:pt x="71136" y="0"/>
                  </a:lnTo>
                  <a:lnTo>
                    <a:pt x="0" y="54623"/>
                  </a:lnTo>
                  <a:close/>
                </a:path>
              </a:pathLst>
            </a:custGeom>
            <a:solidFill>
              <a:srgbClr val="000000"/>
            </a:solidFill>
            <a:ln w="12688"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80E62AFE-E626-4C86-97C2-86191A55A269}"/>
                </a:ext>
              </a:extLst>
            </p:cNvPr>
            <p:cNvSpPr/>
            <p:nvPr/>
          </p:nvSpPr>
          <p:spPr>
            <a:xfrm>
              <a:off x="1740301" y="6465851"/>
              <a:ext cx="19054" cy="7621"/>
            </a:xfrm>
            <a:custGeom>
              <a:avLst/>
              <a:gdLst>
                <a:gd name="connsiteX0" fmla="*/ 19054 w 19054"/>
                <a:gd name="connsiteY0" fmla="*/ 7622 h 7621"/>
                <a:gd name="connsiteX1" fmla="*/ 19054 w 19054"/>
                <a:gd name="connsiteY1" fmla="*/ 7622 h 7621"/>
                <a:gd name="connsiteX2" fmla="*/ 16514 w 19054"/>
                <a:gd name="connsiteY2" fmla="*/ 5081 h 7621"/>
                <a:gd name="connsiteX3" fmla="*/ 3811 w 19054"/>
                <a:gd name="connsiteY3" fmla="*/ 0 h 7621"/>
                <a:gd name="connsiteX4" fmla="*/ 0 w 19054"/>
                <a:gd name="connsiteY4" fmla="*/ 3811 h 7621"/>
                <a:gd name="connsiteX5" fmla="*/ 0 w 19054"/>
                <a:gd name="connsiteY5" fmla="*/ 3811 h 7621"/>
                <a:gd name="connsiteX6" fmla="*/ 1270 w 19054"/>
                <a:gd name="connsiteY6" fmla="*/ 3811 h 7621"/>
                <a:gd name="connsiteX7" fmla="*/ 2541 w 19054"/>
                <a:gd name="connsiteY7" fmla="*/ 2541 h 7621"/>
                <a:gd name="connsiteX8" fmla="*/ 3811 w 19054"/>
                <a:gd name="connsiteY8" fmla="*/ 2541 h 7621"/>
                <a:gd name="connsiteX9" fmla="*/ 5081 w 19054"/>
                <a:gd name="connsiteY9" fmla="*/ 2541 h 7621"/>
                <a:gd name="connsiteX10" fmla="*/ 6351 w 19054"/>
                <a:gd name="connsiteY10" fmla="*/ 2541 h 7621"/>
                <a:gd name="connsiteX11" fmla="*/ 7622 w 19054"/>
                <a:gd name="connsiteY11" fmla="*/ 2541 h 7621"/>
                <a:gd name="connsiteX12" fmla="*/ 19054 w 19054"/>
                <a:gd name="connsiteY12" fmla="*/ 7622 h 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4" h="7621">
                  <a:moveTo>
                    <a:pt x="19054" y="7622"/>
                  </a:moveTo>
                  <a:lnTo>
                    <a:pt x="19054" y="7622"/>
                  </a:lnTo>
                  <a:lnTo>
                    <a:pt x="16514" y="5081"/>
                  </a:lnTo>
                  <a:lnTo>
                    <a:pt x="3811" y="0"/>
                  </a:lnTo>
                  <a:lnTo>
                    <a:pt x="0" y="3811"/>
                  </a:lnTo>
                  <a:lnTo>
                    <a:pt x="0" y="3811"/>
                  </a:lnTo>
                  <a:lnTo>
                    <a:pt x="1270" y="3811"/>
                  </a:lnTo>
                  <a:lnTo>
                    <a:pt x="2541" y="2541"/>
                  </a:lnTo>
                  <a:lnTo>
                    <a:pt x="3811" y="2541"/>
                  </a:lnTo>
                  <a:lnTo>
                    <a:pt x="5081" y="2541"/>
                  </a:lnTo>
                  <a:lnTo>
                    <a:pt x="6351" y="2541"/>
                  </a:lnTo>
                  <a:lnTo>
                    <a:pt x="7622" y="2541"/>
                  </a:lnTo>
                  <a:lnTo>
                    <a:pt x="19054" y="7622"/>
                  </a:lnTo>
                  <a:close/>
                </a:path>
              </a:pathLst>
            </a:custGeom>
            <a:solidFill>
              <a:srgbClr val="000000"/>
            </a:solidFill>
            <a:ln w="12688"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D089D3E2-C5C0-4358-8C54-4B9E824ED309}"/>
                </a:ext>
              </a:extLst>
            </p:cNvPr>
            <p:cNvSpPr/>
            <p:nvPr/>
          </p:nvSpPr>
          <p:spPr>
            <a:xfrm>
              <a:off x="1727598" y="6449337"/>
              <a:ext cx="29216" cy="25406"/>
            </a:xfrm>
            <a:custGeom>
              <a:avLst/>
              <a:gdLst>
                <a:gd name="connsiteX0" fmla="*/ 27946 w 29216"/>
                <a:gd name="connsiteY0" fmla="*/ 21595 h 25406"/>
                <a:gd name="connsiteX1" fmla="*/ 27946 w 29216"/>
                <a:gd name="connsiteY1" fmla="*/ 21595 h 25406"/>
                <a:gd name="connsiteX2" fmla="*/ 25406 w 29216"/>
                <a:gd name="connsiteY2" fmla="*/ 20325 h 25406"/>
                <a:gd name="connsiteX3" fmla="*/ 24135 w 29216"/>
                <a:gd name="connsiteY3" fmla="*/ 19055 h 25406"/>
                <a:gd name="connsiteX4" fmla="*/ 24135 w 29216"/>
                <a:gd name="connsiteY4" fmla="*/ 17784 h 25406"/>
                <a:gd name="connsiteX5" fmla="*/ 24135 w 29216"/>
                <a:gd name="connsiteY5" fmla="*/ 16514 h 25406"/>
                <a:gd name="connsiteX6" fmla="*/ 24135 w 29216"/>
                <a:gd name="connsiteY6" fmla="*/ 16514 h 25406"/>
                <a:gd name="connsiteX7" fmla="*/ 24135 w 29216"/>
                <a:gd name="connsiteY7" fmla="*/ 16514 h 25406"/>
                <a:gd name="connsiteX8" fmla="*/ 22865 w 29216"/>
                <a:gd name="connsiteY8" fmla="*/ 5081 h 25406"/>
                <a:gd name="connsiteX9" fmla="*/ 8892 w 29216"/>
                <a:gd name="connsiteY9" fmla="*/ 0 h 25406"/>
                <a:gd name="connsiteX10" fmla="*/ 8892 w 29216"/>
                <a:gd name="connsiteY10" fmla="*/ 5081 h 25406"/>
                <a:gd name="connsiteX11" fmla="*/ 8892 w 29216"/>
                <a:gd name="connsiteY11" fmla="*/ 5081 h 25406"/>
                <a:gd name="connsiteX12" fmla="*/ 8892 w 29216"/>
                <a:gd name="connsiteY12" fmla="*/ 6352 h 25406"/>
                <a:gd name="connsiteX13" fmla="*/ 8892 w 29216"/>
                <a:gd name="connsiteY13" fmla="*/ 8892 h 25406"/>
                <a:gd name="connsiteX14" fmla="*/ 8892 w 29216"/>
                <a:gd name="connsiteY14" fmla="*/ 8892 h 25406"/>
                <a:gd name="connsiteX15" fmla="*/ 8892 w 29216"/>
                <a:gd name="connsiteY15" fmla="*/ 8892 h 25406"/>
                <a:gd name="connsiteX16" fmla="*/ 7622 w 29216"/>
                <a:gd name="connsiteY16" fmla="*/ 11433 h 25406"/>
                <a:gd name="connsiteX17" fmla="*/ 6351 w 29216"/>
                <a:gd name="connsiteY17" fmla="*/ 12703 h 25406"/>
                <a:gd name="connsiteX18" fmla="*/ 5081 w 29216"/>
                <a:gd name="connsiteY18" fmla="*/ 13973 h 25406"/>
                <a:gd name="connsiteX19" fmla="*/ 3811 w 29216"/>
                <a:gd name="connsiteY19" fmla="*/ 13973 h 25406"/>
                <a:gd name="connsiteX20" fmla="*/ 2541 w 29216"/>
                <a:gd name="connsiteY20" fmla="*/ 13973 h 25406"/>
                <a:gd name="connsiteX21" fmla="*/ 2541 w 29216"/>
                <a:gd name="connsiteY21" fmla="*/ 13973 h 25406"/>
                <a:gd name="connsiteX22" fmla="*/ 0 w 29216"/>
                <a:gd name="connsiteY22" fmla="*/ 13973 h 25406"/>
                <a:gd name="connsiteX23" fmla="*/ 0 w 29216"/>
                <a:gd name="connsiteY23" fmla="*/ 13973 h 25406"/>
                <a:gd name="connsiteX24" fmla="*/ 0 w 29216"/>
                <a:gd name="connsiteY24" fmla="*/ 13973 h 25406"/>
                <a:gd name="connsiteX25" fmla="*/ 16514 w 29216"/>
                <a:gd name="connsiteY25" fmla="*/ 20325 h 25406"/>
                <a:gd name="connsiteX26" fmla="*/ 29217 w 29216"/>
                <a:gd name="connsiteY26" fmla="*/ 25406 h 25406"/>
                <a:gd name="connsiteX27" fmla="*/ 27946 w 29216"/>
                <a:gd name="connsiteY27" fmla="*/ 21595 h 2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216" h="25406">
                  <a:moveTo>
                    <a:pt x="27946" y="21595"/>
                  </a:moveTo>
                  <a:lnTo>
                    <a:pt x="27946" y="21595"/>
                  </a:lnTo>
                  <a:cubicBezTo>
                    <a:pt x="26676" y="20325"/>
                    <a:pt x="26676" y="20325"/>
                    <a:pt x="25406" y="20325"/>
                  </a:cubicBezTo>
                  <a:cubicBezTo>
                    <a:pt x="25406" y="20325"/>
                    <a:pt x="25406" y="19055"/>
                    <a:pt x="24135" y="19055"/>
                  </a:cubicBezTo>
                  <a:cubicBezTo>
                    <a:pt x="24135" y="19055"/>
                    <a:pt x="24135" y="17784"/>
                    <a:pt x="24135" y="17784"/>
                  </a:cubicBezTo>
                  <a:cubicBezTo>
                    <a:pt x="24135" y="17784"/>
                    <a:pt x="24135" y="17784"/>
                    <a:pt x="24135" y="16514"/>
                  </a:cubicBezTo>
                  <a:lnTo>
                    <a:pt x="24135" y="16514"/>
                  </a:lnTo>
                  <a:lnTo>
                    <a:pt x="24135" y="16514"/>
                  </a:lnTo>
                  <a:lnTo>
                    <a:pt x="22865" y="5081"/>
                  </a:lnTo>
                  <a:lnTo>
                    <a:pt x="8892" y="0"/>
                  </a:lnTo>
                  <a:lnTo>
                    <a:pt x="8892" y="5081"/>
                  </a:lnTo>
                  <a:lnTo>
                    <a:pt x="8892" y="5081"/>
                  </a:lnTo>
                  <a:cubicBezTo>
                    <a:pt x="8892" y="5081"/>
                    <a:pt x="8892" y="6352"/>
                    <a:pt x="8892" y="6352"/>
                  </a:cubicBezTo>
                  <a:cubicBezTo>
                    <a:pt x="8892" y="7622"/>
                    <a:pt x="8892" y="7622"/>
                    <a:pt x="8892" y="8892"/>
                  </a:cubicBezTo>
                  <a:lnTo>
                    <a:pt x="8892" y="8892"/>
                  </a:lnTo>
                  <a:lnTo>
                    <a:pt x="8892" y="8892"/>
                  </a:lnTo>
                  <a:cubicBezTo>
                    <a:pt x="8892" y="10162"/>
                    <a:pt x="7622" y="10162"/>
                    <a:pt x="7622" y="11433"/>
                  </a:cubicBezTo>
                  <a:cubicBezTo>
                    <a:pt x="7622" y="11433"/>
                    <a:pt x="7622" y="11433"/>
                    <a:pt x="6351" y="12703"/>
                  </a:cubicBezTo>
                  <a:cubicBezTo>
                    <a:pt x="6351" y="12703"/>
                    <a:pt x="5081" y="13973"/>
                    <a:pt x="5081" y="13973"/>
                  </a:cubicBezTo>
                  <a:lnTo>
                    <a:pt x="3811" y="13973"/>
                  </a:lnTo>
                  <a:lnTo>
                    <a:pt x="2541" y="13973"/>
                  </a:lnTo>
                  <a:lnTo>
                    <a:pt x="2541" y="13973"/>
                  </a:lnTo>
                  <a:lnTo>
                    <a:pt x="0" y="13973"/>
                  </a:lnTo>
                  <a:lnTo>
                    <a:pt x="0" y="13973"/>
                  </a:lnTo>
                  <a:lnTo>
                    <a:pt x="0" y="13973"/>
                  </a:lnTo>
                  <a:lnTo>
                    <a:pt x="16514" y="20325"/>
                  </a:lnTo>
                  <a:lnTo>
                    <a:pt x="29217" y="25406"/>
                  </a:lnTo>
                  <a:lnTo>
                    <a:pt x="27946" y="21595"/>
                  </a:lnTo>
                  <a:close/>
                </a:path>
              </a:pathLst>
            </a:custGeom>
            <a:solidFill>
              <a:srgbClr val="000000"/>
            </a:solidFill>
            <a:ln w="12688"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8A8E654-94AA-428C-9645-57C22174B7CB}"/>
                </a:ext>
              </a:extLst>
            </p:cNvPr>
            <p:cNvSpPr/>
            <p:nvPr/>
          </p:nvSpPr>
          <p:spPr>
            <a:xfrm>
              <a:off x="6063108" y="5147275"/>
              <a:ext cx="21595" cy="301062"/>
            </a:xfrm>
            <a:custGeom>
              <a:avLst/>
              <a:gdLst>
                <a:gd name="connsiteX0" fmla="*/ 19054 w 21595"/>
                <a:gd name="connsiteY0" fmla="*/ 2540 h 301062"/>
                <a:gd name="connsiteX1" fmla="*/ 17784 w 21595"/>
                <a:gd name="connsiteY1" fmla="*/ 3811 h 301062"/>
                <a:gd name="connsiteX2" fmla="*/ 16514 w 21595"/>
                <a:gd name="connsiteY2" fmla="*/ 3811 h 301062"/>
                <a:gd name="connsiteX3" fmla="*/ 12703 w 21595"/>
                <a:gd name="connsiteY3" fmla="*/ 3811 h 301062"/>
                <a:gd name="connsiteX4" fmla="*/ 7622 w 21595"/>
                <a:gd name="connsiteY4" fmla="*/ 2540 h 301062"/>
                <a:gd name="connsiteX5" fmla="*/ 0 w 21595"/>
                <a:gd name="connsiteY5" fmla="*/ 297251 h 301062"/>
                <a:gd name="connsiteX6" fmla="*/ 8892 w 21595"/>
                <a:gd name="connsiteY6" fmla="*/ 299792 h 301062"/>
                <a:gd name="connsiteX7" fmla="*/ 13973 w 21595"/>
                <a:gd name="connsiteY7" fmla="*/ 301062 h 301062"/>
                <a:gd name="connsiteX8" fmla="*/ 21595 w 21595"/>
                <a:gd name="connsiteY8" fmla="*/ 0 h 301062"/>
                <a:gd name="connsiteX9" fmla="*/ 19054 w 21595"/>
                <a:gd name="connsiteY9" fmla="*/ 2540 h 301062"/>
                <a:gd name="connsiteX10" fmla="*/ 19054 w 21595"/>
                <a:gd name="connsiteY10" fmla="*/ 2540 h 30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95" h="301062">
                  <a:moveTo>
                    <a:pt x="19054" y="2540"/>
                  </a:moveTo>
                  <a:lnTo>
                    <a:pt x="17784" y="3811"/>
                  </a:lnTo>
                  <a:lnTo>
                    <a:pt x="16514" y="3811"/>
                  </a:lnTo>
                  <a:lnTo>
                    <a:pt x="12703" y="3811"/>
                  </a:lnTo>
                  <a:lnTo>
                    <a:pt x="7622" y="2540"/>
                  </a:lnTo>
                  <a:lnTo>
                    <a:pt x="0" y="297251"/>
                  </a:lnTo>
                  <a:lnTo>
                    <a:pt x="8892" y="299792"/>
                  </a:lnTo>
                  <a:lnTo>
                    <a:pt x="13973" y="301062"/>
                  </a:lnTo>
                  <a:lnTo>
                    <a:pt x="21595" y="0"/>
                  </a:lnTo>
                  <a:lnTo>
                    <a:pt x="19054" y="2540"/>
                  </a:lnTo>
                  <a:lnTo>
                    <a:pt x="19054" y="2540"/>
                  </a:lnTo>
                  <a:close/>
                </a:path>
              </a:pathLst>
            </a:custGeom>
            <a:solidFill>
              <a:srgbClr val="000000"/>
            </a:solidFill>
            <a:ln w="12688"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9CB3AFEC-D120-44A7-AB77-1C072BF884CB}"/>
                </a:ext>
              </a:extLst>
            </p:cNvPr>
            <p:cNvSpPr/>
            <p:nvPr/>
          </p:nvSpPr>
          <p:spPr>
            <a:xfrm>
              <a:off x="6717309" y="5461040"/>
              <a:ext cx="2858" cy="10162"/>
            </a:xfrm>
            <a:custGeom>
              <a:avLst/>
              <a:gdLst>
                <a:gd name="connsiteX0" fmla="*/ 0 w 2858"/>
                <a:gd name="connsiteY0" fmla="*/ 0 h 10162"/>
                <a:gd name="connsiteX1" fmla="*/ 0 w 2858"/>
                <a:gd name="connsiteY1" fmla="*/ 10163 h 10162"/>
                <a:gd name="connsiteX2" fmla="*/ 0 w 2858"/>
                <a:gd name="connsiteY2" fmla="*/ 0 h 10162"/>
              </a:gdLst>
              <a:ahLst/>
              <a:cxnLst>
                <a:cxn ang="0">
                  <a:pos x="connsiteX0" y="connsiteY0"/>
                </a:cxn>
                <a:cxn ang="0">
                  <a:pos x="connsiteX1" y="connsiteY1"/>
                </a:cxn>
                <a:cxn ang="0">
                  <a:pos x="connsiteX2" y="connsiteY2"/>
                </a:cxn>
              </a:cxnLst>
              <a:rect l="l" t="t" r="r" b="b"/>
              <a:pathLst>
                <a:path w="2858" h="10162">
                  <a:moveTo>
                    <a:pt x="0" y="0"/>
                  </a:moveTo>
                  <a:lnTo>
                    <a:pt x="0" y="10163"/>
                  </a:lnTo>
                  <a:cubicBezTo>
                    <a:pt x="3811" y="7622"/>
                    <a:pt x="3811" y="2541"/>
                    <a:pt x="0" y="0"/>
                  </a:cubicBezTo>
                  <a:close/>
                </a:path>
              </a:pathLst>
            </a:custGeom>
            <a:solidFill>
              <a:srgbClr val="000000"/>
            </a:solidFill>
            <a:ln w="12688"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B427BC00-D113-44AB-B230-2F9B13B5BFFB}"/>
                </a:ext>
              </a:extLst>
            </p:cNvPr>
            <p:cNvSpPr/>
            <p:nvPr/>
          </p:nvSpPr>
          <p:spPr>
            <a:xfrm>
              <a:off x="6425141" y="484113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D12E222A-59DF-415B-86D5-3DBB79DEEE6A}"/>
                </a:ext>
              </a:extLst>
            </p:cNvPr>
            <p:cNvSpPr/>
            <p:nvPr/>
          </p:nvSpPr>
          <p:spPr>
            <a:xfrm>
              <a:off x="6075811" y="4850023"/>
              <a:ext cx="349330" cy="299792"/>
            </a:xfrm>
            <a:custGeom>
              <a:avLst/>
              <a:gdLst>
                <a:gd name="connsiteX0" fmla="*/ 327736 w 349330"/>
                <a:gd name="connsiteY0" fmla="*/ 0 h 299792"/>
                <a:gd name="connsiteX1" fmla="*/ 0 w 349330"/>
                <a:gd name="connsiteY1" fmla="*/ 285819 h 299792"/>
                <a:gd name="connsiteX2" fmla="*/ 3811 w 349330"/>
                <a:gd name="connsiteY2" fmla="*/ 287089 h 299792"/>
                <a:gd name="connsiteX3" fmla="*/ 8892 w 349330"/>
                <a:gd name="connsiteY3" fmla="*/ 295981 h 299792"/>
                <a:gd name="connsiteX4" fmla="*/ 6351 w 349330"/>
                <a:gd name="connsiteY4" fmla="*/ 299792 h 299792"/>
                <a:gd name="connsiteX5" fmla="*/ 6351 w 349330"/>
                <a:gd name="connsiteY5" fmla="*/ 299792 h 299792"/>
                <a:gd name="connsiteX6" fmla="*/ 8892 w 349330"/>
                <a:gd name="connsiteY6" fmla="*/ 297252 h 299792"/>
                <a:gd name="connsiteX7" fmla="*/ 349331 w 349330"/>
                <a:gd name="connsiteY7" fmla="*/ 2541 h 299792"/>
                <a:gd name="connsiteX8" fmla="*/ 349331 w 349330"/>
                <a:gd name="connsiteY8" fmla="*/ 2541 h 299792"/>
                <a:gd name="connsiteX9" fmla="*/ 341709 w 349330"/>
                <a:gd name="connsiteY9" fmla="*/ 5082 h 299792"/>
                <a:gd name="connsiteX10" fmla="*/ 327736 w 349330"/>
                <a:gd name="connsiteY10" fmla="*/ 0 h 29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330" h="299792">
                  <a:moveTo>
                    <a:pt x="327736" y="0"/>
                  </a:moveTo>
                  <a:lnTo>
                    <a:pt x="0" y="285819"/>
                  </a:lnTo>
                  <a:lnTo>
                    <a:pt x="3811" y="287089"/>
                  </a:lnTo>
                  <a:cubicBezTo>
                    <a:pt x="7622" y="288359"/>
                    <a:pt x="10163" y="292170"/>
                    <a:pt x="8892" y="295981"/>
                  </a:cubicBezTo>
                  <a:cubicBezTo>
                    <a:pt x="8892" y="297252"/>
                    <a:pt x="7622" y="298522"/>
                    <a:pt x="6351" y="299792"/>
                  </a:cubicBezTo>
                  <a:lnTo>
                    <a:pt x="6351" y="299792"/>
                  </a:lnTo>
                  <a:lnTo>
                    <a:pt x="8892" y="297252"/>
                  </a:lnTo>
                  <a:lnTo>
                    <a:pt x="349331" y="2541"/>
                  </a:lnTo>
                  <a:lnTo>
                    <a:pt x="349331" y="2541"/>
                  </a:lnTo>
                  <a:cubicBezTo>
                    <a:pt x="348061" y="3811"/>
                    <a:pt x="344249" y="5082"/>
                    <a:pt x="341709" y="5082"/>
                  </a:cubicBezTo>
                  <a:lnTo>
                    <a:pt x="327736" y="0"/>
                  </a:lnTo>
                  <a:close/>
                </a:path>
              </a:pathLst>
            </a:custGeom>
            <a:solidFill>
              <a:srgbClr val="000000"/>
            </a:solidFill>
            <a:ln w="12688"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79D4BFE9-4D1D-4BA4-A9A9-EB7B75933C48}"/>
                </a:ext>
              </a:extLst>
            </p:cNvPr>
            <p:cNvSpPr/>
            <p:nvPr/>
          </p:nvSpPr>
          <p:spPr>
            <a:xfrm>
              <a:off x="5831915" y="506597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FF13C13F-77D8-4031-A2DF-CF2FE3ECE661}"/>
                </a:ext>
              </a:extLst>
            </p:cNvPr>
            <p:cNvSpPr/>
            <p:nvPr/>
          </p:nvSpPr>
          <p:spPr>
            <a:xfrm>
              <a:off x="5834455" y="5065975"/>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432DDE-9E95-4491-B9FC-60AE3206CCD3}"/>
                </a:ext>
              </a:extLst>
            </p:cNvPr>
            <p:cNvSpPr/>
            <p:nvPr/>
          </p:nvSpPr>
          <p:spPr>
            <a:xfrm>
              <a:off x="5836996" y="5065975"/>
              <a:ext cx="246767" cy="85110"/>
            </a:xfrm>
            <a:custGeom>
              <a:avLst/>
              <a:gdLst>
                <a:gd name="connsiteX0" fmla="*/ 0 w 246767"/>
                <a:gd name="connsiteY0" fmla="*/ 0 h 85110"/>
                <a:gd name="connsiteX1" fmla="*/ 0 w 246767"/>
                <a:gd name="connsiteY1" fmla="*/ 0 h 85110"/>
                <a:gd name="connsiteX2" fmla="*/ 1270 w 246767"/>
                <a:gd name="connsiteY2" fmla="*/ 0 h 85110"/>
                <a:gd name="connsiteX3" fmla="*/ 2541 w 246767"/>
                <a:gd name="connsiteY3" fmla="*/ 1270 h 85110"/>
                <a:gd name="connsiteX4" fmla="*/ 3811 w 246767"/>
                <a:gd name="connsiteY4" fmla="*/ 2541 h 85110"/>
                <a:gd name="connsiteX5" fmla="*/ 3811 w 246767"/>
                <a:gd name="connsiteY5" fmla="*/ 2541 h 85110"/>
                <a:gd name="connsiteX6" fmla="*/ 3811 w 246767"/>
                <a:gd name="connsiteY6" fmla="*/ 3811 h 85110"/>
                <a:gd name="connsiteX7" fmla="*/ 5081 w 246767"/>
                <a:gd name="connsiteY7" fmla="*/ 5082 h 85110"/>
                <a:gd name="connsiteX8" fmla="*/ 5081 w 246767"/>
                <a:gd name="connsiteY8" fmla="*/ 6352 h 85110"/>
                <a:gd name="connsiteX9" fmla="*/ 5081 w 246767"/>
                <a:gd name="connsiteY9" fmla="*/ 7622 h 85110"/>
                <a:gd name="connsiteX10" fmla="*/ 5081 w 246767"/>
                <a:gd name="connsiteY10" fmla="*/ 17785 h 85110"/>
                <a:gd name="connsiteX11" fmla="*/ 232463 w 246767"/>
                <a:gd name="connsiteY11" fmla="*/ 83840 h 85110"/>
                <a:gd name="connsiteX12" fmla="*/ 237545 w 246767"/>
                <a:gd name="connsiteY12" fmla="*/ 85111 h 85110"/>
                <a:gd name="connsiteX13" fmla="*/ 241356 w 246767"/>
                <a:gd name="connsiteY13" fmla="*/ 85111 h 85110"/>
                <a:gd name="connsiteX14" fmla="*/ 242626 w 246767"/>
                <a:gd name="connsiteY14" fmla="*/ 85111 h 85110"/>
                <a:gd name="connsiteX15" fmla="*/ 243896 w 246767"/>
                <a:gd name="connsiteY15" fmla="*/ 83840 h 85110"/>
                <a:gd name="connsiteX16" fmla="*/ 246437 w 246767"/>
                <a:gd name="connsiteY16" fmla="*/ 80029 h 85110"/>
                <a:gd name="connsiteX17" fmla="*/ 241356 w 246767"/>
                <a:gd name="connsiteY17" fmla="*/ 71137 h 85110"/>
                <a:gd name="connsiteX18" fmla="*/ 237545 w 246767"/>
                <a:gd name="connsiteY18" fmla="*/ 69867 h 85110"/>
                <a:gd name="connsiteX19" fmla="*/ 0 w 246767"/>
                <a:gd name="connsiteY19" fmla="*/ 0 h 85110"/>
                <a:gd name="connsiteX20" fmla="*/ 0 w 246767"/>
                <a:gd name="connsiteY20" fmla="*/ 0 h 8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767" h="85110">
                  <a:moveTo>
                    <a:pt x="0" y="0"/>
                  </a:moveTo>
                  <a:lnTo>
                    <a:pt x="0" y="0"/>
                  </a:lnTo>
                  <a:lnTo>
                    <a:pt x="1270" y="0"/>
                  </a:lnTo>
                  <a:cubicBezTo>
                    <a:pt x="1270" y="0"/>
                    <a:pt x="1270" y="0"/>
                    <a:pt x="2541" y="1270"/>
                  </a:cubicBezTo>
                  <a:lnTo>
                    <a:pt x="3811" y="2541"/>
                  </a:lnTo>
                  <a:lnTo>
                    <a:pt x="3811" y="2541"/>
                  </a:lnTo>
                  <a:cubicBezTo>
                    <a:pt x="3811" y="2541"/>
                    <a:pt x="3811" y="2541"/>
                    <a:pt x="3811" y="3811"/>
                  </a:cubicBezTo>
                  <a:cubicBezTo>
                    <a:pt x="3811" y="3811"/>
                    <a:pt x="3811" y="5082"/>
                    <a:pt x="5081" y="5082"/>
                  </a:cubicBezTo>
                  <a:cubicBezTo>
                    <a:pt x="5081" y="5082"/>
                    <a:pt x="5081" y="6352"/>
                    <a:pt x="5081" y="6352"/>
                  </a:cubicBezTo>
                  <a:cubicBezTo>
                    <a:pt x="5081" y="6352"/>
                    <a:pt x="5081" y="7622"/>
                    <a:pt x="5081" y="7622"/>
                  </a:cubicBezTo>
                  <a:lnTo>
                    <a:pt x="5081" y="17785"/>
                  </a:lnTo>
                  <a:lnTo>
                    <a:pt x="232463" y="83840"/>
                  </a:lnTo>
                  <a:lnTo>
                    <a:pt x="237545" y="85111"/>
                  </a:lnTo>
                  <a:lnTo>
                    <a:pt x="241356" y="85111"/>
                  </a:lnTo>
                  <a:lnTo>
                    <a:pt x="242626" y="85111"/>
                  </a:lnTo>
                  <a:lnTo>
                    <a:pt x="243896" y="83840"/>
                  </a:lnTo>
                  <a:cubicBezTo>
                    <a:pt x="245166" y="82570"/>
                    <a:pt x="246437" y="81300"/>
                    <a:pt x="246437" y="80029"/>
                  </a:cubicBezTo>
                  <a:cubicBezTo>
                    <a:pt x="247707" y="76218"/>
                    <a:pt x="245166" y="72408"/>
                    <a:pt x="241356" y="71137"/>
                  </a:cubicBezTo>
                  <a:lnTo>
                    <a:pt x="237545" y="69867"/>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C6B509BF-0242-4C04-B23C-AAF184854524}"/>
                </a:ext>
              </a:extLst>
            </p:cNvPr>
            <p:cNvSpPr/>
            <p:nvPr/>
          </p:nvSpPr>
          <p:spPr>
            <a:xfrm>
              <a:off x="5149767" y="3987486"/>
              <a:ext cx="19054" cy="1189005"/>
            </a:xfrm>
            <a:custGeom>
              <a:avLst/>
              <a:gdLst>
                <a:gd name="connsiteX0" fmla="*/ 19054 w 19054"/>
                <a:gd name="connsiteY0" fmla="*/ 3811 h 1189005"/>
                <a:gd name="connsiteX1" fmla="*/ 10163 w 19054"/>
                <a:gd name="connsiteY1" fmla="*/ 1270 h 1189005"/>
                <a:gd name="connsiteX2" fmla="*/ 3811 w 19054"/>
                <a:gd name="connsiteY2" fmla="*/ 0 h 1189005"/>
                <a:gd name="connsiteX3" fmla="*/ 0 w 19054"/>
                <a:gd name="connsiteY3" fmla="*/ 1183924 h 1189005"/>
                <a:gd name="connsiteX4" fmla="*/ 8892 w 19054"/>
                <a:gd name="connsiteY4" fmla="*/ 1186465 h 1189005"/>
                <a:gd name="connsiteX5" fmla="*/ 13973 w 19054"/>
                <a:gd name="connsiteY5" fmla="*/ 1189006 h 11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4" h="1189005">
                  <a:moveTo>
                    <a:pt x="19054" y="3811"/>
                  </a:moveTo>
                  <a:lnTo>
                    <a:pt x="10163" y="1270"/>
                  </a:lnTo>
                  <a:lnTo>
                    <a:pt x="3811" y="0"/>
                  </a:lnTo>
                  <a:lnTo>
                    <a:pt x="0" y="1183924"/>
                  </a:lnTo>
                  <a:lnTo>
                    <a:pt x="8892" y="1186465"/>
                  </a:lnTo>
                  <a:lnTo>
                    <a:pt x="13973" y="1189006"/>
                  </a:lnTo>
                  <a:close/>
                </a:path>
              </a:pathLst>
            </a:custGeom>
            <a:solidFill>
              <a:srgbClr val="000000"/>
            </a:solidFill>
            <a:ln w="1268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A2CD66C6-5E9F-4DE6-9622-7254605CDB02}"/>
                </a:ext>
              </a:extLst>
            </p:cNvPr>
            <p:cNvSpPr/>
            <p:nvPr/>
          </p:nvSpPr>
          <p:spPr>
            <a:xfrm>
              <a:off x="4449836" y="5730345"/>
              <a:ext cx="50811" cy="45731"/>
            </a:xfrm>
            <a:custGeom>
              <a:avLst/>
              <a:gdLst>
                <a:gd name="connsiteX0" fmla="*/ 0 w 50811"/>
                <a:gd name="connsiteY0" fmla="*/ 34298 h 45731"/>
                <a:gd name="connsiteX1" fmla="*/ 0 w 50811"/>
                <a:gd name="connsiteY1" fmla="*/ 34298 h 45731"/>
                <a:gd name="connsiteX2" fmla="*/ 2541 w 50811"/>
                <a:gd name="connsiteY2" fmla="*/ 34298 h 45731"/>
                <a:gd name="connsiteX3" fmla="*/ 3811 w 50811"/>
                <a:gd name="connsiteY3" fmla="*/ 34298 h 45731"/>
                <a:gd name="connsiteX4" fmla="*/ 5081 w 50811"/>
                <a:gd name="connsiteY4" fmla="*/ 34298 h 45731"/>
                <a:gd name="connsiteX5" fmla="*/ 6351 w 50811"/>
                <a:gd name="connsiteY5" fmla="*/ 34298 h 45731"/>
                <a:gd name="connsiteX6" fmla="*/ 7622 w 50811"/>
                <a:gd name="connsiteY6" fmla="*/ 34298 h 45731"/>
                <a:gd name="connsiteX7" fmla="*/ 8892 w 50811"/>
                <a:gd name="connsiteY7" fmla="*/ 35568 h 45731"/>
                <a:gd name="connsiteX8" fmla="*/ 10163 w 50811"/>
                <a:gd name="connsiteY8" fmla="*/ 36839 h 45731"/>
                <a:gd name="connsiteX9" fmla="*/ 10163 w 50811"/>
                <a:gd name="connsiteY9" fmla="*/ 36839 h 45731"/>
                <a:gd name="connsiteX10" fmla="*/ 10163 w 50811"/>
                <a:gd name="connsiteY10" fmla="*/ 38109 h 45731"/>
                <a:gd name="connsiteX11" fmla="*/ 11433 w 50811"/>
                <a:gd name="connsiteY11" fmla="*/ 39380 h 45731"/>
                <a:gd name="connsiteX12" fmla="*/ 11433 w 50811"/>
                <a:gd name="connsiteY12" fmla="*/ 40650 h 45731"/>
                <a:gd name="connsiteX13" fmla="*/ 11433 w 50811"/>
                <a:gd name="connsiteY13" fmla="*/ 41920 h 45731"/>
                <a:gd name="connsiteX14" fmla="*/ 11433 w 50811"/>
                <a:gd name="connsiteY14" fmla="*/ 45731 h 45731"/>
                <a:gd name="connsiteX15" fmla="*/ 50812 w 50811"/>
                <a:gd name="connsiteY15" fmla="*/ 12703 h 45731"/>
                <a:gd name="connsiteX16" fmla="*/ 50812 w 50811"/>
                <a:gd name="connsiteY16" fmla="*/ 2540 h 45731"/>
                <a:gd name="connsiteX17" fmla="*/ 43190 w 50811"/>
                <a:gd name="connsiteY17" fmla="*/ 0 h 45731"/>
                <a:gd name="connsiteX18" fmla="*/ 0 w 50811"/>
                <a:gd name="connsiteY18" fmla="*/ 34298 h 4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811" h="45731">
                  <a:moveTo>
                    <a:pt x="0" y="34298"/>
                  </a:moveTo>
                  <a:lnTo>
                    <a:pt x="0" y="34298"/>
                  </a:lnTo>
                  <a:lnTo>
                    <a:pt x="2541" y="34298"/>
                  </a:lnTo>
                  <a:lnTo>
                    <a:pt x="3811" y="34298"/>
                  </a:lnTo>
                  <a:lnTo>
                    <a:pt x="5081" y="34298"/>
                  </a:lnTo>
                  <a:cubicBezTo>
                    <a:pt x="5081" y="34298"/>
                    <a:pt x="6351" y="34298"/>
                    <a:pt x="6351" y="34298"/>
                  </a:cubicBezTo>
                  <a:lnTo>
                    <a:pt x="7622" y="34298"/>
                  </a:lnTo>
                  <a:lnTo>
                    <a:pt x="8892" y="35568"/>
                  </a:lnTo>
                  <a:lnTo>
                    <a:pt x="10163" y="36839"/>
                  </a:lnTo>
                  <a:lnTo>
                    <a:pt x="10163" y="36839"/>
                  </a:lnTo>
                  <a:cubicBezTo>
                    <a:pt x="10163" y="36839"/>
                    <a:pt x="10163" y="36839"/>
                    <a:pt x="10163" y="38109"/>
                  </a:cubicBezTo>
                  <a:lnTo>
                    <a:pt x="11433" y="39380"/>
                  </a:lnTo>
                  <a:cubicBezTo>
                    <a:pt x="11433" y="39380"/>
                    <a:pt x="11433" y="40650"/>
                    <a:pt x="11433" y="40650"/>
                  </a:cubicBezTo>
                  <a:cubicBezTo>
                    <a:pt x="11433" y="40650"/>
                    <a:pt x="11433" y="41920"/>
                    <a:pt x="11433" y="41920"/>
                  </a:cubicBezTo>
                  <a:lnTo>
                    <a:pt x="11433" y="45731"/>
                  </a:lnTo>
                  <a:lnTo>
                    <a:pt x="50812" y="12703"/>
                  </a:lnTo>
                  <a:lnTo>
                    <a:pt x="50812" y="2540"/>
                  </a:lnTo>
                  <a:lnTo>
                    <a:pt x="43190" y="0"/>
                  </a:lnTo>
                  <a:lnTo>
                    <a:pt x="0" y="34298"/>
                  </a:lnTo>
                  <a:close/>
                </a:path>
              </a:pathLst>
            </a:custGeom>
            <a:solidFill>
              <a:srgbClr val="000000"/>
            </a:solidFill>
            <a:ln w="1268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D0C882E0-FE12-44D9-98EC-0896143D1EAE}"/>
                </a:ext>
              </a:extLst>
            </p:cNvPr>
            <p:cNvSpPr/>
            <p:nvPr/>
          </p:nvSpPr>
          <p:spPr>
            <a:xfrm>
              <a:off x="5831915" y="506597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FEA029BD-C845-4801-A50A-D5E9B174CE5F}"/>
                </a:ext>
              </a:extLst>
            </p:cNvPr>
            <p:cNvSpPr/>
            <p:nvPr/>
          </p:nvSpPr>
          <p:spPr>
            <a:xfrm>
              <a:off x="5821752" y="5071057"/>
              <a:ext cx="20324" cy="304873"/>
            </a:xfrm>
            <a:custGeom>
              <a:avLst/>
              <a:gdLst>
                <a:gd name="connsiteX0" fmla="*/ 5081 w 20324"/>
                <a:gd name="connsiteY0" fmla="*/ 19055 h 304873"/>
                <a:gd name="connsiteX1" fmla="*/ 0 w 20324"/>
                <a:gd name="connsiteY1" fmla="*/ 301062 h 304873"/>
                <a:gd name="connsiteX2" fmla="*/ 8892 w 20324"/>
                <a:gd name="connsiteY2" fmla="*/ 303603 h 304873"/>
                <a:gd name="connsiteX3" fmla="*/ 13973 w 20324"/>
                <a:gd name="connsiteY3" fmla="*/ 304873 h 304873"/>
                <a:gd name="connsiteX4" fmla="*/ 20325 w 20324"/>
                <a:gd name="connsiteY4" fmla="*/ 11433 h 304873"/>
                <a:gd name="connsiteX5" fmla="*/ 20325 w 20324"/>
                <a:gd name="connsiteY5" fmla="*/ 1270 h 304873"/>
                <a:gd name="connsiteX6" fmla="*/ 20325 w 20324"/>
                <a:gd name="connsiteY6" fmla="*/ 0 h 304873"/>
                <a:gd name="connsiteX7" fmla="*/ 17784 w 20324"/>
                <a:gd name="connsiteY7" fmla="*/ 6352 h 304873"/>
                <a:gd name="connsiteX8" fmla="*/ 5081 w 20324"/>
                <a:gd name="connsiteY8" fmla="*/ 19055 h 30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24" h="304873">
                  <a:moveTo>
                    <a:pt x="5081" y="19055"/>
                  </a:moveTo>
                  <a:lnTo>
                    <a:pt x="0" y="301062"/>
                  </a:lnTo>
                  <a:lnTo>
                    <a:pt x="8892" y="303603"/>
                  </a:lnTo>
                  <a:lnTo>
                    <a:pt x="13973" y="304873"/>
                  </a:lnTo>
                  <a:lnTo>
                    <a:pt x="20325" y="11433"/>
                  </a:lnTo>
                  <a:lnTo>
                    <a:pt x="20325" y="1270"/>
                  </a:lnTo>
                  <a:cubicBezTo>
                    <a:pt x="20325" y="1270"/>
                    <a:pt x="20325" y="0"/>
                    <a:pt x="20325" y="0"/>
                  </a:cubicBezTo>
                  <a:cubicBezTo>
                    <a:pt x="20325" y="2540"/>
                    <a:pt x="20325" y="5081"/>
                    <a:pt x="17784" y="6352"/>
                  </a:cubicBezTo>
                  <a:lnTo>
                    <a:pt x="5081" y="19055"/>
                  </a:lnTo>
                  <a:close/>
                </a:path>
              </a:pathLst>
            </a:custGeom>
            <a:solidFill>
              <a:srgbClr val="000000"/>
            </a:solidFill>
            <a:ln w="1268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24967668-5955-4485-861A-D1722F85F528}"/>
                </a:ext>
              </a:extLst>
            </p:cNvPr>
            <p:cNvSpPr/>
            <p:nvPr/>
          </p:nvSpPr>
          <p:spPr>
            <a:xfrm>
              <a:off x="5834455" y="5065975"/>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lnTo>
                    <a:pt x="1270" y="0"/>
                  </a:lnTo>
                  <a:close/>
                </a:path>
              </a:pathLst>
            </a:custGeom>
            <a:solidFill>
              <a:srgbClr val="000000"/>
            </a:solidFill>
            <a:ln w="1268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E731D471-DC6B-452A-A885-284554C13E0A}"/>
                </a:ext>
              </a:extLst>
            </p:cNvPr>
            <p:cNvSpPr/>
            <p:nvPr/>
          </p:nvSpPr>
          <p:spPr>
            <a:xfrm>
              <a:off x="5563883" y="5064705"/>
              <a:ext cx="279464" cy="235006"/>
            </a:xfrm>
            <a:custGeom>
              <a:avLst/>
              <a:gdLst>
                <a:gd name="connsiteX0" fmla="*/ 17784 w 279464"/>
                <a:gd name="connsiteY0" fmla="*/ 235006 h 235006"/>
                <a:gd name="connsiteX1" fmla="*/ 264221 w 279464"/>
                <a:gd name="connsiteY1" fmla="*/ 24136 h 235006"/>
                <a:gd name="connsiteX2" fmla="*/ 276924 w 279464"/>
                <a:gd name="connsiteY2" fmla="*/ 12703 h 235006"/>
                <a:gd name="connsiteX3" fmla="*/ 279464 w 279464"/>
                <a:gd name="connsiteY3" fmla="*/ 6352 h 235006"/>
                <a:gd name="connsiteX4" fmla="*/ 279464 w 279464"/>
                <a:gd name="connsiteY4" fmla="*/ 5081 h 235006"/>
                <a:gd name="connsiteX5" fmla="*/ 278194 w 279464"/>
                <a:gd name="connsiteY5" fmla="*/ 3811 h 235006"/>
                <a:gd name="connsiteX6" fmla="*/ 278194 w 279464"/>
                <a:gd name="connsiteY6" fmla="*/ 2540 h 235006"/>
                <a:gd name="connsiteX7" fmla="*/ 278194 w 279464"/>
                <a:gd name="connsiteY7" fmla="*/ 2540 h 235006"/>
                <a:gd name="connsiteX8" fmla="*/ 276924 w 279464"/>
                <a:gd name="connsiteY8" fmla="*/ 1270 h 235006"/>
                <a:gd name="connsiteX9" fmla="*/ 275654 w 279464"/>
                <a:gd name="connsiteY9" fmla="*/ 0 h 235006"/>
                <a:gd name="connsiteX10" fmla="*/ 274383 w 279464"/>
                <a:gd name="connsiteY10" fmla="*/ 0 h 235006"/>
                <a:gd name="connsiteX11" fmla="*/ 273113 w 279464"/>
                <a:gd name="connsiteY11" fmla="*/ 0 h 235006"/>
                <a:gd name="connsiteX12" fmla="*/ 271843 w 279464"/>
                <a:gd name="connsiteY12" fmla="*/ 0 h 235006"/>
                <a:gd name="connsiteX13" fmla="*/ 270572 w 279464"/>
                <a:gd name="connsiteY13" fmla="*/ 0 h 235006"/>
                <a:gd name="connsiteX14" fmla="*/ 270572 w 279464"/>
                <a:gd name="connsiteY14" fmla="*/ 0 h 235006"/>
                <a:gd name="connsiteX15" fmla="*/ 269302 w 279464"/>
                <a:gd name="connsiteY15" fmla="*/ 0 h 235006"/>
                <a:gd name="connsiteX16" fmla="*/ 268032 w 279464"/>
                <a:gd name="connsiteY16" fmla="*/ 1270 h 235006"/>
                <a:gd name="connsiteX17" fmla="*/ 268032 w 279464"/>
                <a:gd name="connsiteY17" fmla="*/ 1270 h 235006"/>
                <a:gd name="connsiteX18" fmla="*/ 266762 w 279464"/>
                <a:gd name="connsiteY18" fmla="*/ 1270 h 235006"/>
                <a:gd name="connsiteX19" fmla="*/ 0 w 279464"/>
                <a:gd name="connsiteY19" fmla="*/ 228655 h 235006"/>
                <a:gd name="connsiteX20" fmla="*/ 3811 w 279464"/>
                <a:gd name="connsiteY20" fmla="*/ 229925 h 235006"/>
                <a:gd name="connsiteX21" fmla="*/ 17784 w 279464"/>
                <a:gd name="connsiteY21" fmla="*/ 235006 h 2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9464" h="235006">
                  <a:moveTo>
                    <a:pt x="17784" y="235006"/>
                  </a:moveTo>
                  <a:lnTo>
                    <a:pt x="264221" y="24136"/>
                  </a:lnTo>
                  <a:lnTo>
                    <a:pt x="276924" y="12703"/>
                  </a:lnTo>
                  <a:cubicBezTo>
                    <a:pt x="279464" y="11433"/>
                    <a:pt x="279464" y="8892"/>
                    <a:pt x="279464" y="6352"/>
                  </a:cubicBezTo>
                  <a:cubicBezTo>
                    <a:pt x="279464" y="6352"/>
                    <a:pt x="279464" y="5081"/>
                    <a:pt x="279464" y="5081"/>
                  </a:cubicBezTo>
                  <a:cubicBezTo>
                    <a:pt x="279464" y="5081"/>
                    <a:pt x="279464" y="3811"/>
                    <a:pt x="278194" y="3811"/>
                  </a:cubicBezTo>
                  <a:cubicBezTo>
                    <a:pt x="278194" y="3811"/>
                    <a:pt x="278194" y="3811"/>
                    <a:pt x="278194" y="2540"/>
                  </a:cubicBezTo>
                  <a:lnTo>
                    <a:pt x="278194" y="2540"/>
                  </a:lnTo>
                  <a:lnTo>
                    <a:pt x="276924" y="1270"/>
                  </a:lnTo>
                  <a:cubicBezTo>
                    <a:pt x="276924" y="1270"/>
                    <a:pt x="276924" y="1270"/>
                    <a:pt x="275654" y="0"/>
                  </a:cubicBezTo>
                  <a:lnTo>
                    <a:pt x="274383" y="0"/>
                  </a:lnTo>
                  <a:lnTo>
                    <a:pt x="273113" y="0"/>
                  </a:lnTo>
                  <a:lnTo>
                    <a:pt x="271843" y="0"/>
                  </a:lnTo>
                  <a:lnTo>
                    <a:pt x="270572" y="0"/>
                  </a:lnTo>
                  <a:lnTo>
                    <a:pt x="270572" y="0"/>
                  </a:lnTo>
                  <a:lnTo>
                    <a:pt x="269302" y="0"/>
                  </a:lnTo>
                  <a:cubicBezTo>
                    <a:pt x="269302" y="0"/>
                    <a:pt x="268032" y="0"/>
                    <a:pt x="268032" y="1270"/>
                  </a:cubicBezTo>
                  <a:lnTo>
                    <a:pt x="268032" y="1270"/>
                  </a:lnTo>
                  <a:lnTo>
                    <a:pt x="266762" y="1270"/>
                  </a:lnTo>
                  <a:lnTo>
                    <a:pt x="0" y="228655"/>
                  </a:lnTo>
                  <a:lnTo>
                    <a:pt x="3811" y="229925"/>
                  </a:lnTo>
                  <a:lnTo>
                    <a:pt x="17784" y="235006"/>
                  </a:lnTo>
                  <a:close/>
                </a:path>
              </a:pathLst>
            </a:custGeom>
            <a:solidFill>
              <a:srgbClr val="000000"/>
            </a:solidFill>
            <a:ln w="12688"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34E8B184-EFA5-42AA-B989-7A387275821E}"/>
                </a:ext>
              </a:extLst>
            </p:cNvPr>
            <p:cNvSpPr/>
            <p:nvPr/>
          </p:nvSpPr>
          <p:spPr>
            <a:xfrm>
              <a:off x="3865501" y="5523285"/>
              <a:ext cx="636416" cy="208330"/>
            </a:xfrm>
            <a:custGeom>
              <a:avLst/>
              <a:gdLst>
                <a:gd name="connsiteX0" fmla="*/ 2541 w 636416"/>
                <a:gd name="connsiteY0" fmla="*/ 2541 h 208330"/>
                <a:gd name="connsiteX1" fmla="*/ 2541 w 636416"/>
                <a:gd name="connsiteY1" fmla="*/ 2541 h 208330"/>
                <a:gd name="connsiteX2" fmla="*/ 0 w 636416"/>
                <a:gd name="connsiteY2" fmla="*/ 5082 h 208330"/>
                <a:gd name="connsiteX3" fmla="*/ 628795 w 636416"/>
                <a:gd name="connsiteY3" fmla="*/ 205790 h 208330"/>
                <a:gd name="connsiteX4" fmla="*/ 636417 w 636416"/>
                <a:gd name="connsiteY4" fmla="*/ 208330 h 208330"/>
                <a:gd name="connsiteX5" fmla="*/ 636417 w 636416"/>
                <a:gd name="connsiteY5" fmla="*/ 203249 h 208330"/>
                <a:gd name="connsiteX6" fmla="*/ 636417 w 636416"/>
                <a:gd name="connsiteY6" fmla="*/ 201979 h 208330"/>
                <a:gd name="connsiteX7" fmla="*/ 3811 w 636416"/>
                <a:gd name="connsiteY7" fmla="*/ 0 h 208330"/>
                <a:gd name="connsiteX8" fmla="*/ 2541 w 636416"/>
                <a:gd name="connsiteY8" fmla="*/ 1270 h 208330"/>
                <a:gd name="connsiteX9" fmla="*/ 2541 w 636416"/>
                <a:gd name="connsiteY9" fmla="*/ 2541 h 20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416" h="208330">
                  <a:moveTo>
                    <a:pt x="2541" y="2541"/>
                  </a:moveTo>
                  <a:lnTo>
                    <a:pt x="2541" y="2541"/>
                  </a:lnTo>
                  <a:lnTo>
                    <a:pt x="0" y="5082"/>
                  </a:lnTo>
                  <a:lnTo>
                    <a:pt x="628795" y="205790"/>
                  </a:lnTo>
                  <a:lnTo>
                    <a:pt x="636417" y="208330"/>
                  </a:lnTo>
                  <a:lnTo>
                    <a:pt x="636417" y="203249"/>
                  </a:lnTo>
                  <a:cubicBezTo>
                    <a:pt x="636417" y="203249"/>
                    <a:pt x="636417" y="201979"/>
                    <a:pt x="636417" y="201979"/>
                  </a:cubicBezTo>
                  <a:lnTo>
                    <a:pt x="3811" y="0"/>
                  </a:lnTo>
                  <a:lnTo>
                    <a:pt x="2541" y="1270"/>
                  </a:lnTo>
                  <a:lnTo>
                    <a:pt x="2541" y="2541"/>
                  </a:lnTo>
                  <a:close/>
                </a:path>
              </a:pathLst>
            </a:custGeom>
            <a:solidFill>
              <a:srgbClr val="000000"/>
            </a:solidFill>
            <a:ln w="12688"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2035D9-C8EB-4104-8B68-29855566A8FE}"/>
                </a:ext>
              </a:extLst>
            </p:cNvPr>
            <p:cNvSpPr/>
            <p:nvPr/>
          </p:nvSpPr>
          <p:spPr>
            <a:xfrm>
              <a:off x="4503188" y="380075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C1F07F49-C859-47B5-A12E-0F1A1D177648}"/>
                </a:ext>
              </a:extLst>
            </p:cNvPr>
            <p:cNvSpPr/>
            <p:nvPr/>
          </p:nvSpPr>
          <p:spPr>
            <a:xfrm>
              <a:off x="4509540" y="3800752"/>
              <a:ext cx="654200" cy="188004"/>
            </a:xfrm>
            <a:custGeom>
              <a:avLst/>
              <a:gdLst>
                <a:gd name="connsiteX0" fmla="*/ 650390 w 654200"/>
                <a:gd name="connsiteY0" fmla="*/ 188005 h 188004"/>
                <a:gd name="connsiteX1" fmla="*/ 645309 w 654200"/>
                <a:gd name="connsiteY1" fmla="*/ 179113 h 188004"/>
                <a:gd name="connsiteX2" fmla="*/ 645309 w 654200"/>
                <a:gd name="connsiteY2" fmla="*/ 179113 h 188004"/>
                <a:gd name="connsiteX3" fmla="*/ 654201 w 654200"/>
                <a:gd name="connsiteY3" fmla="*/ 174032 h 188004"/>
                <a:gd name="connsiteX4" fmla="*/ 0 w 654200"/>
                <a:gd name="connsiteY4" fmla="*/ 0 h 188004"/>
                <a:gd name="connsiteX5" fmla="*/ 0 w 654200"/>
                <a:gd name="connsiteY5" fmla="*/ 0 h 188004"/>
                <a:gd name="connsiteX6" fmla="*/ 1270 w 654200"/>
                <a:gd name="connsiteY6" fmla="*/ 0 h 188004"/>
                <a:gd name="connsiteX7" fmla="*/ 2541 w 654200"/>
                <a:gd name="connsiteY7" fmla="*/ 1270 h 188004"/>
                <a:gd name="connsiteX8" fmla="*/ 3811 w 654200"/>
                <a:gd name="connsiteY8" fmla="*/ 2540 h 188004"/>
                <a:gd name="connsiteX9" fmla="*/ 3811 w 654200"/>
                <a:gd name="connsiteY9" fmla="*/ 2540 h 188004"/>
                <a:gd name="connsiteX10" fmla="*/ 3811 w 654200"/>
                <a:gd name="connsiteY10" fmla="*/ 3811 h 188004"/>
                <a:gd name="connsiteX11" fmla="*/ 3811 w 654200"/>
                <a:gd name="connsiteY11" fmla="*/ 5081 h 188004"/>
                <a:gd name="connsiteX12" fmla="*/ 3811 w 654200"/>
                <a:gd name="connsiteY12" fmla="*/ 6352 h 188004"/>
                <a:gd name="connsiteX13" fmla="*/ 3811 w 654200"/>
                <a:gd name="connsiteY13" fmla="*/ 7622 h 188004"/>
                <a:gd name="connsiteX14" fmla="*/ 3811 w 654200"/>
                <a:gd name="connsiteY14" fmla="*/ 17784 h 188004"/>
                <a:gd name="connsiteX15" fmla="*/ 642768 w 654200"/>
                <a:gd name="connsiteY15" fmla="*/ 188005 h 188004"/>
                <a:gd name="connsiteX16" fmla="*/ 650390 w 654200"/>
                <a:gd name="connsiteY16" fmla="*/ 188005 h 18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4200" h="188004">
                  <a:moveTo>
                    <a:pt x="650390" y="188005"/>
                  </a:moveTo>
                  <a:cubicBezTo>
                    <a:pt x="646579" y="186735"/>
                    <a:pt x="644039" y="182924"/>
                    <a:pt x="645309" y="179113"/>
                  </a:cubicBezTo>
                  <a:cubicBezTo>
                    <a:pt x="645309" y="179113"/>
                    <a:pt x="645309" y="179113"/>
                    <a:pt x="645309" y="179113"/>
                  </a:cubicBezTo>
                  <a:cubicBezTo>
                    <a:pt x="646579" y="175302"/>
                    <a:pt x="650390" y="172761"/>
                    <a:pt x="654201" y="174032"/>
                  </a:cubicBezTo>
                  <a:lnTo>
                    <a:pt x="0" y="0"/>
                  </a:lnTo>
                  <a:lnTo>
                    <a:pt x="0" y="0"/>
                  </a:lnTo>
                  <a:lnTo>
                    <a:pt x="1270" y="0"/>
                  </a:lnTo>
                  <a:lnTo>
                    <a:pt x="2541" y="1270"/>
                  </a:lnTo>
                  <a:lnTo>
                    <a:pt x="3811" y="2540"/>
                  </a:lnTo>
                  <a:lnTo>
                    <a:pt x="3811" y="2540"/>
                  </a:lnTo>
                  <a:cubicBezTo>
                    <a:pt x="3811" y="2540"/>
                    <a:pt x="3811" y="2540"/>
                    <a:pt x="3811" y="3811"/>
                  </a:cubicBezTo>
                  <a:cubicBezTo>
                    <a:pt x="3811" y="3811"/>
                    <a:pt x="3811" y="5081"/>
                    <a:pt x="3811" y="5081"/>
                  </a:cubicBezTo>
                  <a:cubicBezTo>
                    <a:pt x="3811" y="5081"/>
                    <a:pt x="3811" y="6352"/>
                    <a:pt x="3811" y="6352"/>
                  </a:cubicBezTo>
                  <a:cubicBezTo>
                    <a:pt x="3811" y="6352"/>
                    <a:pt x="3811" y="6352"/>
                    <a:pt x="3811" y="7622"/>
                  </a:cubicBezTo>
                  <a:lnTo>
                    <a:pt x="3811" y="17784"/>
                  </a:lnTo>
                  <a:lnTo>
                    <a:pt x="642768" y="188005"/>
                  </a:lnTo>
                  <a:lnTo>
                    <a:pt x="650390" y="188005"/>
                  </a:lnTo>
                  <a:close/>
                </a:path>
              </a:pathLst>
            </a:custGeom>
            <a:solidFill>
              <a:srgbClr val="000000"/>
            </a:solidFill>
            <a:ln w="12688"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995E1C7E-C527-47E7-9ED2-72FCB95A7E63}"/>
                </a:ext>
              </a:extLst>
            </p:cNvPr>
            <p:cNvSpPr/>
            <p:nvPr/>
          </p:nvSpPr>
          <p:spPr>
            <a:xfrm>
              <a:off x="4506999" y="3799481"/>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69A73CC5-DD34-4007-AEC4-5DF2691AC426}"/>
                </a:ext>
              </a:extLst>
            </p:cNvPr>
            <p:cNvSpPr/>
            <p:nvPr/>
          </p:nvSpPr>
          <p:spPr>
            <a:xfrm>
              <a:off x="5154518" y="3973513"/>
              <a:ext cx="34628" cy="21595"/>
            </a:xfrm>
            <a:custGeom>
              <a:avLst/>
              <a:gdLst>
                <a:gd name="connsiteX0" fmla="*/ 330 w 34628"/>
                <a:gd name="connsiteY0" fmla="*/ 6352 h 21595"/>
                <a:gd name="connsiteX1" fmla="*/ 5412 w 34628"/>
                <a:gd name="connsiteY1" fmla="*/ 15244 h 21595"/>
                <a:gd name="connsiteX2" fmla="*/ 5412 w 34628"/>
                <a:gd name="connsiteY2" fmla="*/ 15244 h 21595"/>
                <a:gd name="connsiteX3" fmla="*/ 14304 w 34628"/>
                <a:gd name="connsiteY3" fmla="*/ 17785 h 21595"/>
                <a:gd name="connsiteX4" fmla="*/ 29547 w 34628"/>
                <a:gd name="connsiteY4" fmla="*/ 21595 h 21595"/>
                <a:gd name="connsiteX5" fmla="*/ 29547 w 34628"/>
                <a:gd name="connsiteY5" fmla="*/ 15244 h 21595"/>
                <a:gd name="connsiteX6" fmla="*/ 29547 w 34628"/>
                <a:gd name="connsiteY6" fmla="*/ 15244 h 21595"/>
                <a:gd name="connsiteX7" fmla="*/ 29547 w 34628"/>
                <a:gd name="connsiteY7" fmla="*/ 13973 h 21595"/>
                <a:gd name="connsiteX8" fmla="*/ 29547 w 34628"/>
                <a:gd name="connsiteY8" fmla="*/ 12703 h 21595"/>
                <a:gd name="connsiteX9" fmla="*/ 30818 w 34628"/>
                <a:gd name="connsiteY9" fmla="*/ 11433 h 21595"/>
                <a:gd name="connsiteX10" fmla="*/ 32088 w 34628"/>
                <a:gd name="connsiteY10" fmla="*/ 10163 h 21595"/>
                <a:gd name="connsiteX11" fmla="*/ 32088 w 34628"/>
                <a:gd name="connsiteY11" fmla="*/ 10163 h 21595"/>
                <a:gd name="connsiteX12" fmla="*/ 34628 w 34628"/>
                <a:gd name="connsiteY12" fmla="*/ 7622 h 21595"/>
                <a:gd name="connsiteX13" fmla="*/ 7952 w 34628"/>
                <a:gd name="connsiteY13" fmla="*/ 0 h 21595"/>
                <a:gd name="connsiteX14" fmla="*/ 330 w 34628"/>
                <a:gd name="connsiteY14" fmla="*/ 6352 h 2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28" h="21595">
                  <a:moveTo>
                    <a:pt x="330" y="6352"/>
                  </a:moveTo>
                  <a:cubicBezTo>
                    <a:pt x="-940" y="10163"/>
                    <a:pt x="1601" y="13973"/>
                    <a:pt x="5412" y="15244"/>
                  </a:cubicBezTo>
                  <a:cubicBezTo>
                    <a:pt x="5412" y="15244"/>
                    <a:pt x="5412" y="15244"/>
                    <a:pt x="5412" y="15244"/>
                  </a:cubicBezTo>
                  <a:lnTo>
                    <a:pt x="14304" y="17785"/>
                  </a:lnTo>
                  <a:lnTo>
                    <a:pt x="29547" y="21595"/>
                  </a:lnTo>
                  <a:lnTo>
                    <a:pt x="29547" y="15244"/>
                  </a:lnTo>
                  <a:lnTo>
                    <a:pt x="29547" y="15244"/>
                  </a:lnTo>
                  <a:cubicBezTo>
                    <a:pt x="29547" y="15244"/>
                    <a:pt x="29547" y="13973"/>
                    <a:pt x="29547" y="13973"/>
                  </a:cubicBezTo>
                  <a:lnTo>
                    <a:pt x="29547" y="12703"/>
                  </a:lnTo>
                  <a:lnTo>
                    <a:pt x="30818" y="11433"/>
                  </a:lnTo>
                  <a:lnTo>
                    <a:pt x="32088" y="10163"/>
                  </a:lnTo>
                  <a:lnTo>
                    <a:pt x="32088" y="10163"/>
                  </a:lnTo>
                  <a:lnTo>
                    <a:pt x="34628" y="7622"/>
                  </a:lnTo>
                  <a:lnTo>
                    <a:pt x="7952" y="0"/>
                  </a:lnTo>
                  <a:cubicBezTo>
                    <a:pt x="4141" y="1270"/>
                    <a:pt x="1601" y="2541"/>
                    <a:pt x="330" y="6352"/>
                  </a:cubicBezTo>
                  <a:close/>
                </a:path>
              </a:pathLst>
            </a:custGeom>
            <a:solidFill>
              <a:srgbClr val="000000"/>
            </a:solidFill>
            <a:ln w="12688"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D6E397E1-688A-43C8-BDA9-2BA2BF30948D}"/>
                </a:ext>
              </a:extLst>
            </p:cNvPr>
            <p:cNvSpPr/>
            <p:nvPr/>
          </p:nvSpPr>
          <p:spPr>
            <a:xfrm>
              <a:off x="4157668" y="2700668"/>
              <a:ext cx="1679327" cy="414119"/>
            </a:xfrm>
            <a:custGeom>
              <a:avLst/>
              <a:gdLst>
                <a:gd name="connsiteX0" fmla="*/ 0 w 1679327"/>
                <a:gd name="connsiteY0" fmla="*/ 15244 h 414119"/>
                <a:gd name="connsiteX1" fmla="*/ 1669165 w 1679327"/>
                <a:gd name="connsiteY1" fmla="*/ 414119 h 414119"/>
                <a:gd name="connsiteX2" fmla="*/ 1669165 w 1679327"/>
                <a:gd name="connsiteY2" fmla="*/ 407768 h 414119"/>
                <a:gd name="connsiteX3" fmla="*/ 1676787 w 1679327"/>
                <a:gd name="connsiteY3" fmla="*/ 400146 h 414119"/>
                <a:gd name="connsiteX4" fmla="*/ 1679328 w 1679327"/>
                <a:gd name="connsiteY4" fmla="*/ 400146 h 414119"/>
                <a:gd name="connsiteX5" fmla="*/ 1679328 w 1679327"/>
                <a:gd name="connsiteY5" fmla="*/ 400146 h 414119"/>
                <a:gd name="connsiteX6" fmla="*/ 0 w 1679327"/>
                <a:gd name="connsiteY6" fmla="*/ 0 h 414119"/>
                <a:gd name="connsiteX7" fmla="*/ 0 w 1679327"/>
                <a:gd name="connsiteY7" fmla="*/ 15244 h 414119"/>
                <a:gd name="connsiteX8" fmla="*/ 0 w 1679327"/>
                <a:gd name="connsiteY8" fmla="*/ 15244 h 41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9327" h="414119">
                  <a:moveTo>
                    <a:pt x="0" y="15244"/>
                  </a:moveTo>
                  <a:lnTo>
                    <a:pt x="1669165" y="414119"/>
                  </a:lnTo>
                  <a:lnTo>
                    <a:pt x="1669165" y="407768"/>
                  </a:lnTo>
                  <a:cubicBezTo>
                    <a:pt x="1669165" y="403957"/>
                    <a:pt x="1672976" y="400146"/>
                    <a:pt x="1676787" y="400146"/>
                  </a:cubicBezTo>
                  <a:cubicBezTo>
                    <a:pt x="1678057" y="400146"/>
                    <a:pt x="1678057" y="400146"/>
                    <a:pt x="1679328" y="400146"/>
                  </a:cubicBezTo>
                  <a:lnTo>
                    <a:pt x="1679328" y="400146"/>
                  </a:lnTo>
                  <a:lnTo>
                    <a:pt x="0" y="0"/>
                  </a:lnTo>
                  <a:lnTo>
                    <a:pt x="0" y="15244"/>
                  </a:lnTo>
                  <a:lnTo>
                    <a:pt x="0" y="15244"/>
                  </a:lnTo>
                  <a:close/>
                </a:path>
              </a:pathLst>
            </a:custGeom>
            <a:solidFill>
              <a:srgbClr val="000000"/>
            </a:solidFill>
            <a:ln w="12688"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3844CDF0-5EDC-4B70-91B8-445497BA9890}"/>
                </a:ext>
              </a:extLst>
            </p:cNvPr>
            <p:cNvSpPr/>
            <p:nvPr/>
          </p:nvSpPr>
          <p:spPr>
            <a:xfrm>
              <a:off x="0" y="0"/>
              <a:ext cx="12702" cy="12703"/>
            </a:xfrm>
            <a:custGeom>
              <a:avLst/>
              <a:gdLst/>
              <a:ahLst/>
              <a:cxnLst/>
              <a:rect l="l" t="t" r="r" b="b"/>
              <a:pathLst>
                <a:path w="12702" h="12703"/>
              </a:pathLst>
            </a:custGeom>
            <a:solidFill>
              <a:srgbClr val="000000"/>
            </a:solidFill>
            <a:ln w="12688"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741F9BC7-83C5-4057-A2C8-4F848F42C82D}"/>
                </a:ext>
              </a:extLst>
            </p:cNvPr>
            <p:cNvSpPr/>
            <p:nvPr/>
          </p:nvSpPr>
          <p:spPr>
            <a:xfrm>
              <a:off x="1518000" y="135541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84BA6083-4348-4790-9CF7-508DE1B4CB49}"/>
                </a:ext>
              </a:extLst>
            </p:cNvPr>
            <p:cNvSpPr/>
            <p:nvPr/>
          </p:nvSpPr>
          <p:spPr>
            <a:xfrm>
              <a:off x="1518000" y="1370658"/>
              <a:ext cx="170219" cy="2169680"/>
            </a:xfrm>
            <a:custGeom>
              <a:avLst/>
              <a:gdLst>
                <a:gd name="connsiteX0" fmla="*/ 170219 w 170219"/>
                <a:gd name="connsiteY0" fmla="*/ 2163329 h 2169680"/>
                <a:gd name="connsiteX1" fmla="*/ 10162 w 170219"/>
                <a:gd name="connsiteY1" fmla="*/ 1270 h 2169680"/>
                <a:gd name="connsiteX2" fmla="*/ 3811 w 170219"/>
                <a:gd name="connsiteY2" fmla="*/ 0 h 2169680"/>
                <a:gd name="connsiteX3" fmla="*/ 0 w 170219"/>
                <a:gd name="connsiteY3" fmla="*/ 1270 h 2169680"/>
                <a:gd name="connsiteX4" fmla="*/ 160057 w 170219"/>
                <a:gd name="connsiteY4" fmla="*/ 2169681 h 216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19" h="2169680">
                  <a:moveTo>
                    <a:pt x="170219" y="2163329"/>
                  </a:moveTo>
                  <a:lnTo>
                    <a:pt x="10162" y="1270"/>
                  </a:lnTo>
                  <a:lnTo>
                    <a:pt x="3811" y="0"/>
                  </a:lnTo>
                  <a:lnTo>
                    <a:pt x="0" y="1270"/>
                  </a:lnTo>
                  <a:lnTo>
                    <a:pt x="160057" y="2169681"/>
                  </a:lnTo>
                  <a:close/>
                </a:path>
              </a:pathLst>
            </a:custGeom>
            <a:solidFill>
              <a:srgbClr val="000000"/>
            </a:solidFill>
            <a:ln w="12688"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B7EB845F-19E9-4692-B47E-8FE8390DE115}"/>
                </a:ext>
              </a:extLst>
            </p:cNvPr>
            <p:cNvSpPr/>
            <p:nvPr/>
          </p:nvSpPr>
          <p:spPr>
            <a:xfrm>
              <a:off x="5178984" y="3990027"/>
              <a:ext cx="20324" cy="1191545"/>
            </a:xfrm>
            <a:custGeom>
              <a:avLst/>
              <a:gdLst>
                <a:gd name="connsiteX0" fmla="*/ 5081 w 20324"/>
                <a:gd name="connsiteY0" fmla="*/ 5081 h 1191545"/>
                <a:gd name="connsiteX1" fmla="*/ 0 w 20324"/>
                <a:gd name="connsiteY1" fmla="*/ 1190275 h 1191545"/>
                <a:gd name="connsiteX2" fmla="*/ 6351 w 20324"/>
                <a:gd name="connsiteY2" fmla="*/ 1191546 h 1191545"/>
                <a:gd name="connsiteX3" fmla="*/ 15243 w 20324"/>
                <a:gd name="connsiteY3" fmla="*/ 1183924 h 1191545"/>
                <a:gd name="connsiteX4" fmla="*/ 20324 w 20324"/>
                <a:gd name="connsiteY4" fmla="*/ 3811 h 1191545"/>
                <a:gd name="connsiteX5" fmla="*/ 17784 w 20324"/>
                <a:gd name="connsiteY5" fmla="*/ 6352 h 1191545"/>
                <a:gd name="connsiteX6" fmla="*/ 7621 w 20324"/>
                <a:gd name="connsiteY6" fmla="*/ 5081 h 1191545"/>
                <a:gd name="connsiteX7" fmla="*/ 7621 w 20324"/>
                <a:gd name="connsiteY7" fmla="*/ 5081 h 1191545"/>
                <a:gd name="connsiteX8" fmla="*/ 6351 w 20324"/>
                <a:gd name="connsiteY8" fmla="*/ 0 h 1191545"/>
                <a:gd name="connsiteX9" fmla="*/ 6351 w 20324"/>
                <a:gd name="connsiteY9" fmla="*/ 0 h 1191545"/>
                <a:gd name="connsiteX10" fmla="*/ 5081 w 20324"/>
                <a:gd name="connsiteY10" fmla="*/ 5081 h 11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4" h="1191545">
                  <a:moveTo>
                    <a:pt x="5081" y="5081"/>
                  </a:moveTo>
                  <a:lnTo>
                    <a:pt x="0" y="1190275"/>
                  </a:lnTo>
                  <a:lnTo>
                    <a:pt x="6351" y="1191546"/>
                  </a:lnTo>
                  <a:lnTo>
                    <a:pt x="15243" y="1183924"/>
                  </a:lnTo>
                  <a:lnTo>
                    <a:pt x="20324" y="3811"/>
                  </a:lnTo>
                  <a:lnTo>
                    <a:pt x="17784" y="6352"/>
                  </a:lnTo>
                  <a:cubicBezTo>
                    <a:pt x="13973" y="8892"/>
                    <a:pt x="10162" y="8892"/>
                    <a:pt x="7621" y="5081"/>
                  </a:cubicBezTo>
                  <a:cubicBezTo>
                    <a:pt x="7621" y="5081"/>
                    <a:pt x="7621" y="5081"/>
                    <a:pt x="7621" y="5081"/>
                  </a:cubicBezTo>
                  <a:cubicBezTo>
                    <a:pt x="6351" y="3811"/>
                    <a:pt x="6351" y="1270"/>
                    <a:pt x="6351" y="0"/>
                  </a:cubicBezTo>
                  <a:lnTo>
                    <a:pt x="6351" y="0"/>
                  </a:lnTo>
                  <a:lnTo>
                    <a:pt x="5081" y="5081"/>
                  </a:lnTo>
                  <a:close/>
                </a:path>
              </a:pathLst>
            </a:custGeom>
            <a:solidFill>
              <a:srgbClr val="000000"/>
            </a:solidFill>
            <a:ln w="12688"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1D6E3817-CAA4-4699-9BDD-D5F6DE77FDB9}"/>
                </a:ext>
              </a:extLst>
            </p:cNvPr>
            <p:cNvSpPr/>
            <p:nvPr/>
          </p:nvSpPr>
          <p:spPr>
            <a:xfrm>
              <a:off x="1087370" y="4296171"/>
              <a:ext cx="63514" cy="546231"/>
            </a:xfrm>
            <a:custGeom>
              <a:avLst/>
              <a:gdLst>
                <a:gd name="connsiteX0" fmla="*/ 62244 w 63514"/>
                <a:gd name="connsiteY0" fmla="*/ 541150 h 546231"/>
                <a:gd name="connsiteX1" fmla="*/ 63515 w 63514"/>
                <a:gd name="connsiteY1" fmla="*/ 546231 h 546231"/>
                <a:gd name="connsiteX2" fmla="*/ 63515 w 63514"/>
                <a:gd name="connsiteY2" fmla="*/ 544961 h 546231"/>
                <a:gd name="connsiteX3" fmla="*/ 15244 w 63514"/>
                <a:gd name="connsiteY3" fmla="*/ 5081 h 546231"/>
                <a:gd name="connsiteX4" fmla="*/ 5081 w 63514"/>
                <a:gd name="connsiteY4" fmla="*/ 1270 h 546231"/>
                <a:gd name="connsiteX5" fmla="*/ 0 w 63514"/>
                <a:gd name="connsiteY5" fmla="*/ 0 h 546231"/>
                <a:gd name="connsiteX6" fmla="*/ 48271 w 63514"/>
                <a:gd name="connsiteY6" fmla="*/ 541150 h 546231"/>
                <a:gd name="connsiteX7" fmla="*/ 52082 w 63514"/>
                <a:gd name="connsiteY7" fmla="*/ 538609 h 546231"/>
                <a:gd name="connsiteX8" fmla="*/ 62244 w 63514"/>
                <a:gd name="connsiteY8" fmla="*/ 541150 h 546231"/>
                <a:gd name="connsiteX9" fmla="*/ 62244 w 63514"/>
                <a:gd name="connsiteY9" fmla="*/ 541150 h 54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14" h="546231">
                  <a:moveTo>
                    <a:pt x="62244" y="541150"/>
                  </a:moveTo>
                  <a:cubicBezTo>
                    <a:pt x="63515" y="542420"/>
                    <a:pt x="63515" y="543690"/>
                    <a:pt x="63515" y="546231"/>
                  </a:cubicBezTo>
                  <a:cubicBezTo>
                    <a:pt x="63515" y="546231"/>
                    <a:pt x="63515" y="544961"/>
                    <a:pt x="63515" y="544961"/>
                  </a:cubicBezTo>
                  <a:lnTo>
                    <a:pt x="15244" y="5081"/>
                  </a:lnTo>
                  <a:lnTo>
                    <a:pt x="5081" y="1270"/>
                  </a:lnTo>
                  <a:lnTo>
                    <a:pt x="0" y="0"/>
                  </a:lnTo>
                  <a:lnTo>
                    <a:pt x="48271" y="541150"/>
                  </a:lnTo>
                  <a:lnTo>
                    <a:pt x="52082" y="538609"/>
                  </a:lnTo>
                  <a:cubicBezTo>
                    <a:pt x="54623" y="537339"/>
                    <a:pt x="59704" y="537339"/>
                    <a:pt x="62244" y="541150"/>
                  </a:cubicBezTo>
                  <a:cubicBezTo>
                    <a:pt x="62244" y="541150"/>
                    <a:pt x="62244" y="541150"/>
                    <a:pt x="62244" y="541150"/>
                  </a:cubicBezTo>
                  <a:close/>
                </a:path>
              </a:pathLst>
            </a:custGeom>
            <a:solidFill>
              <a:srgbClr val="000000"/>
            </a:solidFill>
            <a:ln w="12688"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035329B9-6E20-4944-B994-9B94324AF7A8}"/>
                </a:ext>
              </a:extLst>
            </p:cNvPr>
            <p:cNvSpPr/>
            <p:nvPr/>
          </p:nvSpPr>
          <p:spPr>
            <a:xfrm>
              <a:off x="1050532" y="4832750"/>
              <a:ext cx="100353" cy="68085"/>
            </a:xfrm>
            <a:custGeom>
              <a:avLst/>
              <a:gdLst>
                <a:gd name="connsiteX0" fmla="*/ 16514 w 100353"/>
                <a:gd name="connsiteY0" fmla="*/ 68086 h 68085"/>
                <a:gd name="connsiteX1" fmla="*/ 96542 w 100353"/>
                <a:gd name="connsiteY1" fmla="*/ 14733 h 68085"/>
                <a:gd name="connsiteX2" fmla="*/ 97813 w 100353"/>
                <a:gd name="connsiteY2" fmla="*/ 13463 h 68085"/>
                <a:gd name="connsiteX3" fmla="*/ 99083 w 100353"/>
                <a:gd name="connsiteY3" fmla="*/ 12192 h 68085"/>
                <a:gd name="connsiteX4" fmla="*/ 99083 w 100353"/>
                <a:gd name="connsiteY4" fmla="*/ 10922 h 68085"/>
                <a:gd name="connsiteX5" fmla="*/ 100353 w 100353"/>
                <a:gd name="connsiteY5" fmla="*/ 9652 h 68085"/>
                <a:gd name="connsiteX6" fmla="*/ 100353 w 100353"/>
                <a:gd name="connsiteY6" fmla="*/ 8382 h 68085"/>
                <a:gd name="connsiteX7" fmla="*/ 99083 w 100353"/>
                <a:gd name="connsiteY7" fmla="*/ 3301 h 68085"/>
                <a:gd name="connsiteX8" fmla="*/ 88921 w 100353"/>
                <a:gd name="connsiteY8" fmla="*/ 760 h 68085"/>
                <a:gd name="connsiteX9" fmla="*/ 88921 w 100353"/>
                <a:gd name="connsiteY9" fmla="*/ 760 h 68085"/>
                <a:gd name="connsiteX10" fmla="*/ 85110 w 100353"/>
                <a:gd name="connsiteY10" fmla="*/ 3301 h 68085"/>
                <a:gd name="connsiteX11" fmla="*/ 0 w 100353"/>
                <a:gd name="connsiteY11" fmla="*/ 60464 h 68085"/>
                <a:gd name="connsiteX12" fmla="*/ 3811 w 100353"/>
                <a:gd name="connsiteY12" fmla="*/ 61734 h 68085"/>
                <a:gd name="connsiteX13" fmla="*/ 16514 w 100353"/>
                <a:gd name="connsiteY13" fmla="*/ 68086 h 6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353" h="68085">
                  <a:moveTo>
                    <a:pt x="16514" y="68086"/>
                  </a:moveTo>
                  <a:lnTo>
                    <a:pt x="96542" y="14733"/>
                  </a:lnTo>
                  <a:lnTo>
                    <a:pt x="97813" y="13463"/>
                  </a:lnTo>
                  <a:lnTo>
                    <a:pt x="99083" y="12192"/>
                  </a:lnTo>
                  <a:cubicBezTo>
                    <a:pt x="99083" y="12192"/>
                    <a:pt x="99083" y="10922"/>
                    <a:pt x="99083" y="10922"/>
                  </a:cubicBezTo>
                  <a:cubicBezTo>
                    <a:pt x="99083" y="10922"/>
                    <a:pt x="99083" y="9652"/>
                    <a:pt x="100353" y="9652"/>
                  </a:cubicBezTo>
                  <a:cubicBezTo>
                    <a:pt x="100353" y="9652"/>
                    <a:pt x="100353" y="8382"/>
                    <a:pt x="100353" y="8382"/>
                  </a:cubicBezTo>
                  <a:cubicBezTo>
                    <a:pt x="100353" y="7111"/>
                    <a:pt x="100353" y="4571"/>
                    <a:pt x="99083" y="3301"/>
                  </a:cubicBezTo>
                  <a:cubicBezTo>
                    <a:pt x="96542" y="-511"/>
                    <a:pt x="92731" y="-511"/>
                    <a:pt x="88921" y="760"/>
                  </a:cubicBezTo>
                  <a:cubicBezTo>
                    <a:pt x="88921" y="760"/>
                    <a:pt x="88921" y="760"/>
                    <a:pt x="88921" y="760"/>
                  </a:cubicBezTo>
                  <a:lnTo>
                    <a:pt x="85110" y="3301"/>
                  </a:lnTo>
                  <a:lnTo>
                    <a:pt x="0" y="60464"/>
                  </a:lnTo>
                  <a:lnTo>
                    <a:pt x="3811" y="61734"/>
                  </a:lnTo>
                  <a:lnTo>
                    <a:pt x="16514" y="68086"/>
                  </a:lnTo>
                  <a:close/>
                </a:path>
              </a:pathLst>
            </a:custGeom>
            <a:solidFill>
              <a:srgbClr val="000000"/>
            </a:solidFill>
            <a:ln w="12688"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D98EC58D-5B20-41D9-B17B-804ECCF9870F}"/>
                </a:ext>
              </a:extLst>
            </p:cNvPr>
            <p:cNvSpPr/>
            <p:nvPr/>
          </p:nvSpPr>
          <p:spPr>
            <a:xfrm>
              <a:off x="1728868" y="6460770"/>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0B3611A8-A099-4F43-A368-E0424237905B}"/>
                </a:ext>
              </a:extLst>
            </p:cNvPr>
            <p:cNvSpPr/>
            <p:nvPr/>
          </p:nvSpPr>
          <p:spPr>
            <a:xfrm>
              <a:off x="1719976" y="6434094"/>
              <a:ext cx="17784" cy="19054"/>
            </a:xfrm>
            <a:custGeom>
              <a:avLst/>
              <a:gdLst>
                <a:gd name="connsiteX0" fmla="*/ 5081 w 17784"/>
                <a:gd name="connsiteY0" fmla="*/ 1270 h 19054"/>
                <a:gd name="connsiteX1" fmla="*/ 0 w 17784"/>
                <a:gd name="connsiteY1" fmla="*/ 0 h 19054"/>
                <a:gd name="connsiteX2" fmla="*/ 1270 w 17784"/>
                <a:gd name="connsiteY2" fmla="*/ 8892 h 19054"/>
                <a:gd name="connsiteX3" fmla="*/ 12703 w 17784"/>
                <a:gd name="connsiteY3" fmla="*/ 12703 h 19054"/>
                <a:gd name="connsiteX4" fmla="*/ 17784 w 17784"/>
                <a:gd name="connsiteY4" fmla="*/ 19055 h 19054"/>
                <a:gd name="connsiteX5" fmla="*/ 17784 w 17784"/>
                <a:gd name="connsiteY5" fmla="*/ 19055 h 19054"/>
                <a:gd name="connsiteX6" fmla="*/ 17784 w 17784"/>
                <a:gd name="connsiteY6" fmla="*/ 13973 h 19054"/>
                <a:gd name="connsiteX7" fmla="*/ 16514 w 17784"/>
                <a:gd name="connsiteY7" fmla="*/ 5081 h 19054"/>
                <a:gd name="connsiteX8" fmla="*/ 5081 w 17784"/>
                <a:gd name="connsiteY8" fmla="*/ 1270 h 1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84" h="19054">
                  <a:moveTo>
                    <a:pt x="5081" y="1270"/>
                  </a:moveTo>
                  <a:lnTo>
                    <a:pt x="0" y="0"/>
                  </a:lnTo>
                  <a:lnTo>
                    <a:pt x="1270" y="8892"/>
                  </a:lnTo>
                  <a:lnTo>
                    <a:pt x="12703" y="12703"/>
                  </a:lnTo>
                  <a:cubicBezTo>
                    <a:pt x="15244" y="13973"/>
                    <a:pt x="17784" y="16514"/>
                    <a:pt x="17784" y="19055"/>
                  </a:cubicBezTo>
                  <a:lnTo>
                    <a:pt x="17784" y="19055"/>
                  </a:lnTo>
                  <a:lnTo>
                    <a:pt x="17784" y="13973"/>
                  </a:lnTo>
                  <a:lnTo>
                    <a:pt x="16514" y="5081"/>
                  </a:lnTo>
                  <a:lnTo>
                    <a:pt x="5081" y="1270"/>
                  </a:lnTo>
                  <a:close/>
                </a:path>
              </a:pathLst>
            </a:custGeom>
            <a:solidFill>
              <a:srgbClr val="000000"/>
            </a:solidFill>
            <a:ln w="12688"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28B1B378-D724-46FF-AFD4-C4E663E945A1}"/>
                </a:ext>
              </a:extLst>
            </p:cNvPr>
            <p:cNvSpPr/>
            <p:nvPr/>
          </p:nvSpPr>
          <p:spPr>
            <a:xfrm>
              <a:off x="1726328" y="6403606"/>
              <a:ext cx="21595" cy="22865"/>
            </a:xfrm>
            <a:custGeom>
              <a:avLst/>
              <a:gdLst>
                <a:gd name="connsiteX0" fmla="*/ 3811 w 21595"/>
                <a:gd name="connsiteY0" fmla="*/ 17784 h 22865"/>
                <a:gd name="connsiteX1" fmla="*/ 16514 w 21595"/>
                <a:gd name="connsiteY1" fmla="*/ 22865 h 22865"/>
                <a:gd name="connsiteX2" fmla="*/ 21595 w 21595"/>
                <a:gd name="connsiteY2" fmla="*/ 17784 h 22865"/>
                <a:gd name="connsiteX3" fmla="*/ 20325 w 21595"/>
                <a:gd name="connsiteY3" fmla="*/ 5081 h 22865"/>
                <a:gd name="connsiteX4" fmla="*/ 20325 w 21595"/>
                <a:gd name="connsiteY4" fmla="*/ 0 h 22865"/>
                <a:gd name="connsiteX5" fmla="*/ 0 w 21595"/>
                <a:gd name="connsiteY5" fmla="*/ 16514 h 2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5" h="22865">
                  <a:moveTo>
                    <a:pt x="3811" y="17784"/>
                  </a:moveTo>
                  <a:lnTo>
                    <a:pt x="16514" y="22865"/>
                  </a:lnTo>
                  <a:lnTo>
                    <a:pt x="21595" y="17784"/>
                  </a:lnTo>
                  <a:lnTo>
                    <a:pt x="20325" y="5081"/>
                  </a:lnTo>
                  <a:lnTo>
                    <a:pt x="20325" y="0"/>
                  </a:lnTo>
                  <a:lnTo>
                    <a:pt x="0" y="16514"/>
                  </a:lnTo>
                  <a:close/>
                </a:path>
              </a:pathLst>
            </a:custGeom>
            <a:solidFill>
              <a:srgbClr val="000000"/>
            </a:solidFill>
            <a:ln w="12688"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4FD8E006-AC59-4244-85F9-62B0B139CD33}"/>
                </a:ext>
              </a:extLst>
            </p:cNvPr>
            <p:cNvSpPr/>
            <p:nvPr/>
          </p:nvSpPr>
          <p:spPr>
            <a:xfrm>
              <a:off x="4500647" y="5723993"/>
              <a:ext cx="22865" cy="647855"/>
            </a:xfrm>
            <a:custGeom>
              <a:avLst/>
              <a:gdLst>
                <a:gd name="connsiteX0" fmla="*/ 1270 w 22865"/>
                <a:gd name="connsiteY0" fmla="*/ 1270 h 647855"/>
                <a:gd name="connsiteX1" fmla="*/ 1270 w 22865"/>
                <a:gd name="connsiteY1" fmla="*/ 17784 h 647855"/>
                <a:gd name="connsiteX2" fmla="*/ 7622 w 22865"/>
                <a:gd name="connsiteY2" fmla="*/ 642774 h 647855"/>
                <a:gd name="connsiteX3" fmla="*/ 17784 w 22865"/>
                <a:gd name="connsiteY3" fmla="*/ 646585 h 647855"/>
                <a:gd name="connsiteX4" fmla="*/ 22866 w 22865"/>
                <a:gd name="connsiteY4" fmla="*/ 647856 h 647855"/>
                <a:gd name="connsiteX5" fmla="*/ 15244 w 22865"/>
                <a:gd name="connsiteY5" fmla="*/ 5081 h 647855"/>
                <a:gd name="connsiteX6" fmla="*/ 0 w 22865"/>
                <a:gd name="connsiteY6" fmla="*/ 0 h 647855"/>
                <a:gd name="connsiteX7" fmla="*/ 1270 w 22865"/>
                <a:gd name="connsiteY7" fmla="*/ 1270 h 64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5" h="647855">
                  <a:moveTo>
                    <a:pt x="1270" y="1270"/>
                  </a:moveTo>
                  <a:lnTo>
                    <a:pt x="1270" y="17784"/>
                  </a:lnTo>
                  <a:lnTo>
                    <a:pt x="7622" y="642774"/>
                  </a:lnTo>
                  <a:lnTo>
                    <a:pt x="17784" y="646585"/>
                  </a:lnTo>
                  <a:lnTo>
                    <a:pt x="22866" y="647856"/>
                  </a:lnTo>
                  <a:lnTo>
                    <a:pt x="15244" y="5081"/>
                  </a:lnTo>
                  <a:lnTo>
                    <a:pt x="0" y="0"/>
                  </a:lnTo>
                  <a:cubicBezTo>
                    <a:pt x="1270" y="1270"/>
                    <a:pt x="1270" y="1270"/>
                    <a:pt x="1270" y="1270"/>
                  </a:cubicBezTo>
                  <a:close/>
                </a:path>
              </a:pathLst>
            </a:custGeom>
            <a:solidFill>
              <a:srgbClr val="000000"/>
            </a:solidFill>
            <a:ln w="12688"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ACD97AA0-4E0C-49E2-BF1D-11E3871FD9A8}"/>
                </a:ext>
              </a:extLst>
            </p:cNvPr>
            <p:cNvSpPr/>
            <p:nvPr/>
          </p:nvSpPr>
          <p:spPr>
            <a:xfrm>
              <a:off x="3748634" y="4273305"/>
              <a:ext cx="74947" cy="36838"/>
            </a:xfrm>
            <a:custGeom>
              <a:avLst/>
              <a:gdLst>
                <a:gd name="connsiteX0" fmla="*/ 1270 w 74947"/>
                <a:gd name="connsiteY0" fmla="*/ 15244 h 36838"/>
                <a:gd name="connsiteX1" fmla="*/ 74947 w 74947"/>
                <a:gd name="connsiteY1" fmla="*/ 36839 h 36838"/>
                <a:gd name="connsiteX2" fmla="*/ 74947 w 74947"/>
                <a:gd name="connsiteY2" fmla="*/ 31758 h 36838"/>
                <a:gd name="connsiteX3" fmla="*/ 74947 w 74947"/>
                <a:gd name="connsiteY3" fmla="*/ 21595 h 36838"/>
                <a:gd name="connsiteX4" fmla="*/ 0 w 74947"/>
                <a:gd name="connsiteY4" fmla="*/ 0 h 36838"/>
                <a:gd name="connsiteX5" fmla="*/ 1270 w 74947"/>
                <a:gd name="connsiteY5" fmla="*/ 5081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47" h="36838">
                  <a:moveTo>
                    <a:pt x="1270" y="15244"/>
                  </a:moveTo>
                  <a:lnTo>
                    <a:pt x="74947" y="36839"/>
                  </a:lnTo>
                  <a:lnTo>
                    <a:pt x="74947" y="31758"/>
                  </a:lnTo>
                  <a:lnTo>
                    <a:pt x="74947" y="21595"/>
                  </a:lnTo>
                  <a:lnTo>
                    <a:pt x="0" y="0"/>
                  </a:lnTo>
                  <a:lnTo>
                    <a:pt x="1270" y="5081"/>
                  </a:lnTo>
                  <a:close/>
                </a:path>
              </a:pathLst>
            </a:custGeom>
            <a:solidFill>
              <a:srgbClr val="000000"/>
            </a:solidFill>
            <a:ln w="12688"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A9BBEB12-0BA4-4144-9291-1F323E4FE027}"/>
                </a:ext>
              </a:extLst>
            </p:cNvPr>
            <p:cNvSpPr/>
            <p:nvPr/>
          </p:nvSpPr>
          <p:spPr>
            <a:xfrm>
              <a:off x="4179263" y="3800752"/>
              <a:ext cx="323924" cy="256601"/>
            </a:xfrm>
            <a:custGeom>
              <a:avLst/>
              <a:gdLst>
                <a:gd name="connsiteX0" fmla="*/ 323925 w 323924"/>
                <a:gd name="connsiteY0" fmla="*/ 0 h 256601"/>
                <a:gd name="connsiteX1" fmla="*/ 323925 w 323924"/>
                <a:gd name="connsiteY1" fmla="*/ 0 h 256601"/>
                <a:gd name="connsiteX2" fmla="*/ 323925 w 323924"/>
                <a:gd name="connsiteY2" fmla="*/ 0 h 256601"/>
                <a:gd name="connsiteX3" fmla="*/ 3811 w 323924"/>
                <a:gd name="connsiteY3" fmla="*/ 236276 h 256601"/>
                <a:gd name="connsiteX4" fmla="*/ 3811 w 323924"/>
                <a:gd name="connsiteY4" fmla="*/ 250250 h 256601"/>
                <a:gd name="connsiteX5" fmla="*/ 0 w 323924"/>
                <a:gd name="connsiteY5" fmla="*/ 256601 h 256601"/>
                <a:gd name="connsiteX6" fmla="*/ 1270 w 323924"/>
                <a:gd name="connsiteY6" fmla="*/ 256601 h 256601"/>
                <a:gd name="connsiteX7" fmla="*/ 321384 w 323924"/>
                <a:gd name="connsiteY7" fmla="*/ 21595 h 256601"/>
                <a:gd name="connsiteX8" fmla="*/ 321384 w 323924"/>
                <a:gd name="connsiteY8" fmla="*/ 6352 h 256601"/>
                <a:gd name="connsiteX9" fmla="*/ 323925 w 323924"/>
                <a:gd name="connsiteY9" fmla="*/ 0 h 25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924" h="256601">
                  <a:moveTo>
                    <a:pt x="323925" y="0"/>
                  </a:moveTo>
                  <a:lnTo>
                    <a:pt x="323925" y="0"/>
                  </a:lnTo>
                  <a:lnTo>
                    <a:pt x="323925" y="0"/>
                  </a:lnTo>
                  <a:lnTo>
                    <a:pt x="3811" y="236276"/>
                  </a:lnTo>
                  <a:lnTo>
                    <a:pt x="3811" y="250250"/>
                  </a:lnTo>
                  <a:cubicBezTo>
                    <a:pt x="3811" y="252791"/>
                    <a:pt x="2541" y="255331"/>
                    <a:pt x="0" y="256601"/>
                  </a:cubicBezTo>
                  <a:lnTo>
                    <a:pt x="1270" y="256601"/>
                  </a:lnTo>
                  <a:lnTo>
                    <a:pt x="321384" y="21595"/>
                  </a:lnTo>
                  <a:lnTo>
                    <a:pt x="321384" y="6352"/>
                  </a:lnTo>
                  <a:cubicBezTo>
                    <a:pt x="321384" y="3811"/>
                    <a:pt x="322654" y="1270"/>
                    <a:pt x="323925" y="0"/>
                  </a:cubicBezTo>
                  <a:close/>
                </a:path>
              </a:pathLst>
            </a:custGeom>
            <a:solidFill>
              <a:srgbClr val="000000"/>
            </a:solidFill>
            <a:ln w="12688"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68B353E9-8848-4360-AE1B-9FC1367D4BAE}"/>
                </a:ext>
              </a:extLst>
            </p:cNvPr>
            <p:cNvSpPr/>
            <p:nvPr/>
          </p:nvSpPr>
          <p:spPr>
            <a:xfrm>
              <a:off x="4168537" y="4055518"/>
              <a:ext cx="564" cy="564"/>
            </a:xfrm>
            <a:custGeom>
              <a:avLst/>
              <a:gdLst>
                <a:gd name="connsiteX0" fmla="*/ 565 w 564"/>
                <a:gd name="connsiteY0" fmla="*/ 564 h 564"/>
                <a:gd name="connsiteX1" fmla="*/ 565 w 564"/>
                <a:gd name="connsiteY1" fmla="*/ 564 h 564"/>
                <a:gd name="connsiteX2" fmla="*/ 565 w 564"/>
                <a:gd name="connsiteY2" fmla="*/ 564 h 564"/>
                <a:gd name="connsiteX3" fmla="*/ 565 w 564"/>
                <a:gd name="connsiteY3" fmla="*/ 564 h 564"/>
              </a:gdLst>
              <a:ahLst/>
              <a:cxnLst>
                <a:cxn ang="0">
                  <a:pos x="connsiteX0" y="connsiteY0"/>
                </a:cxn>
                <a:cxn ang="0">
                  <a:pos x="connsiteX1" y="connsiteY1"/>
                </a:cxn>
                <a:cxn ang="0">
                  <a:pos x="connsiteX2" y="connsiteY2"/>
                </a:cxn>
                <a:cxn ang="0">
                  <a:pos x="connsiteX3" y="connsiteY3"/>
                </a:cxn>
              </a:cxnLst>
              <a:rect l="l" t="t" r="r" b="b"/>
              <a:pathLst>
                <a:path w="564" h="564">
                  <a:moveTo>
                    <a:pt x="565" y="564"/>
                  </a:moveTo>
                  <a:lnTo>
                    <a:pt x="565" y="564"/>
                  </a:lnTo>
                  <a:cubicBezTo>
                    <a:pt x="565" y="564"/>
                    <a:pt x="-706" y="564"/>
                    <a:pt x="565" y="564"/>
                  </a:cubicBezTo>
                  <a:cubicBezTo>
                    <a:pt x="-706" y="-706"/>
                    <a:pt x="565" y="564"/>
                    <a:pt x="565" y="564"/>
                  </a:cubicBezTo>
                  <a:close/>
                </a:path>
              </a:pathLst>
            </a:custGeom>
            <a:solidFill>
              <a:srgbClr val="000000"/>
            </a:solidFill>
            <a:ln w="12688"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58F0DD5B-E486-4FB5-8F3B-4490C0E17E2A}"/>
                </a:ext>
              </a:extLst>
            </p:cNvPr>
            <p:cNvSpPr/>
            <p:nvPr/>
          </p:nvSpPr>
          <p:spPr>
            <a:xfrm>
              <a:off x="4513350" y="3802022"/>
              <a:ext cx="1270" cy="1270"/>
            </a:xfrm>
            <a:custGeom>
              <a:avLst/>
              <a:gdLst>
                <a:gd name="connsiteX0" fmla="*/ 0 w 1270"/>
                <a:gd name="connsiteY0" fmla="*/ 0 h 1270"/>
                <a:gd name="connsiteX1" fmla="*/ 1270 w 1270"/>
                <a:gd name="connsiteY1" fmla="*/ 1270 h 1270"/>
                <a:gd name="connsiteX2" fmla="*/ 0 w 1270"/>
                <a:gd name="connsiteY2" fmla="*/ 0 h 1270"/>
                <a:gd name="connsiteX3" fmla="*/ 0 w 1270"/>
                <a:gd name="connsiteY3" fmla="*/ 0 h 1270"/>
              </a:gdLst>
              <a:ahLst/>
              <a:cxnLst>
                <a:cxn ang="0">
                  <a:pos x="connsiteX0" y="connsiteY0"/>
                </a:cxn>
                <a:cxn ang="0">
                  <a:pos x="connsiteX1" y="connsiteY1"/>
                </a:cxn>
                <a:cxn ang="0">
                  <a:pos x="connsiteX2" y="connsiteY2"/>
                </a:cxn>
                <a:cxn ang="0">
                  <a:pos x="connsiteX3" y="connsiteY3"/>
                </a:cxn>
              </a:cxnLst>
              <a:rect l="l" t="t" r="r" b="b"/>
              <a:pathLst>
                <a:path w="1270" h="1270">
                  <a:moveTo>
                    <a:pt x="0" y="0"/>
                  </a:moveTo>
                  <a:lnTo>
                    <a:pt x="1270" y="1270"/>
                  </a:lnTo>
                  <a:cubicBezTo>
                    <a:pt x="0" y="1270"/>
                    <a:pt x="0" y="127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FBA83C37-DE06-41DF-A451-F321EA0ECF1D}"/>
                </a:ext>
              </a:extLst>
            </p:cNvPr>
            <p:cNvSpPr/>
            <p:nvPr/>
          </p:nvSpPr>
          <p:spPr>
            <a:xfrm>
              <a:off x="4504459" y="3800752"/>
              <a:ext cx="1270" cy="12703"/>
            </a:xfrm>
            <a:custGeom>
              <a:avLst/>
              <a:gdLst>
                <a:gd name="connsiteX0" fmla="*/ 0 w 1270"/>
                <a:gd name="connsiteY0" fmla="*/ 0 h 12703"/>
                <a:gd name="connsiteX1" fmla="*/ 1270 w 1270"/>
                <a:gd name="connsiteY1" fmla="*/ 0 h 12703"/>
                <a:gd name="connsiteX2" fmla="*/ 1270 w 1270"/>
                <a:gd name="connsiteY2" fmla="*/ 0 h 12703"/>
                <a:gd name="connsiteX3" fmla="*/ 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0" y="0"/>
                  </a:moveTo>
                  <a:lnTo>
                    <a:pt x="1270" y="0"/>
                  </a:lnTo>
                  <a:lnTo>
                    <a:pt x="1270" y="0"/>
                  </a:lnTo>
                  <a:lnTo>
                    <a:pt x="0" y="0"/>
                  </a:lnTo>
                  <a:close/>
                </a:path>
              </a:pathLst>
            </a:custGeom>
            <a:solidFill>
              <a:srgbClr val="000000"/>
            </a:solidFill>
            <a:ln w="12688"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C5FC8D0A-346E-4FFA-B49C-03667546E66B}"/>
                </a:ext>
              </a:extLst>
            </p:cNvPr>
            <p:cNvSpPr/>
            <p:nvPr/>
          </p:nvSpPr>
          <p:spPr>
            <a:xfrm>
              <a:off x="4508269" y="3799481"/>
              <a:ext cx="1270" cy="12703"/>
            </a:xfrm>
            <a:custGeom>
              <a:avLst/>
              <a:gdLst>
                <a:gd name="connsiteX0" fmla="*/ 0 w 1270"/>
                <a:gd name="connsiteY0" fmla="*/ 0 h 12703"/>
                <a:gd name="connsiteX1" fmla="*/ 1270 w 1270"/>
                <a:gd name="connsiteY1" fmla="*/ 0 h 12703"/>
                <a:gd name="connsiteX2" fmla="*/ 0 w 1270"/>
                <a:gd name="connsiteY2" fmla="*/ 0 h 12703"/>
              </a:gdLst>
              <a:ahLst/>
              <a:cxnLst>
                <a:cxn ang="0">
                  <a:pos x="connsiteX0" y="connsiteY0"/>
                </a:cxn>
                <a:cxn ang="0">
                  <a:pos x="connsiteX1" y="connsiteY1"/>
                </a:cxn>
                <a:cxn ang="0">
                  <a:pos x="connsiteX2" y="connsiteY2"/>
                </a:cxn>
              </a:cxnLst>
              <a:rect l="l" t="t" r="r" b="b"/>
              <a:pathLst>
                <a:path w="1270" h="12703">
                  <a:moveTo>
                    <a:pt x="0" y="0"/>
                  </a:moveTo>
                  <a:lnTo>
                    <a:pt x="1270" y="0"/>
                  </a:lnTo>
                  <a:lnTo>
                    <a:pt x="0" y="0"/>
                  </a:lnTo>
                  <a:close/>
                </a:path>
              </a:pathLst>
            </a:custGeom>
            <a:solidFill>
              <a:srgbClr val="000000"/>
            </a:solidFill>
            <a:ln w="12688"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EE238328-BE38-455D-8241-2724F98FDB1D}"/>
                </a:ext>
              </a:extLst>
            </p:cNvPr>
            <p:cNvSpPr/>
            <p:nvPr/>
          </p:nvSpPr>
          <p:spPr>
            <a:xfrm>
              <a:off x="774878" y="5854835"/>
              <a:ext cx="57163" cy="431903"/>
            </a:xfrm>
            <a:custGeom>
              <a:avLst/>
              <a:gdLst>
                <a:gd name="connsiteX0" fmla="*/ 8892 w 57163"/>
                <a:gd name="connsiteY0" fmla="*/ 2541 h 431903"/>
                <a:gd name="connsiteX1" fmla="*/ 7622 w 57163"/>
                <a:gd name="connsiteY1" fmla="*/ 2541 h 431903"/>
                <a:gd name="connsiteX2" fmla="*/ 6351 w 57163"/>
                <a:gd name="connsiteY2" fmla="*/ 2541 h 431903"/>
                <a:gd name="connsiteX3" fmla="*/ 5081 w 57163"/>
                <a:gd name="connsiteY3" fmla="*/ 2541 h 431903"/>
                <a:gd name="connsiteX4" fmla="*/ 3811 w 57163"/>
                <a:gd name="connsiteY4" fmla="*/ 2541 h 431903"/>
                <a:gd name="connsiteX5" fmla="*/ 3811 w 57163"/>
                <a:gd name="connsiteY5" fmla="*/ 2541 h 431903"/>
                <a:gd name="connsiteX6" fmla="*/ 0 w 57163"/>
                <a:gd name="connsiteY6" fmla="*/ 1270 h 431903"/>
                <a:gd name="connsiteX7" fmla="*/ 41920 w 57163"/>
                <a:gd name="connsiteY7" fmla="*/ 426823 h 431903"/>
                <a:gd name="connsiteX8" fmla="*/ 53352 w 57163"/>
                <a:gd name="connsiteY8" fmla="*/ 430633 h 431903"/>
                <a:gd name="connsiteX9" fmla="*/ 57163 w 57163"/>
                <a:gd name="connsiteY9" fmla="*/ 431904 h 431903"/>
                <a:gd name="connsiteX10" fmla="*/ 12703 w 57163"/>
                <a:gd name="connsiteY10" fmla="*/ 0 h 431903"/>
                <a:gd name="connsiteX11" fmla="*/ 8892 w 57163"/>
                <a:gd name="connsiteY11" fmla="*/ 2541 h 431903"/>
                <a:gd name="connsiteX12" fmla="*/ 8892 w 57163"/>
                <a:gd name="connsiteY12" fmla="*/ 2541 h 4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3" h="431903">
                  <a:moveTo>
                    <a:pt x="8892" y="2541"/>
                  </a:moveTo>
                  <a:lnTo>
                    <a:pt x="7622" y="2541"/>
                  </a:lnTo>
                  <a:lnTo>
                    <a:pt x="6351" y="2541"/>
                  </a:lnTo>
                  <a:lnTo>
                    <a:pt x="5081" y="2541"/>
                  </a:lnTo>
                  <a:lnTo>
                    <a:pt x="3811" y="2541"/>
                  </a:lnTo>
                  <a:lnTo>
                    <a:pt x="3811" y="2541"/>
                  </a:lnTo>
                  <a:lnTo>
                    <a:pt x="0" y="1270"/>
                  </a:lnTo>
                  <a:lnTo>
                    <a:pt x="41920" y="426823"/>
                  </a:lnTo>
                  <a:lnTo>
                    <a:pt x="53352" y="430633"/>
                  </a:lnTo>
                  <a:lnTo>
                    <a:pt x="57163" y="431904"/>
                  </a:lnTo>
                  <a:lnTo>
                    <a:pt x="12703" y="0"/>
                  </a:lnTo>
                  <a:lnTo>
                    <a:pt x="8892" y="2541"/>
                  </a:lnTo>
                  <a:lnTo>
                    <a:pt x="8892" y="2541"/>
                  </a:lnTo>
                  <a:close/>
                </a:path>
              </a:pathLst>
            </a:custGeom>
            <a:solidFill>
              <a:srgbClr val="000000"/>
            </a:solidFill>
            <a:ln w="12688"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7422761F-D0B3-4CA4-8E9E-800DDB4FC6DD}"/>
                </a:ext>
              </a:extLst>
            </p:cNvPr>
            <p:cNvSpPr/>
            <p:nvPr/>
          </p:nvSpPr>
          <p:spPr>
            <a:xfrm>
              <a:off x="895556" y="6315391"/>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565"/>
                    <a:pt x="0" y="565"/>
                  </a:cubicBezTo>
                  <a:lnTo>
                    <a:pt x="0" y="565"/>
                  </a:lnTo>
                  <a:cubicBezTo>
                    <a:pt x="0" y="-706"/>
                    <a:pt x="0" y="565"/>
                    <a:pt x="0" y="565"/>
                  </a:cubicBezTo>
                  <a:close/>
                </a:path>
              </a:pathLst>
            </a:custGeom>
            <a:solidFill>
              <a:srgbClr val="000000"/>
            </a:solidFill>
            <a:ln w="12688"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448851D6-2EBA-496E-8D6C-A2E47D4301E5}"/>
                </a:ext>
              </a:extLst>
            </p:cNvPr>
            <p:cNvSpPr/>
            <p:nvPr/>
          </p:nvSpPr>
          <p:spPr>
            <a:xfrm>
              <a:off x="894286" y="631341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AAE34C19-878B-4389-A49B-CAC78A2ED75B}"/>
                </a:ext>
              </a:extLst>
            </p:cNvPr>
            <p:cNvSpPr/>
            <p:nvPr/>
          </p:nvSpPr>
          <p:spPr>
            <a:xfrm>
              <a:off x="893016" y="631087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2C5B5D2-64C0-43C1-B1D2-CB0963685EAF}"/>
                </a:ext>
              </a:extLst>
            </p:cNvPr>
            <p:cNvSpPr/>
            <p:nvPr/>
          </p:nvSpPr>
          <p:spPr>
            <a:xfrm>
              <a:off x="486522" y="6319766"/>
              <a:ext cx="396331" cy="298521"/>
            </a:xfrm>
            <a:custGeom>
              <a:avLst/>
              <a:gdLst>
                <a:gd name="connsiteX0" fmla="*/ 395061 w 396331"/>
                <a:gd name="connsiteY0" fmla="*/ 3811 h 298521"/>
                <a:gd name="connsiteX1" fmla="*/ 386169 w 396331"/>
                <a:gd name="connsiteY1" fmla="*/ 0 h 298521"/>
                <a:gd name="connsiteX2" fmla="*/ 0 w 396331"/>
                <a:gd name="connsiteY2" fmla="*/ 282008 h 298521"/>
                <a:gd name="connsiteX3" fmla="*/ 1270 w 396331"/>
                <a:gd name="connsiteY3" fmla="*/ 294711 h 298521"/>
                <a:gd name="connsiteX4" fmla="*/ 1270 w 396331"/>
                <a:gd name="connsiteY4" fmla="*/ 298522 h 298521"/>
                <a:gd name="connsiteX5" fmla="*/ 396331 w 396331"/>
                <a:gd name="connsiteY5" fmla="*/ 11433 h 29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31" h="298521">
                  <a:moveTo>
                    <a:pt x="395061" y="3811"/>
                  </a:moveTo>
                  <a:lnTo>
                    <a:pt x="386169" y="0"/>
                  </a:lnTo>
                  <a:lnTo>
                    <a:pt x="0" y="282008"/>
                  </a:lnTo>
                  <a:lnTo>
                    <a:pt x="1270" y="294711"/>
                  </a:lnTo>
                  <a:lnTo>
                    <a:pt x="1270" y="298522"/>
                  </a:lnTo>
                  <a:lnTo>
                    <a:pt x="396331" y="11433"/>
                  </a:lnTo>
                  <a:close/>
                </a:path>
              </a:pathLst>
            </a:custGeom>
            <a:solidFill>
              <a:srgbClr val="000000"/>
            </a:solidFill>
            <a:ln w="12688"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022BAE21-69A0-4A8C-9C55-92F18FA02F84}"/>
                </a:ext>
              </a:extLst>
            </p:cNvPr>
            <p:cNvSpPr/>
            <p:nvPr/>
          </p:nvSpPr>
          <p:spPr>
            <a:xfrm>
              <a:off x="893016" y="6312144"/>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C1D99DC8-C72E-47E3-A262-692699482070}"/>
                </a:ext>
              </a:extLst>
            </p:cNvPr>
            <p:cNvSpPr/>
            <p:nvPr/>
          </p:nvSpPr>
          <p:spPr>
            <a:xfrm>
              <a:off x="882853" y="6315955"/>
              <a:ext cx="60974" cy="494148"/>
            </a:xfrm>
            <a:custGeom>
              <a:avLst/>
              <a:gdLst>
                <a:gd name="connsiteX0" fmla="*/ 12703 w 60974"/>
                <a:gd name="connsiteY0" fmla="*/ 3811 h 494148"/>
                <a:gd name="connsiteX1" fmla="*/ 3811 w 60974"/>
                <a:gd name="connsiteY1" fmla="*/ 7622 h 494148"/>
                <a:gd name="connsiteX2" fmla="*/ 3811 w 60974"/>
                <a:gd name="connsiteY2" fmla="*/ 7622 h 494148"/>
                <a:gd name="connsiteX3" fmla="*/ 0 w 60974"/>
                <a:gd name="connsiteY3" fmla="*/ 6352 h 494148"/>
                <a:gd name="connsiteX4" fmla="*/ 1270 w 60974"/>
                <a:gd name="connsiteY4" fmla="*/ 15243 h 494148"/>
                <a:gd name="connsiteX5" fmla="*/ 47001 w 60974"/>
                <a:gd name="connsiteY5" fmla="*/ 489067 h 494148"/>
                <a:gd name="connsiteX6" fmla="*/ 57163 w 60974"/>
                <a:gd name="connsiteY6" fmla="*/ 492878 h 494148"/>
                <a:gd name="connsiteX7" fmla="*/ 60974 w 60974"/>
                <a:gd name="connsiteY7" fmla="*/ 494148 h 494148"/>
                <a:gd name="connsiteX8" fmla="*/ 12703 w 60974"/>
                <a:gd name="connsiteY8" fmla="*/ 0 h 494148"/>
                <a:gd name="connsiteX9" fmla="*/ 12703 w 60974"/>
                <a:gd name="connsiteY9" fmla="*/ 0 h 494148"/>
                <a:gd name="connsiteX10" fmla="*/ 12703 w 60974"/>
                <a:gd name="connsiteY10" fmla="*/ 0 h 494148"/>
                <a:gd name="connsiteX11" fmla="*/ 12703 w 60974"/>
                <a:gd name="connsiteY11" fmla="*/ 3811 h 49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74" h="494148">
                  <a:moveTo>
                    <a:pt x="12703" y="3811"/>
                  </a:moveTo>
                  <a:cubicBezTo>
                    <a:pt x="11433" y="7622"/>
                    <a:pt x="7622" y="10162"/>
                    <a:pt x="3811" y="7622"/>
                  </a:cubicBezTo>
                  <a:cubicBezTo>
                    <a:pt x="3811" y="7622"/>
                    <a:pt x="3811" y="7622"/>
                    <a:pt x="3811" y="7622"/>
                  </a:cubicBezTo>
                  <a:lnTo>
                    <a:pt x="0" y="6352"/>
                  </a:lnTo>
                  <a:lnTo>
                    <a:pt x="1270" y="15243"/>
                  </a:lnTo>
                  <a:lnTo>
                    <a:pt x="47001" y="489067"/>
                  </a:lnTo>
                  <a:lnTo>
                    <a:pt x="57163" y="492878"/>
                  </a:lnTo>
                  <a:lnTo>
                    <a:pt x="60974" y="494148"/>
                  </a:lnTo>
                  <a:lnTo>
                    <a:pt x="12703" y="0"/>
                  </a:lnTo>
                  <a:lnTo>
                    <a:pt x="12703" y="0"/>
                  </a:lnTo>
                  <a:cubicBezTo>
                    <a:pt x="12703" y="0"/>
                    <a:pt x="12703" y="0"/>
                    <a:pt x="12703" y="0"/>
                  </a:cubicBezTo>
                  <a:cubicBezTo>
                    <a:pt x="13973" y="1270"/>
                    <a:pt x="12703" y="2540"/>
                    <a:pt x="12703" y="3811"/>
                  </a:cubicBezTo>
                  <a:close/>
                </a:path>
              </a:pathLst>
            </a:custGeom>
            <a:solidFill>
              <a:srgbClr val="000000"/>
            </a:solidFill>
            <a:ln w="12688"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27533750-444F-47CF-890F-A023D2EF37BA}"/>
                </a:ext>
              </a:extLst>
            </p:cNvPr>
            <p:cNvSpPr/>
            <p:nvPr/>
          </p:nvSpPr>
          <p:spPr>
            <a:xfrm>
              <a:off x="895556" y="6313732"/>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lnTo>
                    <a:pt x="0" y="953"/>
                  </a:lnTo>
                  <a:cubicBezTo>
                    <a:pt x="0" y="-318"/>
                    <a:pt x="0" y="-318"/>
                    <a:pt x="0" y="953"/>
                  </a:cubicBezTo>
                  <a:close/>
                </a:path>
              </a:pathLst>
            </a:custGeom>
            <a:solidFill>
              <a:srgbClr val="000000"/>
            </a:solidFill>
            <a:ln w="12688"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1F2622D-38A6-41FA-9232-C3B9CD066073}"/>
                </a:ext>
              </a:extLst>
            </p:cNvPr>
            <p:cNvSpPr/>
            <p:nvPr/>
          </p:nvSpPr>
          <p:spPr>
            <a:xfrm>
              <a:off x="221030" y="0"/>
              <a:ext cx="148624" cy="1356685"/>
            </a:xfrm>
            <a:custGeom>
              <a:avLst/>
              <a:gdLst>
                <a:gd name="connsiteX0" fmla="*/ 148624 w 148624"/>
                <a:gd name="connsiteY0" fmla="*/ 1356686 h 1356685"/>
                <a:gd name="connsiteX1" fmla="*/ 15244 w 148624"/>
                <a:gd name="connsiteY1" fmla="*/ 0 h 1356685"/>
                <a:gd name="connsiteX2" fmla="*/ 0 w 148624"/>
                <a:gd name="connsiteY2" fmla="*/ 0 h 1356685"/>
                <a:gd name="connsiteX3" fmla="*/ 133381 w 148624"/>
                <a:gd name="connsiteY3" fmla="*/ 1352875 h 1356685"/>
                <a:gd name="connsiteX4" fmla="*/ 143543 w 148624"/>
                <a:gd name="connsiteY4" fmla="*/ 1355415 h 135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24" h="1356685">
                  <a:moveTo>
                    <a:pt x="148624" y="1356686"/>
                  </a:moveTo>
                  <a:lnTo>
                    <a:pt x="15244" y="0"/>
                  </a:lnTo>
                  <a:lnTo>
                    <a:pt x="0" y="0"/>
                  </a:lnTo>
                  <a:lnTo>
                    <a:pt x="133381" y="1352875"/>
                  </a:lnTo>
                  <a:lnTo>
                    <a:pt x="143543" y="1355415"/>
                  </a:lnTo>
                  <a:close/>
                </a:path>
              </a:pathLst>
            </a:custGeom>
            <a:solidFill>
              <a:srgbClr val="000000"/>
            </a:solidFill>
            <a:ln w="12688"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8FAC16B0-41EB-4F2C-BC8F-39753FED68C9}"/>
                </a:ext>
              </a:extLst>
            </p:cNvPr>
            <p:cNvSpPr/>
            <p:nvPr/>
          </p:nvSpPr>
          <p:spPr>
            <a:xfrm>
              <a:off x="778689" y="5223493"/>
              <a:ext cx="877772" cy="633882"/>
            </a:xfrm>
            <a:custGeom>
              <a:avLst/>
              <a:gdLst>
                <a:gd name="connsiteX0" fmla="*/ 876502 w 877772"/>
                <a:gd name="connsiteY0" fmla="*/ 0 h 633882"/>
                <a:gd name="connsiteX1" fmla="*/ 0 w 877772"/>
                <a:gd name="connsiteY1" fmla="*/ 619909 h 633882"/>
                <a:gd name="connsiteX2" fmla="*/ 3811 w 877772"/>
                <a:gd name="connsiteY2" fmla="*/ 621179 h 633882"/>
                <a:gd name="connsiteX3" fmla="*/ 8892 w 877772"/>
                <a:gd name="connsiteY3" fmla="*/ 630071 h 633882"/>
                <a:gd name="connsiteX4" fmla="*/ 8892 w 877772"/>
                <a:gd name="connsiteY4" fmla="*/ 630071 h 633882"/>
                <a:gd name="connsiteX5" fmla="*/ 5081 w 877772"/>
                <a:gd name="connsiteY5" fmla="*/ 633882 h 633882"/>
                <a:gd name="connsiteX6" fmla="*/ 5081 w 877772"/>
                <a:gd name="connsiteY6" fmla="*/ 633882 h 633882"/>
                <a:gd name="connsiteX7" fmla="*/ 8892 w 877772"/>
                <a:gd name="connsiteY7" fmla="*/ 631341 h 633882"/>
                <a:gd name="connsiteX8" fmla="*/ 877772 w 877772"/>
                <a:gd name="connsiteY8" fmla="*/ 17784 h 633882"/>
                <a:gd name="connsiteX9" fmla="*/ 876502 w 877772"/>
                <a:gd name="connsiteY9" fmla="*/ 5081 h 633882"/>
                <a:gd name="connsiteX10" fmla="*/ 876502 w 877772"/>
                <a:gd name="connsiteY10" fmla="*/ 0 h 63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7772" h="633882">
                  <a:moveTo>
                    <a:pt x="876502" y="0"/>
                  </a:moveTo>
                  <a:lnTo>
                    <a:pt x="0" y="619909"/>
                  </a:lnTo>
                  <a:lnTo>
                    <a:pt x="3811" y="621179"/>
                  </a:lnTo>
                  <a:cubicBezTo>
                    <a:pt x="7622" y="622449"/>
                    <a:pt x="10162" y="626260"/>
                    <a:pt x="8892" y="630071"/>
                  </a:cubicBezTo>
                  <a:cubicBezTo>
                    <a:pt x="8892" y="630071"/>
                    <a:pt x="8892" y="630071"/>
                    <a:pt x="8892" y="630071"/>
                  </a:cubicBezTo>
                  <a:cubicBezTo>
                    <a:pt x="7622" y="631341"/>
                    <a:pt x="7622" y="632612"/>
                    <a:pt x="5081" y="633882"/>
                  </a:cubicBezTo>
                  <a:lnTo>
                    <a:pt x="5081" y="633882"/>
                  </a:lnTo>
                  <a:lnTo>
                    <a:pt x="8892" y="631341"/>
                  </a:lnTo>
                  <a:lnTo>
                    <a:pt x="877772" y="17784"/>
                  </a:lnTo>
                  <a:lnTo>
                    <a:pt x="876502" y="5081"/>
                  </a:lnTo>
                  <a:lnTo>
                    <a:pt x="876502" y="0"/>
                  </a:lnTo>
                  <a:close/>
                </a:path>
              </a:pathLst>
            </a:custGeom>
            <a:solidFill>
              <a:srgbClr val="000000"/>
            </a:solidFill>
            <a:ln w="12688"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96724F19-3BA5-41DF-9E9C-60620B9EF9BA}"/>
                </a:ext>
              </a:extLst>
            </p:cNvPr>
            <p:cNvSpPr/>
            <p:nvPr/>
          </p:nvSpPr>
          <p:spPr>
            <a:xfrm>
              <a:off x="1454485" y="4832239"/>
              <a:ext cx="177841" cy="71137"/>
            </a:xfrm>
            <a:custGeom>
              <a:avLst/>
              <a:gdLst>
                <a:gd name="connsiteX0" fmla="*/ 5081 w 177841"/>
                <a:gd name="connsiteY0" fmla="*/ 5081 h 71137"/>
                <a:gd name="connsiteX1" fmla="*/ 5081 w 177841"/>
                <a:gd name="connsiteY1" fmla="*/ 5081 h 71137"/>
                <a:gd name="connsiteX2" fmla="*/ 5081 w 177841"/>
                <a:gd name="connsiteY2" fmla="*/ 5081 h 71137"/>
                <a:gd name="connsiteX3" fmla="*/ 5081 w 177841"/>
                <a:gd name="connsiteY3" fmla="*/ 7622 h 71137"/>
                <a:gd name="connsiteX4" fmla="*/ 5081 w 177841"/>
                <a:gd name="connsiteY4" fmla="*/ 7622 h 71137"/>
                <a:gd name="connsiteX5" fmla="*/ 5081 w 177841"/>
                <a:gd name="connsiteY5" fmla="*/ 7622 h 71137"/>
                <a:gd name="connsiteX6" fmla="*/ 5081 w 177841"/>
                <a:gd name="connsiteY6" fmla="*/ 8892 h 71137"/>
                <a:gd name="connsiteX7" fmla="*/ 3811 w 177841"/>
                <a:gd name="connsiteY7" fmla="*/ 10163 h 71137"/>
                <a:gd name="connsiteX8" fmla="*/ 3811 w 177841"/>
                <a:gd name="connsiteY8" fmla="*/ 10163 h 71137"/>
                <a:gd name="connsiteX9" fmla="*/ 2541 w 177841"/>
                <a:gd name="connsiteY9" fmla="*/ 11433 h 71137"/>
                <a:gd name="connsiteX10" fmla="*/ 2541 w 177841"/>
                <a:gd name="connsiteY10" fmla="*/ 11433 h 71137"/>
                <a:gd name="connsiteX11" fmla="*/ 0 w 177841"/>
                <a:gd name="connsiteY11" fmla="*/ 13973 h 71137"/>
                <a:gd name="connsiteX12" fmla="*/ 177841 w 177841"/>
                <a:gd name="connsiteY12" fmla="*/ 71137 h 71137"/>
                <a:gd name="connsiteX13" fmla="*/ 177841 w 177841"/>
                <a:gd name="connsiteY13" fmla="*/ 66056 h 71137"/>
                <a:gd name="connsiteX14" fmla="*/ 176571 w 177841"/>
                <a:gd name="connsiteY14" fmla="*/ 54623 h 71137"/>
                <a:gd name="connsiteX15" fmla="*/ 6351 w 177841"/>
                <a:gd name="connsiteY15" fmla="*/ 0 h 71137"/>
                <a:gd name="connsiteX16" fmla="*/ 5081 w 177841"/>
                <a:gd name="connsiteY16" fmla="*/ 5081 h 7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7841" h="71137">
                  <a:moveTo>
                    <a:pt x="5081" y="5081"/>
                  </a:moveTo>
                  <a:lnTo>
                    <a:pt x="5081" y="5081"/>
                  </a:lnTo>
                  <a:cubicBezTo>
                    <a:pt x="5081" y="5081"/>
                    <a:pt x="5081" y="5081"/>
                    <a:pt x="5081" y="5081"/>
                  </a:cubicBezTo>
                  <a:cubicBezTo>
                    <a:pt x="5081" y="6352"/>
                    <a:pt x="5081" y="7622"/>
                    <a:pt x="5081" y="7622"/>
                  </a:cubicBezTo>
                  <a:lnTo>
                    <a:pt x="5081" y="7622"/>
                  </a:lnTo>
                  <a:lnTo>
                    <a:pt x="5081" y="7622"/>
                  </a:lnTo>
                  <a:cubicBezTo>
                    <a:pt x="5081" y="7622"/>
                    <a:pt x="5081" y="7622"/>
                    <a:pt x="5081" y="8892"/>
                  </a:cubicBezTo>
                  <a:cubicBezTo>
                    <a:pt x="5081" y="8892"/>
                    <a:pt x="5081" y="10163"/>
                    <a:pt x="3811" y="10163"/>
                  </a:cubicBezTo>
                  <a:lnTo>
                    <a:pt x="3811" y="10163"/>
                  </a:lnTo>
                  <a:cubicBezTo>
                    <a:pt x="3811" y="10163"/>
                    <a:pt x="3811" y="10163"/>
                    <a:pt x="2541" y="11433"/>
                  </a:cubicBezTo>
                  <a:lnTo>
                    <a:pt x="2541" y="11433"/>
                  </a:lnTo>
                  <a:lnTo>
                    <a:pt x="0" y="13973"/>
                  </a:lnTo>
                  <a:lnTo>
                    <a:pt x="177841" y="71137"/>
                  </a:lnTo>
                  <a:lnTo>
                    <a:pt x="177841" y="66056"/>
                  </a:lnTo>
                  <a:lnTo>
                    <a:pt x="176571" y="54623"/>
                  </a:lnTo>
                  <a:lnTo>
                    <a:pt x="6351" y="0"/>
                  </a:lnTo>
                  <a:lnTo>
                    <a:pt x="5081" y="5081"/>
                  </a:lnTo>
                  <a:close/>
                </a:path>
              </a:pathLst>
            </a:custGeom>
            <a:solidFill>
              <a:srgbClr val="000000"/>
            </a:solidFill>
            <a:ln w="12688"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6BB1A445-68CE-46AE-976E-501A52B8A427}"/>
                </a:ext>
              </a:extLst>
            </p:cNvPr>
            <p:cNvSpPr/>
            <p:nvPr/>
          </p:nvSpPr>
          <p:spPr>
            <a:xfrm>
              <a:off x="1342699" y="4372389"/>
              <a:ext cx="50811" cy="442630"/>
            </a:xfrm>
            <a:custGeom>
              <a:avLst/>
              <a:gdLst>
                <a:gd name="connsiteX0" fmla="*/ 36839 w 50811"/>
                <a:gd name="connsiteY0" fmla="*/ 442066 h 442630"/>
                <a:gd name="connsiteX1" fmla="*/ 36839 w 50811"/>
                <a:gd name="connsiteY1" fmla="*/ 442066 h 442630"/>
                <a:gd name="connsiteX2" fmla="*/ 38109 w 50811"/>
                <a:gd name="connsiteY2" fmla="*/ 439525 h 442630"/>
                <a:gd name="connsiteX3" fmla="*/ 39379 w 50811"/>
                <a:gd name="connsiteY3" fmla="*/ 438255 h 442630"/>
                <a:gd name="connsiteX4" fmla="*/ 40649 w 50811"/>
                <a:gd name="connsiteY4" fmla="*/ 436985 h 442630"/>
                <a:gd name="connsiteX5" fmla="*/ 43190 w 50811"/>
                <a:gd name="connsiteY5" fmla="*/ 435714 h 442630"/>
                <a:gd name="connsiteX6" fmla="*/ 44460 w 50811"/>
                <a:gd name="connsiteY6" fmla="*/ 435714 h 442630"/>
                <a:gd name="connsiteX7" fmla="*/ 45731 w 50811"/>
                <a:gd name="connsiteY7" fmla="*/ 435714 h 442630"/>
                <a:gd name="connsiteX8" fmla="*/ 50812 w 50811"/>
                <a:gd name="connsiteY8" fmla="*/ 436985 h 442630"/>
                <a:gd name="connsiteX9" fmla="*/ 15244 w 50811"/>
                <a:gd name="connsiteY9" fmla="*/ 5081 h 442630"/>
                <a:gd name="connsiteX10" fmla="*/ 5081 w 50811"/>
                <a:gd name="connsiteY10" fmla="*/ 1270 h 442630"/>
                <a:gd name="connsiteX11" fmla="*/ 0 w 50811"/>
                <a:gd name="connsiteY11" fmla="*/ 0 h 442630"/>
                <a:gd name="connsiteX12" fmla="*/ 36839 w 50811"/>
                <a:gd name="connsiteY12" fmla="*/ 442066 h 442630"/>
                <a:gd name="connsiteX13" fmla="*/ 36839 w 50811"/>
                <a:gd name="connsiteY13" fmla="*/ 442066 h 442630"/>
                <a:gd name="connsiteX14" fmla="*/ 36839 w 50811"/>
                <a:gd name="connsiteY14" fmla="*/ 442066 h 44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11" h="442630">
                  <a:moveTo>
                    <a:pt x="36839" y="442066"/>
                  </a:moveTo>
                  <a:lnTo>
                    <a:pt x="36839" y="442066"/>
                  </a:lnTo>
                  <a:cubicBezTo>
                    <a:pt x="36839" y="440796"/>
                    <a:pt x="38109" y="440796"/>
                    <a:pt x="38109" y="439525"/>
                  </a:cubicBezTo>
                  <a:lnTo>
                    <a:pt x="39379" y="438255"/>
                  </a:lnTo>
                  <a:lnTo>
                    <a:pt x="40649" y="436985"/>
                  </a:lnTo>
                  <a:cubicBezTo>
                    <a:pt x="41920" y="436985"/>
                    <a:pt x="41920" y="435714"/>
                    <a:pt x="43190" y="435714"/>
                  </a:cubicBezTo>
                  <a:lnTo>
                    <a:pt x="44460" y="435714"/>
                  </a:lnTo>
                  <a:cubicBezTo>
                    <a:pt x="44460" y="435714"/>
                    <a:pt x="45731" y="435714"/>
                    <a:pt x="45731" y="435714"/>
                  </a:cubicBezTo>
                  <a:lnTo>
                    <a:pt x="50812" y="436985"/>
                  </a:lnTo>
                  <a:lnTo>
                    <a:pt x="15244" y="5081"/>
                  </a:lnTo>
                  <a:lnTo>
                    <a:pt x="5081" y="1270"/>
                  </a:lnTo>
                  <a:lnTo>
                    <a:pt x="0" y="0"/>
                  </a:lnTo>
                  <a:lnTo>
                    <a:pt x="36839" y="442066"/>
                  </a:lnTo>
                  <a:lnTo>
                    <a:pt x="36839" y="442066"/>
                  </a:lnTo>
                  <a:cubicBezTo>
                    <a:pt x="36839" y="443336"/>
                    <a:pt x="36839" y="442066"/>
                    <a:pt x="36839" y="442066"/>
                  </a:cubicBezTo>
                  <a:close/>
                </a:path>
              </a:pathLst>
            </a:custGeom>
            <a:solidFill>
              <a:srgbClr val="000000"/>
            </a:solidFill>
            <a:ln w="12688"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4897805F-5A76-48CD-9C1B-A9569C72A914}"/>
                </a:ext>
              </a:extLst>
            </p:cNvPr>
            <p:cNvSpPr/>
            <p:nvPr/>
          </p:nvSpPr>
          <p:spPr>
            <a:xfrm>
              <a:off x="1379538" y="4816996"/>
              <a:ext cx="19054" cy="58433"/>
            </a:xfrm>
            <a:custGeom>
              <a:avLst/>
              <a:gdLst>
                <a:gd name="connsiteX0" fmla="*/ 19054 w 19054"/>
                <a:gd name="connsiteY0" fmla="*/ 48271 h 58433"/>
                <a:gd name="connsiteX1" fmla="*/ 15244 w 19054"/>
                <a:gd name="connsiteY1" fmla="*/ 10162 h 58433"/>
                <a:gd name="connsiteX2" fmla="*/ 5081 w 19054"/>
                <a:gd name="connsiteY2" fmla="*/ 6352 h 58433"/>
                <a:gd name="connsiteX3" fmla="*/ 0 w 19054"/>
                <a:gd name="connsiteY3" fmla="*/ 0 h 58433"/>
                <a:gd name="connsiteX4" fmla="*/ 5081 w 19054"/>
                <a:gd name="connsiteY4" fmla="*/ 58434 h 58433"/>
                <a:gd name="connsiteX5" fmla="*/ 8892 w 19054"/>
                <a:gd name="connsiteY5" fmla="*/ 55893 h 58433"/>
                <a:gd name="connsiteX6" fmla="*/ 19054 w 19054"/>
                <a:gd name="connsiteY6" fmla="*/ 48271 h 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4" h="58433">
                  <a:moveTo>
                    <a:pt x="19054" y="48271"/>
                  </a:moveTo>
                  <a:lnTo>
                    <a:pt x="15244" y="10162"/>
                  </a:lnTo>
                  <a:lnTo>
                    <a:pt x="5081" y="6352"/>
                  </a:lnTo>
                  <a:cubicBezTo>
                    <a:pt x="2541" y="5081"/>
                    <a:pt x="0" y="2540"/>
                    <a:pt x="0" y="0"/>
                  </a:cubicBezTo>
                  <a:lnTo>
                    <a:pt x="5081" y="58434"/>
                  </a:lnTo>
                  <a:lnTo>
                    <a:pt x="8892" y="55893"/>
                  </a:lnTo>
                  <a:lnTo>
                    <a:pt x="19054" y="48271"/>
                  </a:lnTo>
                  <a:close/>
                </a:path>
              </a:pathLst>
            </a:custGeom>
            <a:solidFill>
              <a:srgbClr val="000000"/>
            </a:solidFill>
            <a:ln w="12688"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4ECB4ADF-4027-4B1E-82A3-8C01C111A883}"/>
                </a:ext>
              </a:extLst>
            </p:cNvPr>
            <p:cNvSpPr/>
            <p:nvPr/>
          </p:nvSpPr>
          <p:spPr>
            <a:xfrm>
              <a:off x="1378973" y="4816996"/>
              <a:ext cx="564" cy="12703"/>
            </a:xfrm>
            <a:custGeom>
              <a:avLst/>
              <a:gdLst>
                <a:gd name="connsiteX0" fmla="*/ 565 w 564"/>
                <a:gd name="connsiteY0" fmla="*/ 0 h 12703"/>
                <a:gd name="connsiteX1" fmla="*/ 565 w 564"/>
                <a:gd name="connsiteY1" fmla="*/ 0 h 12703"/>
                <a:gd name="connsiteX2" fmla="*/ 565 w 564"/>
                <a:gd name="connsiteY2" fmla="*/ 0 h 12703"/>
                <a:gd name="connsiteX3" fmla="*/ 565 w 564"/>
                <a:gd name="connsiteY3" fmla="*/ 0 h 12703"/>
              </a:gdLst>
              <a:ahLst/>
              <a:cxnLst>
                <a:cxn ang="0">
                  <a:pos x="connsiteX0" y="connsiteY0"/>
                </a:cxn>
                <a:cxn ang="0">
                  <a:pos x="connsiteX1" y="connsiteY1"/>
                </a:cxn>
                <a:cxn ang="0">
                  <a:pos x="connsiteX2" y="connsiteY2"/>
                </a:cxn>
                <a:cxn ang="0">
                  <a:pos x="connsiteX3" y="connsiteY3"/>
                </a:cxn>
              </a:cxnLst>
              <a:rect l="l" t="t" r="r" b="b"/>
              <a:pathLst>
                <a:path w="564" h="12703">
                  <a:moveTo>
                    <a:pt x="565" y="0"/>
                  </a:moveTo>
                  <a:lnTo>
                    <a:pt x="565" y="0"/>
                  </a:lnTo>
                  <a:lnTo>
                    <a:pt x="565" y="0"/>
                  </a:lnTo>
                  <a:cubicBezTo>
                    <a:pt x="565" y="0"/>
                    <a:pt x="-706" y="0"/>
                    <a:pt x="565" y="0"/>
                  </a:cubicBezTo>
                  <a:close/>
                </a:path>
              </a:pathLst>
            </a:custGeom>
            <a:solidFill>
              <a:srgbClr val="000000"/>
            </a:solidFill>
            <a:ln w="12688"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C3C255D1-A503-4454-964E-AA266C31C8E2}"/>
                </a:ext>
              </a:extLst>
            </p:cNvPr>
            <p:cNvSpPr/>
            <p:nvPr/>
          </p:nvSpPr>
          <p:spPr>
            <a:xfrm>
              <a:off x="1385889" y="4809374"/>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F0F018B8-19FB-43EA-82AE-E59EB1557F81}"/>
                </a:ext>
              </a:extLst>
            </p:cNvPr>
            <p:cNvSpPr/>
            <p:nvPr/>
          </p:nvSpPr>
          <p:spPr>
            <a:xfrm>
              <a:off x="1459566" y="483986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033645EB-27EF-4933-8336-96822FC0A124}"/>
                </a:ext>
              </a:extLst>
            </p:cNvPr>
            <p:cNvSpPr/>
            <p:nvPr/>
          </p:nvSpPr>
          <p:spPr>
            <a:xfrm>
              <a:off x="1457026" y="4843107"/>
              <a:ext cx="564" cy="564"/>
            </a:xfrm>
            <a:custGeom>
              <a:avLst/>
              <a:gdLst>
                <a:gd name="connsiteX0" fmla="*/ 0 w 564"/>
                <a:gd name="connsiteY0" fmla="*/ 564 h 564"/>
                <a:gd name="connsiteX1" fmla="*/ 0 w 564"/>
                <a:gd name="connsiteY1" fmla="*/ 564 h 564"/>
                <a:gd name="connsiteX2" fmla="*/ 0 w 564"/>
                <a:gd name="connsiteY2" fmla="*/ 564 h 564"/>
                <a:gd name="connsiteX3" fmla="*/ 0 w 564"/>
                <a:gd name="connsiteY3" fmla="*/ 564 h 564"/>
              </a:gdLst>
              <a:ahLst/>
              <a:cxnLst>
                <a:cxn ang="0">
                  <a:pos x="connsiteX0" y="connsiteY0"/>
                </a:cxn>
                <a:cxn ang="0">
                  <a:pos x="connsiteX1" y="connsiteY1"/>
                </a:cxn>
                <a:cxn ang="0">
                  <a:pos x="connsiteX2" y="connsiteY2"/>
                </a:cxn>
                <a:cxn ang="0">
                  <a:pos x="connsiteX3" y="connsiteY3"/>
                </a:cxn>
              </a:cxnLst>
              <a:rect l="l" t="t" r="r" b="b"/>
              <a:pathLst>
                <a:path w="564" h="564">
                  <a:moveTo>
                    <a:pt x="0" y="564"/>
                  </a:moveTo>
                  <a:cubicBezTo>
                    <a:pt x="0" y="564"/>
                    <a:pt x="1270" y="-706"/>
                    <a:pt x="0" y="564"/>
                  </a:cubicBezTo>
                  <a:lnTo>
                    <a:pt x="0" y="564"/>
                  </a:lnTo>
                  <a:lnTo>
                    <a:pt x="0" y="564"/>
                  </a:lnTo>
                  <a:close/>
                </a:path>
              </a:pathLst>
            </a:custGeom>
            <a:solidFill>
              <a:srgbClr val="000000"/>
            </a:solidFill>
            <a:ln w="12688"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D2D0EBE3-269C-479C-95B3-BDFF064A1E22}"/>
                </a:ext>
              </a:extLst>
            </p:cNvPr>
            <p:cNvSpPr/>
            <p:nvPr/>
          </p:nvSpPr>
          <p:spPr>
            <a:xfrm>
              <a:off x="1379538" y="4809374"/>
              <a:ext cx="58433" cy="30487"/>
            </a:xfrm>
            <a:custGeom>
              <a:avLst/>
              <a:gdLst>
                <a:gd name="connsiteX0" fmla="*/ 5081 w 58433"/>
                <a:gd name="connsiteY0" fmla="*/ 13973 h 30487"/>
                <a:gd name="connsiteX1" fmla="*/ 15244 w 58433"/>
                <a:gd name="connsiteY1" fmla="*/ 17784 h 30487"/>
                <a:gd name="connsiteX2" fmla="*/ 55893 w 58433"/>
                <a:gd name="connsiteY2" fmla="*/ 30487 h 30487"/>
                <a:gd name="connsiteX3" fmla="*/ 58433 w 58433"/>
                <a:gd name="connsiteY3" fmla="*/ 29217 h 30487"/>
                <a:gd name="connsiteX4" fmla="*/ 57163 w 58433"/>
                <a:gd name="connsiteY4" fmla="*/ 15243 h 30487"/>
                <a:gd name="connsiteX5" fmla="*/ 13973 w 58433"/>
                <a:gd name="connsiteY5" fmla="*/ 1270 h 30487"/>
                <a:gd name="connsiteX6" fmla="*/ 8892 w 58433"/>
                <a:gd name="connsiteY6" fmla="*/ 0 h 30487"/>
                <a:gd name="connsiteX7" fmla="*/ 7622 w 58433"/>
                <a:gd name="connsiteY7" fmla="*/ 0 h 30487"/>
                <a:gd name="connsiteX8" fmla="*/ 6351 w 58433"/>
                <a:gd name="connsiteY8" fmla="*/ 0 h 30487"/>
                <a:gd name="connsiteX9" fmla="*/ 3811 w 58433"/>
                <a:gd name="connsiteY9" fmla="*/ 1270 h 30487"/>
                <a:gd name="connsiteX10" fmla="*/ 2541 w 58433"/>
                <a:gd name="connsiteY10" fmla="*/ 2540 h 30487"/>
                <a:gd name="connsiteX11" fmla="*/ 1270 w 58433"/>
                <a:gd name="connsiteY11" fmla="*/ 3811 h 30487"/>
                <a:gd name="connsiteX12" fmla="*/ 0 w 58433"/>
                <a:gd name="connsiteY12" fmla="*/ 6352 h 30487"/>
                <a:gd name="connsiteX13" fmla="*/ 0 w 58433"/>
                <a:gd name="connsiteY13" fmla="*/ 6352 h 30487"/>
                <a:gd name="connsiteX14" fmla="*/ 0 w 58433"/>
                <a:gd name="connsiteY14" fmla="*/ 8892 h 30487"/>
                <a:gd name="connsiteX15" fmla="*/ 0 w 58433"/>
                <a:gd name="connsiteY15" fmla="*/ 8892 h 30487"/>
                <a:gd name="connsiteX16" fmla="*/ 0 w 58433"/>
                <a:gd name="connsiteY16" fmla="*/ 8892 h 30487"/>
                <a:gd name="connsiteX17" fmla="*/ 5081 w 58433"/>
                <a:gd name="connsiteY17" fmla="*/ 13973 h 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433" h="30487">
                  <a:moveTo>
                    <a:pt x="5081" y="13973"/>
                  </a:moveTo>
                  <a:lnTo>
                    <a:pt x="15244" y="17784"/>
                  </a:lnTo>
                  <a:lnTo>
                    <a:pt x="55893" y="30487"/>
                  </a:lnTo>
                  <a:lnTo>
                    <a:pt x="58433" y="29217"/>
                  </a:lnTo>
                  <a:lnTo>
                    <a:pt x="57163" y="15243"/>
                  </a:lnTo>
                  <a:lnTo>
                    <a:pt x="13973" y="1270"/>
                  </a:lnTo>
                  <a:lnTo>
                    <a:pt x="8892" y="0"/>
                  </a:lnTo>
                  <a:cubicBezTo>
                    <a:pt x="8892" y="0"/>
                    <a:pt x="7622" y="0"/>
                    <a:pt x="7622" y="0"/>
                  </a:cubicBezTo>
                  <a:lnTo>
                    <a:pt x="6351" y="0"/>
                  </a:lnTo>
                  <a:cubicBezTo>
                    <a:pt x="5081" y="0"/>
                    <a:pt x="3811" y="0"/>
                    <a:pt x="3811" y="1270"/>
                  </a:cubicBezTo>
                  <a:lnTo>
                    <a:pt x="2541" y="2540"/>
                  </a:lnTo>
                  <a:lnTo>
                    <a:pt x="1270" y="3811"/>
                  </a:lnTo>
                  <a:cubicBezTo>
                    <a:pt x="1270" y="5081"/>
                    <a:pt x="0" y="5081"/>
                    <a:pt x="0" y="6352"/>
                  </a:cubicBezTo>
                  <a:lnTo>
                    <a:pt x="0" y="6352"/>
                  </a:lnTo>
                  <a:cubicBezTo>
                    <a:pt x="0" y="7622"/>
                    <a:pt x="0" y="7622"/>
                    <a:pt x="0" y="8892"/>
                  </a:cubicBezTo>
                  <a:lnTo>
                    <a:pt x="0" y="8892"/>
                  </a:lnTo>
                  <a:lnTo>
                    <a:pt x="0" y="8892"/>
                  </a:lnTo>
                  <a:cubicBezTo>
                    <a:pt x="0" y="10162"/>
                    <a:pt x="2541" y="12703"/>
                    <a:pt x="5081" y="13973"/>
                  </a:cubicBezTo>
                  <a:close/>
                </a:path>
              </a:pathLst>
            </a:custGeom>
            <a:solidFill>
              <a:srgbClr val="000000"/>
            </a:solidFill>
            <a:ln w="12688"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D53F6981-FB20-4695-8438-4599F158D08E}"/>
                </a:ext>
              </a:extLst>
            </p:cNvPr>
            <p:cNvSpPr/>
            <p:nvPr/>
          </p:nvSpPr>
          <p:spPr>
            <a:xfrm>
              <a:off x="6882447" y="568969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cubicBezTo>
                    <a:pt x="0" y="0"/>
                    <a:pt x="0" y="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0B858F70-6AF9-4435-BD39-AAD6313546C7}"/>
                </a:ext>
              </a:extLst>
            </p:cNvPr>
            <p:cNvSpPr/>
            <p:nvPr/>
          </p:nvSpPr>
          <p:spPr>
            <a:xfrm>
              <a:off x="6817662" y="5693506"/>
              <a:ext cx="66055" cy="1159788"/>
            </a:xfrm>
            <a:custGeom>
              <a:avLst/>
              <a:gdLst>
                <a:gd name="connsiteX0" fmla="*/ 66055 w 66055"/>
                <a:gd name="connsiteY0" fmla="*/ 2540 h 1159788"/>
                <a:gd name="connsiteX1" fmla="*/ 66055 w 66055"/>
                <a:gd name="connsiteY1" fmla="*/ 2540 h 1159788"/>
                <a:gd name="connsiteX2" fmla="*/ 66055 w 66055"/>
                <a:gd name="connsiteY2" fmla="*/ 3811 h 1159788"/>
                <a:gd name="connsiteX3" fmla="*/ 64785 w 66055"/>
                <a:gd name="connsiteY3" fmla="*/ 5081 h 1159788"/>
                <a:gd name="connsiteX4" fmla="*/ 64785 w 66055"/>
                <a:gd name="connsiteY4" fmla="*/ 5081 h 1159788"/>
                <a:gd name="connsiteX5" fmla="*/ 50812 w 66055"/>
                <a:gd name="connsiteY5" fmla="*/ 17784 h 1159788"/>
                <a:gd name="connsiteX6" fmla="*/ 0 w 66055"/>
                <a:gd name="connsiteY6" fmla="*/ 1159788 h 1159788"/>
                <a:gd name="connsiteX7" fmla="*/ 15244 w 66055"/>
                <a:gd name="connsiteY7" fmla="*/ 1159788 h 1159788"/>
                <a:gd name="connsiteX8" fmla="*/ 66055 w 66055"/>
                <a:gd name="connsiteY8" fmla="*/ 0 h 1159788"/>
                <a:gd name="connsiteX9" fmla="*/ 66055 w 66055"/>
                <a:gd name="connsiteY9" fmla="*/ 0 h 1159788"/>
                <a:gd name="connsiteX10" fmla="*/ 66055 w 66055"/>
                <a:gd name="connsiteY10" fmla="*/ 1270 h 1159788"/>
                <a:gd name="connsiteX11" fmla="*/ 66055 w 66055"/>
                <a:gd name="connsiteY11" fmla="*/ 2540 h 115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55" h="1159788">
                  <a:moveTo>
                    <a:pt x="66055" y="2540"/>
                  </a:moveTo>
                  <a:lnTo>
                    <a:pt x="66055" y="2540"/>
                  </a:lnTo>
                  <a:cubicBezTo>
                    <a:pt x="66055" y="2540"/>
                    <a:pt x="66055" y="3811"/>
                    <a:pt x="66055" y="3811"/>
                  </a:cubicBezTo>
                  <a:cubicBezTo>
                    <a:pt x="66055" y="3811"/>
                    <a:pt x="66055" y="5081"/>
                    <a:pt x="64785" y="5081"/>
                  </a:cubicBezTo>
                  <a:lnTo>
                    <a:pt x="64785" y="5081"/>
                  </a:lnTo>
                  <a:lnTo>
                    <a:pt x="50812" y="17784"/>
                  </a:lnTo>
                  <a:lnTo>
                    <a:pt x="0" y="1159788"/>
                  </a:lnTo>
                  <a:lnTo>
                    <a:pt x="15244" y="1159788"/>
                  </a:lnTo>
                  <a:lnTo>
                    <a:pt x="66055" y="0"/>
                  </a:lnTo>
                  <a:lnTo>
                    <a:pt x="66055" y="0"/>
                  </a:lnTo>
                  <a:cubicBezTo>
                    <a:pt x="66055" y="0"/>
                    <a:pt x="66055" y="0"/>
                    <a:pt x="66055" y="1270"/>
                  </a:cubicBezTo>
                  <a:cubicBezTo>
                    <a:pt x="66055" y="2540"/>
                    <a:pt x="66055" y="2540"/>
                    <a:pt x="66055" y="2540"/>
                  </a:cubicBezTo>
                  <a:close/>
                </a:path>
              </a:pathLst>
            </a:custGeom>
            <a:solidFill>
              <a:srgbClr val="000000"/>
            </a:solidFill>
            <a:ln w="12688"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F619C1F-4A5E-4DBE-B483-B0F636323936}"/>
                </a:ext>
              </a:extLst>
            </p:cNvPr>
            <p:cNvSpPr/>
            <p:nvPr/>
          </p:nvSpPr>
          <p:spPr>
            <a:xfrm>
              <a:off x="6879906" y="568842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979781B1-5265-4185-8203-62B58BBEBEA3}"/>
                </a:ext>
              </a:extLst>
            </p:cNvPr>
            <p:cNvSpPr/>
            <p:nvPr/>
          </p:nvSpPr>
          <p:spPr>
            <a:xfrm>
              <a:off x="6254922" y="5696046"/>
              <a:ext cx="626254" cy="580529"/>
            </a:xfrm>
            <a:custGeom>
              <a:avLst/>
              <a:gdLst>
                <a:gd name="connsiteX0" fmla="*/ 5081 w 626254"/>
                <a:gd name="connsiteY0" fmla="*/ 571637 h 580529"/>
                <a:gd name="connsiteX1" fmla="*/ 5081 w 626254"/>
                <a:gd name="connsiteY1" fmla="*/ 571637 h 580529"/>
                <a:gd name="connsiteX2" fmla="*/ 6351 w 626254"/>
                <a:gd name="connsiteY2" fmla="*/ 572908 h 580529"/>
                <a:gd name="connsiteX3" fmla="*/ 7622 w 626254"/>
                <a:gd name="connsiteY3" fmla="*/ 574178 h 580529"/>
                <a:gd name="connsiteX4" fmla="*/ 8892 w 626254"/>
                <a:gd name="connsiteY4" fmla="*/ 575448 h 580529"/>
                <a:gd name="connsiteX5" fmla="*/ 8892 w 626254"/>
                <a:gd name="connsiteY5" fmla="*/ 576718 h 580529"/>
                <a:gd name="connsiteX6" fmla="*/ 8892 w 626254"/>
                <a:gd name="connsiteY6" fmla="*/ 577989 h 580529"/>
                <a:gd name="connsiteX7" fmla="*/ 8892 w 626254"/>
                <a:gd name="connsiteY7" fmla="*/ 577989 h 580529"/>
                <a:gd name="connsiteX8" fmla="*/ 8892 w 626254"/>
                <a:gd name="connsiteY8" fmla="*/ 580530 h 580529"/>
                <a:gd name="connsiteX9" fmla="*/ 612281 w 626254"/>
                <a:gd name="connsiteY9" fmla="*/ 13973 h 580529"/>
                <a:gd name="connsiteX10" fmla="*/ 626255 w 626254"/>
                <a:gd name="connsiteY10" fmla="*/ 1270 h 580529"/>
                <a:gd name="connsiteX11" fmla="*/ 626255 w 626254"/>
                <a:gd name="connsiteY11" fmla="*/ 1270 h 580529"/>
                <a:gd name="connsiteX12" fmla="*/ 618632 w 626254"/>
                <a:gd name="connsiteY12" fmla="*/ 3811 h 580529"/>
                <a:gd name="connsiteX13" fmla="*/ 605930 w 626254"/>
                <a:gd name="connsiteY13" fmla="*/ 0 h 580529"/>
                <a:gd name="connsiteX14" fmla="*/ 0 w 626254"/>
                <a:gd name="connsiteY14" fmla="*/ 569097 h 580529"/>
                <a:gd name="connsiteX15" fmla="*/ 5081 w 626254"/>
                <a:gd name="connsiteY15" fmla="*/ 571637 h 58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6254" h="580529">
                  <a:moveTo>
                    <a:pt x="5081" y="571637"/>
                  </a:moveTo>
                  <a:lnTo>
                    <a:pt x="5081" y="571637"/>
                  </a:lnTo>
                  <a:lnTo>
                    <a:pt x="6351" y="572908"/>
                  </a:lnTo>
                  <a:cubicBezTo>
                    <a:pt x="7622" y="572908"/>
                    <a:pt x="7622" y="574178"/>
                    <a:pt x="7622" y="574178"/>
                  </a:cubicBezTo>
                  <a:cubicBezTo>
                    <a:pt x="7622" y="574178"/>
                    <a:pt x="7622" y="575448"/>
                    <a:pt x="8892" y="575448"/>
                  </a:cubicBezTo>
                  <a:cubicBezTo>
                    <a:pt x="8892" y="575448"/>
                    <a:pt x="8892" y="576718"/>
                    <a:pt x="8892" y="576718"/>
                  </a:cubicBezTo>
                  <a:cubicBezTo>
                    <a:pt x="8892" y="576718"/>
                    <a:pt x="8892" y="577989"/>
                    <a:pt x="8892" y="577989"/>
                  </a:cubicBezTo>
                  <a:lnTo>
                    <a:pt x="8892" y="577989"/>
                  </a:lnTo>
                  <a:lnTo>
                    <a:pt x="8892" y="580530"/>
                  </a:lnTo>
                  <a:lnTo>
                    <a:pt x="612281" y="13973"/>
                  </a:lnTo>
                  <a:lnTo>
                    <a:pt x="626255" y="1270"/>
                  </a:lnTo>
                  <a:lnTo>
                    <a:pt x="626255" y="1270"/>
                  </a:lnTo>
                  <a:cubicBezTo>
                    <a:pt x="624984" y="3811"/>
                    <a:pt x="621173" y="3811"/>
                    <a:pt x="618632" y="3811"/>
                  </a:cubicBezTo>
                  <a:lnTo>
                    <a:pt x="605930" y="0"/>
                  </a:lnTo>
                  <a:lnTo>
                    <a:pt x="0" y="569097"/>
                  </a:lnTo>
                  <a:lnTo>
                    <a:pt x="5081" y="571637"/>
                  </a:lnTo>
                  <a:close/>
                </a:path>
              </a:pathLst>
            </a:custGeom>
            <a:solidFill>
              <a:srgbClr val="000000"/>
            </a:solidFill>
            <a:ln w="12688"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1168170D-4C6B-438B-969D-2D9C8D8A4170}"/>
                </a:ext>
              </a:extLst>
            </p:cNvPr>
            <p:cNvSpPr/>
            <p:nvPr/>
          </p:nvSpPr>
          <p:spPr>
            <a:xfrm>
              <a:off x="6881177" y="568969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50B6CD96-7412-438A-B5B1-89AF3E95097E}"/>
                </a:ext>
              </a:extLst>
            </p:cNvPr>
            <p:cNvSpPr/>
            <p:nvPr/>
          </p:nvSpPr>
          <p:spPr>
            <a:xfrm>
              <a:off x="6878636" y="568715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5724FFCB-3BE5-4C27-9DBD-0D3ABCE322F4}"/>
                </a:ext>
              </a:extLst>
            </p:cNvPr>
            <p:cNvSpPr/>
            <p:nvPr/>
          </p:nvSpPr>
          <p:spPr>
            <a:xfrm>
              <a:off x="6883718" y="5694776"/>
              <a:ext cx="12702" cy="1270"/>
            </a:xfrm>
            <a:custGeom>
              <a:avLst/>
              <a:gdLst>
                <a:gd name="connsiteX0" fmla="*/ 0 w 12702"/>
                <a:gd name="connsiteY0" fmla="*/ 0 h 1270"/>
                <a:gd name="connsiteX1" fmla="*/ 0 w 12702"/>
                <a:gd name="connsiteY1" fmla="*/ 0 h 1270"/>
                <a:gd name="connsiteX2" fmla="*/ 0 w 12702"/>
                <a:gd name="connsiteY2" fmla="*/ 127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lnTo>
                    <a:pt x="0" y="0"/>
                  </a:lnTo>
                  <a:cubicBezTo>
                    <a:pt x="0" y="0"/>
                    <a:pt x="0" y="1270"/>
                    <a:pt x="0" y="1270"/>
                  </a:cubicBezTo>
                  <a:cubicBezTo>
                    <a:pt x="0" y="1270"/>
                    <a:pt x="0" y="0"/>
                    <a:pt x="0" y="0"/>
                  </a:cubicBezTo>
                  <a:close/>
                </a:path>
              </a:pathLst>
            </a:custGeom>
            <a:solidFill>
              <a:srgbClr val="000000"/>
            </a:solidFill>
            <a:ln w="12688"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16D62388-AE88-465C-BBFB-084E2641915B}"/>
                </a:ext>
              </a:extLst>
            </p:cNvPr>
            <p:cNvSpPr/>
            <p:nvPr/>
          </p:nvSpPr>
          <p:spPr>
            <a:xfrm>
              <a:off x="6883718" y="5690965"/>
              <a:ext cx="12702" cy="1270"/>
            </a:xfrm>
            <a:custGeom>
              <a:avLst/>
              <a:gdLst>
                <a:gd name="connsiteX0" fmla="*/ 0 w 12702"/>
                <a:gd name="connsiteY0" fmla="*/ 1270 h 1270"/>
                <a:gd name="connsiteX1" fmla="*/ 0 w 12702"/>
                <a:gd name="connsiteY1" fmla="*/ 0 h 1270"/>
                <a:gd name="connsiteX2" fmla="*/ 0 w 12702"/>
                <a:gd name="connsiteY2" fmla="*/ 1270 h 1270"/>
              </a:gdLst>
              <a:ahLst/>
              <a:cxnLst>
                <a:cxn ang="0">
                  <a:pos x="connsiteX0" y="connsiteY0"/>
                </a:cxn>
                <a:cxn ang="0">
                  <a:pos x="connsiteX1" y="connsiteY1"/>
                </a:cxn>
                <a:cxn ang="0">
                  <a:pos x="connsiteX2" y="connsiteY2"/>
                </a:cxn>
              </a:cxnLst>
              <a:rect l="l" t="t" r="r" b="b"/>
              <a:pathLst>
                <a:path w="12702" h="1270">
                  <a:moveTo>
                    <a:pt x="0" y="1270"/>
                  </a:moveTo>
                  <a:lnTo>
                    <a:pt x="0" y="0"/>
                  </a:lnTo>
                  <a:lnTo>
                    <a:pt x="0" y="1270"/>
                  </a:lnTo>
                  <a:close/>
                </a:path>
              </a:pathLst>
            </a:custGeom>
            <a:solidFill>
              <a:srgbClr val="000000"/>
            </a:solidFill>
            <a:ln w="12688"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E56E7B18-74C8-43B7-89D7-CAB9E3D4B2AE}"/>
                </a:ext>
              </a:extLst>
            </p:cNvPr>
            <p:cNvSpPr/>
            <p:nvPr/>
          </p:nvSpPr>
          <p:spPr>
            <a:xfrm>
              <a:off x="6233327" y="6275306"/>
              <a:ext cx="33027" cy="580529"/>
            </a:xfrm>
            <a:custGeom>
              <a:avLst/>
              <a:gdLst>
                <a:gd name="connsiteX0" fmla="*/ 31757 w 33027"/>
                <a:gd name="connsiteY0" fmla="*/ 0 h 580529"/>
                <a:gd name="connsiteX1" fmla="*/ 31757 w 33027"/>
                <a:gd name="connsiteY1" fmla="*/ 0 h 580529"/>
                <a:gd name="connsiteX2" fmla="*/ 31757 w 33027"/>
                <a:gd name="connsiteY2" fmla="*/ 2541 h 580529"/>
                <a:gd name="connsiteX3" fmla="*/ 22865 w 33027"/>
                <a:gd name="connsiteY3" fmla="*/ 7622 h 580529"/>
                <a:gd name="connsiteX4" fmla="*/ 17784 w 33027"/>
                <a:gd name="connsiteY4" fmla="*/ 6352 h 580529"/>
                <a:gd name="connsiteX5" fmla="*/ 0 w 33027"/>
                <a:gd name="connsiteY5" fmla="*/ 580530 h 580529"/>
                <a:gd name="connsiteX6" fmla="*/ 15243 w 33027"/>
                <a:gd name="connsiteY6" fmla="*/ 580530 h 580529"/>
                <a:gd name="connsiteX7" fmla="*/ 33027 w 33027"/>
                <a:gd name="connsiteY7" fmla="*/ 3811 h 580529"/>
                <a:gd name="connsiteX8" fmla="*/ 31757 w 33027"/>
                <a:gd name="connsiteY8" fmla="*/ 0 h 58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27" h="580529">
                  <a:moveTo>
                    <a:pt x="31757" y="0"/>
                  </a:moveTo>
                  <a:lnTo>
                    <a:pt x="31757" y="0"/>
                  </a:lnTo>
                  <a:cubicBezTo>
                    <a:pt x="31757" y="1270"/>
                    <a:pt x="31757" y="1270"/>
                    <a:pt x="31757" y="2541"/>
                  </a:cubicBezTo>
                  <a:cubicBezTo>
                    <a:pt x="30487" y="6352"/>
                    <a:pt x="26676" y="8892"/>
                    <a:pt x="22865" y="7622"/>
                  </a:cubicBezTo>
                  <a:lnTo>
                    <a:pt x="17784" y="6352"/>
                  </a:lnTo>
                  <a:lnTo>
                    <a:pt x="0" y="580530"/>
                  </a:lnTo>
                  <a:lnTo>
                    <a:pt x="15243" y="580530"/>
                  </a:lnTo>
                  <a:lnTo>
                    <a:pt x="33027" y="3811"/>
                  </a:lnTo>
                  <a:lnTo>
                    <a:pt x="31757" y="0"/>
                  </a:lnTo>
                  <a:close/>
                </a:path>
              </a:pathLst>
            </a:custGeom>
            <a:solidFill>
              <a:srgbClr val="000000"/>
            </a:solidFill>
            <a:ln w="12688"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61522E1B-E039-4202-8BB7-F95A6B088979}"/>
                </a:ext>
              </a:extLst>
            </p:cNvPr>
            <p:cNvSpPr/>
            <p:nvPr/>
          </p:nvSpPr>
          <p:spPr>
            <a:xfrm>
              <a:off x="3782932" y="5481365"/>
              <a:ext cx="72406" cy="36838"/>
            </a:xfrm>
            <a:custGeom>
              <a:avLst/>
              <a:gdLst>
                <a:gd name="connsiteX0" fmla="*/ 0 w 72406"/>
                <a:gd name="connsiteY0" fmla="*/ 3811 h 36838"/>
                <a:gd name="connsiteX1" fmla="*/ 0 w 72406"/>
                <a:gd name="connsiteY1" fmla="*/ 13973 h 36838"/>
                <a:gd name="connsiteX2" fmla="*/ 69866 w 72406"/>
                <a:gd name="connsiteY2" fmla="*/ 36839 h 36838"/>
                <a:gd name="connsiteX3" fmla="*/ 72407 w 72406"/>
                <a:gd name="connsiteY3" fmla="*/ 34298 h 36838"/>
                <a:gd name="connsiteX4" fmla="*/ 72407 w 72406"/>
                <a:gd name="connsiteY4" fmla="*/ 34298 h 36838"/>
                <a:gd name="connsiteX5" fmla="*/ 72407 w 72406"/>
                <a:gd name="connsiteY5" fmla="*/ 33028 h 36838"/>
                <a:gd name="connsiteX6" fmla="*/ 72407 w 72406"/>
                <a:gd name="connsiteY6" fmla="*/ 33028 h 36838"/>
                <a:gd name="connsiteX7" fmla="*/ 72407 w 72406"/>
                <a:gd name="connsiteY7" fmla="*/ 22865 h 36838"/>
                <a:gd name="connsiteX8" fmla="*/ 0 w 72406"/>
                <a:gd name="connsiteY8" fmla="*/ 0 h 36838"/>
                <a:gd name="connsiteX9" fmla="*/ 0 w 72406"/>
                <a:gd name="connsiteY9" fmla="*/ 3811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06" h="36838">
                  <a:moveTo>
                    <a:pt x="0" y="3811"/>
                  </a:moveTo>
                  <a:lnTo>
                    <a:pt x="0" y="13973"/>
                  </a:lnTo>
                  <a:lnTo>
                    <a:pt x="69866" y="36839"/>
                  </a:lnTo>
                  <a:lnTo>
                    <a:pt x="72407" y="34298"/>
                  </a:lnTo>
                  <a:lnTo>
                    <a:pt x="72407" y="34298"/>
                  </a:lnTo>
                  <a:cubicBezTo>
                    <a:pt x="72407" y="34298"/>
                    <a:pt x="72407" y="33028"/>
                    <a:pt x="72407" y="33028"/>
                  </a:cubicBezTo>
                  <a:lnTo>
                    <a:pt x="72407" y="33028"/>
                  </a:lnTo>
                  <a:lnTo>
                    <a:pt x="72407" y="22865"/>
                  </a:lnTo>
                  <a:lnTo>
                    <a:pt x="0" y="0"/>
                  </a:lnTo>
                  <a:lnTo>
                    <a:pt x="0" y="3811"/>
                  </a:lnTo>
                  <a:close/>
                </a:path>
              </a:pathLst>
            </a:custGeom>
            <a:solidFill>
              <a:srgbClr val="000000"/>
            </a:solidFill>
            <a:ln w="12688"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8AA78B7-2BF1-48AE-8758-0352A5FFBDB8}"/>
                </a:ext>
              </a:extLst>
            </p:cNvPr>
            <p:cNvSpPr/>
            <p:nvPr/>
          </p:nvSpPr>
          <p:spPr>
            <a:xfrm>
              <a:off x="4500647" y="3799481"/>
              <a:ext cx="26676" cy="1190275"/>
            </a:xfrm>
            <a:custGeom>
              <a:avLst/>
              <a:gdLst>
                <a:gd name="connsiteX0" fmla="*/ 21595 w 26676"/>
                <a:gd name="connsiteY0" fmla="*/ 1185194 h 1190275"/>
                <a:gd name="connsiteX1" fmla="*/ 26676 w 26676"/>
                <a:gd name="connsiteY1" fmla="*/ 1186465 h 1190275"/>
                <a:gd name="connsiteX2" fmla="*/ 13973 w 26676"/>
                <a:gd name="connsiteY2" fmla="*/ 17784 h 1190275"/>
                <a:gd name="connsiteX3" fmla="*/ 13973 w 26676"/>
                <a:gd name="connsiteY3" fmla="*/ 7622 h 1190275"/>
                <a:gd name="connsiteX4" fmla="*/ 13973 w 26676"/>
                <a:gd name="connsiteY4" fmla="*/ 6352 h 1190275"/>
                <a:gd name="connsiteX5" fmla="*/ 13973 w 26676"/>
                <a:gd name="connsiteY5" fmla="*/ 5081 h 1190275"/>
                <a:gd name="connsiteX6" fmla="*/ 13973 w 26676"/>
                <a:gd name="connsiteY6" fmla="*/ 3811 h 1190275"/>
                <a:gd name="connsiteX7" fmla="*/ 12703 w 26676"/>
                <a:gd name="connsiteY7" fmla="*/ 2540 h 1190275"/>
                <a:gd name="connsiteX8" fmla="*/ 11433 w 26676"/>
                <a:gd name="connsiteY8" fmla="*/ 1270 h 1190275"/>
                <a:gd name="connsiteX9" fmla="*/ 10163 w 26676"/>
                <a:gd name="connsiteY9" fmla="*/ 0 h 1190275"/>
                <a:gd name="connsiteX10" fmla="*/ 8892 w 26676"/>
                <a:gd name="connsiteY10" fmla="*/ 0 h 1190275"/>
                <a:gd name="connsiteX11" fmla="*/ 7622 w 26676"/>
                <a:gd name="connsiteY11" fmla="*/ 0 h 1190275"/>
                <a:gd name="connsiteX12" fmla="*/ 6351 w 26676"/>
                <a:gd name="connsiteY12" fmla="*/ 0 h 1190275"/>
                <a:gd name="connsiteX13" fmla="*/ 5081 w 26676"/>
                <a:gd name="connsiteY13" fmla="*/ 0 h 1190275"/>
                <a:gd name="connsiteX14" fmla="*/ 3811 w 26676"/>
                <a:gd name="connsiteY14" fmla="*/ 0 h 1190275"/>
                <a:gd name="connsiteX15" fmla="*/ 3811 w 26676"/>
                <a:gd name="connsiteY15" fmla="*/ 0 h 1190275"/>
                <a:gd name="connsiteX16" fmla="*/ 0 w 26676"/>
                <a:gd name="connsiteY16" fmla="*/ 6352 h 1190275"/>
                <a:gd name="connsiteX17" fmla="*/ 0 w 26676"/>
                <a:gd name="connsiteY17" fmla="*/ 21595 h 1190275"/>
                <a:gd name="connsiteX18" fmla="*/ 12703 w 26676"/>
                <a:gd name="connsiteY18" fmla="*/ 1190275 h 1190275"/>
                <a:gd name="connsiteX19" fmla="*/ 12703 w 26676"/>
                <a:gd name="connsiteY19" fmla="*/ 1190275 h 1190275"/>
                <a:gd name="connsiteX20" fmla="*/ 12703 w 26676"/>
                <a:gd name="connsiteY20" fmla="*/ 1187735 h 1190275"/>
                <a:gd name="connsiteX21" fmla="*/ 21595 w 26676"/>
                <a:gd name="connsiteY21" fmla="*/ 1185194 h 119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676" h="1190275">
                  <a:moveTo>
                    <a:pt x="21595" y="1185194"/>
                  </a:moveTo>
                  <a:lnTo>
                    <a:pt x="26676" y="1186465"/>
                  </a:lnTo>
                  <a:lnTo>
                    <a:pt x="13973" y="17784"/>
                  </a:lnTo>
                  <a:lnTo>
                    <a:pt x="13973" y="7622"/>
                  </a:lnTo>
                  <a:cubicBezTo>
                    <a:pt x="13973" y="7622"/>
                    <a:pt x="13973" y="7622"/>
                    <a:pt x="13973" y="6352"/>
                  </a:cubicBezTo>
                  <a:cubicBezTo>
                    <a:pt x="13973" y="6352"/>
                    <a:pt x="13973" y="5081"/>
                    <a:pt x="13973" y="5081"/>
                  </a:cubicBezTo>
                  <a:cubicBezTo>
                    <a:pt x="13973" y="5081"/>
                    <a:pt x="13973" y="3811"/>
                    <a:pt x="13973" y="3811"/>
                  </a:cubicBezTo>
                  <a:lnTo>
                    <a:pt x="12703" y="2540"/>
                  </a:lnTo>
                  <a:lnTo>
                    <a:pt x="11433" y="1270"/>
                  </a:lnTo>
                  <a:lnTo>
                    <a:pt x="10163" y="0"/>
                  </a:lnTo>
                  <a:lnTo>
                    <a:pt x="8892" y="0"/>
                  </a:lnTo>
                  <a:lnTo>
                    <a:pt x="7622" y="0"/>
                  </a:lnTo>
                  <a:lnTo>
                    <a:pt x="6351" y="0"/>
                  </a:lnTo>
                  <a:lnTo>
                    <a:pt x="5081" y="0"/>
                  </a:lnTo>
                  <a:lnTo>
                    <a:pt x="3811" y="0"/>
                  </a:lnTo>
                  <a:lnTo>
                    <a:pt x="3811" y="0"/>
                  </a:lnTo>
                  <a:cubicBezTo>
                    <a:pt x="1270" y="1270"/>
                    <a:pt x="0" y="3811"/>
                    <a:pt x="0" y="6352"/>
                  </a:cubicBezTo>
                  <a:lnTo>
                    <a:pt x="0" y="21595"/>
                  </a:lnTo>
                  <a:lnTo>
                    <a:pt x="12703" y="1190275"/>
                  </a:lnTo>
                  <a:lnTo>
                    <a:pt x="12703" y="1190275"/>
                  </a:lnTo>
                  <a:cubicBezTo>
                    <a:pt x="12703" y="1189006"/>
                    <a:pt x="12703" y="1189006"/>
                    <a:pt x="12703" y="1187735"/>
                  </a:cubicBezTo>
                  <a:cubicBezTo>
                    <a:pt x="13973" y="1185194"/>
                    <a:pt x="17784" y="1183924"/>
                    <a:pt x="21595" y="1185194"/>
                  </a:cubicBezTo>
                  <a:close/>
                </a:path>
              </a:pathLst>
            </a:custGeom>
            <a:solidFill>
              <a:srgbClr val="000000"/>
            </a:solidFill>
            <a:ln w="12688"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2330AED2-5B1E-4D35-A473-D0B51C6C48C3}"/>
                </a:ext>
              </a:extLst>
            </p:cNvPr>
            <p:cNvSpPr/>
            <p:nvPr/>
          </p:nvSpPr>
          <p:spPr>
            <a:xfrm>
              <a:off x="4514621" y="499610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199361F-A07E-406C-BD0B-F959C7981C50}"/>
                </a:ext>
              </a:extLst>
            </p:cNvPr>
            <p:cNvSpPr/>
            <p:nvPr/>
          </p:nvSpPr>
          <p:spPr>
            <a:xfrm>
              <a:off x="4509540" y="6382011"/>
              <a:ext cx="15243" cy="12703"/>
            </a:xfrm>
            <a:custGeom>
              <a:avLst/>
              <a:gdLst>
                <a:gd name="connsiteX0" fmla="*/ 0 w 15243"/>
                <a:gd name="connsiteY0" fmla="*/ 7622 h 12703"/>
                <a:gd name="connsiteX1" fmla="*/ 10162 w 15243"/>
                <a:gd name="connsiteY1" fmla="*/ 11433 h 12703"/>
                <a:gd name="connsiteX2" fmla="*/ 15244 w 15243"/>
                <a:gd name="connsiteY2" fmla="*/ 12703 h 12703"/>
                <a:gd name="connsiteX3" fmla="*/ 15244 w 15243"/>
                <a:gd name="connsiteY3" fmla="*/ 5081 h 12703"/>
                <a:gd name="connsiteX4" fmla="*/ 5081 w 15243"/>
                <a:gd name="connsiteY4" fmla="*/ 1270 h 12703"/>
                <a:gd name="connsiteX5" fmla="*/ 0 w 15243"/>
                <a:gd name="connsiteY5" fmla="*/ 0 h 1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3" h="12703">
                  <a:moveTo>
                    <a:pt x="0" y="7622"/>
                  </a:moveTo>
                  <a:lnTo>
                    <a:pt x="10162" y="11433"/>
                  </a:lnTo>
                  <a:lnTo>
                    <a:pt x="15244" y="12703"/>
                  </a:lnTo>
                  <a:lnTo>
                    <a:pt x="15244" y="5081"/>
                  </a:lnTo>
                  <a:lnTo>
                    <a:pt x="5081" y="1270"/>
                  </a:lnTo>
                  <a:lnTo>
                    <a:pt x="0" y="0"/>
                  </a:lnTo>
                  <a:close/>
                </a:path>
              </a:pathLst>
            </a:custGeom>
            <a:solidFill>
              <a:srgbClr val="000000"/>
            </a:solidFill>
            <a:ln w="12688"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D76FB17-65C7-412C-96EC-C865825B0CE5}"/>
                </a:ext>
              </a:extLst>
            </p:cNvPr>
            <p:cNvSpPr/>
            <p:nvPr/>
          </p:nvSpPr>
          <p:spPr>
            <a:xfrm>
              <a:off x="4510810" y="4984345"/>
              <a:ext cx="646579" cy="203579"/>
            </a:xfrm>
            <a:custGeom>
              <a:avLst/>
              <a:gdLst>
                <a:gd name="connsiteX0" fmla="*/ 5081 w 646579"/>
                <a:gd name="connsiteY0" fmla="*/ 13034 h 203579"/>
                <a:gd name="connsiteX1" fmla="*/ 6351 w 646579"/>
                <a:gd name="connsiteY1" fmla="*/ 13034 h 203579"/>
                <a:gd name="connsiteX2" fmla="*/ 6351 w 646579"/>
                <a:gd name="connsiteY2" fmla="*/ 13034 h 203579"/>
                <a:gd name="connsiteX3" fmla="*/ 642768 w 646579"/>
                <a:gd name="connsiteY3" fmla="*/ 203579 h 203579"/>
                <a:gd name="connsiteX4" fmla="*/ 637687 w 646579"/>
                <a:gd name="connsiteY4" fmla="*/ 194687 h 203579"/>
                <a:gd name="connsiteX5" fmla="*/ 637687 w 646579"/>
                <a:gd name="connsiteY5" fmla="*/ 194687 h 203579"/>
                <a:gd name="connsiteX6" fmla="*/ 646579 w 646579"/>
                <a:gd name="connsiteY6" fmla="*/ 189606 h 203579"/>
                <a:gd name="connsiteX7" fmla="*/ 636417 w 646579"/>
                <a:gd name="connsiteY7" fmla="*/ 187065 h 203579"/>
                <a:gd name="connsiteX8" fmla="*/ 13973 w 646579"/>
                <a:gd name="connsiteY8" fmla="*/ 1601 h 203579"/>
                <a:gd name="connsiteX9" fmla="*/ 8892 w 646579"/>
                <a:gd name="connsiteY9" fmla="*/ 330 h 203579"/>
                <a:gd name="connsiteX10" fmla="*/ 0 w 646579"/>
                <a:gd name="connsiteY10" fmla="*/ 5412 h 203579"/>
                <a:gd name="connsiteX11" fmla="*/ 0 w 646579"/>
                <a:gd name="connsiteY11" fmla="*/ 7952 h 203579"/>
                <a:gd name="connsiteX12" fmla="*/ 0 w 646579"/>
                <a:gd name="connsiteY12" fmla="*/ 9223 h 203579"/>
                <a:gd name="connsiteX13" fmla="*/ 0 w 646579"/>
                <a:gd name="connsiteY13" fmla="*/ 10493 h 203579"/>
                <a:gd name="connsiteX14" fmla="*/ 1270 w 646579"/>
                <a:gd name="connsiteY14" fmla="*/ 11763 h 203579"/>
                <a:gd name="connsiteX15" fmla="*/ 2540 w 646579"/>
                <a:gd name="connsiteY15" fmla="*/ 13034 h 203579"/>
                <a:gd name="connsiteX16" fmla="*/ 5081 w 646579"/>
                <a:gd name="connsiteY16" fmla="*/ 13034 h 20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579" h="203579">
                  <a:moveTo>
                    <a:pt x="5081" y="13034"/>
                  </a:moveTo>
                  <a:lnTo>
                    <a:pt x="6351" y="13034"/>
                  </a:lnTo>
                  <a:lnTo>
                    <a:pt x="6351" y="13034"/>
                  </a:lnTo>
                  <a:lnTo>
                    <a:pt x="642768" y="203579"/>
                  </a:lnTo>
                  <a:cubicBezTo>
                    <a:pt x="638957" y="202309"/>
                    <a:pt x="636417" y="198498"/>
                    <a:pt x="637687" y="194687"/>
                  </a:cubicBezTo>
                  <a:cubicBezTo>
                    <a:pt x="637687" y="194687"/>
                    <a:pt x="637687" y="194687"/>
                    <a:pt x="637687" y="194687"/>
                  </a:cubicBezTo>
                  <a:cubicBezTo>
                    <a:pt x="638957" y="190876"/>
                    <a:pt x="642768" y="188336"/>
                    <a:pt x="646579" y="189606"/>
                  </a:cubicBezTo>
                  <a:lnTo>
                    <a:pt x="636417" y="187065"/>
                  </a:lnTo>
                  <a:lnTo>
                    <a:pt x="13973" y="1601"/>
                  </a:lnTo>
                  <a:lnTo>
                    <a:pt x="8892" y="330"/>
                  </a:lnTo>
                  <a:cubicBezTo>
                    <a:pt x="5081" y="-940"/>
                    <a:pt x="1270" y="1601"/>
                    <a:pt x="0" y="5412"/>
                  </a:cubicBezTo>
                  <a:cubicBezTo>
                    <a:pt x="0" y="6682"/>
                    <a:pt x="0" y="6682"/>
                    <a:pt x="0" y="7952"/>
                  </a:cubicBezTo>
                  <a:lnTo>
                    <a:pt x="0" y="9223"/>
                  </a:lnTo>
                  <a:cubicBezTo>
                    <a:pt x="0" y="9223"/>
                    <a:pt x="0" y="10493"/>
                    <a:pt x="0" y="10493"/>
                  </a:cubicBezTo>
                  <a:cubicBezTo>
                    <a:pt x="0" y="10493"/>
                    <a:pt x="0" y="11763"/>
                    <a:pt x="1270" y="11763"/>
                  </a:cubicBezTo>
                  <a:lnTo>
                    <a:pt x="2540" y="13034"/>
                  </a:lnTo>
                  <a:lnTo>
                    <a:pt x="5081" y="13034"/>
                  </a:lnTo>
                  <a:close/>
                </a:path>
              </a:pathLst>
            </a:custGeom>
            <a:solidFill>
              <a:srgbClr val="000000"/>
            </a:solidFill>
            <a:ln w="12688"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B1EDAD6F-C583-4E22-A2F0-5E57EF8314D5}"/>
                </a:ext>
              </a:extLst>
            </p:cNvPr>
            <p:cNvSpPr/>
            <p:nvPr/>
          </p:nvSpPr>
          <p:spPr>
            <a:xfrm>
              <a:off x="3870582" y="5508042"/>
              <a:ext cx="1971494" cy="641503"/>
            </a:xfrm>
            <a:custGeom>
              <a:avLst/>
              <a:gdLst>
                <a:gd name="connsiteX0" fmla="*/ 1967684 w 1971494"/>
                <a:gd name="connsiteY0" fmla="*/ 641504 h 641503"/>
                <a:gd name="connsiteX1" fmla="*/ 1966413 w 1971494"/>
                <a:gd name="connsiteY1" fmla="*/ 640234 h 641503"/>
                <a:gd name="connsiteX2" fmla="*/ 1966413 w 1971494"/>
                <a:gd name="connsiteY2" fmla="*/ 640234 h 641503"/>
                <a:gd name="connsiteX3" fmla="*/ 1966413 w 1971494"/>
                <a:gd name="connsiteY3" fmla="*/ 638963 h 641503"/>
                <a:gd name="connsiteX4" fmla="*/ 1965143 w 1971494"/>
                <a:gd name="connsiteY4" fmla="*/ 637693 h 641503"/>
                <a:gd name="connsiteX5" fmla="*/ 1965143 w 1971494"/>
                <a:gd name="connsiteY5" fmla="*/ 636423 h 641503"/>
                <a:gd name="connsiteX6" fmla="*/ 1965143 w 1971494"/>
                <a:gd name="connsiteY6" fmla="*/ 635152 h 641503"/>
                <a:gd name="connsiteX7" fmla="*/ 1965143 w 1971494"/>
                <a:gd name="connsiteY7" fmla="*/ 633882 h 641503"/>
                <a:gd name="connsiteX8" fmla="*/ 1965143 w 1971494"/>
                <a:gd name="connsiteY8" fmla="*/ 632612 h 641503"/>
                <a:gd name="connsiteX9" fmla="*/ 1965143 w 1971494"/>
                <a:gd name="connsiteY9" fmla="*/ 632612 h 641503"/>
                <a:gd name="connsiteX10" fmla="*/ 1966413 w 1971494"/>
                <a:gd name="connsiteY10" fmla="*/ 631341 h 641503"/>
                <a:gd name="connsiteX11" fmla="*/ 1967684 w 1971494"/>
                <a:gd name="connsiteY11" fmla="*/ 630071 h 641503"/>
                <a:gd name="connsiteX12" fmla="*/ 1967684 w 1971494"/>
                <a:gd name="connsiteY12" fmla="*/ 630071 h 641503"/>
                <a:gd name="connsiteX13" fmla="*/ 1971495 w 1971494"/>
                <a:gd name="connsiteY13" fmla="*/ 627531 h 641503"/>
                <a:gd name="connsiteX14" fmla="*/ 1270 w 1971494"/>
                <a:gd name="connsiteY14" fmla="*/ 0 h 641503"/>
                <a:gd name="connsiteX15" fmla="*/ 1270 w 1971494"/>
                <a:gd name="connsiteY15" fmla="*/ 5081 h 641503"/>
                <a:gd name="connsiteX16" fmla="*/ 0 w 1971494"/>
                <a:gd name="connsiteY16" fmla="*/ 8892 h 641503"/>
                <a:gd name="connsiteX17" fmla="*/ 0 w 1971494"/>
                <a:gd name="connsiteY17" fmla="*/ 15243 h 641503"/>
                <a:gd name="connsiteX18" fmla="*/ 632606 w 1971494"/>
                <a:gd name="connsiteY18" fmla="*/ 215952 h 641503"/>
                <a:gd name="connsiteX19" fmla="*/ 647849 w 1971494"/>
                <a:gd name="connsiteY19" fmla="*/ 221033 h 641503"/>
                <a:gd name="connsiteX20" fmla="*/ 1971495 w 1971494"/>
                <a:gd name="connsiteY20" fmla="*/ 641504 h 641503"/>
                <a:gd name="connsiteX21" fmla="*/ 1971495 w 1971494"/>
                <a:gd name="connsiteY21" fmla="*/ 641504 h 641503"/>
                <a:gd name="connsiteX22" fmla="*/ 1967684 w 1971494"/>
                <a:gd name="connsiteY22" fmla="*/ 641504 h 64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1494" h="641503">
                  <a:moveTo>
                    <a:pt x="1967684" y="641504"/>
                  </a:moveTo>
                  <a:lnTo>
                    <a:pt x="1966413" y="640234"/>
                  </a:lnTo>
                  <a:lnTo>
                    <a:pt x="1966413" y="640234"/>
                  </a:lnTo>
                  <a:lnTo>
                    <a:pt x="1966413" y="638963"/>
                  </a:lnTo>
                  <a:cubicBezTo>
                    <a:pt x="1966413" y="638963"/>
                    <a:pt x="1966413" y="637693"/>
                    <a:pt x="1965143" y="637693"/>
                  </a:cubicBezTo>
                  <a:cubicBezTo>
                    <a:pt x="1965143" y="637693"/>
                    <a:pt x="1965143" y="636423"/>
                    <a:pt x="1965143" y="636423"/>
                  </a:cubicBezTo>
                  <a:cubicBezTo>
                    <a:pt x="1965143" y="636423"/>
                    <a:pt x="1965143" y="635152"/>
                    <a:pt x="1965143" y="635152"/>
                  </a:cubicBezTo>
                  <a:cubicBezTo>
                    <a:pt x="1965143" y="635152"/>
                    <a:pt x="1965143" y="633882"/>
                    <a:pt x="1965143" y="633882"/>
                  </a:cubicBezTo>
                  <a:cubicBezTo>
                    <a:pt x="1965143" y="633882"/>
                    <a:pt x="1965143" y="633882"/>
                    <a:pt x="1965143" y="632612"/>
                  </a:cubicBezTo>
                  <a:cubicBezTo>
                    <a:pt x="1965143" y="631341"/>
                    <a:pt x="1965143" y="632612"/>
                    <a:pt x="1965143" y="632612"/>
                  </a:cubicBezTo>
                  <a:cubicBezTo>
                    <a:pt x="1965143" y="632612"/>
                    <a:pt x="1965143" y="631341"/>
                    <a:pt x="1966413" y="631341"/>
                  </a:cubicBezTo>
                  <a:lnTo>
                    <a:pt x="1967684" y="630071"/>
                  </a:lnTo>
                  <a:lnTo>
                    <a:pt x="1967684" y="630071"/>
                  </a:lnTo>
                  <a:lnTo>
                    <a:pt x="1971495" y="627531"/>
                  </a:lnTo>
                  <a:lnTo>
                    <a:pt x="1270" y="0"/>
                  </a:lnTo>
                  <a:lnTo>
                    <a:pt x="1270" y="5081"/>
                  </a:lnTo>
                  <a:cubicBezTo>
                    <a:pt x="1270" y="6352"/>
                    <a:pt x="1270" y="7622"/>
                    <a:pt x="0" y="8892"/>
                  </a:cubicBezTo>
                  <a:cubicBezTo>
                    <a:pt x="1270" y="11433"/>
                    <a:pt x="1270" y="13973"/>
                    <a:pt x="0" y="15243"/>
                  </a:cubicBezTo>
                  <a:lnTo>
                    <a:pt x="632606" y="215952"/>
                  </a:lnTo>
                  <a:lnTo>
                    <a:pt x="647849" y="221033"/>
                  </a:lnTo>
                  <a:lnTo>
                    <a:pt x="1971495" y="641504"/>
                  </a:lnTo>
                  <a:lnTo>
                    <a:pt x="1971495" y="641504"/>
                  </a:lnTo>
                  <a:cubicBezTo>
                    <a:pt x="1968954" y="641504"/>
                    <a:pt x="1967684" y="641504"/>
                    <a:pt x="1967684" y="641504"/>
                  </a:cubicBezTo>
                  <a:close/>
                </a:path>
              </a:pathLst>
            </a:custGeom>
            <a:solidFill>
              <a:srgbClr val="000000"/>
            </a:solidFill>
            <a:ln w="12688"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394146A7-C318-42DF-8AD6-BADB0C065AAC}"/>
                </a:ext>
              </a:extLst>
            </p:cNvPr>
            <p:cNvSpPr/>
            <p:nvPr/>
          </p:nvSpPr>
          <p:spPr>
            <a:xfrm>
              <a:off x="4470160" y="6352794"/>
              <a:ext cx="48271" cy="30487"/>
            </a:xfrm>
            <a:custGeom>
              <a:avLst/>
              <a:gdLst>
                <a:gd name="connsiteX0" fmla="*/ 0 w 48271"/>
                <a:gd name="connsiteY0" fmla="*/ 0 h 30487"/>
                <a:gd name="connsiteX1" fmla="*/ 0 w 48271"/>
                <a:gd name="connsiteY1" fmla="*/ 16514 h 30487"/>
                <a:gd name="connsiteX2" fmla="*/ 39379 w 48271"/>
                <a:gd name="connsiteY2" fmla="*/ 29217 h 30487"/>
                <a:gd name="connsiteX3" fmla="*/ 44460 w 48271"/>
                <a:gd name="connsiteY3" fmla="*/ 30487 h 30487"/>
                <a:gd name="connsiteX4" fmla="*/ 38109 w 48271"/>
                <a:gd name="connsiteY4" fmla="*/ 21595 h 30487"/>
                <a:gd name="connsiteX5" fmla="*/ 47001 w 48271"/>
                <a:gd name="connsiteY5" fmla="*/ 15243 h 30487"/>
                <a:gd name="connsiteX6" fmla="*/ 48271 w 48271"/>
                <a:gd name="connsiteY6" fmla="*/ 15243 h 30487"/>
                <a:gd name="connsiteX7" fmla="*/ 38109 w 48271"/>
                <a:gd name="connsiteY7" fmla="*/ 11433 h 30487"/>
                <a:gd name="connsiteX8" fmla="*/ 0 w 48271"/>
                <a:gd name="connsiteY8" fmla="*/ 0 h 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71" h="30487">
                  <a:moveTo>
                    <a:pt x="0" y="0"/>
                  </a:moveTo>
                  <a:lnTo>
                    <a:pt x="0" y="16514"/>
                  </a:lnTo>
                  <a:lnTo>
                    <a:pt x="39379" y="29217"/>
                  </a:lnTo>
                  <a:lnTo>
                    <a:pt x="44460" y="30487"/>
                  </a:lnTo>
                  <a:cubicBezTo>
                    <a:pt x="40650" y="29217"/>
                    <a:pt x="38109" y="25406"/>
                    <a:pt x="38109" y="21595"/>
                  </a:cubicBezTo>
                  <a:cubicBezTo>
                    <a:pt x="39379" y="17784"/>
                    <a:pt x="43190" y="15243"/>
                    <a:pt x="47001" y="15243"/>
                  </a:cubicBezTo>
                  <a:cubicBezTo>
                    <a:pt x="48271" y="15243"/>
                    <a:pt x="48271" y="15243"/>
                    <a:pt x="48271" y="15243"/>
                  </a:cubicBezTo>
                  <a:lnTo>
                    <a:pt x="38109" y="11433"/>
                  </a:lnTo>
                  <a:lnTo>
                    <a:pt x="0" y="0"/>
                  </a:lnTo>
                  <a:close/>
                </a:path>
              </a:pathLst>
            </a:custGeom>
            <a:solidFill>
              <a:srgbClr val="000000"/>
            </a:solidFill>
            <a:ln w="12688"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33D330C9-3CE4-472B-A3FF-67856F1D3740}"/>
                </a:ext>
              </a:extLst>
            </p:cNvPr>
            <p:cNvSpPr/>
            <p:nvPr/>
          </p:nvSpPr>
          <p:spPr>
            <a:xfrm>
              <a:off x="5148167" y="5177432"/>
              <a:ext cx="34628" cy="23195"/>
            </a:xfrm>
            <a:custGeom>
              <a:avLst/>
              <a:gdLst>
                <a:gd name="connsiteX0" fmla="*/ 33358 w 34628"/>
                <a:gd name="connsiteY0" fmla="*/ 19385 h 23195"/>
                <a:gd name="connsiteX1" fmla="*/ 32088 w 34628"/>
                <a:gd name="connsiteY1" fmla="*/ 18115 h 23195"/>
                <a:gd name="connsiteX2" fmla="*/ 32088 w 34628"/>
                <a:gd name="connsiteY2" fmla="*/ 18115 h 23195"/>
                <a:gd name="connsiteX3" fmla="*/ 32088 w 34628"/>
                <a:gd name="connsiteY3" fmla="*/ 18115 h 23195"/>
                <a:gd name="connsiteX4" fmla="*/ 30818 w 34628"/>
                <a:gd name="connsiteY4" fmla="*/ 16844 h 23195"/>
                <a:gd name="connsiteX5" fmla="*/ 30818 w 34628"/>
                <a:gd name="connsiteY5" fmla="*/ 15574 h 23195"/>
                <a:gd name="connsiteX6" fmla="*/ 30818 w 34628"/>
                <a:gd name="connsiteY6" fmla="*/ 14304 h 23195"/>
                <a:gd name="connsiteX7" fmla="*/ 30818 w 34628"/>
                <a:gd name="connsiteY7" fmla="*/ 13034 h 23195"/>
                <a:gd name="connsiteX8" fmla="*/ 30818 w 34628"/>
                <a:gd name="connsiteY8" fmla="*/ 11763 h 23195"/>
                <a:gd name="connsiteX9" fmla="*/ 30818 w 34628"/>
                <a:gd name="connsiteY9" fmla="*/ 11763 h 23195"/>
                <a:gd name="connsiteX10" fmla="*/ 30818 w 34628"/>
                <a:gd name="connsiteY10" fmla="*/ 10493 h 23195"/>
                <a:gd name="connsiteX11" fmla="*/ 32088 w 34628"/>
                <a:gd name="connsiteY11" fmla="*/ 9222 h 23195"/>
                <a:gd name="connsiteX12" fmla="*/ 32088 w 34628"/>
                <a:gd name="connsiteY12" fmla="*/ 9222 h 23195"/>
                <a:gd name="connsiteX13" fmla="*/ 34628 w 34628"/>
                <a:gd name="connsiteY13" fmla="*/ 6682 h 23195"/>
                <a:gd name="connsiteX14" fmla="*/ 28277 w 34628"/>
                <a:gd name="connsiteY14" fmla="*/ 5412 h 23195"/>
                <a:gd name="connsiteX15" fmla="*/ 14304 w 34628"/>
                <a:gd name="connsiteY15" fmla="*/ 1601 h 23195"/>
                <a:gd name="connsiteX16" fmla="*/ 9223 w 34628"/>
                <a:gd name="connsiteY16" fmla="*/ 330 h 23195"/>
                <a:gd name="connsiteX17" fmla="*/ 330 w 34628"/>
                <a:gd name="connsiteY17" fmla="*/ 5412 h 23195"/>
                <a:gd name="connsiteX18" fmla="*/ 5412 w 34628"/>
                <a:gd name="connsiteY18" fmla="*/ 14304 h 23195"/>
                <a:gd name="connsiteX19" fmla="*/ 5412 w 34628"/>
                <a:gd name="connsiteY19" fmla="*/ 14304 h 23195"/>
                <a:gd name="connsiteX20" fmla="*/ 34628 w 34628"/>
                <a:gd name="connsiteY20" fmla="*/ 23196 h 23195"/>
                <a:gd name="connsiteX21" fmla="*/ 34628 w 34628"/>
                <a:gd name="connsiteY21" fmla="*/ 23196 h 23195"/>
                <a:gd name="connsiteX22" fmla="*/ 33358 w 34628"/>
                <a:gd name="connsiteY22" fmla="*/ 19385 h 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628" h="23195">
                  <a:moveTo>
                    <a:pt x="33358" y="19385"/>
                  </a:moveTo>
                  <a:lnTo>
                    <a:pt x="32088" y="18115"/>
                  </a:lnTo>
                  <a:lnTo>
                    <a:pt x="32088" y="18115"/>
                  </a:lnTo>
                  <a:lnTo>
                    <a:pt x="32088" y="18115"/>
                  </a:lnTo>
                  <a:cubicBezTo>
                    <a:pt x="32088" y="18115"/>
                    <a:pt x="30818" y="16844"/>
                    <a:pt x="30818" y="16844"/>
                  </a:cubicBezTo>
                  <a:cubicBezTo>
                    <a:pt x="30818" y="16844"/>
                    <a:pt x="30818" y="15574"/>
                    <a:pt x="30818" y="15574"/>
                  </a:cubicBezTo>
                  <a:cubicBezTo>
                    <a:pt x="30818" y="15574"/>
                    <a:pt x="30818" y="14304"/>
                    <a:pt x="30818" y="14304"/>
                  </a:cubicBezTo>
                  <a:cubicBezTo>
                    <a:pt x="30818" y="14304"/>
                    <a:pt x="30818" y="13034"/>
                    <a:pt x="30818" y="13034"/>
                  </a:cubicBezTo>
                  <a:cubicBezTo>
                    <a:pt x="30818" y="13034"/>
                    <a:pt x="30818" y="13034"/>
                    <a:pt x="30818" y="11763"/>
                  </a:cubicBezTo>
                  <a:lnTo>
                    <a:pt x="30818" y="11763"/>
                  </a:lnTo>
                  <a:lnTo>
                    <a:pt x="30818" y="10493"/>
                  </a:lnTo>
                  <a:lnTo>
                    <a:pt x="32088" y="9222"/>
                  </a:lnTo>
                  <a:lnTo>
                    <a:pt x="32088" y="9222"/>
                  </a:lnTo>
                  <a:lnTo>
                    <a:pt x="34628" y="6682"/>
                  </a:lnTo>
                  <a:lnTo>
                    <a:pt x="28277" y="5412"/>
                  </a:lnTo>
                  <a:lnTo>
                    <a:pt x="14304" y="1601"/>
                  </a:lnTo>
                  <a:lnTo>
                    <a:pt x="9223" y="330"/>
                  </a:lnTo>
                  <a:cubicBezTo>
                    <a:pt x="5412" y="-940"/>
                    <a:pt x="1601" y="1601"/>
                    <a:pt x="330" y="5412"/>
                  </a:cubicBezTo>
                  <a:cubicBezTo>
                    <a:pt x="-940" y="9222"/>
                    <a:pt x="1601" y="13034"/>
                    <a:pt x="5412" y="14304"/>
                  </a:cubicBezTo>
                  <a:cubicBezTo>
                    <a:pt x="5412" y="14304"/>
                    <a:pt x="5412" y="14304"/>
                    <a:pt x="5412" y="14304"/>
                  </a:cubicBezTo>
                  <a:lnTo>
                    <a:pt x="34628" y="23196"/>
                  </a:lnTo>
                  <a:lnTo>
                    <a:pt x="34628" y="23196"/>
                  </a:lnTo>
                  <a:lnTo>
                    <a:pt x="33358" y="19385"/>
                  </a:lnTo>
                  <a:close/>
                </a:path>
              </a:pathLst>
            </a:custGeom>
            <a:solidFill>
              <a:srgbClr val="000000"/>
            </a:solidFill>
            <a:ln w="12688"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B343486-9A8E-4981-937E-0D980E9E3FF6}"/>
                </a:ext>
              </a:extLst>
            </p:cNvPr>
            <p:cNvSpPr/>
            <p:nvPr/>
          </p:nvSpPr>
          <p:spPr>
            <a:xfrm>
              <a:off x="4509063" y="6368832"/>
              <a:ext cx="1453691" cy="485732"/>
            </a:xfrm>
            <a:custGeom>
              <a:avLst/>
              <a:gdLst>
                <a:gd name="connsiteX0" fmla="*/ 10639 w 1453691"/>
                <a:gd name="connsiteY0" fmla="*/ 476 h 485732"/>
                <a:gd name="connsiteX1" fmla="*/ 476 w 1453691"/>
                <a:gd name="connsiteY1" fmla="*/ 4288 h 485732"/>
                <a:gd name="connsiteX2" fmla="*/ 4287 w 1453691"/>
                <a:gd name="connsiteY2" fmla="*/ 14450 h 485732"/>
                <a:gd name="connsiteX3" fmla="*/ 5557 w 1453691"/>
                <a:gd name="connsiteY3" fmla="*/ 14450 h 485732"/>
                <a:gd name="connsiteX4" fmla="*/ 15720 w 1453691"/>
                <a:gd name="connsiteY4" fmla="*/ 18261 h 485732"/>
                <a:gd name="connsiteX5" fmla="*/ 1406691 w 1453691"/>
                <a:gd name="connsiteY5" fmla="*/ 485733 h 485732"/>
                <a:gd name="connsiteX6" fmla="*/ 1453692 w 1453691"/>
                <a:gd name="connsiteY6" fmla="*/ 485733 h 485732"/>
                <a:gd name="connsiteX7" fmla="*/ 14450 w 1453691"/>
                <a:gd name="connsiteY7" fmla="*/ 1747 h 485732"/>
                <a:gd name="connsiteX8" fmla="*/ 10639 w 1453691"/>
                <a:gd name="connsiteY8" fmla="*/ 476 h 4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691" h="485732">
                  <a:moveTo>
                    <a:pt x="10639" y="476"/>
                  </a:moveTo>
                  <a:cubicBezTo>
                    <a:pt x="6828" y="-794"/>
                    <a:pt x="3017" y="476"/>
                    <a:pt x="476" y="4288"/>
                  </a:cubicBezTo>
                  <a:cubicBezTo>
                    <a:pt x="-794" y="8098"/>
                    <a:pt x="476" y="11909"/>
                    <a:pt x="4287" y="14450"/>
                  </a:cubicBezTo>
                  <a:cubicBezTo>
                    <a:pt x="4287" y="14450"/>
                    <a:pt x="5557" y="14450"/>
                    <a:pt x="5557" y="14450"/>
                  </a:cubicBezTo>
                  <a:lnTo>
                    <a:pt x="15720" y="18261"/>
                  </a:lnTo>
                  <a:lnTo>
                    <a:pt x="1406691" y="485733"/>
                  </a:lnTo>
                  <a:lnTo>
                    <a:pt x="1453692" y="485733"/>
                  </a:lnTo>
                  <a:lnTo>
                    <a:pt x="14450" y="1747"/>
                  </a:lnTo>
                  <a:lnTo>
                    <a:pt x="10639" y="476"/>
                  </a:lnTo>
                  <a:close/>
                </a:path>
              </a:pathLst>
            </a:custGeom>
            <a:solidFill>
              <a:srgbClr val="000000"/>
            </a:solidFill>
            <a:ln w="12688"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0CCAD129-6F9B-4EAC-84E3-3D1DA01AE95D}"/>
                </a:ext>
              </a:extLst>
            </p:cNvPr>
            <p:cNvSpPr/>
            <p:nvPr/>
          </p:nvSpPr>
          <p:spPr>
            <a:xfrm>
              <a:off x="5182795" y="5186654"/>
              <a:ext cx="384898" cy="124490"/>
            </a:xfrm>
            <a:custGeom>
              <a:avLst/>
              <a:gdLst>
                <a:gd name="connsiteX0" fmla="*/ 376007 w 384898"/>
                <a:gd name="connsiteY0" fmla="*/ 114327 h 124490"/>
                <a:gd name="connsiteX1" fmla="*/ 384899 w 384898"/>
                <a:gd name="connsiteY1" fmla="*/ 109246 h 124490"/>
                <a:gd name="connsiteX2" fmla="*/ 384899 w 384898"/>
                <a:gd name="connsiteY2" fmla="*/ 109246 h 124490"/>
                <a:gd name="connsiteX3" fmla="*/ 381088 w 384898"/>
                <a:gd name="connsiteY3" fmla="*/ 107976 h 124490"/>
                <a:gd name="connsiteX4" fmla="*/ 19054 w 384898"/>
                <a:gd name="connsiteY4" fmla="*/ 0 h 124490"/>
                <a:gd name="connsiteX5" fmla="*/ 7622 w 384898"/>
                <a:gd name="connsiteY5" fmla="*/ 8892 h 124490"/>
                <a:gd name="connsiteX6" fmla="*/ 0 w 384898"/>
                <a:gd name="connsiteY6" fmla="*/ 10163 h 124490"/>
                <a:gd name="connsiteX7" fmla="*/ 0 w 384898"/>
                <a:gd name="connsiteY7" fmla="*/ 10163 h 124490"/>
                <a:gd name="connsiteX8" fmla="*/ 379818 w 384898"/>
                <a:gd name="connsiteY8" fmla="*/ 124490 h 124490"/>
                <a:gd name="connsiteX9" fmla="*/ 376007 w 384898"/>
                <a:gd name="connsiteY9" fmla="*/ 114327 h 124490"/>
                <a:gd name="connsiteX10" fmla="*/ 376007 w 384898"/>
                <a:gd name="connsiteY10" fmla="*/ 114327 h 1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898" h="124490">
                  <a:moveTo>
                    <a:pt x="376007" y="114327"/>
                  </a:moveTo>
                  <a:cubicBezTo>
                    <a:pt x="377277" y="110517"/>
                    <a:pt x="381088" y="107976"/>
                    <a:pt x="384899" y="109246"/>
                  </a:cubicBezTo>
                  <a:cubicBezTo>
                    <a:pt x="384899" y="109246"/>
                    <a:pt x="384899" y="109246"/>
                    <a:pt x="384899" y="109246"/>
                  </a:cubicBezTo>
                  <a:lnTo>
                    <a:pt x="381088" y="107976"/>
                  </a:lnTo>
                  <a:lnTo>
                    <a:pt x="19054" y="0"/>
                  </a:lnTo>
                  <a:lnTo>
                    <a:pt x="7622" y="8892"/>
                  </a:lnTo>
                  <a:cubicBezTo>
                    <a:pt x="5081" y="10163"/>
                    <a:pt x="2541" y="11433"/>
                    <a:pt x="0" y="10163"/>
                  </a:cubicBezTo>
                  <a:lnTo>
                    <a:pt x="0" y="10163"/>
                  </a:lnTo>
                  <a:lnTo>
                    <a:pt x="379818" y="124490"/>
                  </a:lnTo>
                  <a:cubicBezTo>
                    <a:pt x="377277" y="123220"/>
                    <a:pt x="374736" y="119409"/>
                    <a:pt x="376007" y="114327"/>
                  </a:cubicBezTo>
                  <a:cubicBezTo>
                    <a:pt x="376007" y="114327"/>
                    <a:pt x="376007" y="114327"/>
                    <a:pt x="376007" y="114327"/>
                  </a:cubicBezTo>
                  <a:close/>
                </a:path>
              </a:pathLst>
            </a:custGeom>
            <a:solidFill>
              <a:srgbClr val="000000"/>
            </a:solidFill>
            <a:ln w="12688"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FBECCAD6-9BF6-4EB0-BA4E-C5DEF125CF92}"/>
                </a:ext>
              </a:extLst>
            </p:cNvPr>
            <p:cNvSpPr/>
            <p:nvPr/>
          </p:nvSpPr>
          <p:spPr>
            <a:xfrm>
              <a:off x="5178984" y="5187925"/>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0"/>
                    <a:pt x="0" y="1270"/>
                  </a:cubicBezTo>
                  <a:close/>
                </a:path>
              </a:pathLst>
            </a:custGeom>
            <a:solidFill>
              <a:srgbClr val="000000"/>
            </a:solidFill>
            <a:ln w="12688"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0A29E471-7999-416D-82AC-0AA8C2D7D345}"/>
                </a:ext>
              </a:extLst>
            </p:cNvPr>
            <p:cNvSpPr/>
            <p:nvPr/>
          </p:nvSpPr>
          <p:spPr>
            <a:xfrm>
              <a:off x="3179543" y="6658938"/>
              <a:ext cx="141002" cy="58433"/>
            </a:xfrm>
            <a:custGeom>
              <a:avLst/>
              <a:gdLst>
                <a:gd name="connsiteX0" fmla="*/ 135921 w 141002"/>
                <a:gd name="connsiteY0" fmla="*/ 49541 h 58433"/>
                <a:gd name="connsiteX1" fmla="*/ 135921 w 141002"/>
                <a:gd name="connsiteY1" fmla="*/ 49541 h 58433"/>
                <a:gd name="connsiteX2" fmla="*/ 137192 w 141002"/>
                <a:gd name="connsiteY2" fmla="*/ 47001 h 58433"/>
                <a:gd name="connsiteX3" fmla="*/ 137192 w 141002"/>
                <a:gd name="connsiteY3" fmla="*/ 47001 h 58433"/>
                <a:gd name="connsiteX4" fmla="*/ 141002 w 141002"/>
                <a:gd name="connsiteY4" fmla="*/ 44461 h 58433"/>
                <a:gd name="connsiteX5" fmla="*/ 17784 w 141002"/>
                <a:gd name="connsiteY5" fmla="*/ 0 h 58433"/>
                <a:gd name="connsiteX6" fmla="*/ 7622 w 141002"/>
                <a:gd name="connsiteY6" fmla="*/ 8892 h 58433"/>
                <a:gd name="connsiteX7" fmla="*/ 6351 w 141002"/>
                <a:gd name="connsiteY7" fmla="*/ 8892 h 58433"/>
                <a:gd name="connsiteX8" fmla="*/ 5081 w 141002"/>
                <a:gd name="connsiteY8" fmla="*/ 10162 h 58433"/>
                <a:gd name="connsiteX9" fmla="*/ 3811 w 141002"/>
                <a:gd name="connsiteY9" fmla="*/ 10162 h 58433"/>
                <a:gd name="connsiteX10" fmla="*/ 1270 w 141002"/>
                <a:gd name="connsiteY10" fmla="*/ 10162 h 58433"/>
                <a:gd name="connsiteX11" fmla="*/ 0 w 141002"/>
                <a:gd name="connsiteY11" fmla="*/ 10162 h 58433"/>
                <a:gd name="connsiteX12" fmla="*/ 135921 w 141002"/>
                <a:gd name="connsiteY12" fmla="*/ 58434 h 58433"/>
                <a:gd name="connsiteX13" fmla="*/ 135921 w 141002"/>
                <a:gd name="connsiteY13" fmla="*/ 53353 h 58433"/>
                <a:gd name="connsiteX14" fmla="*/ 135921 w 141002"/>
                <a:gd name="connsiteY14" fmla="*/ 53353 h 58433"/>
                <a:gd name="connsiteX15" fmla="*/ 135921 w 141002"/>
                <a:gd name="connsiteY15" fmla="*/ 52082 h 58433"/>
                <a:gd name="connsiteX16" fmla="*/ 135921 w 141002"/>
                <a:gd name="connsiteY16" fmla="*/ 49541 h 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002" h="58433">
                  <a:moveTo>
                    <a:pt x="135921" y="49541"/>
                  </a:moveTo>
                  <a:lnTo>
                    <a:pt x="135921" y="49541"/>
                  </a:lnTo>
                  <a:cubicBezTo>
                    <a:pt x="137192" y="48271"/>
                    <a:pt x="137192" y="47001"/>
                    <a:pt x="137192" y="47001"/>
                  </a:cubicBezTo>
                  <a:lnTo>
                    <a:pt x="137192" y="47001"/>
                  </a:lnTo>
                  <a:lnTo>
                    <a:pt x="141002" y="44461"/>
                  </a:lnTo>
                  <a:lnTo>
                    <a:pt x="17784" y="0"/>
                  </a:lnTo>
                  <a:lnTo>
                    <a:pt x="7622" y="8892"/>
                  </a:lnTo>
                  <a:lnTo>
                    <a:pt x="6351" y="8892"/>
                  </a:lnTo>
                  <a:cubicBezTo>
                    <a:pt x="6351" y="8892"/>
                    <a:pt x="5081" y="8892"/>
                    <a:pt x="5081" y="10162"/>
                  </a:cubicBezTo>
                  <a:cubicBezTo>
                    <a:pt x="5081" y="10162"/>
                    <a:pt x="3811" y="10162"/>
                    <a:pt x="3811" y="10162"/>
                  </a:cubicBezTo>
                  <a:lnTo>
                    <a:pt x="1270" y="10162"/>
                  </a:lnTo>
                  <a:lnTo>
                    <a:pt x="0" y="10162"/>
                  </a:lnTo>
                  <a:lnTo>
                    <a:pt x="135921" y="58434"/>
                  </a:lnTo>
                  <a:lnTo>
                    <a:pt x="135921" y="53353"/>
                  </a:lnTo>
                  <a:lnTo>
                    <a:pt x="135921" y="53353"/>
                  </a:lnTo>
                  <a:cubicBezTo>
                    <a:pt x="135921" y="53353"/>
                    <a:pt x="135921" y="52082"/>
                    <a:pt x="135921" y="52082"/>
                  </a:cubicBezTo>
                  <a:lnTo>
                    <a:pt x="135921" y="49541"/>
                  </a:lnTo>
                  <a:close/>
                </a:path>
              </a:pathLst>
            </a:custGeom>
            <a:solidFill>
              <a:srgbClr val="000000"/>
            </a:solidFill>
            <a:ln w="12688"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E07017BA-2803-498E-9A6E-F7C0308D4522}"/>
                </a:ext>
              </a:extLst>
            </p:cNvPr>
            <p:cNvSpPr/>
            <p:nvPr/>
          </p:nvSpPr>
          <p:spPr>
            <a:xfrm>
              <a:off x="3316735" y="6711020"/>
              <a:ext cx="20324" cy="143544"/>
            </a:xfrm>
            <a:custGeom>
              <a:avLst/>
              <a:gdLst>
                <a:gd name="connsiteX0" fmla="*/ 11433 w 20324"/>
                <a:gd name="connsiteY0" fmla="*/ 6352 h 143544"/>
                <a:gd name="connsiteX1" fmla="*/ 1270 w 20324"/>
                <a:gd name="connsiteY1" fmla="*/ 5082 h 143544"/>
                <a:gd name="connsiteX2" fmla="*/ 0 w 20324"/>
                <a:gd name="connsiteY2" fmla="*/ 0 h 143544"/>
                <a:gd name="connsiteX3" fmla="*/ 0 w 20324"/>
                <a:gd name="connsiteY3" fmla="*/ 0 h 143544"/>
                <a:gd name="connsiteX4" fmla="*/ 0 w 20324"/>
                <a:gd name="connsiteY4" fmla="*/ 5082 h 143544"/>
                <a:gd name="connsiteX5" fmla="*/ 5081 w 20324"/>
                <a:gd name="connsiteY5" fmla="*/ 143544 h 143544"/>
                <a:gd name="connsiteX6" fmla="*/ 20325 w 20324"/>
                <a:gd name="connsiteY6" fmla="*/ 143544 h 143544"/>
                <a:gd name="connsiteX7" fmla="*/ 15243 w 20324"/>
                <a:gd name="connsiteY7" fmla="*/ 3811 h 143544"/>
                <a:gd name="connsiteX8" fmla="*/ 11433 w 20324"/>
                <a:gd name="connsiteY8" fmla="*/ 6352 h 14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24" h="143544">
                  <a:moveTo>
                    <a:pt x="11433" y="6352"/>
                  </a:moveTo>
                  <a:cubicBezTo>
                    <a:pt x="7622" y="8892"/>
                    <a:pt x="3811" y="8892"/>
                    <a:pt x="1270" y="5082"/>
                  </a:cubicBezTo>
                  <a:cubicBezTo>
                    <a:pt x="0" y="3811"/>
                    <a:pt x="0" y="2541"/>
                    <a:pt x="0" y="0"/>
                  </a:cubicBezTo>
                  <a:lnTo>
                    <a:pt x="0" y="0"/>
                  </a:lnTo>
                  <a:lnTo>
                    <a:pt x="0" y="5082"/>
                  </a:lnTo>
                  <a:lnTo>
                    <a:pt x="5081" y="143544"/>
                  </a:lnTo>
                  <a:lnTo>
                    <a:pt x="20325" y="143544"/>
                  </a:lnTo>
                  <a:lnTo>
                    <a:pt x="15243" y="3811"/>
                  </a:lnTo>
                  <a:lnTo>
                    <a:pt x="11433" y="6352"/>
                  </a:lnTo>
                  <a:close/>
                </a:path>
              </a:pathLst>
            </a:custGeom>
            <a:solidFill>
              <a:srgbClr val="000000"/>
            </a:solidFill>
            <a:ln w="12688"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20633A81-D45A-4CE7-9364-4946A558D613}"/>
                </a:ext>
              </a:extLst>
            </p:cNvPr>
            <p:cNvSpPr/>
            <p:nvPr/>
          </p:nvSpPr>
          <p:spPr>
            <a:xfrm>
              <a:off x="3931556" y="5764643"/>
              <a:ext cx="519549" cy="442066"/>
            </a:xfrm>
            <a:custGeom>
              <a:avLst/>
              <a:gdLst>
                <a:gd name="connsiteX0" fmla="*/ 519550 w 519549"/>
                <a:gd name="connsiteY0" fmla="*/ 0 h 442066"/>
                <a:gd name="connsiteX1" fmla="*/ 519550 w 519549"/>
                <a:gd name="connsiteY1" fmla="*/ 0 h 442066"/>
                <a:gd name="connsiteX2" fmla="*/ 0 w 519549"/>
                <a:gd name="connsiteY2" fmla="*/ 430634 h 442066"/>
                <a:gd name="connsiteX3" fmla="*/ 3811 w 519549"/>
                <a:gd name="connsiteY3" fmla="*/ 431904 h 442066"/>
                <a:gd name="connsiteX4" fmla="*/ 3811 w 519549"/>
                <a:gd name="connsiteY4" fmla="*/ 431904 h 442066"/>
                <a:gd name="connsiteX5" fmla="*/ 5081 w 519549"/>
                <a:gd name="connsiteY5" fmla="*/ 431904 h 442066"/>
                <a:gd name="connsiteX6" fmla="*/ 6351 w 519549"/>
                <a:gd name="connsiteY6" fmla="*/ 433174 h 442066"/>
                <a:gd name="connsiteX7" fmla="*/ 6351 w 519549"/>
                <a:gd name="connsiteY7" fmla="*/ 433174 h 442066"/>
                <a:gd name="connsiteX8" fmla="*/ 6351 w 519549"/>
                <a:gd name="connsiteY8" fmla="*/ 433174 h 442066"/>
                <a:gd name="connsiteX9" fmla="*/ 7622 w 519549"/>
                <a:gd name="connsiteY9" fmla="*/ 434444 h 442066"/>
                <a:gd name="connsiteX10" fmla="*/ 7622 w 519549"/>
                <a:gd name="connsiteY10" fmla="*/ 435715 h 442066"/>
                <a:gd name="connsiteX11" fmla="*/ 7622 w 519549"/>
                <a:gd name="connsiteY11" fmla="*/ 436985 h 442066"/>
                <a:gd name="connsiteX12" fmla="*/ 7622 w 519549"/>
                <a:gd name="connsiteY12" fmla="*/ 438255 h 442066"/>
                <a:gd name="connsiteX13" fmla="*/ 7622 w 519549"/>
                <a:gd name="connsiteY13" fmla="*/ 439526 h 442066"/>
                <a:gd name="connsiteX14" fmla="*/ 7622 w 519549"/>
                <a:gd name="connsiteY14" fmla="*/ 439526 h 442066"/>
                <a:gd name="connsiteX15" fmla="*/ 6351 w 519549"/>
                <a:gd name="connsiteY15" fmla="*/ 440796 h 442066"/>
                <a:gd name="connsiteX16" fmla="*/ 5081 w 519549"/>
                <a:gd name="connsiteY16" fmla="*/ 442066 h 442066"/>
                <a:gd name="connsiteX17" fmla="*/ 5081 w 519549"/>
                <a:gd name="connsiteY17" fmla="*/ 442066 h 442066"/>
                <a:gd name="connsiteX18" fmla="*/ 514469 w 519549"/>
                <a:gd name="connsiteY18" fmla="*/ 19055 h 442066"/>
                <a:gd name="connsiteX19" fmla="*/ 514469 w 519549"/>
                <a:gd name="connsiteY19" fmla="*/ 3811 h 442066"/>
                <a:gd name="connsiteX20" fmla="*/ 519550 w 519549"/>
                <a:gd name="connsiteY20" fmla="*/ 0 h 44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9549" h="442066">
                  <a:moveTo>
                    <a:pt x="519550" y="0"/>
                  </a:moveTo>
                  <a:lnTo>
                    <a:pt x="519550" y="0"/>
                  </a:lnTo>
                  <a:lnTo>
                    <a:pt x="0" y="430634"/>
                  </a:lnTo>
                  <a:lnTo>
                    <a:pt x="3811" y="431904"/>
                  </a:lnTo>
                  <a:lnTo>
                    <a:pt x="3811" y="431904"/>
                  </a:lnTo>
                  <a:lnTo>
                    <a:pt x="5081" y="431904"/>
                  </a:lnTo>
                  <a:lnTo>
                    <a:pt x="6351" y="433174"/>
                  </a:lnTo>
                  <a:lnTo>
                    <a:pt x="6351" y="433174"/>
                  </a:lnTo>
                  <a:lnTo>
                    <a:pt x="6351" y="433174"/>
                  </a:lnTo>
                  <a:lnTo>
                    <a:pt x="7622" y="434444"/>
                  </a:lnTo>
                  <a:lnTo>
                    <a:pt x="7622" y="435715"/>
                  </a:lnTo>
                  <a:cubicBezTo>
                    <a:pt x="7622" y="435715"/>
                    <a:pt x="7622" y="436985"/>
                    <a:pt x="7622" y="436985"/>
                  </a:cubicBezTo>
                  <a:cubicBezTo>
                    <a:pt x="7622" y="436985"/>
                    <a:pt x="7622" y="438255"/>
                    <a:pt x="7622" y="438255"/>
                  </a:cubicBezTo>
                  <a:lnTo>
                    <a:pt x="7622" y="439526"/>
                  </a:lnTo>
                  <a:lnTo>
                    <a:pt x="7622" y="439526"/>
                  </a:lnTo>
                  <a:cubicBezTo>
                    <a:pt x="7622" y="439526"/>
                    <a:pt x="7622" y="440796"/>
                    <a:pt x="6351" y="440796"/>
                  </a:cubicBezTo>
                  <a:cubicBezTo>
                    <a:pt x="6351" y="440796"/>
                    <a:pt x="6351" y="442066"/>
                    <a:pt x="5081" y="442066"/>
                  </a:cubicBezTo>
                  <a:lnTo>
                    <a:pt x="5081" y="442066"/>
                  </a:lnTo>
                  <a:lnTo>
                    <a:pt x="514469" y="19055"/>
                  </a:lnTo>
                  <a:lnTo>
                    <a:pt x="514469" y="3811"/>
                  </a:lnTo>
                  <a:cubicBezTo>
                    <a:pt x="517009" y="1270"/>
                    <a:pt x="518279" y="0"/>
                    <a:pt x="519550" y="0"/>
                  </a:cubicBezTo>
                  <a:close/>
                </a:path>
              </a:pathLst>
            </a:custGeom>
            <a:solidFill>
              <a:srgbClr val="000000"/>
            </a:solidFill>
            <a:ln w="12688"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34483C85-ED9D-42CC-92AE-722D6F6C1D21}"/>
                </a:ext>
              </a:extLst>
            </p:cNvPr>
            <p:cNvSpPr/>
            <p:nvPr/>
          </p:nvSpPr>
          <p:spPr>
            <a:xfrm>
              <a:off x="4459998" y="5765913"/>
              <a:ext cx="952" cy="564"/>
            </a:xfrm>
            <a:custGeom>
              <a:avLst/>
              <a:gdLst>
                <a:gd name="connsiteX0" fmla="*/ 0 w 952"/>
                <a:gd name="connsiteY0" fmla="*/ 0 h 564"/>
                <a:gd name="connsiteX1" fmla="*/ 0 w 952"/>
                <a:gd name="connsiteY1" fmla="*/ 0 h 564"/>
                <a:gd name="connsiteX2" fmla="*/ 0 w 952"/>
                <a:gd name="connsiteY2" fmla="*/ 0 h 564"/>
                <a:gd name="connsiteX3" fmla="*/ 0 w 952"/>
                <a:gd name="connsiteY3" fmla="*/ 0 h 564"/>
              </a:gdLst>
              <a:ahLst/>
              <a:cxnLst>
                <a:cxn ang="0">
                  <a:pos x="connsiteX0" y="connsiteY0"/>
                </a:cxn>
                <a:cxn ang="0">
                  <a:pos x="connsiteX1" y="connsiteY1"/>
                </a:cxn>
                <a:cxn ang="0">
                  <a:pos x="connsiteX2" y="connsiteY2"/>
                </a:cxn>
                <a:cxn ang="0">
                  <a:pos x="connsiteX3" y="connsiteY3"/>
                </a:cxn>
              </a:cxnLst>
              <a:rect l="l" t="t" r="r" b="b"/>
              <a:pathLst>
                <a:path w="952" h="564">
                  <a:moveTo>
                    <a:pt x="0" y="0"/>
                  </a:moveTo>
                  <a:lnTo>
                    <a:pt x="0" y="0"/>
                  </a:lnTo>
                  <a:cubicBezTo>
                    <a:pt x="1270" y="1270"/>
                    <a:pt x="1270" y="0"/>
                    <a:pt x="0" y="0"/>
                  </a:cubicBezTo>
                  <a:cubicBezTo>
                    <a:pt x="1270" y="0"/>
                    <a:pt x="0" y="0"/>
                    <a:pt x="0" y="0"/>
                  </a:cubicBezTo>
                  <a:close/>
                </a:path>
              </a:pathLst>
            </a:custGeom>
            <a:solidFill>
              <a:srgbClr val="000000"/>
            </a:solidFill>
            <a:ln w="12688"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2C5729E8-23A3-4ABF-8523-488B4E7283AA}"/>
                </a:ext>
              </a:extLst>
            </p:cNvPr>
            <p:cNvSpPr/>
            <p:nvPr/>
          </p:nvSpPr>
          <p:spPr>
            <a:xfrm>
              <a:off x="487792" y="6760562"/>
              <a:ext cx="25405" cy="94002"/>
            </a:xfrm>
            <a:custGeom>
              <a:avLst/>
              <a:gdLst>
                <a:gd name="connsiteX0" fmla="*/ 5081 w 25405"/>
                <a:gd name="connsiteY0" fmla="*/ 6352 h 94002"/>
                <a:gd name="connsiteX1" fmla="*/ 5081 w 25405"/>
                <a:gd name="connsiteY1" fmla="*/ 6352 h 94002"/>
                <a:gd name="connsiteX2" fmla="*/ 2541 w 25405"/>
                <a:gd name="connsiteY2" fmla="*/ 5081 h 94002"/>
                <a:gd name="connsiteX3" fmla="*/ 1270 w 25405"/>
                <a:gd name="connsiteY3" fmla="*/ 3811 h 94002"/>
                <a:gd name="connsiteX4" fmla="*/ 0 w 25405"/>
                <a:gd name="connsiteY4" fmla="*/ 2541 h 94002"/>
                <a:gd name="connsiteX5" fmla="*/ 0 w 25405"/>
                <a:gd name="connsiteY5" fmla="*/ 1270 h 94002"/>
                <a:gd name="connsiteX6" fmla="*/ 0 w 25405"/>
                <a:gd name="connsiteY6" fmla="*/ 0 h 94002"/>
                <a:gd name="connsiteX7" fmla="*/ 10162 w 25405"/>
                <a:gd name="connsiteY7" fmla="*/ 94002 h 94002"/>
                <a:gd name="connsiteX8" fmla="*/ 25406 w 25405"/>
                <a:gd name="connsiteY8" fmla="*/ 94002 h 94002"/>
                <a:gd name="connsiteX9" fmla="*/ 16514 w 25405"/>
                <a:gd name="connsiteY9" fmla="*/ 11432 h 94002"/>
                <a:gd name="connsiteX10" fmla="*/ 5081 w 25405"/>
                <a:gd name="connsiteY10" fmla="*/ 6352 h 9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05" h="94002">
                  <a:moveTo>
                    <a:pt x="5081" y="6352"/>
                  </a:moveTo>
                  <a:lnTo>
                    <a:pt x="5081" y="6352"/>
                  </a:lnTo>
                  <a:cubicBezTo>
                    <a:pt x="3811" y="6352"/>
                    <a:pt x="3811" y="6352"/>
                    <a:pt x="2541" y="5081"/>
                  </a:cubicBezTo>
                  <a:cubicBezTo>
                    <a:pt x="2541" y="5081"/>
                    <a:pt x="1270" y="5081"/>
                    <a:pt x="1270" y="3811"/>
                  </a:cubicBezTo>
                  <a:cubicBezTo>
                    <a:pt x="1270" y="3811"/>
                    <a:pt x="0" y="2541"/>
                    <a:pt x="0" y="2541"/>
                  </a:cubicBezTo>
                  <a:cubicBezTo>
                    <a:pt x="0" y="2541"/>
                    <a:pt x="0" y="1270"/>
                    <a:pt x="0" y="1270"/>
                  </a:cubicBezTo>
                  <a:cubicBezTo>
                    <a:pt x="0" y="1270"/>
                    <a:pt x="0" y="1270"/>
                    <a:pt x="0" y="0"/>
                  </a:cubicBezTo>
                  <a:lnTo>
                    <a:pt x="10162" y="94002"/>
                  </a:lnTo>
                  <a:lnTo>
                    <a:pt x="25406" y="94002"/>
                  </a:lnTo>
                  <a:lnTo>
                    <a:pt x="16514" y="11432"/>
                  </a:lnTo>
                  <a:lnTo>
                    <a:pt x="5081" y="6352"/>
                  </a:lnTo>
                  <a:close/>
                </a:path>
              </a:pathLst>
            </a:custGeom>
            <a:solidFill>
              <a:srgbClr val="000000"/>
            </a:solidFill>
            <a:ln w="12688"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696BA680-7951-44C2-9059-54BD529D6758}"/>
                </a:ext>
              </a:extLst>
            </p:cNvPr>
            <p:cNvSpPr/>
            <p:nvPr/>
          </p:nvSpPr>
          <p:spPr>
            <a:xfrm>
              <a:off x="388709" y="5703668"/>
              <a:ext cx="398078" cy="153706"/>
            </a:xfrm>
            <a:custGeom>
              <a:avLst/>
              <a:gdLst>
                <a:gd name="connsiteX0" fmla="*/ 388710 w 398078"/>
                <a:gd name="connsiteY0" fmla="*/ 153707 h 153706"/>
                <a:gd name="connsiteX1" fmla="*/ 388710 w 398078"/>
                <a:gd name="connsiteY1" fmla="*/ 153707 h 153706"/>
                <a:gd name="connsiteX2" fmla="*/ 389980 w 398078"/>
                <a:gd name="connsiteY2" fmla="*/ 153707 h 153706"/>
                <a:gd name="connsiteX3" fmla="*/ 391250 w 398078"/>
                <a:gd name="connsiteY3" fmla="*/ 153707 h 153706"/>
                <a:gd name="connsiteX4" fmla="*/ 392521 w 398078"/>
                <a:gd name="connsiteY4" fmla="*/ 153707 h 153706"/>
                <a:gd name="connsiteX5" fmla="*/ 393791 w 398078"/>
                <a:gd name="connsiteY5" fmla="*/ 153707 h 153706"/>
                <a:gd name="connsiteX6" fmla="*/ 397602 w 398078"/>
                <a:gd name="connsiteY6" fmla="*/ 149896 h 153706"/>
                <a:gd name="connsiteX7" fmla="*/ 393791 w 398078"/>
                <a:gd name="connsiteY7" fmla="*/ 141004 h 153706"/>
                <a:gd name="connsiteX8" fmla="*/ 393791 w 398078"/>
                <a:gd name="connsiteY8" fmla="*/ 141004 h 153706"/>
                <a:gd name="connsiteX9" fmla="*/ 389980 w 398078"/>
                <a:gd name="connsiteY9" fmla="*/ 139734 h 153706"/>
                <a:gd name="connsiteX10" fmla="*/ 0 w 398078"/>
                <a:gd name="connsiteY10" fmla="*/ 0 h 153706"/>
                <a:gd name="connsiteX11" fmla="*/ 0 w 398078"/>
                <a:gd name="connsiteY11" fmla="*/ 5081 h 153706"/>
                <a:gd name="connsiteX12" fmla="*/ 1270 w 398078"/>
                <a:gd name="connsiteY12" fmla="*/ 16514 h 153706"/>
                <a:gd name="connsiteX13" fmla="*/ 383628 w 398078"/>
                <a:gd name="connsiteY13" fmla="*/ 152437 h 153706"/>
                <a:gd name="connsiteX14" fmla="*/ 388710 w 398078"/>
                <a:gd name="connsiteY14" fmla="*/ 153707 h 1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8078" h="153706">
                  <a:moveTo>
                    <a:pt x="388710" y="153707"/>
                  </a:moveTo>
                  <a:lnTo>
                    <a:pt x="388710" y="153707"/>
                  </a:lnTo>
                  <a:lnTo>
                    <a:pt x="389980" y="153707"/>
                  </a:lnTo>
                  <a:lnTo>
                    <a:pt x="391250" y="153707"/>
                  </a:lnTo>
                  <a:lnTo>
                    <a:pt x="392521" y="153707"/>
                  </a:lnTo>
                  <a:lnTo>
                    <a:pt x="393791" y="153707"/>
                  </a:lnTo>
                  <a:cubicBezTo>
                    <a:pt x="395061" y="152437"/>
                    <a:pt x="396331" y="151166"/>
                    <a:pt x="397602" y="149896"/>
                  </a:cubicBezTo>
                  <a:cubicBezTo>
                    <a:pt x="398872" y="146085"/>
                    <a:pt x="397602" y="142274"/>
                    <a:pt x="393791" y="141004"/>
                  </a:cubicBezTo>
                  <a:cubicBezTo>
                    <a:pt x="393791" y="141004"/>
                    <a:pt x="393791" y="141004"/>
                    <a:pt x="393791" y="141004"/>
                  </a:cubicBezTo>
                  <a:lnTo>
                    <a:pt x="389980" y="139734"/>
                  </a:lnTo>
                  <a:lnTo>
                    <a:pt x="0" y="0"/>
                  </a:lnTo>
                  <a:lnTo>
                    <a:pt x="0" y="5081"/>
                  </a:lnTo>
                  <a:lnTo>
                    <a:pt x="1270" y="16514"/>
                  </a:lnTo>
                  <a:lnTo>
                    <a:pt x="383628" y="152437"/>
                  </a:lnTo>
                  <a:lnTo>
                    <a:pt x="388710" y="153707"/>
                  </a:lnTo>
                  <a:close/>
                </a:path>
              </a:pathLst>
            </a:custGeom>
            <a:solidFill>
              <a:srgbClr val="000000"/>
            </a:solidFill>
            <a:ln w="12688"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4EC203B0-B174-42DE-821E-0CF7CC93B23E}"/>
                </a:ext>
              </a:extLst>
            </p:cNvPr>
            <p:cNvSpPr/>
            <p:nvPr/>
          </p:nvSpPr>
          <p:spPr>
            <a:xfrm>
              <a:off x="3785473" y="5566476"/>
              <a:ext cx="16513" cy="16513"/>
            </a:xfrm>
            <a:custGeom>
              <a:avLst/>
              <a:gdLst>
                <a:gd name="connsiteX0" fmla="*/ 6351 w 16513"/>
                <a:gd name="connsiteY0" fmla="*/ 0 h 16513"/>
                <a:gd name="connsiteX1" fmla="*/ 0 w 16513"/>
                <a:gd name="connsiteY1" fmla="*/ 5081 h 16513"/>
                <a:gd name="connsiteX2" fmla="*/ 1270 w 16513"/>
                <a:gd name="connsiteY2" fmla="*/ 16514 h 16513"/>
                <a:gd name="connsiteX3" fmla="*/ 16514 w 16513"/>
                <a:gd name="connsiteY3" fmla="*/ 3811 h 16513"/>
              </a:gdLst>
              <a:ahLst/>
              <a:cxnLst>
                <a:cxn ang="0">
                  <a:pos x="connsiteX0" y="connsiteY0"/>
                </a:cxn>
                <a:cxn ang="0">
                  <a:pos x="connsiteX1" y="connsiteY1"/>
                </a:cxn>
                <a:cxn ang="0">
                  <a:pos x="connsiteX2" y="connsiteY2"/>
                </a:cxn>
                <a:cxn ang="0">
                  <a:pos x="connsiteX3" y="connsiteY3"/>
                </a:cxn>
              </a:cxnLst>
              <a:rect l="l" t="t" r="r" b="b"/>
              <a:pathLst>
                <a:path w="16513" h="16513">
                  <a:moveTo>
                    <a:pt x="6351" y="0"/>
                  </a:moveTo>
                  <a:lnTo>
                    <a:pt x="0" y="5081"/>
                  </a:lnTo>
                  <a:lnTo>
                    <a:pt x="1270" y="16514"/>
                  </a:lnTo>
                  <a:lnTo>
                    <a:pt x="16514" y="3811"/>
                  </a:lnTo>
                  <a:close/>
                </a:path>
              </a:pathLst>
            </a:custGeom>
            <a:solidFill>
              <a:srgbClr val="000000"/>
            </a:solidFill>
            <a:ln w="12688"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4F287BAF-BD4C-42DB-A068-1E8CE2459AEC}"/>
                </a:ext>
              </a:extLst>
            </p:cNvPr>
            <p:cNvSpPr/>
            <p:nvPr/>
          </p:nvSpPr>
          <p:spPr>
            <a:xfrm>
              <a:off x="3314194" y="6207980"/>
              <a:ext cx="621173" cy="510777"/>
            </a:xfrm>
            <a:custGeom>
              <a:avLst/>
              <a:gdLst>
                <a:gd name="connsiteX0" fmla="*/ 616092 w 621173"/>
                <a:gd name="connsiteY0" fmla="*/ 3811 h 510777"/>
                <a:gd name="connsiteX1" fmla="*/ 603389 w 621173"/>
                <a:gd name="connsiteY1" fmla="*/ 0 h 510777"/>
                <a:gd name="connsiteX2" fmla="*/ 6351 w 621173"/>
                <a:gd name="connsiteY2" fmla="*/ 495419 h 510777"/>
                <a:gd name="connsiteX3" fmla="*/ 2541 w 621173"/>
                <a:gd name="connsiteY3" fmla="*/ 497960 h 510777"/>
                <a:gd name="connsiteX4" fmla="*/ 2541 w 621173"/>
                <a:gd name="connsiteY4" fmla="*/ 497960 h 510777"/>
                <a:gd name="connsiteX5" fmla="*/ 1270 w 621173"/>
                <a:gd name="connsiteY5" fmla="*/ 499230 h 510777"/>
                <a:gd name="connsiteX6" fmla="*/ 0 w 621173"/>
                <a:gd name="connsiteY6" fmla="*/ 500500 h 510777"/>
                <a:gd name="connsiteX7" fmla="*/ 0 w 621173"/>
                <a:gd name="connsiteY7" fmla="*/ 501770 h 510777"/>
                <a:gd name="connsiteX8" fmla="*/ 0 w 621173"/>
                <a:gd name="connsiteY8" fmla="*/ 503040 h 510777"/>
                <a:gd name="connsiteX9" fmla="*/ 1270 w 621173"/>
                <a:gd name="connsiteY9" fmla="*/ 508122 h 510777"/>
                <a:gd name="connsiteX10" fmla="*/ 11433 w 621173"/>
                <a:gd name="connsiteY10" fmla="*/ 509392 h 510777"/>
                <a:gd name="connsiteX11" fmla="*/ 13973 w 621173"/>
                <a:gd name="connsiteY11" fmla="*/ 506851 h 510777"/>
                <a:gd name="connsiteX12" fmla="*/ 621173 w 621173"/>
                <a:gd name="connsiteY12" fmla="*/ 2540 h 510777"/>
                <a:gd name="connsiteX13" fmla="*/ 621173 w 621173"/>
                <a:gd name="connsiteY13" fmla="*/ 2540 h 510777"/>
                <a:gd name="connsiteX14" fmla="*/ 616092 w 621173"/>
                <a:gd name="connsiteY14" fmla="*/ 3811 h 51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1173" h="510777">
                  <a:moveTo>
                    <a:pt x="616092" y="3811"/>
                  </a:moveTo>
                  <a:lnTo>
                    <a:pt x="603389" y="0"/>
                  </a:lnTo>
                  <a:lnTo>
                    <a:pt x="6351" y="495419"/>
                  </a:lnTo>
                  <a:lnTo>
                    <a:pt x="2541" y="497960"/>
                  </a:lnTo>
                  <a:lnTo>
                    <a:pt x="2541" y="497960"/>
                  </a:lnTo>
                  <a:cubicBezTo>
                    <a:pt x="2541" y="497960"/>
                    <a:pt x="1270" y="499230"/>
                    <a:pt x="1270" y="499230"/>
                  </a:cubicBezTo>
                  <a:lnTo>
                    <a:pt x="0" y="500500"/>
                  </a:lnTo>
                  <a:lnTo>
                    <a:pt x="0" y="501770"/>
                  </a:lnTo>
                  <a:cubicBezTo>
                    <a:pt x="0" y="501770"/>
                    <a:pt x="0" y="503040"/>
                    <a:pt x="0" y="503040"/>
                  </a:cubicBezTo>
                  <a:cubicBezTo>
                    <a:pt x="0" y="504311"/>
                    <a:pt x="0" y="506851"/>
                    <a:pt x="1270" y="508122"/>
                  </a:cubicBezTo>
                  <a:cubicBezTo>
                    <a:pt x="3811" y="510663"/>
                    <a:pt x="8892" y="511933"/>
                    <a:pt x="11433" y="509392"/>
                  </a:cubicBezTo>
                  <a:lnTo>
                    <a:pt x="13973" y="506851"/>
                  </a:lnTo>
                  <a:lnTo>
                    <a:pt x="621173" y="2540"/>
                  </a:lnTo>
                  <a:lnTo>
                    <a:pt x="621173" y="2540"/>
                  </a:lnTo>
                  <a:cubicBezTo>
                    <a:pt x="621173" y="3811"/>
                    <a:pt x="618633" y="5081"/>
                    <a:pt x="616092" y="3811"/>
                  </a:cubicBezTo>
                  <a:close/>
                </a:path>
              </a:pathLst>
            </a:custGeom>
            <a:solidFill>
              <a:schemeClr val="accent4"/>
            </a:solidFill>
            <a:ln w="12688"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AB12DF18-81BC-4B62-9811-58FFB25A9489}"/>
                </a:ext>
              </a:extLst>
            </p:cNvPr>
            <p:cNvSpPr/>
            <p:nvPr/>
          </p:nvSpPr>
          <p:spPr>
            <a:xfrm>
              <a:off x="3939178" y="619908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5BDB4E15-7BDE-4BCF-81B3-BD5629B1A199}"/>
                </a:ext>
              </a:extLst>
            </p:cNvPr>
            <p:cNvSpPr/>
            <p:nvPr/>
          </p:nvSpPr>
          <p:spPr>
            <a:xfrm>
              <a:off x="0" y="1324928"/>
              <a:ext cx="223571" cy="127030"/>
            </a:xfrm>
            <a:custGeom>
              <a:avLst/>
              <a:gdLst>
                <a:gd name="connsiteX0" fmla="*/ 221031 w 223571"/>
                <a:gd name="connsiteY0" fmla="*/ 13973 h 127030"/>
                <a:gd name="connsiteX1" fmla="*/ 214680 w 223571"/>
                <a:gd name="connsiteY1" fmla="*/ 5081 h 127030"/>
                <a:gd name="connsiteX2" fmla="*/ 219761 w 223571"/>
                <a:gd name="connsiteY2" fmla="*/ 0 h 127030"/>
                <a:gd name="connsiteX3" fmla="*/ 218490 w 223571"/>
                <a:gd name="connsiteY3" fmla="*/ 0 h 127030"/>
                <a:gd name="connsiteX4" fmla="*/ 0 w 223571"/>
                <a:gd name="connsiteY4" fmla="*/ 110516 h 127030"/>
                <a:gd name="connsiteX5" fmla="*/ 0 w 223571"/>
                <a:gd name="connsiteY5" fmla="*/ 127030 h 127030"/>
                <a:gd name="connsiteX6" fmla="*/ 223572 w 223571"/>
                <a:gd name="connsiteY6" fmla="*/ 13973 h 127030"/>
                <a:gd name="connsiteX7" fmla="*/ 221031 w 223571"/>
                <a:gd name="connsiteY7" fmla="*/ 13973 h 12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571" h="127030">
                  <a:moveTo>
                    <a:pt x="221031" y="13973"/>
                  </a:moveTo>
                  <a:cubicBezTo>
                    <a:pt x="217220" y="12703"/>
                    <a:pt x="214680" y="8892"/>
                    <a:pt x="214680" y="5081"/>
                  </a:cubicBezTo>
                  <a:cubicBezTo>
                    <a:pt x="214680" y="2541"/>
                    <a:pt x="217220" y="0"/>
                    <a:pt x="219761" y="0"/>
                  </a:cubicBezTo>
                  <a:cubicBezTo>
                    <a:pt x="219761" y="0"/>
                    <a:pt x="218490" y="0"/>
                    <a:pt x="218490" y="0"/>
                  </a:cubicBezTo>
                  <a:lnTo>
                    <a:pt x="0" y="110516"/>
                  </a:lnTo>
                  <a:lnTo>
                    <a:pt x="0" y="127030"/>
                  </a:lnTo>
                  <a:lnTo>
                    <a:pt x="223572" y="13973"/>
                  </a:lnTo>
                  <a:lnTo>
                    <a:pt x="221031" y="13973"/>
                  </a:lnTo>
                  <a:close/>
                </a:path>
              </a:pathLst>
            </a:custGeom>
            <a:solidFill>
              <a:srgbClr val="000000"/>
            </a:solidFill>
            <a:ln w="12688"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9B44DE3D-8AC9-44FF-B217-FB8FBC62A030}"/>
                </a:ext>
              </a:extLst>
            </p:cNvPr>
            <p:cNvSpPr/>
            <p:nvPr/>
          </p:nvSpPr>
          <p:spPr>
            <a:xfrm>
              <a:off x="346789" y="1508645"/>
              <a:ext cx="421788" cy="227860"/>
            </a:xfrm>
            <a:custGeom>
              <a:avLst/>
              <a:gdLst>
                <a:gd name="connsiteX0" fmla="*/ 420467 w 421788"/>
                <a:gd name="connsiteY0" fmla="*/ 4287 h 227860"/>
                <a:gd name="connsiteX1" fmla="*/ 410305 w 421788"/>
                <a:gd name="connsiteY1" fmla="*/ 476 h 227860"/>
                <a:gd name="connsiteX2" fmla="*/ 410305 w 421788"/>
                <a:gd name="connsiteY2" fmla="*/ 476 h 227860"/>
                <a:gd name="connsiteX3" fmla="*/ 402683 w 421788"/>
                <a:gd name="connsiteY3" fmla="*/ 4287 h 227860"/>
                <a:gd name="connsiteX4" fmla="*/ 0 w 421788"/>
                <a:gd name="connsiteY4" fmla="*/ 215158 h 227860"/>
                <a:gd name="connsiteX5" fmla="*/ 2541 w 421788"/>
                <a:gd name="connsiteY5" fmla="*/ 216428 h 227860"/>
                <a:gd name="connsiteX6" fmla="*/ 2541 w 421788"/>
                <a:gd name="connsiteY6" fmla="*/ 216428 h 227860"/>
                <a:gd name="connsiteX7" fmla="*/ 3811 w 421788"/>
                <a:gd name="connsiteY7" fmla="*/ 216428 h 227860"/>
                <a:gd name="connsiteX8" fmla="*/ 5081 w 421788"/>
                <a:gd name="connsiteY8" fmla="*/ 217698 h 227860"/>
                <a:gd name="connsiteX9" fmla="*/ 6351 w 421788"/>
                <a:gd name="connsiteY9" fmla="*/ 218969 h 227860"/>
                <a:gd name="connsiteX10" fmla="*/ 7622 w 421788"/>
                <a:gd name="connsiteY10" fmla="*/ 220239 h 227860"/>
                <a:gd name="connsiteX11" fmla="*/ 7622 w 421788"/>
                <a:gd name="connsiteY11" fmla="*/ 221509 h 227860"/>
                <a:gd name="connsiteX12" fmla="*/ 7622 w 421788"/>
                <a:gd name="connsiteY12" fmla="*/ 222780 h 227860"/>
                <a:gd name="connsiteX13" fmla="*/ 7622 w 421788"/>
                <a:gd name="connsiteY13" fmla="*/ 222780 h 227860"/>
                <a:gd name="connsiteX14" fmla="*/ 7622 w 421788"/>
                <a:gd name="connsiteY14" fmla="*/ 227861 h 227860"/>
                <a:gd name="connsiteX15" fmla="*/ 415386 w 421788"/>
                <a:gd name="connsiteY15" fmla="*/ 15720 h 227860"/>
                <a:gd name="connsiteX16" fmla="*/ 417926 w 421788"/>
                <a:gd name="connsiteY16" fmla="*/ 14450 h 227860"/>
                <a:gd name="connsiteX17" fmla="*/ 420467 w 421788"/>
                <a:gd name="connsiteY17" fmla="*/ 4287 h 227860"/>
                <a:gd name="connsiteX18" fmla="*/ 420467 w 421788"/>
                <a:gd name="connsiteY18" fmla="*/ 4287 h 2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788" h="227860">
                  <a:moveTo>
                    <a:pt x="420467" y="4287"/>
                  </a:moveTo>
                  <a:cubicBezTo>
                    <a:pt x="419197" y="476"/>
                    <a:pt x="414116" y="-794"/>
                    <a:pt x="410305" y="476"/>
                  </a:cubicBezTo>
                  <a:cubicBezTo>
                    <a:pt x="410305" y="476"/>
                    <a:pt x="410305" y="476"/>
                    <a:pt x="410305" y="476"/>
                  </a:cubicBezTo>
                  <a:lnTo>
                    <a:pt x="402683" y="4287"/>
                  </a:lnTo>
                  <a:lnTo>
                    <a:pt x="0" y="215158"/>
                  </a:lnTo>
                  <a:lnTo>
                    <a:pt x="2541" y="216428"/>
                  </a:lnTo>
                  <a:lnTo>
                    <a:pt x="2541" y="216428"/>
                  </a:lnTo>
                  <a:lnTo>
                    <a:pt x="3811" y="216428"/>
                  </a:lnTo>
                  <a:lnTo>
                    <a:pt x="5081" y="217698"/>
                  </a:lnTo>
                  <a:cubicBezTo>
                    <a:pt x="5081" y="217698"/>
                    <a:pt x="5081" y="217698"/>
                    <a:pt x="6351" y="218969"/>
                  </a:cubicBezTo>
                  <a:cubicBezTo>
                    <a:pt x="6351" y="218969"/>
                    <a:pt x="7622" y="220239"/>
                    <a:pt x="7622" y="220239"/>
                  </a:cubicBezTo>
                  <a:lnTo>
                    <a:pt x="7622" y="221509"/>
                  </a:lnTo>
                  <a:cubicBezTo>
                    <a:pt x="7622" y="221509"/>
                    <a:pt x="7622" y="222780"/>
                    <a:pt x="7622" y="222780"/>
                  </a:cubicBezTo>
                  <a:lnTo>
                    <a:pt x="7622" y="222780"/>
                  </a:lnTo>
                  <a:lnTo>
                    <a:pt x="7622" y="227861"/>
                  </a:lnTo>
                  <a:lnTo>
                    <a:pt x="415386" y="15720"/>
                  </a:lnTo>
                  <a:lnTo>
                    <a:pt x="417926" y="14450"/>
                  </a:lnTo>
                  <a:cubicBezTo>
                    <a:pt x="421737" y="11909"/>
                    <a:pt x="423008" y="8098"/>
                    <a:pt x="420467" y="4287"/>
                  </a:cubicBezTo>
                  <a:cubicBezTo>
                    <a:pt x="420467" y="4287"/>
                    <a:pt x="420467" y="4287"/>
                    <a:pt x="420467" y="4287"/>
                  </a:cubicBezTo>
                  <a:close/>
                </a:path>
              </a:pathLst>
            </a:custGeom>
            <a:solidFill>
              <a:srgbClr val="000000"/>
            </a:solidFill>
            <a:ln w="12688"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D2713137-4632-4518-8A95-044F25EE0517}"/>
                </a:ext>
              </a:extLst>
            </p:cNvPr>
            <p:cNvSpPr/>
            <p:nvPr/>
          </p:nvSpPr>
          <p:spPr>
            <a:xfrm>
              <a:off x="0" y="1642504"/>
              <a:ext cx="349330" cy="95272"/>
            </a:xfrm>
            <a:custGeom>
              <a:avLst/>
              <a:gdLst>
                <a:gd name="connsiteX0" fmla="*/ 340439 w 349330"/>
                <a:gd name="connsiteY0" fmla="*/ 91462 h 95272"/>
                <a:gd name="connsiteX1" fmla="*/ 346790 w 349330"/>
                <a:gd name="connsiteY1" fmla="*/ 83840 h 95272"/>
                <a:gd name="connsiteX2" fmla="*/ 349331 w 349330"/>
                <a:gd name="connsiteY2" fmla="*/ 83840 h 95272"/>
                <a:gd name="connsiteX3" fmla="*/ 349331 w 349330"/>
                <a:gd name="connsiteY3" fmla="*/ 83840 h 95272"/>
                <a:gd name="connsiteX4" fmla="*/ 346790 w 349330"/>
                <a:gd name="connsiteY4" fmla="*/ 82570 h 95272"/>
                <a:gd name="connsiteX5" fmla="*/ 0 w 349330"/>
                <a:gd name="connsiteY5" fmla="*/ 0 h 95272"/>
                <a:gd name="connsiteX6" fmla="*/ 0 w 349330"/>
                <a:gd name="connsiteY6" fmla="*/ 15244 h 95272"/>
                <a:gd name="connsiteX7" fmla="*/ 340439 w 349330"/>
                <a:gd name="connsiteY7" fmla="*/ 95273 h 95272"/>
                <a:gd name="connsiteX8" fmla="*/ 340439 w 349330"/>
                <a:gd name="connsiteY8" fmla="*/ 91462 h 9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30" h="95272">
                  <a:moveTo>
                    <a:pt x="340439" y="91462"/>
                  </a:moveTo>
                  <a:cubicBezTo>
                    <a:pt x="340439" y="87651"/>
                    <a:pt x="342979" y="83840"/>
                    <a:pt x="346790" y="83840"/>
                  </a:cubicBezTo>
                  <a:cubicBezTo>
                    <a:pt x="348060" y="83840"/>
                    <a:pt x="348060" y="83840"/>
                    <a:pt x="349331" y="83840"/>
                  </a:cubicBezTo>
                  <a:lnTo>
                    <a:pt x="349331" y="83840"/>
                  </a:lnTo>
                  <a:lnTo>
                    <a:pt x="346790" y="82570"/>
                  </a:lnTo>
                  <a:lnTo>
                    <a:pt x="0" y="0"/>
                  </a:lnTo>
                  <a:lnTo>
                    <a:pt x="0" y="15244"/>
                  </a:lnTo>
                  <a:lnTo>
                    <a:pt x="340439" y="95273"/>
                  </a:lnTo>
                  <a:lnTo>
                    <a:pt x="340439" y="91462"/>
                  </a:lnTo>
                  <a:close/>
                </a:path>
              </a:pathLst>
            </a:custGeom>
            <a:solidFill>
              <a:srgbClr val="000000"/>
            </a:solidFill>
            <a:ln w="12688"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97B79679-CCBA-4D84-BCAB-C81B2843F72A}"/>
                </a:ext>
              </a:extLst>
            </p:cNvPr>
            <p:cNvSpPr/>
            <p:nvPr/>
          </p:nvSpPr>
          <p:spPr>
            <a:xfrm>
              <a:off x="5839537" y="6140653"/>
              <a:ext cx="425230" cy="142604"/>
            </a:xfrm>
            <a:custGeom>
              <a:avLst/>
              <a:gdLst>
                <a:gd name="connsiteX0" fmla="*/ 424278 w 425230"/>
                <a:gd name="connsiteY0" fmla="*/ 132112 h 142604"/>
                <a:gd name="connsiteX1" fmla="*/ 423007 w 425230"/>
                <a:gd name="connsiteY1" fmla="*/ 130842 h 142604"/>
                <a:gd name="connsiteX2" fmla="*/ 421737 w 425230"/>
                <a:gd name="connsiteY2" fmla="*/ 129571 h 142604"/>
                <a:gd name="connsiteX3" fmla="*/ 420467 w 425230"/>
                <a:gd name="connsiteY3" fmla="*/ 128301 h 142604"/>
                <a:gd name="connsiteX4" fmla="*/ 420467 w 425230"/>
                <a:gd name="connsiteY4" fmla="*/ 128301 h 142604"/>
                <a:gd name="connsiteX5" fmla="*/ 416656 w 425230"/>
                <a:gd name="connsiteY5" fmla="*/ 127030 h 142604"/>
                <a:gd name="connsiteX6" fmla="*/ 17784 w 425230"/>
                <a:gd name="connsiteY6" fmla="*/ 0 h 142604"/>
                <a:gd name="connsiteX7" fmla="*/ 7621 w 425230"/>
                <a:gd name="connsiteY7" fmla="*/ 8892 h 142604"/>
                <a:gd name="connsiteX8" fmla="*/ 0 w 425230"/>
                <a:gd name="connsiteY8" fmla="*/ 10163 h 142604"/>
                <a:gd name="connsiteX9" fmla="*/ 0 w 425230"/>
                <a:gd name="connsiteY9" fmla="*/ 10163 h 142604"/>
                <a:gd name="connsiteX10" fmla="*/ 410304 w 425230"/>
                <a:gd name="connsiteY10" fmla="*/ 141004 h 142604"/>
                <a:gd name="connsiteX11" fmla="*/ 415386 w 425230"/>
                <a:gd name="connsiteY11" fmla="*/ 142274 h 142604"/>
                <a:gd name="connsiteX12" fmla="*/ 424278 w 425230"/>
                <a:gd name="connsiteY12" fmla="*/ 137193 h 142604"/>
                <a:gd name="connsiteX13" fmla="*/ 424278 w 425230"/>
                <a:gd name="connsiteY13" fmla="*/ 134652 h 142604"/>
                <a:gd name="connsiteX14" fmla="*/ 424278 w 425230"/>
                <a:gd name="connsiteY14" fmla="*/ 132112 h 142604"/>
                <a:gd name="connsiteX15" fmla="*/ 424278 w 425230"/>
                <a:gd name="connsiteY15" fmla="*/ 132112 h 14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5230" h="142604">
                  <a:moveTo>
                    <a:pt x="424278" y="132112"/>
                  </a:moveTo>
                  <a:cubicBezTo>
                    <a:pt x="424278" y="132112"/>
                    <a:pt x="424278" y="130842"/>
                    <a:pt x="423007" y="130842"/>
                  </a:cubicBezTo>
                  <a:cubicBezTo>
                    <a:pt x="423007" y="129571"/>
                    <a:pt x="421737" y="129571"/>
                    <a:pt x="421737" y="129571"/>
                  </a:cubicBezTo>
                  <a:lnTo>
                    <a:pt x="420467" y="128301"/>
                  </a:lnTo>
                  <a:lnTo>
                    <a:pt x="420467" y="128301"/>
                  </a:lnTo>
                  <a:lnTo>
                    <a:pt x="416656" y="127030"/>
                  </a:lnTo>
                  <a:lnTo>
                    <a:pt x="17784" y="0"/>
                  </a:lnTo>
                  <a:lnTo>
                    <a:pt x="7621" y="8892"/>
                  </a:lnTo>
                  <a:cubicBezTo>
                    <a:pt x="5081" y="11433"/>
                    <a:pt x="2540" y="11433"/>
                    <a:pt x="0" y="10163"/>
                  </a:cubicBezTo>
                  <a:lnTo>
                    <a:pt x="0" y="10163"/>
                  </a:lnTo>
                  <a:lnTo>
                    <a:pt x="410304" y="141004"/>
                  </a:lnTo>
                  <a:lnTo>
                    <a:pt x="415386" y="142274"/>
                  </a:lnTo>
                  <a:cubicBezTo>
                    <a:pt x="419197" y="143545"/>
                    <a:pt x="423007" y="141004"/>
                    <a:pt x="424278" y="137193"/>
                  </a:cubicBezTo>
                  <a:cubicBezTo>
                    <a:pt x="424278" y="135923"/>
                    <a:pt x="424278" y="135923"/>
                    <a:pt x="424278" y="134652"/>
                  </a:cubicBezTo>
                  <a:cubicBezTo>
                    <a:pt x="425548" y="133382"/>
                    <a:pt x="425548" y="133382"/>
                    <a:pt x="424278" y="132112"/>
                  </a:cubicBezTo>
                  <a:cubicBezTo>
                    <a:pt x="425548" y="132112"/>
                    <a:pt x="425548" y="132112"/>
                    <a:pt x="424278" y="132112"/>
                  </a:cubicBezTo>
                  <a:close/>
                </a:path>
              </a:pathLst>
            </a:custGeom>
            <a:solidFill>
              <a:srgbClr val="000000"/>
            </a:solidFill>
            <a:ln w="12688"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FD738FEC-4060-425D-A70B-45FE88BD4FA3}"/>
                </a:ext>
              </a:extLst>
            </p:cNvPr>
            <p:cNvSpPr/>
            <p:nvPr/>
          </p:nvSpPr>
          <p:spPr>
            <a:xfrm>
              <a:off x="5835725" y="6140653"/>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1270"/>
                    <a:pt x="0" y="1270"/>
                  </a:cubicBezTo>
                  <a:close/>
                </a:path>
              </a:pathLst>
            </a:custGeom>
            <a:solidFill>
              <a:srgbClr val="000000"/>
            </a:solidFill>
            <a:ln w="12688"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FC1D4E91-0540-4D4C-9936-529718A2E65C}"/>
                </a:ext>
              </a:extLst>
            </p:cNvPr>
            <p:cNvSpPr/>
            <p:nvPr/>
          </p:nvSpPr>
          <p:spPr>
            <a:xfrm>
              <a:off x="5835725" y="5576638"/>
              <a:ext cx="635146" cy="574703"/>
            </a:xfrm>
            <a:custGeom>
              <a:avLst/>
              <a:gdLst>
                <a:gd name="connsiteX0" fmla="*/ 1270 w 635146"/>
                <a:gd name="connsiteY0" fmla="*/ 561475 h 574703"/>
                <a:gd name="connsiteX1" fmla="*/ 1270 w 635146"/>
                <a:gd name="connsiteY1" fmla="*/ 561475 h 574703"/>
                <a:gd name="connsiteX2" fmla="*/ 1270 w 635146"/>
                <a:gd name="connsiteY2" fmla="*/ 561475 h 574703"/>
                <a:gd name="connsiteX3" fmla="*/ 0 w 635146"/>
                <a:gd name="connsiteY3" fmla="*/ 564015 h 574703"/>
                <a:gd name="connsiteX4" fmla="*/ 0 w 635146"/>
                <a:gd name="connsiteY4" fmla="*/ 565286 h 574703"/>
                <a:gd name="connsiteX5" fmla="*/ 0 w 635146"/>
                <a:gd name="connsiteY5" fmla="*/ 566556 h 574703"/>
                <a:gd name="connsiteX6" fmla="*/ 0 w 635146"/>
                <a:gd name="connsiteY6" fmla="*/ 567826 h 574703"/>
                <a:gd name="connsiteX7" fmla="*/ 0 w 635146"/>
                <a:gd name="connsiteY7" fmla="*/ 569096 h 574703"/>
                <a:gd name="connsiteX8" fmla="*/ 1270 w 635146"/>
                <a:gd name="connsiteY8" fmla="*/ 570367 h 574703"/>
                <a:gd name="connsiteX9" fmla="*/ 1270 w 635146"/>
                <a:gd name="connsiteY9" fmla="*/ 571637 h 574703"/>
                <a:gd name="connsiteX10" fmla="*/ 1270 w 635146"/>
                <a:gd name="connsiteY10" fmla="*/ 571637 h 574703"/>
                <a:gd name="connsiteX11" fmla="*/ 2541 w 635146"/>
                <a:gd name="connsiteY11" fmla="*/ 572908 h 574703"/>
                <a:gd name="connsiteX12" fmla="*/ 3811 w 635146"/>
                <a:gd name="connsiteY12" fmla="*/ 574178 h 574703"/>
                <a:gd name="connsiteX13" fmla="*/ 11433 w 635146"/>
                <a:gd name="connsiteY13" fmla="*/ 572908 h 574703"/>
                <a:gd name="connsiteX14" fmla="*/ 21595 w 635146"/>
                <a:gd name="connsiteY14" fmla="*/ 564015 h 574703"/>
                <a:gd name="connsiteX15" fmla="*/ 635147 w 635146"/>
                <a:gd name="connsiteY15" fmla="*/ 5081 h 574703"/>
                <a:gd name="connsiteX16" fmla="*/ 631336 w 635146"/>
                <a:gd name="connsiteY16" fmla="*/ 3811 h 574703"/>
                <a:gd name="connsiteX17" fmla="*/ 618633 w 635146"/>
                <a:gd name="connsiteY17" fmla="*/ 0 h 574703"/>
                <a:gd name="connsiteX18" fmla="*/ 6351 w 635146"/>
                <a:gd name="connsiteY18" fmla="*/ 558934 h 574703"/>
                <a:gd name="connsiteX19" fmla="*/ 1270 w 635146"/>
                <a:gd name="connsiteY19" fmla="*/ 561475 h 57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146" h="574703">
                  <a:moveTo>
                    <a:pt x="1270" y="561475"/>
                  </a:moveTo>
                  <a:lnTo>
                    <a:pt x="1270" y="561475"/>
                  </a:lnTo>
                  <a:lnTo>
                    <a:pt x="1270" y="561475"/>
                  </a:lnTo>
                  <a:cubicBezTo>
                    <a:pt x="0" y="562745"/>
                    <a:pt x="0" y="564015"/>
                    <a:pt x="0" y="564015"/>
                  </a:cubicBezTo>
                  <a:cubicBezTo>
                    <a:pt x="0" y="564015"/>
                    <a:pt x="0" y="565286"/>
                    <a:pt x="0" y="565286"/>
                  </a:cubicBezTo>
                  <a:cubicBezTo>
                    <a:pt x="0" y="565286"/>
                    <a:pt x="0" y="566556"/>
                    <a:pt x="0" y="566556"/>
                  </a:cubicBezTo>
                  <a:cubicBezTo>
                    <a:pt x="0" y="566556"/>
                    <a:pt x="0" y="567826"/>
                    <a:pt x="0" y="567826"/>
                  </a:cubicBezTo>
                  <a:cubicBezTo>
                    <a:pt x="0" y="567826"/>
                    <a:pt x="0" y="569096"/>
                    <a:pt x="0" y="569096"/>
                  </a:cubicBezTo>
                  <a:cubicBezTo>
                    <a:pt x="0" y="569096"/>
                    <a:pt x="0" y="570367"/>
                    <a:pt x="1270" y="570367"/>
                  </a:cubicBezTo>
                  <a:lnTo>
                    <a:pt x="1270" y="571637"/>
                  </a:lnTo>
                  <a:lnTo>
                    <a:pt x="1270" y="571637"/>
                  </a:lnTo>
                  <a:lnTo>
                    <a:pt x="2541" y="572908"/>
                  </a:lnTo>
                  <a:cubicBezTo>
                    <a:pt x="2541" y="572908"/>
                    <a:pt x="3811" y="572908"/>
                    <a:pt x="3811" y="574178"/>
                  </a:cubicBezTo>
                  <a:cubicBezTo>
                    <a:pt x="6351" y="575448"/>
                    <a:pt x="8892" y="574178"/>
                    <a:pt x="11433" y="572908"/>
                  </a:cubicBezTo>
                  <a:lnTo>
                    <a:pt x="21595" y="564015"/>
                  </a:lnTo>
                  <a:lnTo>
                    <a:pt x="635147" y="5081"/>
                  </a:lnTo>
                  <a:lnTo>
                    <a:pt x="631336" y="3811"/>
                  </a:lnTo>
                  <a:lnTo>
                    <a:pt x="618633" y="0"/>
                  </a:lnTo>
                  <a:lnTo>
                    <a:pt x="6351" y="558934"/>
                  </a:lnTo>
                  <a:lnTo>
                    <a:pt x="1270" y="561475"/>
                  </a:lnTo>
                  <a:close/>
                </a:path>
              </a:pathLst>
            </a:custGeom>
            <a:solidFill>
              <a:srgbClr val="000000"/>
            </a:solidFill>
            <a:ln w="12688"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24C152B5-1345-40B8-A9EE-D4202248D975}"/>
                </a:ext>
              </a:extLst>
            </p:cNvPr>
            <p:cNvSpPr/>
            <p:nvPr/>
          </p:nvSpPr>
          <p:spPr>
            <a:xfrm>
              <a:off x="5180254" y="4670911"/>
              <a:ext cx="628795" cy="524199"/>
            </a:xfrm>
            <a:custGeom>
              <a:avLst/>
              <a:gdLst>
                <a:gd name="connsiteX0" fmla="*/ 3811 w 628795"/>
                <a:gd name="connsiteY0" fmla="*/ 510662 h 524199"/>
                <a:gd name="connsiteX1" fmla="*/ 1270 w 628795"/>
                <a:gd name="connsiteY1" fmla="*/ 513203 h 524199"/>
                <a:gd name="connsiteX2" fmla="*/ 1270 w 628795"/>
                <a:gd name="connsiteY2" fmla="*/ 513203 h 524199"/>
                <a:gd name="connsiteX3" fmla="*/ 0 w 628795"/>
                <a:gd name="connsiteY3" fmla="*/ 514473 h 524199"/>
                <a:gd name="connsiteX4" fmla="*/ 0 w 628795"/>
                <a:gd name="connsiteY4" fmla="*/ 515743 h 524199"/>
                <a:gd name="connsiteX5" fmla="*/ 0 w 628795"/>
                <a:gd name="connsiteY5" fmla="*/ 517014 h 524199"/>
                <a:gd name="connsiteX6" fmla="*/ 0 w 628795"/>
                <a:gd name="connsiteY6" fmla="*/ 518284 h 524199"/>
                <a:gd name="connsiteX7" fmla="*/ 0 w 628795"/>
                <a:gd name="connsiteY7" fmla="*/ 519555 h 524199"/>
                <a:gd name="connsiteX8" fmla="*/ 0 w 628795"/>
                <a:gd name="connsiteY8" fmla="*/ 520825 h 524199"/>
                <a:gd name="connsiteX9" fmla="*/ 1270 w 628795"/>
                <a:gd name="connsiteY9" fmla="*/ 522095 h 524199"/>
                <a:gd name="connsiteX10" fmla="*/ 1270 w 628795"/>
                <a:gd name="connsiteY10" fmla="*/ 522095 h 524199"/>
                <a:gd name="connsiteX11" fmla="*/ 1270 w 628795"/>
                <a:gd name="connsiteY11" fmla="*/ 522095 h 524199"/>
                <a:gd name="connsiteX12" fmla="*/ 2541 w 628795"/>
                <a:gd name="connsiteY12" fmla="*/ 523365 h 524199"/>
                <a:gd name="connsiteX13" fmla="*/ 3811 w 628795"/>
                <a:gd name="connsiteY13" fmla="*/ 523365 h 524199"/>
                <a:gd name="connsiteX14" fmla="*/ 11433 w 628795"/>
                <a:gd name="connsiteY14" fmla="*/ 522095 h 524199"/>
                <a:gd name="connsiteX15" fmla="*/ 22866 w 628795"/>
                <a:gd name="connsiteY15" fmla="*/ 513203 h 524199"/>
                <a:gd name="connsiteX16" fmla="*/ 628795 w 628795"/>
                <a:gd name="connsiteY16" fmla="*/ 8892 h 524199"/>
                <a:gd name="connsiteX17" fmla="*/ 624984 w 628795"/>
                <a:gd name="connsiteY17" fmla="*/ 7622 h 524199"/>
                <a:gd name="connsiteX18" fmla="*/ 624984 w 628795"/>
                <a:gd name="connsiteY18" fmla="*/ 7622 h 524199"/>
                <a:gd name="connsiteX19" fmla="*/ 623714 w 628795"/>
                <a:gd name="connsiteY19" fmla="*/ 6352 h 524199"/>
                <a:gd name="connsiteX20" fmla="*/ 622444 w 628795"/>
                <a:gd name="connsiteY20" fmla="*/ 5081 h 524199"/>
                <a:gd name="connsiteX21" fmla="*/ 621174 w 628795"/>
                <a:gd name="connsiteY21" fmla="*/ 3811 h 524199"/>
                <a:gd name="connsiteX22" fmla="*/ 619903 w 628795"/>
                <a:gd name="connsiteY22" fmla="*/ 2540 h 524199"/>
                <a:gd name="connsiteX23" fmla="*/ 619903 w 628795"/>
                <a:gd name="connsiteY23" fmla="*/ 1270 h 524199"/>
                <a:gd name="connsiteX24" fmla="*/ 619903 w 628795"/>
                <a:gd name="connsiteY24" fmla="*/ 3811 h 524199"/>
                <a:gd name="connsiteX25" fmla="*/ 619903 w 628795"/>
                <a:gd name="connsiteY25" fmla="*/ 0 h 524199"/>
                <a:gd name="connsiteX26" fmla="*/ 15244 w 628795"/>
                <a:gd name="connsiteY26" fmla="*/ 503040 h 524199"/>
                <a:gd name="connsiteX27" fmla="*/ 3811 w 628795"/>
                <a:gd name="connsiteY27" fmla="*/ 510662 h 52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8795" h="524199">
                  <a:moveTo>
                    <a:pt x="3811" y="510662"/>
                  </a:moveTo>
                  <a:lnTo>
                    <a:pt x="1270" y="513203"/>
                  </a:lnTo>
                  <a:lnTo>
                    <a:pt x="1270" y="513203"/>
                  </a:lnTo>
                  <a:lnTo>
                    <a:pt x="0" y="514473"/>
                  </a:lnTo>
                  <a:lnTo>
                    <a:pt x="0" y="515743"/>
                  </a:lnTo>
                  <a:cubicBezTo>
                    <a:pt x="0" y="515743"/>
                    <a:pt x="0" y="517014"/>
                    <a:pt x="0" y="517014"/>
                  </a:cubicBezTo>
                  <a:cubicBezTo>
                    <a:pt x="0" y="517014"/>
                    <a:pt x="0" y="518284"/>
                    <a:pt x="0" y="518284"/>
                  </a:cubicBezTo>
                  <a:cubicBezTo>
                    <a:pt x="0" y="518284"/>
                    <a:pt x="0" y="519555"/>
                    <a:pt x="0" y="519555"/>
                  </a:cubicBezTo>
                  <a:cubicBezTo>
                    <a:pt x="0" y="519555"/>
                    <a:pt x="0" y="520825"/>
                    <a:pt x="0" y="520825"/>
                  </a:cubicBezTo>
                  <a:cubicBezTo>
                    <a:pt x="0" y="520825"/>
                    <a:pt x="0" y="522095"/>
                    <a:pt x="1270" y="522095"/>
                  </a:cubicBezTo>
                  <a:lnTo>
                    <a:pt x="1270" y="522095"/>
                  </a:lnTo>
                  <a:lnTo>
                    <a:pt x="1270" y="522095"/>
                  </a:lnTo>
                  <a:lnTo>
                    <a:pt x="2541" y="523365"/>
                  </a:lnTo>
                  <a:lnTo>
                    <a:pt x="3811" y="523365"/>
                  </a:lnTo>
                  <a:cubicBezTo>
                    <a:pt x="6351" y="524636"/>
                    <a:pt x="8892" y="524636"/>
                    <a:pt x="11433" y="522095"/>
                  </a:cubicBezTo>
                  <a:lnTo>
                    <a:pt x="22866" y="513203"/>
                  </a:lnTo>
                  <a:lnTo>
                    <a:pt x="628795" y="8892"/>
                  </a:lnTo>
                  <a:lnTo>
                    <a:pt x="624984" y="7622"/>
                  </a:lnTo>
                  <a:lnTo>
                    <a:pt x="624984" y="7622"/>
                  </a:lnTo>
                  <a:cubicBezTo>
                    <a:pt x="624984" y="7622"/>
                    <a:pt x="623714" y="7622"/>
                    <a:pt x="623714" y="6352"/>
                  </a:cubicBezTo>
                  <a:lnTo>
                    <a:pt x="622444" y="5081"/>
                  </a:lnTo>
                  <a:lnTo>
                    <a:pt x="621174" y="3811"/>
                  </a:lnTo>
                  <a:lnTo>
                    <a:pt x="619903" y="2540"/>
                  </a:lnTo>
                  <a:cubicBezTo>
                    <a:pt x="619903" y="2540"/>
                    <a:pt x="619903" y="1270"/>
                    <a:pt x="619903" y="1270"/>
                  </a:cubicBezTo>
                  <a:lnTo>
                    <a:pt x="619903" y="3811"/>
                  </a:lnTo>
                  <a:lnTo>
                    <a:pt x="619903" y="0"/>
                  </a:lnTo>
                  <a:lnTo>
                    <a:pt x="15244" y="503040"/>
                  </a:lnTo>
                  <a:lnTo>
                    <a:pt x="3811" y="510662"/>
                  </a:lnTo>
                  <a:close/>
                </a:path>
              </a:pathLst>
            </a:custGeom>
            <a:solidFill>
              <a:srgbClr val="000000"/>
            </a:solidFill>
            <a:ln w="12688"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563148A7-04AE-43DD-AAD2-DD7580B6DF1F}"/>
                </a:ext>
              </a:extLst>
            </p:cNvPr>
            <p:cNvSpPr/>
            <p:nvPr/>
          </p:nvSpPr>
          <p:spPr>
            <a:xfrm>
              <a:off x="5802698" y="4668370"/>
              <a:ext cx="623713" cy="185962"/>
            </a:xfrm>
            <a:custGeom>
              <a:avLst/>
              <a:gdLst>
                <a:gd name="connsiteX0" fmla="*/ 2541 w 623713"/>
                <a:gd name="connsiteY0" fmla="*/ 13973 h 185962"/>
                <a:gd name="connsiteX1" fmla="*/ 0 w 623713"/>
                <a:gd name="connsiteY1" fmla="*/ 13973 h 185962"/>
                <a:gd name="connsiteX2" fmla="*/ 0 w 623713"/>
                <a:gd name="connsiteY2" fmla="*/ 13973 h 185962"/>
                <a:gd name="connsiteX3" fmla="*/ 3811 w 623713"/>
                <a:gd name="connsiteY3" fmla="*/ 15244 h 185962"/>
                <a:gd name="connsiteX4" fmla="*/ 600849 w 623713"/>
                <a:gd name="connsiteY4" fmla="*/ 181653 h 185962"/>
                <a:gd name="connsiteX5" fmla="*/ 614822 w 623713"/>
                <a:gd name="connsiteY5" fmla="*/ 185465 h 185962"/>
                <a:gd name="connsiteX6" fmla="*/ 622444 w 623713"/>
                <a:gd name="connsiteY6" fmla="*/ 182924 h 185962"/>
                <a:gd name="connsiteX7" fmla="*/ 623714 w 623713"/>
                <a:gd name="connsiteY7" fmla="*/ 181653 h 185962"/>
                <a:gd name="connsiteX8" fmla="*/ 623714 w 623713"/>
                <a:gd name="connsiteY8" fmla="*/ 180383 h 185962"/>
                <a:gd name="connsiteX9" fmla="*/ 623714 w 623713"/>
                <a:gd name="connsiteY9" fmla="*/ 180383 h 185962"/>
                <a:gd name="connsiteX10" fmla="*/ 623714 w 623713"/>
                <a:gd name="connsiteY10" fmla="*/ 179113 h 185962"/>
                <a:gd name="connsiteX11" fmla="*/ 623714 w 623713"/>
                <a:gd name="connsiteY11" fmla="*/ 177843 h 185962"/>
                <a:gd name="connsiteX12" fmla="*/ 623714 w 623713"/>
                <a:gd name="connsiteY12" fmla="*/ 176572 h 185962"/>
                <a:gd name="connsiteX13" fmla="*/ 623714 w 623713"/>
                <a:gd name="connsiteY13" fmla="*/ 175302 h 185962"/>
                <a:gd name="connsiteX14" fmla="*/ 622444 w 623713"/>
                <a:gd name="connsiteY14" fmla="*/ 174032 h 185962"/>
                <a:gd name="connsiteX15" fmla="*/ 621174 w 623713"/>
                <a:gd name="connsiteY15" fmla="*/ 172762 h 185962"/>
                <a:gd name="connsiteX16" fmla="*/ 619903 w 623713"/>
                <a:gd name="connsiteY16" fmla="*/ 171491 h 185962"/>
                <a:gd name="connsiteX17" fmla="*/ 618633 w 623713"/>
                <a:gd name="connsiteY17" fmla="*/ 170221 h 185962"/>
                <a:gd name="connsiteX18" fmla="*/ 618633 w 623713"/>
                <a:gd name="connsiteY18" fmla="*/ 170221 h 185962"/>
                <a:gd name="connsiteX19" fmla="*/ 10163 w 623713"/>
                <a:gd name="connsiteY19" fmla="*/ 0 h 185962"/>
                <a:gd name="connsiteX20" fmla="*/ 10163 w 623713"/>
                <a:gd name="connsiteY20" fmla="*/ 5081 h 185962"/>
                <a:gd name="connsiteX21" fmla="*/ 2541 w 623713"/>
                <a:gd name="connsiteY21" fmla="*/ 13973 h 185962"/>
                <a:gd name="connsiteX22" fmla="*/ 2541 w 623713"/>
                <a:gd name="connsiteY22" fmla="*/ 13973 h 1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713" h="185962">
                  <a:moveTo>
                    <a:pt x="2541" y="13973"/>
                  </a:moveTo>
                  <a:cubicBezTo>
                    <a:pt x="1270" y="13973"/>
                    <a:pt x="1270" y="13973"/>
                    <a:pt x="0" y="13973"/>
                  </a:cubicBezTo>
                  <a:lnTo>
                    <a:pt x="0" y="13973"/>
                  </a:lnTo>
                  <a:lnTo>
                    <a:pt x="3811" y="15244"/>
                  </a:lnTo>
                  <a:lnTo>
                    <a:pt x="600849" y="181653"/>
                  </a:lnTo>
                  <a:lnTo>
                    <a:pt x="614822" y="185465"/>
                  </a:lnTo>
                  <a:cubicBezTo>
                    <a:pt x="617363" y="186735"/>
                    <a:pt x="619903" y="185465"/>
                    <a:pt x="622444" y="182924"/>
                  </a:cubicBezTo>
                  <a:cubicBezTo>
                    <a:pt x="622444" y="182924"/>
                    <a:pt x="623714" y="181653"/>
                    <a:pt x="623714" y="181653"/>
                  </a:cubicBezTo>
                  <a:cubicBezTo>
                    <a:pt x="623714" y="181653"/>
                    <a:pt x="623714" y="180383"/>
                    <a:pt x="623714" y="180383"/>
                  </a:cubicBezTo>
                  <a:cubicBezTo>
                    <a:pt x="623714" y="180383"/>
                    <a:pt x="623714" y="180383"/>
                    <a:pt x="623714" y="180383"/>
                  </a:cubicBezTo>
                  <a:cubicBezTo>
                    <a:pt x="623714" y="180383"/>
                    <a:pt x="623714" y="180383"/>
                    <a:pt x="623714" y="179113"/>
                  </a:cubicBezTo>
                  <a:cubicBezTo>
                    <a:pt x="623714" y="179113"/>
                    <a:pt x="623714" y="177843"/>
                    <a:pt x="623714" y="177843"/>
                  </a:cubicBezTo>
                  <a:cubicBezTo>
                    <a:pt x="623714" y="177843"/>
                    <a:pt x="623714" y="176572"/>
                    <a:pt x="623714" y="176572"/>
                  </a:cubicBezTo>
                  <a:cubicBezTo>
                    <a:pt x="623714" y="176572"/>
                    <a:pt x="623714" y="175302"/>
                    <a:pt x="623714" y="175302"/>
                  </a:cubicBezTo>
                  <a:lnTo>
                    <a:pt x="622444" y="174032"/>
                  </a:lnTo>
                  <a:lnTo>
                    <a:pt x="621174" y="172762"/>
                  </a:lnTo>
                  <a:lnTo>
                    <a:pt x="619903" y="171491"/>
                  </a:lnTo>
                  <a:lnTo>
                    <a:pt x="618633" y="170221"/>
                  </a:lnTo>
                  <a:lnTo>
                    <a:pt x="618633" y="170221"/>
                  </a:lnTo>
                  <a:lnTo>
                    <a:pt x="10163" y="0"/>
                  </a:lnTo>
                  <a:lnTo>
                    <a:pt x="10163" y="5081"/>
                  </a:lnTo>
                  <a:cubicBezTo>
                    <a:pt x="10163" y="10162"/>
                    <a:pt x="6351" y="13973"/>
                    <a:pt x="2541" y="13973"/>
                  </a:cubicBezTo>
                  <a:cubicBezTo>
                    <a:pt x="2541" y="13973"/>
                    <a:pt x="2541" y="13973"/>
                    <a:pt x="2541" y="13973"/>
                  </a:cubicBezTo>
                  <a:close/>
                </a:path>
              </a:pathLst>
            </a:custGeom>
            <a:solidFill>
              <a:srgbClr val="000000"/>
            </a:solidFill>
            <a:ln w="12688"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7F9873AE-376D-4603-9190-9E3D1E0516A1}"/>
                </a:ext>
              </a:extLst>
            </p:cNvPr>
            <p:cNvSpPr/>
            <p:nvPr/>
          </p:nvSpPr>
          <p:spPr>
            <a:xfrm>
              <a:off x="417926" y="2374199"/>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FB7F6238-9142-414D-8180-29FDBF822A3B}"/>
                </a:ext>
              </a:extLst>
            </p:cNvPr>
            <p:cNvSpPr/>
            <p:nvPr/>
          </p:nvSpPr>
          <p:spPr>
            <a:xfrm>
              <a:off x="0" y="2258602"/>
              <a:ext cx="402682" cy="115597"/>
            </a:xfrm>
            <a:custGeom>
              <a:avLst/>
              <a:gdLst>
                <a:gd name="connsiteX0" fmla="*/ 402683 w 402682"/>
                <a:gd name="connsiteY0" fmla="*/ 109246 h 115597"/>
                <a:gd name="connsiteX1" fmla="*/ 402683 w 402682"/>
                <a:gd name="connsiteY1" fmla="*/ 102895 h 115597"/>
                <a:gd name="connsiteX2" fmla="*/ 0 w 402682"/>
                <a:gd name="connsiteY2" fmla="*/ 0 h 115597"/>
                <a:gd name="connsiteX3" fmla="*/ 0 w 402682"/>
                <a:gd name="connsiteY3" fmla="*/ 15244 h 115597"/>
                <a:gd name="connsiteX4" fmla="*/ 391250 w 402682"/>
                <a:gd name="connsiteY4" fmla="*/ 115598 h 115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82" h="115597">
                  <a:moveTo>
                    <a:pt x="402683" y="109246"/>
                  </a:moveTo>
                  <a:lnTo>
                    <a:pt x="402683" y="102895"/>
                  </a:lnTo>
                  <a:lnTo>
                    <a:pt x="0" y="0"/>
                  </a:lnTo>
                  <a:lnTo>
                    <a:pt x="0" y="15244"/>
                  </a:lnTo>
                  <a:lnTo>
                    <a:pt x="391250" y="115598"/>
                  </a:lnTo>
                  <a:close/>
                </a:path>
              </a:pathLst>
            </a:custGeom>
            <a:solidFill>
              <a:srgbClr val="000000"/>
            </a:solidFill>
            <a:ln w="12688"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CA899136-EB07-453B-822E-7CFC470A88B4}"/>
                </a:ext>
              </a:extLst>
            </p:cNvPr>
            <p:cNvSpPr/>
            <p:nvPr/>
          </p:nvSpPr>
          <p:spPr>
            <a:xfrm>
              <a:off x="0" y="2367848"/>
              <a:ext cx="414115" cy="240087"/>
            </a:xfrm>
            <a:custGeom>
              <a:avLst/>
              <a:gdLst>
                <a:gd name="connsiteX0" fmla="*/ 411575 w 414115"/>
                <a:gd name="connsiteY0" fmla="*/ 11433 h 240087"/>
                <a:gd name="connsiteX1" fmla="*/ 403953 w 414115"/>
                <a:gd name="connsiteY1" fmla="*/ 5081 h 240087"/>
                <a:gd name="connsiteX2" fmla="*/ 403953 w 414115"/>
                <a:gd name="connsiteY2" fmla="*/ 0 h 240087"/>
                <a:gd name="connsiteX3" fmla="*/ 391250 w 414115"/>
                <a:gd name="connsiteY3" fmla="*/ 6352 h 240087"/>
                <a:gd name="connsiteX4" fmla="*/ 0 w 414115"/>
                <a:gd name="connsiteY4" fmla="*/ 222303 h 240087"/>
                <a:gd name="connsiteX5" fmla="*/ 0 w 414115"/>
                <a:gd name="connsiteY5" fmla="*/ 240088 h 240087"/>
                <a:gd name="connsiteX6" fmla="*/ 414116 w 414115"/>
                <a:gd name="connsiteY6" fmla="*/ 11433 h 240087"/>
                <a:gd name="connsiteX7" fmla="*/ 411575 w 414115"/>
                <a:gd name="connsiteY7" fmla="*/ 11433 h 2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115" h="240087">
                  <a:moveTo>
                    <a:pt x="411575" y="11433"/>
                  </a:moveTo>
                  <a:cubicBezTo>
                    <a:pt x="407764" y="11433"/>
                    <a:pt x="403953" y="8892"/>
                    <a:pt x="403953" y="5081"/>
                  </a:cubicBezTo>
                  <a:lnTo>
                    <a:pt x="403953" y="0"/>
                  </a:lnTo>
                  <a:lnTo>
                    <a:pt x="391250" y="6352"/>
                  </a:lnTo>
                  <a:lnTo>
                    <a:pt x="0" y="222303"/>
                  </a:lnTo>
                  <a:lnTo>
                    <a:pt x="0" y="240088"/>
                  </a:lnTo>
                  <a:lnTo>
                    <a:pt x="414116" y="11433"/>
                  </a:lnTo>
                  <a:cubicBezTo>
                    <a:pt x="414116" y="11433"/>
                    <a:pt x="412845" y="11433"/>
                    <a:pt x="411575" y="11433"/>
                  </a:cubicBezTo>
                  <a:close/>
                </a:path>
              </a:pathLst>
            </a:custGeom>
            <a:solidFill>
              <a:srgbClr val="000000"/>
            </a:solidFill>
            <a:ln w="12688"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18034972-4A96-4F41-926F-7013F65AA847}"/>
                </a:ext>
              </a:extLst>
            </p:cNvPr>
            <p:cNvSpPr/>
            <p:nvPr/>
          </p:nvSpPr>
          <p:spPr>
            <a:xfrm>
              <a:off x="416656" y="2375470"/>
              <a:ext cx="1270" cy="1270"/>
            </a:xfrm>
            <a:custGeom>
              <a:avLst/>
              <a:gdLst>
                <a:gd name="connsiteX0" fmla="*/ 0 w 1270"/>
                <a:gd name="connsiteY0" fmla="*/ 1270 h 1270"/>
                <a:gd name="connsiteX1" fmla="*/ 0 w 1270"/>
                <a:gd name="connsiteY1" fmla="*/ 1270 h 1270"/>
                <a:gd name="connsiteX2" fmla="*/ 1270 w 1270"/>
                <a:gd name="connsiteY2" fmla="*/ 0 h 1270"/>
                <a:gd name="connsiteX3" fmla="*/ 0 w 1270"/>
                <a:gd name="connsiteY3" fmla="*/ 1270 h 1270"/>
                <a:gd name="connsiteX4" fmla="*/ 0 w 1270"/>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 h="1270">
                  <a:moveTo>
                    <a:pt x="0" y="1270"/>
                  </a:moveTo>
                  <a:lnTo>
                    <a:pt x="0" y="1270"/>
                  </a:lnTo>
                  <a:cubicBezTo>
                    <a:pt x="0" y="1270"/>
                    <a:pt x="0" y="0"/>
                    <a:pt x="1270" y="0"/>
                  </a:cubicBezTo>
                  <a:cubicBezTo>
                    <a:pt x="1270" y="0"/>
                    <a:pt x="0" y="0"/>
                    <a:pt x="0" y="1270"/>
                  </a:cubicBezTo>
                  <a:lnTo>
                    <a:pt x="0" y="1270"/>
                  </a:lnTo>
                  <a:close/>
                </a:path>
              </a:pathLst>
            </a:custGeom>
            <a:solidFill>
              <a:srgbClr val="000000"/>
            </a:solidFill>
            <a:ln w="12688"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4B810955-FDBA-4050-876A-883B7165F81D}"/>
                </a:ext>
              </a:extLst>
            </p:cNvPr>
            <p:cNvSpPr/>
            <p:nvPr/>
          </p:nvSpPr>
          <p:spPr>
            <a:xfrm>
              <a:off x="417926" y="2372929"/>
              <a:ext cx="12702" cy="1270"/>
            </a:xfrm>
            <a:custGeom>
              <a:avLst/>
              <a:gdLst>
                <a:gd name="connsiteX0" fmla="*/ 0 w 12702"/>
                <a:gd name="connsiteY0" fmla="*/ 1270 h 1270"/>
                <a:gd name="connsiteX1" fmla="*/ 0 w 12702"/>
                <a:gd name="connsiteY1" fmla="*/ 1270 h 1270"/>
                <a:gd name="connsiteX2" fmla="*/ 0 w 12702"/>
                <a:gd name="connsiteY2" fmla="*/ 0 h 1270"/>
                <a:gd name="connsiteX3" fmla="*/ 0 w 12702"/>
                <a:gd name="connsiteY3" fmla="*/ 1270 h 1270"/>
                <a:gd name="connsiteX4" fmla="*/ 0 w 12702"/>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
                  <a:moveTo>
                    <a:pt x="0" y="1270"/>
                  </a:moveTo>
                  <a:lnTo>
                    <a:pt x="0" y="1270"/>
                  </a:lnTo>
                  <a:cubicBezTo>
                    <a:pt x="0" y="1270"/>
                    <a:pt x="0" y="0"/>
                    <a:pt x="0" y="0"/>
                  </a:cubicBezTo>
                  <a:cubicBezTo>
                    <a:pt x="0" y="0"/>
                    <a:pt x="0" y="1270"/>
                    <a:pt x="0" y="1270"/>
                  </a:cubicBezTo>
                  <a:lnTo>
                    <a:pt x="0" y="1270"/>
                  </a:lnTo>
                  <a:close/>
                </a:path>
              </a:pathLst>
            </a:custGeom>
            <a:solidFill>
              <a:srgbClr val="000000"/>
            </a:solidFill>
            <a:ln w="12688"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AC6D83FB-C597-45D8-B29D-387F06086E5E}"/>
                </a:ext>
              </a:extLst>
            </p:cNvPr>
            <p:cNvSpPr/>
            <p:nvPr/>
          </p:nvSpPr>
          <p:spPr>
            <a:xfrm>
              <a:off x="340189" y="1725074"/>
              <a:ext cx="77737" cy="651915"/>
            </a:xfrm>
            <a:custGeom>
              <a:avLst/>
              <a:gdLst>
                <a:gd name="connsiteX0" fmla="*/ 14222 w 77737"/>
                <a:gd name="connsiteY0" fmla="*/ 6352 h 651915"/>
                <a:gd name="connsiteX1" fmla="*/ 14222 w 77737"/>
                <a:gd name="connsiteY1" fmla="*/ 5081 h 651915"/>
                <a:gd name="connsiteX2" fmla="*/ 14222 w 77737"/>
                <a:gd name="connsiteY2" fmla="*/ 3811 h 651915"/>
                <a:gd name="connsiteX3" fmla="*/ 12952 w 77737"/>
                <a:gd name="connsiteY3" fmla="*/ 2541 h 651915"/>
                <a:gd name="connsiteX4" fmla="*/ 11682 w 77737"/>
                <a:gd name="connsiteY4" fmla="*/ 1270 h 651915"/>
                <a:gd name="connsiteX5" fmla="*/ 10412 w 77737"/>
                <a:gd name="connsiteY5" fmla="*/ 0 h 651915"/>
                <a:gd name="connsiteX6" fmla="*/ 9141 w 77737"/>
                <a:gd name="connsiteY6" fmla="*/ 0 h 651915"/>
                <a:gd name="connsiteX7" fmla="*/ 6601 w 77737"/>
                <a:gd name="connsiteY7" fmla="*/ 0 h 651915"/>
                <a:gd name="connsiteX8" fmla="*/ 249 w 77737"/>
                <a:gd name="connsiteY8" fmla="*/ 7622 h 651915"/>
                <a:gd name="connsiteX9" fmla="*/ 249 w 77737"/>
                <a:gd name="connsiteY9" fmla="*/ 12703 h 651915"/>
                <a:gd name="connsiteX10" fmla="*/ 62494 w 77737"/>
                <a:gd name="connsiteY10" fmla="*/ 635152 h 651915"/>
                <a:gd name="connsiteX11" fmla="*/ 62494 w 77737"/>
                <a:gd name="connsiteY11" fmla="*/ 640234 h 651915"/>
                <a:gd name="connsiteX12" fmla="*/ 62494 w 77737"/>
                <a:gd name="connsiteY12" fmla="*/ 645315 h 651915"/>
                <a:gd name="connsiteX13" fmla="*/ 71386 w 77737"/>
                <a:gd name="connsiteY13" fmla="*/ 651666 h 651915"/>
                <a:gd name="connsiteX14" fmla="*/ 73926 w 77737"/>
                <a:gd name="connsiteY14" fmla="*/ 650396 h 651915"/>
                <a:gd name="connsiteX15" fmla="*/ 73926 w 77737"/>
                <a:gd name="connsiteY15" fmla="*/ 650396 h 651915"/>
                <a:gd name="connsiteX16" fmla="*/ 75196 w 77737"/>
                <a:gd name="connsiteY16" fmla="*/ 649126 h 651915"/>
                <a:gd name="connsiteX17" fmla="*/ 76467 w 77737"/>
                <a:gd name="connsiteY17" fmla="*/ 647856 h 651915"/>
                <a:gd name="connsiteX18" fmla="*/ 77737 w 77737"/>
                <a:gd name="connsiteY18" fmla="*/ 646585 h 651915"/>
                <a:gd name="connsiteX19" fmla="*/ 77737 w 77737"/>
                <a:gd name="connsiteY19" fmla="*/ 645315 h 651915"/>
                <a:gd name="connsiteX20" fmla="*/ 77737 w 77737"/>
                <a:gd name="connsiteY20" fmla="*/ 642774 h 651915"/>
                <a:gd name="connsiteX21" fmla="*/ 77737 w 77737"/>
                <a:gd name="connsiteY21" fmla="*/ 642774 h 651915"/>
                <a:gd name="connsiteX22" fmla="*/ 77737 w 77737"/>
                <a:gd name="connsiteY22" fmla="*/ 642774 h 651915"/>
                <a:gd name="connsiteX23" fmla="*/ 14222 w 77737"/>
                <a:gd name="connsiteY23" fmla="*/ 8892 h 651915"/>
                <a:gd name="connsiteX24" fmla="*/ 14222 w 77737"/>
                <a:gd name="connsiteY24" fmla="*/ 6352 h 651915"/>
                <a:gd name="connsiteX25" fmla="*/ 14222 w 77737"/>
                <a:gd name="connsiteY25" fmla="*/ 6352 h 6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737" h="651915">
                  <a:moveTo>
                    <a:pt x="14222" y="6352"/>
                  </a:moveTo>
                  <a:cubicBezTo>
                    <a:pt x="14222" y="6352"/>
                    <a:pt x="14222" y="5081"/>
                    <a:pt x="14222" y="5081"/>
                  </a:cubicBezTo>
                  <a:lnTo>
                    <a:pt x="14222" y="3811"/>
                  </a:lnTo>
                  <a:cubicBezTo>
                    <a:pt x="14222" y="3811"/>
                    <a:pt x="12952" y="2541"/>
                    <a:pt x="12952" y="2541"/>
                  </a:cubicBezTo>
                  <a:cubicBezTo>
                    <a:pt x="12952" y="2541"/>
                    <a:pt x="12952" y="1270"/>
                    <a:pt x="11682" y="1270"/>
                  </a:cubicBezTo>
                  <a:lnTo>
                    <a:pt x="10412" y="0"/>
                  </a:lnTo>
                  <a:lnTo>
                    <a:pt x="9141" y="0"/>
                  </a:lnTo>
                  <a:cubicBezTo>
                    <a:pt x="7871" y="0"/>
                    <a:pt x="7871" y="0"/>
                    <a:pt x="6601" y="0"/>
                  </a:cubicBezTo>
                  <a:cubicBezTo>
                    <a:pt x="2790" y="0"/>
                    <a:pt x="-1021" y="3811"/>
                    <a:pt x="249" y="7622"/>
                  </a:cubicBezTo>
                  <a:lnTo>
                    <a:pt x="249" y="12703"/>
                  </a:lnTo>
                  <a:lnTo>
                    <a:pt x="62494" y="635152"/>
                  </a:lnTo>
                  <a:lnTo>
                    <a:pt x="62494" y="640234"/>
                  </a:lnTo>
                  <a:lnTo>
                    <a:pt x="62494" y="645315"/>
                  </a:lnTo>
                  <a:cubicBezTo>
                    <a:pt x="62494" y="649126"/>
                    <a:pt x="66304" y="652937"/>
                    <a:pt x="71386" y="651666"/>
                  </a:cubicBezTo>
                  <a:cubicBezTo>
                    <a:pt x="72656" y="651666"/>
                    <a:pt x="73926" y="651666"/>
                    <a:pt x="73926" y="650396"/>
                  </a:cubicBezTo>
                  <a:lnTo>
                    <a:pt x="73926" y="650396"/>
                  </a:lnTo>
                  <a:cubicBezTo>
                    <a:pt x="73926" y="650396"/>
                    <a:pt x="75196" y="650396"/>
                    <a:pt x="75196" y="649126"/>
                  </a:cubicBezTo>
                  <a:cubicBezTo>
                    <a:pt x="75196" y="649126"/>
                    <a:pt x="76467" y="649126"/>
                    <a:pt x="76467" y="647856"/>
                  </a:cubicBezTo>
                  <a:cubicBezTo>
                    <a:pt x="76467" y="647856"/>
                    <a:pt x="77737" y="646585"/>
                    <a:pt x="77737" y="646585"/>
                  </a:cubicBezTo>
                  <a:lnTo>
                    <a:pt x="77737" y="645315"/>
                  </a:lnTo>
                  <a:cubicBezTo>
                    <a:pt x="77737" y="644045"/>
                    <a:pt x="77737" y="644045"/>
                    <a:pt x="77737" y="642774"/>
                  </a:cubicBezTo>
                  <a:lnTo>
                    <a:pt x="77737" y="642774"/>
                  </a:lnTo>
                  <a:lnTo>
                    <a:pt x="77737" y="642774"/>
                  </a:lnTo>
                  <a:lnTo>
                    <a:pt x="14222" y="8892"/>
                  </a:lnTo>
                  <a:lnTo>
                    <a:pt x="14222" y="6352"/>
                  </a:lnTo>
                  <a:lnTo>
                    <a:pt x="14222" y="6352"/>
                  </a:lnTo>
                  <a:close/>
                </a:path>
              </a:pathLst>
            </a:custGeom>
            <a:solidFill>
              <a:srgbClr val="000000"/>
            </a:solidFill>
            <a:ln w="12688"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19BB47B7-C85B-4673-BEBB-332AD8D2CC88}"/>
                </a:ext>
              </a:extLst>
            </p:cNvPr>
            <p:cNvSpPr/>
            <p:nvPr/>
          </p:nvSpPr>
          <p:spPr>
            <a:xfrm>
              <a:off x="1150885" y="1561204"/>
              <a:ext cx="243896" cy="2811184"/>
            </a:xfrm>
            <a:custGeom>
              <a:avLst/>
              <a:gdLst>
                <a:gd name="connsiteX0" fmla="*/ 243896 w 243896"/>
                <a:gd name="connsiteY0" fmla="*/ 2807374 h 2811184"/>
                <a:gd name="connsiteX1" fmla="*/ 13973 w 243896"/>
                <a:gd name="connsiteY1" fmla="*/ 0 h 2811184"/>
                <a:gd name="connsiteX2" fmla="*/ 10162 w 243896"/>
                <a:gd name="connsiteY2" fmla="*/ 2541 h 2811184"/>
                <a:gd name="connsiteX3" fmla="*/ 8892 w 243896"/>
                <a:gd name="connsiteY3" fmla="*/ 2541 h 2811184"/>
                <a:gd name="connsiteX4" fmla="*/ 7622 w 243896"/>
                <a:gd name="connsiteY4" fmla="*/ 2541 h 2811184"/>
                <a:gd name="connsiteX5" fmla="*/ 5081 w 243896"/>
                <a:gd name="connsiteY5" fmla="*/ 2541 h 2811184"/>
                <a:gd name="connsiteX6" fmla="*/ 0 w 243896"/>
                <a:gd name="connsiteY6" fmla="*/ 1270 h 2811184"/>
                <a:gd name="connsiteX7" fmla="*/ 229923 w 243896"/>
                <a:gd name="connsiteY7" fmla="*/ 2808644 h 2811184"/>
                <a:gd name="connsiteX8" fmla="*/ 237545 w 243896"/>
                <a:gd name="connsiteY8" fmla="*/ 2811185 h 2811184"/>
                <a:gd name="connsiteX9" fmla="*/ 243896 w 243896"/>
                <a:gd name="connsiteY9" fmla="*/ 2807374 h 281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96" h="2811184">
                  <a:moveTo>
                    <a:pt x="243896" y="2807374"/>
                  </a:moveTo>
                  <a:lnTo>
                    <a:pt x="13973" y="0"/>
                  </a:lnTo>
                  <a:lnTo>
                    <a:pt x="10162" y="2541"/>
                  </a:lnTo>
                  <a:lnTo>
                    <a:pt x="8892" y="2541"/>
                  </a:lnTo>
                  <a:lnTo>
                    <a:pt x="7622" y="2541"/>
                  </a:lnTo>
                  <a:lnTo>
                    <a:pt x="5081" y="2541"/>
                  </a:lnTo>
                  <a:lnTo>
                    <a:pt x="0" y="1270"/>
                  </a:lnTo>
                  <a:lnTo>
                    <a:pt x="229923" y="2808644"/>
                  </a:lnTo>
                  <a:lnTo>
                    <a:pt x="237545" y="2811185"/>
                  </a:lnTo>
                  <a:lnTo>
                    <a:pt x="243896" y="2807374"/>
                  </a:lnTo>
                  <a:close/>
                </a:path>
              </a:pathLst>
            </a:custGeom>
            <a:solidFill>
              <a:srgbClr val="000000"/>
            </a:solidFill>
            <a:ln w="12688"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C83FC53E-9D87-4727-8797-FFE6128C320C}"/>
                </a:ext>
              </a:extLst>
            </p:cNvPr>
            <p:cNvSpPr/>
            <p:nvPr/>
          </p:nvSpPr>
          <p:spPr>
            <a:xfrm>
              <a:off x="1389700" y="4388903"/>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703CD236-D449-4E52-B91B-C26B521FE81B}"/>
                </a:ext>
              </a:extLst>
            </p:cNvPr>
            <p:cNvSpPr/>
            <p:nvPr/>
          </p:nvSpPr>
          <p:spPr>
            <a:xfrm>
              <a:off x="725337" y="14532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B27F3312-CB4E-44BF-B49F-5552B156FF53}"/>
                </a:ext>
              </a:extLst>
            </p:cNvPr>
            <p:cNvSpPr/>
            <p:nvPr/>
          </p:nvSpPr>
          <p:spPr>
            <a:xfrm>
              <a:off x="721526" y="1460850"/>
              <a:ext cx="19054" cy="56142"/>
            </a:xfrm>
            <a:custGeom>
              <a:avLst/>
              <a:gdLst>
                <a:gd name="connsiteX0" fmla="*/ 15244 w 19054"/>
                <a:gd name="connsiteY0" fmla="*/ 8892 h 56142"/>
                <a:gd name="connsiteX1" fmla="*/ 5081 w 19054"/>
                <a:gd name="connsiteY1" fmla="*/ 6352 h 56142"/>
                <a:gd name="connsiteX2" fmla="*/ 5081 w 19054"/>
                <a:gd name="connsiteY2" fmla="*/ 6352 h 56142"/>
                <a:gd name="connsiteX3" fmla="*/ 3811 w 19054"/>
                <a:gd name="connsiteY3" fmla="*/ 6352 h 56142"/>
                <a:gd name="connsiteX4" fmla="*/ 2541 w 19054"/>
                <a:gd name="connsiteY4" fmla="*/ 5081 h 56142"/>
                <a:gd name="connsiteX5" fmla="*/ 1270 w 19054"/>
                <a:gd name="connsiteY5" fmla="*/ 3811 h 56142"/>
                <a:gd name="connsiteX6" fmla="*/ 0 w 19054"/>
                <a:gd name="connsiteY6" fmla="*/ 2541 h 56142"/>
                <a:gd name="connsiteX7" fmla="*/ 0 w 19054"/>
                <a:gd name="connsiteY7" fmla="*/ 2541 h 56142"/>
                <a:gd name="connsiteX8" fmla="*/ 0 w 19054"/>
                <a:gd name="connsiteY8" fmla="*/ 1270 h 56142"/>
                <a:gd name="connsiteX9" fmla="*/ 0 w 19054"/>
                <a:gd name="connsiteY9" fmla="*/ 0 h 56142"/>
                <a:gd name="connsiteX10" fmla="*/ 0 w 19054"/>
                <a:gd name="connsiteY10" fmla="*/ 0 h 56142"/>
                <a:gd name="connsiteX11" fmla="*/ 0 w 19054"/>
                <a:gd name="connsiteY11" fmla="*/ 0 h 56142"/>
                <a:gd name="connsiteX12" fmla="*/ 5081 w 19054"/>
                <a:gd name="connsiteY12" fmla="*/ 49542 h 56142"/>
                <a:gd name="connsiteX13" fmla="*/ 12703 w 19054"/>
                <a:gd name="connsiteY13" fmla="*/ 55893 h 56142"/>
                <a:gd name="connsiteX14" fmla="*/ 19054 w 19054"/>
                <a:gd name="connsiteY14" fmla="*/ 49542 h 56142"/>
                <a:gd name="connsiteX15" fmla="*/ 19054 w 19054"/>
                <a:gd name="connsiteY15" fmla="*/ 47001 h 56142"/>
                <a:gd name="connsiteX16" fmla="*/ 15244 w 19054"/>
                <a:gd name="connsiteY16" fmla="*/ 8892 h 5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4" h="56142">
                  <a:moveTo>
                    <a:pt x="15244" y="8892"/>
                  </a:moveTo>
                  <a:lnTo>
                    <a:pt x="5081" y="6352"/>
                  </a:lnTo>
                  <a:lnTo>
                    <a:pt x="5081" y="6352"/>
                  </a:lnTo>
                  <a:lnTo>
                    <a:pt x="3811" y="6352"/>
                  </a:lnTo>
                  <a:cubicBezTo>
                    <a:pt x="3811" y="6352"/>
                    <a:pt x="2541" y="6352"/>
                    <a:pt x="2541" y="5081"/>
                  </a:cubicBezTo>
                  <a:cubicBezTo>
                    <a:pt x="2541" y="5081"/>
                    <a:pt x="1270" y="3811"/>
                    <a:pt x="1270" y="3811"/>
                  </a:cubicBezTo>
                  <a:lnTo>
                    <a:pt x="0" y="2541"/>
                  </a:lnTo>
                  <a:lnTo>
                    <a:pt x="0" y="2541"/>
                  </a:lnTo>
                  <a:cubicBezTo>
                    <a:pt x="0" y="2541"/>
                    <a:pt x="0" y="1270"/>
                    <a:pt x="0" y="1270"/>
                  </a:cubicBezTo>
                  <a:cubicBezTo>
                    <a:pt x="0" y="1270"/>
                    <a:pt x="0" y="0"/>
                    <a:pt x="0" y="0"/>
                  </a:cubicBezTo>
                  <a:lnTo>
                    <a:pt x="0" y="0"/>
                  </a:lnTo>
                  <a:lnTo>
                    <a:pt x="0" y="0"/>
                  </a:lnTo>
                  <a:lnTo>
                    <a:pt x="5081" y="49542"/>
                  </a:lnTo>
                  <a:cubicBezTo>
                    <a:pt x="5081" y="53353"/>
                    <a:pt x="8892" y="57164"/>
                    <a:pt x="12703" y="55893"/>
                  </a:cubicBezTo>
                  <a:cubicBezTo>
                    <a:pt x="16514" y="55893"/>
                    <a:pt x="19054" y="53353"/>
                    <a:pt x="19054" y="49542"/>
                  </a:cubicBezTo>
                  <a:cubicBezTo>
                    <a:pt x="19054" y="48272"/>
                    <a:pt x="19054" y="48272"/>
                    <a:pt x="19054" y="47001"/>
                  </a:cubicBezTo>
                  <a:lnTo>
                    <a:pt x="15244" y="8892"/>
                  </a:lnTo>
                  <a:close/>
                </a:path>
              </a:pathLst>
            </a:custGeom>
            <a:solidFill>
              <a:srgbClr val="000000"/>
            </a:solidFill>
            <a:ln w="12688"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BFF5B758-91FC-4341-9C5B-4A55C35F85F5}"/>
                </a:ext>
              </a:extLst>
            </p:cNvPr>
            <p:cNvSpPr/>
            <p:nvPr/>
          </p:nvSpPr>
          <p:spPr>
            <a:xfrm>
              <a:off x="1520540" y="1355415"/>
              <a:ext cx="241355" cy="67326"/>
            </a:xfrm>
            <a:custGeom>
              <a:avLst/>
              <a:gdLst>
                <a:gd name="connsiteX0" fmla="*/ 6351 w 241355"/>
                <a:gd name="connsiteY0" fmla="*/ 3811 h 67326"/>
                <a:gd name="connsiteX1" fmla="*/ 3811 w 241355"/>
                <a:gd name="connsiteY1" fmla="*/ 13973 h 67326"/>
                <a:gd name="connsiteX2" fmla="*/ 3811 w 241355"/>
                <a:gd name="connsiteY2" fmla="*/ 13973 h 67326"/>
                <a:gd name="connsiteX3" fmla="*/ 1270 w 241355"/>
                <a:gd name="connsiteY3" fmla="*/ 15244 h 67326"/>
                <a:gd name="connsiteX4" fmla="*/ 8892 w 241355"/>
                <a:gd name="connsiteY4" fmla="*/ 16514 h 67326"/>
                <a:gd name="connsiteX5" fmla="*/ 241356 w 241355"/>
                <a:gd name="connsiteY5" fmla="*/ 67326 h 67326"/>
                <a:gd name="connsiteX6" fmla="*/ 241356 w 241355"/>
                <a:gd name="connsiteY6" fmla="*/ 62245 h 67326"/>
                <a:gd name="connsiteX7" fmla="*/ 240085 w 241355"/>
                <a:gd name="connsiteY7" fmla="*/ 52083 h 67326"/>
                <a:gd name="connsiteX8" fmla="*/ 1270 w 241355"/>
                <a:gd name="connsiteY8" fmla="*/ 0 h 67326"/>
                <a:gd name="connsiteX9" fmla="*/ 0 w 241355"/>
                <a:gd name="connsiteY9" fmla="*/ 0 h 67326"/>
                <a:gd name="connsiteX10" fmla="*/ 6351 w 241355"/>
                <a:gd name="connsiteY10" fmla="*/ 3811 h 6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355" h="67326">
                  <a:moveTo>
                    <a:pt x="6351" y="3811"/>
                  </a:moveTo>
                  <a:cubicBezTo>
                    <a:pt x="8892" y="7622"/>
                    <a:pt x="6351" y="11433"/>
                    <a:pt x="3811" y="13973"/>
                  </a:cubicBezTo>
                  <a:cubicBezTo>
                    <a:pt x="3811" y="13973"/>
                    <a:pt x="3811" y="13973"/>
                    <a:pt x="3811" y="13973"/>
                  </a:cubicBezTo>
                  <a:lnTo>
                    <a:pt x="1270" y="15244"/>
                  </a:lnTo>
                  <a:lnTo>
                    <a:pt x="8892" y="16514"/>
                  </a:lnTo>
                  <a:lnTo>
                    <a:pt x="241356" y="67326"/>
                  </a:lnTo>
                  <a:lnTo>
                    <a:pt x="241356" y="62245"/>
                  </a:lnTo>
                  <a:lnTo>
                    <a:pt x="240085" y="52083"/>
                  </a:lnTo>
                  <a:lnTo>
                    <a:pt x="1270" y="0"/>
                  </a:lnTo>
                  <a:lnTo>
                    <a:pt x="0" y="0"/>
                  </a:lnTo>
                  <a:cubicBezTo>
                    <a:pt x="2541" y="0"/>
                    <a:pt x="5081" y="1270"/>
                    <a:pt x="6351" y="3811"/>
                  </a:cubicBezTo>
                  <a:close/>
                </a:path>
              </a:pathLst>
            </a:custGeom>
            <a:solidFill>
              <a:srgbClr val="000000"/>
            </a:solidFill>
            <a:ln w="12688"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53F1BD63-998C-4887-8C0F-4FC4FB0182D9}"/>
                </a:ext>
              </a:extLst>
            </p:cNvPr>
            <p:cNvSpPr/>
            <p:nvPr/>
          </p:nvSpPr>
          <p:spPr>
            <a:xfrm>
              <a:off x="1518000" y="1355415"/>
              <a:ext cx="1270" cy="12703"/>
            </a:xfrm>
            <a:custGeom>
              <a:avLst/>
              <a:gdLst>
                <a:gd name="connsiteX0" fmla="*/ 1270 w 1270"/>
                <a:gd name="connsiteY0" fmla="*/ 0 h 12703"/>
                <a:gd name="connsiteX1" fmla="*/ 0 w 1270"/>
                <a:gd name="connsiteY1" fmla="*/ 0 h 12703"/>
                <a:gd name="connsiteX2" fmla="*/ 0 w 1270"/>
                <a:gd name="connsiteY2" fmla="*/ 0 h 12703"/>
                <a:gd name="connsiteX3" fmla="*/ 127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1270" y="0"/>
                  </a:moveTo>
                  <a:lnTo>
                    <a:pt x="0" y="0"/>
                  </a:lnTo>
                  <a:lnTo>
                    <a:pt x="0" y="0"/>
                  </a:lnTo>
                  <a:lnTo>
                    <a:pt x="1270" y="0"/>
                  </a:lnTo>
                  <a:close/>
                </a:path>
              </a:pathLst>
            </a:custGeom>
            <a:solidFill>
              <a:srgbClr val="000000"/>
            </a:solidFill>
            <a:ln w="12688"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B2A34687-C3C6-4F87-96FD-2482FFD54908}"/>
                </a:ext>
              </a:extLst>
            </p:cNvPr>
            <p:cNvSpPr/>
            <p:nvPr/>
          </p:nvSpPr>
          <p:spPr>
            <a:xfrm>
              <a:off x="2332258" y="1100084"/>
              <a:ext cx="762175" cy="442066"/>
            </a:xfrm>
            <a:custGeom>
              <a:avLst/>
              <a:gdLst>
                <a:gd name="connsiteX0" fmla="*/ 3811 w 762175"/>
                <a:gd name="connsiteY0" fmla="*/ 431904 h 442066"/>
                <a:gd name="connsiteX1" fmla="*/ 5081 w 762175"/>
                <a:gd name="connsiteY1" fmla="*/ 431904 h 442066"/>
                <a:gd name="connsiteX2" fmla="*/ 6351 w 762175"/>
                <a:gd name="connsiteY2" fmla="*/ 431904 h 442066"/>
                <a:gd name="connsiteX3" fmla="*/ 7622 w 762175"/>
                <a:gd name="connsiteY3" fmla="*/ 433174 h 442066"/>
                <a:gd name="connsiteX4" fmla="*/ 8892 w 762175"/>
                <a:gd name="connsiteY4" fmla="*/ 434444 h 442066"/>
                <a:gd name="connsiteX5" fmla="*/ 8892 w 762175"/>
                <a:gd name="connsiteY5" fmla="*/ 435715 h 442066"/>
                <a:gd name="connsiteX6" fmla="*/ 8892 w 762175"/>
                <a:gd name="connsiteY6" fmla="*/ 436985 h 442066"/>
                <a:gd name="connsiteX7" fmla="*/ 8892 w 762175"/>
                <a:gd name="connsiteY7" fmla="*/ 436985 h 442066"/>
                <a:gd name="connsiteX8" fmla="*/ 8892 w 762175"/>
                <a:gd name="connsiteY8" fmla="*/ 442066 h 442066"/>
                <a:gd name="connsiteX9" fmla="*/ 762176 w 762175"/>
                <a:gd name="connsiteY9" fmla="*/ 17784 h 442066"/>
                <a:gd name="connsiteX10" fmla="*/ 762176 w 762175"/>
                <a:gd name="connsiteY10" fmla="*/ 5081 h 442066"/>
                <a:gd name="connsiteX11" fmla="*/ 762176 w 762175"/>
                <a:gd name="connsiteY11" fmla="*/ 0 h 442066"/>
                <a:gd name="connsiteX12" fmla="*/ 0 w 762175"/>
                <a:gd name="connsiteY12" fmla="*/ 429363 h 442066"/>
                <a:gd name="connsiteX13" fmla="*/ 2541 w 762175"/>
                <a:gd name="connsiteY13" fmla="*/ 429363 h 442066"/>
                <a:gd name="connsiteX14" fmla="*/ 3811 w 762175"/>
                <a:gd name="connsiteY14" fmla="*/ 431904 h 44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175" h="442066">
                  <a:moveTo>
                    <a:pt x="3811" y="431904"/>
                  </a:moveTo>
                  <a:cubicBezTo>
                    <a:pt x="3811" y="431904"/>
                    <a:pt x="5081" y="431904"/>
                    <a:pt x="5081" y="431904"/>
                  </a:cubicBezTo>
                  <a:lnTo>
                    <a:pt x="6351" y="431904"/>
                  </a:lnTo>
                  <a:cubicBezTo>
                    <a:pt x="6351" y="431904"/>
                    <a:pt x="7622" y="433174"/>
                    <a:pt x="7622" y="433174"/>
                  </a:cubicBezTo>
                  <a:cubicBezTo>
                    <a:pt x="7622" y="433174"/>
                    <a:pt x="7622" y="434444"/>
                    <a:pt x="8892" y="434444"/>
                  </a:cubicBezTo>
                  <a:cubicBezTo>
                    <a:pt x="8892" y="434444"/>
                    <a:pt x="8892" y="435715"/>
                    <a:pt x="8892" y="435715"/>
                  </a:cubicBezTo>
                  <a:cubicBezTo>
                    <a:pt x="8892" y="435715"/>
                    <a:pt x="8892" y="436985"/>
                    <a:pt x="8892" y="436985"/>
                  </a:cubicBezTo>
                  <a:lnTo>
                    <a:pt x="8892" y="436985"/>
                  </a:lnTo>
                  <a:lnTo>
                    <a:pt x="8892" y="442066"/>
                  </a:lnTo>
                  <a:lnTo>
                    <a:pt x="762176" y="17784"/>
                  </a:lnTo>
                  <a:lnTo>
                    <a:pt x="762176" y="5081"/>
                  </a:lnTo>
                  <a:lnTo>
                    <a:pt x="762176" y="0"/>
                  </a:lnTo>
                  <a:lnTo>
                    <a:pt x="0" y="429363"/>
                  </a:lnTo>
                  <a:lnTo>
                    <a:pt x="2541" y="429363"/>
                  </a:lnTo>
                  <a:lnTo>
                    <a:pt x="3811" y="431904"/>
                  </a:lnTo>
                  <a:close/>
                </a:path>
              </a:pathLst>
            </a:custGeom>
            <a:solidFill>
              <a:srgbClr val="000000"/>
            </a:solidFill>
            <a:ln w="12688"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42C9A405-1AC5-4D56-A13C-C77654E7667C}"/>
                </a:ext>
              </a:extLst>
            </p:cNvPr>
            <p:cNvSpPr/>
            <p:nvPr/>
          </p:nvSpPr>
          <p:spPr>
            <a:xfrm>
              <a:off x="2867051" y="778696"/>
              <a:ext cx="217220" cy="58434"/>
            </a:xfrm>
            <a:custGeom>
              <a:avLst/>
              <a:gdLst>
                <a:gd name="connsiteX0" fmla="*/ 0 w 217220"/>
                <a:gd name="connsiteY0" fmla="*/ 16514 h 58434"/>
                <a:gd name="connsiteX1" fmla="*/ 217220 w 217220"/>
                <a:gd name="connsiteY1" fmla="*/ 58434 h 58434"/>
                <a:gd name="connsiteX2" fmla="*/ 217220 w 217220"/>
                <a:gd name="connsiteY2" fmla="*/ 52083 h 58434"/>
                <a:gd name="connsiteX3" fmla="*/ 217220 w 217220"/>
                <a:gd name="connsiteY3" fmla="*/ 41920 h 58434"/>
                <a:gd name="connsiteX4" fmla="*/ 0 w 217220"/>
                <a:gd name="connsiteY4" fmla="*/ 0 h 58434"/>
                <a:gd name="connsiteX5" fmla="*/ 0 w 217220"/>
                <a:gd name="connsiteY5" fmla="*/ 6352 h 5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20" h="58434">
                  <a:moveTo>
                    <a:pt x="0" y="16514"/>
                  </a:moveTo>
                  <a:lnTo>
                    <a:pt x="217220" y="58434"/>
                  </a:lnTo>
                  <a:lnTo>
                    <a:pt x="217220" y="52083"/>
                  </a:lnTo>
                  <a:lnTo>
                    <a:pt x="217220" y="41920"/>
                  </a:lnTo>
                  <a:lnTo>
                    <a:pt x="0" y="0"/>
                  </a:lnTo>
                  <a:lnTo>
                    <a:pt x="0" y="6352"/>
                  </a:lnTo>
                  <a:close/>
                </a:path>
              </a:pathLst>
            </a:custGeom>
            <a:solidFill>
              <a:srgbClr val="000000"/>
            </a:solidFill>
            <a:ln w="12688"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32874B4D-9BB0-4666-977A-37F40F4F4114}"/>
                </a:ext>
              </a:extLst>
            </p:cNvPr>
            <p:cNvSpPr/>
            <p:nvPr/>
          </p:nvSpPr>
          <p:spPr>
            <a:xfrm>
              <a:off x="1096262" y="1230925"/>
              <a:ext cx="57163" cy="45730"/>
            </a:xfrm>
            <a:custGeom>
              <a:avLst/>
              <a:gdLst>
                <a:gd name="connsiteX0" fmla="*/ 0 w 57163"/>
                <a:gd name="connsiteY0" fmla="*/ 45731 h 45730"/>
                <a:gd name="connsiteX1" fmla="*/ 57163 w 57163"/>
                <a:gd name="connsiteY1" fmla="*/ 16514 h 45730"/>
                <a:gd name="connsiteX2" fmla="*/ 55893 w 57163"/>
                <a:gd name="connsiteY2" fmla="*/ 5081 h 45730"/>
                <a:gd name="connsiteX3" fmla="*/ 55893 w 57163"/>
                <a:gd name="connsiteY3" fmla="*/ 0 h 45730"/>
                <a:gd name="connsiteX4" fmla="*/ 3811 w 57163"/>
                <a:gd name="connsiteY4" fmla="*/ 26676 h 45730"/>
                <a:gd name="connsiteX5" fmla="*/ 5081 w 57163"/>
                <a:gd name="connsiteY5" fmla="*/ 38109 h 45730"/>
                <a:gd name="connsiteX6" fmla="*/ 2541 w 57163"/>
                <a:gd name="connsiteY6" fmla="*/ 43190 h 45730"/>
                <a:gd name="connsiteX7" fmla="*/ 0 w 57163"/>
                <a:gd name="connsiteY7" fmla="*/ 45731 h 4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63" h="45730">
                  <a:moveTo>
                    <a:pt x="0" y="45731"/>
                  </a:moveTo>
                  <a:lnTo>
                    <a:pt x="57163" y="16514"/>
                  </a:lnTo>
                  <a:lnTo>
                    <a:pt x="55893" y="5081"/>
                  </a:lnTo>
                  <a:lnTo>
                    <a:pt x="55893" y="0"/>
                  </a:lnTo>
                  <a:lnTo>
                    <a:pt x="3811" y="26676"/>
                  </a:lnTo>
                  <a:lnTo>
                    <a:pt x="5081" y="38109"/>
                  </a:lnTo>
                  <a:cubicBezTo>
                    <a:pt x="5081" y="40650"/>
                    <a:pt x="5081" y="41920"/>
                    <a:pt x="2541" y="43190"/>
                  </a:cubicBezTo>
                  <a:cubicBezTo>
                    <a:pt x="1270" y="44461"/>
                    <a:pt x="1270" y="44461"/>
                    <a:pt x="0" y="45731"/>
                  </a:cubicBezTo>
                  <a:close/>
                </a:path>
              </a:pathLst>
            </a:custGeom>
            <a:solidFill>
              <a:srgbClr val="000000"/>
            </a:solidFill>
            <a:ln w="12688"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37F919C6-225E-4074-9D7E-E2C2C8FB5722}"/>
                </a:ext>
              </a:extLst>
            </p:cNvPr>
            <p:cNvSpPr/>
            <p:nvPr/>
          </p:nvSpPr>
          <p:spPr>
            <a:xfrm>
              <a:off x="721526" y="1458310"/>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cubicBezTo>
                    <a:pt x="0" y="0"/>
                    <a:pt x="0" y="0"/>
                    <a:pt x="0" y="0"/>
                  </a:cubicBez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B3A70016-2BC3-4020-B78C-5B0206B11F97}"/>
                </a:ext>
              </a:extLst>
            </p:cNvPr>
            <p:cNvSpPr/>
            <p:nvPr/>
          </p:nvSpPr>
          <p:spPr>
            <a:xfrm>
              <a:off x="726607" y="1457039"/>
              <a:ext cx="430629" cy="106705"/>
            </a:xfrm>
            <a:custGeom>
              <a:avLst/>
              <a:gdLst>
                <a:gd name="connsiteX0" fmla="*/ 430629 w 430629"/>
                <a:gd name="connsiteY0" fmla="*/ 106706 h 106705"/>
                <a:gd name="connsiteX1" fmla="*/ 424278 w 430629"/>
                <a:gd name="connsiteY1" fmla="*/ 102895 h 106705"/>
                <a:gd name="connsiteX2" fmla="*/ 426818 w 430629"/>
                <a:gd name="connsiteY2" fmla="*/ 92732 h 106705"/>
                <a:gd name="connsiteX3" fmla="*/ 426818 w 430629"/>
                <a:gd name="connsiteY3" fmla="*/ 92732 h 106705"/>
                <a:gd name="connsiteX4" fmla="*/ 429359 w 430629"/>
                <a:gd name="connsiteY4" fmla="*/ 91462 h 106705"/>
                <a:gd name="connsiteX5" fmla="*/ 22865 w 430629"/>
                <a:gd name="connsiteY5" fmla="*/ 0 h 106705"/>
                <a:gd name="connsiteX6" fmla="*/ 5081 w 430629"/>
                <a:gd name="connsiteY6" fmla="*/ 10162 h 106705"/>
                <a:gd name="connsiteX7" fmla="*/ 0 w 430629"/>
                <a:gd name="connsiteY7" fmla="*/ 10162 h 106705"/>
                <a:gd name="connsiteX8" fmla="*/ 0 w 430629"/>
                <a:gd name="connsiteY8" fmla="*/ 10162 h 106705"/>
                <a:gd name="connsiteX9" fmla="*/ 10162 w 430629"/>
                <a:gd name="connsiteY9" fmla="*/ 12703 h 106705"/>
                <a:gd name="connsiteX10" fmla="*/ 424278 w 430629"/>
                <a:gd name="connsiteY10" fmla="*/ 106706 h 106705"/>
                <a:gd name="connsiteX11" fmla="*/ 430629 w 430629"/>
                <a:gd name="connsiteY11" fmla="*/ 106706 h 106705"/>
                <a:gd name="connsiteX12" fmla="*/ 430629 w 430629"/>
                <a:gd name="connsiteY12" fmla="*/ 106706 h 1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0629" h="106705">
                  <a:moveTo>
                    <a:pt x="430629" y="106706"/>
                  </a:moveTo>
                  <a:cubicBezTo>
                    <a:pt x="428089" y="106706"/>
                    <a:pt x="425548" y="105435"/>
                    <a:pt x="424278" y="102895"/>
                  </a:cubicBezTo>
                  <a:cubicBezTo>
                    <a:pt x="421737" y="99084"/>
                    <a:pt x="423008" y="95273"/>
                    <a:pt x="426818" y="92732"/>
                  </a:cubicBezTo>
                  <a:cubicBezTo>
                    <a:pt x="426818" y="92732"/>
                    <a:pt x="426818" y="92732"/>
                    <a:pt x="426818" y="92732"/>
                  </a:cubicBezTo>
                  <a:lnTo>
                    <a:pt x="429359" y="91462"/>
                  </a:lnTo>
                  <a:lnTo>
                    <a:pt x="22865" y="0"/>
                  </a:lnTo>
                  <a:lnTo>
                    <a:pt x="5081" y="10162"/>
                  </a:lnTo>
                  <a:cubicBezTo>
                    <a:pt x="3811" y="11433"/>
                    <a:pt x="1270" y="11433"/>
                    <a:pt x="0" y="10162"/>
                  </a:cubicBezTo>
                  <a:lnTo>
                    <a:pt x="0" y="10162"/>
                  </a:lnTo>
                  <a:lnTo>
                    <a:pt x="10162" y="12703"/>
                  </a:lnTo>
                  <a:lnTo>
                    <a:pt x="424278" y="106706"/>
                  </a:lnTo>
                  <a:lnTo>
                    <a:pt x="430629" y="106706"/>
                  </a:lnTo>
                  <a:lnTo>
                    <a:pt x="430629" y="106706"/>
                  </a:lnTo>
                  <a:close/>
                </a:path>
              </a:pathLst>
            </a:custGeom>
            <a:solidFill>
              <a:srgbClr val="000000"/>
            </a:solidFill>
            <a:ln w="12688"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13C2E6C7-0B50-4078-9C68-B8488360FBA2}"/>
                </a:ext>
              </a:extLst>
            </p:cNvPr>
            <p:cNvSpPr/>
            <p:nvPr/>
          </p:nvSpPr>
          <p:spPr>
            <a:xfrm>
              <a:off x="721526" y="1456086"/>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cubicBezTo>
                    <a:pt x="0" y="-318"/>
                    <a:pt x="0" y="-318"/>
                    <a:pt x="0" y="953"/>
                  </a:cubicBezTo>
                  <a:cubicBezTo>
                    <a:pt x="0" y="-318"/>
                    <a:pt x="0" y="-318"/>
                    <a:pt x="0" y="953"/>
                  </a:cubicBezTo>
                  <a:close/>
                </a:path>
              </a:pathLst>
            </a:custGeom>
            <a:solidFill>
              <a:srgbClr val="000000"/>
            </a:solidFill>
            <a:ln w="12688"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5064AF40-DFAD-4337-B2D8-E4A9BAAA6526}"/>
                </a:ext>
              </a:extLst>
            </p:cNvPr>
            <p:cNvSpPr/>
            <p:nvPr/>
          </p:nvSpPr>
          <p:spPr>
            <a:xfrm>
              <a:off x="724067" y="14532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F2FD1767-AF32-44E9-B8DB-DACC6D8DA440}"/>
                </a:ext>
              </a:extLst>
            </p:cNvPr>
            <p:cNvSpPr/>
            <p:nvPr/>
          </p:nvSpPr>
          <p:spPr>
            <a:xfrm>
              <a:off x="1150409" y="1360496"/>
              <a:ext cx="356158" cy="201978"/>
            </a:xfrm>
            <a:custGeom>
              <a:avLst/>
              <a:gdLst>
                <a:gd name="connsiteX0" fmla="*/ 352348 w 356158"/>
                <a:gd name="connsiteY0" fmla="*/ 7622 h 201978"/>
                <a:gd name="connsiteX1" fmla="*/ 352348 w 356158"/>
                <a:gd name="connsiteY1" fmla="*/ 7622 h 201978"/>
                <a:gd name="connsiteX2" fmla="*/ 352348 w 356158"/>
                <a:gd name="connsiteY2" fmla="*/ 7622 h 201978"/>
                <a:gd name="connsiteX3" fmla="*/ 352348 w 356158"/>
                <a:gd name="connsiteY3" fmla="*/ 5081 h 201978"/>
                <a:gd name="connsiteX4" fmla="*/ 352348 w 356158"/>
                <a:gd name="connsiteY4" fmla="*/ 3811 h 201978"/>
                <a:gd name="connsiteX5" fmla="*/ 353618 w 356158"/>
                <a:gd name="connsiteY5" fmla="*/ 2541 h 201978"/>
                <a:gd name="connsiteX6" fmla="*/ 354888 w 356158"/>
                <a:gd name="connsiteY6" fmla="*/ 1270 h 201978"/>
                <a:gd name="connsiteX7" fmla="*/ 356158 w 356158"/>
                <a:gd name="connsiteY7" fmla="*/ 0 h 201978"/>
                <a:gd name="connsiteX8" fmla="*/ 6828 w 356158"/>
                <a:gd name="connsiteY8" fmla="*/ 186735 h 201978"/>
                <a:gd name="connsiteX9" fmla="*/ 4287 w 356158"/>
                <a:gd name="connsiteY9" fmla="*/ 188005 h 201978"/>
                <a:gd name="connsiteX10" fmla="*/ 476 w 356158"/>
                <a:gd name="connsiteY10" fmla="*/ 198168 h 201978"/>
                <a:gd name="connsiteX11" fmla="*/ 476 w 356158"/>
                <a:gd name="connsiteY11" fmla="*/ 198168 h 201978"/>
                <a:gd name="connsiteX12" fmla="*/ 6828 w 356158"/>
                <a:gd name="connsiteY12" fmla="*/ 201979 h 201978"/>
                <a:gd name="connsiteX13" fmla="*/ 8098 w 356158"/>
                <a:gd name="connsiteY13" fmla="*/ 201979 h 201978"/>
                <a:gd name="connsiteX14" fmla="*/ 9368 w 356158"/>
                <a:gd name="connsiteY14" fmla="*/ 201979 h 201978"/>
                <a:gd name="connsiteX15" fmla="*/ 10639 w 356158"/>
                <a:gd name="connsiteY15" fmla="*/ 201979 h 201978"/>
                <a:gd name="connsiteX16" fmla="*/ 14450 w 356158"/>
                <a:gd name="connsiteY16" fmla="*/ 199438 h 201978"/>
                <a:gd name="connsiteX17" fmla="*/ 352348 w 356158"/>
                <a:gd name="connsiteY17" fmla="*/ 19055 h 201978"/>
                <a:gd name="connsiteX18" fmla="*/ 352348 w 356158"/>
                <a:gd name="connsiteY18" fmla="*/ 7622 h 20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158" h="201978">
                  <a:moveTo>
                    <a:pt x="352348" y="7622"/>
                  </a:moveTo>
                  <a:lnTo>
                    <a:pt x="352348" y="7622"/>
                  </a:lnTo>
                  <a:lnTo>
                    <a:pt x="352348" y="7622"/>
                  </a:lnTo>
                  <a:cubicBezTo>
                    <a:pt x="352348" y="6352"/>
                    <a:pt x="352348" y="6352"/>
                    <a:pt x="352348" y="5081"/>
                  </a:cubicBezTo>
                  <a:lnTo>
                    <a:pt x="352348" y="3811"/>
                  </a:lnTo>
                  <a:cubicBezTo>
                    <a:pt x="352348" y="3811"/>
                    <a:pt x="352348" y="2541"/>
                    <a:pt x="353618" y="2541"/>
                  </a:cubicBezTo>
                  <a:cubicBezTo>
                    <a:pt x="353618" y="2541"/>
                    <a:pt x="353618" y="1270"/>
                    <a:pt x="354888" y="1270"/>
                  </a:cubicBezTo>
                  <a:cubicBezTo>
                    <a:pt x="354888" y="1270"/>
                    <a:pt x="356158" y="1270"/>
                    <a:pt x="356158" y="0"/>
                  </a:cubicBezTo>
                  <a:lnTo>
                    <a:pt x="6828" y="186735"/>
                  </a:lnTo>
                  <a:lnTo>
                    <a:pt x="4287" y="188005"/>
                  </a:lnTo>
                  <a:cubicBezTo>
                    <a:pt x="476" y="189275"/>
                    <a:pt x="-794" y="194357"/>
                    <a:pt x="476" y="198168"/>
                  </a:cubicBezTo>
                  <a:cubicBezTo>
                    <a:pt x="476" y="198168"/>
                    <a:pt x="476" y="198168"/>
                    <a:pt x="476" y="198168"/>
                  </a:cubicBezTo>
                  <a:cubicBezTo>
                    <a:pt x="1747" y="200708"/>
                    <a:pt x="4287" y="201979"/>
                    <a:pt x="6828" y="201979"/>
                  </a:cubicBezTo>
                  <a:lnTo>
                    <a:pt x="8098" y="201979"/>
                  </a:lnTo>
                  <a:lnTo>
                    <a:pt x="9368" y="201979"/>
                  </a:lnTo>
                  <a:lnTo>
                    <a:pt x="10639" y="201979"/>
                  </a:lnTo>
                  <a:lnTo>
                    <a:pt x="14450" y="199438"/>
                  </a:lnTo>
                  <a:lnTo>
                    <a:pt x="352348" y="19055"/>
                  </a:lnTo>
                  <a:lnTo>
                    <a:pt x="352348" y="7622"/>
                  </a:lnTo>
                  <a:close/>
                </a:path>
              </a:pathLst>
            </a:custGeom>
            <a:solidFill>
              <a:srgbClr val="000000"/>
            </a:solidFill>
            <a:ln w="12688"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09CF607-D71A-4313-AAAB-5D660106DF6B}"/>
                </a:ext>
              </a:extLst>
            </p:cNvPr>
            <p:cNvSpPr/>
            <p:nvPr/>
          </p:nvSpPr>
          <p:spPr>
            <a:xfrm>
              <a:off x="1504026" y="1355415"/>
              <a:ext cx="22916" cy="16514"/>
            </a:xfrm>
            <a:custGeom>
              <a:avLst/>
              <a:gdLst>
                <a:gd name="connsiteX0" fmla="*/ 5081 w 22916"/>
                <a:gd name="connsiteY0" fmla="*/ 5081 h 16514"/>
                <a:gd name="connsiteX1" fmla="*/ 12703 w 22916"/>
                <a:gd name="connsiteY1" fmla="*/ 11433 h 16514"/>
                <a:gd name="connsiteX2" fmla="*/ 12703 w 22916"/>
                <a:gd name="connsiteY2" fmla="*/ 11433 h 16514"/>
                <a:gd name="connsiteX3" fmla="*/ 12703 w 22916"/>
                <a:gd name="connsiteY3" fmla="*/ 16514 h 16514"/>
                <a:gd name="connsiteX4" fmla="*/ 16514 w 22916"/>
                <a:gd name="connsiteY4" fmla="*/ 15244 h 16514"/>
                <a:gd name="connsiteX5" fmla="*/ 19054 w 22916"/>
                <a:gd name="connsiteY5" fmla="*/ 13973 h 16514"/>
                <a:gd name="connsiteX6" fmla="*/ 21595 w 22916"/>
                <a:gd name="connsiteY6" fmla="*/ 3811 h 16514"/>
                <a:gd name="connsiteX7" fmla="*/ 21595 w 22916"/>
                <a:gd name="connsiteY7" fmla="*/ 3811 h 16514"/>
                <a:gd name="connsiteX8" fmla="*/ 15243 w 22916"/>
                <a:gd name="connsiteY8" fmla="*/ 0 h 16514"/>
                <a:gd name="connsiteX9" fmla="*/ 13973 w 22916"/>
                <a:gd name="connsiteY9" fmla="*/ 0 h 16514"/>
                <a:gd name="connsiteX10" fmla="*/ 12703 w 22916"/>
                <a:gd name="connsiteY10" fmla="*/ 0 h 16514"/>
                <a:gd name="connsiteX11" fmla="*/ 11433 w 22916"/>
                <a:gd name="connsiteY11" fmla="*/ 0 h 16514"/>
                <a:gd name="connsiteX12" fmla="*/ 11433 w 22916"/>
                <a:gd name="connsiteY12" fmla="*/ 0 h 16514"/>
                <a:gd name="connsiteX13" fmla="*/ 5081 w 22916"/>
                <a:gd name="connsiteY13" fmla="*/ 5081 h 16514"/>
                <a:gd name="connsiteX14" fmla="*/ 1270 w 22916"/>
                <a:gd name="connsiteY14" fmla="*/ 5081 h 16514"/>
                <a:gd name="connsiteX15" fmla="*/ 0 w 22916"/>
                <a:gd name="connsiteY15" fmla="*/ 6352 h 16514"/>
                <a:gd name="connsiteX16" fmla="*/ 5081 w 22916"/>
                <a:gd name="connsiteY16" fmla="*/ 5081 h 1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916" h="16514">
                  <a:moveTo>
                    <a:pt x="5081" y="5081"/>
                  </a:moveTo>
                  <a:cubicBezTo>
                    <a:pt x="8892" y="5081"/>
                    <a:pt x="12703" y="7622"/>
                    <a:pt x="12703" y="11433"/>
                  </a:cubicBezTo>
                  <a:cubicBezTo>
                    <a:pt x="12703" y="11433"/>
                    <a:pt x="12703" y="11433"/>
                    <a:pt x="12703" y="11433"/>
                  </a:cubicBezTo>
                  <a:lnTo>
                    <a:pt x="12703" y="16514"/>
                  </a:lnTo>
                  <a:lnTo>
                    <a:pt x="16514" y="15244"/>
                  </a:lnTo>
                  <a:lnTo>
                    <a:pt x="19054" y="13973"/>
                  </a:lnTo>
                  <a:cubicBezTo>
                    <a:pt x="22865" y="11433"/>
                    <a:pt x="24136" y="7622"/>
                    <a:pt x="21595" y="3811"/>
                  </a:cubicBezTo>
                  <a:cubicBezTo>
                    <a:pt x="21595" y="3811"/>
                    <a:pt x="21595" y="3811"/>
                    <a:pt x="21595" y="3811"/>
                  </a:cubicBezTo>
                  <a:cubicBezTo>
                    <a:pt x="20325" y="1270"/>
                    <a:pt x="17784" y="0"/>
                    <a:pt x="15243" y="0"/>
                  </a:cubicBezTo>
                  <a:lnTo>
                    <a:pt x="13973" y="0"/>
                  </a:lnTo>
                  <a:lnTo>
                    <a:pt x="12703" y="0"/>
                  </a:lnTo>
                  <a:lnTo>
                    <a:pt x="11433" y="0"/>
                  </a:lnTo>
                  <a:lnTo>
                    <a:pt x="11433" y="0"/>
                  </a:lnTo>
                  <a:lnTo>
                    <a:pt x="5081" y="5081"/>
                  </a:lnTo>
                  <a:lnTo>
                    <a:pt x="1270" y="5081"/>
                  </a:lnTo>
                  <a:cubicBezTo>
                    <a:pt x="1270" y="5081"/>
                    <a:pt x="0" y="5081"/>
                    <a:pt x="0" y="6352"/>
                  </a:cubicBezTo>
                  <a:cubicBezTo>
                    <a:pt x="2541" y="5081"/>
                    <a:pt x="3811" y="5081"/>
                    <a:pt x="5081" y="5081"/>
                  </a:cubicBezTo>
                  <a:close/>
                </a:path>
              </a:pathLst>
            </a:custGeom>
            <a:solidFill>
              <a:srgbClr val="000000"/>
            </a:solidFill>
            <a:ln w="12688"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26DECD6F-D1EB-4BFC-B206-D465F0DFB13C}"/>
                </a:ext>
              </a:extLst>
            </p:cNvPr>
            <p:cNvSpPr/>
            <p:nvPr/>
          </p:nvSpPr>
          <p:spPr>
            <a:xfrm>
              <a:off x="2327176" y="1538339"/>
              <a:ext cx="100353" cy="1535798"/>
            </a:xfrm>
            <a:custGeom>
              <a:avLst/>
              <a:gdLst>
                <a:gd name="connsiteX0" fmla="*/ 88921 w 100353"/>
                <a:gd name="connsiteY0" fmla="*/ 1533258 h 1535798"/>
                <a:gd name="connsiteX1" fmla="*/ 100353 w 100353"/>
                <a:gd name="connsiteY1" fmla="*/ 1526907 h 1535798"/>
                <a:gd name="connsiteX2" fmla="*/ 13973 w 100353"/>
                <a:gd name="connsiteY2" fmla="*/ 5081 h 1535798"/>
                <a:gd name="connsiteX3" fmla="*/ 13973 w 100353"/>
                <a:gd name="connsiteY3" fmla="*/ 0 h 1535798"/>
                <a:gd name="connsiteX4" fmla="*/ 13973 w 100353"/>
                <a:gd name="connsiteY4" fmla="*/ 0 h 1535798"/>
                <a:gd name="connsiteX5" fmla="*/ 13973 w 100353"/>
                <a:gd name="connsiteY5" fmla="*/ 2541 h 1535798"/>
                <a:gd name="connsiteX6" fmla="*/ 5081 w 100353"/>
                <a:gd name="connsiteY6" fmla="*/ 8892 h 1535798"/>
                <a:gd name="connsiteX7" fmla="*/ 0 w 100353"/>
                <a:gd name="connsiteY7" fmla="*/ 7622 h 1535798"/>
                <a:gd name="connsiteX8" fmla="*/ 86380 w 100353"/>
                <a:gd name="connsiteY8" fmla="*/ 1535799 h 1535798"/>
                <a:gd name="connsiteX9" fmla="*/ 88921 w 100353"/>
                <a:gd name="connsiteY9" fmla="*/ 1533258 h 153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353" h="1535798">
                  <a:moveTo>
                    <a:pt x="88921" y="1533258"/>
                  </a:moveTo>
                  <a:lnTo>
                    <a:pt x="100353" y="1526907"/>
                  </a:lnTo>
                  <a:lnTo>
                    <a:pt x="13973" y="5081"/>
                  </a:lnTo>
                  <a:lnTo>
                    <a:pt x="13973" y="0"/>
                  </a:lnTo>
                  <a:lnTo>
                    <a:pt x="13973" y="0"/>
                  </a:lnTo>
                  <a:cubicBezTo>
                    <a:pt x="13973" y="1270"/>
                    <a:pt x="13973" y="1270"/>
                    <a:pt x="13973" y="2541"/>
                  </a:cubicBezTo>
                  <a:cubicBezTo>
                    <a:pt x="12703" y="6352"/>
                    <a:pt x="8892" y="8892"/>
                    <a:pt x="5081" y="8892"/>
                  </a:cubicBezTo>
                  <a:lnTo>
                    <a:pt x="0" y="7622"/>
                  </a:lnTo>
                  <a:lnTo>
                    <a:pt x="86380" y="1535799"/>
                  </a:lnTo>
                  <a:lnTo>
                    <a:pt x="88921" y="1533258"/>
                  </a:lnTo>
                  <a:close/>
                </a:path>
              </a:pathLst>
            </a:custGeom>
            <a:solidFill>
              <a:srgbClr val="000000"/>
            </a:solidFill>
            <a:ln w="12688"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4175FCAA-720E-4D88-9D29-22AAF9BD3282}"/>
                </a:ext>
              </a:extLst>
            </p:cNvPr>
            <p:cNvSpPr/>
            <p:nvPr/>
          </p:nvSpPr>
          <p:spPr>
            <a:xfrm>
              <a:off x="980666" y="0"/>
              <a:ext cx="120677" cy="1269034"/>
            </a:xfrm>
            <a:custGeom>
              <a:avLst/>
              <a:gdLst>
                <a:gd name="connsiteX0" fmla="*/ 109245 w 120677"/>
                <a:gd name="connsiteY0" fmla="*/ 1262683 h 1269034"/>
                <a:gd name="connsiteX1" fmla="*/ 119408 w 120677"/>
                <a:gd name="connsiteY1" fmla="*/ 1266494 h 1269034"/>
                <a:gd name="connsiteX2" fmla="*/ 120678 w 120677"/>
                <a:gd name="connsiteY2" fmla="*/ 1269035 h 1269034"/>
                <a:gd name="connsiteX3" fmla="*/ 119408 w 120677"/>
                <a:gd name="connsiteY3" fmla="*/ 1257602 h 1269034"/>
                <a:gd name="connsiteX4" fmla="*/ 15244 w 120677"/>
                <a:gd name="connsiteY4" fmla="*/ 0 h 1269034"/>
                <a:gd name="connsiteX5" fmla="*/ 0 w 120677"/>
                <a:gd name="connsiteY5" fmla="*/ 0 h 1269034"/>
                <a:gd name="connsiteX6" fmla="*/ 104164 w 120677"/>
                <a:gd name="connsiteY6" fmla="*/ 1265224 h 1269034"/>
                <a:gd name="connsiteX7" fmla="*/ 109245 w 120677"/>
                <a:gd name="connsiteY7" fmla="*/ 1262683 h 126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677" h="1269034">
                  <a:moveTo>
                    <a:pt x="109245" y="1262683"/>
                  </a:moveTo>
                  <a:cubicBezTo>
                    <a:pt x="113056" y="1261413"/>
                    <a:pt x="116867" y="1262683"/>
                    <a:pt x="119408" y="1266494"/>
                  </a:cubicBezTo>
                  <a:cubicBezTo>
                    <a:pt x="119408" y="1267764"/>
                    <a:pt x="119408" y="1267764"/>
                    <a:pt x="120678" y="1269035"/>
                  </a:cubicBezTo>
                  <a:lnTo>
                    <a:pt x="119408" y="1257602"/>
                  </a:lnTo>
                  <a:lnTo>
                    <a:pt x="15244" y="0"/>
                  </a:lnTo>
                  <a:lnTo>
                    <a:pt x="0" y="0"/>
                  </a:lnTo>
                  <a:lnTo>
                    <a:pt x="104164" y="1265224"/>
                  </a:lnTo>
                  <a:lnTo>
                    <a:pt x="109245" y="1262683"/>
                  </a:lnTo>
                  <a:close/>
                </a:path>
              </a:pathLst>
            </a:custGeom>
            <a:solidFill>
              <a:srgbClr val="000000"/>
            </a:solidFill>
            <a:ln w="12688"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8A5226DB-BB9B-4E69-B17C-D7258178C213}"/>
                </a:ext>
              </a:extLst>
            </p:cNvPr>
            <p:cNvSpPr/>
            <p:nvPr/>
          </p:nvSpPr>
          <p:spPr>
            <a:xfrm>
              <a:off x="1096262" y="1274115"/>
              <a:ext cx="2540" cy="1270"/>
            </a:xfrm>
            <a:custGeom>
              <a:avLst/>
              <a:gdLst>
                <a:gd name="connsiteX0" fmla="*/ 2541 w 2540"/>
                <a:gd name="connsiteY0" fmla="*/ 0 h 1270"/>
                <a:gd name="connsiteX1" fmla="*/ 0 w 2540"/>
                <a:gd name="connsiteY1" fmla="*/ 1270 h 1270"/>
                <a:gd name="connsiteX2" fmla="*/ 0 w 2540"/>
                <a:gd name="connsiteY2" fmla="*/ 1270 h 1270"/>
                <a:gd name="connsiteX3" fmla="*/ 2541 w 2540"/>
                <a:gd name="connsiteY3" fmla="*/ 0 h 1270"/>
              </a:gdLst>
              <a:ahLst/>
              <a:cxnLst>
                <a:cxn ang="0">
                  <a:pos x="connsiteX0" y="connsiteY0"/>
                </a:cxn>
                <a:cxn ang="0">
                  <a:pos x="connsiteX1" y="connsiteY1"/>
                </a:cxn>
                <a:cxn ang="0">
                  <a:pos x="connsiteX2" y="connsiteY2"/>
                </a:cxn>
                <a:cxn ang="0">
                  <a:pos x="connsiteX3" y="connsiteY3"/>
                </a:cxn>
              </a:cxnLst>
              <a:rect l="l" t="t" r="r" b="b"/>
              <a:pathLst>
                <a:path w="2540" h="1270">
                  <a:moveTo>
                    <a:pt x="2541" y="0"/>
                  </a:moveTo>
                  <a:cubicBezTo>
                    <a:pt x="2541" y="1270"/>
                    <a:pt x="1270" y="1270"/>
                    <a:pt x="0" y="1270"/>
                  </a:cubicBezTo>
                  <a:lnTo>
                    <a:pt x="0" y="1270"/>
                  </a:lnTo>
                  <a:cubicBezTo>
                    <a:pt x="1270" y="1270"/>
                    <a:pt x="1270" y="1270"/>
                    <a:pt x="2541" y="0"/>
                  </a:cubicBezTo>
                  <a:close/>
                </a:path>
              </a:pathLst>
            </a:custGeom>
            <a:solidFill>
              <a:srgbClr val="000000"/>
            </a:solidFill>
            <a:ln w="12688"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9667586E-E1A2-4429-B043-98B45620B5CF}"/>
                </a:ext>
              </a:extLst>
            </p:cNvPr>
            <p:cNvSpPr/>
            <p:nvPr/>
          </p:nvSpPr>
          <p:spPr>
            <a:xfrm>
              <a:off x="1316023" y="0"/>
              <a:ext cx="49541" cy="467472"/>
            </a:xfrm>
            <a:custGeom>
              <a:avLst/>
              <a:gdLst>
                <a:gd name="connsiteX0" fmla="*/ 39379 w 49541"/>
                <a:gd name="connsiteY0" fmla="*/ 466202 h 467472"/>
                <a:gd name="connsiteX1" fmla="*/ 49541 w 49541"/>
                <a:gd name="connsiteY1" fmla="*/ 461121 h 467472"/>
                <a:gd name="connsiteX2" fmla="*/ 15244 w 49541"/>
                <a:gd name="connsiteY2" fmla="*/ 0 h 467472"/>
                <a:gd name="connsiteX3" fmla="*/ 0 w 49541"/>
                <a:gd name="connsiteY3" fmla="*/ 0 h 467472"/>
                <a:gd name="connsiteX4" fmla="*/ 35568 w 49541"/>
                <a:gd name="connsiteY4" fmla="*/ 467472 h 467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41" h="467472">
                  <a:moveTo>
                    <a:pt x="39379" y="466202"/>
                  </a:moveTo>
                  <a:lnTo>
                    <a:pt x="49541" y="461121"/>
                  </a:lnTo>
                  <a:lnTo>
                    <a:pt x="15244" y="0"/>
                  </a:lnTo>
                  <a:lnTo>
                    <a:pt x="0" y="0"/>
                  </a:lnTo>
                  <a:lnTo>
                    <a:pt x="35568" y="467472"/>
                  </a:lnTo>
                  <a:close/>
                </a:path>
              </a:pathLst>
            </a:custGeom>
            <a:solidFill>
              <a:srgbClr val="000000"/>
            </a:solidFill>
            <a:ln w="12688"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51F9B8E5-4D07-4720-8636-A75F386985E1}"/>
                </a:ext>
              </a:extLst>
            </p:cNvPr>
            <p:cNvSpPr/>
            <p:nvPr/>
          </p:nvSpPr>
          <p:spPr>
            <a:xfrm>
              <a:off x="3710525" y="0"/>
              <a:ext cx="128299" cy="4305063"/>
            </a:xfrm>
            <a:custGeom>
              <a:avLst/>
              <a:gdLst>
                <a:gd name="connsiteX0" fmla="*/ 113056 w 128299"/>
                <a:gd name="connsiteY0" fmla="*/ 4305063 h 4305063"/>
                <a:gd name="connsiteX1" fmla="*/ 120678 w 128299"/>
                <a:gd name="connsiteY1" fmla="*/ 4297441 h 4305063"/>
                <a:gd name="connsiteX2" fmla="*/ 128300 w 128299"/>
                <a:gd name="connsiteY2" fmla="*/ 4305063 h 4305063"/>
                <a:gd name="connsiteX3" fmla="*/ 128300 w 128299"/>
                <a:gd name="connsiteY3" fmla="*/ 4305063 h 4305063"/>
                <a:gd name="connsiteX4" fmla="*/ 15243 w 128299"/>
                <a:gd name="connsiteY4" fmla="*/ 0 h 4305063"/>
                <a:gd name="connsiteX5" fmla="*/ 0 w 128299"/>
                <a:gd name="connsiteY5" fmla="*/ 0 h 4305063"/>
                <a:gd name="connsiteX6" fmla="*/ 111786 w 128299"/>
                <a:gd name="connsiteY6" fmla="*/ 4294901 h 4305063"/>
                <a:gd name="connsiteX7" fmla="*/ 111786 w 128299"/>
                <a:gd name="connsiteY7" fmla="*/ 4305063 h 430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299" h="4305063">
                  <a:moveTo>
                    <a:pt x="113056" y="4305063"/>
                  </a:moveTo>
                  <a:cubicBezTo>
                    <a:pt x="113056" y="4301253"/>
                    <a:pt x="116867" y="4297441"/>
                    <a:pt x="120678" y="4297441"/>
                  </a:cubicBezTo>
                  <a:cubicBezTo>
                    <a:pt x="124489" y="4297441"/>
                    <a:pt x="128300" y="4301253"/>
                    <a:pt x="128300" y="4305063"/>
                  </a:cubicBezTo>
                  <a:cubicBezTo>
                    <a:pt x="128300" y="4305063"/>
                    <a:pt x="128300" y="4305063"/>
                    <a:pt x="128300" y="4305063"/>
                  </a:cubicBezTo>
                  <a:lnTo>
                    <a:pt x="15243" y="0"/>
                  </a:lnTo>
                  <a:lnTo>
                    <a:pt x="0" y="0"/>
                  </a:lnTo>
                  <a:lnTo>
                    <a:pt x="111786" y="4294901"/>
                  </a:lnTo>
                  <a:lnTo>
                    <a:pt x="111786" y="4305063"/>
                  </a:lnTo>
                  <a:close/>
                </a:path>
              </a:pathLst>
            </a:custGeom>
            <a:solidFill>
              <a:srgbClr val="000000"/>
            </a:solidFill>
            <a:ln w="12688"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E7FEFA3A-2810-4F14-87A3-AA933EB458A9}"/>
                </a:ext>
              </a:extLst>
            </p:cNvPr>
            <p:cNvSpPr/>
            <p:nvPr/>
          </p:nvSpPr>
          <p:spPr>
            <a:xfrm>
              <a:off x="5797617" y="3498419"/>
              <a:ext cx="37791" cy="1183924"/>
            </a:xfrm>
            <a:custGeom>
              <a:avLst/>
              <a:gdLst>
                <a:gd name="connsiteX0" fmla="*/ 36838 w 37791"/>
                <a:gd name="connsiteY0" fmla="*/ 2541 h 1183924"/>
                <a:gd name="connsiteX1" fmla="*/ 36838 w 37791"/>
                <a:gd name="connsiteY1" fmla="*/ 3811 h 1183924"/>
                <a:gd name="connsiteX2" fmla="*/ 35568 w 37791"/>
                <a:gd name="connsiteY2" fmla="*/ 5081 h 1183924"/>
                <a:gd name="connsiteX3" fmla="*/ 34298 w 37791"/>
                <a:gd name="connsiteY3" fmla="*/ 6352 h 1183924"/>
                <a:gd name="connsiteX4" fmla="*/ 34298 w 37791"/>
                <a:gd name="connsiteY4" fmla="*/ 6352 h 1183924"/>
                <a:gd name="connsiteX5" fmla="*/ 21595 w 37791"/>
                <a:gd name="connsiteY5" fmla="*/ 16514 h 1183924"/>
                <a:gd name="connsiteX6" fmla="*/ 0 w 37791"/>
                <a:gd name="connsiteY6" fmla="*/ 1172492 h 1183924"/>
                <a:gd name="connsiteX7" fmla="*/ 0 w 37791"/>
                <a:gd name="connsiteY7" fmla="*/ 1176302 h 1183924"/>
                <a:gd name="connsiteX8" fmla="*/ 0 w 37791"/>
                <a:gd name="connsiteY8" fmla="*/ 1177573 h 1183924"/>
                <a:gd name="connsiteX9" fmla="*/ 0 w 37791"/>
                <a:gd name="connsiteY9" fmla="*/ 1178843 h 1183924"/>
                <a:gd name="connsiteX10" fmla="*/ 1270 w 37791"/>
                <a:gd name="connsiteY10" fmla="*/ 1180113 h 1183924"/>
                <a:gd name="connsiteX11" fmla="*/ 2541 w 37791"/>
                <a:gd name="connsiteY11" fmla="*/ 1181384 h 1183924"/>
                <a:gd name="connsiteX12" fmla="*/ 3811 w 37791"/>
                <a:gd name="connsiteY12" fmla="*/ 1182654 h 1183924"/>
                <a:gd name="connsiteX13" fmla="*/ 5081 w 37791"/>
                <a:gd name="connsiteY13" fmla="*/ 1183924 h 1183924"/>
                <a:gd name="connsiteX14" fmla="*/ 7622 w 37791"/>
                <a:gd name="connsiteY14" fmla="*/ 1183924 h 1183924"/>
                <a:gd name="connsiteX15" fmla="*/ 15244 w 37791"/>
                <a:gd name="connsiteY15" fmla="*/ 1176302 h 1183924"/>
                <a:gd name="connsiteX16" fmla="*/ 15244 w 37791"/>
                <a:gd name="connsiteY16" fmla="*/ 1176302 h 1183924"/>
                <a:gd name="connsiteX17" fmla="*/ 15244 w 37791"/>
                <a:gd name="connsiteY17" fmla="*/ 1169951 h 1183924"/>
                <a:gd name="connsiteX18" fmla="*/ 36838 w 37791"/>
                <a:gd name="connsiteY18" fmla="*/ 0 h 1183924"/>
                <a:gd name="connsiteX19" fmla="*/ 36838 w 37791"/>
                <a:gd name="connsiteY19" fmla="*/ 0 h 1183924"/>
                <a:gd name="connsiteX20" fmla="*/ 36838 w 37791"/>
                <a:gd name="connsiteY20" fmla="*/ 2541 h 118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791" h="1183924">
                  <a:moveTo>
                    <a:pt x="36838" y="2541"/>
                  </a:moveTo>
                  <a:cubicBezTo>
                    <a:pt x="36838" y="2541"/>
                    <a:pt x="36838" y="3811"/>
                    <a:pt x="36838" y="3811"/>
                  </a:cubicBezTo>
                  <a:lnTo>
                    <a:pt x="35568" y="5081"/>
                  </a:lnTo>
                  <a:cubicBezTo>
                    <a:pt x="35568" y="5081"/>
                    <a:pt x="35568" y="6352"/>
                    <a:pt x="34298" y="6352"/>
                  </a:cubicBezTo>
                  <a:lnTo>
                    <a:pt x="34298" y="6352"/>
                  </a:lnTo>
                  <a:lnTo>
                    <a:pt x="21595" y="16514"/>
                  </a:lnTo>
                  <a:lnTo>
                    <a:pt x="0" y="1172492"/>
                  </a:lnTo>
                  <a:lnTo>
                    <a:pt x="0" y="1176302"/>
                  </a:lnTo>
                  <a:lnTo>
                    <a:pt x="0" y="1177573"/>
                  </a:lnTo>
                  <a:cubicBezTo>
                    <a:pt x="0" y="1177573"/>
                    <a:pt x="0" y="1178843"/>
                    <a:pt x="0" y="1178843"/>
                  </a:cubicBezTo>
                  <a:lnTo>
                    <a:pt x="1270" y="1180113"/>
                  </a:lnTo>
                  <a:lnTo>
                    <a:pt x="2541" y="1181384"/>
                  </a:lnTo>
                  <a:lnTo>
                    <a:pt x="3811" y="1182654"/>
                  </a:lnTo>
                  <a:cubicBezTo>
                    <a:pt x="3811" y="1182654"/>
                    <a:pt x="5081" y="1182654"/>
                    <a:pt x="5081" y="1183924"/>
                  </a:cubicBezTo>
                  <a:cubicBezTo>
                    <a:pt x="6351" y="1183924"/>
                    <a:pt x="6351" y="1183924"/>
                    <a:pt x="7622" y="1183924"/>
                  </a:cubicBezTo>
                  <a:cubicBezTo>
                    <a:pt x="11433" y="1183924"/>
                    <a:pt x="15244" y="1180113"/>
                    <a:pt x="15244" y="1176302"/>
                  </a:cubicBezTo>
                  <a:cubicBezTo>
                    <a:pt x="15244" y="1176302"/>
                    <a:pt x="15244" y="1176302"/>
                    <a:pt x="15244" y="1176302"/>
                  </a:cubicBezTo>
                  <a:lnTo>
                    <a:pt x="15244" y="1169951"/>
                  </a:lnTo>
                  <a:lnTo>
                    <a:pt x="36838" y="0"/>
                  </a:lnTo>
                  <a:lnTo>
                    <a:pt x="36838" y="0"/>
                  </a:lnTo>
                  <a:cubicBezTo>
                    <a:pt x="38109" y="1270"/>
                    <a:pt x="38109" y="2541"/>
                    <a:pt x="36838" y="2541"/>
                  </a:cubicBezTo>
                  <a:close/>
                </a:path>
              </a:pathLst>
            </a:custGeom>
            <a:solidFill>
              <a:srgbClr val="000000"/>
            </a:solidFill>
            <a:ln w="12688"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8A96F509-63D8-42DF-B068-67734DC4166D}"/>
                </a:ext>
              </a:extLst>
            </p:cNvPr>
            <p:cNvSpPr/>
            <p:nvPr/>
          </p:nvSpPr>
          <p:spPr>
            <a:xfrm>
              <a:off x="5185336" y="3493338"/>
              <a:ext cx="647849" cy="503541"/>
            </a:xfrm>
            <a:custGeom>
              <a:avLst/>
              <a:gdLst>
                <a:gd name="connsiteX0" fmla="*/ 1270 w 647849"/>
                <a:gd name="connsiteY0" fmla="*/ 490338 h 503541"/>
                <a:gd name="connsiteX1" fmla="*/ 1270 w 647849"/>
                <a:gd name="connsiteY1" fmla="*/ 490338 h 503541"/>
                <a:gd name="connsiteX2" fmla="*/ 1270 w 647849"/>
                <a:gd name="connsiteY2" fmla="*/ 490338 h 503541"/>
                <a:gd name="connsiteX3" fmla="*/ 0 w 647849"/>
                <a:gd name="connsiteY3" fmla="*/ 492878 h 503541"/>
                <a:gd name="connsiteX4" fmla="*/ 0 w 647849"/>
                <a:gd name="connsiteY4" fmla="*/ 494149 h 503541"/>
                <a:gd name="connsiteX5" fmla="*/ 0 w 647849"/>
                <a:gd name="connsiteY5" fmla="*/ 495419 h 503541"/>
                <a:gd name="connsiteX6" fmla="*/ 1270 w 647849"/>
                <a:gd name="connsiteY6" fmla="*/ 500500 h 503541"/>
                <a:gd name="connsiteX7" fmla="*/ 11433 w 647849"/>
                <a:gd name="connsiteY7" fmla="*/ 501770 h 503541"/>
                <a:gd name="connsiteX8" fmla="*/ 11433 w 647849"/>
                <a:gd name="connsiteY8" fmla="*/ 501770 h 503541"/>
                <a:gd name="connsiteX9" fmla="*/ 13973 w 647849"/>
                <a:gd name="connsiteY9" fmla="*/ 499230 h 503541"/>
                <a:gd name="connsiteX10" fmla="*/ 635147 w 647849"/>
                <a:gd name="connsiteY10" fmla="*/ 20325 h 503541"/>
                <a:gd name="connsiteX11" fmla="*/ 647849 w 647849"/>
                <a:gd name="connsiteY11" fmla="*/ 10162 h 503541"/>
                <a:gd name="connsiteX12" fmla="*/ 647849 w 647849"/>
                <a:gd name="connsiteY12" fmla="*/ 10162 h 503541"/>
                <a:gd name="connsiteX13" fmla="*/ 642768 w 647849"/>
                <a:gd name="connsiteY13" fmla="*/ 11433 h 503541"/>
                <a:gd name="connsiteX14" fmla="*/ 635147 w 647849"/>
                <a:gd name="connsiteY14" fmla="*/ 3811 h 503541"/>
                <a:gd name="connsiteX15" fmla="*/ 635147 w 647849"/>
                <a:gd name="connsiteY15" fmla="*/ 3811 h 503541"/>
                <a:gd name="connsiteX16" fmla="*/ 635147 w 647849"/>
                <a:gd name="connsiteY16" fmla="*/ 0 h 503541"/>
                <a:gd name="connsiteX17" fmla="*/ 5081 w 647849"/>
                <a:gd name="connsiteY17" fmla="*/ 485257 h 503541"/>
                <a:gd name="connsiteX18" fmla="*/ 1270 w 647849"/>
                <a:gd name="connsiteY18" fmla="*/ 490338 h 50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849" h="503541">
                  <a:moveTo>
                    <a:pt x="1270" y="490338"/>
                  </a:moveTo>
                  <a:lnTo>
                    <a:pt x="1270" y="490338"/>
                  </a:lnTo>
                  <a:lnTo>
                    <a:pt x="1270" y="490338"/>
                  </a:lnTo>
                  <a:lnTo>
                    <a:pt x="0" y="492878"/>
                  </a:lnTo>
                  <a:lnTo>
                    <a:pt x="0" y="494149"/>
                  </a:lnTo>
                  <a:cubicBezTo>
                    <a:pt x="0" y="494149"/>
                    <a:pt x="0" y="495419"/>
                    <a:pt x="0" y="495419"/>
                  </a:cubicBezTo>
                  <a:cubicBezTo>
                    <a:pt x="0" y="496689"/>
                    <a:pt x="0" y="499230"/>
                    <a:pt x="1270" y="500500"/>
                  </a:cubicBezTo>
                  <a:cubicBezTo>
                    <a:pt x="3811" y="504311"/>
                    <a:pt x="8892" y="504311"/>
                    <a:pt x="11433" y="501770"/>
                  </a:cubicBezTo>
                  <a:cubicBezTo>
                    <a:pt x="11433" y="501770"/>
                    <a:pt x="11433" y="501770"/>
                    <a:pt x="11433" y="501770"/>
                  </a:cubicBezTo>
                  <a:lnTo>
                    <a:pt x="13973" y="499230"/>
                  </a:lnTo>
                  <a:lnTo>
                    <a:pt x="635147" y="20325"/>
                  </a:lnTo>
                  <a:lnTo>
                    <a:pt x="647849" y="10162"/>
                  </a:lnTo>
                  <a:lnTo>
                    <a:pt x="647849" y="10162"/>
                  </a:lnTo>
                  <a:cubicBezTo>
                    <a:pt x="646579" y="11433"/>
                    <a:pt x="645309" y="12703"/>
                    <a:pt x="642768" y="11433"/>
                  </a:cubicBezTo>
                  <a:cubicBezTo>
                    <a:pt x="638957" y="11433"/>
                    <a:pt x="635147" y="7622"/>
                    <a:pt x="635147" y="3811"/>
                  </a:cubicBezTo>
                  <a:cubicBezTo>
                    <a:pt x="635147" y="3811"/>
                    <a:pt x="635147" y="3811"/>
                    <a:pt x="635147" y="3811"/>
                  </a:cubicBezTo>
                  <a:lnTo>
                    <a:pt x="635147" y="0"/>
                  </a:lnTo>
                  <a:lnTo>
                    <a:pt x="5081" y="485257"/>
                  </a:lnTo>
                  <a:lnTo>
                    <a:pt x="1270" y="490338"/>
                  </a:lnTo>
                  <a:close/>
                </a:path>
              </a:pathLst>
            </a:custGeom>
            <a:solidFill>
              <a:srgbClr val="000000"/>
            </a:solidFill>
            <a:ln w="12688"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42805ED0-269D-4CE3-A447-208CDF7FB774}"/>
                </a:ext>
              </a:extLst>
            </p:cNvPr>
            <p:cNvSpPr/>
            <p:nvPr/>
          </p:nvSpPr>
          <p:spPr>
            <a:xfrm>
              <a:off x="492873" y="6752940"/>
              <a:ext cx="268031" cy="100354"/>
            </a:xfrm>
            <a:custGeom>
              <a:avLst/>
              <a:gdLst>
                <a:gd name="connsiteX0" fmla="*/ 10162 w 268031"/>
                <a:gd name="connsiteY0" fmla="*/ 6352 h 100354"/>
                <a:gd name="connsiteX1" fmla="*/ 3811 w 268031"/>
                <a:gd name="connsiteY1" fmla="*/ 13974 h 100354"/>
                <a:gd name="connsiteX2" fmla="*/ 3811 w 268031"/>
                <a:gd name="connsiteY2" fmla="*/ 13974 h 100354"/>
                <a:gd name="connsiteX3" fmla="*/ 0 w 268031"/>
                <a:gd name="connsiteY3" fmla="*/ 12703 h 100354"/>
                <a:gd name="connsiteX4" fmla="*/ 1270 w 268031"/>
                <a:gd name="connsiteY4" fmla="*/ 12703 h 100354"/>
                <a:gd name="connsiteX5" fmla="*/ 12703 w 268031"/>
                <a:gd name="connsiteY5" fmla="*/ 17785 h 100354"/>
                <a:gd name="connsiteX6" fmla="*/ 226112 w 268031"/>
                <a:gd name="connsiteY6" fmla="*/ 100354 h 100354"/>
                <a:gd name="connsiteX7" fmla="*/ 268032 w 268031"/>
                <a:gd name="connsiteY7" fmla="*/ 100354 h 100354"/>
                <a:gd name="connsiteX8" fmla="*/ 11433 w 268031"/>
                <a:gd name="connsiteY8" fmla="*/ 0 h 100354"/>
                <a:gd name="connsiteX9" fmla="*/ 10162 w 268031"/>
                <a:gd name="connsiteY9" fmla="*/ 6352 h 10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031" h="100354">
                  <a:moveTo>
                    <a:pt x="10162" y="6352"/>
                  </a:moveTo>
                  <a:cubicBezTo>
                    <a:pt x="10162" y="10163"/>
                    <a:pt x="7622" y="13974"/>
                    <a:pt x="3811" y="13974"/>
                  </a:cubicBezTo>
                  <a:cubicBezTo>
                    <a:pt x="3811" y="13974"/>
                    <a:pt x="3811" y="13974"/>
                    <a:pt x="3811" y="13974"/>
                  </a:cubicBezTo>
                  <a:cubicBezTo>
                    <a:pt x="2541" y="13974"/>
                    <a:pt x="1270" y="13974"/>
                    <a:pt x="0" y="12703"/>
                  </a:cubicBezTo>
                  <a:lnTo>
                    <a:pt x="1270" y="12703"/>
                  </a:lnTo>
                  <a:lnTo>
                    <a:pt x="12703" y="17785"/>
                  </a:lnTo>
                  <a:lnTo>
                    <a:pt x="226112" y="100354"/>
                  </a:lnTo>
                  <a:lnTo>
                    <a:pt x="268032" y="100354"/>
                  </a:lnTo>
                  <a:lnTo>
                    <a:pt x="11433" y="0"/>
                  </a:lnTo>
                  <a:lnTo>
                    <a:pt x="10162" y="6352"/>
                  </a:lnTo>
                  <a:close/>
                </a:path>
              </a:pathLst>
            </a:custGeom>
            <a:solidFill>
              <a:srgbClr val="000000"/>
            </a:solidFill>
            <a:ln w="12688"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180EE476-0BD5-447D-91A6-962B92455EA0}"/>
                </a:ext>
              </a:extLst>
            </p:cNvPr>
            <p:cNvSpPr/>
            <p:nvPr/>
          </p:nvSpPr>
          <p:spPr>
            <a:xfrm>
              <a:off x="0" y="4087840"/>
              <a:ext cx="200706" cy="134652"/>
            </a:xfrm>
            <a:custGeom>
              <a:avLst/>
              <a:gdLst>
                <a:gd name="connsiteX0" fmla="*/ 200706 w 200706"/>
                <a:gd name="connsiteY0" fmla="*/ 3811 h 134652"/>
                <a:gd name="connsiteX1" fmla="*/ 189274 w 200706"/>
                <a:gd name="connsiteY1" fmla="*/ 0 h 134652"/>
                <a:gd name="connsiteX2" fmla="*/ 0 w 200706"/>
                <a:gd name="connsiteY2" fmla="*/ 116868 h 134652"/>
                <a:gd name="connsiteX3" fmla="*/ 0 w 200706"/>
                <a:gd name="connsiteY3" fmla="*/ 134652 h 134652"/>
                <a:gd name="connsiteX4" fmla="*/ 200706 w 200706"/>
                <a:gd name="connsiteY4" fmla="*/ 10163 h 13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706" h="134652">
                  <a:moveTo>
                    <a:pt x="200706" y="3811"/>
                  </a:moveTo>
                  <a:lnTo>
                    <a:pt x="189274" y="0"/>
                  </a:lnTo>
                  <a:lnTo>
                    <a:pt x="0" y="116868"/>
                  </a:lnTo>
                  <a:lnTo>
                    <a:pt x="0" y="134652"/>
                  </a:lnTo>
                  <a:lnTo>
                    <a:pt x="200706" y="10163"/>
                  </a:lnTo>
                  <a:close/>
                </a:path>
              </a:pathLst>
            </a:custGeom>
            <a:solidFill>
              <a:srgbClr val="000000"/>
            </a:solidFill>
            <a:ln w="12688"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DFDFF341-2739-4C99-9C5C-569C83E70F76}"/>
                </a:ext>
              </a:extLst>
            </p:cNvPr>
            <p:cNvSpPr/>
            <p:nvPr/>
          </p:nvSpPr>
          <p:spPr>
            <a:xfrm>
              <a:off x="213409" y="4081489"/>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2313073C-324F-46D3-8666-A2C2B97E3629}"/>
                </a:ext>
              </a:extLst>
            </p:cNvPr>
            <p:cNvSpPr/>
            <p:nvPr/>
          </p:nvSpPr>
          <p:spPr>
            <a:xfrm>
              <a:off x="214679" y="4084347"/>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cubicBezTo>
                    <a:pt x="0" y="-318"/>
                    <a:pt x="0" y="-318"/>
                    <a:pt x="0" y="953"/>
                  </a:cubicBezTo>
                  <a:lnTo>
                    <a:pt x="0" y="953"/>
                  </a:lnTo>
                  <a:close/>
                </a:path>
              </a:pathLst>
            </a:custGeom>
            <a:solidFill>
              <a:srgbClr val="000000"/>
            </a:solidFill>
            <a:ln w="12688"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DD7AB5F9-0095-4EDD-BE7B-2A0D60DBFCC7}"/>
                </a:ext>
              </a:extLst>
            </p:cNvPr>
            <p:cNvSpPr/>
            <p:nvPr/>
          </p:nvSpPr>
          <p:spPr>
            <a:xfrm>
              <a:off x="2391961" y="6719912"/>
              <a:ext cx="22865" cy="134652"/>
            </a:xfrm>
            <a:custGeom>
              <a:avLst/>
              <a:gdLst>
                <a:gd name="connsiteX0" fmla="*/ 11433 w 22865"/>
                <a:gd name="connsiteY0" fmla="*/ 2541 h 134652"/>
                <a:gd name="connsiteX1" fmla="*/ 0 w 22865"/>
                <a:gd name="connsiteY1" fmla="*/ 11433 h 134652"/>
                <a:gd name="connsiteX2" fmla="*/ 7622 w 22865"/>
                <a:gd name="connsiteY2" fmla="*/ 134652 h 134652"/>
                <a:gd name="connsiteX3" fmla="*/ 22865 w 22865"/>
                <a:gd name="connsiteY3" fmla="*/ 134652 h 134652"/>
                <a:gd name="connsiteX4" fmla="*/ 13973 w 22865"/>
                <a:gd name="connsiteY4" fmla="*/ 0 h 13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5" h="134652">
                  <a:moveTo>
                    <a:pt x="11433" y="2541"/>
                  </a:moveTo>
                  <a:lnTo>
                    <a:pt x="0" y="11433"/>
                  </a:lnTo>
                  <a:lnTo>
                    <a:pt x="7622" y="134652"/>
                  </a:lnTo>
                  <a:lnTo>
                    <a:pt x="22865" y="134652"/>
                  </a:lnTo>
                  <a:lnTo>
                    <a:pt x="13973" y="0"/>
                  </a:lnTo>
                  <a:close/>
                </a:path>
              </a:pathLst>
            </a:custGeom>
            <a:solidFill>
              <a:srgbClr val="000000"/>
            </a:solidFill>
            <a:ln w="12688"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77A5FDB7-5688-4E1E-982C-39D270D14FC7}"/>
                </a:ext>
              </a:extLst>
            </p:cNvPr>
            <p:cNvSpPr/>
            <p:nvPr/>
          </p:nvSpPr>
          <p:spPr>
            <a:xfrm>
              <a:off x="1744112" y="6468392"/>
              <a:ext cx="651660" cy="248979"/>
            </a:xfrm>
            <a:custGeom>
              <a:avLst/>
              <a:gdLst>
                <a:gd name="connsiteX0" fmla="*/ 15243 w 651660"/>
                <a:gd name="connsiteY0" fmla="*/ 5081 h 248979"/>
                <a:gd name="connsiteX1" fmla="*/ 2541 w 651660"/>
                <a:gd name="connsiteY1" fmla="*/ 0 h 248979"/>
                <a:gd name="connsiteX2" fmla="*/ 1270 w 651660"/>
                <a:gd name="connsiteY2" fmla="*/ 0 h 248979"/>
                <a:gd name="connsiteX3" fmla="*/ 5081 w 651660"/>
                <a:gd name="connsiteY3" fmla="*/ 2540 h 248979"/>
                <a:gd name="connsiteX4" fmla="*/ 3811 w 651660"/>
                <a:gd name="connsiteY4" fmla="*/ 12703 h 248979"/>
                <a:gd name="connsiteX5" fmla="*/ 3811 w 651660"/>
                <a:gd name="connsiteY5" fmla="*/ 12703 h 248979"/>
                <a:gd name="connsiteX6" fmla="*/ 0 w 651660"/>
                <a:gd name="connsiteY6" fmla="*/ 15243 h 248979"/>
                <a:gd name="connsiteX7" fmla="*/ 637687 w 651660"/>
                <a:gd name="connsiteY7" fmla="*/ 248979 h 248979"/>
                <a:gd name="connsiteX8" fmla="*/ 647849 w 651660"/>
                <a:gd name="connsiteY8" fmla="*/ 240087 h 248979"/>
                <a:gd name="connsiteX9" fmla="*/ 651660 w 651660"/>
                <a:gd name="connsiteY9" fmla="*/ 237547 h 248979"/>
                <a:gd name="connsiteX10" fmla="*/ 15243 w 651660"/>
                <a:gd name="connsiteY10" fmla="*/ 5081 h 2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1660" h="248979">
                  <a:moveTo>
                    <a:pt x="15243" y="5081"/>
                  </a:moveTo>
                  <a:lnTo>
                    <a:pt x="2541" y="0"/>
                  </a:lnTo>
                  <a:lnTo>
                    <a:pt x="1270" y="0"/>
                  </a:lnTo>
                  <a:cubicBezTo>
                    <a:pt x="2541" y="0"/>
                    <a:pt x="3811" y="1270"/>
                    <a:pt x="5081" y="2540"/>
                  </a:cubicBezTo>
                  <a:cubicBezTo>
                    <a:pt x="7622" y="6352"/>
                    <a:pt x="6351" y="10162"/>
                    <a:pt x="3811" y="12703"/>
                  </a:cubicBezTo>
                  <a:cubicBezTo>
                    <a:pt x="3811" y="12703"/>
                    <a:pt x="3811" y="12703"/>
                    <a:pt x="3811" y="12703"/>
                  </a:cubicBezTo>
                  <a:lnTo>
                    <a:pt x="0" y="15243"/>
                  </a:lnTo>
                  <a:lnTo>
                    <a:pt x="637687" y="248979"/>
                  </a:lnTo>
                  <a:lnTo>
                    <a:pt x="647849" y="240087"/>
                  </a:lnTo>
                  <a:lnTo>
                    <a:pt x="651660" y="237547"/>
                  </a:lnTo>
                  <a:lnTo>
                    <a:pt x="15243" y="5081"/>
                  </a:lnTo>
                  <a:close/>
                </a:path>
              </a:pathLst>
            </a:custGeom>
            <a:solidFill>
              <a:srgbClr val="000000"/>
            </a:solidFill>
            <a:ln w="12688"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25AF96D8-DC69-4D47-B49C-343ACA803C09}"/>
                </a:ext>
              </a:extLst>
            </p:cNvPr>
            <p:cNvSpPr/>
            <p:nvPr/>
          </p:nvSpPr>
          <p:spPr>
            <a:xfrm>
              <a:off x="1235995" y="6469662"/>
              <a:ext cx="514968" cy="386172"/>
            </a:xfrm>
            <a:custGeom>
              <a:avLst/>
              <a:gdLst>
                <a:gd name="connsiteX0" fmla="*/ 511928 w 514968"/>
                <a:gd name="connsiteY0" fmla="*/ 12703 h 386172"/>
                <a:gd name="connsiteX1" fmla="*/ 513198 w 514968"/>
                <a:gd name="connsiteY1" fmla="*/ 2541 h 386172"/>
                <a:gd name="connsiteX2" fmla="*/ 513198 w 514968"/>
                <a:gd name="connsiteY2" fmla="*/ 2541 h 386172"/>
                <a:gd name="connsiteX3" fmla="*/ 509387 w 514968"/>
                <a:gd name="connsiteY3" fmla="*/ 0 h 386172"/>
                <a:gd name="connsiteX4" fmla="*/ 508117 w 514968"/>
                <a:gd name="connsiteY4" fmla="*/ 0 h 386172"/>
                <a:gd name="connsiteX5" fmla="*/ 506847 w 514968"/>
                <a:gd name="connsiteY5" fmla="*/ 0 h 386172"/>
                <a:gd name="connsiteX6" fmla="*/ 505577 w 514968"/>
                <a:gd name="connsiteY6" fmla="*/ 0 h 386172"/>
                <a:gd name="connsiteX7" fmla="*/ 504306 w 514968"/>
                <a:gd name="connsiteY7" fmla="*/ 1270 h 386172"/>
                <a:gd name="connsiteX8" fmla="*/ 503036 w 514968"/>
                <a:gd name="connsiteY8" fmla="*/ 1270 h 386172"/>
                <a:gd name="connsiteX9" fmla="*/ 503036 w 514968"/>
                <a:gd name="connsiteY9" fmla="*/ 1270 h 386172"/>
                <a:gd name="connsiteX10" fmla="*/ 0 w 514968"/>
                <a:gd name="connsiteY10" fmla="*/ 386173 h 386172"/>
                <a:gd name="connsiteX11" fmla="*/ 25406 w 514968"/>
                <a:gd name="connsiteY11" fmla="*/ 386173 h 386172"/>
                <a:gd name="connsiteX12" fmla="*/ 510658 w 514968"/>
                <a:gd name="connsiteY12" fmla="*/ 16514 h 386172"/>
                <a:gd name="connsiteX13" fmla="*/ 511928 w 514968"/>
                <a:gd name="connsiteY13" fmla="*/ 12703 h 38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68" h="386172">
                  <a:moveTo>
                    <a:pt x="511928" y="12703"/>
                  </a:moveTo>
                  <a:cubicBezTo>
                    <a:pt x="515739" y="10163"/>
                    <a:pt x="515739" y="5082"/>
                    <a:pt x="513198" y="2541"/>
                  </a:cubicBezTo>
                  <a:cubicBezTo>
                    <a:pt x="513198" y="2541"/>
                    <a:pt x="513198" y="2541"/>
                    <a:pt x="513198" y="2541"/>
                  </a:cubicBezTo>
                  <a:cubicBezTo>
                    <a:pt x="511928" y="1270"/>
                    <a:pt x="510658" y="0"/>
                    <a:pt x="509387" y="0"/>
                  </a:cubicBezTo>
                  <a:lnTo>
                    <a:pt x="508117" y="0"/>
                  </a:lnTo>
                  <a:lnTo>
                    <a:pt x="506847" y="0"/>
                  </a:lnTo>
                  <a:lnTo>
                    <a:pt x="505577" y="0"/>
                  </a:lnTo>
                  <a:lnTo>
                    <a:pt x="504306" y="1270"/>
                  </a:lnTo>
                  <a:lnTo>
                    <a:pt x="503036" y="1270"/>
                  </a:lnTo>
                  <a:lnTo>
                    <a:pt x="503036" y="1270"/>
                  </a:lnTo>
                  <a:lnTo>
                    <a:pt x="0" y="386173"/>
                  </a:lnTo>
                  <a:lnTo>
                    <a:pt x="25406" y="386173"/>
                  </a:lnTo>
                  <a:lnTo>
                    <a:pt x="510658" y="16514"/>
                  </a:lnTo>
                  <a:lnTo>
                    <a:pt x="511928" y="12703"/>
                  </a:lnTo>
                  <a:close/>
                </a:path>
              </a:pathLst>
            </a:custGeom>
            <a:solidFill>
              <a:srgbClr val="000000"/>
            </a:solidFill>
            <a:ln w="12688"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14A40102-4135-432B-A93C-34D4833B5691}"/>
                </a:ext>
              </a:extLst>
            </p:cNvPr>
            <p:cNvSpPr/>
            <p:nvPr/>
          </p:nvSpPr>
          <p:spPr>
            <a:xfrm>
              <a:off x="3785473" y="5569016"/>
              <a:ext cx="35568" cy="33028"/>
            </a:xfrm>
            <a:custGeom>
              <a:avLst/>
              <a:gdLst>
                <a:gd name="connsiteX0" fmla="*/ 30487 w 35568"/>
                <a:gd name="connsiteY0" fmla="*/ 5081 h 33028"/>
                <a:gd name="connsiteX1" fmla="*/ 20325 w 35568"/>
                <a:gd name="connsiteY1" fmla="*/ 1270 h 33028"/>
                <a:gd name="connsiteX2" fmla="*/ 20325 w 35568"/>
                <a:gd name="connsiteY2" fmla="*/ 1270 h 33028"/>
                <a:gd name="connsiteX3" fmla="*/ 16514 w 35568"/>
                <a:gd name="connsiteY3" fmla="*/ 0 h 33028"/>
                <a:gd name="connsiteX4" fmla="*/ 0 w 35568"/>
                <a:gd name="connsiteY4" fmla="*/ 12703 h 33028"/>
                <a:gd name="connsiteX5" fmla="*/ 0 w 35568"/>
                <a:gd name="connsiteY5" fmla="*/ 16514 h 33028"/>
                <a:gd name="connsiteX6" fmla="*/ 0 w 35568"/>
                <a:gd name="connsiteY6" fmla="*/ 16514 h 33028"/>
                <a:gd name="connsiteX7" fmla="*/ 0 w 35568"/>
                <a:gd name="connsiteY7" fmla="*/ 27947 h 33028"/>
                <a:gd name="connsiteX8" fmla="*/ 0 w 35568"/>
                <a:gd name="connsiteY8" fmla="*/ 33028 h 33028"/>
                <a:gd name="connsiteX9" fmla="*/ 35568 w 35568"/>
                <a:gd name="connsiteY9" fmla="*/ 3811 h 33028"/>
                <a:gd name="connsiteX10" fmla="*/ 35568 w 35568"/>
                <a:gd name="connsiteY10" fmla="*/ 3811 h 33028"/>
                <a:gd name="connsiteX11" fmla="*/ 30487 w 35568"/>
                <a:gd name="connsiteY11" fmla="*/ 5081 h 3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68" h="33028">
                  <a:moveTo>
                    <a:pt x="30487" y="5081"/>
                  </a:moveTo>
                  <a:lnTo>
                    <a:pt x="20325" y="1270"/>
                  </a:lnTo>
                  <a:lnTo>
                    <a:pt x="20325" y="1270"/>
                  </a:lnTo>
                  <a:lnTo>
                    <a:pt x="16514" y="0"/>
                  </a:lnTo>
                  <a:lnTo>
                    <a:pt x="0" y="12703"/>
                  </a:lnTo>
                  <a:lnTo>
                    <a:pt x="0" y="16514"/>
                  </a:lnTo>
                  <a:lnTo>
                    <a:pt x="0" y="16514"/>
                  </a:lnTo>
                  <a:lnTo>
                    <a:pt x="0" y="27947"/>
                  </a:lnTo>
                  <a:lnTo>
                    <a:pt x="0" y="33028"/>
                  </a:lnTo>
                  <a:lnTo>
                    <a:pt x="35568" y="3811"/>
                  </a:lnTo>
                  <a:lnTo>
                    <a:pt x="35568" y="3811"/>
                  </a:lnTo>
                  <a:cubicBezTo>
                    <a:pt x="34298" y="5081"/>
                    <a:pt x="33028" y="6352"/>
                    <a:pt x="30487" y="5081"/>
                  </a:cubicBezTo>
                  <a:close/>
                </a:path>
              </a:pathLst>
            </a:custGeom>
            <a:solidFill>
              <a:srgbClr val="000000"/>
            </a:solidFill>
            <a:ln w="12688"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C29C6D6A-F49E-4622-87CD-64DFC758C9DE}"/>
                </a:ext>
              </a:extLst>
            </p:cNvPr>
            <p:cNvSpPr/>
            <p:nvPr/>
          </p:nvSpPr>
          <p:spPr>
            <a:xfrm>
              <a:off x="3823581" y="5562664"/>
              <a:ext cx="564" cy="12703"/>
            </a:xfrm>
            <a:custGeom>
              <a:avLst/>
              <a:gdLst>
                <a:gd name="connsiteX0" fmla="*/ 0 w 564"/>
                <a:gd name="connsiteY0" fmla="*/ 0 h 12703"/>
                <a:gd name="connsiteX1" fmla="*/ 0 w 564"/>
                <a:gd name="connsiteY1" fmla="*/ 0 h 12703"/>
                <a:gd name="connsiteX2" fmla="*/ 0 w 564"/>
                <a:gd name="connsiteY2" fmla="*/ 0 h 12703"/>
                <a:gd name="connsiteX3" fmla="*/ 0 w 564"/>
                <a:gd name="connsiteY3" fmla="*/ 0 h 12703"/>
              </a:gdLst>
              <a:ahLst/>
              <a:cxnLst>
                <a:cxn ang="0">
                  <a:pos x="connsiteX0" y="connsiteY0"/>
                </a:cxn>
                <a:cxn ang="0">
                  <a:pos x="connsiteX1" y="connsiteY1"/>
                </a:cxn>
                <a:cxn ang="0">
                  <a:pos x="connsiteX2" y="connsiteY2"/>
                </a:cxn>
                <a:cxn ang="0">
                  <a:pos x="connsiteX3" y="connsiteY3"/>
                </a:cxn>
              </a:cxnLst>
              <a:rect l="l" t="t" r="r" b="b"/>
              <a:pathLst>
                <a:path w="564" h="12703">
                  <a:moveTo>
                    <a:pt x="0" y="0"/>
                  </a:moveTo>
                  <a:lnTo>
                    <a:pt x="0" y="0"/>
                  </a:lnTo>
                  <a:lnTo>
                    <a:pt x="0" y="0"/>
                  </a:lnTo>
                  <a:cubicBezTo>
                    <a:pt x="1270" y="0"/>
                    <a:pt x="0" y="0"/>
                    <a:pt x="0" y="0"/>
                  </a:cubicBezTo>
                  <a:close/>
                </a:path>
              </a:pathLst>
            </a:custGeom>
            <a:solidFill>
              <a:srgbClr val="000000"/>
            </a:solidFill>
            <a:ln w="12688"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A38C0947-F9FD-4556-9A4F-2CBB7F07F5BB}"/>
                </a:ext>
              </a:extLst>
            </p:cNvPr>
            <p:cNvSpPr/>
            <p:nvPr/>
          </p:nvSpPr>
          <p:spPr>
            <a:xfrm>
              <a:off x="2393231" y="6707209"/>
              <a:ext cx="12702" cy="13973"/>
            </a:xfrm>
            <a:custGeom>
              <a:avLst/>
              <a:gdLst>
                <a:gd name="connsiteX0" fmla="*/ 3811 w 12702"/>
                <a:gd name="connsiteY0" fmla="*/ 0 h 13973"/>
                <a:gd name="connsiteX1" fmla="*/ 0 w 12702"/>
                <a:gd name="connsiteY1" fmla="*/ 2541 h 13973"/>
                <a:gd name="connsiteX2" fmla="*/ 10162 w 12702"/>
                <a:gd name="connsiteY2" fmla="*/ 2541 h 13973"/>
                <a:gd name="connsiteX3" fmla="*/ 10162 w 12702"/>
                <a:gd name="connsiteY3" fmla="*/ 12703 h 13973"/>
                <a:gd name="connsiteX4" fmla="*/ 8892 w 12702"/>
                <a:gd name="connsiteY4" fmla="*/ 13973 h 13973"/>
                <a:gd name="connsiteX5" fmla="*/ 12703 w 12702"/>
                <a:gd name="connsiteY5" fmla="*/ 11433 h 13973"/>
                <a:gd name="connsiteX6" fmla="*/ 12703 w 12702"/>
                <a:gd name="connsiteY6" fmla="*/ 11433 h 13973"/>
                <a:gd name="connsiteX7" fmla="*/ 12703 w 12702"/>
                <a:gd name="connsiteY7" fmla="*/ 1270 h 13973"/>
                <a:gd name="connsiteX8" fmla="*/ 3811 w 12702"/>
                <a:gd name="connsiteY8" fmla="*/ 0 h 13973"/>
                <a:gd name="connsiteX9" fmla="*/ 3811 w 12702"/>
                <a:gd name="connsiteY9" fmla="*/ 0 h 13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02" h="13973">
                  <a:moveTo>
                    <a:pt x="3811" y="0"/>
                  </a:moveTo>
                  <a:lnTo>
                    <a:pt x="0" y="2541"/>
                  </a:lnTo>
                  <a:cubicBezTo>
                    <a:pt x="2541" y="0"/>
                    <a:pt x="7622" y="0"/>
                    <a:pt x="10162" y="2541"/>
                  </a:cubicBezTo>
                  <a:cubicBezTo>
                    <a:pt x="12703" y="5082"/>
                    <a:pt x="12703" y="10162"/>
                    <a:pt x="10162" y="12703"/>
                  </a:cubicBezTo>
                  <a:cubicBezTo>
                    <a:pt x="10162" y="12703"/>
                    <a:pt x="8892" y="13973"/>
                    <a:pt x="8892" y="13973"/>
                  </a:cubicBezTo>
                  <a:lnTo>
                    <a:pt x="12703" y="11433"/>
                  </a:lnTo>
                  <a:lnTo>
                    <a:pt x="12703" y="11433"/>
                  </a:lnTo>
                  <a:lnTo>
                    <a:pt x="12703" y="1270"/>
                  </a:lnTo>
                  <a:lnTo>
                    <a:pt x="3811" y="0"/>
                  </a:lnTo>
                  <a:lnTo>
                    <a:pt x="3811" y="0"/>
                  </a:lnTo>
                  <a:close/>
                </a:path>
              </a:pathLst>
            </a:custGeom>
            <a:solidFill>
              <a:srgbClr val="000000"/>
            </a:solidFill>
            <a:ln w="12688"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19E2F490-19C2-478B-BD21-F34CEA204C2C}"/>
                </a:ext>
              </a:extLst>
            </p:cNvPr>
            <p:cNvSpPr/>
            <p:nvPr/>
          </p:nvSpPr>
          <p:spPr>
            <a:xfrm>
              <a:off x="2421178" y="6702445"/>
              <a:ext cx="12702" cy="953"/>
            </a:xfrm>
            <a:custGeom>
              <a:avLst/>
              <a:gdLst>
                <a:gd name="connsiteX0" fmla="*/ 0 w 12702"/>
                <a:gd name="connsiteY0" fmla="*/ 953 h 953"/>
                <a:gd name="connsiteX1" fmla="*/ 0 w 12702"/>
                <a:gd name="connsiteY1" fmla="*/ 953 h 953"/>
                <a:gd name="connsiteX2" fmla="*/ 0 w 12702"/>
                <a:gd name="connsiteY2" fmla="*/ 953 h 953"/>
              </a:gdLst>
              <a:ahLst/>
              <a:cxnLst>
                <a:cxn ang="0">
                  <a:pos x="connsiteX0" y="connsiteY0"/>
                </a:cxn>
                <a:cxn ang="0">
                  <a:pos x="connsiteX1" y="connsiteY1"/>
                </a:cxn>
                <a:cxn ang="0">
                  <a:pos x="connsiteX2" y="connsiteY2"/>
                </a:cxn>
              </a:cxnLst>
              <a:rect l="l" t="t" r="r" b="b"/>
              <a:pathLst>
                <a:path w="12702" h="953">
                  <a:moveTo>
                    <a:pt x="0" y="953"/>
                  </a:moveTo>
                  <a:lnTo>
                    <a:pt x="0" y="953"/>
                  </a:lnTo>
                  <a:cubicBezTo>
                    <a:pt x="0" y="-318"/>
                    <a:pt x="0" y="-318"/>
                    <a:pt x="0" y="953"/>
                  </a:cubicBezTo>
                  <a:close/>
                </a:path>
              </a:pathLst>
            </a:custGeom>
            <a:solidFill>
              <a:srgbClr val="000000"/>
            </a:solidFill>
            <a:ln w="12688"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5E252CAE-B574-462D-807C-F3A5C7DEA82B}"/>
                </a:ext>
              </a:extLst>
            </p:cNvPr>
            <p:cNvSpPr/>
            <p:nvPr/>
          </p:nvSpPr>
          <p:spPr>
            <a:xfrm>
              <a:off x="2416097" y="6697047"/>
              <a:ext cx="1270" cy="1269"/>
            </a:xfrm>
            <a:custGeom>
              <a:avLst/>
              <a:gdLst>
                <a:gd name="connsiteX0" fmla="*/ 1270 w 1270"/>
                <a:gd name="connsiteY0" fmla="*/ 1270 h 1269"/>
                <a:gd name="connsiteX1" fmla="*/ 0 w 1270"/>
                <a:gd name="connsiteY1" fmla="*/ 0 h 1269"/>
                <a:gd name="connsiteX2" fmla="*/ 1270 w 1270"/>
                <a:gd name="connsiteY2" fmla="*/ 1270 h 1269"/>
                <a:gd name="connsiteX3" fmla="*/ 1270 w 1270"/>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 h="1269">
                  <a:moveTo>
                    <a:pt x="1270" y="1270"/>
                  </a:moveTo>
                  <a:lnTo>
                    <a:pt x="0" y="0"/>
                  </a:lnTo>
                  <a:lnTo>
                    <a:pt x="1270" y="1270"/>
                  </a:lnTo>
                  <a:lnTo>
                    <a:pt x="1270" y="1270"/>
                  </a:lnTo>
                  <a:close/>
                </a:path>
              </a:pathLst>
            </a:custGeom>
            <a:solidFill>
              <a:srgbClr val="000000"/>
            </a:solidFill>
            <a:ln w="12688"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C045A725-A1AD-4335-AE5D-0E81EAE1E8FB}"/>
                </a:ext>
              </a:extLst>
            </p:cNvPr>
            <p:cNvSpPr/>
            <p:nvPr/>
          </p:nvSpPr>
          <p:spPr>
            <a:xfrm>
              <a:off x="2419908" y="670085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cubicBezTo>
                    <a:pt x="0" y="0"/>
                    <a:pt x="0" y="0"/>
                    <a:pt x="0" y="0"/>
                  </a:cubicBez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D26C4433-3D92-41F1-8DA9-E8B65D6CDDF9}"/>
                </a:ext>
              </a:extLst>
            </p:cNvPr>
            <p:cNvSpPr/>
            <p:nvPr/>
          </p:nvSpPr>
          <p:spPr>
            <a:xfrm>
              <a:off x="2211580" y="6708428"/>
              <a:ext cx="194406" cy="147407"/>
            </a:xfrm>
            <a:custGeom>
              <a:avLst/>
              <a:gdLst>
                <a:gd name="connsiteX0" fmla="*/ 190544 w 194406"/>
                <a:gd name="connsiteY0" fmla="*/ 14025 h 147407"/>
                <a:gd name="connsiteX1" fmla="*/ 193085 w 194406"/>
                <a:gd name="connsiteY1" fmla="*/ 3863 h 147407"/>
                <a:gd name="connsiteX2" fmla="*/ 182922 w 194406"/>
                <a:gd name="connsiteY2" fmla="*/ 1322 h 147407"/>
                <a:gd name="connsiteX3" fmla="*/ 181652 w 194406"/>
                <a:gd name="connsiteY3" fmla="*/ 2592 h 147407"/>
                <a:gd name="connsiteX4" fmla="*/ 171490 w 194406"/>
                <a:gd name="connsiteY4" fmla="*/ 11484 h 147407"/>
                <a:gd name="connsiteX5" fmla="*/ 0 w 194406"/>
                <a:gd name="connsiteY5" fmla="*/ 147407 h 147407"/>
                <a:gd name="connsiteX6" fmla="*/ 24135 w 194406"/>
                <a:gd name="connsiteY6" fmla="*/ 147407 h 147407"/>
                <a:gd name="connsiteX7" fmla="*/ 179111 w 194406"/>
                <a:gd name="connsiteY7" fmla="*/ 24187 h 147407"/>
                <a:gd name="connsiteX8" fmla="*/ 190544 w 194406"/>
                <a:gd name="connsiteY8" fmla="*/ 14025 h 14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06" h="147407">
                  <a:moveTo>
                    <a:pt x="190544" y="14025"/>
                  </a:moveTo>
                  <a:cubicBezTo>
                    <a:pt x="194355" y="11484"/>
                    <a:pt x="195625" y="7673"/>
                    <a:pt x="193085" y="3863"/>
                  </a:cubicBezTo>
                  <a:cubicBezTo>
                    <a:pt x="190544" y="51"/>
                    <a:pt x="186733" y="-1219"/>
                    <a:pt x="182922" y="1322"/>
                  </a:cubicBezTo>
                  <a:cubicBezTo>
                    <a:pt x="182922" y="1322"/>
                    <a:pt x="181652" y="1322"/>
                    <a:pt x="181652" y="2592"/>
                  </a:cubicBezTo>
                  <a:lnTo>
                    <a:pt x="171490" y="11484"/>
                  </a:lnTo>
                  <a:lnTo>
                    <a:pt x="0" y="147407"/>
                  </a:lnTo>
                  <a:lnTo>
                    <a:pt x="24135" y="147407"/>
                  </a:lnTo>
                  <a:lnTo>
                    <a:pt x="179111" y="24187"/>
                  </a:lnTo>
                  <a:lnTo>
                    <a:pt x="190544" y="14025"/>
                  </a:lnTo>
                  <a:close/>
                </a:path>
              </a:pathLst>
            </a:custGeom>
            <a:solidFill>
              <a:srgbClr val="000000"/>
            </a:solidFill>
            <a:ln w="12688"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1A4B541C-EE16-4C85-9550-2771C039E95F}"/>
                </a:ext>
              </a:extLst>
            </p:cNvPr>
            <p:cNvSpPr/>
            <p:nvPr/>
          </p:nvSpPr>
          <p:spPr>
            <a:xfrm>
              <a:off x="1073397" y="6194006"/>
              <a:ext cx="16513" cy="24135"/>
            </a:xfrm>
            <a:custGeom>
              <a:avLst/>
              <a:gdLst>
                <a:gd name="connsiteX0" fmla="*/ 16514 w 16513"/>
                <a:gd name="connsiteY0" fmla="*/ 17784 h 24135"/>
                <a:gd name="connsiteX1" fmla="*/ 15243 w 16513"/>
                <a:gd name="connsiteY1" fmla="*/ 8892 h 24135"/>
                <a:gd name="connsiteX2" fmla="*/ 3811 w 16513"/>
                <a:gd name="connsiteY2" fmla="*/ 5081 h 24135"/>
                <a:gd name="connsiteX3" fmla="*/ 3811 w 16513"/>
                <a:gd name="connsiteY3" fmla="*/ 5081 h 24135"/>
                <a:gd name="connsiteX4" fmla="*/ 2541 w 16513"/>
                <a:gd name="connsiteY4" fmla="*/ 3811 h 24135"/>
                <a:gd name="connsiteX5" fmla="*/ 1270 w 16513"/>
                <a:gd name="connsiteY5" fmla="*/ 2540 h 24135"/>
                <a:gd name="connsiteX6" fmla="*/ 1270 w 16513"/>
                <a:gd name="connsiteY6" fmla="*/ 2540 h 24135"/>
                <a:gd name="connsiteX7" fmla="*/ 1270 w 16513"/>
                <a:gd name="connsiteY7" fmla="*/ 2540 h 24135"/>
                <a:gd name="connsiteX8" fmla="*/ 0 w 16513"/>
                <a:gd name="connsiteY8" fmla="*/ 1270 h 24135"/>
                <a:gd name="connsiteX9" fmla="*/ 0 w 16513"/>
                <a:gd name="connsiteY9" fmla="*/ 0 h 24135"/>
                <a:gd name="connsiteX10" fmla="*/ 0 w 16513"/>
                <a:gd name="connsiteY10" fmla="*/ 0 h 24135"/>
                <a:gd name="connsiteX11" fmla="*/ 0 w 16513"/>
                <a:gd name="connsiteY11" fmla="*/ 0 h 24135"/>
                <a:gd name="connsiteX12" fmla="*/ 2541 w 16513"/>
                <a:gd name="connsiteY12" fmla="*/ 24136 h 24135"/>
                <a:gd name="connsiteX13" fmla="*/ 2541 w 16513"/>
                <a:gd name="connsiteY13" fmla="*/ 22865 h 24135"/>
                <a:gd name="connsiteX14" fmla="*/ 2541 w 16513"/>
                <a:gd name="connsiteY14" fmla="*/ 21595 h 24135"/>
                <a:gd name="connsiteX15" fmla="*/ 2541 w 16513"/>
                <a:gd name="connsiteY15" fmla="*/ 21595 h 24135"/>
                <a:gd name="connsiteX16" fmla="*/ 3811 w 16513"/>
                <a:gd name="connsiteY16" fmla="*/ 20325 h 24135"/>
                <a:gd name="connsiteX17" fmla="*/ 3811 w 16513"/>
                <a:gd name="connsiteY17" fmla="*/ 19055 h 24135"/>
                <a:gd name="connsiteX18" fmla="*/ 5081 w 16513"/>
                <a:gd name="connsiteY18" fmla="*/ 17784 h 24135"/>
                <a:gd name="connsiteX19" fmla="*/ 6351 w 16513"/>
                <a:gd name="connsiteY19" fmla="*/ 17784 h 24135"/>
                <a:gd name="connsiteX20" fmla="*/ 7622 w 16513"/>
                <a:gd name="connsiteY20" fmla="*/ 17784 h 24135"/>
                <a:gd name="connsiteX21" fmla="*/ 8892 w 16513"/>
                <a:gd name="connsiteY21" fmla="*/ 17784 h 24135"/>
                <a:gd name="connsiteX22" fmla="*/ 10162 w 16513"/>
                <a:gd name="connsiteY22" fmla="*/ 17784 h 24135"/>
                <a:gd name="connsiteX23" fmla="*/ 11433 w 16513"/>
                <a:gd name="connsiteY23" fmla="*/ 17784 h 24135"/>
                <a:gd name="connsiteX24" fmla="*/ 11433 w 16513"/>
                <a:gd name="connsiteY24" fmla="*/ 17784 h 24135"/>
                <a:gd name="connsiteX25" fmla="*/ 16514 w 16513"/>
                <a:gd name="connsiteY25" fmla="*/ 17784 h 2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513" h="24135">
                  <a:moveTo>
                    <a:pt x="16514" y="17784"/>
                  </a:moveTo>
                  <a:lnTo>
                    <a:pt x="15243" y="8892"/>
                  </a:lnTo>
                  <a:lnTo>
                    <a:pt x="3811" y="5081"/>
                  </a:lnTo>
                  <a:lnTo>
                    <a:pt x="3811" y="5081"/>
                  </a:lnTo>
                  <a:lnTo>
                    <a:pt x="2541" y="3811"/>
                  </a:lnTo>
                  <a:cubicBezTo>
                    <a:pt x="2541" y="3811"/>
                    <a:pt x="1270" y="2540"/>
                    <a:pt x="1270" y="2540"/>
                  </a:cubicBezTo>
                  <a:lnTo>
                    <a:pt x="1270" y="2540"/>
                  </a:lnTo>
                  <a:lnTo>
                    <a:pt x="1270" y="2540"/>
                  </a:lnTo>
                  <a:cubicBezTo>
                    <a:pt x="1270" y="2540"/>
                    <a:pt x="1270" y="1270"/>
                    <a:pt x="0" y="1270"/>
                  </a:cubicBezTo>
                  <a:cubicBezTo>
                    <a:pt x="0" y="1270"/>
                    <a:pt x="0" y="0"/>
                    <a:pt x="0" y="0"/>
                  </a:cubicBezTo>
                  <a:lnTo>
                    <a:pt x="0" y="0"/>
                  </a:lnTo>
                  <a:lnTo>
                    <a:pt x="0" y="0"/>
                  </a:lnTo>
                  <a:lnTo>
                    <a:pt x="2541" y="24136"/>
                  </a:lnTo>
                  <a:cubicBezTo>
                    <a:pt x="2541" y="24136"/>
                    <a:pt x="2541" y="22865"/>
                    <a:pt x="2541" y="22865"/>
                  </a:cubicBezTo>
                  <a:cubicBezTo>
                    <a:pt x="2541" y="22865"/>
                    <a:pt x="2541" y="21595"/>
                    <a:pt x="2541" y="21595"/>
                  </a:cubicBezTo>
                  <a:lnTo>
                    <a:pt x="2541" y="21595"/>
                  </a:lnTo>
                  <a:cubicBezTo>
                    <a:pt x="2541" y="21595"/>
                    <a:pt x="2541" y="20325"/>
                    <a:pt x="3811" y="20325"/>
                  </a:cubicBezTo>
                  <a:cubicBezTo>
                    <a:pt x="3811" y="20325"/>
                    <a:pt x="3811" y="19055"/>
                    <a:pt x="3811" y="19055"/>
                  </a:cubicBezTo>
                  <a:lnTo>
                    <a:pt x="5081" y="17784"/>
                  </a:lnTo>
                  <a:lnTo>
                    <a:pt x="6351" y="17784"/>
                  </a:lnTo>
                  <a:lnTo>
                    <a:pt x="7622" y="17784"/>
                  </a:lnTo>
                  <a:lnTo>
                    <a:pt x="8892" y="17784"/>
                  </a:lnTo>
                  <a:lnTo>
                    <a:pt x="10162" y="17784"/>
                  </a:lnTo>
                  <a:lnTo>
                    <a:pt x="11433" y="17784"/>
                  </a:lnTo>
                  <a:lnTo>
                    <a:pt x="11433" y="17784"/>
                  </a:lnTo>
                  <a:lnTo>
                    <a:pt x="16514" y="17784"/>
                  </a:lnTo>
                  <a:close/>
                </a:path>
              </a:pathLst>
            </a:custGeom>
            <a:solidFill>
              <a:srgbClr val="000000"/>
            </a:solidFill>
            <a:ln w="12688"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90648C37-ADA7-4B69-9996-E53261CB9BA9}"/>
                </a:ext>
              </a:extLst>
            </p:cNvPr>
            <p:cNvSpPr/>
            <p:nvPr/>
          </p:nvSpPr>
          <p:spPr>
            <a:xfrm>
              <a:off x="1073397" y="619019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94C61DED-9EAE-49FF-80AC-9609ADD8E778}"/>
                </a:ext>
              </a:extLst>
            </p:cNvPr>
            <p:cNvSpPr/>
            <p:nvPr/>
          </p:nvSpPr>
          <p:spPr>
            <a:xfrm>
              <a:off x="1075938" y="6218142"/>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3C636F8A-FB25-46D2-B878-98A59C246821}"/>
                </a:ext>
              </a:extLst>
            </p:cNvPr>
            <p:cNvSpPr/>
            <p:nvPr/>
          </p:nvSpPr>
          <p:spPr>
            <a:xfrm>
              <a:off x="1074667" y="618765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4F1CFA52-C837-463B-887A-CEA21F0F9FFD}"/>
                </a:ext>
              </a:extLst>
            </p:cNvPr>
            <p:cNvSpPr/>
            <p:nvPr/>
          </p:nvSpPr>
          <p:spPr>
            <a:xfrm>
              <a:off x="1074667" y="619654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57028251-4167-4BD8-B7DB-B0A76A565CBC}"/>
                </a:ext>
              </a:extLst>
            </p:cNvPr>
            <p:cNvSpPr/>
            <p:nvPr/>
          </p:nvSpPr>
          <p:spPr>
            <a:xfrm>
              <a:off x="1075938" y="5735426"/>
              <a:ext cx="619903" cy="454768"/>
            </a:xfrm>
            <a:custGeom>
              <a:avLst/>
              <a:gdLst>
                <a:gd name="connsiteX0" fmla="*/ 7622 w 619903"/>
                <a:gd name="connsiteY0" fmla="*/ 449688 h 454768"/>
                <a:gd name="connsiteX1" fmla="*/ 20325 w 619903"/>
                <a:gd name="connsiteY1" fmla="*/ 454769 h 454768"/>
                <a:gd name="connsiteX2" fmla="*/ 619903 w 619903"/>
                <a:gd name="connsiteY2" fmla="*/ 16514 h 454768"/>
                <a:gd name="connsiteX3" fmla="*/ 618633 w 619903"/>
                <a:gd name="connsiteY3" fmla="*/ 3811 h 454768"/>
                <a:gd name="connsiteX4" fmla="*/ 618633 w 619903"/>
                <a:gd name="connsiteY4" fmla="*/ 0 h 454768"/>
                <a:gd name="connsiteX5" fmla="*/ 0 w 619903"/>
                <a:gd name="connsiteY5" fmla="*/ 450958 h 454768"/>
                <a:gd name="connsiteX6" fmla="*/ 0 w 619903"/>
                <a:gd name="connsiteY6" fmla="*/ 450958 h 454768"/>
                <a:gd name="connsiteX7" fmla="*/ 7622 w 619903"/>
                <a:gd name="connsiteY7" fmla="*/ 449688 h 45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9903" h="454768">
                  <a:moveTo>
                    <a:pt x="7622" y="449688"/>
                  </a:moveTo>
                  <a:lnTo>
                    <a:pt x="20325" y="454769"/>
                  </a:lnTo>
                  <a:lnTo>
                    <a:pt x="619903" y="16514"/>
                  </a:lnTo>
                  <a:lnTo>
                    <a:pt x="618633" y="3811"/>
                  </a:lnTo>
                  <a:lnTo>
                    <a:pt x="618633" y="0"/>
                  </a:lnTo>
                  <a:lnTo>
                    <a:pt x="0" y="450958"/>
                  </a:lnTo>
                  <a:lnTo>
                    <a:pt x="0" y="450958"/>
                  </a:lnTo>
                  <a:cubicBezTo>
                    <a:pt x="2541" y="449688"/>
                    <a:pt x="5081" y="449688"/>
                    <a:pt x="7622" y="449688"/>
                  </a:cubicBezTo>
                  <a:close/>
                </a:path>
              </a:pathLst>
            </a:custGeom>
            <a:solidFill>
              <a:srgbClr val="000000"/>
            </a:solidFill>
            <a:ln w="12688"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A2294EA3-2D18-4C89-9313-7AC5878B5499}"/>
                </a:ext>
              </a:extLst>
            </p:cNvPr>
            <p:cNvSpPr/>
            <p:nvPr/>
          </p:nvSpPr>
          <p:spPr>
            <a:xfrm>
              <a:off x="1073397" y="6191465"/>
              <a:ext cx="12702" cy="1270"/>
            </a:xfrm>
            <a:custGeom>
              <a:avLst/>
              <a:gdLst>
                <a:gd name="connsiteX0" fmla="*/ 0 w 12702"/>
                <a:gd name="connsiteY0" fmla="*/ 0 h 1270"/>
                <a:gd name="connsiteX1" fmla="*/ 0 w 12702"/>
                <a:gd name="connsiteY1" fmla="*/ 1270 h 1270"/>
                <a:gd name="connsiteX2" fmla="*/ 0 w 12702"/>
                <a:gd name="connsiteY2" fmla="*/ 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cubicBezTo>
                    <a:pt x="0" y="0"/>
                    <a:pt x="0" y="1270"/>
                    <a:pt x="0" y="1270"/>
                  </a:cubicBezTo>
                  <a:cubicBezTo>
                    <a:pt x="0" y="1270"/>
                    <a:pt x="0" y="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3898E73C-22CE-412E-AA74-DDC5401EFDAA}"/>
                </a:ext>
              </a:extLst>
            </p:cNvPr>
            <p:cNvSpPr/>
            <p:nvPr/>
          </p:nvSpPr>
          <p:spPr>
            <a:xfrm>
              <a:off x="1074667" y="6187655"/>
              <a:ext cx="12702" cy="952"/>
            </a:xfrm>
            <a:custGeom>
              <a:avLst/>
              <a:gdLst>
                <a:gd name="connsiteX0" fmla="*/ 0 w 12702"/>
                <a:gd name="connsiteY0" fmla="*/ 0 h 952"/>
                <a:gd name="connsiteX1" fmla="*/ 0 w 12702"/>
                <a:gd name="connsiteY1" fmla="*/ 0 h 952"/>
                <a:gd name="connsiteX2" fmla="*/ 0 w 12702"/>
                <a:gd name="connsiteY2" fmla="*/ 0 h 952"/>
                <a:gd name="connsiteX3" fmla="*/ 0 w 12702"/>
                <a:gd name="connsiteY3" fmla="*/ 0 h 952"/>
              </a:gdLst>
              <a:ahLst/>
              <a:cxnLst>
                <a:cxn ang="0">
                  <a:pos x="connsiteX0" y="connsiteY0"/>
                </a:cxn>
                <a:cxn ang="0">
                  <a:pos x="connsiteX1" y="connsiteY1"/>
                </a:cxn>
                <a:cxn ang="0">
                  <a:pos x="connsiteX2" y="connsiteY2"/>
                </a:cxn>
                <a:cxn ang="0">
                  <a:pos x="connsiteX3" y="connsiteY3"/>
                </a:cxn>
              </a:cxnLst>
              <a:rect l="l" t="t" r="r" b="b"/>
              <a:pathLst>
                <a:path w="12702" h="952">
                  <a:moveTo>
                    <a:pt x="0" y="0"/>
                  </a:moveTo>
                  <a:cubicBezTo>
                    <a:pt x="0" y="1270"/>
                    <a:pt x="0" y="1270"/>
                    <a:pt x="0" y="0"/>
                  </a:cubicBezTo>
                  <a:cubicBezTo>
                    <a:pt x="0" y="1270"/>
                    <a:pt x="0" y="127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56D7E6CD-B6C8-4317-AF1E-E715C63F8B5F}"/>
                </a:ext>
              </a:extLst>
            </p:cNvPr>
            <p:cNvSpPr/>
            <p:nvPr/>
          </p:nvSpPr>
          <p:spPr>
            <a:xfrm>
              <a:off x="1075938" y="6216871"/>
              <a:ext cx="12702" cy="1270"/>
            </a:xfrm>
            <a:custGeom>
              <a:avLst/>
              <a:gdLst>
                <a:gd name="connsiteX0" fmla="*/ 0 w 12702"/>
                <a:gd name="connsiteY0" fmla="*/ 1270 h 1270"/>
                <a:gd name="connsiteX1" fmla="*/ 0 w 12702"/>
                <a:gd name="connsiteY1" fmla="*/ 1270 h 1270"/>
                <a:gd name="connsiteX2" fmla="*/ 0 w 12702"/>
                <a:gd name="connsiteY2" fmla="*/ 0 h 1270"/>
                <a:gd name="connsiteX3" fmla="*/ 0 w 12702"/>
                <a:gd name="connsiteY3" fmla="*/ 1270 h 1270"/>
                <a:gd name="connsiteX4" fmla="*/ 0 w 12702"/>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
                  <a:moveTo>
                    <a:pt x="0" y="1270"/>
                  </a:moveTo>
                  <a:lnTo>
                    <a:pt x="0" y="1270"/>
                  </a:lnTo>
                  <a:cubicBezTo>
                    <a:pt x="0" y="1270"/>
                    <a:pt x="0" y="0"/>
                    <a:pt x="0" y="0"/>
                  </a:cubicBezTo>
                  <a:cubicBezTo>
                    <a:pt x="0" y="0"/>
                    <a:pt x="0" y="0"/>
                    <a:pt x="0" y="1270"/>
                  </a:cubicBezTo>
                  <a:lnTo>
                    <a:pt x="0" y="1270"/>
                  </a:lnTo>
                  <a:close/>
                </a:path>
              </a:pathLst>
            </a:custGeom>
            <a:solidFill>
              <a:srgbClr val="000000"/>
            </a:solidFill>
            <a:ln w="12688"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4A78D3FC-ACE6-4B91-9CB5-0299EC5A01B4}"/>
                </a:ext>
              </a:extLst>
            </p:cNvPr>
            <p:cNvSpPr/>
            <p:nvPr/>
          </p:nvSpPr>
          <p:spPr>
            <a:xfrm>
              <a:off x="1086100" y="6210520"/>
              <a:ext cx="650389" cy="250250"/>
            </a:xfrm>
            <a:custGeom>
              <a:avLst/>
              <a:gdLst>
                <a:gd name="connsiteX0" fmla="*/ 641498 w 650389"/>
                <a:gd name="connsiteY0" fmla="*/ 250250 h 250250"/>
                <a:gd name="connsiteX1" fmla="*/ 644039 w 650389"/>
                <a:gd name="connsiteY1" fmla="*/ 250250 h 250250"/>
                <a:gd name="connsiteX2" fmla="*/ 645309 w 650389"/>
                <a:gd name="connsiteY2" fmla="*/ 250250 h 250250"/>
                <a:gd name="connsiteX3" fmla="*/ 646579 w 650389"/>
                <a:gd name="connsiteY3" fmla="*/ 250250 h 250250"/>
                <a:gd name="connsiteX4" fmla="*/ 647849 w 650389"/>
                <a:gd name="connsiteY4" fmla="*/ 248980 h 250250"/>
                <a:gd name="connsiteX5" fmla="*/ 649120 w 650389"/>
                <a:gd name="connsiteY5" fmla="*/ 247709 h 250250"/>
                <a:gd name="connsiteX6" fmla="*/ 650390 w 650389"/>
                <a:gd name="connsiteY6" fmla="*/ 245169 h 250250"/>
                <a:gd name="connsiteX7" fmla="*/ 650390 w 650389"/>
                <a:gd name="connsiteY7" fmla="*/ 245169 h 250250"/>
                <a:gd name="connsiteX8" fmla="*/ 650390 w 650389"/>
                <a:gd name="connsiteY8" fmla="*/ 245169 h 250250"/>
                <a:gd name="connsiteX9" fmla="*/ 650390 w 650389"/>
                <a:gd name="connsiteY9" fmla="*/ 242628 h 250250"/>
                <a:gd name="connsiteX10" fmla="*/ 650390 w 650389"/>
                <a:gd name="connsiteY10" fmla="*/ 241358 h 250250"/>
                <a:gd name="connsiteX11" fmla="*/ 645309 w 650389"/>
                <a:gd name="connsiteY11" fmla="*/ 235006 h 250250"/>
                <a:gd name="connsiteX12" fmla="*/ 633876 w 650389"/>
                <a:gd name="connsiteY12" fmla="*/ 231196 h 250250"/>
                <a:gd name="connsiteX13" fmla="*/ 3811 w 650389"/>
                <a:gd name="connsiteY13" fmla="*/ 1270 h 250250"/>
                <a:gd name="connsiteX14" fmla="*/ 0 w 650389"/>
                <a:gd name="connsiteY14" fmla="*/ 0 h 250250"/>
                <a:gd name="connsiteX15" fmla="*/ 0 w 650389"/>
                <a:gd name="connsiteY15" fmla="*/ 0 h 250250"/>
                <a:gd name="connsiteX16" fmla="*/ 5081 w 650389"/>
                <a:gd name="connsiteY16" fmla="*/ 6352 h 250250"/>
                <a:gd name="connsiteX17" fmla="*/ 6351 w 650389"/>
                <a:gd name="connsiteY17" fmla="*/ 17784 h 250250"/>
                <a:gd name="connsiteX18" fmla="*/ 641498 w 650389"/>
                <a:gd name="connsiteY18" fmla="*/ 250250 h 250250"/>
                <a:gd name="connsiteX19" fmla="*/ 641498 w 650389"/>
                <a:gd name="connsiteY19" fmla="*/ 250250 h 250250"/>
                <a:gd name="connsiteX20" fmla="*/ 641498 w 650389"/>
                <a:gd name="connsiteY20" fmla="*/ 250250 h 2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0389" h="250250">
                  <a:moveTo>
                    <a:pt x="641498" y="250250"/>
                  </a:moveTo>
                  <a:lnTo>
                    <a:pt x="644039" y="250250"/>
                  </a:lnTo>
                  <a:lnTo>
                    <a:pt x="645309" y="250250"/>
                  </a:lnTo>
                  <a:lnTo>
                    <a:pt x="646579" y="250250"/>
                  </a:lnTo>
                  <a:cubicBezTo>
                    <a:pt x="646579" y="250250"/>
                    <a:pt x="647849" y="250250"/>
                    <a:pt x="647849" y="248980"/>
                  </a:cubicBezTo>
                  <a:cubicBezTo>
                    <a:pt x="647849" y="248980"/>
                    <a:pt x="649120" y="248980"/>
                    <a:pt x="649120" y="247709"/>
                  </a:cubicBezTo>
                  <a:cubicBezTo>
                    <a:pt x="649120" y="247709"/>
                    <a:pt x="650390" y="246439"/>
                    <a:pt x="650390" y="245169"/>
                  </a:cubicBezTo>
                  <a:lnTo>
                    <a:pt x="650390" y="245169"/>
                  </a:lnTo>
                  <a:lnTo>
                    <a:pt x="650390" y="245169"/>
                  </a:lnTo>
                  <a:cubicBezTo>
                    <a:pt x="650390" y="243899"/>
                    <a:pt x="650390" y="243899"/>
                    <a:pt x="650390" y="242628"/>
                  </a:cubicBezTo>
                  <a:cubicBezTo>
                    <a:pt x="650390" y="242628"/>
                    <a:pt x="650390" y="242628"/>
                    <a:pt x="650390" y="241358"/>
                  </a:cubicBezTo>
                  <a:cubicBezTo>
                    <a:pt x="650390" y="238818"/>
                    <a:pt x="647849" y="236277"/>
                    <a:pt x="645309" y="235006"/>
                  </a:cubicBezTo>
                  <a:lnTo>
                    <a:pt x="633876" y="231196"/>
                  </a:lnTo>
                  <a:lnTo>
                    <a:pt x="3811" y="1270"/>
                  </a:lnTo>
                  <a:lnTo>
                    <a:pt x="0" y="0"/>
                  </a:lnTo>
                  <a:lnTo>
                    <a:pt x="0" y="0"/>
                  </a:lnTo>
                  <a:cubicBezTo>
                    <a:pt x="2541" y="1270"/>
                    <a:pt x="5081" y="3811"/>
                    <a:pt x="5081" y="6352"/>
                  </a:cubicBezTo>
                  <a:lnTo>
                    <a:pt x="6351" y="17784"/>
                  </a:lnTo>
                  <a:lnTo>
                    <a:pt x="641498" y="250250"/>
                  </a:lnTo>
                  <a:lnTo>
                    <a:pt x="641498" y="250250"/>
                  </a:lnTo>
                  <a:lnTo>
                    <a:pt x="641498" y="250250"/>
                  </a:lnTo>
                  <a:close/>
                </a:path>
              </a:pathLst>
            </a:custGeom>
            <a:solidFill>
              <a:srgbClr val="000000"/>
            </a:solidFill>
            <a:ln w="12688"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EADBAC55-5983-4467-A7CE-BDD6DEBB9DA4}"/>
                </a:ext>
              </a:extLst>
            </p:cNvPr>
            <p:cNvSpPr/>
            <p:nvPr/>
          </p:nvSpPr>
          <p:spPr>
            <a:xfrm>
              <a:off x="1075938" y="6214331"/>
              <a:ext cx="1270" cy="1269"/>
            </a:xfrm>
            <a:custGeom>
              <a:avLst/>
              <a:gdLst>
                <a:gd name="connsiteX0" fmla="*/ 0 w 1270"/>
                <a:gd name="connsiteY0" fmla="*/ 1270 h 1269"/>
                <a:gd name="connsiteX1" fmla="*/ 1270 w 1270"/>
                <a:gd name="connsiteY1" fmla="*/ 0 h 1269"/>
                <a:gd name="connsiteX2" fmla="*/ 0 w 1270"/>
                <a:gd name="connsiteY2" fmla="*/ 1270 h 1269"/>
                <a:gd name="connsiteX3" fmla="*/ 0 w 1270"/>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 h="1269">
                  <a:moveTo>
                    <a:pt x="0" y="1270"/>
                  </a:moveTo>
                  <a:cubicBezTo>
                    <a:pt x="0" y="1270"/>
                    <a:pt x="0" y="0"/>
                    <a:pt x="1270" y="0"/>
                  </a:cubicBezTo>
                  <a:cubicBezTo>
                    <a:pt x="0" y="0"/>
                    <a:pt x="0" y="0"/>
                    <a:pt x="0" y="1270"/>
                  </a:cubicBezTo>
                  <a:lnTo>
                    <a:pt x="0" y="1270"/>
                  </a:lnTo>
                  <a:close/>
                </a:path>
              </a:pathLst>
            </a:custGeom>
            <a:solidFill>
              <a:srgbClr val="000000"/>
            </a:solidFill>
            <a:ln w="12688"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89C7440C-06A3-4EFE-932F-0A0F703FDD0E}"/>
                </a:ext>
              </a:extLst>
            </p:cNvPr>
            <p:cNvSpPr/>
            <p:nvPr/>
          </p:nvSpPr>
          <p:spPr>
            <a:xfrm>
              <a:off x="1073397" y="6183317"/>
              <a:ext cx="654200" cy="252046"/>
            </a:xfrm>
            <a:custGeom>
              <a:avLst/>
              <a:gdLst>
                <a:gd name="connsiteX0" fmla="*/ 0 w 654200"/>
                <a:gd name="connsiteY0" fmla="*/ 11959 h 252046"/>
                <a:gd name="connsiteX1" fmla="*/ 1270 w 654200"/>
                <a:gd name="connsiteY1" fmla="*/ 13229 h 252046"/>
                <a:gd name="connsiteX2" fmla="*/ 1270 w 654200"/>
                <a:gd name="connsiteY2" fmla="*/ 14499 h 252046"/>
                <a:gd name="connsiteX3" fmla="*/ 2541 w 654200"/>
                <a:gd name="connsiteY3" fmla="*/ 15770 h 252046"/>
                <a:gd name="connsiteX4" fmla="*/ 3811 w 654200"/>
                <a:gd name="connsiteY4" fmla="*/ 17040 h 252046"/>
                <a:gd name="connsiteX5" fmla="*/ 3811 w 654200"/>
                <a:gd name="connsiteY5" fmla="*/ 17040 h 252046"/>
                <a:gd name="connsiteX6" fmla="*/ 15243 w 654200"/>
                <a:gd name="connsiteY6" fmla="*/ 20851 h 252046"/>
                <a:gd name="connsiteX7" fmla="*/ 645309 w 654200"/>
                <a:gd name="connsiteY7" fmla="*/ 250776 h 252046"/>
                <a:gd name="connsiteX8" fmla="*/ 650390 w 654200"/>
                <a:gd name="connsiteY8" fmla="*/ 252047 h 252046"/>
                <a:gd name="connsiteX9" fmla="*/ 645309 w 654200"/>
                <a:gd name="connsiteY9" fmla="*/ 241884 h 252046"/>
                <a:gd name="connsiteX10" fmla="*/ 654201 w 654200"/>
                <a:gd name="connsiteY10" fmla="*/ 236803 h 252046"/>
                <a:gd name="connsiteX11" fmla="*/ 654201 w 654200"/>
                <a:gd name="connsiteY11" fmla="*/ 236803 h 252046"/>
                <a:gd name="connsiteX12" fmla="*/ 650390 w 654200"/>
                <a:gd name="connsiteY12" fmla="*/ 235532 h 252046"/>
                <a:gd name="connsiteX13" fmla="*/ 22865 w 654200"/>
                <a:gd name="connsiteY13" fmla="*/ 5608 h 252046"/>
                <a:gd name="connsiteX14" fmla="*/ 10162 w 654200"/>
                <a:gd name="connsiteY14" fmla="*/ 526 h 252046"/>
                <a:gd name="connsiteX15" fmla="*/ 2541 w 654200"/>
                <a:gd name="connsiteY15" fmla="*/ 1796 h 252046"/>
                <a:gd name="connsiteX16" fmla="*/ 1270 w 654200"/>
                <a:gd name="connsiteY16" fmla="*/ 3067 h 252046"/>
                <a:gd name="connsiteX17" fmla="*/ 1270 w 654200"/>
                <a:gd name="connsiteY17" fmla="*/ 3067 h 252046"/>
                <a:gd name="connsiteX18" fmla="*/ 0 w 654200"/>
                <a:gd name="connsiteY18" fmla="*/ 4337 h 252046"/>
                <a:gd name="connsiteX19" fmla="*/ 0 w 654200"/>
                <a:gd name="connsiteY19" fmla="*/ 4337 h 252046"/>
                <a:gd name="connsiteX20" fmla="*/ 0 w 654200"/>
                <a:gd name="connsiteY20" fmla="*/ 4337 h 252046"/>
                <a:gd name="connsiteX21" fmla="*/ 0 w 654200"/>
                <a:gd name="connsiteY21" fmla="*/ 4337 h 252046"/>
                <a:gd name="connsiteX22" fmla="*/ 0 w 654200"/>
                <a:gd name="connsiteY22" fmla="*/ 5608 h 252046"/>
                <a:gd name="connsiteX23" fmla="*/ 0 w 654200"/>
                <a:gd name="connsiteY23" fmla="*/ 6878 h 252046"/>
                <a:gd name="connsiteX24" fmla="*/ 0 w 654200"/>
                <a:gd name="connsiteY24" fmla="*/ 6878 h 252046"/>
                <a:gd name="connsiteX25" fmla="*/ 0 w 654200"/>
                <a:gd name="connsiteY25" fmla="*/ 11959 h 25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4200" h="252046">
                  <a:moveTo>
                    <a:pt x="0" y="11959"/>
                  </a:moveTo>
                  <a:cubicBezTo>
                    <a:pt x="0" y="11959"/>
                    <a:pt x="0" y="13229"/>
                    <a:pt x="1270" y="13229"/>
                  </a:cubicBezTo>
                  <a:lnTo>
                    <a:pt x="1270" y="14499"/>
                  </a:lnTo>
                  <a:cubicBezTo>
                    <a:pt x="1270" y="14499"/>
                    <a:pt x="2541" y="15770"/>
                    <a:pt x="2541" y="15770"/>
                  </a:cubicBezTo>
                  <a:lnTo>
                    <a:pt x="3811" y="17040"/>
                  </a:lnTo>
                  <a:lnTo>
                    <a:pt x="3811" y="17040"/>
                  </a:lnTo>
                  <a:lnTo>
                    <a:pt x="15243" y="20851"/>
                  </a:lnTo>
                  <a:lnTo>
                    <a:pt x="645309" y="250776"/>
                  </a:lnTo>
                  <a:lnTo>
                    <a:pt x="650390" y="252047"/>
                  </a:lnTo>
                  <a:cubicBezTo>
                    <a:pt x="646579" y="250776"/>
                    <a:pt x="644039" y="245695"/>
                    <a:pt x="645309" y="241884"/>
                  </a:cubicBezTo>
                  <a:cubicBezTo>
                    <a:pt x="646579" y="238073"/>
                    <a:pt x="650390" y="235532"/>
                    <a:pt x="654201" y="236803"/>
                  </a:cubicBezTo>
                  <a:cubicBezTo>
                    <a:pt x="654201" y="236803"/>
                    <a:pt x="654201" y="236803"/>
                    <a:pt x="654201" y="236803"/>
                  </a:cubicBezTo>
                  <a:lnTo>
                    <a:pt x="650390" y="235532"/>
                  </a:lnTo>
                  <a:lnTo>
                    <a:pt x="22865" y="5608"/>
                  </a:lnTo>
                  <a:lnTo>
                    <a:pt x="10162" y="526"/>
                  </a:lnTo>
                  <a:cubicBezTo>
                    <a:pt x="7622" y="-744"/>
                    <a:pt x="5081" y="526"/>
                    <a:pt x="2541" y="1796"/>
                  </a:cubicBezTo>
                  <a:lnTo>
                    <a:pt x="1270" y="3067"/>
                  </a:lnTo>
                  <a:lnTo>
                    <a:pt x="1270" y="3067"/>
                  </a:lnTo>
                  <a:cubicBezTo>
                    <a:pt x="1270" y="3067"/>
                    <a:pt x="1270" y="4337"/>
                    <a:pt x="0" y="4337"/>
                  </a:cubicBezTo>
                  <a:lnTo>
                    <a:pt x="0" y="4337"/>
                  </a:lnTo>
                  <a:lnTo>
                    <a:pt x="0" y="4337"/>
                  </a:lnTo>
                  <a:lnTo>
                    <a:pt x="0" y="4337"/>
                  </a:lnTo>
                  <a:cubicBezTo>
                    <a:pt x="0" y="4337"/>
                    <a:pt x="0" y="5608"/>
                    <a:pt x="0" y="5608"/>
                  </a:cubicBezTo>
                  <a:lnTo>
                    <a:pt x="0" y="6878"/>
                  </a:lnTo>
                  <a:lnTo>
                    <a:pt x="0" y="6878"/>
                  </a:lnTo>
                  <a:cubicBezTo>
                    <a:pt x="1270" y="9418"/>
                    <a:pt x="0" y="10689"/>
                    <a:pt x="0" y="11959"/>
                  </a:cubicBezTo>
                  <a:close/>
                </a:path>
              </a:pathLst>
            </a:custGeom>
            <a:solidFill>
              <a:srgbClr val="000000"/>
            </a:solidFill>
            <a:ln w="12688"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FB5A9113-7A8C-49FD-B916-A3A886AFC1BE}"/>
                </a:ext>
              </a:extLst>
            </p:cNvPr>
            <p:cNvSpPr/>
            <p:nvPr/>
          </p:nvSpPr>
          <p:spPr>
            <a:xfrm>
              <a:off x="3807068" y="5515663"/>
              <a:ext cx="64467" cy="45730"/>
            </a:xfrm>
            <a:custGeom>
              <a:avLst/>
              <a:gdLst>
                <a:gd name="connsiteX0" fmla="*/ 0 w 64467"/>
                <a:gd name="connsiteY0" fmla="*/ 39379 h 45730"/>
                <a:gd name="connsiteX1" fmla="*/ 3811 w 64467"/>
                <a:gd name="connsiteY1" fmla="*/ 40650 h 45730"/>
                <a:gd name="connsiteX2" fmla="*/ 3811 w 64467"/>
                <a:gd name="connsiteY2" fmla="*/ 40650 h 45730"/>
                <a:gd name="connsiteX3" fmla="*/ 13973 w 64467"/>
                <a:gd name="connsiteY3" fmla="*/ 44461 h 45730"/>
                <a:gd name="connsiteX4" fmla="*/ 16514 w 64467"/>
                <a:gd name="connsiteY4" fmla="*/ 45731 h 45730"/>
                <a:gd name="connsiteX5" fmla="*/ 58433 w 64467"/>
                <a:gd name="connsiteY5" fmla="*/ 12703 h 45730"/>
                <a:gd name="connsiteX6" fmla="*/ 60974 w 64467"/>
                <a:gd name="connsiteY6" fmla="*/ 10162 h 45730"/>
                <a:gd name="connsiteX7" fmla="*/ 60974 w 64467"/>
                <a:gd name="connsiteY7" fmla="*/ 10162 h 45730"/>
                <a:gd name="connsiteX8" fmla="*/ 62244 w 64467"/>
                <a:gd name="connsiteY8" fmla="*/ 8892 h 45730"/>
                <a:gd name="connsiteX9" fmla="*/ 63515 w 64467"/>
                <a:gd name="connsiteY9" fmla="*/ 7622 h 45730"/>
                <a:gd name="connsiteX10" fmla="*/ 63515 w 64467"/>
                <a:gd name="connsiteY10" fmla="*/ 1270 h 45730"/>
                <a:gd name="connsiteX11" fmla="*/ 57163 w 64467"/>
                <a:gd name="connsiteY11" fmla="*/ 5081 h 45730"/>
                <a:gd name="connsiteX12" fmla="*/ 49541 w 64467"/>
                <a:gd name="connsiteY12" fmla="*/ 0 h 45730"/>
                <a:gd name="connsiteX13" fmla="*/ 47001 w 64467"/>
                <a:gd name="connsiteY13" fmla="*/ 2540 h 45730"/>
                <a:gd name="connsiteX14" fmla="*/ 0 w 64467"/>
                <a:gd name="connsiteY14" fmla="*/ 39379 h 4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467" h="45730">
                  <a:moveTo>
                    <a:pt x="0" y="39379"/>
                  </a:moveTo>
                  <a:lnTo>
                    <a:pt x="3811" y="40650"/>
                  </a:lnTo>
                  <a:lnTo>
                    <a:pt x="3811" y="40650"/>
                  </a:lnTo>
                  <a:lnTo>
                    <a:pt x="13973" y="44461"/>
                  </a:lnTo>
                  <a:cubicBezTo>
                    <a:pt x="15243" y="44461"/>
                    <a:pt x="16514" y="45731"/>
                    <a:pt x="16514" y="45731"/>
                  </a:cubicBezTo>
                  <a:lnTo>
                    <a:pt x="58433" y="12703"/>
                  </a:lnTo>
                  <a:lnTo>
                    <a:pt x="60974" y="10162"/>
                  </a:lnTo>
                  <a:lnTo>
                    <a:pt x="60974" y="10162"/>
                  </a:lnTo>
                  <a:lnTo>
                    <a:pt x="62244" y="8892"/>
                  </a:lnTo>
                  <a:lnTo>
                    <a:pt x="63515" y="7622"/>
                  </a:lnTo>
                  <a:cubicBezTo>
                    <a:pt x="64785" y="5081"/>
                    <a:pt x="64785" y="2540"/>
                    <a:pt x="63515" y="1270"/>
                  </a:cubicBezTo>
                  <a:cubicBezTo>
                    <a:pt x="62244" y="3811"/>
                    <a:pt x="59704" y="5081"/>
                    <a:pt x="57163" y="5081"/>
                  </a:cubicBezTo>
                  <a:cubicBezTo>
                    <a:pt x="54622" y="5081"/>
                    <a:pt x="50812" y="3811"/>
                    <a:pt x="49541" y="0"/>
                  </a:cubicBezTo>
                  <a:lnTo>
                    <a:pt x="47001" y="2540"/>
                  </a:lnTo>
                  <a:lnTo>
                    <a:pt x="0" y="39379"/>
                  </a:lnTo>
                  <a:close/>
                </a:path>
              </a:pathLst>
            </a:custGeom>
            <a:solidFill>
              <a:srgbClr val="000000"/>
            </a:solidFill>
            <a:ln w="12688"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003FA9D1-A48D-401B-B287-37CB33041732}"/>
                </a:ext>
              </a:extLst>
            </p:cNvPr>
            <p:cNvSpPr/>
            <p:nvPr/>
          </p:nvSpPr>
          <p:spPr>
            <a:xfrm>
              <a:off x="3805797" y="5558854"/>
              <a:ext cx="19054" cy="17040"/>
            </a:xfrm>
            <a:custGeom>
              <a:avLst/>
              <a:gdLst>
                <a:gd name="connsiteX0" fmla="*/ 10162 w 19054"/>
                <a:gd name="connsiteY0" fmla="*/ 7622 h 17040"/>
                <a:gd name="connsiteX1" fmla="*/ 0 w 19054"/>
                <a:gd name="connsiteY1" fmla="*/ 12703 h 17040"/>
                <a:gd name="connsiteX2" fmla="*/ 0 w 19054"/>
                <a:gd name="connsiteY2" fmla="*/ 12703 h 17040"/>
                <a:gd name="connsiteX3" fmla="*/ 10162 w 19054"/>
                <a:gd name="connsiteY3" fmla="*/ 16514 h 17040"/>
                <a:gd name="connsiteX4" fmla="*/ 17784 w 19054"/>
                <a:gd name="connsiteY4" fmla="*/ 15243 h 17040"/>
                <a:gd name="connsiteX5" fmla="*/ 19054 w 19054"/>
                <a:gd name="connsiteY5" fmla="*/ 13973 h 17040"/>
                <a:gd name="connsiteX6" fmla="*/ 19054 w 19054"/>
                <a:gd name="connsiteY6" fmla="*/ 12703 h 17040"/>
                <a:gd name="connsiteX7" fmla="*/ 19054 w 19054"/>
                <a:gd name="connsiteY7" fmla="*/ 12703 h 17040"/>
                <a:gd name="connsiteX8" fmla="*/ 19054 w 19054"/>
                <a:gd name="connsiteY8" fmla="*/ 11433 h 17040"/>
                <a:gd name="connsiteX9" fmla="*/ 19054 w 19054"/>
                <a:gd name="connsiteY9" fmla="*/ 10162 h 17040"/>
                <a:gd name="connsiteX10" fmla="*/ 19054 w 19054"/>
                <a:gd name="connsiteY10" fmla="*/ 8892 h 17040"/>
                <a:gd name="connsiteX11" fmla="*/ 19054 w 19054"/>
                <a:gd name="connsiteY11" fmla="*/ 7622 h 17040"/>
                <a:gd name="connsiteX12" fmla="*/ 17784 w 19054"/>
                <a:gd name="connsiteY12" fmla="*/ 6352 h 17040"/>
                <a:gd name="connsiteX13" fmla="*/ 16514 w 19054"/>
                <a:gd name="connsiteY13" fmla="*/ 5081 h 17040"/>
                <a:gd name="connsiteX14" fmla="*/ 16514 w 19054"/>
                <a:gd name="connsiteY14" fmla="*/ 5081 h 17040"/>
                <a:gd name="connsiteX15" fmla="*/ 13973 w 19054"/>
                <a:gd name="connsiteY15" fmla="*/ 3811 h 17040"/>
                <a:gd name="connsiteX16" fmla="*/ 3811 w 19054"/>
                <a:gd name="connsiteY16" fmla="*/ 0 h 17040"/>
                <a:gd name="connsiteX17" fmla="*/ 3811 w 19054"/>
                <a:gd name="connsiteY17" fmla="*/ 0 h 17040"/>
                <a:gd name="connsiteX18" fmla="*/ 10162 w 19054"/>
                <a:gd name="connsiteY18" fmla="*/ 7622 h 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4" h="17040">
                  <a:moveTo>
                    <a:pt x="10162" y="7622"/>
                  </a:moveTo>
                  <a:cubicBezTo>
                    <a:pt x="8892" y="11433"/>
                    <a:pt x="5081" y="13973"/>
                    <a:pt x="0" y="12703"/>
                  </a:cubicBezTo>
                  <a:lnTo>
                    <a:pt x="0" y="12703"/>
                  </a:lnTo>
                  <a:lnTo>
                    <a:pt x="10162" y="16514"/>
                  </a:lnTo>
                  <a:cubicBezTo>
                    <a:pt x="12703" y="17784"/>
                    <a:pt x="15243" y="16514"/>
                    <a:pt x="17784" y="15243"/>
                  </a:cubicBezTo>
                  <a:lnTo>
                    <a:pt x="19054" y="13973"/>
                  </a:lnTo>
                  <a:cubicBezTo>
                    <a:pt x="19054" y="13973"/>
                    <a:pt x="19054" y="12703"/>
                    <a:pt x="19054" y="12703"/>
                  </a:cubicBezTo>
                  <a:lnTo>
                    <a:pt x="19054" y="12703"/>
                  </a:lnTo>
                  <a:cubicBezTo>
                    <a:pt x="19054" y="12703"/>
                    <a:pt x="19054" y="12703"/>
                    <a:pt x="19054" y="11433"/>
                  </a:cubicBezTo>
                  <a:cubicBezTo>
                    <a:pt x="19054" y="11433"/>
                    <a:pt x="19054" y="10162"/>
                    <a:pt x="19054" y="10162"/>
                  </a:cubicBezTo>
                  <a:cubicBezTo>
                    <a:pt x="19054" y="10162"/>
                    <a:pt x="19054" y="8892"/>
                    <a:pt x="19054" y="8892"/>
                  </a:cubicBezTo>
                  <a:lnTo>
                    <a:pt x="19054" y="7622"/>
                  </a:lnTo>
                  <a:cubicBezTo>
                    <a:pt x="19054" y="7622"/>
                    <a:pt x="19054" y="6352"/>
                    <a:pt x="17784" y="6352"/>
                  </a:cubicBezTo>
                  <a:lnTo>
                    <a:pt x="16514" y="5081"/>
                  </a:lnTo>
                  <a:lnTo>
                    <a:pt x="16514" y="5081"/>
                  </a:lnTo>
                  <a:cubicBezTo>
                    <a:pt x="15243" y="3811"/>
                    <a:pt x="15243" y="3811"/>
                    <a:pt x="13973" y="3811"/>
                  </a:cubicBezTo>
                  <a:lnTo>
                    <a:pt x="3811" y="0"/>
                  </a:lnTo>
                  <a:lnTo>
                    <a:pt x="3811" y="0"/>
                  </a:lnTo>
                  <a:cubicBezTo>
                    <a:pt x="8892" y="0"/>
                    <a:pt x="10162" y="3811"/>
                    <a:pt x="10162" y="7622"/>
                  </a:cubicBezTo>
                  <a:close/>
                </a:path>
              </a:pathLst>
            </a:custGeom>
            <a:solidFill>
              <a:srgbClr val="000000"/>
            </a:solidFill>
            <a:ln w="12688"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C960E746-6290-480D-AF90-E7BC5B601E91}"/>
                </a:ext>
              </a:extLst>
            </p:cNvPr>
            <p:cNvSpPr/>
            <p:nvPr/>
          </p:nvSpPr>
          <p:spPr>
            <a:xfrm>
              <a:off x="1533243" y="36343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909663E8-BFF4-4DCD-9815-E1E99DE47300}"/>
                </a:ext>
              </a:extLst>
            </p:cNvPr>
            <p:cNvSpPr/>
            <p:nvPr/>
          </p:nvSpPr>
          <p:spPr>
            <a:xfrm>
              <a:off x="1534513" y="3631801"/>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AA5F7631-E121-46F7-8824-85EE7F6E8AD1}"/>
                </a:ext>
              </a:extLst>
            </p:cNvPr>
            <p:cNvSpPr/>
            <p:nvPr/>
          </p:nvSpPr>
          <p:spPr>
            <a:xfrm>
              <a:off x="1548487" y="3633071"/>
              <a:ext cx="948908" cy="280737"/>
            </a:xfrm>
            <a:custGeom>
              <a:avLst/>
              <a:gdLst>
                <a:gd name="connsiteX0" fmla="*/ 948909 w 948908"/>
                <a:gd name="connsiteY0" fmla="*/ 266764 h 280737"/>
                <a:gd name="connsiteX1" fmla="*/ 10162 w 948908"/>
                <a:gd name="connsiteY1" fmla="*/ 0 h 280737"/>
                <a:gd name="connsiteX2" fmla="*/ 0 w 948908"/>
                <a:gd name="connsiteY2" fmla="*/ 6352 h 280737"/>
                <a:gd name="connsiteX3" fmla="*/ 0 w 948908"/>
                <a:gd name="connsiteY3" fmla="*/ 12703 h 280737"/>
                <a:gd name="connsiteX4" fmla="*/ 942557 w 948908"/>
                <a:gd name="connsiteY4" fmla="*/ 280737 h 280737"/>
                <a:gd name="connsiteX5" fmla="*/ 942557 w 948908"/>
                <a:gd name="connsiteY5" fmla="*/ 275656 h 280737"/>
                <a:gd name="connsiteX6" fmla="*/ 942557 w 948908"/>
                <a:gd name="connsiteY6" fmla="*/ 274386 h 280737"/>
                <a:gd name="connsiteX7" fmla="*/ 942557 w 948908"/>
                <a:gd name="connsiteY7" fmla="*/ 273116 h 280737"/>
                <a:gd name="connsiteX8" fmla="*/ 942557 w 948908"/>
                <a:gd name="connsiteY8" fmla="*/ 271845 h 280737"/>
                <a:gd name="connsiteX9" fmla="*/ 943828 w 948908"/>
                <a:gd name="connsiteY9" fmla="*/ 270575 h 280737"/>
                <a:gd name="connsiteX10" fmla="*/ 945098 w 948908"/>
                <a:gd name="connsiteY10" fmla="*/ 269305 h 280737"/>
                <a:gd name="connsiteX11" fmla="*/ 946368 w 948908"/>
                <a:gd name="connsiteY11" fmla="*/ 269305 h 280737"/>
                <a:gd name="connsiteX12" fmla="*/ 948909 w 948908"/>
                <a:gd name="connsiteY12" fmla="*/ 266764 h 2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908" h="280737">
                  <a:moveTo>
                    <a:pt x="948909" y="266764"/>
                  </a:moveTo>
                  <a:lnTo>
                    <a:pt x="10162" y="0"/>
                  </a:lnTo>
                  <a:lnTo>
                    <a:pt x="0" y="6352"/>
                  </a:lnTo>
                  <a:lnTo>
                    <a:pt x="0" y="12703"/>
                  </a:lnTo>
                  <a:lnTo>
                    <a:pt x="942557" y="280737"/>
                  </a:lnTo>
                  <a:lnTo>
                    <a:pt x="942557" y="275656"/>
                  </a:lnTo>
                  <a:cubicBezTo>
                    <a:pt x="942557" y="275656"/>
                    <a:pt x="942557" y="275656"/>
                    <a:pt x="942557" y="274386"/>
                  </a:cubicBezTo>
                  <a:cubicBezTo>
                    <a:pt x="942557" y="274386"/>
                    <a:pt x="942557" y="273116"/>
                    <a:pt x="942557" y="273116"/>
                  </a:cubicBezTo>
                  <a:cubicBezTo>
                    <a:pt x="942557" y="273116"/>
                    <a:pt x="942557" y="271845"/>
                    <a:pt x="942557" y="271845"/>
                  </a:cubicBezTo>
                  <a:cubicBezTo>
                    <a:pt x="942557" y="271845"/>
                    <a:pt x="942557" y="270575"/>
                    <a:pt x="943828" y="270575"/>
                  </a:cubicBezTo>
                  <a:lnTo>
                    <a:pt x="945098" y="269305"/>
                  </a:lnTo>
                  <a:lnTo>
                    <a:pt x="946368" y="269305"/>
                  </a:lnTo>
                  <a:lnTo>
                    <a:pt x="948909" y="266764"/>
                  </a:lnTo>
                  <a:close/>
                </a:path>
              </a:pathLst>
            </a:custGeom>
            <a:solidFill>
              <a:srgbClr val="000000"/>
            </a:solidFill>
            <a:ln w="12688"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78A6EE32-0CA4-43F4-8B17-56585148A355}"/>
                </a:ext>
              </a:extLst>
            </p:cNvPr>
            <p:cNvSpPr/>
            <p:nvPr/>
          </p:nvSpPr>
          <p:spPr>
            <a:xfrm>
              <a:off x="3690201" y="6153356"/>
              <a:ext cx="109245" cy="101624"/>
            </a:xfrm>
            <a:custGeom>
              <a:avLst/>
              <a:gdLst>
                <a:gd name="connsiteX0" fmla="*/ 0 w 109245"/>
                <a:gd name="connsiteY0" fmla="*/ 96543 h 101624"/>
                <a:gd name="connsiteX1" fmla="*/ 0 w 109245"/>
                <a:gd name="connsiteY1" fmla="*/ 97814 h 101624"/>
                <a:gd name="connsiteX2" fmla="*/ 0 w 109245"/>
                <a:gd name="connsiteY2" fmla="*/ 99084 h 101624"/>
                <a:gd name="connsiteX3" fmla="*/ 0 w 109245"/>
                <a:gd name="connsiteY3" fmla="*/ 99084 h 101624"/>
                <a:gd name="connsiteX4" fmla="*/ 0 w 109245"/>
                <a:gd name="connsiteY4" fmla="*/ 99084 h 101624"/>
                <a:gd name="connsiteX5" fmla="*/ 0 w 109245"/>
                <a:gd name="connsiteY5" fmla="*/ 100354 h 101624"/>
                <a:gd name="connsiteX6" fmla="*/ 0 w 109245"/>
                <a:gd name="connsiteY6" fmla="*/ 101624 h 101624"/>
                <a:gd name="connsiteX7" fmla="*/ 0 w 109245"/>
                <a:gd name="connsiteY7" fmla="*/ 101624 h 101624"/>
                <a:gd name="connsiteX8" fmla="*/ 0 w 109245"/>
                <a:gd name="connsiteY8" fmla="*/ 101624 h 101624"/>
                <a:gd name="connsiteX9" fmla="*/ 109245 w 109245"/>
                <a:gd name="connsiteY9" fmla="*/ 11433 h 101624"/>
                <a:gd name="connsiteX10" fmla="*/ 105434 w 109245"/>
                <a:gd name="connsiteY10" fmla="*/ 10163 h 101624"/>
                <a:gd name="connsiteX11" fmla="*/ 105434 w 109245"/>
                <a:gd name="connsiteY11" fmla="*/ 10163 h 101624"/>
                <a:gd name="connsiteX12" fmla="*/ 104164 w 109245"/>
                <a:gd name="connsiteY12" fmla="*/ 8892 h 101624"/>
                <a:gd name="connsiteX13" fmla="*/ 102894 w 109245"/>
                <a:gd name="connsiteY13" fmla="*/ 8892 h 101624"/>
                <a:gd name="connsiteX14" fmla="*/ 101623 w 109245"/>
                <a:gd name="connsiteY14" fmla="*/ 7622 h 101624"/>
                <a:gd name="connsiteX15" fmla="*/ 100353 w 109245"/>
                <a:gd name="connsiteY15" fmla="*/ 6352 h 101624"/>
                <a:gd name="connsiteX16" fmla="*/ 100353 w 109245"/>
                <a:gd name="connsiteY16" fmla="*/ 5081 h 101624"/>
                <a:gd name="connsiteX17" fmla="*/ 100353 w 109245"/>
                <a:gd name="connsiteY17" fmla="*/ 3811 h 101624"/>
                <a:gd name="connsiteX18" fmla="*/ 100353 w 109245"/>
                <a:gd name="connsiteY18" fmla="*/ 3811 h 101624"/>
                <a:gd name="connsiteX19" fmla="*/ 100353 w 109245"/>
                <a:gd name="connsiteY19" fmla="*/ 0 h 101624"/>
                <a:gd name="connsiteX20" fmla="*/ 2541 w 109245"/>
                <a:gd name="connsiteY20" fmla="*/ 80029 h 101624"/>
                <a:gd name="connsiteX21" fmla="*/ 2541 w 109245"/>
                <a:gd name="connsiteY21" fmla="*/ 95273 h 101624"/>
                <a:gd name="connsiteX22" fmla="*/ 0 w 109245"/>
                <a:gd name="connsiteY22" fmla="*/ 96543 h 10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9245" h="101624">
                  <a:moveTo>
                    <a:pt x="0" y="96543"/>
                  </a:moveTo>
                  <a:cubicBezTo>
                    <a:pt x="0" y="96543"/>
                    <a:pt x="0" y="97814"/>
                    <a:pt x="0" y="97814"/>
                  </a:cubicBezTo>
                  <a:cubicBezTo>
                    <a:pt x="0" y="97814"/>
                    <a:pt x="0" y="97814"/>
                    <a:pt x="0" y="99084"/>
                  </a:cubicBezTo>
                  <a:lnTo>
                    <a:pt x="0" y="99084"/>
                  </a:lnTo>
                  <a:lnTo>
                    <a:pt x="0" y="99084"/>
                  </a:lnTo>
                  <a:cubicBezTo>
                    <a:pt x="0" y="99084"/>
                    <a:pt x="0" y="100354"/>
                    <a:pt x="0" y="100354"/>
                  </a:cubicBezTo>
                  <a:lnTo>
                    <a:pt x="0" y="101624"/>
                  </a:lnTo>
                  <a:lnTo>
                    <a:pt x="0" y="101624"/>
                  </a:lnTo>
                  <a:lnTo>
                    <a:pt x="0" y="101624"/>
                  </a:lnTo>
                  <a:lnTo>
                    <a:pt x="109245" y="11433"/>
                  </a:lnTo>
                  <a:lnTo>
                    <a:pt x="105434" y="10163"/>
                  </a:lnTo>
                  <a:lnTo>
                    <a:pt x="105434" y="10163"/>
                  </a:lnTo>
                  <a:lnTo>
                    <a:pt x="104164" y="8892"/>
                  </a:lnTo>
                  <a:lnTo>
                    <a:pt x="102894" y="8892"/>
                  </a:lnTo>
                  <a:lnTo>
                    <a:pt x="101623" y="7622"/>
                  </a:lnTo>
                  <a:lnTo>
                    <a:pt x="100353" y="6352"/>
                  </a:lnTo>
                  <a:cubicBezTo>
                    <a:pt x="100353" y="6352"/>
                    <a:pt x="100353" y="5081"/>
                    <a:pt x="100353" y="5081"/>
                  </a:cubicBezTo>
                  <a:cubicBezTo>
                    <a:pt x="100353" y="5081"/>
                    <a:pt x="100353" y="3811"/>
                    <a:pt x="100353" y="3811"/>
                  </a:cubicBezTo>
                  <a:lnTo>
                    <a:pt x="100353" y="3811"/>
                  </a:lnTo>
                  <a:lnTo>
                    <a:pt x="100353" y="0"/>
                  </a:lnTo>
                  <a:lnTo>
                    <a:pt x="2541" y="80029"/>
                  </a:lnTo>
                  <a:lnTo>
                    <a:pt x="2541" y="95273"/>
                  </a:lnTo>
                  <a:lnTo>
                    <a:pt x="0" y="96543"/>
                  </a:lnTo>
                  <a:close/>
                </a:path>
              </a:pathLst>
            </a:custGeom>
            <a:solidFill>
              <a:srgbClr val="000000"/>
            </a:solidFill>
            <a:ln w="12688"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8B283D43-FA1F-44BB-8874-D4FC17A19D98}"/>
                </a:ext>
              </a:extLst>
            </p:cNvPr>
            <p:cNvSpPr/>
            <p:nvPr/>
          </p:nvSpPr>
          <p:spPr>
            <a:xfrm>
              <a:off x="3723228" y="3347253"/>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3A027927-F8C8-4654-B687-3E04A01C36F0}"/>
                </a:ext>
              </a:extLst>
            </p:cNvPr>
            <p:cNvSpPr/>
            <p:nvPr/>
          </p:nvSpPr>
          <p:spPr>
            <a:xfrm>
              <a:off x="3719417" y="33434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337A036C-F26D-49B4-8AF2-AFA38B3C27F3}"/>
                </a:ext>
              </a:extLst>
            </p:cNvPr>
            <p:cNvSpPr/>
            <p:nvPr/>
          </p:nvSpPr>
          <p:spPr>
            <a:xfrm>
              <a:off x="3721958" y="334471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EAA7A77E-B69A-47B3-BCF0-66C0F393BE71}"/>
                </a:ext>
              </a:extLst>
            </p:cNvPr>
            <p:cNvSpPr/>
            <p:nvPr/>
          </p:nvSpPr>
          <p:spPr>
            <a:xfrm>
              <a:off x="3596199" y="3351064"/>
              <a:ext cx="111785" cy="82569"/>
            </a:xfrm>
            <a:custGeom>
              <a:avLst/>
              <a:gdLst>
                <a:gd name="connsiteX0" fmla="*/ 1270 w 111785"/>
                <a:gd name="connsiteY0" fmla="*/ 72408 h 82569"/>
                <a:gd name="connsiteX1" fmla="*/ 1270 w 111785"/>
                <a:gd name="connsiteY1" fmla="*/ 72408 h 82569"/>
                <a:gd name="connsiteX2" fmla="*/ 2540 w 111785"/>
                <a:gd name="connsiteY2" fmla="*/ 72408 h 82569"/>
                <a:gd name="connsiteX3" fmla="*/ 3811 w 111785"/>
                <a:gd name="connsiteY3" fmla="*/ 73678 h 82569"/>
                <a:gd name="connsiteX4" fmla="*/ 5081 w 111785"/>
                <a:gd name="connsiteY4" fmla="*/ 74948 h 82569"/>
                <a:gd name="connsiteX5" fmla="*/ 6351 w 111785"/>
                <a:gd name="connsiteY5" fmla="*/ 76218 h 82569"/>
                <a:gd name="connsiteX6" fmla="*/ 6351 w 111785"/>
                <a:gd name="connsiteY6" fmla="*/ 77489 h 82569"/>
                <a:gd name="connsiteX7" fmla="*/ 6351 w 111785"/>
                <a:gd name="connsiteY7" fmla="*/ 78759 h 82569"/>
                <a:gd name="connsiteX8" fmla="*/ 6351 w 111785"/>
                <a:gd name="connsiteY8" fmla="*/ 78759 h 82569"/>
                <a:gd name="connsiteX9" fmla="*/ 6351 w 111785"/>
                <a:gd name="connsiteY9" fmla="*/ 82570 h 82569"/>
                <a:gd name="connsiteX10" fmla="*/ 111786 w 111785"/>
                <a:gd name="connsiteY10" fmla="*/ 10163 h 82569"/>
                <a:gd name="connsiteX11" fmla="*/ 111786 w 111785"/>
                <a:gd name="connsiteY11" fmla="*/ 2541 h 82569"/>
                <a:gd name="connsiteX12" fmla="*/ 101623 w 111785"/>
                <a:gd name="connsiteY12" fmla="*/ 0 h 82569"/>
                <a:gd name="connsiteX13" fmla="*/ 0 w 111785"/>
                <a:gd name="connsiteY13" fmla="*/ 71137 h 82569"/>
                <a:gd name="connsiteX14" fmla="*/ 1270 w 111785"/>
                <a:gd name="connsiteY14" fmla="*/ 72408 h 8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785" h="82569">
                  <a:moveTo>
                    <a:pt x="1270" y="72408"/>
                  </a:moveTo>
                  <a:lnTo>
                    <a:pt x="1270" y="72408"/>
                  </a:lnTo>
                  <a:lnTo>
                    <a:pt x="2540" y="72408"/>
                  </a:lnTo>
                  <a:cubicBezTo>
                    <a:pt x="2540" y="72408"/>
                    <a:pt x="3811" y="72408"/>
                    <a:pt x="3811" y="73678"/>
                  </a:cubicBezTo>
                  <a:cubicBezTo>
                    <a:pt x="3811" y="73678"/>
                    <a:pt x="5081" y="73678"/>
                    <a:pt x="5081" y="74948"/>
                  </a:cubicBezTo>
                  <a:lnTo>
                    <a:pt x="6351" y="76218"/>
                  </a:lnTo>
                  <a:lnTo>
                    <a:pt x="6351" y="77489"/>
                  </a:lnTo>
                  <a:cubicBezTo>
                    <a:pt x="6351" y="77489"/>
                    <a:pt x="6351" y="78759"/>
                    <a:pt x="6351" y="78759"/>
                  </a:cubicBezTo>
                  <a:lnTo>
                    <a:pt x="6351" y="78759"/>
                  </a:lnTo>
                  <a:lnTo>
                    <a:pt x="6351" y="82570"/>
                  </a:lnTo>
                  <a:lnTo>
                    <a:pt x="111786" y="10163"/>
                  </a:lnTo>
                  <a:lnTo>
                    <a:pt x="111786" y="2541"/>
                  </a:lnTo>
                  <a:lnTo>
                    <a:pt x="101623" y="0"/>
                  </a:lnTo>
                  <a:lnTo>
                    <a:pt x="0" y="71137"/>
                  </a:lnTo>
                  <a:lnTo>
                    <a:pt x="1270" y="72408"/>
                  </a:lnTo>
                  <a:close/>
                </a:path>
              </a:pathLst>
            </a:custGeom>
            <a:solidFill>
              <a:srgbClr val="000000"/>
            </a:solidFill>
            <a:ln w="12688"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7161EF40-C4EF-4E89-A690-593B0DE1CCB8}"/>
                </a:ext>
              </a:extLst>
            </p:cNvPr>
            <p:cNvSpPr/>
            <p:nvPr/>
          </p:nvSpPr>
          <p:spPr>
            <a:xfrm>
              <a:off x="3791824" y="6153356"/>
              <a:ext cx="148624" cy="57689"/>
            </a:xfrm>
            <a:custGeom>
              <a:avLst/>
              <a:gdLst>
                <a:gd name="connsiteX0" fmla="*/ 10162 w 148624"/>
                <a:gd name="connsiteY0" fmla="*/ 3811 h 57689"/>
                <a:gd name="connsiteX1" fmla="*/ 2541 w 148624"/>
                <a:gd name="connsiteY1" fmla="*/ 11433 h 57689"/>
                <a:gd name="connsiteX2" fmla="*/ 2541 w 148624"/>
                <a:gd name="connsiteY2" fmla="*/ 11433 h 57689"/>
                <a:gd name="connsiteX3" fmla="*/ 0 w 148624"/>
                <a:gd name="connsiteY3" fmla="*/ 11433 h 57689"/>
                <a:gd name="connsiteX4" fmla="*/ 0 w 148624"/>
                <a:gd name="connsiteY4" fmla="*/ 11433 h 57689"/>
                <a:gd name="connsiteX5" fmla="*/ 3811 w 148624"/>
                <a:gd name="connsiteY5" fmla="*/ 12703 h 57689"/>
                <a:gd name="connsiteX6" fmla="*/ 125759 w 148624"/>
                <a:gd name="connsiteY6" fmla="*/ 53353 h 57689"/>
                <a:gd name="connsiteX7" fmla="*/ 138462 w 148624"/>
                <a:gd name="connsiteY7" fmla="*/ 57164 h 57689"/>
                <a:gd name="connsiteX8" fmla="*/ 146084 w 148624"/>
                <a:gd name="connsiteY8" fmla="*/ 55893 h 57689"/>
                <a:gd name="connsiteX9" fmla="*/ 147354 w 148624"/>
                <a:gd name="connsiteY9" fmla="*/ 54623 h 57689"/>
                <a:gd name="connsiteX10" fmla="*/ 148624 w 148624"/>
                <a:gd name="connsiteY10" fmla="*/ 53353 h 57689"/>
                <a:gd name="connsiteX11" fmla="*/ 148624 w 148624"/>
                <a:gd name="connsiteY11" fmla="*/ 53353 h 57689"/>
                <a:gd name="connsiteX12" fmla="*/ 148624 w 148624"/>
                <a:gd name="connsiteY12" fmla="*/ 52083 h 57689"/>
                <a:gd name="connsiteX13" fmla="*/ 148624 w 148624"/>
                <a:gd name="connsiteY13" fmla="*/ 50812 h 57689"/>
                <a:gd name="connsiteX14" fmla="*/ 148624 w 148624"/>
                <a:gd name="connsiteY14" fmla="*/ 49542 h 57689"/>
                <a:gd name="connsiteX15" fmla="*/ 148624 w 148624"/>
                <a:gd name="connsiteY15" fmla="*/ 48272 h 57689"/>
                <a:gd name="connsiteX16" fmla="*/ 147354 w 148624"/>
                <a:gd name="connsiteY16" fmla="*/ 47001 h 57689"/>
                <a:gd name="connsiteX17" fmla="*/ 146084 w 148624"/>
                <a:gd name="connsiteY17" fmla="*/ 45731 h 57689"/>
                <a:gd name="connsiteX18" fmla="*/ 144813 w 148624"/>
                <a:gd name="connsiteY18" fmla="*/ 44461 h 57689"/>
                <a:gd name="connsiteX19" fmla="*/ 143543 w 148624"/>
                <a:gd name="connsiteY19" fmla="*/ 44461 h 57689"/>
                <a:gd name="connsiteX20" fmla="*/ 143543 w 148624"/>
                <a:gd name="connsiteY20" fmla="*/ 44461 h 57689"/>
                <a:gd name="connsiteX21" fmla="*/ 139732 w 148624"/>
                <a:gd name="connsiteY21" fmla="*/ 43190 h 57689"/>
                <a:gd name="connsiteX22" fmla="*/ 10162 w 148624"/>
                <a:gd name="connsiteY22" fmla="*/ 0 h 57689"/>
                <a:gd name="connsiteX23" fmla="*/ 10162 w 148624"/>
                <a:gd name="connsiteY23" fmla="*/ 3811 h 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624" h="57689">
                  <a:moveTo>
                    <a:pt x="10162" y="3811"/>
                  </a:moveTo>
                  <a:cubicBezTo>
                    <a:pt x="10162" y="7622"/>
                    <a:pt x="7622" y="11433"/>
                    <a:pt x="2541" y="11433"/>
                  </a:cubicBezTo>
                  <a:cubicBezTo>
                    <a:pt x="2541" y="11433"/>
                    <a:pt x="2541" y="11433"/>
                    <a:pt x="2541" y="11433"/>
                  </a:cubicBezTo>
                  <a:cubicBezTo>
                    <a:pt x="1270" y="11433"/>
                    <a:pt x="1270" y="11433"/>
                    <a:pt x="0" y="11433"/>
                  </a:cubicBezTo>
                  <a:lnTo>
                    <a:pt x="0" y="11433"/>
                  </a:lnTo>
                  <a:lnTo>
                    <a:pt x="3811" y="12703"/>
                  </a:lnTo>
                  <a:lnTo>
                    <a:pt x="125759" y="53353"/>
                  </a:lnTo>
                  <a:lnTo>
                    <a:pt x="138462" y="57164"/>
                  </a:lnTo>
                  <a:cubicBezTo>
                    <a:pt x="141003" y="58434"/>
                    <a:pt x="143543" y="57164"/>
                    <a:pt x="146084" y="55893"/>
                  </a:cubicBezTo>
                  <a:cubicBezTo>
                    <a:pt x="146084" y="55893"/>
                    <a:pt x="147354" y="54623"/>
                    <a:pt x="147354" y="54623"/>
                  </a:cubicBezTo>
                  <a:cubicBezTo>
                    <a:pt x="147354" y="54623"/>
                    <a:pt x="147354" y="53353"/>
                    <a:pt x="148624" y="53353"/>
                  </a:cubicBezTo>
                  <a:lnTo>
                    <a:pt x="148624" y="53353"/>
                  </a:lnTo>
                  <a:lnTo>
                    <a:pt x="148624" y="52083"/>
                  </a:lnTo>
                  <a:cubicBezTo>
                    <a:pt x="148624" y="52083"/>
                    <a:pt x="148624" y="50812"/>
                    <a:pt x="148624" y="50812"/>
                  </a:cubicBezTo>
                  <a:cubicBezTo>
                    <a:pt x="148624" y="50812"/>
                    <a:pt x="148624" y="49542"/>
                    <a:pt x="148624" y="49542"/>
                  </a:cubicBezTo>
                  <a:lnTo>
                    <a:pt x="148624" y="48272"/>
                  </a:lnTo>
                  <a:lnTo>
                    <a:pt x="147354" y="47001"/>
                  </a:lnTo>
                  <a:lnTo>
                    <a:pt x="146084" y="45731"/>
                  </a:lnTo>
                  <a:lnTo>
                    <a:pt x="144813" y="44461"/>
                  </a:lnTo>
                  <a:lnTo>
                    <a:pt x="143543" y="44461"/>
                  </a:lnTo>
                  <a:lnTo>
                    <a:pt x="143543" y="44461"/>
                  </a:lnTo>
                  <a:lnTo>
                    <a:pt x="139732" y="43190"/>
                  </a:lnTo>
                  <a:lnTo>
                    <a:pt x="10162" y="0"/>
                  </a:lnTo>
                  <a:lnTo>
                    <a:pt x="10162" y="3811"/>
                  </a:lnTo>
                  <a:close/>
                </a:path>
              </a:pathLst>
            </a:custGeom>
            <a:solidFill>
              <a:srgbClr val="000000"/>
            </a:solidFill>
            <a:ln w="12688"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61D7A6C0-DB32-4674-9E34-EEF396EC180F}"/>
                </a:ext>
              </a:extLst>
            </p:cNvPr>
            <p:cNvSpPr/>
            <p:nvPr/>
          </p:nvSpPr>
          <p:spPr>
            <a:xfrm>
              <a:off x="2836881" y="144250"/>
              <a:ext cx="952" cy="564"/>
            </a:xfrm>
            <a:custGeom>
              <a:avLst/>
              <a:gdLst>
                <a:gd name="connsiteX0" fmla="*/ 953 w 952"/>
                <a:gd name="connsiteY0" fmla="*/ 565 h 564"/>
                <a:gd name="connsiteX1" fmla="*/ 953 w 952"/>
                <a:gd name="connsiteY1" fmla="*/ 565 h 564"/>
                <a:gd name="connsiteX2" fmla="*/ 953 w 952"/>
                <a:gd name="connsiteY2" fmla="*/ 565 h 564"/>
                <a:gd name="connsiteX3" fmla="*/ 953 w 952"/>
                <a:gd name="connsiteY3" fmla="*/ 565 h 564"/>
              </a:gdLst>
              <a:ahLst/>
              <a:cxnLst>
                <a:cxn ang="0">
                  <a:pos x="connsiteX0" y="connsiteY0"/>
                </a:cxn>
                <a:cxn ang="0">
                  <a:pos x="connsiteX1" y="connsiteY1"/>
                </a:cxn>
                <a:cxn ang="0">
                  <a:pos x="connsiteX2" y="connsiteY2"/>
                </a:cxn>
                <a:cxn ang="0">
                  <a:pos x="connsiteX3" y="connsiteY3"/>
                </a:cxn>
              </a:cxnLst>
              <a:rect l="l" t="t" r="r" b="b"/>
              <a:pathLst>
                <a:path w="952" h="564">
                  <a:moveTo>
                    <a:pt x="953" y="565"/>
                  </a:moveTo>
                  <a:lnTo>
                    <a:pt x="953" y="565"/>
                  </a:lnTo>
                  <a:lnTo>
                    <a:pt x="953" y="565"/>
                  </a:lnTo>
                  <a:cubicBezTo>
                    <a:pt x="-318" y="-706"/>
                    <a:pt x="-318" y="565"/>
                    <a:pt x="953" y="565"/>
                  </a:cubicBezTo>
                  <a:close/>
                </a:path>
              </a:pathLst>
            </a:custGeom>
            <a:solidFill>
              <a:srgbClr val="000000"/>
            </a:solidFill>
            <a:ln w="12688"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267708F8-282E-4BF5-86F9-F5D9C70DD91A}"/>
                </a:ext>
              </a:extLst>
            </p:cNvPr>
            <p:cNvSpPr/>
            <p:nvPr/>
          </p:nvSpPr>
          <p:spPr>
            <a:xfrm>
              <a:off x="2837834" y="146085"/>
              <a:ext cx="12702" cy="1270"/>
            </a:xfrm>
            <a:custGeom>
              <a:avLst/>
              <a:gdLst>
                <a:gd name="connsiteX0" fmla="*/ 0 w 12702"/>
                <a:gd name="connsiteY0" fmla="*/ 1270 h 1270"/>
                <a:gd name="connsiteX1" fmla="*/ 0 w 12702"/>
                <a:gd name="connsiteY1" fmla="*/ 0 h 1270"/>
                <a:gd name="connsiteX2" fmla="*/ 0 w 12702"/>
                <a:gd name="connsiteY2" fmla="*/ 127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lnTo>
                    <a:pt x="0" y="0"/>
                  </a:lnTo>
                  <a:cubicBezTo>
                    <a:pt x="0" y="0"/>
                    <a:pt x="0" y="1270"/>
                    <a:pt x="0" y="1270"/>
                  </a:cubicBezTo>
                  <a:cubicBezTo>
                    <a:pt x="0" y="1270"/>
                    <a:pt x="0" y="1270"/>
                    <a:pt x="0" y="1270"/>
                  </a:cubicBezTo>
                  <a:close/>
                </a:path>
              </a:pathLst>
            </a:custGeom>
            <a:solidFill>
              <a:srgbClr val="000000"/>
            </a:solidFill>
            <a:ln w="12688"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94053E9F-7746-4B80-B033-E924D82364C9}"/>
                </a:ext>
              </a:extLst>
            </p:cNvPr>
            <p:cNvSpPr/>
            <p:nvPr/>
          </p:nvSpPr>
          <p:spPr>
            <a:xfrm>
              <a:off x="2226823" y="35568"/>
              <a:ext cx="604659" cy="116868"/>
            </a:xfrm>
            <a:custGeom>
              <a:avLst/>
              <a:gdLst>
                <a:gd name="connsiteX0" fmla="*/ 7622 w 604659"/>
                <a:gd name="connsiteY0" fmla="*/ 5081 h 116868"/>
                <a:gd name="connsiteX1" fmla="*/ 3811 w 604659"/>
                <a:gd name="connsiteY1" fmla="*/ 15244 h 116868"/>
                <a:gd name="connsiteX2" fmla="*/ 3811 w 604659"/>
                <a:gd name="connsiteY2" fmla="*/ 15244 h 116868"/>
                <a:gd name="connsiteX3" fmla="*/ 1270 w 604659"/>
                <a:gd name="connsiteY3" fmla="*/ 15244 h 116868"/>
                <a:gd name="connsiteX4" fmla="*/ 579254 w 604659"/>
                <a:gd name="connsiteY4" fmla="*/ 116868 h 116868"/>
                <a:gd name="connsiteX5" fmla="*/ 599578 w 604659"/>
                <a:gd name="connsiteY5" fmla="*/ 106706 h 116868"/>
                <a:gd name="connsiteX6" fmla="*/ 599578 w 604659"/>
                <a:gd name="connsiteY6" fmla="*/ 106706 h 116868"/>
                <a:gd name="connsiteX7" fmla="*/ 600849 w 604659"/>
                <a:gd name="connsiteY7" fmla="*/ 106706 h 116868"/>
                <a:gd name="connsiteX8" fmla="*/ 602119 w 604659"/>
                <a:gd name="connsiteY8" fmla="*/ 106706 h 116868"/>
                <a:gd name="connsiteX9" fmla="*/ 602119 w 604659"/>
                <a:gd name="connsiteY9" fmla="*/ 106706 h 116868"/>
                <a:gd name="connsiteX10" fmla="*/ 603389 w 604659"/>
                <a:gd name="connsiteY10" fmla="*/ 106706 h 116868"/>
                <a:gd name="connsiteX11" fmla="*/ 604659 w 604659"/>
                <a:gd name="connsiteY11" fmla="*/ 106706 h 116868"/>
                <a:gd name="connsiteX12" fmla="*/ 604659 w 604659"/>
                <a:gd name="connsiteY12" fmla="*/ 106706 h 116868"/>
                <a:gd name="connsiteX13" fmla="*/ 1270 w 604659"/>
                <a:gd name="connsiteY13" fmla="*/ 0 h 116868"/>
                <a:gd name="connsiteX14" fmla="*/ 0 w 604659"/>
                <a:gd name="connsiteY14" fmla="*/ 0 h 116868"/>
                <a:gd name="connsiteX15" fmla="*/ 7622 w 604659"/>
                <a:gd name="connsiteY15" fmla="*/ 5081 h 11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116868">
                  <a:moveTo>
                    <a:pt x="7622" y="5081"/>
                  </a:moveTo>
                  <a:cubicBezTo>
                    <a:pt x="8892" y="8892"/>
                    <a:pt x="7622" y="12703"/>
                    <a:pt x="3811" y="15244"/>
                  </a:cubicBezTo>
                  <a:cubicBezTo>
                    <a:pt x="3811" y="15244"/>
                    <a:pt x="3811" y="15244"/>
                    <a:pt x="3811" y="15244"/>
                  </a:cubicBezTo>
                  <a:lnTo>
                    <a:pt x="1270" y="15244"/>
                  </a:lnTo>
                  <a:lnTo>
                    <a:pt x="579254" y="116868"/>
                  </a:lnTo>
                  <a:lnTo>
                    <a:pt x="599578" y="106706"/>
                  </a:lnTo>
                  <a:lnTo>
                    <a:pt x="599578" y="106706"/>
                  </a:lnTo>
                  <a:lnTo>
                    <a:pt x="600849" y="106706"/>
                  </a:lnTo>
                  <a:lnTo>
                    <a:pt x="602119" y="106706"/>
                  </a:lnTo>
                  <a:lnTo>
                    <a:pt x="602119" y="106706"/>
                  </a:lnTo>
                  <a:lnTo>
                    <a:pt x="603389" y="106706"/>
                  </a:lnTo>
                  <a:lnTo>
                    <a:pt x="604659" y="106706"/>
                  </a:lnTo>
                  <a:lnTo>
                    <a:pt x="604659" y="106706"/>
                  </a:lnTo>
                  <a:lnTo>
                    <a:pt x="1270" y="0"/>
                  </a:lnTo>
                  <a:lnTo>
                    <a:pt x="0" y="0"/>
                  </a:lnTo>
                  <a:cubicBezTo>
                    <a:pt x="5081" y="1270"/>
                    <a:pt x="6351" y="2541"/>
                    <a:pt x="7622" y="5081"/>
                  </a:cubicBezTo>
                  <a:close/>
                </a:path>
              </a:pathLst>
            </a:custGeom>
            <a:solidFill>
              <a:srgbClr val="000000"/>
            </a:solidFill>
            <a:ln w="12688"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9A4AD23F-B573-47EA-9E40-0D26FAAF55AC}"/>
                </a:ext>
              </a:extLst>
            </p:cNvPr>
            <p:cNvSpPr/>
            <p:nvPr/>
          </p:nvSpPr>
          <p:spPr>
            <a:xfrm>
              <a:off x="2835293" y="14227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263483E7-621E-4FC8-AFE7-963B96838979}"/>
                </a:ext>
              </a:extLst>
            </p:cNvPr>
            <p:cNvSpPr/>
            <p:nvPr/>
          </p:nvSpPr>
          <p:spPr>
            <a:xfrm>
              <a:off x="1100073" y="594502"/>
              <a:ext cx="12702" cy="564"/>
            </a:xfrm>
            <a:custGeom>
              <a:avLst/>
              <a:gdLst>
                <a:gd name="connsiteX0" fmla="*/ 0 w 12702"/>
                <a:gd name="connsiteY0" fmla="*/ 0 h 564"/>
                <a:gd name="connsiteX1" fmla="*/ 0 w 12702"/>
                <a:gd name="connsiteY1" fmla="*/ 0 h 564"/>
                <a:gd name="connsiteX2" fmla="*/ 0 w 12702"/>
                <a:gd name="connsiteY2" fmla="*/ 0 h 564"/>
                <a:gd name="connsiteX3" fmla="*/ 0 w 12702"/>
                <a:gd name="connsiteY3" fmla="*/ 0 h 564"/>
              </a:gdLst>
              <a:ahLst/>
              <a:cxnLst>
                <a:cxn ang="0">
                  <a:pos x="connsiteX0" y="connsiteY0"/>
                </a:cxn>
                <a:cxn ang="0">
                  <a:pos x="connsiteX1" y="connsiteY1"/>
                </a:cxn>
                <a:cxn ang="0">
                  <a:pos x="connsiteX2" y="connsiteY2"/>
                </a:cxn>
                <a:cxn ang="0">
                  <a:pos x="connsiteX3" y="connsiteY3"/>
                </a:cxn>
              </a:cxnLst>
              <a:rect l="l" t="t" r="r" b="b"/>
              <a:pathLst>
                <a:path w="12702" h="564">
                  <a:moveTo>
                    <a:pt x="0" y="0"/>
                  </a:moveTo>
                  <a:cubicBezTo>
                    <a:pt x="0" y="0"/>
                    <a:pt x="0" y="1270"/>
                    <a:pt x="0" y="0"/>
                  </a:cubicBezTo>
                  <a:cubicBezTo>
                    <a:pt x="0" y="1270"/>
                    <a:pt x="0" y="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87CEC0B0-2C97-4DF1-B7C8-40FC3E39EB40}"/>
                </a:ext>
              </a:extLst>
            </p:cNvPr>
            <p:cNvSpPr/>
            <p:nvPr/>
          </p:nvSpPr>
          <p:spPr>
            <a:xfrm>
              <a:off x="1103884" y="58942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B1CA66A9-DCFA-4447-BDCC-AF1A84699117}"/>
                </a:ext>
              </a:extLst>
            </p:cNvPr>
            <p:cNvSpPr/>
            <p:nvPr/>
          </p:nvSpPr>
          <p:spPr>
            <a:xfrm>
              <a:off x="1116587" y="591962"/>
              <a:ext cx="602118" cy="130841"/>
            </a:xfrm>
            <a:custGeom>
              <a:avLst/>
              <a:gdLst>
                <a:gd name="connsiteX0" fmla="*/ 597038 w 602118"/>
                <a:gd name="connsiteY0" fmla="*/ 125760 h 130841"/>
                <a:gd name="connsiteX1" fmla="*/ 597038 w 602118"/>
                <a:gd name="connsiteY1" fmla="*/ 125760 h 130841"/>
                <a:gd name="connsiteX2" fmla="*/ 597038 w 602118"/>
                <a:gd name="connsiteY2" fmla="*/ 125760 h 130841"/>
                <a:gd name="connsiteX3" fmla="*/ 597038 w 602118"/>
                <a:gd name="connsiteY3" fmla="*/ 123220 h 130841"/>
                <a:gd name="connsiteX4" fmla="*/ 597038 w 602118"/>
                <a:gd name="connsiteY4" fmla="*/ 121949 h 130841"/>
                <a:gd name="connsiteX5" fmla="*/ 598308 w 602118"/>
                <a:gd name="connsiteY5" fmla="*/ 120679 h 130841"/>
                <a:gd name="connsiteX6" fmla="*/ 598308 w 602118"/>
                <a:gd name="connsiteY6" fmla="*/ 119409 h 130841"/>
                <a:gd name="connsiteX7" fmla="*/ 599578 w 602118"/>
                <a:gd name="connsiteY7" fmla="*/ 118138 h 130841"/>
                <a:gd name="connsiteX8" fmla="*/ 602119 w 602118"/>
                <a:gd name="connsiteY8" fmla="*/ 116868 h 130841"/>
                <a:gd name="connsiteX9" fmla="*/ 15243 w 602118"/>
                <a:gd name="connsiteY9" fmla="*/ 0 h 130841"/>
                <a:gd name="connsiteX10" fmla="*/ 0 w 602118"/>
                <a:gd name="connsiteY10" fmla="*/ 7622 h 130841"/>
                <a:gd name="connsiteX11" fmla="*/ 0 w 602118"/>
                <a:gd name="connsiteY11" fmla="*/ 12703 h 130841"/>
                <a:gd name="connsiteX12" fmla="*/ 597038 w 602118"/>
                <a:gd name="connsiteY12" fmla="*/ 130841 h 130841"/>
                <a:gd name="connsiteX13" fmla="*/ 597038 w 602118"/>
                <a:gd name="connsiteY13" fmla="*/ 125760 h 1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118" h="130841">
                  <a:moveTo>
                    <a:pt x="597038" y="125760"/>
                  </a:moveTo>
                  <a:lnTo>
                    <a:pt x="597038" y="125760"/>
                  </a:lnTo>
                  <a:lnTo>
                    <a:pt x="597038" y="125760"/>
                  </a:lnTo>
                  <a:cubicBezTo>
                    <a:pt x="597038" y="124490"/>
                    <a:pt x="597038" y="124490"/>
                    <a:pt x="597038" y="123220"/>
                  </a:cubicBezTo>
                  <a:cubicBezTo>
                    <a:pt x="597038" y="123220"/>
                    <a:pt x="597038" y="123220"/>
                    <a:pt x="597038" y="121949"/>
                  </a:cubicBezTo>
                  <a:cubicBezTo>
                    <a:pt x="597038" y="121949"/>
                    <a:pt x="597038" y="120679"/>
                    <a:pt x="598308" y="120679"/>
                  </a:cubicBezTo>
                  <a:lnTo>
                    <a:pt x="598308" y="119409"/>
                  </a:lnTo>
                  <a:lnTo>
                    <a:pt x="599578" y="118138"/>
                  </a:lnTo>
                  <a:lnTo>
                    <a:pt x="602119" y="116868"/>
                  </a:lnTo>
                  <a:lnTo>
                    <a:pt x="15243" y="0"/>
                  </a:lnTo>
                  <a:lnTo>
                    <a:pt x="0" y="7622"/>
                  </a:lnTo>
                  <a:lnTo>
                    <a:pt x="0" y="12703"/>
                  </a:lnTo>
                  <a:lnTo>
                    <a:pt x="597038" y="130841"/>
                  </a:lnTo>
                  <a:lnTo>
                    <a:pt x="597038" y="125760"/>
                  </a:lnTo>
                  <a:close/>
                </a:path>
              </a:pathLst>
            </a:custGeom>
            <a:solidFill>
              <a:srgbClr val="000000"/>
            </a:solidFill>
            <a:ln w="12688"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72559576-3670-4F7E-A288-545B6868BE0F}"/>
                </a:ext>
              </a:extLst>
            </p:cNvPr>
            <p:cNvSpPr/>
            <p:nvPr/>
          </p:nvSpPr>
          <p:spPr>
            <a:xfrm>
              <a:off x="2837834" y="148061"/>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lnTo>
                    <a:pt x="0" y="565"/>
                  </a:lnTo>
                  <a:cubicBezTo>
                    <a:pt x="0" y="565"/>
                    <a:pt x="0" y="565"/>
                    <a:pt x="0" y="565"/>
                  </a:cubicBezTo>
                  <a:cubicBezTo>
                    <a:pt x="0" y="-706"/>
                    <a:pt x="0" y="565"/>
                    <a:pt x="0" y="565"/>
                  </a:cubicBezTo>
                  <a:close/>
                </a:path>
              </a:pathLst>
            </a:custGeom>
            <a:solidFill>
              <a:srgbClr val="000000"/>
            </a:solidFill>
            <a:ln w="12688"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E829E970-EDCE-4C2C-8028-7F338C11201C}"/>
                </a:ext>
              </a:extLst>
            </p:cNvPr>
            <p:cNvSpPr/>
            <p:nvPr/>
          </p:nvSpPr>
          <p:spPr>
            <a:xfrm>
              <a:off x="2832753" y="142274"/>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cubicBezTo>
                    <a:pt x="0" y="0"/>
                    <a:pt x="0" y="0"/>
                    <a:pt x="1270" y="0"/>
                  </a:cubicBezTo>
                  <a:close/>
                </a:path>
              </a:pathLst>
            </a:custGeom>
            <a:solidFill>
              <a:srgbClr val="000000"/>
            </a:solidFill>
            <a:ln w="12688"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1AB0DAF5-922B-42B2-B86C-2B4E013918F2}"/>
                </a:ext>
              </a:extLst>
            </p:cNvPr>
            <p:cNvSpPr/>
            <p:nvPr/>
          </p:nvSpPr>
          <p:spPr>
            <a:xfrm>
              <a:off x="2835293" y="14354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DCE6EC76-4F6B-4D92-88EC-2441C354BF56}"/>
                </a:ext>
              </a:extLst>
            </p:cNvPr>
            <p:cNvSpPr/>
            <p:nvPr/>
          </p:nvSpPr>
          <p:spPr>
            <a:xfrm>
              <a:off x="2837834" y="14481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AD7112D1-ACAD-42CA-909D-3852057AA3C0}"/>
                </a:ext>
              </a:extLst>
            </p:cNvPr>
            <p:cNvSpPr/>
            <p:nvPr/>
          </p:nvSpPr>
          <p:spPr>
            <a:xfrm>
              <a:off x="1717436" y="141003"/>
              <a:ext cx="1110236" cy="579259"/>
            </a:xfrm>
            <a:custGeom>
              <a:avLst/>
              <a:gdLst>
                <a:gd name="connsiteX0" fmla="*/ 0 w 1110236"/>
                <a:gd name="connsiteY0" fmla="*/ 569097 h 579259"/>
                <a:gd name="connsiteX1" fmla="*/ 0 w 1110236"/>
                <a:gd name="connsiteY1" fmla="*/ 569097 h 579259"/>
                <a:gd name="connsiteX2" fmla="*/ 2541 w 1110236"/>
                <a:gd name="connsiteY2" fmla="*/ 567826 h 579259"/>
                <a:gd name="connsiteX3" fmla="*/ 10162 w 1110236"/>
                <a:gd name="connsiteY3" fmla="*/ 574178 h 579259"/>
                <a:gd name="connsiteX4" fmla="*/ 10162 w 1110236"/>
                <a:gd name="connsiteY4" fmla="*/ 574178 h 579259"/>
                <a:gd name="connsiteX5" fmla="*/ 10162 w 1110236"/>
                <a:gd name="connsiteY5" fmla="*/ 579259 h 579259"/>
                <a:gd name="connsiteX6" fmla="*/ 1106425 w 1110236"/>
                <a:gd name="connsiteY6" fmla="*/ 19055 h 579259"/>
                <a:gd name="connsiteX7" fmla="*/ 1106425 w 1110236"/>
                <a:gd name="connsiteY7" fmla="*/ 7622 h 579259"/>
                <a:gd name="connsiteX8" fmla="*/ 1110236 w 1110236"/>
                <a:gd name="connsiteY8" fmla="*/ 0 h 579259"/>
                <a:gd name="connsiteX9" fmla="*/ 1110236 w 1110236"/>
                <a:gd name="connsiteY9" fmla="*/ 0 h 579259"/>
                <a:gd name="connsiteX10" fmla="*/ 1089911 w 1110236"/>
                <a:gd name="connsiteY10" fmla="*/ 11433 h 579259"/>
                <a:gd name="connsiteX11" fmla="*/ 2541 w 1110236"/>
                <a:gd name="connsiteY11" fmla="*/ 567826 h 579259"/>
                <a:gd name="connsiteX12" fmla="*/ 0 w 1110236"/>
                <a:gd name="connsiteY12" fmla="*/ 569097 h 579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0236" h="579259">
                  <a:moveTo>
                    <a:pt x="0" y="569097"/>
                  </a:moveTo>
                  <a:lnTo>
                    <a:pt x="0" y="569097"/>
                  </a:lnTo>
                  <a:cubicBezTo>
                    <a:pt x="0" y="569097"/>
                    <a:pt x="1270" y="567826"/>
                    <a:pt x="2541" y="567826"/>
                  </a:cubicBezTo>
                  <a:cubicBezTo>
                    <a:pt x="6351" y="567826"/>
                    <a:pt x="10162" y="570367"/>
                    <a:pt x="10162" y="574178"/>
                  </a:cubicBezTo>
                  <a:cubicBezTo>
                    <a:pt x="10162" y="574178"/>
                    <a:pt x="10162" y="574178"/>
                    <a:pt x="10162" y="574178"/>
                  </a:cubicBezTo>
                  <a:lnTo>
                    <a:pt x="10162" y="579259"/>
                  </a:lnTo>
                  <a:lnTo>
                    <a:pt x="1106425" y="19055"/>
                  </a:lnTo>
                  <a:lnTo>
                    <a:pt x="1106425" y="7622"/>
                  </a:lnTo>
                  <a:cubicBezTo>
                    <a:pt x="1106425" y="5081"/>
                    <a:pt x="1107696" y="2541"/>
                    <a:pt x="1110236" y="0"/>
                  </a:cubicBezTo>
                  <a:lnTo>
                    <a:pt x="1110236" y="0"/>
                  </a:lnTo>
                  <a:lnTo>
                    <a:pt x="1089911" y="11433"/>
                  </a:lnTo>
                  <a:lnTo>
                    <a:pt x="2541" y="567826"/>
                  </a:lnTo>
                  <a:lnTo>
                    <a:pt x="0" y="569097"/>
                  </a:lnTo>
                  <a:close/>
                </a:path>
              </a:pathLst>
            </a:custGeom>
            <a:solidFill>
              <a:srgbClr val="000000"/>
            </a:solidFill>
            <a:ln w="12688"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8D1D0340-1511-497F-84F1-3E6C2981D6C6}"/>
                </a:ext>
              </a:extLst>
            </p:cNvPr>
            <p:cNvSpPr/>
            <p:nvPr/>
          </p:nvSpPr>
          <p:spPr>
            <a:xfrm>
              <a:off x="1413836" y="4369848"/>
              <a:ext cx="45730" cy="470012"/>
            </a:xfrm>
            <a:custGeom>
              <a:avLst/>
              <a:gdLst>
                <a:gd name="connsiteX0" fmla="*/ 38109 w 45730"/>
                <a:gd name="connsiteY0" fmla="*/ 461121 h 470012"/>
                <a:gd name="connsiteX1" fmla="*/ 44460 w 45730"/>
                <a:gd name="connsiteY1" fmla="*/ 464932 h 470012"/>
                <a:gd name="connsiteX2" fmla="*/ 45731 w 45730"/>
                <a:gd name="connsiteY2" fmla="*/ 470013 h 470012"/>
                <a:gd name="connsiteX3" fmla="*/ 45731 w 45730"/>
                <a:gd name="connsiteY3" fmla="*/ 468742 h 470012"/>
                <a:gd name="connsiteX4" fmla="*/ 45731 w 45730"/>
                <a:gd name="connsiteY4" fmla="*/ 468742 h 470012"/>
                <a:gd name="connsiteX5" fmla="*/ 45731 w 45730"/>
                <a:gd name="connsiteY5" fmla="*/ 463661 h 470012"/>
                <a:gd name="connsiteX6" fmla="*/ 7622 w 45730"/>
                <a:gd name="connsiteY6" fmla="*/ 0 h 470012"/>
                <a:gd name="connsiteX7" fmla="*/ 3811 w 45730"/>
                <a:gd name="connsiteY7" fmla="*/ 2541 h 470012"/>
                <a:gd name="connsiteX8" fmla="*/ 0 w 45730"/>
                <a:gd name="connsiteY8" fmla="*/ 5081 h 470012"/>
                <a:gd name="connsiteX9" fmla="*/ 38109 w 45730"/>
                <a:gd name="connsiteY9" fmla="*/ 461121 h 47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30" h="470012">
                  <a:moveTo>
                    <a:pt x="38109" y="461121"/>
                  </a:moveTo>
                  <a:cubicBezTo>
                    <a:pt x="40649" y="461121"/>
                    <a:pt x="43190" y="462391"/>
                    <a:pt x="44460" y="464932"/>
                  </a:cubicBezTo>
                  <a:cubicBezTo>
                    <a:pt x="45731" y="466202"/>
                    <a:pt x="45731" y="467472"/>
                    <a:pt x="45731" y="470013"/>
                  </a:cubicBezTo>
                  <a:cubicBezTo>
                    <a:pt x="45731" y="470013"/>
                    <a:pt x="45731" y="470013"/>
                    <a:pt x="45731" y="468742"/>
                  </a:cubicBezTo>
                  <a:lnTo>
                    <a:pt x="45731" y="468742"/>
                  </a:lnTo>
                  <a:lnTo>
                    <a:pt x="45731" y="463661"/>
                  </a:lnTo>
                  <a:lnTo>
                    <a:pt x="7622" y="0"/>
                  </a:lnTo>
                  <a:lnTo>
                    <a:pt x="3811" y="2541"/>
                  </a:lnTo>
                  <a:lnTo>
                    <a:pt x="0" y="5081"/>
                  </a:lnTo>
                  <a:lnTo>
                    <a:pt x="38109" y="461121"/>
                  </a:lnTo>
                  <a:close/>
                </a:path>
              </a:pathLst>
            </a:custGeom>
            <a:solidFill>
              <a:srgbClr val="000000"/>
            </a:solidFill>
            <a:ln w="12688"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0A6608F3-B37C-4135-90CE-1B4E30D6DC88}"/>
                </a:ext>
              </a:extLst>
            </p:cNvPr>
            <p:cNvSpPr/>
            <p:nvPr/>
          </p:nvSpPr>
          <p:spPr>
            <a:xfrm>
              <a:off x="1459566" y="4840567"/>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706"/>
                    <a:pt x="0" y="565"/>
                  </a:cubicBezTo>
                  <a:lnTo>
                    <a:pt x="0" y="565"/>
                  </a:lnTo>
                  <a:lnTo>
                    <a:pt x="0" y="565"/>
                  </a:lnTo>
                  <a:close/>
                </a:path>
              </a:pathLst>
            </a:custGeom>
            <a:solidFill>
              <a:srgbClr val="000000"/>
            </a:solidFill>
            <a:ln w="12688"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C5CB0380-95BD-4B82-8E79-E722C1E56B06}"/>
                </a:ext>
              </a:extLst>
            </p:cNvPr>
            <p:cNvSpPr/>
            <p:nvPr/>
          </p:nvSpPr>
          <p:spPr>
            <a:xfrm>
              <a:off x="1458296" y="484240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D62D11E1-7180-4AA6-BF04-4345635FACAA}"/>
                </a:ext>
              </a:extLst>
            </p:cNvPr>
            <p:cNvSpPr/>
            <p:nvPr/>
          </p:nvSpPr>
          <p:spPr>
            <a:xfrm>
              <a:off x="1775869" y="1411308"/>
              <a:ext cx="565280" cy="136246"/>
            </a:xfrm>
            <a:custGeom>
              <a:avLst/>
              <a:gdLst>
                <a:gd name="connsiteX0" fmla="*/ 1270 w 565280"/>
                <a:gd name="connsiteY0" fmla="*/ 15244 h 136246"/>
                <a:gd name="connsiteX1" fmla="*/ 551307 w 565280"/>
                <a:gd name="connsiteY1" fmla="*/ 134652 h 136246"/>
                <a:gd name="connsiteX2" fmla="*/ 556388 w 565280"/>
                <a:gd name="connsiteY2" fmla="*/ 135923 h 136246"/>
                <a:gd name="connsiteX3" fmla="*/ 565280 w 565280"/>
                <a:gd name="connsiteY3" fmla="*/ 129571 h 136246"/>
                <a:gd name="connsiteX4" fmla="*/ 565280 w 565280"/>
                <a:gd name="connsiteY4" fmla="*/ 127030 h 136246"/>
                <a:gd name="connsiteX5" fmla="*/ 565280 w 565280"/>
                <a:gd name="connsiteY5" fmla="*/ 125760 h 136246"/>
                <a:gd name="connsiteX6" fmla="*/ 565280 w 565280"/>
                <a:gd name="connsiteY6" fmla="*/ 124490 h 136246"/>
                <a:gd name="connsiteX7" fmla="*/ 564010 w 565280"/>
                <a:gd name="connsiteY7" fmla="*/ 123220 h 136246"/>
                <a:gd name="connsiteX8" fmla="*/ 562740 w 565280"/>
                <a:gd name="connsiteY8" fmla="*/ 121949 h 136246"/>
                <a:gd name="connsiteX9" fmla="*/ 561469 w 565280"/>
                <a:gd name="connsiteY9" fmla="*/ 121949 h 136246"/>
                <a:gd name="connsiteX10" fmla="*/ 560199 w 565280"/>
                <a:gd name="connsiteY10" fmla="*/ 121949 h 136246"/>
                <a:gd name="connsiteX11" fmla="*/ 560199 w 565280"/>
                <a:gd name="connsiteY11" fmla="*/ 121949 h 136246"/>
                <a:gd name="connsiteX12" fmla="*/ 557659 w 565280"/>
                <a:gd name="connsiteY12" fmla="*/ 121949 h 136246"/>
                <a:gd name="connsiteX13" fmla="*/ 2541 w 565280"/>
                <a:gd name="connsiteY13" fmla="*/ 0 h 136246"/>
                <a:gd name="connsiteX14" fmla="*/ 0 w 565280"/>
                <a:gd name="connsiteY14" fmla="*/ 0 h 136246"/>
                <a:gd name="connsiteX15" fmla="*/ 0 w 565280"/>
                <a:gd name="connsiteY15" fmla="*/ 5081 h 136246"/>
                <a:gd name="connsiteX16" fmla="*/ 1270 w 565280"/>
                <a:gd name="connsiteY16" fmla="*/ 15244 h 13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280" h="136246">
                  <a:moveTo>
                    <a:pt x="1270" y="15244"/>
                  </a:moveTo>
                  <a:lnTo>
                    <a:pt x="551307" y="134652"/>
                  </a:lnTo>
                  <a:lnTo>
                    <a:pt x="556388" y="135923"/>
                  </a:lnTo>
                  <a:cubicBezTo>
                    <a:pt x="560199" y="137193"/>
                    <a:pt x="564010" y="134652"/>
                    <a:pt x="565280" y="129571"/>
                  </a:cubicBezTo>
                  <a:cubicBezTo>
                    <a:pt x="565280" y="128301"/>
                    <a:pt x="565280" y="128301"/>
                    <a:pt x="565280" y="127030"/>
                  </a:cubicBezTo>
                  <a:cubicBezTo>
                    <a:pt x="565280" y="127030"/>
                    <a:pt x="565280" y="125760"/>
                    <a:pt x="565280" y="125760"/>
                  </a:cubicBezTo>
                  <a:cubicBezTo>
                    <a:pt x="565280" y="125760"/>
                    <a:pt x="565280" y="124490"/>
                    <a:pt x="565280" y="124490"/>
                  </a:cubicBezTo>
                  <a:cubicBezTo>
                    <a:pt x="565280" y="124490"/>
                    <a:pt x="565280" y="123220"/>
                    <a:pt x="564010" y="123220"/>
                  </a:cubicBezTo>
                  <a:cubicBezTo>
                    <a:pt x="564010" y="123220"/>
                    <a:pt x="562740" y="121949"/>
                    <a:pt x="562740" y="121949"/>
                  </a:cubicBezTo>
                  <a:lnTo>
                    <a:pt x="561469" y="121949"/>
                  </a:lnTo>
                  <a:cubicBezTo>
                    <a:pt x="561469" y="121949"/>
                    <a:pt x="560199" y="121949"/>
                    <a:pt x="560199" y="121949"/>
                  </a:cubicBezTo>
                  <a:lnTo>
                    <a:pt x="560199" y="121949"/>
                  </a:lnTo>
                  <a:lnTo>
                    <a:pt x="557659" y="121949"/>
                  </a:lnTo>
                  <a:lnTo>
                    <a:pt x="2541" y="0"/>
                  </a:lnTo>
                  <a:lnTo>
                    <a:pt x="0" y="0"/>
                  </a:lnTo>
                  <a:lnTo>
                    <a:pt x="0" y="5081"/>
                  </a:lnTo>
                  <a:lnTo>
                    <a:pt x="1270" y="15244"/>
                  </a:lnTo>
                  <a:close/>
                </a:path>
              </a:pathLst>
            </a:custGeom>
            <a:solidFill>
              <a:srgbClr val="000000"/>
            </a:solidFill>
            <a:ln w="12688"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E033B2C2-A0BB-4F47-9299-FC6A9940C822}"/>
                </a:ext>
              </a:extLst>
            </p:cNvPr>
            <p:cNvSpPr/>
            <p:nvPr/>
          </p:nvSpPr>
          <p:spPr>
            <a:xfrm>
              <a:off x="1759355" y="1416389"/>
              <a:ext cx="151164" cy="1985486"/>
            </a:xfrm>
            <a:custGeom>
              <a:avLst/>
              <a:gdLst>
                <a:gd name="connsiteX0" fmla="*/ 137192 w 151164"/>
                <a:gd name="connsiteY0" fmla="*/ 1985486 h 1985486"/>
                <a:gd name="connsiteX1" fmla="*/ 141003 w 151164"/>
                <a:gd name="connsiteY1" fmla="*/ 1982946 h 1985486"/>
                <a:gd name="connsiteX2" fmla="*/ 151165 w 151164"/>
                <a:gd name="connsiteY2" fmla="*/ 1976595 h 1985486"/>
                <a:gd name="connsiteX3" fmla="*/ 16514 w 151164"/>
                <a:gd name="connsiteY3" fmla="*/ 10162 h 1985486"/>
                <a:gd name="connsiteX4" fmla="*/ 15243 w 151164"/>
                <a:gd name="connsiteY4" fmla="*/ 0 h 1985486"/>
                <a:gd name="connsiteX5" fmla="*/ 7622 w 151164"/>
                <a:gd name="connsiteY5" fmla="*/ 7622 h 1985486"/>
                <a:gd name="connsiteX6" fmla="*/ 0 w 151164"/>
                <a:gd name="connsiteY6" fmla="*/ 1270 h 1985486"/>
                <a:gd name="connsiteX7" fmla="*/ 0 w 151164"/>
                <a:gd name="connsiteY7" fmla="*/ 1270 h 1985486"/>
                <a:gd name="connsiteX8" fmla="*/ 0 w 151164"/>
                <a:gd name="connsiteY8" fmla="*/ 6352 h 1985486"/>
                <a:gd name="connsiteX9" fmla="*/ 137192 w 151164"/>
                <a:gd name="connsiteY9" fmla="*/ 1985486 h 198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64" h="1985486">
                  <a:moveTo>
                    <a:pt x="137192" y="1985486"/>
                  </a:moveTo>
                  <a:lnTo>
                    <a:pt x="141003" y="1982946"/>
                  </a:lnTo>
                  <a:lnTo>
                    <a:pt x="151165" y="1976595"/>
                  </a:lnTo>
                  <a:lnTo>
                    <a:pt x="16514" y="10162"/>
                  </a:lnTo>
                  <a:lnTo>
                    <a:pt x="15243" y="0"/>
                  </a:lnTo>
                  <a:cubicBezTo>
                    <a:pt x="15243" y="3811"/>
                    <a:pt x="12703" y="7622"/>
                    <a:pt x="7622" y="7622"/>
                  </a:cubicBezTo>
                  <a:cubicBezTo>
                    <a:pt x="3811" y="7622"/>
                    <a:pt x="0" y="5081"/>
                    <a:pt x="0" y="1270"/>
                  </a:cubicBezTo>
                  <a:cubicBezTo>
                    <a:pt x="0" y="1270"/>
                    <a:pt x="0" y="1270"/>
                    <a:pt x="0" y="1270"/>
                  </a:cubicBezTo>
                  <a:lnTo>
                    <a:pt x="0" y="6352"/>
                  </a:lnTo>
                  <a:lnTo>
                    <a:pt x="137192" y="1985486"/>
                  </a:lnTo>
                  <a:close/>
                </a:path>
              </a:pathLst>
            </a:custGeom>
            <a:solidFill>
              <a:srgbClr val="000000"/>
            </a:solidFill>
            <a:ln w="12688"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9DFEAA58-5611-42C9-AC83-2E1DC1919E11}"/>
                </a:ext>
              </a:extLst>
            </p:cNvPr>
            <p:cNvSpPr/>
            <p:nvPr/>
          </p:nvSpPr>
          <p:spPr>
            <a:xfrm>
              <a:off x="1713625" y="709851"/>
              <a:ext cx="63514" cy="715430"/>
            </a:xfrm>
            <a:custGeom>
              <a:avLst/>
              <a:gdLst>
                <a:gd name="connsiteX0" fmla="*/ 0 w 63514"/>
                <a:gd name="connsiteY0" fmla="*/ 4060 h 715430"/>
                <a:gd name="connsiteX1" fmla="*/ 0 w 63514"/>
                <a:gd name="connsiteY1" fmla="*/ 4060 h 715430"/>
                <a:gd name="connsiteX2" fmla="*/ 0 w 63514"/>
                <a:gd name="connsiteY2" fmla="*/ 7871 h 715430"/>
                <a:gd name="connsiteX3" fmla="*/ 0 w 63514"/>
                <a:gd name="connsiteY3" fmla="*/ 7871 h 715430"/>
                <a:gd name="connsiteX4" fmla="*/ 0 w 63514"/>
                <a:gd name="connsiteY4" fmla="*/ 7871 h 715430"/>
                <a:gd name="connsiteX5" fmla="*/ 0 w 63514"/>
                <a:gd name="connsiteY5" fmla="*/ 14223 h 715430"/>
                <a:gd name="connsiteX6" fmla="*/ 47001 w 63514"/>
                <a:gd name="connsiteY6" fmla="*/ 697647 h 715430"/>
                <a:gd name="connsiteX7" fmla="*/ 48271 w 63514"/>
                <a:gd name="connsiteY7" fmla="*/ 707809 h 715430"/>
                <a:gd name="connsiteX8" fmla="*/ 55893 w 63514"/>
                <a:gd name="connsiteY8" fmla="*/ 715431 h 715430"/>
                <a:gd name="connsiteX9" fmla="*/ 55893 w 63514"/>
                <a:gd name="connsiteY9" fmla="*/ 715431 h 715430"/>
                <a:gd name="connsiteX10" fmla="*/ 63515 w 63514"/>
                <a:gd name="connsiteY10" fmla="*/ 707809 h 715430"/>
                <a:gd name="connsiteX11" fmla="*/ 63515 w 63514"/>
                <a:gd name="connsiteY11" fmla="*/ 700187 h 715430"/>
                <a:gd name="connsiteX12" fmla="*/ 16514 w 63514"/>
                <a:gd name="connsiteY12" fmla="*/ 11682 h 715430"/>
                <a:gd name="connsiteX13" fmla="*/ 16514 w 63514"/>
                <a:gd name="connsiteY13" fmla="*/ 6601 h 715430"/>
                <a:gd name="connsiteX14" fmla="*/ 8892 w 63514"/>
                <a:gd name="connsiteY14" fmla="*/ 249 h 715430"/>
                <a:gd name="connsiteX15" fmla="*/ 8892 w 63514"/>
                <a:gd name="connsiteY15" fmla="*/ 249 h 715430"/>
                <a:gd name="connsiteX16" fmla="*/ 5081 w 63514"/>
                <a:gd name="connsiteY16" fmla="*/ 1519 h 715430"/>
                <a:gd name="connsiteX17" fmla="*/ 3811 w 63514"/>
                <a:gd name="connsiteY17" fmla="*/ 2790 h 715430"/>
                <a:gd name="connsiteX18" fmla="*/ 0 w 63514"/>
                <a:gd name="connsiteY18" fmla="*/ 4060 h 7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14" h="715430">
                  <a:moveTo>
                    <a:pt x="0" y="4060"/>
                  </a:moveTo>
                  <a:cubicBezTo>
                    <a:pt x="0" y="4060"/>
                    <a:pt x="0" y="4060"/>
                    <a:pt x="0" y="4060"/>
                  </a:cubicBezTo>
                  <a:cubicBezTo>
                    <a:pt x="0" y="5330"/>
                    <a:pt x="0" y="6601"/>
                    <a:pt x="0" y="7871"/>
                  </a:cubicBezTo>
                  <a:lnTo>
                    <a:pt x="0" y="7871"/>
                  </a:lnTo>
                  <a:lnTo>
                    <a:pt x="0" y="7871"/>
                  </a:lnTo>
                  <a:lnTo>
                    <a:pt x="0" y="14223"/>
                  </a:lnTo>
                  <a:lnTo>
                    <a:pt x="47001" y="697647"/>
                  </a:lnTo>
                  <a:lnTo>
                    <a:pt x="48271" y="707809"/>
                  </a:lnTo>
                  <a:cubicBezTo>
                    <a:pt x="48271" y="711620"/>
                    <a:pt x="52082" y="715431"/>
                    <a:pt x="55893" y="715431"/>
                  </a:cubicBezTo>
                  <a:cubicBezTo>
                    <a:pt x="55893" y="715431"/>
                    <a:pt x="55893" y="715431"/>
                    <a:pt x="55893" y="715431"/>
                  </a:cubicBezTo>
                  <a:cubicBezTo>
                    <a:pt x="59704" y="715431"/>
                    <a:pt x="63515" y="711620"/>
                    <a:pt x="63515" y="707809"/>
                  </a:cubicBezTo>
                  <a:lnTo>
                    <a:pt x="63515" y="700187"/>
                  </a:lnTo>
                  <a:lnTo>
                    <a:pt x="16514" y="11682"/>
                  </a:lnTo>
                  <a:lnTo>
                    <a:pt x="16514" y="6601"/>
                  </a:lnTo>
                  <a:cubicBezTo>
                    <a:pt x="16514" y="2790"/>
                    <a:pt x="12703" y="-1021"/>
                    <a:pt x="8892" y="249"/>
                  </a:cubicBezTo>
                  <a:cubicBezTo>
                    <a:pt x="8892" y="249"/>
                    <a:pt x="8892" y="249"/>
                    <a:pt x="8892" y="249"/>
                  </a:cubicBezTo>
                  <a:cubicBezTo>
                    <a:pt x="7622" y="249"/>
                    <a:pt x="6351" y="249"/>
                    <a:pt x="5081" y="1519"/>
                  </a:cubicBezTo>
                  <a:lnTo>
                    <a:pt x="3811" y="2790"/>
                  </a:lnTo>
                  <a:cubicBezTo>
                    <a:pt x="1270" y="2790"/>
                    <a:pt x="1270" y="2790"/>
                    <a:pt x="0" y="4060"/>
                  </a:cubicBezTo>
                  <a:close/>
                </a:path>
              </a:pathLst>
            </a:custGeom>
            <a:solidFill>
              <a:srgbClr val="000000"/>
            </a:solidFill>
            <a:ln w="12688"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D57F0E7C-43DC-47CD-BF9F-1CB68E92E2B4}"/>
                </a:ext>
              </a:extLst>
            </p:cNvPr>
            <p:cNvSpPr/>
            <p:nvPr/>
          </p:nvSpPr>
          <p:spPr>
            <a:xfrm>
              <a:off x="3902340" y="6379471"/>
              <a:ext cx="560198" cy="476364"/>
            </a:xfrm>
            <a:custGeom>
              <a:avLst/>
              <a:gdLst>
                <a:gd name="connsiteX0" fmla="*/ 557659 w 560198"/>
                <a:gd name="connsiteY0" fmla="*/ 10162 h 476364"/>
                <a:gd name="connsiteX1" fmla="*/ 557659 w 560198"/>
                <a:gd name="connsiteY1" fmla="*/ 10162 h 476364"/>
                <a:gd name="connsiteX2" fmla="*/ 556388 w 560198"/>
                <a:gd name="connsiteY2" fmla="*/ 8892 h 476364"/>
                <a:gd name="connsiteX3" fmla="*/ 555118 w 560198"/>
                <a:gd name="connsiteY3" fmla="*/ 8892 h 476364"/>
                <a:gd name="connsiteX4" fmla="*/ 553847 w 560198"/>
                <a:gd name="connsiteY4" fmla="*/ 7622 h 476364"/>
                <a:gd name="connsiteX5" fmla="*/ 552577 w 560198"/>
                <a:gd name="connsiteY5" fmla="*/ 6352 h 476364"/>
                <a:gd name="connsiteX6" fmla="*/ 552577 w 560198"/>
                <a:gd name="connsiteY6" fmla="*/ 5081 h 476364"/>
                <a:gd name="connsiteX7" fmla="*/ 552577 w 560198"/>
                <a:gd name="connsiteY7" fmla="*/ 3811 h 476364"/>
                <a:gd name="connsiteX8" fmla="*/ 552577 w 560198"/>
                <a:gd name="connsiteY8" fmla="*/ 3811 h 476364"/>
                <a:gd name="connsiteX9" fmla="*/ 552577 w 560198"/>
                <a:gd name="connsiteY9" fmla="*/ 0 h 476364"/>
                <a:gd name="connsiteX10" fmla="*/ 0 w 560198"/>
                <a:gd name="connsiteY10" fmla="*/ 476364 h 476364"/>
                <a:gd name="connsiteX11" fmla="*/ 21595 w 560198"/>
                <a:gd name="connsiteY11" fmla="*/ 476364 h 476364"/>
                <a:gd name="connsiteX12" fmla="*/ 560199 w 560198"/>
                <a:gd name="connsiteY12" fmla="*/ 12703 h 476364"/>
                <a:gd name="connsiteX13" fmla="*/ 557659 w 560198"/>
                <a:gd name="connsiteY13" fmla="*/ 10162 h 47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0198" h="476364">
                  <a:moveTo>
                    <a:pt x="557659" y="10162"/>
                  </a:moveTo>
                  <a:lnTo>
                    <a:pt x="557659" y="10162"/>
                  </a:lnTo>
                  <a:lnTo>
                    <a:pt x="556388" y="8892"/>
                  </a:lnTo>
                  <a:lnTo>
                    <a:pt x="555118" y="8892"/>
                  </a:lnTo>
                  <a:lnTo>
                    <a:pt x="553847" y="7622"/>
                  </a:lnTo>
                  <a:cubicBezTo>
                    <a:pt x="553847" y="7622"/>
                    <a:pt x="553847" y="6352"/>
                    <a:pt x="552577" y="6352"/>
                  </a:cubicBezTo>
                  <a:cubicBezTo>
                    <a:pt x="552577" y="6352"/>
                    <a:pt x="552577" y="5081"/>
                    <a:pt x="552577" y="5081"/>
                  </a:cubicBezTo>
                  <a:cubicBezTo>
                    <a:pt x="552577" y="5081"/>
                    <a:pt x="552577" y="3811"/>
                    <a:pt x="552577" y="3811"/>
                  </a:cubicBezTo>
                  <a:lnTo>
                    <a:pt x="552577" y="3811"/>
                  </a:lnTo>
                  <a:lnTo>
                    <a:pt x="552577" y="0"/>
                  </a:lnTo>
                  <a:lnTo>
                    <a:pt x="0" y="476364"/>
                  </a:lnTo>
                  <a:lnTo>
                    <a:pt x="21595" y="476364"/>
                  </a:lnTo>
                  <a:lnTo>
                    <a:pt x="560199" y="12703"/>
                  </a:lnTo>
                  <a:lnTo>
                    <a:pt x="557659" y="10162"/>
                  </a:lnTo>
                  <a:close/>
                </a:path>
              </a:pathLst>
            </a:custGeom>
            <a:solidFill>
              <a:srgbClr val="000000"/>
            </a:solidFill>
            <a:ln w="12688"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7A8BE487-BC5B-4EE5-B95D-ABB6C27E491F}"/>
                </a:ext>
              </a:extLst>
            </p:cNvPr>
            <p:cNvSpPr/>
            <p:nvPr/>
          </p:nvSpPr>
          <p:spPr>
            <a:xfrm>
              <a:off x="5660425" y="677834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4ADD4427-FBAD-4F1D-9316-69700DF9F79D}"/>
                </a:ext>
              </a:extLst>
            </p:cNvPr>
            <p:cNvSpPr/>
            <p:nvPr/>
          </p:nvSpPr>
          <p:spPr>
            <a:xfrm>
              <a:off x="5661696" y="6781593"/>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706"/>
                    <a:pt x="0" y="565"/>
                  </a:cubicBezTo>
                  <a:cubicBezTo>
                    <a:pt x="0" y="-706"/>
                    <a:pt x="0" y="565"/>
                    <a:pt x="0" y="565"/>
                  </a:cubicBezTo>
                  <a:lnTo>
                    <a:pt x="0" y="565"/>
                  </a:lnTo>
                  <a:close/>
                </a:path>
              </a:pathLst>
            </a:custGeom>
            <a:solidFill>
              <a:srgbClr val="000000"/>
            </a:solidFill>
            <a:ln w="12688"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BF91CC62-EEB1-4301-83A3-9F80E14EDC0F}"/>
                </a:ext>
              </a:extLst>
            </p:cNvPr>
            <p:cNvSpPr/>
            <p:nvPr/>
          </p:nvSpPr>
          <p:spPr>
            <a:xfrm>
              <a:off x="5567694" y="6787238"/>
              <a:ext cx="80028" cy="67326"/>
            </a:xfrm>
            <a:custGeom>
              <a:avLst/>
              <a:gdLst>
                <a:gd name="connsiteX0" fmla="*/ 80029 w 80028"/>
                <a:gd name="connsiteY0" fmla="*/ 2541 h 67326"/>
                <a:gd name="connsiteX1" fmla="*/ 72407 w 80028"/>
                <a:gd name="connsiteY1" fmla="*/ 0 h 67326"/>
                <a:gd name="connsiteX2" fmla="*/ 0 w 80028"/>
                <a:gd name="connsiteY2" fmla="*/ 67326 h 67326"/>
                <a:gd name="connsiteX3" fmla="*/ 21595 w 80028"/>
                <a:gd name="connsiteY3" fmla="*/ 67326 h 67326"/>
                <a:gd name="connsiteX4" fmla="*/ 78758 w 80028"/>
                <a:gd name="connsiteY4" fmla="*/ 13974 h 67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28" h="67326">
                  <a:moveTo>
                    <a:pt x="80029" y="2541"/>
                  </a:moveTo>
                  <a:lnTo>
                    <a:pt x="72407" y="0"/>
                  </a:lnTo>
                  <a:lnTo>
                    <a:pt x="0" y="67326"/>
                  </a:lnTo>
                  <a:lnTo>
                    <a:pt x="21595" y="67326"/>
                  </a:lnTo>
                  <a:lnTo>
                    <a:pt x="78758" y="13974"/>
                  </a:lnTo>
                  <a:close/>
                </a:path>
              </a:pathLst>
            </a:custGeom>
            <a:solidFill>
              <a:srgbClr val="000000"/>
            </a:solidFill>
            <a:ln w="12688"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E101ADB3-F504-4029-8320-B3E7F5A4C11A}"/>
                </a:ext>
              </a:extLst>
            </p:cNvPr>
            <p:cNvSpPr/>
            <p:nvPr/>
          </p:nvSpPr>
          <p:spPr>
            <a:xfrm>
              <a:off x="2914052" y="6157167"/>
              <a:ext cx="508117" cy="406497"/>
            </a:xfrm>
            <a:custGeom>
              <a:avLst/>
              <a:gdLst>
                <a:gd name="connsiteX0" fmla="*/ 19054 w 508117"/>
                <a:gd name="connsiteY0" fmla="*/ 406498 h 406497"/>
                <a:gd name="connsiteX1" fmla="*/ 508117 w 508117"/>
                <a:gd name="connsiteY1" fmla="*/ 11433 h 406497"/>
                <a:gd name="connsiteX2" fmla="*/ 504306 w 508117"/>
                <a:gd name="connsiteY2" fmla="*/ 10162 h 406497"/>
                <a:gd name="connsiteX3" fmla="*/ 504306 w 508117"/>
                <a:gd name="connsiteY3" fmla="*/ 10162 h 406497"/>
                <a:gd name="connsiteX4" fmla="*/ 503036 w 508117"/>
                <a:gd name="connsiteY4" fmla="*/ 8892 h 406497"/>
                <a:gd name="connsiteX5" fmla="*/ 501766 w 508117"/>
                <a:gd name="connsiteY5" fmla="*/ 8892 h 406497"/>
                <a:gd name="connsiteX6" fmla="*/ 500495 w 508117"/>
                <a:gd name="connsiteY6" fmla="*/ 7622 h 406497"/>
                <a:gd name="connsiteX7" fmla="*/ 499225 w 508117"/>
                <a:gd name="connsiteY7" fmla="*/ 6352 h 406497"/>
                <a:gd name="connsiteX8" fmla="*/ 499225 w 508117"/>
                <a:gd name="connsiteY8" fmla="*/ 5081 h 406497"/>
                <a:gd name="connsiteX9" fmla="*/ 499225 w 508117"/>
                <a:gd name="connsiteY9" fmla="*/ 3811 h 406497"/>
                <a:gd name="connsiteX10" fmla="*/ 499225 w 508117"/>
                <a:gd name="connsiteY10" fmla="*/ 3811 h 406497"/>
                <a:gd name="connsiteX11" fmla="*/ 499225 w 508117"/>
                <a:gd name="connsiteY11" fmla="*/ 0 h 406497"/>
                <a:gd name="connsiteX12" fmla="*/ 0 w 508117"/>
                <a:gd name="connsiteY12" fmla="*/ 403957 h 406497"/>
                <a:gd name="connsiteX13" fmla="*/ 0 w 508117"/>
                <a:gd name="connsiteY13" fmla="*/ 403957 h 406497"/>
                <a:gd name="connsiteX14" fmla="*/ 1270 w 508117"/>
                <a:gd name="connsiteY14" fmla="*/ 403957 h 406497"/>
                <a:gd name="connsiteX15" fmla="*/ 2541 w 508117"/>
                <a:gd name="connsiteY15" fmla="*/ 402687 h 406497"/>
                <a:gd name="connsiteX16" fmla="*/ 5081 w 508117"/>
                <a:gd name="connsiteY16" fmla="*/ 401416 h 406497"/>
                <a:gd name="connsiteX17" fmla="*/ 6351 w 508117"/>
                <a:gd name="connsiteY17" fmla="*/ 401416 h 406497"/>
                <a:gd name="connsiteX18" fmla="*/ 8892 w 508117"/>
                <a:gd name="connsiteY18" fmla="*/ 401416 h 406497"/>
                <a:gd name="connsiteX19" fmla="*/ 19054 w 508117"/>
                <a:gd name="connsiteY19" fmla="*/ 406498 h 4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8117" h="406497">
                  <a:moveTo>
                    <a:pt x="19054" y="406498"/>
                  </a:moveTo>
                  <a:lnTo>
                    <a:pt x="508117" y="11433"/>
                  </a:lnTo>
                  <a:lnTo>
                    <a:pt x="504306" y="10162"/>
                  </a:lnTo>
                  <a:lnTo>
                    <a:pt x="504306" y="10162"/>
                  </a:lnTo>
                  <a:lnTo>
                    <a:pt x="503036" y="8892"/>
                  </a:lnTo>
                  <a:lnTo>
                    <a:pt x="501766" y="8892"/>
                  </a:lnTo>
                  <a:cubicBezTo>
                    <a:pt x="501766" y="8892"/>
                    <a:pt x="501766" y="8892"/>
                    <a:pt x="500495" y="7622"/>
                  </a:cubicBezTo>
                  <a:cubicBezTo>
                    <a:pt x="500495" y="7622"/>
                    <a:pt x="499225" y="6352"/>
                    <a:pt x="499225" y="6352"/>
                  </a:cubicBezTo>
                  <a:cubicBezTo>
                    <a:pt x="499225" y="6352"/>
                    <a:pt x="499225" y="6352"/>
                    <a:pt x="499225" y="5081"/>
                  </a:cubicBezTo>
                  <a:cubicBezTo>
                    <a:pt x="499225" y="5081"/>
                    <a:pt x="499225" y="3811"/>
                    <a:pt x="499225" y="3811"/>
                  </a:cubicBezTo>
                  <a:lnTo>
                    <a:pt x="499225" y="3811"/>
                  </a:lnTo>
                  <a:lnTo>
                    <a:pt x="499225" y="0"/>
                  </a:lnTo>
                  <a:lnTo>
                    <a:pt x="0" y="403957"/>
                  </a:lnTo>
                  <a:lnTo>
                    <a:pt x="0" y="403957"/>
                  </a:lnTo>
                  <a:lnTo>
                    <a:pt x="1270" y="403957"/>
                  </a:lnTo>
                  <a:lnTo>
                    <a:pt x="2541" y="402687"/>
                  </a:lnTo>
                  <a:cubicBezTo>
                    <a:pt x="3811" y="402687"/>
                    <a:pt x="3811" y="401416"/>
                    <a:pt x="5081" y="401416"/>
                  </a:cubicBezTo>
                  <a:lnTo>
                    <a:pt x="6351" y="401416"/>
                  </a:lnTo>
                  <a:cubicBezTo>
                    <a:pt x="7622" y="401416"/>
                    <a:pt x="7622" y="401416"/>
                    <a:pt x="8892" y="401416"/>
                  </a:cubicBezTo>
                  <a:lnTo>
                    <a:pt x="19054" y="406498"/>
                  </a:lnTo>
                  <a:close/>
                </a:path>
              </a:pathLst>
            </a:custGeom>
            <a:solidFill>
              <a:srgbClr val="000000"/>
            </a:solidFill>
            <a:ln w="12688"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D0BAF818-7AC9-402B-AB16-968E6997B883}"/>
                </a:ext>
              </a:extLst>
            </p:cNvPr>
            <p:cNvSpPr/>
            <p:nvPr/>
          </p:nvSpPr>
          <p:spPr>
            <a:xfrm>
              <a:off x="3314194" y="335106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6620328D-27EB-4F1F-AB2F-9F281483E324}"/>
                </a:ext>
              </a:extLst>
            </p:cNvPr>
            <p:cNvSpPr/>
            <p:nvPr/>
          </p:nvSpPr>
          <p:spPr>
            <a:xfrm>
              <a:off x="3316735" y="3351064"/>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32E33EB4-B267-40CA-9CF7-D6EBB66AD3AE}"/>
                </a:ext>
              </a:extLst>
            </p:cNvPr>
            <p:cNvSpPr/>
            <p:nvPr/>
          </p:nvSpPr>
          <p:spPr>
            <a:xfrm>
              <a:off x="2493585" y="3352334"/>
              <a:ext cx="818068" cy="558934"/>
            </a:xfrm>
            <a:custGeom>
              <a:avLst/>
              <a:gdLst>
                <a:gd name="connsiteX0" fmla="*/ 815528 w 818068"/>
                <a:gd name="connsiteY0" fmla="*/ 5081 h 558934"/>
                <a:gd name="connsiteX1" fmla="*/ 815528 w 818068"/>
                <a:gd name="connsiteY1" fmla="*/ 5081 h 558934"/>
                <a:gd name="connsiteX2" fmla="*/ 815528 w 818068"/>
                <a:gd name="connsiteY2" fmla="*/ 5081 h 558934"/>
                <a:gd name="connsiteX3" fmla="*/ 816798 w 818068"/>
                <a:gd name="connsiteY3" fmla="*/ 2541 h 558934"/>
                <a:gd name="connsiteX4" fmla="*/ 816798 w 818068"/>
                <a:gd name="connsiteY4" fmla="*/ 1270 h 558934"/>
                <a:gd name="connsiteX5" fmla="*/ 818069 w 818068"/>
                <a:gd name="connsiteY5" fmla="*/ 0 h 558934"/>
                <a:gd name="connsiteX6" fmla="*/ 818069 w 818068"/>
                <a:gd name="connsiteY6" fmla="*/ 0 h 558934"/>
                <a:gd name="connsiteX7" fmla="*/ 818069 w 818068"/>
                <a:gd name="connsiteY7" fmla="*/ 0 h 558934"/>
                <a:gd name="connsiteX8" fmla="*/ 3811 w 818068"/>
                <a:gd name="connsiteY8" fmla="*/ 547502 h 558934"/>
                <a:gd name="connsiteX9" fmla="*/ 1270 w 818068"/>
                <a:gd name="connsiteY9" fmla="*/ 550042 h 558934"/>
                <a:gd name="connsiteX10" fmla="*/ 0 w 818068"/>
                <a:gd name="connsiteY10" fmla="*/ 550042 h 558934"/>
                <a:gd name="connsiteX11" fmla="*/ 5081 w 818068"/>
                <a:gd name="connsiteY11" fmla="*/ 548772 h 558934"/>
                <a:gd name="connsiteX12" fmla="*/ 12703 w 818068"/>
                <a:gd name="connsiteY12" fmla="*/ 555123 h 558934"/>
                <a:gd name="connsiteX13" fmla="*/ 12703 w 818068"/>
                <a:gd name="connsiteY13" fmla="*/ 558934 h 558934"/>
                <a:gd name="connsiteX14" fmla="*/ 815528 w 818068"/>
                <a:gd name="connsiteY14" fmla="*/ 19055 h 558934"/>
                <a:gd name="connsiteX15" fmla="*/ 815528 w 818068"/>
                <a:gd name="connsiteY15" fmla="*/ 5081 h 558934"/>
                <a:gd name="connsiteX16" fmla="*/ 815528 w 818068"/>
                <a:gd name="connsiteY16" fmla="*/ 5081 h 55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8068" h="558934">
                  <a:moveTo>
                    <a:pt x="815528" y="5081"/>
                  </a:moveTo>
                  <a:cubicBezTo>
                    <a:pt x="815528" y="5081"/>
                    <a:pt x="815528" y="5081"/>
                    <a:pt x="815528" y="5081"/>
                  </a:cubicBezTo>
                  <a:lnTo>
                    <a:pt x="815528" y="5081"/>
                  </a:lnTo>
                  <a:lnTo>
                    <a:pt x="816798" y="2541"/>
                  </a:lnTo>
                  <a:lnTo>
                    <a:pt x="816798" y="1270"/>
                  </a:lnTo>
                  <a:lnTo>
                    <a:pt x="818069" y="0"/>
                  </a:lnTo>
                  <a:lnTo>
                    <a:pt x="818069" y="0"/>
                  </a:lnTo>
                  <a:lnTo>
                    <a:pt x="818069" y="0"/>
                  </a:lnTo>
                  <a:lnTo>
                    <a:pt x="3811" y="547502"/>
                  </a:lnTo>
                  <a:lnTo>
                    <a:pt x="1270" y="550042"/>
                  </a:lnTo>
                  <a:lnTo>
                    <a:pt x="0" y="550042"/>
                  </a:lnTo>
                  <a:cubicBezTo>
                    <a:pt x="1270" y="548772"/>
                    <a:pt x="2541" y="548772"/>
                    <a:pt x="5081" y="548772"/>
                  </a:cubicBezTo>
                  <a:cubicBezTo>
                    <a:pt x="8892" y="548772"/>
                    <a:pt x="12703" y="551312"/>
                    <a:pt x="12703" y="555123"/>
                  </a:cubicBezTo>
                  <a:lnTo>
                    <a:pt x="12703" y="558934"/>
                  </a:lnTo>
                  <a:lnTo>
                    <a:pt x="815528" y="19055"/>
                  </a:lnTo>
                  <a:lnTo>
                    <a:pt x="815528" y="5081"/>
                  </a:lnTo>
                  <a:cubicBezTo>
                    <a:pt x="815528" y="5081"/>
                    <a:pt x="815528" y="5081"/>
                    <a:pt x="815528" y="5081"/>
                  </a:cubicBezTo>
                  <a:close/>
                </a:path>
              </a:pathLst>
            </a:custGeom>
            <a:solidFill>
              <a:srgbClr val="000000"/>
            </a:solidFill>
            <a:ln w="12688"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048B57FA-4579-40CA-98CD-5EDDF9C8E697}"/>
                </a:ext>
              </a:extLst>
            </p:cNvPr>
            <p:cNvSpPr/>
            <p:nvPr/>
          </p:nvSpPr>
          <p:spPr>
            <a:xfrm>
              <a:off x="2491044" y="3900857"/>
              <a:ext cx="180381" cy="2953707"/>
            </a:xfrm>
            <a:custGeom>
              <a:avLst/>
              <a:gdLst>
                <a:gd name="connsiteX0" fmla="*/ 15243 w 180381"/>
                <a:gd name="connsiteY0" fmla="*/ 6601 h 2953707"/>
                <a:gd name="connsiteX1" fmla="*/ 7622 w 180381"/>
                <a:gd name="connsiteY1" fmla="*/ 249 h 2953707"/>
                <a:gd name="connsiteX2" fmla="*/ 2541 w 180381"/>
                <a:gd name="connsiteY2" fmla="*/ 1520 h 2953707"/>
                <a:gd name="connsiteX3" fmla="*/ 1270 w 180381"/>
                <a:gd name="connsiteY3" fmla="*/ 2790 h 2953707"/>
                <a:gd name="connsiteX4" fmla="*/ 0 w 180381"/>
                <a:gd name="connsiteY4" fmla="*/ 4060 h 2953707"/>
                <a:gd name="connsiteX5" fmla="*/ 0 w 180381"/>
                <a:gd name="connsiteY5" fmla="*/ 5330 h 2953707"/>
                <a:gd name="connsiteX6" fmla="*/ 0 w 180381"/>
                <a:gd name="connsiteY6" fmla="*/ 6601 h 2953707"/>
                <a:gd name="connsiteX7" fmla="*/ 0 w 180381"/>
                <a:gd name="connsiteY7" fmla="*/ 7871 h 2953707"/>
                <a:gd name="connsiteX8" fmla="*/ 0 w 180381"/>
                <a:gd name="connsiteY8" fmla="*/ 12952 h 2953707"/>
                <a:gd name="connsiteX9" fmla="*/ 165138 w 180381"/>
                <a:gd name="connsiteY9" fmla="*/ 2953708 h 2953707"/>
                <a:gd name="connsiteX10" fmla="*/ 180382 w 180381"/>
                <a:gd name="connsiteY10" fmla="*/ 2953708 h 2953707"/>
                <a:gd name="connsiteX11" fmla="*/ 15243 w 180381"/>
                <a:gd name="connsiteY11" fmla="*/ 11682 h 2953707"/>
                <a:gd name="connsiteX12" fmla="*/ 15243 w 180381"/>
                <a:gd name="connsiteY12" fmla="*/ 6601 h 295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381" h="2953707">
                  <a:moveTo>
                    <a:pt x="15243" y="6601"/>
                  </a:moveTo>
                  <a:cubicBezTo>
                    <a:pt x="15243" y="2790"/>
                    <a:pt x="11433" y="-1021"/>
                    <a:pt x="7622" y="249"/>
                  </a:cubicBezTo>
                  <a:cubicBezTo>
                    <a:pt x="6351" y="249"/>
                    <a:pt x="3811" y="1520"/>
                    <a:pt x="2541" y="1520"/>
                  </a:cubicBezTo>
                  <a:lnTo>
                    <a:pt x="1270" y="2790"/>
                  </a:lnTo>
                  <a:cubicBezTo>
                    <a:pt x="1270" y="2790"/>
                    <a:pt x="1270" y="4060"/>
                    <a:pt x="0" y="4060"/>
                  </a:cubicBezTo>
                  <a:cubicBezTo>
                    <a:pt x="0" y="4060"/>
                    <a:pt x="0" y="5330"/>
                    <a:pt x="0" y="5330"/>
                  </a:cubicBezTo>
                  <a:cubicBezTo>
                    <a:pt x="0" y="5330"/>
                    <a:pt x="0" y="6601"/>
                    <a:pt x="0" y="6601"/>
                  </a:cubicBezTo>
                  <a:cubicBezTo>
                    <a:pt x="0" y="6601"/>
                    <a:pt x="0" y="6601"/>
                    <a:pt x="0" y="7871"/>
                  </a:cubicBezTo>
                  <a:lnTo>
                    <a:pt x="0" y="12952"/>
                  </a:lnTo>
                  <a:lnTo>
                    <a:pt x="165138" y="2953708"/>
                  </a:lnTo>
                  <a:lnTo>
                    <a:pt x="180382" y="2953708"/>
                  </a:lnTo>
                  <a:lnTo>
                    <a:pt x="15243" y="11682"/>
                  </a:lnTo>
                  <a:lnTo>
                    <a:pt x="15243" y="6601"/>
                  </a:lnTo>
                  <a:close/>
                </a:path>
              </a:pathLst>
            </a:custGeom>
            <a:solidFill>
              <a:srgbClr val="000000"/>
            </a:solidFill>
            <a:ln w="12688"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BB6B6429-B3F5-467D-9DAD-95BCD3E2806C}"/>
                </a:ext>
              </a:extLst>
            </p:cNvPr>
            <p:cNvSpPr/>
            <p:nvPr/>
          </p:nvSpPr>
          <p:spPr>
            <a:xfrm>
              <a:off x="3311653" y="335233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95E7E76F-B19B-4D42-9525-4298628F7649}"/>
                </a:ext>
              </a:extLst>
            </p:cNvPr>
            <p:cNvSpPr/>
            <p:nvPr/>
          </p:nvSpPr>
          <p:spPr>
            <a:xfrm>
              <a:off x="3318005" y="3349794"/>
              <a:ext cx="280734" cy="86380"/>
            </a:xfrm>
            <a:custGeom>
              <a:avLst/>
              <a:gdLst>
                <a:gd name="connsiteX0" fmla="*/ 270572 w 280734"/>
                <a:gd name="connsiteY0" fmla="*/ 81299 h 86380"/>
                <a:gd name="connsiteX1" fmla="*/ 278194 w 280734"/>
                <a:gd name="connsiteY1" fmla="*/ 73678 h 86380"/>
                <a:gd name="connsiteX2" fmla="*/ 278194 w 280734"/>
                <a:gd name="connsiteY2" fmla="*/ 73678 h 86380"/>
                <a:gd name="connsiteX3" fmla="*/ 280734 w 280734"/>
                <a:gd name="connsiteY3" fmla="*/ 73678 h 86380"/>
                <a:gd name="connsiteX4" fmla="*/ 280734 w 280734"/>
                <a:gd name="connsiteY4" fmla="*/ 73678 h 86380"/>
                <a:gd name="connsiteX5" fmla="*/ 276924 w 280734"/>
                <a:gd name="connsiteY5" fmla="*/ 72407 h 86380"/>
                <a:gd name="connsiteX6" fmla="*/ 1270 w 280734"/>
                <a:gd name="connsiteY6" fmla="*/ 0 h 86380"/>
                <a:gd name="connsiteX7" fmla="*/ 0 w 280734"/>
                <a:gd name="connsiteY7" fmla="*/ 0 h 86380"/>
                <a:gd name="connsiteX8" fmla="*/ 6351 w 280734"/>
                <a:gd name="connsiteY8" fmla="*/ 6352 h 86380"/>
                <a:gd name="connsiteX9" fmla="*/ 6351 w 280734"/>
                <a:gd name="connsiteY9" fmla="*/ 16514 h 86380"/>
                <a:gd name="connsiteX10" fmla="*/ 270572 w 280734"/>
                <a:gd name="connsiteY10" fmla="*/ 86381 h 86380"/>
                <a:gd name="connsiteX11" fmla="*/ 270572 w 280734"/>
                <a:gd name="connsiteY11" fmla="*/ 81299 h 8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34" h="86380">
                  <a:moveTo>
                    <a:pt x="270572" y="81299"/>
                  </a:moveTo>
                  <a:cubicBezTo>
                    <a:pt x="270572" y="77488"/>
                    <a:pt x="273113" y="73678"/>
                    <a:pt x="278194" y="73678"/>
                  </a:cubicBezTo>
                  <a:cubicBezTo>
                    <a:pt x="278194" y="73678"/>
                    <a:pt x="278194" y="73678"/>
                    <a:pt x="278194" y="73678"/>
                  </a:cubicBezTo>
                  <a:cubicBezTo>
                    <a:pt x="279464" y="73678"/>
                    <a:pt x="279464" y="73678"/>
                    <a:pt x="280734" y="73678"/>
                  </a:cubicBezTo>
                  <a:lnTo>
                    <a:pt x="280734" y="73678"/>
                  </a:lnTo>
                  <a:lnTo>
                    <a:pt x="276924" y="72407"/>
                  </a:lnTo>
                  <a:lnTo>
                    <a:pt x="1270" y="0"/>
                  </a:lnTo>
                  <a:lnTo>
                    <a:pt x="0" y="0"/>
                  </a:lnTo>
                  <a:cubicBezTo>
                    <a:pt x="3811" y="0"/>
                    <a:pt x="6351" y="3811"/>
                    <a:pt x="6351" y="6352"/>
                  </a:cubicBezTo>
                  <a:lnTo>
                    <a:pt x="6351" y="16514"/>
                  </a:lnTo>
                  <a:lnTo>
                    <a:pt x="270572" y="86381"/>
                  </a:lnTo>
                  <a:lnTo>
                    <a:pt x="270572" y="81299"/>
                  </a:lnTo>
                  <a:close/>
                </a:path>
              </a:pathLst>
            </a:custGeom>
            <a:solidFill>
              <a:srgbClr val="000000"/>
            </a:solidFill>
            <a:ln w="12688"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944F5590-C4C0-4374-9982-DFDEB7ED7367}"/>
                </a:ext>
              </a:extLst>
            </p:cNvPr>
            <p:cNvSpPr/>
            <p:nvPr/>
          </p:nvSpPr>
          <p:spPr>
            <a:xfrm>
              <a:off x="3314194" y="3351064"/>
              <a:ext cx="1270" cy="12703"/>
            </a:xfrm>
            <a:custGeom>
              <a:avLst/>
              <a:gdLst>
                <a:gd name="connsiteX0" fmla="*/ 0 w 1270"/>
                <a:gd name="connsiteY0" fmla="*/ 0 h 12703"/>
                <a:gd name="connsiteX1" fmla="*/ 1270 w 1270"/>
                <a:gd name="connsiteY1" fmla="*/ 0 h 12703"/>
                <a:gd name="connsiteX2" fmla="*/ 1270 w 1270"/>
                <a:gd name="connsiteY2" fmla="*/ 0 h 12703"/>
                <a:gd name="connsiteX3" fmla="*/ 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0" y="0"/>
                  </a:moveTo>
                  <a:lnTo>
                    <a:pt x="1270" y="0"/>
                  </a:lnTo>
                  <a:lnTo>
                    <a:pt x="1270" y="0"/>
                  </a:lnTo>
                  <a:lnTo>
                    <a:pt x="0" y="0"/>
                  </a:lnTo>
                  <a:close/>
                </a:path>
              </a:pathLst>
            </a:custGeom>
            <a:solidFill>
              <a:srgbClr val="000000"/>
            </a:solidFill>
            <a:ln w="12688"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75B4E4FF-8CC7-4BF2-8D01-BACDB32646B6}"/>
                </a:ext>
              </a:extLst>
            </p:cNvPr>
            <p:cNvSpPr/>
            <p:nvPr/>
          </p:nvSpPr>
          <p:spPr>
            <a:xfrm>
              <a:off x="3309113" y="3356145"/>
              <a:ext cx="12702" cy="1269"/>
            </a:xfrm>
            <a:custGeom>
              <a:avLst/>
              <a:gdLst>
                <a:gd name="connsiteX0" fmla="*/ 0 w 12702"/>
                <a:gd name="connsiteY0" fmla="*/ 1270 h 1269"/>
                <a:gd name="connsiteX1" fmla="*/ 0 w 12702"/>
                <a:gd name="connsiteY1" fmla="*/ 0 h 1269"/>
                <a:gd name="connsiteX2" fmla="*/ 0 w 12702"/>
                <a:gd name="connsiteY2" fmla="*/ 0 h 1269"/>
                <a:gd name="connsiteX3" fmla="*/ 0 w 12702"/>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2" h="1269">
                  <a:moveTo>
                    <a:pt x="0" y="1270"/>
                  </a:moveTo>
                  <a:cubicBezTo>
                    <a:pt x="0" y="1270"/>
                    <a:pt x="0" y="0"/>
                    <a:pt x="0" y="0"/>
                  </a:cubicBezTo>
                  <a:lnTo>
                    <a:pt x="0" y="0"/>
                  </a:lnTo>
                  <a:cubicBezTo>
                    <a:pt x="0" y="0"/>
                    <a:pt x="0" y="1270"/>
                    <a:pt x="0" y="1270"/>
                  </a:cubicBezTo>
                  <a:close/>
                </a:path>
              </a:pathLst>
            </a:custGeom>
            <a:solidFill>
              <a:srgbClr val="000000"/>
            </a:solidFill>
            <a:ln w="12688"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96E9C1A6-A6E3-4B1D-B6E4-E9DB1017024D}"/>
                </a:ext>
              </a:extLst>
            </p:cNvPr>
            <p:cNvSpPr/>
            <p:nvPr/>
          </p:nvSpPr>
          <p:spPr>
            <a:xfrm>
              <a:off x="3309113" y="3351064"/>
              <a:ext cx="118137" cy="2809914"/>
            </a:xfrm>
            <a:custGeom>
              <a:avLst/>
              <a:gdLst>
                <a:gd name="connsiteX0" fmla="*/ 104164 w 118137"/>
                <a:gd name="connsiteY0" fmla="*/ 2809915 h 2809914"/>
                <a:gd name="connsiteX1" fmla="*/ 104164 w 118137"/>
                <a:gd name="connsiteY1" fmla="*/ 2807374 h 2809914"/>
                <a:gd name="connsiteX2" fmla="*/ 113056 w 118137"/>
                <a:gd name="connsiteY2" fmla="*/ 2802293 h 2809914"/>
                <a:gd name="connsiteX3" fmla="*/ 113056 w 118137"/>
                <a:gd name="connsiteY3" fmla="*/ 2802293 h 2809914"/>
                <a:gd name="connsiteX4" fmla="*/ 118137 w 118137"/>
                <a:gd name="connsiteY4" fmla="*/ 2803563 h 2809914"/>
                <a:gd name="connsiteX5" fmla="*/ 15244 w 118137"/>
                <a:gd name="connsiteY5" fmla="*/ 16514 h 2809914"/>
                <a:gd name="connsiteX6" fmla="*/ 15244 w 118137"/>
                <a:gd name="connsiteY6" fmla="*/ 6352 h 2809914"/>
                <a:gd name="connsiteX7" fmla="*/ 8892 w 118137"/>
                <a:gd name="connsiteY7" fmla="*/ 0 h 2809914"/>
                <a:gd name="connsiteX8" fmla="*/ 6351 w 118137"/>
                <a:gd name="connsiteY8" fmla="*/ 0 h 2809914"/>
                <a:gd name="connsiteX9" fmla="*/ 5081 w 118137"/>
                <a:gd name="connsiteY9" fmla="*/ 0 h 2809914"/>
                <a:gd name="connsiteX10" fmla="*/ 5081 w 118137"/>
                <a:gd name="connsiteY10" fmla="*/ 0 h 2809914"/>
                <a:gd name="connsiteX11" fmla="*/ 3811 w 118137"/>
                <a:gd name="connsiteY11" fmla="*/ 0 h 2809914"/>
                <a:gd name="connsiteX12" fmla="*/ 2541 w 118137"/>
                <a:gd name="connsiteY12" fmla="*/ 1270 h 2809914"/>
                <a:gd name="connsiteX13" fmla="*/ 1270 w 118137"/>
                <a:gd name="connsiteY13" fmla="*/ 2541 h 2809914"/>
                <a:gd name="connsiteX14" fmla="*/ 1270 w 118137"/>
                <a:gd name="connsiteY14" fmla="*/ 3811 h 2809914"/>
                <a:gd name="connsiteX15" fmla="*/ 0 w 118137"/>
                <a:gd name="connsiteY15" fmla="*/ 5082 h 2809914"/>
                <a:gd name="connsiteX16" fmla="*/ 0 w 118137"/>
                <a:gd name="connsiteY16" fmla="*/ 6352 h 2809914"/>
                <a:gd name="connsiteX17" fmla="*/ 0 w 118137"/>
                <a:gd name="connsiteY17" fmla="*/ 7622 h 2809914"/>
                <a:gd name="connsiteX18" fmla="*/ 0 w 118137"/>
                <a:gd name="connsiteY18" fmla="*/ 21595 h 2809914"/>
                <a:gd name="connsiteX19" fmla="*/ 102894 w 118137"/>
                <a:gd name="connsiteY19" fmla="*/ 2807374 h 2809914"/>
                <a:gd name="connsiteX20" fmla="*/ 104164 w 118137"/>
                <a:gd name="connsiteY20" fmla="*/ 2809915 h 2809914"/>
                <a:gd name="connsiteX21" fmla="*/ 104164 w 118137"/>
                <a:gd name="connsiteY21" fmla="*/ 2809915 h 28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137" h="2809914">
                  <a:moveTo>
                    <a:pt x="104164" y="2809915"/>
                  </a:moveTo>
                  <a:cubicBezTo>
                    <a:pt x="104164" y="2808644"/>
                    <a:pt x="104164" y="2808644"/>
                    <a:pt x="104164" y="2807374"/>
                  </a:cubicBezTo>
                  <a:cubicBezTo>
                    <a:pt x="105434" y="2803563"/>
                    <a:pt x="109245" y="2801022"/>
                    <a:pt x="113056" y="2802293"/>
                  </a:cubicBezTo>
                  <a:cubicBezTo>
                    <a:pt x="113056" y="2802293"/>
                    <a:pt x="113056" y="2802293"/>
                    <a:pt x="113056" y="2802293"/>
                  </a:cubicBezTo>
                  <a:lnTo>
                    <a:pt x="118137" y="2803563"/>
                  </a:lnTo>
                  <a:lnTo>
                    <a:pt x="15244" y="16514"/>
                  </a:lnTo>
                  <a:lnTo>
                    <a:pt x="15244" y="6352"/>
                  </a:lnTo>
                  <a:cubicBezTo>
                    <a:pt x="15244" y="2541"/>
                    <a:pt x="12703" y="0"/>
                    <a:pt x="8892" y="0"/>
                  </a:cubicBezTo>
                  <a:lnTo>
                    <a:pt x="6351" y="0"/>
                  </a:lnTo>
                  <a:lnTo>
                    <a:pt x="5081" y="0"/>
                  </a:lnTo>
                  <a:lnTo>
                    <a:pt x="5081" y="0"/>
                  </a:lnTo>
                  <a:lnTo>
                    <a:pt x="3811" y="0"/>
                  </a:lnTo>
                  <a:lnTo>
                    <a:pt x="2541" y="1270"/>
                  </a:lnTo>
                  <a:lnTo>
                    <a:pt x="1270" y="2541"/>
                  </a:lnTo>
                  <a:lnTo>
                    <a:pt x="1270" y="3811"/>
                  </a:lnTo>
                  <a:lnTo>
                    <a:pt x="0" y="5082"/>
                  </a:lnTo>
                  <a:cubicBezTo>
                    <a:pt x="0" y="5082"/>
                    <a:pt x="0" y="6352"/>
                    <a:pt x="0" y="6352"/>
                  </a:cubicBezTo>
                  <a:cubicBezTo>
                    <a:pt x="0" y="6352"/>
                    <a:pt x="0" y="7622"/>
                    <a:pt x="0" y="7622"/>
                  </a:cubicBezTo>
                  <a:lnTo>
                    <a:pt x="0" y="21595"/>
                  </a:lnTo>
                  <a:lnTo>
                    <a:pt x="102894" y="2807374"/>
                  </a:lnTo>
                  <a:lnTo>
                    <a:pt x="104164" y="2809915"/>
                  </a:lnTo>
                  <a:lnTo>
                    <a:pt x="104164" y="2809915"/>
                  </a:lnTo>
                  <a:close/>
                </a:path>
              </a:pathLst>
            </a:custGeom>
            <a:solidFill>
              <a:srgbClr val="000000"/>
            </a:solidFill>
            <a:ln w="12688"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F52C995F-C442-477D-BD92-BEF1A694B7F2}"/>
                </a:ext>
              </a:extLst>
            </p:cNvPr>
            <p:cNvSpPr/>
            <p:nvPr/>
          </p:nvSpPr>
          <p:spPr>
            <a:xfrm>
              <a:off x="3690201" y="6252440"/>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BAC13BB0-6354-4C07-9967-A7B7BBE24385}"/>
                </a:ext>
              </a:extLst>
            </p:cNvPr>
            <p:cNvSpPr/>
            <p:nvPr/>
          </p:nvSpPr>
          <p:spPr>
            <a:xfrm>
              <a:off x="3687660" y="6254981"/>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D62492FC-8180-450E-A4CD-DEA02FDA5CE5}"/>
                </a:ext>
              </a:extLst>
            </p:cNvPr>
            <p:cNvSpPr/>
            <p:nvPr/>
          </p:nvSpPr>
          <p:spPr>
            <a:xfrm>
              <a:off x="3588577" y="3424742"/>
              <a:ext cx="99082" cy="2825157"/>
            </a:xfrm>
            <a:custGeom>
              <a:avLst/>
              <a:gdLst>
                <a:gd name="connsiteX0" fmla="*/ 0 w 99082"/>
                <a:gd name="connsiteY0" fmla="*/ 6352 h 2825157"/>
                <a:gd name="connsiteX1" fmla="*/ 0 w 99082"/>
                <a:gd name="connsiteY1" fmla="*/ 11433 h 2825157"/>
                <a:gd name="connsiteX2" fmla="*/ 86380 w 99082"/>
                <a:gd name="connsiteY2" fmla="*/ 2813725 h 2825157"/>
                <a:gd name="connsiteX3" fmla="*/ 96542 w 99082"/>
                <a:gd name="connsiteY3" fmla="*/ 2817536 h 2825157"/>
                <a:gd name="connsiteX4" fmla="*/ 96542 w 99082"/>
                <a:gd name="connsiteY4" fmla="*/ 2817536 h 2825157"/>
                <a:gd name="connsiteX5" fmla="*/ 97813 w 99082"/>
                <a:gd name="connsiteY5" fmla="*/ 2818807 h 2825157"/>
                <a:gd name="connsiteX6" fmla="*/ 99083 w 99082"/>
                <a:gd name="connsiteY6" fmla="*/ 2820077 h 2825157"/>
                <a:gd name="connsiteX7" fmla="*/ 99083 w 99082"/>
                <a:gd name="connsiteY7" fmla="*/ 2820077 h 2825157"/>
                <a:gd name="connsiteX8" fmla="*/ 99083 w 99082"/>
                <a:gd name="connsiteY8" fmla="*/ 2821347 h 2825157"/>
                <a:gd name="connsiteX9" fmla="*/ 99083 w 99082"/>
                <a:gd name="connsiteY9" fmla="*/ 2822617 h 2825157"/>
                <a:gd name="connsiteX10" fmla="*/ 99083 w 99082"/>
                <a:gd name="connsiteY10" fmla="*/ 2823888 h 2825157"/>
                <a:gd name="connsiteX11" fmla="*/ 99083 w 99082"/>
                <a:gd name="connsiteY11" fmla="*/ 2825158 h 2825157"/>
                <a:gd name="connsiteX12" fmla="*/ 99083 w 99082"/>
                <a:gd name="connsiteY12" fmla="*/ 2825158 h 2825157"/>
                <a:gd name="connsiteX13" fmla="*/ 99083 w 99082"/>
                <a:gd name="connsiteY13" fmla="*/ 2825158 h 2825157"/>
                <a:gd name="connsiteX14" fmla="*/ 99083 w 99082"/>
                <a:gd name="connsiteY14" fmla="*/ 2809914 h 2825157"/>
                <a:gd name="connsiteX15" fmla="*/ 12703 w 99082"/>
                <a:gd name="connsiteY15" fmla="*/ 10162 h 2825157"/>
                <a:gd name="connsiteX16" fmla="*/ 12703 w 99082"/>
                <a:gd name="connsiteY16" fmla="*/ 6352 h 2825157"/>
                <a:gd name="connsiteX17" fmla="*/ 12703 w 99082"/>
                <a:gd name="connsiteY17" fmla="*/ 6352 h 2825157"/>
                <a:gd name="connsiteX18" fmla="*/ 12703 w 99082"/>
                <a:gd name="connsiteY18" fmla="*/ 5081 h 2825157"/>
                <a:gd name="connsiteX19" fmla="*/ 12703 w 99082"/>
                <a:gd name="connsiteY19" fmla="*/ 3811 h 2825157"/>
                <a:gd name="connsiteX20" fmla="*/ 11433 w 99082"/>
                <a:gd name="connsiteY20" fmla="*/ 2540 h 2825157"/>
                <a:gd name="connsiteX21" fmla="*/ 10162 w 99082"/>
                <a:gd name="connsiteY21" fmla="*/ 1270 h 2825157"/>
                <a:gd name="connsiteX22" fmla="*/ 8892 w 99082"/>
                <a:gd name="connsiteY22" fmla="*/ 0 h 2825157"/>
                <a:gd name="connsiteX23" fmla="*/ 7622 w 99082"/>
                <a:gd name="connsiteY23" fmla="*/ 0 h 2825157"/>
                <a:gd name="connsiteX24" fmla="*/ 5081 w 99082"/>
                <a:gd name="connsiteY24" fmla="*/ 0 h 2825157"/>
                <a:gd name="connsiteX25" fmla="*/ 0 w 99082"/>
                <a:gd name="connsiteY25" fmla="*/ 6352 h 282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082" h="2825157">
                  <a:moveTo>
                    <a:pt x="0" y="6352"/>
                  </a:moveTo>
                  <a:lnTo>
                    <a:pt x="0" y="11433"/>
                  </a:lnTo>
                  <a:lnTo>
                    <a:pt x="86380" y="2813725"/>
                  </a:lnTo>
                  <a:lnTo>
                    <a:pt x="96542" y="2817536"/>
                  </a:lnTo>
                  <a:lnTo>
                    <a:pt x="96542" y="2817536"/>
                  </a:lnTo>
                  <a:cubicBezTo>
                    <a:pt x="96542" y="2817536"/>
                    <a:pt x="97813" y="2817536"/>
                    <a:pt x="97813" y="2818807"/>
                  </a:cubicBezTo>
                  <a:lnTo>
                    <a:pt x="99083" y="2820077"/>
                  </a:lnTo>
                  <a:lnTo>
                    <a:pt x="99083" y="2820077"/>
                  </a:lnTo>
                  <a:lnTo>
                    <a:pt x="99083" y="2821347"/>
                  </a:lnTo>
                  <a:cubicBezTo>
                    <a:pt x="99083" y="2821347"/>
                    <a:pt x="99083" y="2822617"/>
                    <a:pt x="99083" y="2822617"/>
                  </a:cubicBezTo>
                  <a:cubicBezTo>
                    <a:pt x="99083" y="2822617"/>
                    <a:pt x="99083" y="2823888"/>
                    <a:pt x="99083" y="2823888"/>
                  </a:cubicBezTo>
                  <a:cubicBezTo>
                    <a:pt x="99083" y="2823888"/>
                    <a:pt x="99083" y="2825158"/>
                    <a:pt x="99083" y="2825158"/>
                  </a:cubicBezTo>
                  <a:lnTo>
                    <a:pt x="99083" y="2825158"/>
                  </a:lnTo>
                  <a:lnTo>
                    <a:pt x="99083" y="2825158"/>
                  </a:lnTo>
                  <a:lnTo>
                    <a:pt x="99083" y="2809914"/>
                  </a:lnTo>
                  <a:lnTo>
                    <a:pt x="12703" y="10162"/>
                  </a:lnTo>
                  <a:lnTo>
                    <a:pt x="12703" y="6352"/>
                  </a:lnTo>
                  <a:lnTo>
                    <a:pt x="12703" y="6352"/>
                  </a:lnTo>
                  <a:cubicBezTo>
                    <a:pt x="12703" y="6352"/>
                    <a:pt x="12703" y="5081"/>
                    <a:pt x="12703" y="5081"/>
                  </a:cubicBezTo>
                  <a:lnTo>
                    <a:pt x="12703" y="3811"/>
                  </a:lnTo>
                  <a:lnTo>
                    <a:pt x="11433" y="2540"/>
                  </a:lnTo>
                  <a:cubicBezTo>
                    <a:pt x="11433" y="2540"/>
                    <a:pt x="11433" y="1270"/>
                    <a:pt x="10162" y="1270"/>
                  </a:cubicBezTo>
                  <a:cubicBezTo>
                    <a:pt x="10162" y="1270"/>
                    <a:pt x="8892" y="1270"/>
                    <a:pt x="8892" y="0"/>
                  </a:cubicBezTo>
                  <a:lnTo>
                    <a:pt x="7622" y="0"/>
                  </a:lnTo>
                  <a:cubicBezTo>
                    <a:pt x="6351" y="0"/>
                    <a:pt x="6351" y="0"/>
                    <a:pt x="5081" y="0"/>
                  </a:cubicBezTo>
                  <a:cubicBezTo>
                    <a:pt x="2541" y="0"/>
                    <a:pt x="0" y="3811"/>
                    <a:pt x="0" y="6352"/>
                  </a:cubicBezTo>
                  <a:close/>
                </a:path>
              </a:pathLst>
            </a:custGeom>
            <a:solidFill>
              <a:srgbClr val="000000"/>
            </a:solidFill>
            <a:ln w="12688"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3785F10E-62F1-4868-A8EB-5BC1B06DA570}"/>
                </a:ext>
              </a:extLst>
            </p:cNvPr>
            <p:cNvSpPr/>
            <p:nvPr/>
          </p:nvSpPr>
          <p:spPr>
            <a:xfrm>
              <a:off x="3690201" y="6249899"/>
              <a:ext cx="12702" cy="1270"/>
            </a:xfrm>
            <a:custGeom>
              <a:avLst/>
              <a:gdLst>
                <a:gd name="connsiteX0" fmla="*/ 0 w 12702"/>
                <a:gd name="connsiteY0" fmla="*/ 0 h 1270"/>
                <a:gd name="connsiteX1" fmla="*/ 0 w 12702"/>
                <a:gd name="connsiteY1" fmla="*/ 1270 h 1270"/>
                <a:gd name="connsiteX2" fmla="*/ 0 w 12702"/>
                <a:gd name="connsiteY2" fmla="*/ 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cubicBezTo>
                    <a:pt x="0" y="0"/>
                    <a:pt x="0" y="1270"/>
                    <a:pt x="0" y="1270"/>
                  </a:cubicBezTo>
                  <a:cubicBezTo>
                    <a:pt x="0" y="1270"/>
                    <a:pt x="0" y="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A238125D-719E-4C51-A5C1-AE83BD08A922}"/>
                </a:ext>
              </a:extLst>
            </p:cNvPr>
            <p:cNvSpPr/>
            <p:nvPr/>
          </p:nvSpPr>
          <p:spPr>
            <a:xfrm>
              <a:off x="3687660" y="6244818"/>
              <a:ext cx="952" cy="564"/>
            </a:xfrm>
            <a:custGeom>
              <a:avLst/>
              <a:gdLst>
                <a:gd name="connsiteX0" fmla="*/ 0 w 952"/>
                <a:gd name="connsiteY0" fmla="*/ 0 h 564"/>
                <a:gd name="connsiteX1" fmla="*/ 0 w 952"/>
                <a:gd name="connsiteY1" fmla="*/ 0 h 564"/>
                <a:gd name="connsiteX2" fmla="*/ 0 w 952"/>
                <a:gd name="connsiteY2" fmla="*/ 0 h 564"/>
                <a:gd name="connsiteX3" fmla="*/ 0 w 952"/>
                <a:gd name="connsiteY3" fmla="*/ 0 h 564"/>
              </a:gdLst>
              <a:ahLst/>
              <a:cxnLst>
                <a:cxn ang="0">
                  <a:pos x="connsiteX0" y="connsiteY0"/>
                </a:cxn>
                <a:cxn ang="0">
                  <a:pos x="connsiteX1" y="connsiteY1"/>
                </a:cxn>
                <a:cxn ang="0">
                  <a:pos x="connsiteX2" y="connsiteY2"/>
                </a:cxn>
                <a:cxn ang="0">
                  <a:pos x="connsiteX3" y="connsiteY3"/>
                </a:cxn>
              </a:cxnLst>
              <a:rect l="l" t="t" r="r" b="b"/>
              <a:pathLst>
                <a:path w="952" h="564">
                  <a:moveTo>
                    <a:pt x="0" y="0"/>
                  </a:moveTo>
                  <a:cubicBezTo>
                    <a:pt x="1270" y="0"/>
                    <a:pt x="1270" y="1270"/>
                    <a:pt x="0" y="0"/>
                  </a:cubicBez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7FDA079D-1E1D-47F6-8C57-78A73156E10B}"/>
                </a:ext>
              </a:extLst>
            </p:cNvPr>
            <p:cNvSpPr/>
            <p:nvPr/>
          </p:nvSpPr>
          <p:spPr>
            <a:xfrm>
              <a:off x="3688930" y="6252440"/>
              <a:ext cx="1270" cy="1269"/>
            </a:xfrm>
            <a:custGeom>
              <a:avLst/>
              <a:gdLst>
                <a:gd name="connsiteX0" fmla="*/ 1270 w 1270"/>
                <a:gd name="connsiteY0" fmla="*/ 0 h 1269"/>
                <a:gd name="connsiteX1" fmla="*/ 0 w 1270"/>
                <a:gd name="connsiteY1" fmla="*/ 1270 h 1269"/>
                <a:gd name="connsiteX2" fmla="*/ 1270 w 1270"/>
                <a:gd name="connsiteY2" fmla="*/ 0 h 1269"/>
                <a:gd name="connsiteX3" fmla="*/ 127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1270" y="0"/>
                  </a:moveTo>
                  <a:lnTo>
                    <a:pt x="0" y="1270"/>
                  </a:lnTo>
                  <a:cubicBezTo>
                    <a:pt x="0" y="1270"/>
                    <a:pt x="0" y="1270"/>
                    <a:pt x="1270" y="0"/>
                  </a:cubicBezTo>
                  <a:lnTo>
                    <a:pt x="1270" y="0"/>
                  </a:lnTo>
                  <a:close/>
                </a:path>
              </a:pathLst>
            </a:custGeom>
            <a:solidFill>
              <a:srgbClr val="000000"/>
            </a:solidFill>
            <a:ln w="12688"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724DC807-8345-4D50-8538-F86D60785283}"/>
                </a:ext>
              </a:extLst>
            </p:cNvPr>
            <p:cNvSpPr/>
            <p:nvPr/>
          </p:nvSpPr>
          <p:spPr>
            <a:xfrm>
              <a:off x="3180813" y="6252440"/>
              <a:ext cx="506846" cy="415389"/>
            </a:xfrm>
            <a:custGeom>
              <a:avLst/>
              <a:gdLst>
                <a:gd name="connsiteX0" fmla="*/ 506847 w 506846"/>
                <a:gd name="connsiteY0" fmla="*/ 2540 h 415389"/>
                <a:gd name="connsiteX1" fmla="*/ 506847 w 506846"/>
                <a:gd name="connsiteY1" fmla="*/ 2540 h 415389"/>
                <a:gd name="connsiteX2" fmla="*/ 499225 w 506846"/>
                <a:gd name="connsiteY2" fmla="*/ 3811 h 415389"/>
                <a:gd name="connsiteX3" fmla="*/ 486522 w 506846"/>
                <a:gd name="connsiteY3" fmla="*/ 0 h 415389"/>
                <a:gd name="connsiteX4" fmla="*/ 0 w 506846"/>
                <a:gd name="connsiteY4" fmla="*/ 400146 h 415389"/>
                <a:gd name="connsiteX5" fmla="*/ 3811 w 506846"/>
                <a:gd name="connsiteY5" fmla="*/ 401416 h 415389"/>
                <a:gd name="connsiteX6" fmla="*/ 8892 w 506846"/>
                <a:gd name="connsiteY6" fmla="*/ 411578 h 415389"/>
                <a:gd name="connsiteX7" fmla="*/ 8892 w 506846"/>
                <a:gd name="connsiteY7" fmla="*/ 411578 h 415389"/>
                <a:gd name="connsiteX8" fmla="*/ 6351 w 506846"/>
                <a:gd name="connsiteY8" fmla="*/ 415390 h 415389"/>
                <a:gd name="connsiteX9" fmla="*/ 7622 w 506846"/>
                <a:gd name="connsiteY9" fmla="*/ 415390 h 415389"/>
                <a:gd name="connsiteX10" fmla="*/ 17784 w 506846"/>
                <a:gd name="connsiteY10" fmla="*/ 406498 h 415389"/>
                <a:gd name="connsiteX11" fmla="*/ 506847 w 506846"/>
                <a:gd name="connsiteY11" fmla="*/ 2540 h 415389"/>
                <a:gd name="connsiteX12" fmla="*/ 506847 w 506846"/>
                <a:gd name="connsiteY12" fmla="*/ 2540 h 41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6846" h="415389">
                  <a:moveTo>
                    <a:pt x="506847" y="2540"/>
                  </a:moveTo>
                  <a:lnTo>
                    <a:pt x="506847" y="2540"/>
                  </a:lnTo>
                  <a:cubicBezTo>
                    <a:pt x="504306" y="3811"/>
                    <a:pt x="501766" y="5081"/>
                    <a:pt x="499225" y="3811"/>
                  </a:cubicBezTo>
                  <a:lnTo>
                    <a:pt x="486522" y="0"/>
                  </a:lnTo>
                  <a:lnTo>
                    <a:pt x="0" y="400146"/>
                  </a:lnTo>
                  <a:lnTo>
                    <a:pt x="3811" y="401416"/>
                  </a:lnTo>
                  <a:cubicBezTo>
                    <a:pt x="7622" y="402687"/>
                    <a:pt x="10162" y="406498"/>
                    <a:pt x="8892" y="411578"/>
                  </a:cubicBezTo>
                  <a:cubicBezTo>
                    <a:pt x="8892" y="411578"/>
                    <a:pt x="8892" y="411578"/>
                    <a:pt x="8892" y="411578"/>
                  </a:cubicBezTo>
                  <a:cubicBezTo>
                    <a:pt x="8892" y="412849"/>
                    <a:pt x="7622" y="414119"/>
                    <a:pt x="6351" y="415390"/>
                  </a:cubicBezTo>
                  <a:lnTo>
                    <a:pt x="7622" y="415390"/>
                  </a:lnTo>
                  <a:lnTo>
                    <a:pt x="17784" y="406498"/>
                  </a:lnTo>
                  <a:lnTo>
                    <a:pt x="506847" y="2540"/>
                  </a:lnTo>
                  <a:lnTo>
                    <a:pt x="506847" y="2540"/>
                  </a:lnTo>
                  <a:close/>
                </a:path>
              </a:pathLst>
            </a:custGeom>
            <a:solidFill>
              <a:srgbClr val="000000"/>
            </a:solidFill>
            <a:ln w="12688"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C05FF02D-4B21-4CA5-A373-CEDA02904F36}"/>
                </a:ext>
              </a:extLst>
            </p:cNvPr>
            <p:cNvSpPr/>
            <p:nvPr/>
          </p:nvSpPr>
          <p:spPr>
            <a:xfrm>
              <a:off x="3356114" y="273369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81D9B137-427A-4636-B9DE-47E68266D562}"/>
                </a:ext>
              </a:extLst>
            </p:cNvPr>
            <p:cNvSpPr/>
            <p:nvPr/>
          </p:nvSpPr>
          <p:spPr>
            <a:xfrm>
              <a:off x="3343411" y="2738777"/>
              <a:ext cx="33027" cy="514473"/>
            </a:xfrm>
            <a:custGeom>
              <a:avLst/>
              <a:gdLst>
                <a:gd name="connsiteX0" fmla="*/ 15243 w 33027"/>
                <a:gd name="connsiteY0" fmla="*/ 1270 h 514473"/>
                <a:gd name="connsiteX1" fmla="*/ 15243 w 33027"/>
                <a:gd name="connsiteY1" fmla="*/ 1270 h 514473"/>
                <a:gd name="connsiteX2" fmla="*/ 15243 w 33027"/>
                <a:gd name="connsiteY2" fmla="*/ 1270 h 514473"/>
                <a:gd name="connsiteX3" fmla="*/ 13973 w 33027"/>
                <a:gd name="connsiteY3" fmla="*/ 3811 h 514473"/>
                <a:gd name="connsiteX4" fmla="*/ 12703 w 33027"/>
                <a:gd name="connsiteY4" fmla="*/ 5081 h 514473"/>
                <a:gd name="connsiteX5" fmla="*/ 11433 w 33027"/>
                <a:gd name="connsiteY5" fmla="*/ 6352 h 514473"/>
                <a:gd name="connsiteX6" fmla="*/ 0 w 33027"/>
                <a:gd name="connsiteY6" fmla="*/ 13973 h 514473"/>
                <a:gd name="connsiteX7" fmla="*/ 17784 w 33027"/>
                <a:gd name="connsiteY7" fmla="*/ 510663 h 514473"/>
                <a:gd name="connsiteX8" fmla="*/ 27946 w 33027"/>
                <a:gd name="connsiteY8" fmla="*/ 513203 h 514473"/>
                <a:gd name="connsiteX9" fmla="*/ 33027 w 33027"/>
                <a:gd name="connsiteY9" fmla="*/ 514473 h 514473"/>
                <a:gd name="connsiteX10" fmla="*/ 13973 w 33027"/>
                <a:gd name="connsiteY10" fmla="*/ 0 h 514473"/>
                <a:gd name="connsiteX11" fmla="*/ 13973 w 33027"/>
                <a:gd name="connsiteY11" fmla="*/ 0 h 514473"/>
                <a:gd name="connsiteX12" fmla="*/ 13973 w 33027"/>
                <a:gd name="connsiteY12" fmla="*/ 0 h 514473"/>
                <a:gd name="connsiteX13" fmla="*/ 15243 w 33027"/>
                <a:gd name="connsiteY13" fmla="*/ 1270 h 51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27" h="514473">
                  <a:moveTo>
                    <a:pt x="15243" y="1270"/>
                  </a:moveTo>
                  <a:lnTo>
                    <a:pt x="15243" y="1270"/>
                  </a:lnTo>
                  <a:lnTo>
                    <a:pt x="15243" y="1270"/>
                  </a:lnTo>
                  <a:cubicBezTo>
                    <a:pt x="15243" y="2541"/>
                    <a:pt x="15243" y="3811"/>
                    <a:pt x="13973" y="3811"/>
                  </a:cubicBezTo>
                  <a:cubicBezTo>
                    <a:pt x="13973" y="3811"/>
                    <a:pt x="13973" y="5081"/>
                    <a:pt x="12703" y="5081"/>
                  </a:cubicBezTo>
                  <a:lnTo>
                    <a:pt x="11433" y="6352"/>
                  </a:lnTo>
                  <a:lnTo>
                    <a:pt x="0" y="13973"/>
                  </a:lnTo>
                  <a:lnTo>
                    <a:pt x="17784" y="510663"/>
                  </a:lnTo>
                  <a:lnTo>
                    <a:pt x="27946" y="513203"/>
                  </a:lnTo>
                  <a:lnTo>
                    <a:pt x="33027" y="514473"/>
                  </a:lnTo>
                  <a:lnTo>
                    <a:pt x="13973" y="0"/>
                  </a:lnTo>
                  <a:lnTo>
                    <a:pt x="13973" y="0"/>
                  </a:lnTo>
                  <a:lnTo>
                    <a:pt x="13973" y="0"/>
                  </a:lnTo>
                  <a:cubicBezTo>
                    <a:pt x="15243" y="0"/>
                    <a:pt x="15243" y="1270"/>
                    <a:pt x="15243" y="1270"/>
                  </a:cubicBezTo>
                  <a:close/>
                </a:path>
              </a:pathLst>
            </a:custGeom>
            <a:solidFill>
              <a:srgbClr val="000000"/>
            </a:solidFill>
            <a:ln w="12688"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B2CD148A-22BD-4222-B375-156B7435E2BA}"/>
                </a:ext>
              </a:extLst>
            </p:cNvPr>
            <p:cNvSpPr/>
            <p:nvPr/>
          </p:nvSpPr>
          <p:spPr>
            <a:xfrm>
              <a:off x="3353573" y="273242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7269E6CF-95AF-49B9-A88F-B0A4A4591F1D}"/>
                </a:ext>
              </a:extLst>
            </p:cNvPr>
            <p:cNvSpPr/>
            <p:nvPr/>
          </p:nvSpPr>
          <p:spPr>
            <a:xfrm>
              <a:off x="2774319" y="3110976"/>
              <a:ext cx="952" cy="12703"/>
            </a:xfrm>
            <a:custGeom>
              <a:avLst/>
              <a:gdLst>
                <a:gd name="connsiteX0" fmla="*/ 0 w 952"/>
                <a:gd name="connsiteY0" fmla="*/ 0 h 12703"/>
                <a:gd name="connsiteX1" fmla="*/ 0 w 952"/>
                <a:gd name="connsiteY1" fmla="*/ 0 h 12703"/>
                <a:gd name="connsiteX2" fmla="*/ 0 w 952"/>
                <a:gd name="connsiteY2" fmla="*/ 0 h 12703"/>
                <a:gd name="connsiteX3" fmla="*/ 0 w 952"/>
                <a:gd name="connsiteY3" fmla="*/ 0 h 12703"/>
              </a:gdLst>
              <a:ahLst/>
              <a:cxnLst>
                <a:cxn ang="0">
                  <a:pos x="connsiteX0" y="connsiteY0"/>
                </a:cxn>
                <a:cxn ang="0">
                  <a:pos x="connsiteX1" y="connsiteY1"/>
                </a:cxn>
                <a:cxn ang="0">
                  <a:pos x="connsiteX2" y="connsiteY2"/>
                </a:cxn>
                <a:cxn ang="0">
                  <a:pos x="connsiteX3" y="connsiteY3"/>
                </a:cxn>
              </a:cxnLst>
              <a:rect l="l" t="t" r="r" b="b"/>
              <a:pathLst>
                <a:path w="952" h="12703">
                  <a:moveTo>
                    <a:pt x="0" y="0"/>
                  </a:moveTo>
                  <a:cubicBezTo>
                    <a:pt x="1270" y="0"/>
                    <a:pt x="1270" y="0"/>
                    <a:pt x="0" y="0"/>
                  </a:cubicBezTo>
                  <a:cubicBezTo>
                    <a:pt x="1270" y="0"/>
                    <a:pt x="1270" y="0"/>
                    <a:pt x="0" y="0"/>
                  </a:cubicBezTo>
                  <a:lnTo>
                    <a:pt x="0" y="0"/>
                  </a:lnTo>
                  <a:close/>
                </a:path>
              </a:pathLst>
            </a:custGeom>
            <a:solidFill>
              <a:srgbClr val="000000"/>
            </a:solidFill>
            <a:ln w="12688"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228F6631-FE05-4960-935D-68C6DA943F61}"/>
                </a:ext>
              </a:extLst>
            </p:cNvPr>
            <p:cNvSpPr/>
            <p:nvPr/>
          </p:nvSpPr>
          <p:spPr>
            <a:xfrm>
              <a:off x="2776860" y="2741317"/>
              <a:ext cx="579253" cy="362036"/>
            </a:xfrm>
            <a:custGeom>
              <a:avLst/>
              <a:gdLst>
                <a:gd name="connsiteX0" fmla="*/ 0 w 579253"/>
                <a:gd name="connsiteY0" fmla="*/ 359496 h 362036"/>
                <a:gd name="connsiteX1" fmla="*/ 6351 w 579253"/>
                <a:gd name="connsiteY1" fmla="*/ 358226 h 362036"/>
                <a:gd name="connsiteX2" fmla="*/ 22865 w 579253"/>
                <a:gd name="connsiteY2" fmla="*/ 362037 h 362036"/>
                <a:gd name="connsiteX3" fmla="*/ 566551 w 579253"/>
                <a:gd name="connsiteY3" fmla="*/ 11433 h 362036"/>
                <a:gd name="connsiteX4" fmla="*/ 577983 w 579253"/>
                <a:gd name="connsiteY4" fmla="*/ 3811 h 362036"/>
                <a:gd name="connsiteX5" fmla="*/ 579254 w 579253"/>
                <a:gd name="connsiteY5" fmla="*/ 2541 h 362036"/>
                <a:gd name="connsiteX6" fmla="*/ 572902 w 579253"/>
                <a:gd name="connsiteY6" fmla="*/ 3811 h 362036"/>
                <a:gd name="connsiteX7" fmla="*/ 556388 w 579253"/>
                <a:gd name="connsiteY7" fmla="*/ 0 h 362036"/>
                <a:gd name="connsiteX8" fmla="*/ 0 w 579253"/>
                <a:gd name="connsiteY8" fmla="*/ 359496 h 362036"/>
                <a:gd name="connsiteX9" fmla="*/ 0 w 579253"/>
                <a:gd name="connsiteY9" fmla="*/ 359496 h 36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9253" h="362036">
                  <a:moveTo>
                    <a:pt x="0" y="359496"/>
                  </a:moveTo>
                  <a:cubicBezTo>
                    <a:pt x="1270" y="358226"/>
                    <a:pt x="3811" y="356956"/>
                    <a:pt x="6351" y="358226"/>
                  </a:cubicBezTo>
                  <a:lnTo>
                    <a:pt x="22865" y="362037"/>
                  </a:lnTo>
                  <a:lnTo>
                    <a:pt x="566551" y="11433"/>
                  </a:lnTo>
                  <a:lnTo>
                    <a:pt x="577983" y="3811"/>
                  </a:lnTo>
                  <a:lnTo>
                    <a:pt x="579254" y="2541"/>
                  </a:lnTo>
                  <a:cubicBezTo>
                    <a:pt x="577983" y="3811"/>
                    <a:pt x="575443" y="5081"/>
                    <a:pt x="572902" y="3811"/>
                  </a:cubicBezTo>
                  <a:lnTo>
                    <a:pt x="556388" y="0"/>
                  </a:lnTo>
                  <a:lnTo>
                    <a:pt x="0" y="359496"/>
                  </a:lnTo>
                  <a:lnTo>
                    <a:pt x="0" y="359496"/>
                  </a:lnTo>
                  <a:close/>
                </a:path>
              </a:pathLst>
            </a:custGeom>
            <a:solidFill>
              <a:srgbClr val="000000"/>
            </a:solidFill>
            <a:ln w="12688"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AA8F7EC9-D040-46C5-8235-BF06EF015EED}"/>
                </a:ext>
              </a:extLst>
            </p:cNvPr>
            <p:cNvSpPr/>
            <p:nvPr/>
          </p:nvSpPr>
          <p:spPr>
            <a:xfrm>
              <a:off x="3353573" y="2732425"/>
              <a:ext cx="1270" cy="12703"/>
            </a:xfrm>
            <a:custGeom>
              <a:avLst/>
              <a:gdLst>
                <a:gd name="connsiteX0" fmla="*/ 1270 w 1270"/>
                <a:gd name="connsiteY0" fmla="*/ 0 h 12703"/>
                <a:gd name="connsiteX1" fmla="*/ 1270 w 1270"/>
                <a:gd name="connsiteY1" fmla="*/ 0 h 12703"/>
                <a:gd name="connsiteX2" fmla="*/ 0 w 1270"/>
                <a:gd name="connsiteY2" fmla="*/ 0 h 12703"/>
                <a:gd name="connsiteX3" fmla="*/ 127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1270" y="0"/>
                  </a:moveTo>
                  <a:lnTo>
                    <a:pt x="1270" y="0"/>
                  </a:lnTo>
                  <a:lnTo>
                    <a:pt x="0" y="0"/>
                  </a:lnTo>
                  <a:cubicBezTo>
                    <a:pt x="0" y="0"/>
                    <a:pt x="1270" y="0"/>
                    <a:pt x="1270" y="0"/>
                  </a:cubicBezTo>
                  <a:close/>
                </a:path>
              </a:pathLst>
            </a:custGeom>
            <a:solidFill>
              <a:srgbClr val="000000"/>
            </a:solidFill>
            <a:ln w="12688"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47199AB5-C0EB-4B2D-9D5D-3C29EA8347B0}"/>
                </a:ext>
              </a:extLst>
            </p:cNvPr>
            <p:cNvSpPr/>
            <p:nvPr/>
          </p:nvSpPr>
          <p:spPr>
            <a:xfrm>
              <a:off x="3357384" y="273496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cubicBezTo>
                    <a:pt x="0" y="0"/>
                    <a:pt x="0" y="0"/>
                    <a:pt x="0" y="0"/>
                  </a:cubicBez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987EA037-6F03-4697-8FB4-45ED32E3C09E}"/>
                </a:ext>
              </a:extLst>
            </p:cNvPr>
            <p:cNvSpPr/>
            <p:nvPr/>
          </p:nvSpPr>
          <p:spPr>
            <a:xfrm>
              <a:off x="3785473" y="5549961"/>
              <a:ext cx="30963" cy="22071"/>
            </a:xfrm>
            <a:custGeom>
              <a:avLst/>
              <a:gdLst>
                <a:gd name="connsiteX0" fmla="*/ 0 w 30963"/>
                <a:gd name="connsiteY0" fmla="*/ 3811 h 22071"/>
                <a:gd name="connsiteX1" fmla="*/ 0 w 30963"/>
                <a:gd name="connsiteY1" fmla="*/ 3811 h 22071"/>
                <a:gd name="connsiteX2" fmla="*/ 0 w 30963"/>
                <a:gd name="connsiteY2" fmla="*/ 13973 h 22071"/>
                <a:gd name="connsiteX3" fmla="*/ 6351 w 30963"/>
                <a:gd name="connsiteY3" fmla="*/ 16514 h 22071"/>
                <a:gd name="connsiteX4" fmla="*/ 16514 w 30963"/>
                <a:gd name="connsiteY4" fmla="*/ 20325 h 22071"/>
                <a:gd name="connsiteX5" fmla="*/ 20325 w 30963"/>
                <a:gd name="connsiteY5" fmla="*/ 21595 h 22071"/>
                <a:gd name="connsiteX6" fmla="*/ 20325 w 30963"/>
                <a:gd name="connsiteY6" fmla="*/ 21595 h 22071"/>
                <a:gd name="connsiteX7" fmla="*/ 30487 w 30963"/>
                <a:gd name="connsiteY7" fmla="*/ 17784 h 22071"/>
                <a:gd name="connsiteX8" fmla="*/ 26676 w 30963"/>
                <a:gd name="connsiteY8" fmla="*/ 7622 h 22071"/>
                <a:gd name="connsiteX9" fmla="*/ 25406 w 30963"/>
                <a:gd name="connsiteY9" fmla="*/ 7622 h 22071"/>
                <a:gd name="connsiteX10" fmla="*/ 25406 w 30963"/>
                <a:gd name="connsiteY10" fmla="*/ 7622 h 22071"/>
                <a:gd name="connsiteX11" fmla="*/ 21595 w 30963"/>
                <a:gd name="connsiteY11" fmla="*/ 6352 h 22071"/>
                <a:gd name="connsiteX12" fmla="*/ 0 w 30963"/>
                <a:gd name="connsiteY12" fmla="*/ 0 h 22071"/>
                <a:gd name="connsiteX13" fmla="*/ 0 w 30963"/>
                <a:gd name="connsiteY13" fmla="*/ 3811 h 2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63" h="22071">
                  <a:moveTo>
                    <a:pt x="0" y="3811"/>
                  </a:moveTo>
                  <a:lnTo>
                    <a:pt x="0" y="3811"/>
                  </a:lnTo>
                  <a:lnTo>
                    <a:pt x="0" y="13973"/>
                  </a:lnTo>
                  <a:lnTo>
                    <a:pt x="6351" y="16514"/>
                  </a:lnTo>
                  <a:lnTo>
                    <a:pt x="16514" y="20325"/>
                  </a:lnTo>
                  <a:lnTo>
                    <a:pt x="20325" y="21595"/>
                  </a:lnTo>
                  <a:lnTo>
                    <a:pt x="20325" y="21595"/>
                  </a:lnTo>
                  <a:cubicBezTo>
                    <a:pt x="24135" y="22866"/>
                    <a:pt x="27947" y="21595"/>
                    <a:pt x="30487" y="17784"/>
                  </a:cubicBezTo>
                  <a:cubicBezTo>
                    <a:pt x="31757" y="13973"/>
                    <a:pt x="30487" y="10163"/>
                    <a:pt x="26676" y="7622"/>
                  </a:cubicBezTo>
                  <a:cubicBezTo>
                    <a:pt x="26676" y="7622"/>
                    <a:pt x="25406" y="7622"/>
                    <a:pt x="25406" y="7622"/>
                  </a:cubicBezTo>
                  <a:lnTo>
                    <a:pt x="25406" y="7622"/>
                  </a:lnTo>
                  <a:lnTo>
                    <a:pt x="21595" y="6352"/>
                  </a:lnTo>
                  <a:lnTo>
                    <a:pt x="0" y="0"/>
                  </a:lnTo>
                  <a:lnTo>
                    <a:pt x="0" y="3811"/>
                  </a:lnTo>
                  <a:close/>
                </a:path>
              </a:pathLst>
            </a:custGeom>
            <a:solidFill>
              <a:srgbClr val="000000"/>
            </a:solidFill>
            <a:ln w="12688"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D59D9EAC-F03F-4508-8FA4-CEEC9EBC46D1}"/>
                </a:ext>
              </a:extLst>
            </p:cNvPr>
            <p:cNvSpPr/>
            <p:nvPr/>
          </p:nvSpPr>
          <p:spPr>
            <a:xfrm>
              <a:off x="3413277" y="6154296"/>
              <a:ext cx="275653" cy="103751"/>
            </a:xfrm>
            <a:custGeom>
              <a:avLst/>
              <a:gdLst>
                <a:gd name="connsiteX0" fmla="*/ 266762 w 275653"/>
                <a:gd name="connsiteY0" fmla="*/ 103225 h 103751"/>
                <a:gd name="connsiteX1" fmla="*/ 274383 w 275653"/>
                <a:gd name="connsiteY1" fmla="*/ 101955 h 103751"/>
                <a:gd name="connsiteX2" fmla="*/ 274383 w 275653"/>
                <a:gd name="connsiteY2" fmla="*/ 101955 h 103751"/>
                <a:gd name="connsiteX3" fmla="*/ 274383 w 275653"/>
                <a:gd name="connsiteY3" fmla="*/ 100684 h 103751"/>
                <a:gd name="connsiteX4" fmla="*/ 275653 w 275653"/>
                <a:gd name="connsiteY4" fmla="*/ 99414 h 103751"/>
                <a:gd name="connsiteX5" fmla="*/ 275653 w 275653"/>
                <a:gd name="connsiteY5" fmla="*/ 99414 h 103751"/>
                <a:gd name="connsiteX6" fmla="*/ 275653 w 275653"/>
                <a:gd name="connsiteY6" fmla="*/ 99414 h 103751"/>
                <a:gd name="connsiteX7" fmla="*/ 275653 w 275653"/>
                <a:gd name="connsiteY7" fmla="*/ 98144 h 103751"/>
                <a:gd name="connsiteX8" fmla="*/ 275653 w 275653"/>
                <a:gd name="connsiteY8" fmla="*/ 96874 h 103751"/>
                <a:gd name="connsiteX9" fmla="*/ 275653 w 275653"/>
                <a:gd name="connsiteY9" fmla="*/ 95603 h 103751"/>
                <a:gd name="connsiteX10" fmla="*/ 275653 w 275653"/>
                <a:gd name="connsiteY10" fmla="*/ 94333 h 103751"/>
                <a:gd name="connsiteX11" fmla="*/ 275653 w 275653"/>
                <a:gd name="connsiteY11" fmla="*/ 93063 h 103751"/>
                <a:gd name="connsiteX12" fmla="*/ 274383 w 275653"/>
                <a:gd name="connsiteY12" fmla="*/ 91793 h 103751"/>
                <a:gd name="connsiteX13" fmla="*/ 273113 w 275653"/>
                <a:gd name="connsiteY13" fmla="*/ 90522 h 103751"/>
                <a:gd name="connsiteX14" fmla="*/ 271843 w 275653"/>
                <a:gd name="connsiteY14" fmla="*/ 89252 h 103751"/>
                <a:gd name="connsiteX15" fmla="*/ 271843 w 275653"/>
                <a:gd name="connsiteY15" fmla="*/ 89252 h 103751"/>
                <a:gd name="connsiteX16" fmla="*/ 261680 w 275653"/>
                <a:gd name="connsiteY16" fmla="*/ 85441 h 103751"/>
                <a:gd name="connsiteX17" fmla="*/ 13973 w 275653"/>
                <a:gd name="connsiteY17" fmla="*/ 1601 h 103751"/>
                <a:gd name="connsiteX18" fmla="*/ 8892 w 275653"/>
                <a:gd name="connsiteY18" fmla="*/ 330 h 103751"/>
                <a:gd name="connsiteX19" fmla="*/ 0 w 275653"/>
                <a:gd name="connsiteY19" fmla="*/ 5412 h 103751"/>
                <a:gd name="connsiteX20" fmla="*/ 0 w 275653"/>
                <a:gd name="connsiteY20" fmla="*/ 5412 h 103751"/>
                <a:gd name="connsiteX21" fmla="*/ 0 w 275653"/>
                <a:gd name="connsiteY21" fmla="*/ 7952 h 103751"/>
                <a:gd name="connsiteX22" fmla="*/ 0 w 275653"/>
                <a:gd name="connsiteY22" fmla="*/ 9223 h 103751"/>
                <a:gd name="connsiteX23" fmla="*/ 0 w 275653"/>
                <a:gd name="connsiteY23" fmla="*/ 10493 h 103751"/>
                <a:gd name="connsiteX24" fmla="*/ 1270 w 275653"/>
                <a:gd name="connsiteY24" fmla="*/ 11763 h 103751"/>
                <a:gd name="connsiteX25" fmla="*/ 2540 w 275653"/>
                <a:gd name="connsiteY25" fmla="*/ 13034 h 103751"/>
                <a:gd name="connsiteX26" fmla="*/ 3811 w 275653"/>
                <a:gd name="connsiteY26" fmla="*/ 13034 h 103751"/>
                <a:gd name="connsiteX27" fmla="*/ 5081 w 275653"/>
                <a:gd name="connsiteY27" fmla="*/ 14304 h 103751"/>
                <a:gd name="connsiteX28" fmla="*/ 5081 w 275653"/>
                <a:gd name="connsiteY28" fmla="*/ 14304 h 103751"/>
                <a:gd name="connsiteX29" fmla="*/ 8892 w 275653"/>
                <a:gd name="connsiteY29" fmla="*/ 15574 h 103751"/>
                <a:gd name="connsiteX30" fmla="*/ 255329 w 275653"/>
                <a:gd name="connsiteY30" fmla="*/ 99414 h 103751"/>
                <a:gd name="connsiteX31" fmla="*/ 266762 w 275653"/>
                <a:gd name="connsiteY31" fmla="*/ 103225 h 10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5653" h="103751">
                  <a:moveTo>
                    <a:pt x="266762" y="103225"/>
                  </a:moveTo>
                  <a:cubicBezTo>
                    <a:pt x="269302" y="104496"/>
                    <a:pt x="271843" y="103225"/>
                    <a:pt x="274383" y="101955"/>
                  </a:cubicBezTo>
                  <a:lnTo>
                    <a:pt x="274383" y="101955"/>
                  </a:lnTo>
                  <a:lnTo>
                    <a:pt x="274383" y="100684"/>
                  </a:lnTo>
                  <a:lnTo>
                    <a:pt x="275653" y="99414"/>
                  </a:lnTo>
                  <a:lnTo>
                    <a:pt x="275653" y="99414"/>
                  </a:lnTo>
                  <a:lnTo>
                    <a:pt x="275653" y="99414"/>
                  </a:lnTo>
                  <a:cubicBezTo>
                    <a:pt x="275653" y="99414"/>
                    <a:pt x="275653" y="99414"/>
                    <a:pt x="275653" y="98144"/>
                  </a:cubicBezTo>
                  <a:cubicBezTo>
                    <a:pt x="275653" y="98144"/>
                    <a:pt x="275653" y="96874"/>
                    <a:pt x="275653" y="96874"/>
                  </a:cubicBezTo>
                  <a:cubicBezTo>
                    <a:pt x="275653" y="96874"/>
                    <a:pt x="275653" y="95603"/>
                    <a:pt x="275653" y="95603"/>
                  </a:cubicBezTo>
                  <a:cubicBezTo>
                    <a:pt x="275653" y="95603"/>
                    <a:pt x="275653" y="94333"/>
                    <a:pt x="275653" y="94333"/>
                  </a:cubicBezTo>
                  <a:cubicBezTo>
                    <a:pt x="275653" y="94333"/>
                    <a:pt x="275653" y="93063"/>
                    <a:pt x="275653" y="93063"/>
                  </a:cubicBezTo>
                  <a:cubicBezTo>
                    <a:pt x="275653" y="93063"/>
                    <a:pt x="275653" y="91793"/>
                    <a:pt x="274383" y="91793"/>
                  </a:cubicBezTo>
                  <a:lnTo>
                    <a:pt x="273113" y="90522"/>
                  </a:lnTo>
                  <a:cubicBezTo>
                    <a:pt x="273113" y="90522"/>
                    <a:pt x="271843" y="90522"/>
                    <a:pt x="271843" y="89252"/>
                  </a:cubicBezTo>
                  <a:lnTo>
                    <a:pt x="271843" y="89252"/>
                  </a:lnTo>
                  <a:lnTo>
                    <a:pt x="261680" y="85441"/>
                  </a:lnTo>
                  <a:lnTo>
                    <a:pt x="13973" y="1601"/>
                  </a:lnTo>
                  <a:lnTo>
                    <a:pt x="8892" y="330"/>
                  </a:lnTo>
                  <a:cubicBezTo>
                    <a:pt x="5081" y="-940"/>
                    <a:pt x="1270" y="1601"/>
                    <a:pt x="0" y="5412"/>
                  </a:cubicBezTo>
                  <a:cubicBezTo>
                    <a:pt x="0" y="5412"/>
                    <a:pt x="0" y="5412"/>
                    <a:pt x="0" y="5412"/>
                  </a:cubicBezTo>
                  <a:cubicBezTo>
                    <a:pt x="0" y="6682"/>
                    <a:pt x="0" y="6682"/>
                    <a:pt x="0" y="7952"/>
                  </a:cubicBezTo>
                  <a:cubicBezTo>
                    <a:pt x="0" y="7952"/>
                    <a:pt x="0" y="9223"/>
                    <a:pt x="0" y="9223"/>
                  </a:cubicBezTo>
                  <a:cubicBezTo>
                    <a:pt x="0" y="9223"/>
                    <a:pt x="0" y="9223"/>
                    <a:pt x="0" y="10493"/>
                  </a:cubicBezTo>
                  <a:cubicBezTo>
                    <a:pt x="0" y="10493"/>
                    <a:pt x="1270" y="11763"/>
                    <a:pt x="1270" y="11763"/>
                  </a:cubicBezTo>
                  <a:cubicBezTo>
                    <a:pt x="1270" y="11763"/>
                    <a:pt x="1270" y="11763"/>
                    <a:pt x="2540" y="13034"/>
                  </a:cubicBezTo>
                  <a:lnTo>
                    <a:pt x="3811" y="13034"/>
                  </a:lnTo>
                  <a:lnTo>
                    <a:pt x="5081" y="14304"/>
                  </a:lnTo>
                  <a:lnTo>
                    <a:pt x="5081" y="14304"/>
                  </a:lnTo>
                  <a:lnTo>
                    <a:pt x="8892" y="15574"/>
                  </a:lnTo>
                  <a:lnTo>
                    <a:pt x="255329" y="99414"/>
                  </a:lnTo>
                  <a:lnTo>
                    <a:pt x="266762" y="103225"/>
                  </a:lnTo>
                  <a:close/>
                </a:path>
              </a:pathLst>
            </a:custGeom>
            <a:solidFill>
              <a:srgbClr val="000000"/>
            </a:solidFill>
            <a:ln w="12688"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CF0FE711-4979-443F-A97C-3BF4D73ECFEF}"/>
                </a:ext>
              </a:extLst>
            </p:cNvPr>
            <p:cNvSpPr/>
            <p:nvPr/>
          </p:nvSpPr>
          <p:spPr>
            <a:xfrm>
              <a:off x="2910241" y="656493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BE6EDD69-6306-4627-A675-0695882CD955}"/>
                </a:ext>
              </a:extLst>
            </p:cNvPr>
            <p:cNvSpPr/>
            <p:nvPr/>
          </p:nvSpPr>
          <p:spPr>
            <a:xfrm>
              <a:off x="2912781" y="656112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D7B3FA62-9B0D-49BE-92D4-A7E43F68FD99}"/>
                </a:ext>
              </a:extLst>
            </p:cNvPr>
            <p:cNvSpPr/>
            <p:nvPr/>
          </p:nvSpPr>
          <p:spPr>
            <a:xfrm>
              <a:off x="2916592" y="6559854"/>
              <a:ext cx="273571" cy="109245"/>
            </a:xfrm>
            <a:custGeom>
              <a:avLst/>
              <a:gdLst>
                <a:gd name="connsiteX0" fmla="*/ 266762 w 273571"/>
                <a:gd name="connsiteY0" fmla="*/ 109246 h 109245"/>
                <a:gd name="connsiteX1" fmla="*/ 268032 w 273571"/>
                <a:gd name="connsiteY1" fmla="*/ 109246 h 109245"/>
                <a:gd name="connsiteX2" fmla="*/ 269302 w 273571"/>
                <a:gd name="connsiteY2" fmla="*/ 109246 h 109245"/>
                <a:gd name="connsiteX3" fmla="*/ 270572 w 273571"/>
                <a:gd name="connsiteY3" fmla="*/ 107976 h 109245"/>
                <a:gd name="connsiteX4" fmla="*/ 273113 w 273571"/>
                <a:gd name="connsiteY4" fmla="*/ 104164 h 109245"/>
                <a:gd name="connsiteX5" fmla="*/ 268032 w 273571"/>
                <a:gd name="connsiteY5" fmla="*/ 94002 h 109245"/>
                <a:gd name="connsiteX6" fmla="*/ 268032 w 273571"/>
                <a:gd name="connsiteY6" fmla="*/ 94002 h 109245"/>
                <a:gd name="connsiteX7" fmla="*/ 264221 w 273571"/>
                <a:gd name="connsiteY7" fmla="*/ 92732 h 109245"/>
                <a:gd name="connsiteX8" fmla="*/ 15243 w 273571"/>
                <a:gd name="connsiteY8" fmla="*/ 3811 h 109245"/>
                <a:gd name="connsiteX9" fmla="*/ 2541 w 273571"/>
                <a:gd name="connsiteY9" fmla="*/ 0 h 109245"/>
                <a:gd name="connsiteX10" fmla="*/ 0 w 273571"/>
                <a:gd name="connsiteY10" fmla="*/ 0 h 109245"/>
                <a:gd name="connsiteX11" fmla="*/ 7622 w 273571"/>
                <a:gd name="connsiteY11" fmla="*/ 6352 h 109245"/>
                <a:gd name="connsiteX12" fmla="*/ 8892 w 273571"/>
                <a:gd name="connsiteY12" fmla="*/ 17784 h 109245"/>
                <a:gd name="connsiteX13" fmla="*/ 262951 w 273571"/>
                <a:gd name="connsiteY13" fmla="*/ 107976 h 109245"/>
                <a:gd name="connsiteX14" fmla="*/ 264221 w 273571"/>
                <a:gd name="connsiteY14" fmla="*/ 107976 h 109245"/>
                <a:gd name="connsiteX15" fmla="*/ 266762 w 273571"/>
                <a:gd name="connsiteY15" fmla="*/ 109246 h 10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571" h="109245">
                  <a:moveTo>
                    <a:pt x="266762" y="109246"/>
                  </a:moveTo>
                  <a:lnTo>
                    <a:pt x="268032" y="109246"/>
                  </a:lnTo>
                  <a:cubicBezTo>
                    <a:pt x="268032" y="109246"/>
                    <a:pt x="269302" y="109246"/>
                    <a:pt x="269302" y="109246"/>
                  </a:cubicBezTo>
                  <a:cubicBezTo>
                    <a:pt x="269302" y="109246"/>
                    <a:pt x="270572" y="109246"/>
                    <a:pt x="270572" y="107976"/>
                  </a:cubicBezTo>
                  <a:cubicBezTo>
                    <a:pt x="271843" y="106705"/>
                    <a:pt x="273113" y="105435"/>
                    <a:pt x="273113" y="104164"/>
                  </a:cubicBezTo>
                  <a:cubicBezTo>
                    <a:pt x="274383" y="100354"/>
                    <a:pt x="273113" y="96543"/>
                    <a:pt x="268032" y="94002"/>
                  </a:cubicBezTo>
                  <a:cubicBezTo>
                    <a:pt x="268032" y="94002"/>
                    <a:pt x="268032" y="94002"/>
                    <a:pt x="268032" y="94002"/>
                  </a:cubicBezTo>
                  <a:lnTo>
                    <a:pt x="264221" y="92732"/>
                  </a:lnTo>
                  <a:lnTo>
                    <a:pt x="15243" y="3811"/>
                  </a:lnTo>
                  <a:lnTo>
                    <a:pt x="2541" y="0"/>
                  </a:lnTo>
                  <a:cubicBezTo>
                    <a:pt x="1270" y="0"/>
                    <a:pt x="1270" y="0"/>
                    <a:pt x="0" y="0"/>
                  </a:cubicBezTo>
                  <a:cubicBezTo>
                    <a:pt x="3811" y="0"/>
                    <a:pt x="6351" y="3811"/>
                    <a:pt x="7622" y="6352"/>
                  </a:cubicBezTo>
                  <a:lnTo>
                    <a:pt x="8892" y="17784"/>
                  </a:lnTo>
                  <a:lnTo>
                    <a:pt x="262951" y="107976"/>
                  </a:lnTo>
                  <a:lnTo>
                    <a:pt x="264221" y="107976"/>
                  </a:lnTo>
                  <a:lnTo>
                    <a:pt x="266762" y="109246"/>
                  </a:lnTo>
                  <a:close/>
                </a:path>
              </a:pathLst>
            </a:custGeom>
            <a:solidFill>
              <a:srgbClr val="000000"/>
            </a:solidFill>
            <a:ln w="12688"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6DDCAFD8-AD03-411F-9FA5-8FE51A8C17AC}"/>
                </a:ext>
              </a:extLst>
            </p:cNvPr>
            <p:cNvSpPr/>
            <p:nvPr/>
          </p:nvSpPr>
          <p:spPr>
            <a:xfrm>
              <a:off x="0" y="3478094"/>
              <a:ext cx="62244" cy="555123"/>
            </a:xfrm>
            <a:custGeom>
              <a:avLst/>
              <a:gdLst>
                <a:gd name="connsiteX0" fmla="*/ 57163 w 62244"/>
                <a:gd name="connsiteY0" fmla="*/ 553853 h 555123"/>
                <a:gd name="connsiteX1" fmla="*/ 62244 w 62244"/>
                <a:gd name="connsiteY1" fmla="*/ 555123 h 555123"/>
                <a:gd name="connsiteX2" fmla="*/ 0 w 62244"/>
                <a:gd name="connsiteY2" fmla="*/ 0 h 555123"/>
                <a:gd name="connsiteX3" fmla="*/ 0 w 62244"/>
                <a:gd name="connsiteY3" fmla="*/ 135923 h 555123"/>
                <a:gd name="connsiteX4" fmla="*/ 45731 w 62244"/>
                <a:gd name="connsiteY4" fmla="*/ 550042 h 555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4" h="555123">
                  <a:moveTo>
                    <a:pt x="57163" y="553853"/>
                  </a:moveTo>
                  <a:lnTo>
                    <a:pt x="62244" y="555123"/>
                  </a:lnTo>
                  <a:lnTo>
                    <a:pt x="0" y="0"/>
                  </a:lnTo>
                  <a:lnTo>
                    <a:pt x="0" y="135923"/>
                  </a:lnTo>
                  <a:lnTo>
                    <a:pt x="45731" y="550042"/>
                  </a:lnTo>
                  <a:close/>
                </a:path>
              </a:pathLst>
            </a:custGeom>
            <a:solidFill>
              <a:srgbClr val="000000"/>
            </a:solidFill>
            <a:ln w="12688"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D6AD3BFC-8C0F-421A-9400-10C562673721}"/>
                </a:ext>
              </a:extLst>
            </p:cNvPr>
            <p:cNvSpPr/>
            <p:nvPr/>
          </p:nvSpPr>
          <p:spPr>
            <a:xfrm>
              <a:off x="1754274" y="6459500"/>
              <a:ext cx="664363" cy="250250"/>
            </a:xfrm>
            <a:custGeom>
              <a:avLst/>
              <a:gdLst>
                <a:gd name="connsiteX0" fmla="*/ 5081 w 664363"/>
                <a:gd name="connsiteY0" fmla="*/ 12703 h 250250"/>
                <a:gd name="connsiteX1" fmla="*/ 0 w 664363"/>
                <a:gd name="connsiteY1" fmla="*/ 11433 h 250250"/>
                <a:gd name="connsiteX2" fmla="*/ 1270 w 664363"/>
                <a:gd name="connsiteY2" fmla="*/ 12703 h 250250"/>
                <a:gd name="connsiteX3" fmla="*/ 5081 w 664363"/>
                <a:gd name="connsiteY3" fmla="*/ 12703 h 250250"/>
                <a:gd name="connsiteX4" fmla="*/ 644039 w 664363"/>
                <a:gd name="connsiteY4" fmla="*/ 247709 h 250250"/>
                <a:gd name="connsiteX5" fmla="*/ 651660 w 664363"/>
                <a:gd name="connsiteY5" fmla="*/ 250250 h 250250"/>
                <a:gd name="connsiteX6" fmla="*/ 651660 w 664363"/>
                <a:gd name="connsiteY6" fmla="*/ 245169 h 250250"/>
                <a:gd name="connsiteX7" fmla="*/ 659282 w 664363"/>
                <a:gd name="connsiteY7" fmla="*/ 237547 h 250250"/>
                <a:gd name="connsiteX8" fmla="*/ 659282 w 664363"/>
                <a:gd name="connsiteY8" fmla="*/ 237547 h 250250"/>
                <a:gd name="connsiteX9" fmla="*/ 664363 w 664363"/>
                <a:gd name="connsiteY9" fmla="*/ 238817 h 250250"/>
                <a:gd name="connsiteX10" fmla="*/ 663093 w 664363"/>
                <a:gd name="connsiteY10" fmla="*/ 238817 h 250250"/>
                <a:gd name="connsiteX11" fmla="*/ 663093 w 664363"/>
                <a:gd name="connsiteY11" fmla="*/ 238817 h 250250"/>
                <a:gd name="connsiteX12" fmla="*/ 11433 w 664363"/>
                <a:gd name="connsiteY12" fmla="*/ 0 h 250250"/>
                <a:gd name="connsiteX13" fmla="*/ 11433 w 664363"/>
                <a:gd name="connsiteY13" fmla="*/ 5081 h 250250"/>
                <a:gd name="connsiteX14" fmla="*/ 5081 w 664363"/>
                <a:gd name="connsiteY14" fmla="*/ 12703 h 2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363" h="250250">
                  <a:moveTo>
                    <a:pt x="5081" y="12703"/>
                  </a:moveTo>
                  <a:cubicBezTo>
                    <a:pt x="3811" y="12703"/>
                    <a:pt x="2541" y="12703"/>
                    <a:pt x="0" y="11433"/>
                  </a:cubicBezTo>
                  <a:lnTo>
                    <a:pt x="1270" y="12703"/>
                  </a:lnTo>
                  <a:lnTo>
                    <a:pt x="5081" y="12703"/>
                  </a:lnTo>
                  <a:lnTo>
                    <a:pt x="644039" y="247709"/>
                  </a:lnTo>
                  <a:lnTo>
                    <a:pt x="651660" y="250250"/>
                  </a:lnTo>
                  <a:lnTo>
                    <a:pt x="651660" y="245169"/>
                  </a:lnTo>
                  <a:cubicBezTo>
                    <a:pt x="651660" y="241358"/>
                    <a:pt x="654201" y="237547"/>
                    <a:pt x="659282" y="237547"/>
                  </a:cubicBezTo>
                  <a:cubicBezTo>
                    <a:pt x="659282" y="237547"/>
                    <a:pt x="659282" y="237547"/>
                    <a:pt x="659282" y="237547"/>
                  </a:cubicBezTo>
                  <a:cubicBezTo>
                    <a:pt x="660552" y="237547"/>
                    <a:pt x="661823" y="237547"/>
                    <a:pt x="664363" y="238817"/>
                  </a:cubicBezTo>
                  <a:lnTo>
                    <a:pt x="663093" y="238817"/>
                  </a:lnTo>
                  <a:lnTo>
                    <a:pt x="663093" y="238817"/>
                  </a:lnTo>
                  <a:lnTo>
                    <a:pt x="11433" y="0"/>
                  </a:lnTo>
                  <a:lnTo>
                    <a:pt x="11433" y="5081"/>
                  </a:lnTo>
                  <a:cubicBezTo>
                    <a:pt x="11433" y="8892"/>
                    <a:pt x="8892" y="12703"/>
                    <a:pt x="5081" y="12703"/>
                  </a:cubicBezTo>
                  <a:close/>
                </a:path>
              </a:pathLst>
            </a:custGeom>
            <a:solidFill>
              <a:srgbClr val="000000"/>
            </a:solidFill>
            <a:ln w="12688"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36A5CC0E-7DBA-4D62-B63B-8927FFAB4D19}"/>
                </a:ext>
              </a:extLst>
            </p:cNvPr>
            <p:cNvSpPr/>
            <p:nvPr/>
          </p:nvSpPr>
          <p:spPr>
            <a:xfrm>
              <a:off x="2418637" y="6699588"/>
              <a:ext cx="1270" cy="1269"/>
            </a:xfrm>
            <a:custGeom>
              <a:avLst/>
              <a:gdLst>
                <a:gd name="connsiteX0" fmla="*/ 0 w 1270"/>
                <a:gd name="connsiteY0" fmla="*/ 0 h 1269"/>
                <a:gd name="connsiteX1" fmla="*/ 0 w 1270"/>
                <a:gd name="connsiteY1" fmla="*/ 0 h 1269"/>
                <a:gd name="connsiteX2" fmla="*/ 1270 w 1270"/>
                <a:gd name="connsiteY2" fmla="*/ 1270 h 1269"/>
                <a:gd name="connsiteX3" fmla="*/ 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0" y="0"/>
                  </a:moveTo>
                  <a:lnTo>
                    <a:pt x="0" y="0"/>
                  </a:lnTo>
                  <a:cubicBezTo>
                    <a:pt x="0" y="0"/>
                    <a:pt x="1270" y="1270"/>
                    <a:pt x="1270" y="1270"/>
                  </a:cubicBezTo>
                  <a:lnTo>
                    <a:pt x="0" y="0"/>
                  </a:lnTo>
                  <a:close/>
                </a:path>
              </a:pathLst>
            </a:custGeom>
            <a:solidFill>
              <a:srgbClr val="000000"/>
            </a:solidFill>
            <a:ln w="12688"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26CA7776-5721-4760-9F9B-77C99FD5B19E}"/>
                </a:ext>
              </a:extLst>
            </p:cNvPr>
            <p:cNvSpPr/>
            <p:nvPr/>
          </p:nvSpPr>
          <p:spPr>
            <a:xfrm>
              <a:off x="2419908" y="67021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cubicBezTo>
                    <a:pt x="0" y="0"/>
                    <a:pt x="0" y="0"/>
                    <a:pt x="0" y="0"/>
                  </a:cubicBezTo>
                  <a:cubicBezTo>
                    <a:pt x="0" y="0"/>
                    <a:pt x="0" y="0"/>
                    <a:pt x="0" y="0"/>
                  </a:cubicBezTo>
                  <a:close/>
                </a:path>
              </a:pathLst>
            </a:custGeom>
            <a:solidFill>
              <a:srgbClr val="000000"/>
            </a:solidFill>
            <a:ln w="12688"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59DA182C-1DDE-45F7-B33D-48CFBA503A36}"/>
                </a:ext>
              </a:extLst>
            </p:cNvPr>
            <p:cNvSpPr/>
            <p:nvPr/>
          </p:nvSpPr>
          <p:spPr>
            <a:xfrm>
              <a:off x="2910241" y="6559854"/>
              <a:ext cx="29216" cy="297250"/>
            </a:xfrm>
            <a:custGeom>
              <a:avLst/>
              <a:gdLst>
                <a:gd name="connsiteX0" fmla="*/ 15243 w 29216"/>
                <a:gd name="connsiteY0" fmla="*/ 6352 h 297250"/>
                <a:gd name="connsiteX1" fmla="*/ 7622 w 29216"/>
                <a:gd name="connsiteY1" fmla="*/ 0 h 297250"/>
                <a:gd name="connsiteX2" fmla="*/ 6351 w 29216"/>
                <a:gd name="connsiteY2" fmla="*/ 0 h 297250"/>
                <a:gd name="connsiteX3" fmla="*/ 3811 w 29216"/>
                <a:gd name="connsiteY3" fmla="*/ 1270 h 297250"/>
                <a:gd name="connsiteX4" fmla="*/ 2541 w 29216"/>
                <a:gd name="connsiteY4" fmla="*/ 2540 h 297250"/>
                <a:gd name="connsiteX5" fmla="*/ 1270 w 29216"/>
                <a:gd name="connsiteY5" fmla="*/ 3811 h 297250"/>
                <a:gd name="connsiteX6" fmla="*/ 1270 w 29216"/>
                <a:gd name="connsiteY6" fmla="*/ 5081 h 297250"/>
                <a:gd name="connsiteX7" fmla="*/ 0 w 29216"/>
                <a:gd name="connsiteY7" fmla="*/ 6352 h 297250"/>
                <a:gd name="connsiteX8" fmla="*/ 0 w 29216"/>
                <a:gd name="connsiteY8" fmla="*/ 6352 h 297250"/>
                <a:gd name="connsiteX9" fmla="*/ 0 w 29216"/>
                <a:gd name="connsiteY9" fmla="*/ 7622 h 297250"/>
                <a:gd name="connsiteX10" fmla="*/ 0 w 29216"/>
                <a:gd name="connsiteY10" fmla="*/ 7622 h 297250"/>
                <a:gd name="connsiteX11" fmla="*/ 0 w 29216"/>
                <a:gd name="connsiteY11" fmla="*/ 8892 h 297250"/>
                <a:gd name="connsiteX12" fmla="*/ 0 w 29216"/>
                <a:gd name="connsiteY12" fmla="*/ 8892 h 297250"/>
                <a:gd name="connsiteX13" fmla="*/ 13973 w 29216"/>
                <a:gd name="connsiteY13" fmla="*/ 297251 h 297250"/>
                <a:gd name="connsiteX14" fmla="*/ 29217 w 29216"/>
                <a:gd name="connsiteY14" fmla="*/ 297251 h 297250"/>
                <a:gd name="connsiteX15" fmla="*/ 15243 w 29216"/>
                <a:gd name="connsiteY15" fmla="*/ 20325 h 297250"/>
                <a:gd name="connsiteX16" fmla="*/ 15243 w 29216"/>
                <a:gd name="connsiteY16" fmla="*/ 6352 h 29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16" h="297250">
                  <a:moveTo>
                    <a:pt x="15243" y="6352"/>
                  </a:moveTo>
                  <a:cubicBezTo>
                    <a:pt x="15243" y="2540"/>
                    <a:pt x="11433" y="0"/>
                    <a:pt x="7622" y="0"/>
                  </a:cubicBezTo>
                  <a:lnTo>
                    <a:pt x="6351" y="0"/>
                  </a:lnTo>
                  <a:cubicBezTo>
                    <a:pt x="5081" y="0"/>
                    <a:pt x="5081" y="0"/>
                    <a:pt x="3811" y="1270"/>
                  </a:cubicBezTo>
                  <a:lnTo>
                    <a:pt x="2541" y="2540"/>
                  </a:lnTo>
                  <a:cubicBezTo>
                    <a:pt x="2541" y="2540"/>
                    <a:pt x="1270" y="3811"/>
                    <a:pt x="1270" y="3811"/>
                  </a:cubicBezTo>
                  <a:cubicBezTo>
                    <a:pt x="1270" y="3811"/>
                    <a:pt x="1270" y="3811"/>
                    <a:pt x="1270" y="5081"/>
                  </a:cubicBezTo>
                  <a:lnTo>
                    <a:pt x="0" y="6352"/>
                  </a:lnTo>
                  <a:lnTo>
                    <a:pt x="0" y="6352"/>
                  </a:lnTo>
                  <a:cubicBezTo>
                    <a:pt x="0" y="6352"/>
                    <a:pt x="0" y="6352"/>
                    <a:pt x="0" y="7622"/>
                  </a:cubicBezTo>
                  <a:lnTo>
                    <a:pt x="0" y="7622"/>
                  </a:lnTo>
                  <a:cubicBezTo>
                    <a:pt x="0" y="7622"/>
                    <a:pt x="0" y="8892"/>
                    <a:pt x="0" y="8892"/>
                  </a:cubicBezTo>
                  <a:lnTo>
                    <a:pt x="0" y="8892"/>
                  </a:lnTo>
                  <a:lnTo>
                    <a:pt x="13973" y="297251"/>
                  </a:lnTo>
                  <a:lnTo>
                    <a:pt x="29217" y="297251"/>
                  </a:lnTo>
                  <a:lnTo>
                    <a:pt x="15243" y="20325"/>
                  </a:lnTo>
                  <a:lnTo>
                    <a:pt x="15243" y="6352"/>
                  </a:lnTo>
                  <a:close/>
                </a:path>
              </a:pathLst>
            </a:custGeom>
            <a:solidFill>
              <a:srgbClr val="000000"/>
            </a:solidFill>
            <a:ln w="12688"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31E8BA58-D3ED-4DB2-83BD-6027330ED727}"/>
                </a:ext>
              </a:extLst>
            </p:cNvPr>
            <p:cNvSpPr/>
            <p:nvPr/>
          </p:nvSpPr>
          <p:spPr>
            <a:xfrm>
              <a:off x="2405934" y="6697047"/>
              <a:ext cx="24135" cy="158788"/>
            </a:xfrm>
            <a:custGeom>
              <a:avLst/>
              <a:gdLst>
                <a:gd name="connsiteX0" fmla="*/ 15244 w 24135"/>
                <a:gd name="connsiteY0" fmla="*/ 6352 h 158788"/>
                <a:gd name="connsiteX1" fmla="*/ 15244 w 24135"/>
                <a:gd name="connsiteY1" fmla="*/ 6352 h 158788"/>
                <a:gd name="connsiteX2" fmla="*/ 15244 w 24135"/>
                <a:gd name="connsiteY2" fmla="*/ 3811 h 158788"/>
                <a:gd name="connsiteX3" fmla="*/ 15244 w 24135"/>
                <a:gd name="connsiteY3" fmla="*/ 2541 h 158788"/>
                <a:gd name="connsiteX4" fmla="*/ 15244 w 24135"/>
                <a:gd name="connsiteY4" fmla="*/ 2541 h 158788"/>
                <a:gd name="connsiteX5" fmla="*/ 13973 w 24135"/>
                <a:gd name="connsiteY5" fmla="*/ 1270 h 158788"/>
                <a:gd name="connsiteX6" fmla="*/ 12703 w 24135"/>
                <a:gd name="connsiteY6" fmla="*/ 1270 h 158788"/>
                <a:gd name="connsiteX7" fmla="*/ 12703 w 24135"/>
                <a:gd name="connsiteY7" fmla="*/ 1270 h 158788"/>
                <a:gd name="connsiteX8" fmla="*/ 7622 w 24135"/>
                <a:gd name="connsiteY8" fmla="*/ 0 h 158788"/>
                <a:gd name="connsiteX9" fmla="*/ 0 w 24135"/>
                <a:gd name="connsiteY9" fmla="*/ 7622 h 158788"/>
                <a:gd name="connsiteX10" fmla="*/ 0 w 24135"/>
                <a:gd name="connsiteY10" fmla="*/ 7622 h 158788"/>
                <a:gd name="connsiteX11" fmla="*/ 0 w 24135"/>
                <a:gd name="connsiteY11" fmla="*/ 12703 h 158788"/>
                <a:gd name="connsiteX12" fmla="*/ 0 w 24135"/>
                <a:gd name="connsiteY12" fmla="*/ 22865 h 158788"/>
                <a:gd name="connsiteX13" fmla="*/ 8892 w 24135"/>
                <a:gd name="connsiteY13" fmla="*/ 158788 h 158788"/>
                <a:gd name="connsiteX14" fmla="*/ 24136 w 24135"/>
                <a:gd name="connsiteY14" fmla="*/ 158788 h 158788"/>
                <a:gd name="connsiteX15" fmla="*/ 15244 w 24135"/>
                <a:gd name="connsiteY15" fmla="*/ 7622 h 158788"/>
                <a:gd name="connsiteX16" fmla="*/ 15244 w 24135"/>
                <a:gd name="connsiteY16" fmla="*/ 6352 h 15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35" h="158788">
                  <a:moveTo>
                    <a:pt x="15244" y="6352"/>
                  </a:moveTo>
                  <a:lnTo>
                    <a:pt x="15244" y="6352"/>
                  </a:lnTo>
                  <a:cubicBezTo>
                    <a:pt x="15244" y="5081"/>
                    <a:pt x="15244" y="5081"/>
                    <a:pt x="15244" y="3811"/>
                  </a:cubicBezTo>
                  <a:lnTo>
                    <a:pt x="15244" y="2541"/>
                  </a:lnTo>
                  <a:lnTo>
                    <a:pt x="15244" y="2541"/>
                  </a:lnTo>
                  <a:cubicBezTo>
                    <a:pt x="15244" y="2541"/>
                    <a:pt x="13973" y="1270"/>
                    <a:pt x="13973" y="1270"/>
                  </a:cubicBezTo>
                  <a:lnTo>
                    <a:pt x="12703" y="1270"/>
                  </a:lnTo>
                  <a:lnTo>
                    <a:pt x="12703" y="1270"/>
                  </a:lnTo>
                  <a:cubicBezTo>
                    <a:pt x="11433" y="0"/>
                    <a:pt x="10162" y="0"/>
                    <a:pt x="7622" y="0"/>
                  </a:cubicBezTo>
                  <a:cubicBezTo>
                    <a:pt x="3811" y="0"/>
                    <a:pt x="0" y="3811"/>
                    <a:pt x="0" y="7622"/>
                  </a:cubicBezTo>
                  <a:cubicBezTo>
                    <a:pt x="0" y="7622"/>
                    <a:pt x="0" y="7622"/>
                    <a:pt x="0" y="7622"/>
                  </a:cubicBezTo>
                  <a:lnTo>
                    <a:pt x="0" y="12703"/>
                  </a:lnTo>
                  <a:lnTo>
                    <a:pt x="0" y="22865"/>
                  </a:lnTo>
                  <a:lnTo>
                    <a:pt x="8892" y="158788"/>
                  </a:lnTo>
                  <a:lnTo>
                    <a:pt x="24136" y="158788"/>
                  </a:lnTo>
                  <a:lnTo>
                    <a:pt x="15244" y="7622"/>
                  </a:lnTo>
                  <a:cubicBezTo>
                    <a:pt x="15244" y="7622"/>
                    <a:pt x="15244" y="6352"/>
                    <a:pt x="15244" y="6352"/>
                  </a:cubicBezTo>
                  <a:close/>
                </a:path>
              </a:pathLst>
            </a:custGeom>
            <a:solidFill>
              <a:srgbClr val="000000"/>
            </a:solidFill>
            <a:ln w="12688"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C9CCBE08-7E21-4BE7-9E24-484F0C7D6A2B}"/>
                </a:ext>
              </a:extLst>
            </p:cNvPr>
            <p:cNvSpPr/>
            <p:nvPr/>
          </p:nvSpPr>
          <p:spPr>
            <a:xfrm>
              <a:off x="5657884" y="6777076"/>
              <a:ext cx="1270" cy="1269"/>
            </a:xfrm>
            <a:custGeom>
              <a:avLst/>
              <a:gdLst>
                <a:gd name="connsiteX0" fmla="*/ 0 w 1270"/>
                <a:gd name="connsiteY0" fmla="*/ 0 h 1269"/>
                <a:gd name="connsiteX1" fmla="*/ 0 w 1270"/>
                <a:gd name="connsiteY1" fmla="*/ 0 h 1269"/>
                <a:gd name="connsiteX2" fmla="*/ 1270 w 1270"/>
                <a:gd name="connsiteY2" fmla="*/ 1270 h 1269"/>
                <a:gd name="connsiteX3" fmla="*/ 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0" y="0"/>
                  </a:moveTo>
                  <a:lnTo>
                    <a:pt x="0" y="0"/>
                  </a:lnTo>
                  <a:lnTo>
                    <a:pt x="1270" y="1270"/>
                  </a:lnTo>
                  <a:lnTo>
                    <a:pt x="0" y="0"/>
                  </a:lnTo>
                  <a:close/>
                </a:path>
              </a:pathLst>
            </a:custGeom>
            <a:solidFill>
              <a:srgbClr val="000000"/>
            </a:solidFill>
            <a:ln w="12688"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819914AA-7A3E-4C3F-97E3-D80EC39A801C}"/>
                </a:ext>
              </a:extLst>
            </p:cNvPr>
            <p:cNvSpPr/>
            <p:nvPr/>
          </p:nvSpPr>
          <p:spPr>
            <a:xfrm>
              <a:off x="5661696" y="6780887"/>
              <a:ext cx="12702" cy="953"/>
            </a:xfrm>
            <a:custGeom>
              <a:avLst/>
              <a:gdLst>
                <a:gd name="connsiteX0" fmla="*/ 0 w 12702"/>
                <a:gd name="connsiteY0" fmla="*/ 0 h 953"/>
                <a:gd name="connsiteX1" fmla="*/ 0 w 12702"/>
                <a:gd name="connsiteY1" fmla="*/ 0 h 953"/>
                <a:gd name="connsiteX2" fmla="*/ 0 w 12702"/>
                <a:gd name="connsiteY2" fmla="*/ 0 h 953"/>
                <a:gd name="connsiteX3" fmla="*/ 0 w 12702"/>
                <a:gd name="connsiteY3" fmla="*/ 0 h 953"/>
              </a:gdLst>
              <a:ahLst/>
              <a:cxnLst>
                <a:cxn ang="0">
                  <a:pos x="connsiteX0" y="connsiteY0"/>
                </a:cxn>
                <a:cxn ang="0">
                  <a:pos x="connsiteX1" y="connsiteY1"/>
                </a:cxn>
                <a:cxn ang="0">
                  <a:pos x="connsiteX2" y="connsiteY2"/>
                </a:cxn>
                <a:cxn ang="0">
                  <a:pos x="connsiteX3" y="connsiteY3"/>
                </a:cxn>
              </a:cxnLst>
              <a:rect l="l" t="t" r="r" b="b"/>
              <a:pathLst>
                <a:path w="12702" h="953">
                  <a:moveTo>
                    <a:pt x="0" y="0"/>
                  </a:moveTo>
                  <a:lnTo>
                    <a:pt x="0" y="0"/>
                  </a:lnTo>
                  <a:cubicBezTo>
                    <a:pt x="0" y="1271"/>
                    <a:pt x="0" y="1271"/>
                    <a:pt x="0" y="0"/>
                  </a:cubicBezTo>
                  <a:cubicBezTo>
                    <a:pt x="0" y="1271"/>
                    <a:pt x="0" y="1271"/>
                    <a:pt x="0" y="0"/>
                  </a:cubicBezTo>
                  <a:close/>
                </a:path>
              </a:pathLst>
            </a:custGeom>
            <a:solidFill>
              <a:srgbClr val="000000"/>
            </a:solidFill>
            <a:ln w="12688"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C895C285-0862-4CED-86D7-2666060401DE}"/>
                </a:ext>
              </a:extLst>
            </p:cNvPr>
            <p:cNvSpPr/>
            <p:nvPr/>
          </p:nvSpPr>
          <p:spPr>
            <a:xfrm>
              <a:off x="5660425" y="677961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3A5EAE98-3AE8-4F1D-861D-6C73ACD445F7}"/>
                </a:ext>
              </a:extLst>
            </p:cNvPr>
            <p:cNvSpPr/>
            <p:nvPr/>
          </p:nvSpPr>
          <p:spPr>
            <a:xfrm>
              <a:off x="5645181" y="6783428"/>
              <a:ext cx="16514" cy="72407"/>
            </a:xfrm>
            <a:custGeom>
              <a:avLst/>
              <a:gdLst>
                <a:gd name="connsiteX0" fmla="*/ 16514 w 16514"/>
                <a:gd name="connsiteY0" fmla="*/ 0 h 72407"/>
                <a:gd name="connsiteX1" fmla="*/ 16514 w 16514"/>
                <a:gd name="connsiteY1" fmla="*/ 0 h 72407"/>
                <a:gd name="connsiteX2" fmla="*/ 16514 w 16514"/>
                <a:gd name="connsiteY2" fmla="*/ 0 h 72407"/>
                <a:gd name="connsiteX3" fmla="*/ 16514 w 16514"/>
                <a:gd name="connsiteY3" fmla="*/ 2541 h 72407"/>
                <a:gd name="connsiteX4" fmla="*/ 6351 w 16514"/>
                <a:gd name="connsiteY4" fmla="*/ 7622 h 72407"/>
                <a:gd name="connsiteX5" fmla="*/ 1270 w 16514"/>
                <a:gd name="connsiteY5" fmla="*/ 6352 h 72407"/>
                <a:gd name="connsiteX6" fmla="*/ 1270 w 16514"/>
                <a:gd name="connsiteY6" fmla="*/ 19055 h 72407"/>
                <a:gd name="connsiteX7" fmla="*/ 0 w 16514"/>
                <a:gd name="connsiteY7" fmla="*/ 72408 h 72407"/>
                <a:gd name="connsiteX8" fmla="*/ 15244 w 16514"/>
                <a:gd name="connsiteY8" fmla="*/ 72408 h 72407"/>
                <a:gd name="connsiteX9" fmla="*/ 16514 w 16514"/>
                <a:gd name="connsiteY9" fmla="*/ 0 h 72407"/>
                <a:gd name="connsiteX10" fmla="*/ 16514 w 16514"/>
                <a:gd name="connsiteY10" fmla="*/ 0 h 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14" h="72407">
                  <a:moveTo>
                    <a:pt x="16514" y="0"/>
                  </a:moveTo>
                  <a:lnTo>
                    <a:pt x="16514" y="0"/>
                  </a:lnTo>
                  <a:lnTo>
                    <a:pt x="16514" y="0"/>
                  </a:lnTo>
                  <a:cubicBezTo>
                    <a:pt x="16514" y="1270"/>
                    <a:pt x="16514" y="1270"/>
                    <a:pt x="16514" y="2541"/>
                  </a:cubicBezTo>
                  <a:cubicBezTo>
                    <a:pt x="15244" y="6352"/>
                    <a:pt x="11433" y="8892"/>
                    <a:pt x="6351" y="7622"/>
                  </a:cubicBezTo>
                  <a:lnTo>
                    <a:pt x="1270" y="6352"/>
                  </a:lnTo>
                  <a:lnTo>
                    <a:pt x="1270" y="19055"/>
                  </a:lnTo>
                  <a:lnTo>
                    <a:pt x="0" y="72408"/>
                  </a:lnTo>
                  <a:lnTo>
                    <a:pt x="15244" y="72408"/>
                  </a:lnTo>
                  <a:lnTo>
                    <a:pt x="16514" y="0"/>
                  </a:lnTo>
                  <a:lnTo>
                    <a:pt x="16514" y="0"/>
                  </a:lnTo>
                  <a:close/>
                </a:path>
              </a:pathLst>
            </a:custGeom>
            <a:solidFill>
              <a:srgbClr val="000000"/>
            </a:solidFill>
            <a:ln w="12688"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42CB3D21-A500-4531-B335-DB3E2DB852EB}"/>
                </a:ext>
              </a:extLst>
            </p:cNvPr>
            <p:cNvSpPr/>
            <p:nvPr/>
          </p:nvSpPr>
          <p:spPr>
            <a:xfrm>
              <a:off x="435710" y="6140653"/>
              <a:ext cx="389979" cy="160058"/>
            </a:xfrm>
            <a:custGeom>
              <a:avLst/>
              <a:gdLst>
                <a:gd name="connsiteX0" fmla="*/ 381088 w 389979"/>
                <a:gd name="connsiteY0" fmla="*/ 149896 h 160058"/>
                <a:gd name="connsiteX1" fmla="*/ 389980 w 389979"/>
                <a:gd name="connsiteY1" fmla="*/ 144815 h 160058"/>
                <a:gd name="connsiteX2" fmla="*/ 389980 w 389979"/>
                <a:gd name="connsiteY2" fmla="*/ 144815 h 160058"/>
                <a:gd name="connsiteX3" fmla="*/ 378547 w 389979"/>
                <a:gd name="connsiteY3" fmla="*/ 141004 h 160058"/>
                <a:gd name="connsiteX4" fmla="*/ 0 w 389979"/>
                <a:gd name="connsiteY4" fmla="*/ 0 h 160058"/>
                <a:gd name="connsiteX5" fmla="*/ 0 w 389979"/>
                <a:gd name="connsiteY5" fmla="*/ 5081 h 160058"/>
                <a:gd name="connsiteX6" fmla="*/ 1270 w 389979"/>
                <a:gd name="connsiteY6" fmla="*/ 17784 h 160058"/>
                <a:gd name="connsiteX7" fmla="*/ 384899 w 389979"/>
                <a:gd name="connsiteY7" fmla="*/ 160058 h 160058"/>
                <a:gd name="connsiteX8" fmla="*/ 381088 w 389979"/>
                <a:gd name="connsiteY8" fmla="*/ 149896 h 160058"/>
                <a:gd name="connsiteX9" fmla="*/ 381088 w 389979"/>
                <a:gd name="connsiteY9" fmla="*/ 149896 h 16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979" h="160058">
                  <a:moveTo>
                    <a:pt x="381088" y="149896"/>
                  </a:moveTo>
                  <a:cubicBezTo>
                    <a:pt x="382358" y="146085"/>
                    <a:pt x="386169" y="143545"/>
                    <a:pt x="389980" y="144815"/>
                  </a:cubicBezTo>
                  <a:cubicBezTo>
                    <a:pt x="389980" y="144815"/>
                    <a:pt x="389980" y="144815"/>
                    <a:pt x="389980" y="144815"/>
                  </a:cubicBezTo>
                  <a:lnTo>
                    <a:pt x="378547" y="141004"/>
                  </a:lnTo>
                  <a:lnTo>
                    <a:pt x="0" y="0"/>
                  </a:lnTo>
                  <a:lnTo>
                    <a:pt x="0" y="5081"/>
                  </a:lnTo>
                  <a:lnTo>
                    <a:pt x="1270" y="17784"/>
                  </a:lnTo>
                  <a:lnTo>
                    <a:pt x="384899" y="160058"/>
                  </a:lnTo>
                  <a:cubicBezTo>
                    <a:pt x="381088" y="158788"/>
                    <a:pt x="379818" y="154977"/>
                    <a:pt x="381088" y="149896"/>
                  </a:cubicBezTo>
                  <a:cubicBezTo>
                    <a:pt x="381088" y="149896"/>
                    <a:pt x="381088" y="149896"/>
                    <a:pt x="381088" y="149896"/>
                  </a:cubicBezTo>
                  <a:close/>
                </a:path>
              </a:pathLst>
            </a:custGeom>
            <a:solidFill>
              <a:srgbClr val="000000"/>
            </a:solidFill>
            <a:ln w="12688"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7E11F983-EB5D-446E-A87C-C69C7F9DA91B}"/>
                </a:ext>
              </a:extLst>
            </p:cNvPr>
            <p:cNvSpPr/>
            <p:nvPr/>
          </p:nvSpPr>
          <p:spPr>
            <a:xfrm>
              <a:off x="816322" y="6284198"/>
              <a:ext cx="79234" cy="39855"/>
            </a:xfrm>
            <a:custGeom>
              <a:avLst/>
              <a:gdLst>
                <a:gd name="connsiteX0" fmla="*/ 476 w 79234"/>
                <a:gd name="connsiteY0" fmla="*/ 6352 h 39855"/>
                <a:gd name="connsiteX1" fmla="*/ 4287 w 79234"/>
                <a:gd name="connsiteY1" fmla="*/ 15243 h 39855"/>
                <a:gd name="connsiteX2" fmla="*/ 4287 w 79234"/>
                <a:gd name="connsiteY2" fmla="*/ 15243 h 39855"/>
                <a:gd name="connsiteX3" fmla="*/ 56369 w 79234"/>
                <a:gd name="connsiteY3" fmla="*/ 34298 h 39855"/>
                <a:gd name="connsiteX4" fmla="*/ 65261 w 79234"/>
                <a:gd name="connsiteY4" fmla="*/ 38109 h 39855"/>
                <a:gd name="connsiteX5" fmla="*/ 69072 w 79234"/>
                <a:gd name="connsiteY5" fmla="*/ 39379 h 39855"/>
                <a:gd name="connsiteX6" fmla="*/ 79235 w 79234"/>
                <a:gd name="connsiteY6" fmla="*/ 35568 h 39855"/>
                <a:gd name="connsiteX7" fmla="*/ 79235 w 79234"/>
                <a:gd name="connsiteY7" fmla="*/ 35568 h 39855"/>
                <a:gd name="connsiteX8" fmla="*/ 79235 w 79234"/>
                <a:gd name="connsiteY8" fmla="*/ 30487 h 39855"/>
                <a:gd name="connsiteX9" fmla="*/ 79235 w 79234"/>
                <a:gd name="connsiteY9" fmla="*/ 30487 h 39855"/>
                <a:gd name="connsiteX10" fmla="*/ 79235 w 79234"/>
                <a:gd name="connsiteY10" fmla="*/ 29217 h 39855"/>
                <a:gd name="connsiteX11" fmla="*/ 77964 w 79234"/>
                <a:gd name="connsiteY11" fmla="*/ 27946 h 39855"/>
                <a:gd name="connsiteX12" fmla="*/ 77964 w 79234"/>
                <a:gd name="connsiteY12" fmla="*/ 27946 h 39855"/>
                <a:gd name="connsiteX13" fmla="*/ 76694 w 79234"/>
                <a:gd name="connsiteY13" fmla="*/ 26676 h 39855"/>
                <a:gd name="connsiteX14" fmla="*/ 75424 w 79234"/>
                <a:gd name="connsiteY14" fmla="*/ 25406 h 39855"/>
                <a:gd name="connsiteX15" fmla="*/ 75424 w 79234"/>
                <a:gd name="connsiteY15" fmla="*/ 25406 h 39855"/>
                <a:gd name="connsiteX16" fmla="*/ 75424 w 79234"/>
                <a:gd name="connsiteY16" fmla="*/ 25406 h 39855"/>
                <a:gd name="connsiteX17" fmla="*/ 13179 w 79234"/>
                <a:gd name="connsiteY17" fmla="*/ 1270 h 39855"/>
                <a:gd name="connsiteX18" fmla="*/ 9368 w 79234"/>
                <a:gd name="connsiteY18" fmla="*/ 0 h 39855"/>
                <a:gd name="connsiteX19" fmla="*/ 476 w 79234"/>
                <a:gd name="connsiteY19" fmla="*/ 6352 h 39855"/>
                <a:gd name="connsiteX20" fmla="*/ 476 w 79234"/>
                <a:gd name="connsiteY20" fmla="*/ 6352 h 3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234" h="39855">
                  <a:moveTo>
                    <a:pt x="476" y="6352"/>
                  </a:moveTo>
                  <a:cubicBezTo>
                    <a:pt x="-794" y="10162"/>
                    <a:pt x="476" y="13973"/>
                    <a:pt x="4287" y="15243"/>
                  </a:cubicBezTo>
                  <a:cubicBezTo>
                    <a:pt x="4287" y="15243"/>
                    <a:pt x="4287" y="15243"/>
                    <a:pt x="4287" y="15243"/>
                  </a:cubicBezTo>
                  <a:lnTo>
                    <a:pt x="56369" y="34298"/>
                  </a:lnTo>
                  <a:lnTo>
                    <a:pt x="65261" y="38109"/>
                  </a:lnTo>
                  <a:lnTo>
                    <a:pt x="69072" y="39379"/>
                  </a:lnTo>
                  <a:cubicBezTo>
                    <a:pt x="72883" y="40650"/>
                    <a:pt x="76694" y="39379"/>
                    <a:pt x="79235" y="35568"/>
                  </a:cubicBezTo>
                  <a:cubicBezTo>
                    <a:pt x="79235" y="35568"/>
                    <a:pt x="79235" y="35568"/>
                    <a:pt x="79235" y="35568"/>
                  </a:cubicBezTo>
                  <a:cubicBezTo>
                    <a:pt x="79235" y="34298"/>
                    <a:pt x="79235" y="33028"/>
                    <a:pt x="79235" y="30487"/>
                  </a:cubicBezTo>
                  <a:lnTo>
                    <a:pt x="79235" y="30487"/>
                  </a:lnTo>
                  <a:cubicBezTo>
                    <a:pt x="79235" y="30487"/>
                    <a:pt x="79235" y="29217"/>
                    <a:pt x="79235" y="29217"/>
                  </a:cubicBezTo>
                  <a:cubicBezTo>
                    <a:pt x="79235" y="29217"/>
                    <a:pt x="79235" y="27946"/>
                    <a:pt x="77964" y="27946"/>
                  </a:cubicBezTo>
                  <a:lnTo>
                    <a:pt x="77964" y="27946"/>
                  </a:lnTo>
                  <a:lnTo>
                    <a:pt x="76694" y="26676"/>
                  </a:lnTo>
                  <a:lnTo>
                    <a:pt x="75424" y="25406"/>
                  </a:lnTo>
                  <a:lnTo>
                    <a:pt x="75424" y="25406"/>
                  </a:lnTo>
                  <a:lnTo>
                    <a:pt x="75424" y="25406"/>
                  </a:lnTo>
                  <a:lnTo>
                    <a:pt x="13179" y="1270"/>
                  </a:lnTo>
                  <a:lnTo>
                    <a:pt x="9368" y="0"/>
                  </a:lnTo>
                  <a:cubicBezTo>
                    <a:pt x="6828" y="1270"/>
                    <a:pt x="1747" y="2540"/>
                    <a:pt x="476" y="6352"/>
                  </a:cubicBezTo>
                  <a:cubicBezTo>
                    <a:pt x="476" y="6352"/>
                    <a:pt x="476" y="6352"/>
                    <a:pt x="476" y="6352"/>
                  </a:cubicBezTo>
                  <a:close/>
                </a:path>
              </a:pathLst>
            </a:custGeom>
            <a:solidFill>
              <a:srgbClr val="000000"/>
            </a:solidFill>
            <a:ln w="12688"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655F1539-FD09-4D71-B5B4-FB5D324B0C29}"/>
                </a:ext>
              </a:extLst>
            </p:cNvPr>
            <p:cNvSpPr/>
            <p:nvPr/>
          </p:nvSpPr>
          <p:spPr>
            <a:xfrm>
              <a:off x="4447295" y="5763373"/>
              <a:ext cx="22865" cy="595772"/>
            </a:xfrm>
            <a:custGeom>
              <a:avLst/>
              <a:gdLst>
                <a:gd name="connsiteX0" fmla="*/ 15243 w 22865"/>
                <a:gd name="connsiteY0" fmla="*/ 588151 h 595772"/>
                <a:gd name="connsiteX1" fmla="*/ 22865 w 22865"/>
                <a:gd name="connsiteY1" fmla="*/ 595773 h 595772"/>
                <a:gd name="connsiteX2" fmla="*/ 22865 w 22865"/>
                <a:gd name="connsiteY2" fmla="*/ 595773 h 595772"/>
                <a:gd name="connsiteX3" fmla="*/ 22865 w 22865"/>
                <a:gd name="connsiteY3" fmla="*/ 590692 h 595772"/>
                <a:gd name="connsiteX4" fmla="*/ 15243 w 22865"/>
                <a:gd name="connsiteY4" fmla="*/ 11433 h 595772"/>
                <a:gd name="connsiteX5" fmla="*/ 15243 w 22865"/>
                <a:gd name="connsiteY5" fmla="*/ 7622 h 595772"/>
                <a:gd name="connsiteX6" fmla="*/ 15243 w 22865"/>
                <a:gd name="connsiteY6" fmla="*/ 6352 h 595772"/>
                <a:gd name="connsiteX7" fmla="*/ 15243 w 22865"/>
                <a:gd name="connsiteY7" fmla="*/ 5081 h 595772"/>
                <a:gd name="connsiteX8" fmla="*/ 13973 w 22865"/>
                <a:gd name="connsiteY8" fmla="*/ 3811 h 595772"/>
                <a:gd name="connsiteX9" fmla="*/ 12703 w 22865"/>
                <a:gd name="connsiteY9" fmla="*/ 2540 h 595772"/>
                <a:gd name="connsiteX10" fmla="*/ 11433 w 22865"/>
                <a:gd name="connsiteY10" fmla="*/ 1270 h 595772"/>
                <a:gd name="connsiteX11" fmla="*/ 10162 w 22865"/>
                <a:gd name="connsiteY11" fmla="*/ 0 h 595772"/>
                <a:gd name="connsiteX12" fmla="*/ 8892 w 22865"/>
                <a:gd name="connsiteY12" fmla="*/ 0 h 595772"/>
                <a:gd name="connsiteX13" fmla="*/ 7622 w 22865"/>
                <a:gd name="connsiteY13" fmla="*/ 0 h 595772"/>
                <a:gd name="connsiteX14" fmla="*/ 6351 w 22865"/>
                <a:gd name="connsiteY14" fmla="*/ 0 h 595772"/>
                <a:gd name="connsiteX15" fmla="*/ 5081 w 22865"/>
                <a:gd name="connsiteY15" fmla="*/ 0 h 595772"/>
                <a:gd name="connsiteX16" fmla="*/ 3811 w 22865"/>
                <a:gd name="connsiteY16" fmla="*/ 0 h 595772"/>
                <a:gd name="connsiteX17" fmla="*/ 0 w 22865"/>
                <a:gd name="connsiteY17" fmla="*/ 6352 h 595772"/>
                <a:gd name="connsiteX18" fmla="*/ 0 w 22865"/>
                <a:gd name="connsiteY18" fmla="*/ 21595 h 595772"/>
                <a:gd name="connsiteX19" fmla="*/ 6351 w 22865"/>
                <a:gd name="connsiteY19" fmla="*/ 593232 h 595772"/>
                <a:gd name="connsiteX20" fmla="*/ 15243 w 22865"/>
                <a:gd name="connsiteY20" fmla="*/ 588151 h 59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5" h="595772">
                  <a:moveTo>
                    <a:pt x="15243" y="588151"/>
                  </a:moveTo>
                  <a:cubicBezTo>
                    <a:pt x="19054" y="588151"/>
                    <a:pt x="22865" y="591962"/>
                    <a:pt x="22865" y="595773"/>
                  </a:cubicBezTo>
                  <a:cubicBezTo>
                    <a:pt x="22865" y="595773"/>
                    <a:pt x="22865" y="595773"/>
                    <a:pt x="22865" y="595773"/>
                  </a:cubicBezTo>
                  <a:lnTo>
                    <a:pt x="22865" y="590692"/>
                  </a:lnTo>
                  <a:lnTo>
                    <a:pt x="15243" y="11433"/>
                  </a:lnTo>
                  <a:lnTo>
                    <a:pt x="15243" y="7622"/>
                  </a:lnTo>
                  <a:cubicBezTo>
                    <a:pt x="15243" y="7622"/>
                    <a:pt x="15243" y="6352"/>
                    <a:pt x="15243" y="6352"/>
                  </a:cubicBezTo>
                  <a:cubicBezTo>
                    <a:pt x="15243" y="6352"/>
                    <a:pt x="15243" y="5081"/>
                    <a:pt x="15243" y="5081"/>
                  </a:cubicBezTo>
                  <a:lnTo>
                    <a:pt x="13973" y="3811"/>
                  </a:lnTo>
                  <a:lnTo>
                    <a:pt x="12703" y="2540"/>
                  </a:lnTo>
                  <a:lnTo>
                    <a:pt x="11433" y="1270"/>
                  </a:lnTo>
                  <a:lnTo>
                    <a:pt x="10162" y="0"/>
                  </a:lnTo>
                  <a:lnTo>
                    <a:pt x="8892" y="0"/>
                  </a:lnTo>
                  <a:cubicBezTo>
                    <a:pt x="8892" y="0"/>
                    <a:pt x="7622" y="0"/>
                    <a:pt x="7622" y="0"/>
                  </a:cubicBezTo>
                  <a:lnTo>
                    <a:pt x="6351" y="0"/>
                  </a:lnTo>
                  <a:lnTo>
                    <a:pt x="5081" y="0"/>
                  </a:lnTo>
                  <a:lnTo>
                    <a:pt x="3811" y="0"/>
                  </a:lnTo>
                  <a:cubicBezTo>
                    <a:pt x="1270" y="1270"/>
                    <a:pt x="0" y="3811"/>
                    <a:pt x="0" y="6352"/>
                  </a:cubicBezTo>
                  <a:lnTo>
                    <a:pt x="0" y="21595"/>
                  </a:lnTo>
                  <a:lnTo>
                    <a:pt x="6351" y="593232"/>
                  </a:lnTo>
                  <a:cubicBezTo>
                    <a:pt x="7622" y="591962"/>
                    <a:pt x="11433" y="588151"/>
                    <a:pt x="15243" y="588151"/>
                  </a:cubicBezTo>
                  <a:close/>
                </a:path>
              </a:pathLst>
            </a:custGeom>
            <a:solidFill>
              <a:srgbClr val="000000"/>
            </a:solidFill>
            <a:ln w="12688"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89D22AE6-6B7C-45EB-96BE-00E6211F5C65}"/>
                </a:ext>
              </a:extLst>
            </p:cNvPr>
            <p:cNvSpPr/>
            <p:nvPr/>
          </p:nvSpPr>
          <p:spPr>
            <a:xfrm>
              <a:off x="4454917" y="6351275"/>
              <a:ext cx="15243" cy="30736"/>
            </a:xfrm>
            <a:custGeom>
              <a:avLst/>
              <a:gdLst>
                <a:gd name="connsiteX0" fmla="*/ 10162 w 15243"/>
                <a:gd name="connsiteY0" fmla="*/ 24385 h 30736"/>
                <a:gd name="connsiteX1" fmla="*/ 15243 w 15243"/>
                <a:gd name="connsiteY1" fmla="*/ 25655 h 30736"/>
                <a:gd name="connsiteX2" fmla="*/ 15243 w 15243"/>
                <a:gd name="connsiteY2" fmla="*/ 6601 h 30736"/>
                <a:gd name="connsiteX3" fmla="*/ 6351 w 15243"/>
                <a:gd name="connsiteY3" fmla="*/ 249 h 30736"/>
                <a:gd name="connsiteX4" fmla="*/ 0 w 15243"/>
                <a:gd name="connsiteY4" fmla="*/ 6601 h 30736"/>
                <a:gd name="connsiteX5" fmla="*/ 0 w 15243"/>
                <a:gd name="connsiteY5" fmla="*/ 26926 h 30736"/>
                <a:gd name="connsiteX6" fmla="*/ 0 w 15243"/>
                <a:gd name="connsiteY6" fmla="*/ 30736 h 30736"/>
                <a:gd name="connsiteX7" fmla="*/ 0 w 15243"/>
                <a:gd name="connsiteY7" fmla="*/ 30736 h 30736"/>
                <a:gd name="connsiteX8" fmla="*/ 0 w 15243"/>
                <a:gd name="connsiteY8" fmla="*/ 28196 h 30736"/>
                <a:gd name="connsiteX9" fmla="*/ 10162 w 15243"/>
                <a:gd name="connsiteY9" fmla="*/ 24385 h 30736"/>
                <a:gd name="connsiteX10" fmla="*/ 10162 w 15243"/>
                <a:gd name="connsiteY10" fmla="*/ 24385 h 30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3" h="30736">
                  <a:moveTo>
                    <a:pt x="10162" y="24385"/>
                  </a:moveTo>
                  <a:lnTo>
                    <a:pt x="15243" y="25655"/>
                  </a:lnTo>
                  <a:lnTo>
                    <a:pt x="15243" y="6601"/>
                  </a:lnTo>
                  <a:cubicBezTo>
                    <a:pt x="15243" y="2790"/>
                    <a:pt x="11433" y="-1021"/>
                    <a:pt x="6351" y="249"/>
                  </a:cubicBezTo>
                  <a:cubicBezTo>
                    <a:pt x="2540" y="249"/>
                    <a:pt x="0" y="2790"/>
                    <a:pt x="0" y="6601"/>
                  </a:cubicBezTo>
                  <a:lnTo>
                    <a:pt x="0" y="26926"/>
                  </a:lnTo>
                  <a:lnTo>
                    <a:pt x="0" y="30736"/>
                  </a:lnTo>
                  <a:lnTo>
                    <a:pt x="0" y="30736"/>
                  </a:lnTo>
                  <a:cubicBezTo>
                    <a:pt x="0" y="29466"/>
                    <a:pt x="0" y="29466"/>
                    <a:pt x="0" y="28196"/>
                  </a:cubicBezTo>
                  <a:cubicBezTo>
                    <a:pt x="1270" y="24385"/>
                    <a:pt x="5081" y="21845"/>
                    <a:pt x="10162" y="24385"/>
                  </a:cubicBezTo>
                  <a:cubicBezTo>
                    <a:pt x="10162" y="24385"/>
                    <a:pt x="10162" y="24385"/>
                    <a:pt x="10162" y="24385"/>
                  </a:cubicBezTo>
                  <a:close/>
                </a:path>
              </a:pathLst>
            </a:custGeom>
            <a:solidFill>
              <a:srgbClr val="000000"/>
            </a:solidFill>
            <a:ln w="12688"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5A644EDB-8772-4167-A83A-3A11E6D27768}"/>
                </a:ext>
              </a:extLst>
            </p:cNvPr>
            <p:cNvSpPr/>
            <p:nvPr/>
          </p:nvSpPr>
          <p:spPr>
            <a:xfrm>
              <a:off x="1387159" y="4838591"/>
              <a:ext cx="55892" cy="47001"/>
            </a:xfrm>
            <a:custGeom>
              <a:avLst/>
              <a:gdLst>
                <a:gd name="connsiteX0" fmla="*/ 50812 w 55892"/>
                <a:gd name="connsiteY0" fmla="*/ 6352 h 47001"/>
                <a:gd name="connsiteX1" fmla="*/ 50812 w 55892"/>
                <a:gd name="connsiteY1" fmla="*/ 0 h 47001"/>
                <a:gd name="connsiteX2" fmla="*/ 48271 w 55892"/>
                <a:gd name="connsiteY2" fmla="*/ 1270 h 47001"/>
                <a:gd name="connsiteX3" fmla="*/ 10162 w 55892"/>
                <a:gd name="connsiteY3" fmla="*/ 26676 h 47001"/>
                <a:gd name="connsiteX4" fmla="*/ 0 w 55892"/>
                <a:gd name="connsiteY4" fmla="*/ 34298 h 47001"/>
                <a:gd name="connsiteX5" fmla="*/ 10162 w 55892"/>
                <a:gd name="connsiteY5" fmla="*/ 36839 h 47001"/>
                <a:gd name="connsiteX6" fmla="*/ 7622 w 55892"/>
                <a:gd name="connsiteY6" fmla="*/ 47001 h 47001"/>
                <a:gd name="connsiteX7" fmla="*/ 55893 w 55892"/>
                <a:gd name="connsiteY7" fmla="*/ 13973 h 47001"/>
                <a:gd name="connsiteX8" fmla="*/ 50812 w 55892"/>
                <a:gd name="connsiteY8" fmla="*/ 6352 h 4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92" h="47001">
                  <a:moveTo>
                    <a:pt x="50812" y="6352"/>
                  </a:moveTo>
                  <a:lnTo>
                    <a:pt x="50812" y="0"/>
                  </a:lnTo>
                  <a:lnTo>
                    <a:pt x="48271" y="1270"/>
                  </a:lnTo>
                  <a:lnTo>
                    <a:pt x="10162" y="26676"/>
                  </a:lnTo>
                  <a:lnTo>
                    <a:pt x="0" y="34298"/>
                  </a:lnTo>
                  <a:cubicBezTo>
                    <a:pt x="3811" y="31758"/>
                    <a:pt x="7622" y="33028"/>
                    <a:pt x="10162" y="36839"/>
                  </a:cubicBezTo>
                  <a:cubicBezTo>
                    <a:pt x="12703" y="40650"/>
                    <a:pt x="11433" y="44461"/>
                    <a:pt x="7622" y="47001"/>
                  </a:cubicBezTo>
                  <a:lnTo>
                    <a:pt x="55893" y="13973"/>
                  </a:lnTo>
                  <a:cubicBezTo>
                    <a:pt x="53352" y="12703"/>
                    <a:pt x="52082" y="10163"/>
                    <a:pt x="50812" y="6352"/>
                  </a:cubicBezTo>
                  <a:close/>
                </a:path>
              </a:pathLst>
            </a:custGeom>
            <a:solidFill>
              <a:srgbClr val="000000"/>
            </a:solidFill>
            <a:ln w="12688"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4A50C0FD-7740-4DA3-949F-FDA4C59F71F9}"/>
                </a:ext>
              </a:extLst>
            </p:cNvPr>
            <p:cNvSpPr/>
            <p:nvPr/>
          </p:nvSpPr>
          <p:spPr>
            <a:xfrm>
              <a:off x="1451944" y="4830969"/>
              <a:ext cx="7621" cy="16514"/>
            </a:xfrm>
            <a:custGeom>
              <a:avLst/>
              <a:gdLst>
                <a:gd name="connsiteX0" fmla="*/ 0 w 7621"/>
                <a:gd name="connsiteY0" fmla="*/ 0 h 16514"/>
                <a:gd name="connsiteX1" fmla="*/ 1270 w 7621"/>
                <a:gd name="connsiteY1" fmla="*/ 13973 h 16514"/>
                <a:gd name="connsiteX2" fmla="*/ 1270 w 7621"/>
                <a:gd name="connsiteY2" fmla="*/ 16514 h 16514"/>
                <a:gd name="connsiteX3" fmla="*/ 2541 w 7621"/>
                <a:gd name="connsiteY3" fmla="*/ 16514 h 16514"/>
                <a:gd name="connsiteX4" fmla="*/ 5081 w 7621"/>
                <a:gd name="connsiteY4" fmla="*/ 13973 h 16514"/>
                <a:gd name="connsiteX5" fmla="*/ 5081 w 7621"/>
                <a:gd name="connsiteY5" fmla="*/ 13973 h 16514"/>
                <a:gd name="connsiteX6" fmla="*/ 5081 w 7621"/>
                <a:gd name="connsiteY6" fmla="*/ 13973 h 16514"/>
                <a:gd name="connsiteX7" fmla="*/ 6351 w 7621"/>
                <a:gd name="connsiteY7" fmla="*/ 12703 h 16514"/>
                <a:gd name="connsiteX8" fmla="*/ 7622 w 7621"/>
                <a:gd name="connsiteY8" fmla="*/ 11433 h 16514"/>
                <a:gd name="connsiteX9" fmla="*/ 7622 w 7621"/>
                <a:gd name="connsiteY9" fmla="*/ 8892 h 16514"/>
                <a:gd name="connsiteX10" fmla="*/ 7622 w 7621"/>
                <a:gd name="connsiteY10" fmla="*/ 8892 h 16514"/>
                <a:gd name="connsiteX11" fmla="*/ 7622 w 7621"/>
                <a:gd name="connsiteY11" fmla="*/ 7622 h 16514"/>
                <a:gd name="connsiteX12" fmla="*/ 6351 w 7621"/>
                <a:gd name="connsiteY12" fmla="*/ 2541 h 16514"/>
                <a:gd name="connsiteX13" fmla="*/ 0 w 7621"/>
                <a:gd name="connsiteY13" fmla="*/ 0 h 1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1" h="16514">
                  <a:moveTo>
                    <a:pt x="0" y="0"/>
                  </a:moveTo>
                  <a:lnTo>
                    <a:pt x="1270" y="13973"/>
                  </a:lnTo>
                  <a:cubicBezTo>
                    <a:pt x="1270" y="15244"/>
                    <a:pt x="1270" y="15244"/>
                    <a:pt x="1270" y="16514"/>
                  </a:cubicBezTo>
                  <a:lnTo>
                    <a:pt x="2541" y="16514"/>
                  </a:lnTo>
                  <a:lnTo>
                    <a:pt x="5081" y="13973"/>
                  </a:lnTo>
                  <a:lnTo>
                    <a:pt x="5081" y="13973"/>
                  </a:lnTo>
                  <a:lnTo>
                    <a:pt x="5081" y="13973"/>
                  </a:lnTo>
                  <a:lnTo>
                    <a:pt x="6351" y="12703"/>
                  </a:lnTo>
                  <a:cubicBezTo>
                    <a:pt x="6351" y="12703"/>
                    <a:pt x="6351" y="11433"/>
                    <a:pt x="7622" y="11433"/>
                  </a:cubicBezTo>
                  <a:lnTo>
                    <a:pt x="7622" y="8892"/>
                  </a:lnTo>
                  <a:lnTo>
                    <a:pt x="7622" y="8892"/>
                  </a:lnTo>
                  <a:cubicBezTo>
                    <a:pt x="7622" y="8892"/>
                    <a:pt x="7622" y="7622"/>
                    <a:pt x="7622" y="7622"/>
                  </a:cubicBezTo>
                  <a:cubicBezTo>
                    <a:pt x="7622" y="6352"/>
                    <a:pt x="7622" y="5082"/>
                    <a:pt x="6351" y="2541"/>
                  </a:cubicBezTo>
                  <a:cubicBezTo>
                    <a:pt x="5081" y="1270"/>
                    <a:pt x="2541" y="0"/>
                    <a:pt x="0" y="0"/>
                  </a:cubicBezTo>
                  <a:close/>
                </a:path>
              </a:pathLst>
            </a:custGeom>
            <a:solidFill>
              <a:srgbClr val="000000"/>
            </a:solidFill>
            <a:ln w="12688"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EF5B9FF1-892B-4BA1-B49C-4A42CB63F22D}"/>
                </a:ext>
              </a:extLst>
            </p:cNvPr>
            <p:cNvSpPr/>
            <p:nvPr/>
          </p:nvSpPr>
          <p:spPr>
            <a:xfrm>
              <a:off x="1256319" y="4871567"/>
              <a:ext cx="143594" cy="97865"/>
            </a:xfrm>
            <a:custGeom>
              <a:avLst/>
              <a:gdLst>
                <a:gd name="connsiteX0" fmla="*/ 139732 w 143594"/>
                <a:gd name="connsiteY0" fmla="*/ 14025 h 97865"/>
                <a:gd name="connsiteX1" fmla="*/ 142273 w 143594"/>
                <a:gd name="connsiteY1" fmla="*/ 3862 h 97865"/>
                <a:gd name="connsiteX2" fmla="*/ 132110 w 143594"/>
                <a:gd name="connsiteY2" fmla="*/ 1322 h 97865"/>
                <a:gd name="connsiteX3" fmla="*/ 132110 w 143594"/>
                <a:gd name="connsiteY3" fmla="*/ 1322 h 97865"/>
                <a:gd name="connsiteX4" fmla="*/ 128300 w 143594"/>
                <a:gd name="connsiteY4" fmla="*/ 3862 h 97865"/>
                <a:gd name="connsiteX5" fmla="*/ 0 w 143594"/>
                <a:gd name="connsiteY5" fmla="*/ 91514 h 97865"/>
                <a:gd name="connsiteX6" fmla="*/ 3811 w 143594"/>
                <a:gd name="connsiteY6" fmla="*/ 92784 h 97865"/>
                <a:gd name="connsiteX7" fmla="*/ 17784 w 143594"/>
                <a:gd name="connsiteY7" fmla="*/ 97865 h 97865"/>
                <a:gd name="connsiteX8" fmla="*/ 139732 w 143594"/>
                <a:gd name="connsiteY8" fmla="*/ 14025 h 9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4" h="97865">
                  <a:moveTo>
                    <a:pt x="139732" y="14025"/>
                  </a:moveTo>
                  <a:cubicBezTo>
                    <a:pt x="143543" y="11484"/>
                    <a:pt x="144813" y="6403"/>
                    <a:pt x="142273" y="3862"/>
                  </a:cubicBezTo>
                  <a:cubicBezTo>
                    <a:pt x="139732" y="51"/>
                    <a:pt x="134651" y="-1219"/>
                    <a:pt x="132110" y="1322"/>
                  </a:cubicBezTo>
                  <a:lnTo>
                    <a:pt x="132110" y="1322"/>
                  </a:lnTo>
                  <a:lnTo>
                    <a:pt x="128300" y="3862"/>
                  </a:lnTo>
                  <a:lnTo>
                    <a:pt x="0" y="91514"/>
                  </a:lnTo>
                  <a:lnTo>
                    <a:pt x="3811" y="92784"/>
                  </a:lnTo>
                  <a:lnTo>
                    <a:pt x="17784" y="97865"/>
                  </a:lnTo>
                  <a:lnTo>
                    <a:pt x="139732" y="14025"/>
                  </a:lnTo>
                  <a:close/>
                </a:path>
              </a:pathLst>
            </a:custGeom>
            <a:solidFill>
              <a:srgbClr val="000000"/>
            </a:solidFill>
            <a:ln w="12688"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9BDF081B-5F17-4382-8EDE-074D6253D253}"/>
                </a:ext>
              </a:extLst>
            </p:cNvPr>
            <p:cNvSpPr/>
            <p:nvPr/>
          </p:nvSpPr>
          <p:spPr>
            <a:xfrm>
              <a:off x="3838825" y="4883051"/>
              <a:ext cx="30486" cy="636422"/>
            </a:xfrm>
            <a:custGeom>
              <a:avLst/>
              <a:gdLst>
                <a:gd name="connsiteX0" fmla="*/ 7621 w 30486"/>
                <a:gd name="connsiteY0" fmla="*/ 8892 h 636422"/>
                <a:gd name="connsiteX1" fmla="*/ 0 w 30486"/>
                <a:gd name="connsiteY1" fmla="*/ 1270 h 636422"/>
                <a:gd name="connsiteX2" fmla="*/ 0 w 30486"/>
                <a:gd name="connsiteY2" fmla="*/ 1270 h 636422"/>
                <a:gd name="connsiteX3" fmla="*/ 0 w 30486"/>
                <a:gd name="connsiteY3" fmla="*/ 16514 h 636422"/>
                <a:gd name="connsiteX4" fmla="*/ 15243 w 30486"/>
                <a:gd name="connsiteY4" fmla="*/ 619909 h 636422"/>
                <a:gd name="connsiteX5" fmla="*/ 15243 w 30486"/>
                <a:gd name="connsiteY5" fmla="*/ 630071 h 636422"/>
                <a:gd name="connsiteX6" fmla="*/ 15243 w 30486"/>
                <a:gd name="connsiteY6" fmla="*/ 630071 h 636422"/>
                <a:gd name="connsiteX7" fmla="*/ 15243 w 30486"/>
                <a:gd name="connsiteY7" fmla="*/ 631342 h 636422"/>
                <a:gd name="connsiteX8" fmla="*/ 15243 w 30486"/>
                <a:gd name="connsiteY8" fmla="*/ 631342 h 636422"/>
                <a:gd name="connsiteX9" fmla="*/ 22865 w 30486"/>
                <a:gd name="connsiteY9" fmla="*/ 636423 h 636422"/>
                <a:gd name="connsiteX10" fmla="*/ 29217 w 30486"/>
                <a:gd name="connsiteY10" fmla="*/ 632612 h 636422"/>
                <a:gd name="connsiteX11" fmla="*/ 30487 w 30486"/>
                <a:gd name="connsiteY11" fmla="*/ 628801 h 636422"/>
                <a:gd name="connsiteX12" fmla="*/ 30487 w 30486"/>
                <a:gd name="connsiteY12" fmla="*/ 622449 h 636422"/>
                <a:gd name="connsiteX13" fmla="*/ 13973 w 30486"/>
                <a:gd name="connsiteY13" fmla="*/ 0 h 636422"/>
                <a:gd name="connsiteX14" fmla="*/ 7621 w 30486"/>
                <a:gd name="connsiteY14" fmla="*/ 8892 h 636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86" h="636422">
                  <a:moveTo>
                    <a:pt x="7621" y="8892"/>
                  </a:moveTo>
                  <a:cubicBezTo>
                    <a:pt x="3811" y="8892"/>
                    <a:pt x="0" y="5081"/>
                    <a:pt x="0" y="1270"/>
                  </a:cubicBezTo>
                  <a:cubicBezTo>
                    <a:pt x="0" y="1270"/>
                    <a:pt x="0" y="1270"/>
                    <a:pt x="0" y="1270"/>
                  </a:cubicBezTo>
                  <a:lnTo>
                    <a:pt x="0" y="16514"/>
                  </a:lnTo>
                  <a:lnTo>
                    <a:pt x="15243" y="619909"/>
                  </a:lnTo>
                  <a:lnTo>
                    <a:pt x="15243" y="630071"/>
                  </a:lnTo>
                  <a:lnTo>
                    <a:pt x="15243" y="630071"/>
                  </a:lnTo>
                  <a:cubicBezTo>
                    <a:pt x="15243" y="630071"/>
                    <a:pt x="15243" y="631342"/>
                    <a:pt x="15243" y="631342"/>
                  </a:cubicBezTo>
                  <a:lnTo>
                    <a:pt x="15243" y="631342"/>
                  </a:lnTo>
                  <a:cubicBezTo>
                    <a:pt x="16514" y="633882"/>
                    <a:pt x="19054" y="636423"/>
                    <a:pt x="22865" y="636423"/>
                  </a:cubicBezTo>
                  <a:cubicBezTo>
                    <a:pt x="25406" y="636423"/>
                    <a:pt x="27946" y="635152"/>
                    <a:pt x="29217" y="632612"/>
                  </a:cubicBezTo>
                  <a:cubicBezTo>
                    <a:pt x="29217" y="631342"/>
                    <a:pt x="30487" y="630071"/>
                    <a:pt x="30487" y="628801"/>
                  </a:cubicBezTo>
                  <a:lnTo>
                    <a:pt x="30487" y="622449"/>
                  </a:lnTo>
                  <a:lnTo>
                    <a:pt x="13973" y="0"/>
                  </a:lnTo>
                  <a:cubicBezTo>
                    <a:pt x="13973" y="5081"/>
                    <a:pt x="11433" y="8892"/>
                    <a:pt x="7621" y="8892"/>
                  </a:cubicBezTo>
                  <a:close/>
                </a:path>
              </a:pathLst>
            </a:custGeom>
            <a:solidFill>
              <a:srgbClr val="000000"/>
            </a:solidFill>
            <a:ln w="12688"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CBB9DE73-8BA4-406B-B5B4-C046050D3643}"/>
                </a:ext>
              </a:extLst>
            </p:cNvPr>
            <p:cNvSpPr/>
            <p:nvPr/>
          </p:nvSpPr>
          <p:spPr>
            <a:xfrm>
              <a:off x="3823581" y="4296171"/>
              <a:ext cx="30486" cy="595772"/>
            </a:xfrm>
            <a:custGeom>
              <a:avLst/>
              <a:gdLst>
                <a:gd name="connsiteX0" fmla="*/ 15244 w 30486"/>
                <a:gd name="connsiteY0" fmla="*/ 584340 h 595772"/>
                <a:gd name="connsiteX1" fmla="*/ 15244 w 30486"/>
                <a:gd name="connsiteY1" fmla="*/ 588151 h 595772"/>
                <a:gd name="connsiteX2" fmla="*/ 22865 w 30486"/>
                <a:gd name="connsiteY2" fmla="*/ 595773 h 595772"/>
                <a:gd name="connsiteX3" fmla="*/ 22865 w 30486"/>
                <a:gd name="connsiteY3" fmla="*/ 595773 h 595772"/>
                <a:gd name="connsiteX4" fmla="*/ 30487 w 30486"/>
                <a:gd name="connsiteY4" fmla="*/ 588151 h 595772"/>
                <a:gd name="connsiteX5" fmla="*/ 15244 w 30486"/>
                <a:gd name="connsiteY5" fmla="*/ 7622 h 595772"/>
                <a:gd name="connsiteX6" fmla="*/ 7622 w 30486"/>
                <a:gd name="connsiteY6" fmla="*/ 0 h 595772"/>
                <a:gd name="connsiteX7" fmla="*/ 0 w 30486"/>
                <a:gd name="connsiteY7" fmla="*/ 7622 h 595772"/>
                <a:gd name="connsiteX8" fmla="*/ 0 w 30486"/>
                <a:gd name="connsiteY8" fmla="*/ 7622 h 595772"/>
                <a:gd name="connsiteX9" fmla="*/ 0 w 30486"/>
                <a:gd name="connsiteY9" fmla="*/ 12703 h 595772"/>
                <a:gd name="connsiteX10" fmla="*/ 15244 w 30486"/>
                <a:gd name="connsiteY10" fmla="*/ 584340 h 59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6" h="595772">
                  <a:moveTo>
                    <a:pt x="15244" y="584340"/>
                  </a:moveTo>
                  <a:lnTo>
                    <a:pt x="15244" y="588151"/>
                  </a:lnTo>
                  <a:cubicBezTo>
                    <a:pt x="15244" y="591962"/>
                    <a:pt x="19054" y="595773"/>
                    <a:pt x="22865" y="595773"/>
                  </a:cubicBezTo>
                  <a:cubicBezTo>
                    <a:pt x="22865" y="595773"/>
                    <a:pt x="22865" y="595773"/>
                    <a:pt x="22865" y="595773"/>
                  </a:cubicBezTo>
                  <a:cubicBezTo>
                    <a:pt x="26676" y="595773"/>
                    <a:pt x="30487" y="591962"/>
                    <a:pt x="30487" y="588151"/>
                  </a:cubicBezTo>
                  <a:lnTo>
                    <a:pt x="15244" y="7622"/>
                  </a:lnTo>
                  <a:cubicBezTo>
                    <a:pt x="15244" y="3811"/>
                    <a:pt x="11433" y="0"/>
                    <a:pt x="7622" y="0"/>
                  </a:cubicBezTo>
                  <a:cubicBezTo>
                    <a:pt x="3811" y="0"/>
                    <a:pt x="0" y="3811"/>
                    <a:pt x="0" y="7622"/>
                  </a:cubicBezTo>
                  <a:cubicBezTo>
                    <a:pt x="0" y="7622"/>
                    <a:pt x="0" y="7622"/>
                    <a:pt x="0" y="7622"/>
                  </a:cubicBezTo>
                  <a:lnTo>
                    <a:pt x="0" y="12703"/>
                  </a:lnTo>
                  <a:lnTo>
                    <a:pt x="15244" y="584340"/>
                  </a:lnTo>
                  <a:close/>
                </a:path>
              </a:pathLst>
            </a:custGeom>
            <a:solidFill>
              <a:srgbClr val="000000"/>
            </a:solidFill>
            <a:ln w="12688"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EA174258-B344-4057-BFFF-71D4FA906073}"/>
                </a:ext>
              </a:extLst>
            </p:cNvPr>
            <p:cNvSpPr/>
            <p:nvPr/>
          </p:nvSpPr>
          <p:spPr>
            <a:xfrm>
              <a:off x="6068189" y="5448337"/>
              <a:ext cx="401412" cy="132111"/>
            </a:xfrm>
            <a:custGeom>
              <a:avLst/>
              <a:gdLst>
                <a:gd name="connsiteX0" fmla="*/ 8892 w 401412"/>
                <a:gd name="connsiteY0" fmla="*/ 7622 h 132111"/>
                <a:gd name="connsiteX1" fmla="*/ 0 w 401412"/>
                <a:gd name="connsiteY1" fmla="*/ 12703 h 132111"/>
                <a:gd name="connsiteX2" fmla="*/ 0 w 401412"/>
                <a:gd name="connsiteY2" fmla="*/ 12703 h 132111"/>
                <a:gd name="connsiteX3" fmla="*/ 384899 w 401412"/>
                <a:gd name="connsiteY3" fmla="*/ 128301 h 132111"/>
                <a:gd name="connsiteX4" fmla="*/ 397602 w 401412"/>
                <a:gd name="connsiteY4" fmla="*/ 132112 h 132111"/>
                <a:gd name="connsiteX5" fmla="*/ 392520 w 401412"/>
                <a:gd name="connsiteY5" fmla="*/ 123220 h 132111"/>
                <a:gd name="connsiteX6" fmla="*/ 401412 w 401412"/>
                <a:gd name="connsiteY6" fmla="*/ 118139 h 132111"/>
                <a:gd name="connsiteX7" fmla="*/ 8892 w 401412"/>
                <a:gd name="connsiteY7" fmla="*/ 1270 h 132111"/>
                <a:gd name="connsiteX8" fmla="*/ 3811 w 401412"/>
                <a:gd name="connsiteY8" fmla="*/ 0 h 132111"/>
                <a:gd name="connsiteX9" fmla="*/ 8892 w 401412"/>
                <a:gd name="connsiteY9" fmla="*/ 7622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412" h="132111">
                  <a:moveTo>
                    <a:pt x="8892" y="7622"/>
                  </a:moveTo>
                  <a:cubicBezTo>
                    <a:pt x="7621" y="11433"/>
                    <a:pt x="3811" y="13973"/>
                    <a:pt x="0" y="12703"/>
                  </a:cubicBezTo>
                  <a:cubicBezTo>
                    <a:pt x="0" y="12703"/>
                    <a:pt x="0" y="12703"/>
                    <a:pt x="0" y="12703"/>
                  </a:cubicBezTo>
                  <a:lnTo>
                    <a:pt x="384899" y="128301"/>
                  </a:lnTo>
                  <a:lnTo>
                    <a:pt x="397602" y="132112"/>
                  </a:lnTo>
                  <a:cubicBezTo>
                    <a:pt x="393791" y="130842"/>
                    <a:pt x="391250" y="127030"/>
                    <a:pt x="392520" y="123220"/>
                  </a:cubicBezTo>
                  <a:cubicBezTo>
                    <a:pt x="393791" y="119409"/>
                    <a:pt x="397602" y="116868"/>
                    <a:pt x="401412" y="118139"/>
                  </a:cubicBezTo>
                  <a:lnTo>
                    <a:pt x="8892" y="1270"/>
                  </a:lnTo>
                  <a:lnTo>
                    <a:pt x="3811" y="0"/>
                  </a:lnTo>
                  <a:cubicBezTo>
                    <a:pt x="7621" y="0"/>
                    <a:pt x="10162" y="3811"/>
                    <a:pt x="8892" y="7622"/>
                  </a:cubicBezTo>
                  <a:close/>
                </a:path>
              </a:pathLst>
            </a:custGeom>
            <a:solidFill>
              <a:srgbClr val="000000"/>
            </a:solidFill>
            <a:ln w="12688"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51922BEE-D569-4586-A49E-76DDE6C96ADF}"/>
                </a:ext>
              </a:extLst>
            </p:cNvPr>
            <p:cNvSpPr/>
            <p:nvPr/>
          </p:nvSpPr>
          <p:spPr>
            <a:xfrm>
              <a:off x="934935" y="6808834"/>
              <a:ext cx="123218" cy="44460"/>
            </a:xfrm>
            <a:custGeom>
              <a:avLst/>
              <a:gdLst>
                <a:gd name="connsiteX0" fmla="*/ 5081 w 123218"/>
                <a:gd name="connsiteY0" fmla="*/ 0 h 44460"/>
                <a:gd name="connsiteX1" fmla="*/ 10162 w 123218"/>
                <a:gd name="connsiteY1" fmla="*/ 8892 h 44460"/>
                <a:gd name="connsiteX2" fmla="*/ 1270 w 123218"/>
                <a:gd name="connsiteY2" fmla="*/ 13973 h 44460"/>
                <a:gd name="connsiteX3" fmla="*/ 0 w 123218"/>
                <a:gd name="connsiteY3" fmla="*/ 12703 h 44460"/>
                <a:gd name="connsiteX4" fmla="*/ 81299 w 123218"/>
                <a:gd name="connsiteY4" fmla="*/ 44461 h 44460"/>
                <a:gd name="connsiteX5" fmla="*/ 123218 w 123218"/>
                <a:gd name="connsiteY5" fmla="*/ 44461 h 44460"/>
                <a:gd name="connsiteX6" fmla="*/ 8892 w 123218"/>
                <a:gd name="connsiteY6" fmla="*/ 0 h 44460"/>
                <a:gd name="connsiteX7" fmla="*/ 5081 w 123218"/>
                <a:gd name="connsiteY7" fmla="*/ 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18" h="44460">
                  <a:moveTo>
                    <a:pt x="5081" y="0"/>
                  </a:moveTo>
                  <a:cubicBezTo>
                    <a:pt x="8892" y="1270"/>
                    <a:pt x="11433" y="5082"/>
                    <a:pt x="10162" y="8892"/>
                  </a:cubicBezTo>
                  <a:cubicBezTo>
                    <a:pt x="8892" y="12703"/>
                    <a:pt x="5081" y="15244"/>
                    <a:pt x="1270" y="13973"/>
                  </a:cubicBezTo>
                  <a:cubicBezTo>
                    <a:pt x="1270" y="13973"/>
                    <a:pt x="0" y="13973"/>
                    <a:pt x="0" y="12703"/>
                  </a:cubicBezTo>
                  <a:lnTo>
                    <a:pt x="81299" y="44461"/>
                  </a:lnTo>
                  <a:lnTo>
                    <a:pt x="123218" y="44461"/>
                  </a:lnTo>
                  <a:lnTo>
                    <a:pt x="8892" y="0"/>
                  </a:lnTo>
                  <a:lnTo>
                    <a:pt x="5081" y="0"/>
                  </a:lnTo>
                  <a:close/>
                </a:path>
              </a:pathLst>
            </a:custGeom>
            <a:solidFill>
              <a:srgbClr val="000000"/>
            </a:solidFill>
            <a:ln w="12688"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DF009976-8CCE-4EBD-AFC8-FE4E5277E14B}"/>
                </a:ext>
              </a:extLst>
            </p:cNvPr>
            <p:cNvSpPr/>
            <p:nvPr/>
          </p:nvSpPr>
          <p:spPr>
            <a:xfrm>
              <a:off x="490333" y="6636072"/>
              <a:ext cx="453971" cy="188481"/>
            </a:xfrm>
            <a:custGeom>
              <a:avLst/>
              <a:gdLst>
                <a:gd name="connsiteX0" fmla="*/ 0 w 453971"/>
                <a:gd name="connsiteY0" fmla="*/ 0 h 188481"/>
                <a:gd name="connsiteX1" fmla="*/ 0 w 453971"/>
                <a:gd name="connsiteY1" fmla="*/ 5081 h 188481"/>
                <a:gd name="connsiteX2" fmla="*/ 1270 w 453971"/>
                <a:gd name="connsiteY2" fmla="*/ 17784 h 188481"/>
                <a:gd name="connsiteX3" fmla="*/ 443332 w 453971"/>
                <a:gd name="connsiteY3" fmla="*/ 188005 h 188481"/>
                <a:gd name="connsiteX4" fmla="*/ 453495 w 453971"/>
                <a:gd name="connsiteY4" fmla="*/ 184194 h 188481"/>
                <a:gd name="connsiteX5" fmla="*/ 449684 w 453971"/>
                <a:gd name="connsiteY5" fmla="*/ 174031 h 188481"/>
                <a:gd name="connsiteX6" fmla="*/ 438251 w 453971"/>
                <a:gd name="connsiteY6" fmla="*/ 170220 h 188481"/>
                <a:gd name="connsiteX7" fmla="*/ 0 w 453971"/>
                <a:gd name="connsiteY7" fmla="*/ 0 h 1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971" h="188481">
                  <a:moveTo>
                    <a:pt x="0" y="0"/>
                  </a:moveTo>
                  <a:lnTo>
                    <a:pt x="0" y="5081"/>
                  </a:lnTo>
                  <a:lnTo>
                    <a:pt x="1270" y="17784"/>
                  </a:lnTo>
                  <a:lnTo>
                    <a:pt x="443332" y="188005"/>
                  </a:lnTo>
                  <a:cubicBezTo>
                    <a:pt x="447143" y="189275"/>
                    <a:pt x="452224" y="188005"/>
                    <a:pt x="453495" y="184194"/>
                  </a:cubicBezTo>
                  <a:cubicBezTo>
                    <a:pt x="454765" y="180383"/>
                    <a:pt x="453495" y="175302"/>
                    <a:pt x="449684" y="174031"/>
                  </a:cubicBezTo>
                  <a:lnTo>
                    <a:pt x="438251" y="170220"/>
                  </a:lnTo>
                  <a:lnTo>
                    <a:pt x="0" y="0"/>
                  </a:lnTo>
                  <a:close/>
                </a:path>
              </a:pathLst>
            </a:custGeom>
            <a:solidFill>
              <a:srgbClr val="000000"/>
            </a:solidFill>
            <a:ln w="12688"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0FEED3F2-A8C1-4DCD-ACF2-3E236FC51B97}"/>
                </a:ext>
              </a:extLst>
            </p:cNvPr>
            <p:cNvSpPr/>
            <p:nvPr/>
          </p:nvSpPr>
          <p:spPr>
            <a:xfrm>
              <a:off x="214355" y="1322387"/>
              <a:ext cx="148948" cy="47001"/>
            </a:xfrm>
            <a:custGeom>
              <a:avLst/>
              <a:gdLst>
                <a:gd name="connsiteX0" fmla="*/ 324 w 148948"/>
                <a:gd name="connsiteY0" fmla="*/ 7622 h 47001"/>
                <a:gd name="connsiteX1" fmla="*/ 6675 w 148948"/>
                <a:gd name="connsiteY1" fmla="*/ 16514 h 47001"/>
                <a:gd name="connsiteX2" fmla="*/ 9216 w 148948"/>
                <a:gd name="connsiteY2" fmla="*/ 16514 h 47001"/>
                <a:gd name="connsiteX3" fmla="*/ 146407 w 148948"/>
                <a:gd name="connsiteY3" fmla="*/ 47001 h 47001"/>
                <a:gd name="connsiteX4" fmla="*/ 140056 w 148948"/>
                <a:gd name="connsiteY4" fmla="*/ 38109 h 47001"/>
                <a:gd name="connsiteX5" fmla="*/ 148948 w 148948"/>
                <a:gd name="connsiteY5" fmla="*/ 31758 h 47001"/>
                <a:gd name="connsiteX6" fmla="*/ 148948 w 148948"/>
                <a:gd name="connsiteY6" fmla="*/ 31758 h 47001"/>
                <a:gd name="connsiteX7" fmla="*/ 138786 w 148948"/>
                <a:gd name="connsiteY7" fmla="*/ 29217 h 47001"/>
                <a:gd name="connsiteX8" fmla="*/ 9216 w 148948"/>
                <a:gd name="connsiteY8" fmla="*/ 0 h 47001"/>
                <a:gd name="connsiteX9" fmla="*/ 6675 w 148948"/>
                <a:gd name="connsiteY9" fmla="*/ 0 h 47001"/>
                <a:gd name="connsiteX10" fmla="*/ 5405 w 148948"/>
                <a:gd name="connsiteY10" fmla="*/ 0 h 47001"/>
                <a:gd name="connsiteX11" fmla="*/ 324 w 148948"/>
                <a:gd name="connsiteY11" fmla="*/ 7622 h 4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948" h="47001">
                  <a:moveTo>
                    <a:pt x="324" y="7622"/>
                  </a:moveTo>
                  <a:cubicBezTo>
                    <a:pt x="-947" y="11433"/>
                    <a:pt x="1594" y="15244"/>
                    <a:pt x="6675" y="16514"/>
                  </a:cubicBezTo>
                  <a:lnTo>
                    <a:pt x="9216" y="16514"/>
                  </a:lnTo>
                  <a:lnTo>
                    <a:pt x="146407" y="47001"/>
                  </a:lnTo>
                  <a:cubicBezTo>
                    <a:pt x="142597" y="45731"/>
                    <a:pt x="140056" y="41920"/>
                    <a:pt x="140056" y="38109"/>
                  </a:cubicBezTo>
                  <a:cubicBezTo>
                    <a:pt x="141326" y="34298"/>
                    <a:pt x="145137" y="31758"/>
                    <a:pt x="148948" y="31758"/>
                  </a:cubicBezTo>
                  <a:cubicBezTo>
                    <a:pt x="148948" y="31758"/>
                    <a:pt x="148948" y="31758"/>
                    <a:pt x="148948" y="31758"/>
                  </a:cubicBezTo>
                  <a:lnTo>
                    <a:pt x="138786" y="29217"/>
                  </a:lnTo>
                  <a:lnTo>
                    <a:pt x="9216" y="0"/>
                  </a:lnTo>
                  <a:lnTo>
                    <a:pt x="6675" y="0"/>
                  </a:lnTo>
                  <a:lnTo>
                    <a:pt x="5405" y="0"/>
                  </a:lnTo>
                  <a:cubicBezTo>
                    <a:pt x="2864" y="2541"/>
                    <a:pt x="1594" y="5081"/>
                    <a:pt x="324" y="7622"/>
                  </a:cubicBezTo>
                  <a:close/>
                </a:path>
              </a:pathLst>
            </a:custGeom>
            <a:solidFill>
              <a:srgbClr val="000000"/>
            </a:solidFill>
            <a:ln w="12688"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7AF450E4-B578-48D6-88A8-5E90E376B88A}"/>
                </a:ext>
              </a:extLst>
            </p:cNvPr>
            <p:cNvSpPr/>
            <p:nvPr/>
          </p:nvSpPr>
          <p:spPr>
            <a:xfrm>
              <a:off x="355351" y="1355084"/>
              <a:ext cx="391580" cy="96873"/>
            </a:xfrm>
            <a:custGeom>
              <a:avLst/>
              <a:gdLst>
                <a:gd name="connsiteX0" fmla="*/ 391581 w 391580"/>
                <a:gd name="connsiteY0" fmla="*/ 86711 h 96873"/>
                <a:gd name="connsiteX1" fmla="*/ 14304 w 391580"/>
                <a:gd name="connsiteY1" fmla="*/ 1601 h 96873"/>
                <a:gd name="connsiteX2" fmla="*/ 9223 w 391580"/>
                <a:gd name="connsiteY2" fmla="*/ 330 h 96873"/>
                <a:gd name="connsiteX3" fmla="*/ 330 w 391580"/>
                <a:gd name="connsiteY3" fmla="*/ 5412 h 96873"/>
                <a:gd name="connsiteX4" fmla="*/ 5412 w 391580"/>
                <a:gd name="connsiteY4" fmla="*/ 14304 h 96873"/>
                <a:gd name="connsiteX5" fmla="*/ 5412 w 391580"/>
                <a:gd name="connsiteY5" fmla="*/ 14304 h 96873"/>
                <a:gd name="connsiteX6" fmla="*/ 371256 w 391580"/>
                <a:gd name="connsiteY6" fmla="*/ 96874 h 96873"/>
                <a:gd name="connsiteX7" fmla="*/ 389040 w 391580"/>
                <a:gd name="connsiteY7" fmla="*/ 86711 h 96873"/>
                <a:gd name="connsiteX8" fmla="*/ 391581 w 391580"/>
                <a:gd name="connsiteY8" fmla="*/ 86711 h 9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580" h="96873">
                  <a:moveTo>
                    <a:pt x="391581" y="86711"/>
                  </a:moveTo>
                  <a:lnTo>
                    <a:pt x="14304" y="1601"/>
                  </a:lnTo>
                  <a:lnTo>
                    <a:pt x="9223" y="330"/>
                  </a:lnTo>
                  <a:cubicBezTo>
                    <a:pt x="5412" y="-940"/>
                    <a:pt x="1601" y="1601"/>
                    <a:pt x="330" y="5412"/>
                  </a:cubicBezTo>
                  <a:cubicBezTo>
                    <a:pt x="-940" y="9223"/>
                    <a:pt x="1601" y="13033"/>
                    <a:pt x="5412" y="14304"/>
                  </a:cubicBezTo>
                  <a:cubicBezTo>
                    <a:pt x="5412" y="14304"/>
                    <a:pt x="5412" y="14304"/>
                    <a:pt x="5412" y="14304"/>
                  </a:cubicBezTo>
                  <a:lnTo>
                    <a:pt x="371256" y="96874"/>
                  </a:lnTo>
                  <a:lnTo>
                    <a:pt x="389040" y="86711"/>
                  </a:lnTo>
                  <a:lnTo>
                    <a:pt x="391581" y="86711"/>
                  </a:lnTo>
                  <a:close/>
                </a:path>
              </a:pathLst>
            </a:custGeom>
            <a:solidFill>
              <a:srgbClr val="000000"/>
            </a:solidFill>
            <a:ln w="12688"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CDD65527-989C-48B1-9C6F-5614CC85D6A1}"/>
                </a:ext>
              </a:extLst>
            </p:cNvPr>
            <p:cNvSpPr/>
            <p:nvPr/>
          </p:nvSpPr>
          <p:spPr>
            <a:xfrm>
              <a:off x="6460379" y="5564875"/>
              <a:ext cx="105765" cy="43520"/>
            </a:xfrm>
            <a:custGeom>
              <a:avLst/>
              <a:gdLst>
                <a:gd name="connsiteX0" fmla="*/ 330 w 105765"/>
                <a:gd name="connsiteY0" fmla="*/ 5412 h 43520"/>
                <a:gd name="connsiteX1" fmla="*/ 5412 w 105765"/>
                <a:gd name="connsiteY1" fmla="*/ 14304 h 43520"/>
                <a:gd name="connsiteX2" fmla="*/ 9222 w 105765"/>
                <a:gd name="connsiteY2" fmla="*/ 15574 h 43520"/>
                <a:gd name="connsiteX3" fmla="*/ 101954 w 105765"/>
                <a:gd name="connsiteY3" fmla="*/ 43521 h 43520"/>
                <a:gd name="connsiteX4" fmla="*/ 96873 w 105765"/>
                <a:gd name="connsiteY4" fmla="*/ 34628 h 43520"/>
                <a:gd name="connsiteX5" fmla="*/ 96873 w 105765"/>
                <a:gd name="connsiteY5" fmla="*/ 34628 h 43520"/>
                <a:gd name="connsiteX6" fmla="*/ 105765 w 105765"/>
                <a:gd name="connsiteY6" fmla="*/ 29547 h 43520"/>
                <a:gd name="connsiteX7" fmla="*/ 105765 w 105765"/>
                <a:gd name="connsiteY7" fmla="*/ 29547 h 43520"/>
                <a:gd name="connsiteX8" fmla="*/ 9222 w 105765"/>
                <a:gd name="connsiteY8" fmla="*/ 330 h 43520"/>
                <a:gd name="connsiteX9" fmla="*/ 330 w 105765"/>
                <a:gd name="connsiteY9" fmla="*/ 5412 h 4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65" h="43520">
                  <a:moveTo>
                    <a:pt x="330" y="5412"/>
                  </a:moveTo>
                  <a:cubicBezTo>
                    <a:pt x="-940" y="9222"/>
                    <a:pt x="1601" y="13034"/>
                    <a:pt x="5412" y="14304"/>
                  </a:cubicBezTo>
                  <a:lnTo>
                    <a:pt x="9222" y="15574"/>
                  </a:lnTo>
                  <a:lnTo>
                    <a:pt x="101954" y="43521"/>
                  </a:lnTo>
                  <a:cubicBezTo>
                    <a:pt x="98143" y="42250"/>
                    <a:pt x="95602" y="38440"/>
                    <a:pt x="96873" y="34628"/>
                  </a:cubicBezTo>
                  <a:cubicBezTo>
                    <a:pt x="96873" y="34628"/>
                    <a:pt x="96873" y="34628"/>
                    <a:pt x="96873" y="34628"/>
                  </a:cubicBezTo>
                  <a:cubicBezTo>
                    <a:pt x="98143" y="30818"/>
                    <a:pt x="101954" y="28277"/>
                    <a:pt x="105765" y="29547"/>
                  </a:cubicBezTo>
                  <a:cubicBezTo>
                    <a:pt x="105765" y="29547"/>
                    <a:pt x="105765" y="29547"/>
                    <a:pt x="105765" y="29547"/>
                  </a:cubicBezTo>
                  <a:lnTo>
                    <a:pt x="9222" y="330"/>
                  </a:lnTo>
                  <a:cubicBezTo>
                    <a:pt x="5412" y="-940"/>
                    <a:pt x="1601" y="1601"/>
                    <a:pt x="330" y="5412"/>
                  </a:cubicBezTo>
                  <a:close/>
                </a:path>
              </a:pathLst>
            </a:custGeom>
            <a:solidFill>
              <a:srgbClr val="000000"/>
            </a:solidFill>
            <a:ln w="12688"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B6126068-3278-411C-BD43-5FD06BC94F45}"/>
                </a:ext>
              </a:extLst>
            </p:cNvPr>
            <p:cNvSpPr/>
            <p:nvPr/>
          </p:nvSpPr>
          <p:spPr>
            <a:xfrm>
              <a:off x="1410025" y="4246629"/>
              <a:ext cx="171489" cy="124490"/>
            </a:xfrm>
            <a:custGeom>
              <a:avLst/>
              <a:gdLst>
                <a:gd name="connsiteX0" fmla="*/ 10162 w 171489"/>
                <a:gd name="connsiteY0" fmla="*/ 114327 h 124490"/>
                <a:gd name="connsiteX1" fmla="*/ 7622 w 171489"/>
                <a:gd name="connsiteY1" fmla="*/ 124490 h 124490"/>
                <a:gd name="connsiteX2" fmla="*/ 11433 w 171489"/>
                <a:gd name="connsiteY2" fmla="*/ 121949 h 124490"/>
                <a:gd name="connsiteX3" fmla="*/ 171490 w 171489"/>
                <a:gd name="connsiteY3" fmla="*/ 16514 h 124490"/>
                <a:gd name="connsiteX4" fmla="*/ 170219 w 171489"/>
                <a:gd name="connsiteY4" fmla="*/ 3811 h 124490"/>
                <a:gd name="connsiteX5" fmla="*/ 170219 w 171489"/>
                <a:gd name="connsiteY5" fmla="*/ 0 h 124490"/>
                <a:gd name="connsiteX6" fmla="*/ 0 w 171489"/>
                <a:gd name="connsiteY6" fmla="*/ 113057 h 124490"/>
                <a:gd name="connsiteX7" fmla="*/ 10162 w 171489"/>
                <a:gd name="connsiteY7" fmla="*/ 114327 h 1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489" h="124490">
                  <a:moveTo>
                    <a:pt x="10162" y="114327"/>
                  </a:moveTo>
                  <a:cubicBezTo>
                    <a:pt x="12703" y="118139"/>
                    <a:pt x="11433" y="121949"/>
                    <a:pt x="7622" y="124490"/>
                  </a:cubicBezTo>
                  <a:lnTo>
                    <a:pt x="11433" y="121949"/>
                  </a:lnTo>
                  <a:lnTo>
                    <a:pt x="171490" y="16514"/>
                  </a:lnTo>
                  <a:lnTo>
                    <a:pt x="170219" y="3811"/>
                  </a:lnTo>
                  <a:lnTo>
                    <a:pt x="170219" y="0"/>
                  </a:lnTo>
                  <a:lnTo>
                    <a:pt x="0" y="113057"/>
                  </a:lnTo>
                  <a:cubicBezTo>
                    <a:pt x="3811" y="109246"/>
                    <a:pt x="7622" y="110517"/>
                    <a:pt x="10162" y="114327"/>
                  </a:cubicBezTo>
                  <a:close/>
                </a:path>
              </a:pathLst>
            </a:custGeom>
            <a:solidFill>
              <a:srgbClr val="000000"/>
            </a:solidFill>
            <a:ln w="12688"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A649BA98-402E-4F51-910B-DE65E5CC1F63}"/>
                </a:ext>
              </a:extLst>
            </p:cNvPr>
            <p:cNvSpPr/>
            <p:nvPr/>
          </p:nvSpPr>
          <p:spPr>
            <a:xfrm>
              <a:off x="1387159" y="4357094"/>
              <a:ext cx="34349" cy="30538"/>
            </a:xfrm>
            <a:custGeom>
              <a:avLst/>
              <a:gdLst>
                <a:gd name="connsiteX0" fmla="*/ 13973 w 34349"/>
                <a:gd name="connsiteY0" fmla="*/ 25458 h 30538"/>
                <a:gd name="connsiteX1" fmla="*/ 12703 w 34349"/>
                <a:gd name="connsiteY1" fmla="*/ 12755 h 30538"/>
                <a:gd name="connsiteX2" fmla="*/ 19054 w 34349"/>
                <a:gd name="connsiteY2" fmla="*/ 5133 h 30538"/>
                <a:gd name="connsiteX3" fmla="*/ 26676 w 34349"/>
                <a:gd name="connsiteY3" fmla="*/ 11484 h 30538"/>
                <a:gd name="connsiteX4" fmla="*/ 26676 w 34349"/>
                <a:gd name="connsiteY4" fmla="*/ 16565 h 30538"/>
                <a:gd name="connsiteX5" fmla="*/ 30487 w 34349"/>
                <a:gd name="connsiteY5" fmla="*/ 14025 h 30538"/>
                <a:gd name="connsiteX6" fmla="*/ 33028 w 34349"/>
                <a:gd name="connsiteY6" fmla="*/ 3862 h 30538"/>
                <a:gd name="connsiteX7" fmla="*/ 22865 w 34349"/>
                <a:gd name="connsiteY7" fmla="*/ 1322 h 30538"/>
                <a:gd name="connsiteX8" fmla="*/ 7622 w 34349"/>
                <a:gd name="connsiteY8" fmla="*/ 11484 h 30538"/>
                <a:gd name="connsiteX9" fmla="*/ 0 w 34349"/>
                <a:gd name="connsiteY9" fmla="*/ 16565 h 30538"/>
                <a:gd name="connsiteX10" fmla="*/ 3811 w 34349"/>
                <a:gd name="connsiteY10" fmla="*/ 17836 h 30538"/>
                <a:gd name="connsiteX11" fmla="*/ 8892 w 34349"/>
                <a:gd name="connsiteY11" fmla="*/ 26728 h 30538"/>
                <a:gd name="connsiteX12" fmla="*/ 8892 w 34349"/>
                <a:gd name="connsiteY12" fmla="*/ 26728 h 30538"/>
                <a:gd name="connsiteX13" fmla="*/ 5081 w 34349"/>
                <a:gd name="connsiteY13" fmla="*/ 30539 h 30538"/>
                <a:gd name="connsiteX14" fmla="*/ 5081 w 34349"/>
                <a:gd name="connsiteY14" fmla="*/ 30539 h 30538"/>
                <a:gd name="connsiteX15" fmla="*/ 13973 w 34349"/>
                <a:gd name="connsiteY15" fmla="*/ 25458 h 3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349" h="30538">
                  <a:moveTo>
                    <a:pt x="13973" y="25458"/>
                  </a:moveTo>
                  <a:lnTo>
                    <a:pt x="12703" y="12755"/>
                  </a:lnTo>
                  <a:cubicBezTo>
                    <a:pt x="12703" y="8944"/>
                    <a:pt x="15244" y="5133"/>
                    <a:pt x="19054" y="5133"/>
                  </a:cubicBezTo>
                  <a:cubicBezTo>
                    <a:pt x="22865" y="5133"/>
                    <a:pt x="26676" y="7673"/>
                    <a:pt x="26676" y="11484"/>
                  </a:cubicBezTo>
                  <a:lnTo>
                    <a:pt x="26676" y="16565"/>
                  </a:lnTo>
                  <a:lnTo>
                    <a:pt x="30487" y="14025"/>
                  </a:lnTo>
                  <a:cubicBezTo>
                    <a:pt x="34298" y="11484"/>
                    <a:pt x="35568" y="7673"/>
                    <a:pt x="33028" y="3862"/>
                  </a:cubicBezTo>
                  <a:cubicBezTo>
                    <a:pt x="30487" y="51"/>
                    <a:pt x="26676" y="-1219"/>
                    <a:pt x="22865" y="1322"/>
                  </a:cubicBezTo>
                  <a:lnTo>
                    <a:pt x="7622" y="11484"/>
                  </a:lnTo>
                  <a:lnTo>
                    <a:pt x="0" y="16565"/>
                  </a:lnTo>
                  <a:lnTo>
                    <a:pt x="3811" y="17836"/>
                  </a:lnTo>
                  <a:cubicBezTo>
                    <a:pt x="7622" y="19106"/>
                    <a:pt x="10162" y="22917"/>
                    <a:pt x="8892" y="26728"/>
                  </a:cubicBezTo>
                  <a:cubicBezTo>
                    <a:pt x="8892" y="26728"/>
                    <a:pt x="8892" y="26728"/>
                    <a:pt x="8892" y="26728"/>
                  </a:cubicBezTo>
                  <a:cubicBezTo>
                    <a:pt x="8892" y="27998"/>
                    <a:pt x="7622" y="30539"/>
                    <a:pt x="5081" y="30539"/>
                  </a:cubicBezTo>
                  <a:lnTo>
                    <a:pt x="5081" y="30539"/>
                  </a:lnTo>
                  <a:lnTo>
                    <a:pt x="13973" y="25458"/>
                  </a:lnTo>
                  <a:close/>
                </a:path>
              </a:pathLst>
            </a:custGeom>
            <a:solidFill>
              <a:srgbClr val="000000"/>
            </a:solidFill>
            <a:ln w="12688"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ED0C9F7B-42CA-431F-A5B3-AB30B73082CD}"/>
                </a:ext>
              </a:extLst>
            </p:cNvPr>
            <p:cNvSpPr/>
            <p:nvPr/>
          </p:nvSpPr>
          <p:spPr>
            <a:xfrm>
              <a:off x="1387159" y="4388903"/>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lnTo>
                    <a:pt x="1270" y="0"/>
                  </a:lnTo>
                  <a:close/>
                </a:path>
              </a:pathLst>
            </a:custGeom>
            <a:solidFill>
              <a:srgbClr val="000000"/>
            </a:solidFill>
            <a:ln w="12688"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12230602-0D4D-488C-9736-C09CC8E8A2B2}"/>
                </a:ext>
              </a:extLst>
            </p:cNvPr>
            <p:cNvSpPr/>
            <p:nvPr/>
          </p:nvSpPr>
          <p:spPr>
            <a:xfrm>
              <a:off x="721526" y="1443066"/>
              <a:ext cx="29216" cy="25088"/>
            </a:xfrm>
            <a:custGeom>
              <a:avLst/>
              <a:gdLst>
                <a:gd name="connsiteX0" fmla="*/ 0 w 29216"/>
                <a:gd name="connsiteY0" fmla="*/ 19055 h 25088"/>
                <a:gd name="connsiteX1" fmla="*/ 0 w 29216"/>
                <a:gd name="connsiteY1" fmla="*/ 19055 h 25088"/>
                <a:gd name="connsiteX2" fmla="*/ 0 w 29216"/>
                <a:gd name="connsiteY2" fmla="*/ 19055 h 25088"/>
                <a:gd name="connsiteX3" fmla="*/ 1270 w 29216"/>
                <a:gd name="connsiteY3" fmla="*/ 21595 h 25088"/>
                <a:gd name="connsiteX4" fmla="*/ 2541 w 29216"/>
                <a:gd name="connsiteY4" fmla="*/ 22866 h 25088"/>
                <a:gd name="connsiteX5" fmla="*/ 3811 w 29216"/>
                <a:gd name="connsiteY5" fmla="*/ 24136 h 25088"/>
                <a:gd name="connsiteX6" fmla="*/ 5081 w 29216"/>
                <a:gd name="connsiteY6" fmla="*/ 24136 h 25088"/>
                <a:gd name="connsiteX7" fmla="*/ 10162 w 29216"/>
                <a:gd name="connsiteY7" fmla="*/ 24136 h 25088"/>
                <a:gd name="connsiteX8" fmla="*/ 27946 w 29216"/>
                <a:gd name="connsiteY8" fmla="*/ 13973 h 25088"/>
                <a:gd name="connsiteX9" fmla="*/ 29217 w 29216"/>
                <a:gd name="connsiteY9" fmla="*/ 13973 h 25088"/>
                <a:gd name="connsiteX10" fmla="*/ 19054 w 29216"/>
                <a:gd name="connsiteY10" fmla="*/ 10162 h 25088"/>
                <a:gd name="connsiteX11" fmla="*/ 22865 w 29216"/>
                <a:gd name="connsiteY11" fmla="*/ 0 h 25088"/>
                <a:gd name="connsiteX12" fmla="*/ 22865 w 29216"/>
                <a:gd name="connsiteY12" fmla="*/ 0 h 25088"/>
                <a:gd name="connsiteX13" fmla="*/ 5081 w 29216"/>
                <a:gd name="connsiteY13" fmla="*/ 10162 h 25088"/>
                <a:gd name="connsiteX14" fmla="*/ 2541 w 29216"/>
                <a:gd name="connsiteY14" fmla="*/ 10162 h 25088"/>
                <a:gd name="connsiteX15" fmla="*/ 2541 w 29216"/>
                <a:gd name="connsiteY15" fmla="*/ 10162 h 25088"/>
                <a:gd name="connsiteX16" fmla="*/ 2541 w 29216"/>
                <a:gd name="connsiteY16" fmla="*/ 10162 h 25088"/>
                <a:gd name="connsiteX17" fmla="*/ 1270 w 29216"/>
                <a:gd name="connsiteY17" fmla="*/ 11433 h 25088"/>
                <a:gd name="connsiteX18" fmla="*/ 0 w 29216"/>
                <a:gd name="connsiteY18" fmla="*/ 12703 h 25088"/>
                <a:gd name="connsiteX19" fmla="*/ 0 w 29216"/>
                <a:gd name="connsiteY19" fmla="*/ 12703 h 25088"/>
                <a:gd name="connsiteX20" fmla="*/ 0 w 29216"/>
                <a:gd name="connsiteY20" fmla="*/ 13973 h 25088"/>
                <a:gd name="connsiteX21" fmla="*/ 0 w 29216"/>
                <a:gd name="connsiteY21" fmla="*/ 15244 h 25088"/>
                <a:gd name="connsiteX22" fmla="*/ 0 w 29216"/>
                <a:gd name="connsiteY22" fmla="*/ 15244 h 25088"/>
                <a:gd name="connsiteX23" fmla="*/ 0 w 29216"/>
                <a:gd name="connsiteY23" fmla="*/ 16514 h 25088"/>
                <a:gd name="connsiteX24" fmla="*/ 0 w 29216"/>
                <a:gd name="connsiteY24" fmla="*/ 17784 h 25088"/>
                <a:gd name="connsiteX25" fmla="*/ 0 w 29216"/>
                <a:gd name="connsiteY25" fmla="*/ 17784 h 25088"/>
                <a:gd name="connsiteX26" fmla="*/ 0 w 29216"/>
                <a:gd name="connsiteY26" fmla="*/ 19055 h 2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216" h="25088">
                  <a:moveTo>
                    <a:pt x="0" y="19055"/>
                  </a:moveTo>
                  <a:cubicBezTo>
                    <a:pt x="0" y="19055"/>
                    <a:pt x="0" y="20325"/>
                    <a:pt x="0" y="19055"/>
                  </a:cubicBezTo>
                  <a:lnTo>
                    <a:pt x="0" y="19055"/>
                  </a:lnTo>
                  <a:lnTo>
                    <a:pt x="1270" y="21595"/>
                  </a:lnTo>
                  <a:cubicBezTo>
                    <a:pt x="1270" y="21595"/>
                    <a:pt x="2541" y="22866"/>
                    <a:pt x="2541" y="22866"/>
                  </a:cubicBezTo>
                  <a:cubicBezTo>
                    <a:pt x="2541" y="22866"/>
                    <a:pt x="3811" y="22866"/>
                    <a:pt x="3811" y="24136"/>
                  </a:cubicBezTo>
                  <a:lnTo>
                    <a:pt x="5081" y="24136"/>
                  </a:lnTo>
                  <a:cubicBezTo>
                    <a:pt x="6351" y="25406"/>
                    <a:pt x="8892" y="25406"/>
                    <a:pt x="10162" y="24136"/>
                  </a:cubicBezTo>
                  <a:lnTo>
                    <a:pt x="27946" y="13973"/>
                  </a:lnTo>
                  <a:lnTo>
                    <a:pt x="29217" y="13973"/>
                  </a:lnTo>
                  <a:cubicBezTo>
                    <a:pt x="25406" y="16514"/>
                    <a:pt x="21595" y="13973"/>
                    <a:pt x="19054" y="10162"/>
                  </a:cubicBezTo>
                  <a:cubicBezTo>
                    <a:pt x="16514" y="6352"/>
                    <a:pt x="19054" y="2541"/>
                    <a:pt x="22865" y="0"/>
                  </a:cubicBezTo>
                  <a:lnTo>
                    <a:pt x="22865" y="0"/>
                  </a:lnTo>
                  <a:lnTo>
                    <a:pt x="5081" y="10162"/>
                  </a:lnTo>
                  <a:lnTo>
                    <a:pt x="2541" y="10162"/>
                  </a:lnTo>
                  <a:lnTo>
                    <a:pt x="2541" y="10162"/>
                  </a:lnTo>
                  <a:lnTo>
                    <a:pt x="2541" y="10162"/>
                  </a:lnTo>
                  <a:lnTo>
                    <a:pt x="1270" y="11433"/>
                  </a:lnTo>
                  <a:cubicBezTo>
                    <a:pt x="1270" y="11433"/>
                    <a:pt x="1270" y="11433"/>
                    <a:pt x="0" y="12703"/>
                  </a:cubicBezTo>
                  <a:lnTo>
                    <a:pt x="0" y="12703"/>
                  </a:lnTo>
                  <a:cubicBezTo>
                    <a:pt x="0" y="12703"/>
                    <a:pt x="0" y="12703"/>
                    <a:pt x="0" y="13973"/>
                  </a:cubicBezTo>
                  <a:cubicBezTo>
                    <a:pt x="0" y="13973"/>
                    <a:pt x="0" y="15244"/>
                    <a:pt x="0" y="15244"/>
                  </a:cubicBezTo>
                  <a:lnTo>
                    <a:pt x="0" y="15244"/>
                  </a:lnTo>
                  <a:cubicBezTo>
                    <a:pt x="0" y="15244"/>
                    <a:pt x="0" y="16514"/>
                    <a:pt x="0" y="16514"/>
                  </a:cubicBezTo>
                  <a:cubicBezTo>
                    <a:pt x="0" y="16514"/>
                    <a:pt x="0" y="17784"/>
                    <a:pt x="0" y="17784"/>
                  </a:cubicBezTo>
                  <a:cubicBezTo>
                    <a:pt x="0" y="17784"/>
                    <a:pt x="0" y="17784"/>
                    <a:pt x="0" y="17784"/>
                  </a:cubicBezTo>
                  <a:cubicBezTo>
                    <a:pt x="0" y="17784"/>
                    <a:pt x="0" y="17784"/>
                    <a:pt x="0" y="19055"/>
                  </a:cubicBezTo>
                  <a:close/>
                </a:path>
              </a:pathLst>
            </a:custGeom>
            <a:solidFill>
              <a:srgbClr val="000000"/>
            </a:solidFill>
            <a:ln w="12688"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C250E013-0260-472B-8B65-8659F9B6F207}"/>
                </a:ext>
              </a:extLst>
            </p:cNvPr>
            <p:cNvSpPr/>
            <p:nvPr/>
          </p:nvSpPr>
          <p:spPr>
            <a:xfrm>
              <a:off x="4143695" y="2707019"/>
              <a:ext cx="39378" cy="1352874"/>
            </a:xfrm>
            <a:custGeom>
              <a:avLst/>
              <a:gdLst>
                <a:gd name="connsiteX0" fmla="*/ 39379 w 39378"/>
                <a:gd name="connsiteY0" fmla="*/ 1345253 h 1352874"/>
                <a:gd name="connsiteX1" fmla="*/ 39379 w 39378"/>
                <a:gd name="connsiteY1" fmla="*/ 1331279 h 1352874"/>
                <a:gd name="connsiteX2" fmla="*/ 15243 w 39378"/>
                <a:gd name="connsiteY2" fmla="*/ 10162 h 1352874"/>
                <a:gd name="connsiteX3" fmla="*/ 15243 w 39378"/>
                <a:gd name="connsiteY3" fmla="*/ 0 h 1352874"/>
                <a:gd name="connsiteX4" fmla="*/ 7621 w 39378"/>
                <a:gd name="connsiteY4" fmla="*/ 7622 h 1352874"/>
                <a:gd name="connsiteX5" fmla="*/ 7621 w 39378"/>
                <a:gd name="connsiteY5" fmla="*/ 7622 h 1352874"/>
                <a:gd name="connsiteX6" fmla="*/ 0 w 39378"/>
                <a:gd name="connsiteY6" fmla="*/ 0 h 1352874"/>
                <a:gd name="connsiteX7" fmla="*/ 0 w 39378"/>
                <a:gd name="connsiteY7" fmla="*/ 0 h 1352874"/>
                <a:gd name="connsiteX8" fmla="*/ 24135 w 39378"/>
                <a:gd name="connsiteY8" fmla="*/ 1345253 h 1352874"/>
                <a:gd name="connsiteX9" fmla="*/ 24135 w 39378"/>
                <a:gd name="connsiteY9" fmla="*/ 1346523 h 1352874"/>
                <a:gd name="connsiteX10" fmla="*/ 24135 w 39378"/>
                <a:gd name="connsiteY10" fmla="*/ 1347794 h 1352874"/>
                <a:gd name="connsiteX11" fmla="*/ 25406 w 39378"/>
                <a:gd name="connsiteY11" fmla="*/ 1349064 h 1352874"/>
                <a:gd name="connsiteX12" fmla="*/ 26676 w 39378"/>
                <a:gd name="connsiteY12" fmla="*/ 1351604 h 1352874"/>
                <a:gd name="connsiteX13" fmla="*/ 27946 w 39378"/>
                <a:gd name="connsiteY13" fmla="*/ 1352875 h 1352874"/>
                <a:gd name="connsiteX14" fmla="*/ 29217 w 39378"/>
                <a:gd name="connsiteY14" fmla="*/ 1352875 h 1352874"/>
                <a:gd name="connsiteX15" fmla="*/ 30487 w 39378"/>
                <a:gd name="connsiteY15" fmla="*/ 1352875 h 1352874"/>
                <a:gd name="connsiteX16" fmla="*/ 30487 w 39378"/>
                <a:gd name="connsiteY16" fmla="*/ 1352875 h 1352874"/>
                <a:gd name="connsiteX17" fmla="*/ 31757 w 39378"/>
                <a:gd name="connsiteY17" fmla="*/ 1352875 h 1352874"/>
                <a:gd name="connsiteX18" fmla="*/ 33027 w 39378"/>
                <a:gd name="connsiteY18" fmla="*/ 1352875 h 1352874"/>
                <a:gd name="connsiteX19" fmla="*/ 34298 w 39378"/>
                <a:gd name="connsiteY19" fmla="*/ 1352875 h 1352874"/>
                <a:gd name="connsiteX20" fmla="*/ 39379 w 39378"/>
                <a:gd name="connsiteY20" fmla="*/ 1345253 h 135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378" h="1352874">
                  <a:moveTo>
                    <a:pt x="39379" y="1345253"/>
                  </a:moveTo>
                  <a:lnTo>
                    <a:pt x="39379" y="1331279"/>
                  </a:lnTo>
                  <a:lnTo>
                    <a:pt x="15243" y="10162"/>
                  </a:lnTo>
                  <a:lnTo>
                    <a:pt x="15243" y="0"/>
                  </a:lnTo>
                  <a:cubicBezTo>
                    <a:pt x="15243" y="3811"/>
                    <a:pt x="12703" y="7622"/>
                    <a:pt x="7621" y="7622"/>
                  </a:cubicBezTo>
                  <a:cubicBezTo>
                    <a:pt x="7621" y="7622"/>
                    <a:pt x="7621" y="7622"/>
                    <a:pt x="7621" y="7622"/>
                  </a:cubicBezTo>
                  <a:cubicBezTo>
                    <a:pt x="3811" y="7622"/>
                    <a:pt x="0" y="3811"/>
                    <a:pt x="0" y="0"/>
                  </a:cubicBezTo>
                  <a:cubicBezTo>
                    <a:pt x="0" y="0"/>
                    <a:pt x="0" y="0"/>
                    <a:pt x="0" y="0"/>
                  </a:cubicBezTo>
                  <a:lnTo>
                    <a:pt x="24135" y="1345253"/>
                  </a:lnTo>
                  <a:cubicBezTo>
                    <a:pt x="24135" y="1345253"/>
                    <a:pt x="24135" y="1345253"/>
                    <a:pt x="24135" y="1346523"/>
                  </a:cubicBezTo>
                  <a:cubicBezTo>
                    <a:pt x="24135" y="1346523"/>
                    <a:pt x="24135" y="1347794"/>
                    <a:pt x="24135" y="1347794"/>
                  </a:cubicBezTo>
                  <a:cubicBezTo>
                    <a:pt x="24135" y="1347794"/>
                    <a:pt x="24135" y="1349064"/>
                    <a:pt x="25406" y="1349064"/>
                  </a:cubicBezTo>
                  <a:cubicBezTo>
                    <a:pt x="25406" y="1350334"/>
                    <a:pt x="26676" y="1350334"/>
                    <a:pt x="26676" y="1351604"/>
                  </a:cubicBezTo>
                  <a:lnTo>
                    <a:pt x="27946" y="1352875"/>
                  </a:lnTo>
                  <a:lnTo>
                    <a:pt x="29217" y="1352875"/>
                  </a:lnTo>
                  <a:lnTo>
                    <a:pt x="30487" y="1352875"/>
                  </a:lnTo>
                  <a:lnTo>
                    <a:pt x="30487" y="1352875"/>
                  </a:lnTo>
                  <a:lnTo>
                    <a:pt x="31757" y="1352875"/>
                  </a:lnTo>
                  <a:lnTo>
                    <a:pt x="33027" y="1352875"/>
                  </a:lnTo>
                  <a:lnTo>
                    <a:pt x="34298" y="1352875"/>
                  </a:lnTo>
                  <a:cubicBezTo>
                    <a:pt x="36838" y="1350334"/>
                    <a:pt x="38109" y="1347794"/>
                    <a:pt x="39379" y="1345253"/>
                  </a:cubicBezTo>
                  <a:close/>
                </a:path>
              </a:pathLst>
            </a:custGeom>
            <a:solidFill>
              <a:srgbClr val="000000"/>
            </a:solidFill>
            <a:ln w="12688"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7DDFE621-6838-4125-B207-1FDB35620E35}"/>
                </a:ext>
              </a:extLst>
            </p:cNvPr>
            <p:cNvSpPr/>
            <p:nvPr/>
          </p:nvSpPr>
          <p:spPr>
            <a:xfrm>
              <a:off x="4092884" y="0"/>
              <a:ext cx="64784" cy="2714641"/>
            </a:xfrm>
            <a:custGeom>
              <a:avLst/>
              <a:gdLst>
                <a:gd name="connsiteX0" fmla="*/ 57163 w 64784"/>
                <a:gd name="connsiteY0" fmla="*/ 2714642 h 2714641"/>
                <a:gd name="connsiteX1" fmla="*/ 64785 w 64784"/>
                <a:gd name="connsiteY1" fmla="*/ 2707020 h 2714641"/>
                <a:gd name="connsiteX2" fmla="*/ 64785 w 64784"/>
                <a:gd name="connsiteY2" fmla="*/ 2707020 h 2714641"/>
                <a:gd name="connsiteX3" fmla="*/ 64785 w 64784"/>
                <a:gd name="connsiteY3" fmla="*/ 2700668 h 2714641"/>
                <a:gd name="connsiteX4" fmla="*/ 15243 w 64784"/>
                <a:gd name="connsiteY4" fmla="*/ 0 h 2714641"/>
                <a:gd name="connsiteX5" fmla="*/ 0 w 64784"/>
                <a:gd name="connsiteY5" fmla="*/ 0 h 2714641"/>
                <a:gd name="connsiteX6" fmla="*/ 49541 w 64784"/>
                <a:gd name="connsiteY6" fmla="*/ 2707020 h 2714641"/>
                <a:gd name="connsiteX7" fmla="*/ 57163 w 64784"/>
                <a:gd name="connsiteY7" fmla="*/ 2714642 h 2714641"/>
                <a:gd name="connsiteX8" fmla="*/ 57163 w 64784"/>
                <a:gd name="connsiteY8" fmla="*/ 2714642 h 271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84" h="2714641">
                  <a:moveTo>
                    <a:pt x="57163" y="2714642"/>
                  </a:moveTo>
                  <a:cubicBezTo>
                    <a:pt x="60974" y="2714642"/>
                    <a:pt x="64785" y="2710831"/>
                    <a:pt x="64785" y="2707020"/>
                  </a:cubicBezTo>
                  <a:cubicBezTo>
                    <a:pt x="64785" y="2707020"/>
                    <a:pt x="64785" y="2707020"/>
                    <a:pt x="64785" y="2707020"/>
                  </a:cubicBezTo>
                  <a:lnTo>
                    <a:pt x="64785" y="2700668"/>
                  </a:lnTo>
                  <a:lnTo>
                    <a:pt x="15243" y="0"/>
                  </a:lnTo>
                  <a:lnTo>
                    <a:pt x="0" y="0"/>
                  </a:lnTo>
                  <a:lnTo>
                    <a:pt x="49541" y="2707020"/>
                  </a:lnTo>
                  <a:cubicBezTo>
                    <a:pt x="49541" y="2710831"/>
                    <a:pt x="53352" y="2714642"/>
                    <a:pt x="57163" y="2714642"/>
                  </a:cubicBezTo>
                  <a:cubicBezTo>
                    <a:pt x="57163" y="2714642"/>
                    <a:pt x="57163" y="2714642"/>
                    <a:pt x="57163" y="2714642"/>
                  </a:cubicBezTo>
                  <a:close/>
                </a:path>
              </a:pathLst>
            </a:custGeom>
            <a:solidFill>
              <a:srgbClr val="000000"/>
            </a:solidFill>
            <a:ln w="12688"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50485DFF-966F-405A-B8B0-075A76F6E9FD}"/>
                </a:ext>
              </a:extLst>
            </p:cNvPr>
            <p:cNvSpPr/>
            <p:nvPr/>
          </p:nvSpPr>
          <p:spPr>
            <a:xfrm>
              <a:off x="3095703" y="1106435"/>
              <a:ext cx="77487" cy="1581529"/>
            </a:xfrm>
            <a:custGeom>
              <a:avLst/>
              <a:gdLst>
                <a:gd name="connsiteX0" fmla="*/ 7622 w 77487"/>
                <a:gd name="connsiteY0" fmla="*/ 7622 h 1581529"/>
                <a:gd name="connsiteX1" fmla="*/ 0 w 77487"/>
                <a:gd name="connsiteY1" fmla="*/ 0 h 1581529"/>
                <a:gd name="connsiteX2" fmla="*/ 0 w 77487"/>
                <a:gd name="connsiteY2" fmla="*/ 12703 h 1581529"/>
                <a:gd name="connsiteX3" fmla="*/ 62244 w 77487"/>
                <a:gd name="connsiteY3" fmla="*/ 1577719 h 1581529"/>
                <a:gd name="connsiteX4" fmla="*/ 72407 w 77487"/>
                <a:gd name="connsiteY4" fmla="*/ 1580259 h 1581529"/>
                <a:gd name="connsiteX5" fmla="*/ 77488 w 77487"/>
                <a:gd name="connsiteY5" fmla="*/ 1581530 h 1581529"/>
                <a:gd name="connsiteX6" fmla="*/ 13973 w 77487"/>
                <a:gd name="connsiteY6" fmla="*/ 0 h 1581529"/>
                <a:gd name="connsiteX7" fmla="*/ 7622 w 77487"/>
                <a:gd name="connsiteY7" fmla="*/ 7622 h 158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487" h="1581529">
                  <a:moveTo>
                    <a:pt x="7622" y="7622"/>
                  </a:moveTo>
                  <a:cubicBezTo>
                    <a:pt x="3811" y="7622"/>
                    <a:pt x="0" y="5081"/>
                    <a:pt x="0" y="0"/>
                  </a:cubicBezTo>
                  <a:lnTo>
                    <a:pt x="0" y="12703"/>
                  </a:lnTo>
                  <a:lnTo>
                    <a:pt x="62244" y="1577719"/>
                  </a:lnTo>
                  <a:lnTo>
                    <a:pt x="72407" y="1580259"/>
                  </a:lnTo>
                  <a:lnTo>
                    <a:pt x="77488" y="1581530"/>
                  </a:lnTo>
                  <a:lnTo>
                    <a:pt x="13973" y="0"/>
                  </a:lnTo>
                  <a:cubicBezTo>
                    <a:pt x="12703" y="3811"/>
                    <a:pt x="10162" y="7622"/>
                    <a:pt x="7622" y="7622"/>
                  </a:cubicBezTo>
                  <a:close/>
                </a:path>
              </a:pathLst>
            </a:custGeom>
            <a:solidFill>
              <a:srgbClr val="000000"/>
            </a:solidFill>
            <a:ln w="12688"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87E838C3-853A-441D-962D-8F707D2AFE54}"/>
                </a:ext>
              </a:extLst>
            </p:cNvPr>
            <p:cNvSpPr/>
            <p:nvPr/>
          </p:nvSpPr>
          <p:spPr>
            <a:xfrm>
              <a:off x="5820482" y="3103354"/>
              <a:ext cx="22865" cy="403956"/>
            </a:xfrm>
            <a:custGeom>
              <a:avLst/>
              <a:gdLst>
                <a:gd name="connsiteX0" fmla="*/ 7621 w 22865"/>
                <a:gd name="connsiteY0" fmla="*/ 5081 h 403956"/>
                <a:gd name="connsiteX1" fmla="*/ 7621 w 22865"/>
                <a:gd name="connsiteY1" fmla="*/ 11433 h 403956"/>
                <a:gd name="connsiteX2" fmla="*/ 0 w 22865"/>
                <a:gd name="connsiteY2" fmla="*/ 392524 h 403956"/>
                <a:gd name="connsiteX3" fmla="*/ 0 w 22865"/>
                <a:gd name="connsiteY3" fmla="*/ 396335 h 403956"/>
                <a:gd name="connsiteX4" fmla="*/ 7621 w 22865"/>
                <a:gd name="connsiteY4" fmla="*/ 403957 h 403956"/>
                <a:gd name="connsiteX5" fmla="*/ 7621 w 22865"/>
                <a:gd name="connsiteY5" fmla="*/ 403957 h 403956"/>
                <a:gd name="connsiteX6" fmla="*/ 12703 w 22865"/>
                <a:gd name="connsiteY6" fmla="*/ 402687 h 403956"/>
                <a:gd name="connsiteX7" fmla="*/ 13973 w 22865"/>
                <a:gd name="connsiteY7" fmla="*/ 401416 h 403956"/>
                <a:gd name="connsiteX8" fmla="*/ 15243 w 22865"/>
                <a:gd name="connsiteY8" fmla="*/ 400146 h 403956"/>
                <a:gd name="connsiteX9" fmla="*/ 15243 w 22865"/>
                <a:gd name="connsiteY9" fmla="*/ 398876 h 403956"/>
                <a:gd name="connsiteX10" fmla="*/ 15243 w 22865"/>
                <a:gd name="connsiteY10" fmla="*/ 397605 h 403956"/>
                <a:gd name="connsiteX11" fmla="*/ 15243 w 22865"/>
                <a:gd name="connsiteY11" fmla="*/ 397605 h 403956"/>
                <a:gd name="connsiteX12" fmla="*/ 22865 w 22865"/>
                <a:gd name="connsiteY12" fmla="*/ 7622 h 403956"/>
                <a:gd name="connsiteX13" fmla="*/ 22865 w 22865"/>
                <a:gd name="connsiteY13" fmla="*/ 6352 h 403956"/>
                <a:gd name="connsiteX14" fmla="*/ 22865 w 22865"/>
                <a:gd name="connsiteY14" fmla="*/ 5081 h 403956"/>
                <a:gd name="connsiteX15" fmla="*/ 22865 w 22865"/>
                <a:gd name="connsiteY15" fmla="*/ 3811 h 403956"/>
                <a:gd name="connsiteX16" fmla="*/ 21595 w 22865"/>
                <a:gd name="connsiteY16" fmla="*/ 2541 h 403956"/>
                <a:gd name="connsiteX17" fmla="*/ 20324 w 22865"/>
                <a:gd name="connsiteY17" fmla="*/ 1270 h 403956"/>
                <a:gd name="connsiteX18" fmla="*/ 19054 w 22865"/>
                <a:gd name="connsiteY18" fmla="*/ 0 h 403956"/>
                <a:gd name="connsiteX19" fmla="*/ 17784 w 22865"/>
                <a:gd name="connsiteY19" fmla="*/ 0 h 403956"/>
                <a:gd name="connsiteX20" fmla="*/ 15243 w 22865"/>
                <a:gd name="connsiteY20" fmla="*/ 0 h 403956"/>
                <a:gd name="connsiteX21" fmla="*/ 7621 w 22865"/>
                <a:gd name="connsiteY21" fmla="*/ 5081 h 40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5" h="403956">
                  <a:moveTo>
                    <a:pt x="7621" y="5081"/>
                  </a:moveTo>
                  <a:lnTo>
                    <a:pt x="7621" y="11433"/>
                  </a:lnTo>
                  <a:lnTo>
                    <a:pt x="0" y="392524"/>
                  </a:lnTo>
                  <a:lnTo>
                    <a:pt x="0" y="396335"/>
                  </a:lnTo>
                  <a:cubicBezTo>
                    <a:pt x="0" y="400146"/>
                    <a:pt x="2540" y="403957"/>
                    <a:pt x="7621" y="403957"/>
                  </a:cubicBezTo>
                  <a:cubicBezTo>
                    <a:pt x="7621" y="403957"/>
                    <a:pt x="7621" y="403957"/>
                    <a:pt x="7621" y="403957"/>
                  </a:cubicBezTo>
                  <a:cubicBezTo>
                    <a:pt x="8892" y="403957"/>
                    <a:pt x="11433" y="402687"/>
                    <a:pt x="12703" y="402687"/>
                  </a:cubicBezTo>
                  <a:cubicBezTo>
                    <a:pt x="12703" y="402687"/>
                    <a:pt x="13973" y="401416"/>
                    <a:pt x="13973" y="401416"/>
                  </a:cubicBezTo>
                  <a:lnTo>
                    <a:pt x="15243" y="400146"/>
                  </a:lnTo>
                  <a:cubicBezTo>
                    <a:pt x="15243" y="400146"/>
                    <a:pt x="15243" y="398876"/>
                    <a:pt x="15243" y="398876"/>
                  </a:cubicBezTo>
                  <a:cubicBezTo>
                    <a:pt x="15243" y="398876"/>
                    <a:pt x="15243" y="397605"/>
                    <a:pt x="15243" y="397605"/>
                  </a:cubicBezTo>
                  <a:lnTo>
                    <a:pt x="15243" y="397605"/>
                  </a:lnTo>
                  <a:lnTo>
                    <a:pt x="22865" y="7622"/>
                  </a:lnTo>
                  <a:cubicBezTo>
                    <a:pt x="22865" y="7622"/>
                    <a:pt x="22865" y="7622"/>
                    <a:pt x="22865" y="6352"/>
                  </a:cubicBezTo>
                  <a:cubicBezTo>
                    <a:pt x="22865" y="6352"/>
                    <a:pt x="22865" y="5081"/>
                    <a:pt x="22865" y="5081"/>
                  </a:cubicBezTo>
                  <a:cubicBezTo>
                    <a:pt x="22865" y="5081"/>
                    <a:pt x="22865" y="3811"/>
                    <a:pt x="22865" y="3811"/>
                  </a:cubicBezTo>
                  <a:cubicBezTo>
                    <a:pt x="22865" y="3811"/>
                    <a:pt x="22865" y="2541"/>
                    <a:pt x="21595" y="2541"/>
                  </a:cubicBezTo>
                  <a:cubicBezTo>
                    <a:pt x="21595" y="2541"/>
                    <a:pt x="21595" y="1270"/>
                    <a:pt x="20324" y="1270"/>
                  </a:cubicBezTo>
                  <a:lnTo>
                    <a:pt x="19054" y="0"/>
                  </a:lnTo>
                  <a:lnTo>
                    <a:pt x="17784" y="0"/>
                  </a:lnTo>
                  <a:cubicBezTo>
                    <a:pt x="16514" y="0"/>
                    <a:pt x="16514" y="0"/>
                    <a:pt x="15243" y="0"/>
                  </a:cubicBezTo>
                  <a:cubicBezTo>
                    <a:pt x="11433" y="0"/>
                    <a:pt x="7621" y="1270"/>
                    <a:pt x="7621" y="5081"/>
                  </a:cubicBezTo>
                  <a:close/>
                </a:path>
              </a:pathLst>
            </a:custGeom>
            <a:solidFill>
              <a:srgbClr val="000000"/>
            </a:solidFill>
            <a:ln w="12688"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3459463C-166B-4130-A086-B910A7767138}"/>
                </a:ext>
              </a:extLst>
            </p:cNvPr>
            <p:cNvSpPr/>
            <p:nvPr/>
          </p:nvSpPr>
          <p:spPr>
            <a:xfrm>
              <a:off x="473819" y="6641153"/>
              <a:ext cx="28195" cy="127030"/>
            </a:xfrm>
            <a:custGeom>
              <a:avLst/>
              <a:gdLst>
                <a:gd name="connsiteX0" fmla="*/ 15244 w 28195"/>
                <a:gd name="connsiteY0" fmla="*/ 121950 h 127030"/>
                <a:gd name="connsiteX1" fmla="*/ 15244 w 28195"/>
                <a:gd name="connsiteY1" fmla="*/ 121950 h 127030"/>
                <a:gd name="connsiteX2" fmla="*/ 16514 w 28195"/>
                <a:gd name="connsiteY2" fmla="*/ 124490 h 127030"/>
                <a:gd name="connsiteX3" fmla="*/ 17784 w 28195"/>
                <a:gd name="connsiteY3" fmla="*/ 125760 h 127030"/>
                <a:gd name="connsiteX4" fmla="*/ 21595 w 28195"/>
                <a:gd name="connsiteY4" fmla="*/ 127030 h 127030"/>
                <a:gd name="connsiteX5" fmla="*/ 27946 w 28195"/>
                <a:gd name="connsiteY5" fmla="*/ 119409 h 127030"/>
                <a:gd name="connsiteX6" fmla="*/ 27946 w 28195"/>
                <a:gd name="connsiteY6" fmla="*/ 119409 h 127030"/>
                <a:gd name="connsiteX7" fmla="*/ 27946 w 28195"/>
                <a:gd name="connsiteY7" fmla="*/ 114327 h 127030"/>
                <a:gd name="connsiteX8" fmla="*/ 16514 w 28195"/>
                <a:gd name="connsiteY8" fmla="*/ 12703 h 127030"/>
                <a:gd name="connsiteX9" fmla="*/ 15244 w 28195"/>
                <a:gd name="connsiteY9" fmla="*/ 0 h 127030"/>
                <a:gd name="connsiteX10" fmla="*/ 8892 w 28195"/>
                <a:gd name="connsiteY10" fmla="*/ 7622 h 127030"/>
                <a:gd name="connsiteX11" fmla="*/ 8892 w 28195"/>
                <a:gd name="connsiteY11" fmla="*/ 7622 h 127030"/>
                <a:gd name="connsiteX12" fmla="*/ 0 w 28195"/>
                <a:gd name="connsiteY12" fmla="*/ 1271 h 127030"/>
                <a:gd name="connsiteX13" fmla="*/ 12703 w 28195"/>
                <a:gd name="connsiteY13" fmla="*/ 120679 h 127030"/>
                <a:gd name="connsiteX14" fmla="*/ 12703 w 28195"/>
                <a:gd name="connsiteY14" fmla="*/ 121950 h 127030"/>
                <a:gd name="connsiteX15" fmla="*/ 15244 w 28195"/>
                <a:gd name="connsiteY15" fmla="*/ 121950 h 12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95" h="127030">
                  <a:moveTo>
                    <a:pt x="15244" y="121950"/>
                  </a:moveTo>
                  <a:cubicBezTo>
                    <a:pt x="15244" y="123220"/>
                    <a:pt x="16514" y="123220"/>
                    <a:pt x="15244" y="121950"/>
                  </a:cubicBezTo>
                  <a:cubicBezTo>
                    <a:pt x="16514" y="123220"/>
                    <a:pt x="16514" y="124490"/>
                    <a:pt x="16514" y="124490"/>
                  </a:cubicBezTo>
                  <a:cubicBezTo>
                    <a:pt x="16514" y="124490"/>
                    <a:pt x="17784" y="125760"/>
                    <a:pt x="17784" y="125760"/>
                  </a:cubicBezTo>
                  <a:cubicBezTo>
                    <a:pt x="19054" y="127030"/>
                    <a:pt x="20325" y="127030"/>
                    <a:pt x="21595" y="127030"/>
                  </a:cubicBezTo>
                  <a:cubicBezTo>
                    <a:pt x="25406" y="127030"/>
                    <a:pt x="29217" y="123220"/>
                    <a:pt x="27946" y="119409"/>
                  </a:cubicBezTo>
                  <a:cubicBezTo>
                    <a:pt x="27946" y="119409"/>
                    <a:pt x="27946" y="119409"/>
                    <a:pt x="27946" y="119409"/>
                  </a:cubicBezTo>
                  <a:lnTo>
                    <a:pt x="27946" y="114327"/>
                  </a:lnTo>
                  <a:lnTo>
                    <a:pt x="16514" y="12703"/>
                  </a:lnTo>
                  <a:lnTo>
                    <a:pt x="15244" y="0"/>
                  </a:lnTo>
                  <a:cubicBezTo>
                    <a:pt x="15244" y="3811"/>
                    <a:pt x="12703" y="7622"/>
                    <a:pt x="8892" y="7622"/>
                  </a:cubicBezTo>
                  <a:cubicBezTo>
                    <a:pt x="8892" y="7622"/>
                    <a:pt x="8892" y="7622"/>
                    <a:pt x="8892" y="7622"/>
                  </a:cubicBezTo>
                  <a:cubicBezTo>
                    <a:pt x="5081" y="7622"/>
                    <a:pt x="1270" y="5082"/>
                    <a:pt x="0" y="1271"/>
                  </a:cubicBezTo>
                  <a:lnTo>
                    <a:pt x="12703" y="120679"/>
                  </a:lnTo>
                  <a:cubicBezTo>
                    <a:pt x="12703" y="120679"/>
                    <a:pt x="12703" y="120679"/>
                    <a:pt x="12703" y="121950"/>
                  </a:cubicBezTo>
                  <a:cubicBezTo>
                    <a:pt x="15244" y="120679"/>
                    <a:pt x="15244" y="121950"/>
                    <a:pt x="15244" y="121950"/>
                  </a:cubicBezTo>
                  <a:close/>
                </a:path>
              </a:pathLst>
            </a:custGeom>
            <a:solidFill>
              <a:srgbClr val="000000"/>
            </a:solidFill>
            <a:ln w="12688"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5B5D6752-9E6F-4A61-AEAA-52AC56406E9C}"/>
                </a:ext>
              </a:extLst>
            </p:cNvPr>
            <p:cNvSpPr/>
            <p:nvPr/>
          </p:nvSpPr>
          <p:spPr>
            <a:xfrm>
              <a:off x="3164299" y="2685424"/>
              <a:ext cx="193084" cy="59704"/>
            </a:xfrm>
            <a:custGeom>
              <a:avLst/>
              <a:gdLst>
                <a:gd name="connsiteX0" fmla="*/ 8892 w 193084"/>
                <a:gd name="connsiteY0" fmla="*/ 10162 h 59704"/>
                <a:gd name="connsiteX1" fmla="*/ 0 w 193084"/>
                <a:gd name="connsiteY1" fmla="*/ 15244 h 59704"/>
                <a:gd name="connsiteX2" fmla="*/ 167678 w 193084"/>
                <a:gd name="connsiteY2" fmla="*/ 55894 h 59704"/>
                <a:gd name="connsiteX3" fmla="*/ 184192 w 193084"/>
                <a:gd name="connsiteY3" fmla="*/ 59704 h 59704"/>
                <a:gd name="connsiteX4" fmla="*/ 190544 w 193084"/>
                <a:gd name="connsiteY4" fmla="*/ 58434 h 59704"/>
                <a:gd name="connsiteX5" fmla="*/ 191814 w 193084"/>
                <a:gd name="connsiteY5" fmla="*/ 57164 h 59704"/>
                <a:gd name="connsiteX6" fmla="*/ 193084 w 193084"/>
                <a:gd name="connsiteY6" fmla="*/ 55894 h 59704"/>
                <a:gd name="connsiteX7" fmla="*/ 193084 w 193084"/>
                <a:gd name="connsiteY7" fmla="*/ 54623 h 59704"/>
                <a:gd name="connsiteX8" fmla="*/ 193084 w 193084"/>
                <a:gd name="connsiteY8" fmla="*/ 54623 h 59704"/>
                <a:gd name="connsiteX9" fmla="*/ 193084 w 193084"/>
                <a:gd name="connsiteY9" fmla="*/ 53353 h 59704"/>
                <a:gd name="connsiteX10" fmla="*/ 193084 w 193084"/>
                <a:gd name="connsiteY10" fmla="*/ 52083 h 59704"/>
                <a:gd name="connsiteX11" fmla="*/ 193084 w 193084"/>
                <a:gd name="connsiteY11" fmla="*/ 50812 h 59704"/>
                <a:gd name="connsiteX12" fmla="*/ 193084 w 193084"/>
                <a:gd name="connsiteY12" fmla="*/ 50812 h 59704"/>
                <a:gd name="connsiteX13" fmla="*/ 193084 w 193084"/>
                <a:gd name="connsiteY13" fmla="*/ 49542 h 59704"/>
                <a:gd name="connsiteX14" fmla="*/ 193084 w 193084"/>
                <a:gd name="connsiteY14" fmla="*/ 49542 h 59704"/>
                <a:gd name="connsiteX15" fmla="*/ 191814 w 193084"/>
                <a:gd name="connsiteY15" fmla="*/ 48272 h 59704"/>
                <a:gd name="connsiteX16" fmla="*/ 190544 w 193084"/>
                <a:gd name="connsiteY16" fmla="*/ 47001 h 59704"/>
                <a:gd name="connsiteX17" fmla="*/ 190544 w 193084"/>
                <a:gd name="connsiteY17" fmla="*/ 47001 h 59704"/>
                <a:gd name="connsiteX18" fmla="*/ 189274 w 193084"/>
                <a:gd name="connsiteY18" fmla="*/ 45731 h 59704"/>
                <a:gd name="connsiteX19" fmla="*/ 189274 w 193084"/>
                <a:gd name="connsiteY19" fmla="*/ 45731 h 59704"/>
                <a:gd name="connsiteX20" fmla="*/ 189274 w 193084"/>
                <a:gd name="connsiteY20" fmla="*/ 45731 h 59704"/>
                <a:gd name="connsiteX21" fmla="*/ 10162 w 193084"/>
                <a:gd name="connsiteY21" fmla="*/ 1270 h 59704"/>
                <a:gd name="connsiteX22" fmla="*/ 5081 w 193084"/>
                <a:gd name="connsiteY22" fmla="*/ 0 h 59704"/>
                <a:gd name="connsiteX23" fmla="*/ 8892 w 193084"/>
                <a:gd name="connsiteY23" fmla="*/ 10162 h 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3084" h="59704">
                  <a:moveTo>
                    <a:pt x="8892" y="10162"/>
                  </a:moveTo>
                  <a:cubicBezTo>
                    <a:pt x="7622" y="13973"/>
                    <a:pt x="3811" y="16514"/>
                    <a:pt x="0" y="15244"/>
                  </a:cubicBezTo>
                  <a:lnTo>
                    <a:pt x="167678" y="55894"/>
                  </a:lnTo>
                  <a:lnTo>
                    <a:pt x="184192" y="59704"/>
                  </a:lnTo>
                  <a:cubicBezTo>
                    <a:pt x="186733" y="59704"/>
                    <a:pt x="189274" y="59704"/>
                    <a:pt x="190544" y="58434"/>
                  </a:cubicBezTo>
                  <a:cubicBezTo>
                    <a:pt x="190544" y="58434"/>
                    <a:pt x="191814" y="58434"/>
                    <a:pt x="191814" y="57164"/>
                  </a:cubicBezTo>
                  <a:cubicBezTo>
                    <a:pt x="191814" y="57164"/>
                    <a:pt x="193084" y="55894"/>
                    <a:pt x="193084" y="55894"/>
                  </a:cubicBezTo>
                  <a:lnTo>
                    <a:pt x="193084" y="54623"/>
                  </a:lnTo>
                  <a:lnTo>
                    <a:pt x="193084" y="54623"/>
                  </a:lnTo>
                  <a:cubicBezTo>
                    <a:pt x="193084" y="54623"/>
                    <a:pt x="193084" y="53353"/>
                    <a:pt x="193084" y="53353"/>
                  </a:cubicBezTo>
                  <a:lnTo>
                    <a:pt x="193084" y="52083"/>
                  </a:lnTo>
                  <a:lnTo>
                    <a:pt x="193084" y="50812"/>
                  </a:lnTo>
                  <a:lnTo>
                    <a:pt x="193084" y="50812"/>
                  </a:lnTo>
                  <a:cubicBezTo>
                    <a:pt x="193084" y="50812"/>
                    <a:pt x="193084" y="49542"/>
                    <a:pt x="193084" y="49542"/>
                  </a:cubicBezTo>
                  <a:lnTo>
                    <a:pt x="193084" y="49542"/>
                  </a:lnTo>
                  <a:lnTo>
                    <a:pt x="191814" y="48272"/>
                  </a:lnTo>
                  <a:lnTo>
                    <a:pt x="190544" y="47001"/>
                  </a:lnTo>
                  <a:lnTo>
                    <a:pt x="190544" y="47001"/>
                  </a:lnTo>
                  <a:cubicBezTo>
                    <a:pt x="190544" y="47001"/>
                    <a:pt x="189274" y="47001"/>
                    <a:pt x="189274" y="45731"/>
                  </a:cubicBezTo>
                  <a:lnTo>
                    <a:pt x="189274" y="45731"/>
                  </a:lnTo>
                  <a:lnTo>
                    <a:pt x="189274" y="45731"/>
                  </a:lnTo>
                  <a:lnTo>
                    <a:pt x="10162" y="1270"/>
                  </a:lnTo>
                  <a:lnTo>
                    <a:pt x="5081" y="0"/>
                  </a:lnTo>
                  <a:cubicBezTo>
                    <a:pt x="7622" y="3811"/>
                    <a:pt x="8892" y="6352"/>
                    <a:pt x="8892" y="10162"/>
                  </a:cubicBezTo>
                  <a:close/>
                </a:path>
              </a:pathLst>
            </a:custGeom>
            <a:solidFill>
              <a:srgbClr val="000000"/>
            </a:solidFill>
            <a:ln w="12688"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F6C0FFEF-A8DC-47F1-BC2A-29AC8790574F}"/>
                </a:ext>
              </a:extLst>
            </p:cNvPr>
            <p:cNvSpPr/>
            <p:nvPr/>
          </p:nvSpPr>
          <p:spPr>
            <a:xfrm>
              <a:off x="2774319" y="3099017"/>
              <a:ext cx="598308" cy="166936"/>
            </a:xfrm>
            <a:custGeom>
              <a:avLst/>
              <a:gdLst>
                <a:gd name="connsiteX0" fmla="*/ 8892 w 598308"/>
                <a:gd name="connsiteY0" fmla="*/ 526 h 166936"/>
                <a:gd name="connsiteX1" fmla="*/ 2541 w 598308"/>
                <a:gd name="connsiteY1" fmla="*/ 1797 h 166936"/>
                <a:gd name="connsiteX2" fmla="*/ 1270 w 598308"/>
                <a:gd name="connsiteY2" fmla="*/ 3067 h 166936"/>
                <a:gd name="connsiteX3" fmla="*/ 0 w 598308"/>
                <a:gd name="connsiteY3" fmla="*/ 4337 h 166936"/>
                <a:gd name="connsiteX4" fmla="*/ 0 w 598308"/>
                <a:gd name="connsiteY4" fmla="*/ 5607 h 166936"/>
                <a:gd name="connsiteX5" fmla="*/ 0 w 598308"/>
                <a:gd name="connsiteY5" fmla="*/ 5607 h 166936"/>
                <a:gd name="connsiteX6" fmla="*/ 0 w 598308"/>
                <a:gd name="connsiteY6" fmla="*/ 6878 h 166936"/>
                <a:gd name="connsiteX7" fmla="*/ 0 w 598308"/>
                <a:gd name="connsiteY7" fmla="*/ 8148 h 166936"/>
                <a:gd name="connsiteX8" fmla="*/ 0 w 598308"/>
                <a:gd name="connsiteY8" fmla="*/ 9418 h 166936"/>
                <a:gd name="connsiteX9" fmla="*/ 1270 w 598308"/>
                <a:gd name="connsiteY9" fmla="*/ 10689 h 166936"/>
                <a:gd name="connsiteX10" fmla="*/ 2541 w 598308"/>
                <a:gd name="connsiteY10" fmla="*/ 11959 h 166936"/>
                <a:gd name="connsiteX11" fmla="*/ 3811 w 598308"/>
                <a:gd name="connsiteY11" fmla="*/ 13229 h 166936"/>
                <a:gd name="connsiteX12" fmla="*/ 5081 w 598308"/>
                <a:gd name="connsiteY12" fmla="*/ 14500 h 166936"/>
                <a:gd name="connsiteX13" fmla="*/ 6351 w 598308"/>
                <a:gd name="connsiteY13" fmla="*/ 14500 h 166936"/>
                <a:gd name="connsiteX14" fmla="*/ 6351 w 598308"/>
                <a:gd name="connsiteY14" fmla="*/ 14500 h 166936"/>
                <a:gd name="connsiteX15" fmla="*/ 594497 w 598308"/>
                <a:gd name="connsiteY15" fmla="*/ 166936 h 166936"/>
                <a:gd name="connsiteX16" fmla="*/ 589416 w 598308"/>
                <a:gd name="connsiteY16" fmla="*/ 158044 h 166936"/>
                <a:gd name="connsiteX17" fmla="*/ 589416 w 598308"/>
                <a:gd name="connsiteY17" fmla="*/ 158044 h 166936"/>
                <a:gd name="connsiteX18" fmla="*/ 598308 w 598308"/>
                <a:gd name="connsiteY18" fmla="*/ 152963 h 166936"/>
                <a:gd name="connsiteX19" fmla="*/ 588146 w 598308"/>
                <a:gd name="connsiteY19" fmla="*/ 150422 h 166936"/>
                <a:gd name="connsiteX20" fmla="*/ 25406 w 598308"/>
                <a:gd name="connsiteY20" fmla="*/ 4337 h 166936"/>
                <a:gd name="connsiteX21" fmla="*/ 8892 w 598308"/>
                <a:gd name="connsiteY21" fmla="*/ 526 h 16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8308" h="166936">
                  <a:moveTo>
                    <a:pt x="8892" y="526"/>
                  </a:moveTo>
                  <a:cubicBezTo>
                    <a:pt x="6351" y="-744"/>
                    <a:pt x="3811" y="526"/>
                    <a:pt x="2541" y="1797"/>
                  </a:cubicBezTo>
                  <a:lnTo>
                    <a:pt x="1270" y="3067"/>
                  </a:lnTo>
                  <a:lnTo>
                    <a:pt x="0" y="4337"/>
                  </a:lnTo>
                  <a:cubicBezTo>
                    <a:pt x="0" y="4337"/>
                    <a:pt x="0" y="4337"/>
                    <a:pt x="0" y="5607"/>
                  </a:cubicBezTo>
                  <a:lnTo>
                    <a:pt x="0" y="5607"/>
                  </a:lnTo>
                  <a:cubicBezTo>
                    <a:pt x="0" y="5607"/>
                    <a:pt x="0" y="6878"/>
                    <a:pt x="0" y="6878"/>
                  </a:cubicBezTo>
                  <a:cubicBezTo>
                    <a:pt x="0" y="6878"/>
                    <a:pt x="0" y="8148"/>
                    <a:pt x="0" y="8148"/>
                  </a:cubicBezTo>
                  <a:cubicBezTo>
                    <a:pt x="0" y="8148"/>
                    <a:pt x="0" y="9418"/>
                    <a:pt x="0" y="9418"/>
                  </a:cubicBezTo>
                  <a:cubicBezTo>
                    <a:pt x="0" y="9418"/>
                    <a:pt x="0" y="10689"/>
                    <a:pt x="1270" y="10689"/>
                  </a:cubicBezTo>
                  <a:cubicBezTo>
                    <a:pt x="1270" y="10689"/>
                    <a:pt x="1270" y="11959"/>
                    <a:pt x="2541" y="11959"/>
                  </a:cubicBezTo>
                  <a:cubicBezTo>
                    <a:pt x="2541" y="11959"/>
                    <a:pt x="2541" y="13229"/>
                    <a:pt x="3811" y="13229"/>
                  </a:cubicBezTo>
                  <a:lnTo>
                    <a:pt x="5081" y="14500"/>
                  </a:lnTo>
                  <a:lnTo>
                    <a:pt x="6351" y="14500"/>
                  </a:lnTo>
                  <a:lnTo>
                    <a:pt x="6351" y="14500"/>
                  </a:lnTo>
                  <a:lnTo>
                    <a:pt x="594497" y="166936"/>
                  </a:lnTo>
                  <a:cubicBezTo>
                    <a:pt x="590686" y="165666"/>
                    <a:pt x="588146" y="161855"/>
                    <a:pt x="589416" y="158044"/>
                  </a:cubicBezTo>
                  <a:cubicBezTo>
                    <a:pt x="589416" y="158044"/>
                    <a:pt x="589416" y="158044"/>
                    <a:pt x="589416" y="158044"/>
                  </a:cubicBezTo>
                  <a:cubicBezTo>
                    <a:pt x="590686" y="154233"/>
                    <a:pt x="594497" y="151692"/>
                    <a:pt x="598308" y="152963"/>
                  </a:cubicBezTo>
                  <a:lnTo>
                    <a:pt x="588146" y="150422"/>
                  </a:lnTo>
                  <a:lnTo>
                    <a:pt x="25406" y="4337"/>
                  </a:lnTo>
                  <a:lnTo>
                    <a:pt x="8892" y="526"/>
                  </a:lnTo>
                  <a:close/>
                </a:path>
              </a:pathLst>
            </a:custGeom>
            <a:solidFill>
              <a:srgbClr val="000000"/>
            </a:solidFill>
            <a:ln w="12688"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627C5EC9-7476-4294-A742-7FEAEFF1D358}"/>
                </a:ext>
              </a:extLst>
            </p:cNvPr>
            <p:cNvSpPr/>
            <p:nvPr/>
          </p:nvSpPr>
          <p:spPr>
            <a:xfrm>
              <a:off x="3720688" y="33434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B0E961FB-B93E-4474-9CEA-FF90F0796814}"/>
                </a:ext>
              </a:extLst>
            </p:cNvPr>
            <p:cNvSpPr/>
            <p:nvPr/>
          </p:nvSpPr>
          <p:spPr>
            <a:xfrm>
              <a:off x="3723228" y="3347959"/>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lnTo>
                    <a:pt x="0" y="565"/>
                  </a:lnTo>
                  <a:lnTo>
                    <a:pt x="0" y="565"/>
                  </a:lnTo>
                  <a:cubicBezTo>
                    <a:pt x="0" y="-706"/>
                    <a:pt x="0" y="565"/>
                    <a:pt x="0" y="565"/>
                  </a:cubicBezTo>
                  <a:close/>
                </a:path>
              </a:pathLst>
            </a:custGeom>
            <a:solidFill>
              <a:srgbClr val="000000"/>
            </a:solidFill>
            <a:ln w="12688"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2BE8FF71-F221-43CA-A700-1E87DB16CA4F}"/>
                </a:ext>
              </a:extLst>
            </p:cNvPr>
            <p:cNvSpPr/>
            <p:nvPr/>
          </p:nvSpPr>
          <p:spPr>
            <a:xfrm>
              <a:off x="3721958" y="334598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232F714F-BF26-43A8-9859-366F6A02319F}"/>
                </a:ext>
              </a:extLst>
            </p:cNvPr>
            <p:cNvSpPr/>
            <p:nvPr/>
          </p:nvSpPr>
          <p:spPr>
            <a:xfrm>
              <a:off x="3362135" y="3250983"/>
              <a:ext cx="356012" cy="103891"/>
            </a:xfrm>
            <a:custGeom>
              <a:avLst/>
              <a:gdLst>
                <a:gd name="connsiteX0" fmla="*/ 330 w 356012"/>
                <a:gd name="connsiteY0" fmla="*/ 6078 h 103891"/>
                <a:gd name="connsiteX1" fmla="*/ 5412 w 356012"/>
                <a:gd name="connsiteY1" fmla="*/ 14970 h 103891"/>
                <a:gd name="connsiteX2" fmla="*/ 5412 w 356012"/>
                <a:gd name="connsiteY2" fmla="*/ 14970 h 103891"/>
                <a:gd name="connsiteX3" fmla="*/ 335688 w 356012"/>
                <a:gd name="connsiteY3" fmla="*/ 101351 h 103891"/>
                <a:gd name="connsiteX4" fmla="*/ 345850 w 356012"/>
                <a:gd name="connsiteY4" fmla="*/ 103891 h 103891"/>
                <a:gd name="connsiteX5" fmla="*/ 345850 w 356012"/>
                <a:gd name="connsiteY5" fmla="*/ 98810 h 103891"/>
                <a:gd name="connsiteX6" fmla="*/ 353472 w 356012"/>
                <a:gd name="connsiteY6" fmla="*/ 91188 h 103891"/>
                <a:gd name="connsiteX7" fmla="*/ 353472 w 356012"/>
                <a:gd name="connsiteY7" fmla="*/ 91188 h 103891"/>
                <a:gd name="connsiteX8" fmla="*/ 356013 w 356012"/>
                <a:gd name="connsiteY8" fmla="*/ 91188 h 103891"/>
                <a:gd name="connsiteX9" fmla="*/ 356013 w 356012"/>
                <a:gd name="connsiteY9" fmla="*/ 91188 h 103891"/>
                <a:gd name="connsiteX10" fmla="*/ 15574 w 356012"/>
                <a:gd name="connsiteY10" fmla="*/ 2267 h 103891"/>
                <a:gd name="connsiteX11" fmla="*/ 10493 w 356012"/>
                <a:gd name="connsiteY11" fmla="*/ 997 h 103891"/>
                <a:gd name="connsiteX12" fmla="*/ 330 w 356012"/>
                <a:gd name="connsiteY12" fmla="*/ 6078 h 103891"/>
                <a:gd name="connsiteX13" fmla="*/ 330 w 356012"/>
                <a:gd name="connsiteY13" fmla="*/ 6078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6012" h="103891">
                  <a:moveTo>
                    <a:pt x="330" y="6078"/>
                  </a:moveTo>
                  <a:cubicBezTo>
                    <a:pt x="-940" y="9889"/>
                    <a:pt x="1600" y="13700"/>
                    <a:pt x="5412" y="14970"/>
                  </a:cubicBezTo>
                  <a:cubicBezTo>
                    <a:pt x="5412" y="14970"/>
                    <a:pt x="5412" y="14970"/>
                    <a:pt x="5412" y="14970"/>
                  </a:cubicBezTo>
                  <a:lnTo>
                    <a:pt x="335688" y="101351"/>
                  </a:lnTo>
                  <a:lnTo>
                    <a:pt x="345850" y="103891"/>
                  </a:lnTo>
                  <a:lnTo>
                    <a:pt x="345850" y="98810"/>
                  </a:lnTo>
                  <a:cubicBezTo>
                    <a:pt x="345850" y="94999"/>
                    <a:pt x="348391" y="91188"/>
                    <a:pt x="353472" y="91188"/>
                  </a:cubicBezTo>
                  <a:cubicBezTo>
                    <a:pt x="353472" y="91188"/>
                    <a:pt x="353472" y="91188"/>
                    <a:pt x="353472" y="91188"/>
                  </a:cubicBezTo>
                  <a:cubicBezTo>
                    <a:pt x="354742" y="91188"/>
                    <a:pt x="354742" y="91188"/>
                    <a:pt x="356013" y="91188"/>
                  </a:cubicBezTo>
                  <a:lnTo>
                    <a:pt x="356013" y="91188"/>
                  </a:lnTo>
                  <a:lnTo>
                    <a:pt x="15574" y="2267"/>
                  </a:lnTo>
                  <a:lnTo>
                    <a:pt x="10493" y="997"/>
                  </a:lnTo>
                  <a:cubicBezTo>
                    <a:pt x="5412" y="-1544"/>
                    <a:pt x="1600" y="997"/>
                    <a:pt x="330" y="6078"/>
                  </a:cubicBezTo>
                  <a:cubicBezTo>
                    <a:pt x="330" y="6078"/>
                    <a:pt x="330" y="6078"/>
                    <a:pt x="330" y="6078"/>
                  </a:cubicBezTo>
                  <a:close/>
                </a:path>
              </a:pathLst>
            </a:custGeom>
            <a:solidFill>
              <a:srgbClr val="000000"/>
            </a:solidFill>
            <a:ln w="12688"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818CEBF7-1D7F-4537-9E58-DCBE85180B84}"/>
                </a:ext>
              </a:extLst>
            </p:cNvPr>
            <p:cNvSpPr/>
            <p:nvPr/>
          </p:nvSpPr>
          <p:spPr>
            <a:xfrm>
              <a:off x="1355402" y="35568"/>
              <a:ext cx="880789" cy="443336"/>
            </a:xfrm>
            <a:custGeom>
              <a:avLst/>
              <a:gdLst>
                <a:gd name="connsiteX0" fmla="*/ 10162 w 880789"/>
                <a:gd name="connsiteY0" fmla="*/ 433174 h 443336"/>
                <a:gd name="connsiteX1" fmla="*/ 6351 w 880789"/>
                <a:gd name="connsiteY1" fmla="*/ 443336 h 443336"/>
                <a:gd name="connsiteX2" fmla="*/ 6351 w 880789"/>
                <a:gd name="connsiteY2" fmla="*/ 443336 h 443336"/>
                <a:gd name="connsiteX3" fmla="*/ 873962 w 880789"/>
                <a:gd name="connsiteY3" fmla="*/ 15244 h 443336"/>
                <a:gd name="connsiteX4" fmla="*/ 876502 w 880789"/>
                <a:gd name="connsiteY4" fmla="*/ 13973 h 443336"/>
                <a:gd name="connsiteX5" fmla="*/ 880313 w 880789"/>
                <a:gd name="connsiteY5" fmla="*/ 3811 h 443336"/>
                <a:gd name="connsiteX6" fmla="*/ 880313 w 880789"/>
                <a:gd name="connsiteY6" fmla="*/ 3811 h 443336"/>
                <a:gd name="connsiteX7" fmla="*/ 873962 w 880789"/>
                <a:gd name="connsiteY7" fmla="*/ 0 h 443336"/>
                <a:gd name="connsiteX8" fmla="*/ 872691 w 880789"/>
                <a:gd name="connsiteY8" fmla="*/ 0 h 443336"/>
                <a:gd name="connsiteX9" fmla="*/ 871421 w 880789"/>
                <a:gd name="connsiteY9" fmla="*/ 0 h 443336"/>
                <a:gd name="connsiteX10" fmla="*/ 870151 w 880789"/>
                <a:gd name="connsiteY10" fmla="*/ 0 h 443336"/>
                <a:gd name="connsiteX11" fmla="*/ 10162 w 880789"/>
                <a:gd name="connsiteY11" fmla="*/ 425552 h 443336"/>
                <a:gd name="connsiteX12" fmla="*/ 0 w 880789"/>
                <a:gd name="connsiteY12" fmla="*/ 430633 h 443336"/>
                <a:gd name="connsiteX13" fmla="*/ 10162 w 880789"/>
                <a:gd name="connsiteY13" fmla="*/ 433174 h 443336"/>
                <a:gd name="connsiteX14" fmla="*/ 10162 w 880789"/>
                <a:gd name="connsiteY14" fmla="*/ 433174 h 44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0789" h="443336">
                  <a:moveTo>
                    <a:pt x="10162" y="433174"/>
                  </a:moveTo>
                  <a:cubicBezTo>
                    <a:pt x="11433" y="436985"/>
                    <a:pt x="10162" y="440796"/>
                    <a:pt x="6351" y="443336"/>
                  </a:cubicBezTo>
                  <a:lnTo>
                    <a:pt x="6351" y="443336"/>
                  </a:lnTo>
                  <a:lnTo>
                    <a:pt x="873962" y="15244"/>
                  </a:lnTo>
                  <a:lnTo>
                    <a:pt x="876502" y="13973"/>
                  </a:lnTo>
                  <a:cubicBezTo>
                    <a:pt x="880313" y="12703"/>
                    <a:pt x="881583" y="7622"/>
                    <a:pt x="880313" y="3811"/>
                  </a:cubicBezTo>
                  <a:cubicBezTo>
                    <a:pt x="880313" y="3811"/>
                    <a:pt x="880313" y="3811"/>
                    <a:pt x="880313" y="3811"/>
                  </a:cubicBezTo>
                  <a:cubicBezTo>
                    <a:pt x="879043" y="1270"/>
                    <a:pt x="876502" y="0"/>
                    <a:pt x="873962" y="0"/>
                  </a:cubicBezTo>
                  <a:lnTo>
                    <a:pt x="872691" y="0"/>
                  </a:lnTo>
                  <a:cubicBezTo>
                    <a:pt x="872691" y="0"/>
                    <a:pt x="871421" y="0"/>
                    <a:pt x="871421" y="0"/>
                  </a:cubicBezTo>
                  <a:lnTo>
                    <a:pt x="870151" y="0"/>
                  </a:lnTo>
                  <a:lnTo>
                    <a:pt x="10162" y="425552"/>
                  </a:lnTo>
                  <a:lnTo>
                    <a:pt x="0" y="430633"/>
                  </a:lnTo>
                  <a:cubicBezTo>
                    <a:pt x="3811" y="428093"/>
                    <a:pt x="8892" y="429363"/>
                    <a:pt x="10162" y="433174"/>
                  </a:cubicBezTo>
                  <a:cubicBezTo>
                    <a:pt x="10162" y="433174"/>
                    <a:pt x="10162" y="433174"/>
                    <a:pt x="10162" y="433174"/>
                  </a:cubicBezTo>
                  <a:close/>
                </a:path>
              </a:pathLst>
            </a:custGeom>
            <a:solidFill>
              <a:srgbClr val="000000"/>
            </a:solidFill>
            <a:ln w="12688"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2587631A-62A9-4F0D-AAAF-2BC3C2D84991}"/>
                </a:ext>
              </a:extLst>
            </p:cNvPr>
            <p:cNvSpPr/>
            <p:nvPr/>
          </p:nvSpPr>
          <p:spPr>
            <a:xfrm>
              <a:off x="1105154" y="464455"/>
              <a:ext cx="260886" cy="136398"/>
            </a:xfrm>
            <a:custGeom>
              <a:avLst/>
              <a:gdLst>
                <a:gd name="connsiteX0" fmla="*/ 10162 w 260886"/>
                <a:gd name="connsiteY0" fmla="*/ 131318 h 136398"/>
                <a:gd name="connsiteX1" fmla="*/ 10162 w 260886"/>
                <a:gd name="connsiteY1" fmla="*/ 136399 h 136398"/>
                <a:gd name="connsiteX2" fmla="*/ 25406 w 260886"/>
                <a:gd name="connsiteY2" fmla="*/ 128777 h 136398"/>
                <a:gd name="connsiteX3" fmla="*/ 256599 w 260886"/>
                <a:gd name="connsiteY3" fmla="*/ 14450 h 136398"/>
                <a:gd name="connsiteX4" fmla="*/ 260410 w 260886"/>
                <a:gd name="connsiteY4" fmla="*/ 4287 h 136398"/>
                <a:gd name="connsiteX5" fmla="*/ 250248 w 260886"/>
                <a:gd name="connsiteY5" fmla="*/ 476 h 136398"/>
                <a:gd name="connsiteX6" fmla="*/ 250248 w 260886"/>
                <a:gd name="connsiteY6" fmla="*/ 476 h 136398"/>
                <a:gd name="connsiteX7" fmla="*/ 245167 w 260886"/>
                <a:gd name="connsiteY7" fmla="*/ 3017 h 136398"/>
                <a:gd name="connsiteX8" fmla="*/ 0 w 260886"/>
                <a:gd name="connsiteY8" fmla="*/ 124966 h 136398"/>
                <a:gd name="connsiteX9" fmla="*/ 0 w 260886"/>
                <a:gd name="connsiteY9" fmla="*/ 124966 h 136398"/>
                <a:gd name="connsiteX10" fmla="*/ 2541 w 260886"/>
                <a:gd name="connsiteY10" fmla="*/ 123696 h 136398"/>
                <a:gd name="connsiteX11" fmla="*/ 10162 w 260886"/>
                <a:gd name="connsiteY11" fmla="*/ 131318 h 13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886" h="136398">
                  <a:moveTo>
                    <a:pt x="10162" y="131318"/>
                  </a:moveTo>
                  <a:lnTo>
                    <a:pt x="10162" y="136399"/>
                  </a:lnTo>
                  <a:lnTo>
                    <a:pt x="25406" y="128777"/>
                  </a:lnTo>
                  <a:lnTo>
                    <a:pt x="256599" y="14450"/>
                  </a:lnTo>
                  <a:cubicBezTo>
                    <a:pt x="260410" y="13179"/>
                    <a:pt x="261680" y="8098"/>
                    <a:pt x="260410" y="4287"/>
                  </a:cubicBezTo>
                  <a:cubicBezTo>
                    <a:pt x="259140" y="476"/>
                    <a:pt x="254059" y="-794"/>
                    <a:pt x="250248" y="476"/>
                  </a:cubicBezTo>
                  <a:cubicBezTo>
                    <a:pt x="250248" y="476"/>
                    <a:pt x="250248" y="476"/>
                    <a:pt x="250248" y="476"/>
                  </a:cubicBezTo>
                  <a:lnTo>
                    <a:pt x="245167" y="3017"/>
                  </a:lnTo>
                  <a:lnTo>
                    <a:pt x="0" y="124966"/>
                  </a:lnTo>
                  <a:lnTo>
                    <a:pt x="0" y="124966"/>
                  </a:lnTo>
                  <a:cubicBezTo>
                    <a:pt x="1270" y="124966"/>
                    <a:pt x="1270" y="123696"/>
                    <a:pt x="2541" y="123696"/>
                  </a:cubicBezTo>
                  <a:cubicBezTo>
                    <a:pt x="6351" y="123696"/>
                    <a:pt x="10162" y="127507"/>
                    <a:pt x="10162" y="131318"/>
                  </a:cubicBezTo>
                  <a:close/>
                </a:path>
              </a:pathLst>
            </a:custGeom>
            <a:solidFill>
              <a:srgbClr val="000000"/>
            </a:solidFill>
            <a:ln w="12688"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9D629037-47C1-4F5D-96FF-6A32D0C2E221}"/>
                </a:ext>
              </a:extLst>
            </p:cNvPr>
            <p:cNvSpPr/>
            <p:nvPr/>
          </p:nvSpPr>
          <p:spPr>
            <a:xfrm>
              <a:off x="1101343" y="590691"/>
              <a:ext cx="1270" cy="3810"/>
            </a:xfrm>
            <a:custGeom>
              <a:avLst/>
              <a:gdLst>
                <a:gd name="connsiteX0" fmla="*/ 1270 w 1270"/>
                <a:gd name="connsiteY0" fmla="*/ 0 h 3810"/>
                <a:gd name="connsiteX1" fmla="*/ 1270 w 1270"/>
                <a:gd name="connsiteY1" fmla="*/ 0 h 3810"/>
                <a:gd name="connsiteX2" fmla="*/ 0 w 1270"/>
                <a:gd name="connsiteY2" fmla="*/ 2541 h 3810"/>
                <a:gd name="connsiteX3" fmla="*/ 0 w 1270"/>
                <a:gd name="connsiteY3" fmla="*/ 3811 h 3810"/>
                <a:gd name="connsiteX4" fmla="*/ 1270 w 1270"/>
                <a:gd name="connsiteY4" fmla="*/ 0 h 3810"/>
                <a:gd name="connsiteX5" fmla="*/ 1270 w 1270"/>
                <a:gd name="connsiteY5" fmla="*/ 0 h 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0" h="3810">
                  <a:moveTo>
                    <a:pt x="1270" y="0"/>
                  </a:moveTo>
                  <a:lnTo>
                    <a:pt x="1270" y="0"/>
                  </a:lnTo>
                  <a:cubicBezTo>
                    <a:pt x="0" y="1270"/>
                    <a:pt x="0" y="1270"/>
                    <a:pt x="0" y="2541"/>
                  </a:cubicBezTo>
                  <a:cubicBezTo>
                    <a:pt x="0" y="2541"/>
                    <a:pt x="0" y="3811"/>
                    <a:pt x="0" y="3811"/>
                  </a:cubicBezTo>
                  <a:cubicBezTo>
                    <a:pt x="1270" y="1270"/>
                    <a:pt x="1270" y="1270"/>
                    <a:pt x="1270" y="0"/>
                  </a:cubicBezTo>
                  <a:lnTo>
                    <a:pt x="1270" y="0"/>
                  </a:lnTo>
                  <a:close/>
                </a:path>
              </a:pathLst>
            </a:custGeom>
            <a:solidFill>
              <a:srgbClr val="000000"/>
            </a:solidFill>
            <a:ln w="12688"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0E8E4DC7-2A63-4F71-B0A6-A63A50B07B1A}"/>
                </a:ext>
              </a:extLst>
            </p:cNvPr>
            <p:cNvSpPr/>
            <p:nvPr/>
          </p:nvSpPr>
          <p:spPr>
            <a:xfrm>
              <a:off x="1100391" y="594502"/>
              <a:ext cx="952" cy="2540"/>
            </a:xfrm>
            <a:custGeom>
              <a:avLst/>
              <a:gdLst>
                <a:gd name="connsiteX0" fmla="*/ 953 w 952"/>
                <a:gd name="connsiteY0" fmla="*/ 0 h 2540"/>
                <a:gd name="connsiteX1" fmla="*/ 953 w 952"/>
                <a:gd name="connsiteY1" fmla="*/ 0 h 2540"/>
                <a:gd name="connsiteX2" fmla="*/ 953 w 952"/>
                <a:gd name="connsiteY2" fmla="*/ 2541 h 2540"/>
                <a:gd name="connsiteX3" fmla="*/ 953 w 952"/>
                <a:gd name="connsiteY3" fmla="*/ 0 h 2540"/>
                <a:gd name="connsiteX4" fmla="*/ 953 w 952"/>
                <a:gd name="connsiteY4" fmla="*/ 0 h 2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 h="2540">
                  <a:moveTo>
                    <a:pt x="953" y="0"/>
                  </a:moveTo>
                  <a:cubicBezTo>
                    <a:pt x="953" y="0"/>
                    <a:pt x="953" y="1270"/>
                    <a:pt x="953" y="0"/>
                  </a:cubicBezTo>
                  <a:cubicBezTo>
                    <a:pt x="953" y="1270"/>
                    <a:pt x="953" y="2541"/>
                    <a:pt x="953" y="2541"/>
                  </a:cubicBezTo>
                  <a:cubicBezTo>
                    <a:pt x="-318" y="1270"/>
                    <a:pt x="-318" y="0"/>
                    <a:pt x="953" y="0"/>
                  </a:cubicBezTo>
                  <a:lnTo>
                    <a:pt x="953" y="0"/>
                  </a:lnTo>
                  <a:close/>
                </a:path>
              </a:pathLst>
            </a:custGeom>
            <a:solidFill>
              <a:srgbClr val="000000"/>
            </a:solidFill>
            <a:ln w="12688"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B235E4AC-7BEC-4EBE-AB68-37E4B13D1981}"/>
                </a:ext>
              </a:extLst>
            </p:cNvPr>
            <p:cNvSpPr/>
            <p:nvPr/>
          </p:nvSpPr>
          <p:spPr>
            <a:xfrm>
              <a:off x="2851807" y="786318"/>
              <a:ext cx="16513" cy="44460"/>
            </a:xfrm>
            <a:custGeom>
              <a:avLst/>
              <a:gdLst>
                <a:gd name="connsiteX0" fmla="*/ 2541 w 16513"/>
                <a:gd name="connsiteY0" fmla="*/ 40650 h 44460"/>
                <a:gd name="connsiteX1" fmla="*/ 8892 w 16513"/>
                <a:gd name="connsiteY1" fmla="*/ 44461 h 44460"/>
                <a:gd name="connsiteX2" fmla="*/ 16514 w 16513"/>
                <a:gd name="connsiteY2" fmla="*/ 36839 h 44460"/>
                <a:gd name="connsiteX3" fmla="*/ 15243 w 16513"/>
                <a:gd name="connsiteY3" fmla="*/ 8892 h 44460"/>
                <a:gd name="connsiteX4" fmla="*/ 15243 w 16513"/>
                <a:gd name="connsiteY4" fmla="*/ 0 h 44460"/>
                <a:gd name="connsiteX5" fmla="*/ 7622 w 16513"/>
                <a:gd name="connsiteY5" fmla="*/ 7622 h 44460"/>
                <a:gd name="connsiteX6" fmla="*/ 0 w 16513"/>
                <a:gd name="connsiteY6" fmla="*/ 0 h 44460"/>
                <a:gd name="connsiteX7" fmla="*/ 1270 w 16513"/>
                <a:gd name="connsiteY7" fmla="*/ 36839 h 44460"/>
                <a:gd name="connsiteX8" fmla="*/ 2541 w 16513"/>
                <a:gd name="connsiteY8" fmla="*/ 4065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 h="44460">
                  <a:moveTo>
                    <a:pt x="2541" y="40650"/>
                  </a:moveTo>
                  <a:cubicBezTo>
                    <a:pt x="3811" y="43190"/>
                    <a:pt x="6351" y="44461"/>
                    <a:pt x="8892" y="44461"/>
                  </a:cubicBezTo>
                  <a:cubicBezTo>
                    <a:pt x="12703" y="44461"/>
                    <a:pt x="16514" y="40650"/>
                    <a:pt x="16514" y="36839"/>
                  </a:cubicBezTo>
                  <a:lnTo>
                    <a:pt x="15243" y="8892"/>
                  </a:lnTo>
                  <a:lnTo>
                    <a:pt x="15243" y="0"/>
                  </a:lnTo>
                  <a:cubicBezTo>
                    <a:pt x="15243" y="3811"/>
                    <a:pt x="11433" y="7622"/>
                    <a:pt x="7622" y="7622"/>
                  </a:cubicBezTo>
                  <a:cubicBezTo>
                    <a:pt x="3811" y="7622"/>
                    <a:pt x="0" y="3811"/>
                    <a:pt x="0" y="0"/>
                  </a:cubicBezTo>
                  <a:lnTo>
                    <a:pt x="1270" y="36839"/>
                  </a:lnTo>
                  <a:cubicBezTo>
                    <a:pt x="1270" y="38109"/>
                    <a:pt x="2541" y="39379"/>
                    <a:pt x="2541" y="40650"/>
                  </a:cubicBezTo>
                  <a:close/>
                </a:path>
              </a:pathLst>
            </a:custGeom>
            <a:solidFill>
              <a:srgbClr val="000000"/>
            </a:solidFill>
            <a:ln w="12688"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A5B6BFC9-D59A-4D56-88AE-2E72ED3582CF}"/>
                </a:ext>
              </a:extLst>
            </p:cNvPr>
            <p:cNvSpPr/>
            <p:nvPr/>
          </p:nvSpPr>
          <p:spPr>
            <a:xfrm>
              <a:off x="2823861" y="139733"/>
              <a:ext cx="43189" cy="652936"/>
            </a:xfrm>
            <a:custGeom>
              <a:avLst/>
              <a:gdLst>
                <a:gd name="connsiteX0" fmla="*/ 6351 w 43189"/>
                <a:gd name="connsiteY0" fmla="*/ 1270 h 652936"/>
                <a:gd name="connsiteX1" fmla="*/ 6351 w 43189"/>
                <a:gd name="connsiteY1" fmla="*/ 1270 h 652936"/>
                <a:gd name="connsiteX2" fmla="*/ 5081 w 43189"/>
                <a:gd name="connsiteY2" fmla="*/ 1270 h 652936"/>
                <a:gd name="connsiteX3" fmla="*/ 3811 w 43189"/>
                <a:gd name="connsiteY3" fmla="*/ 1270 h 652936"/>
                <a:gd name="connsiteX4" fmla="*/ 0 w 43189"/>
                <a:gd name="connsiteY4" fmla="*/ 8892 h 652936"/>
                <a:gd name="connsiteX5" fmla="*/ 0 w 43189"/>
                <a:gd name="connsiteY5" fmla="*/ 20325 h 652936"/>
                <a:gd name="connsiteX6" fmla="*/ 27946 w 43189"/>
                <a:gd name="connsiteY6" fmla="*/ 645315 h 652936"/>
                <a:gd name="connsiteX7" fmla="*/ 27946 w 43189"/>
                <a:gd name="connsiteY7" fmla="*/ 645315 h 652936"/>
                <a:gd name="connsiteX8" fmla="*/ 35568 w 43189"/>
                <a:gd name="connsiteY8" fmla="*/ 652937 h 652936"/>
                <a:gd name="connsiteX9" fmla="*/ 43190 w 43189"/>
                <a:gd name="connsiteY9" fmla="*/ 645315 h 652936"/>
                <a:gd name="connsiteX10" fmla="*/ 43190 w 43189"/>
                <a:gd name="connsiteY10" fmla="*/ 638963 h 652936"/>
                <a:gd name="connsiteX11" fmla="*/ 15243 w 43189"/>
                <a:gd name="connsiteY11" fmla="*/ 7622 h 652936"/>
                <a:gd name="connsiteX12" fmla="*/ 15243 w 43189"/>
                <a:gd name="connsiteY12" fmla="*/ 7622 h 652936"/>
                <a:gd name="connsiteX13" fmla="*/ 15243 w 43189"/>
                <a:gd name="connsiteY13" fmla="*/ 6352 h 652936"/>
                <a:gd name="connsiteX14" fmla="*/ 15243 w 43189"/>
                <a:gd name="connsiteY14" fmla="*/ 5081 h 652936"/>
                <a:gd name="connsiteX15" fmla="*/ 15243 w 43189"/>
                <a:gd name="connsiteY15" fmla="*/ 3811 h 652936"/>
                <a:gd name="connsiteX16" fmla="*/ 13973 w 43189"/>
                <a:gd name="connsiteY16" fmla="*/ 2541 h 652936"/>
                <a:gd name="connsiteX17" fmla="*/ 13973 w 43189"/>
                <a:gd name="connsiteY17" fmla="*/ 2541 h 652936"/>
                <a:gd name="connsiteX18" fmla="*/ 13973 w 43189"/>
                <a:gd name="connsiteY18" fmla="*/ 1270 h 652936"/>
                <a:gd name="connsiteX19" fmla="*/ 12703 w 43189"/>
                <a:gd name="connsiteY19" fmla="*/ 0 h 652936"/>
                <a:gd name="connsiteX20" fmla="*/ 12703 w 43189"/>
                <a:gd name="connsiteY20" fmla="*/ 0 h 652936"/>
                <a:gd name="connsiteX21" fmla="*/ 11433 w 43189"/>
                <a:gd name="connsiteY21" fmla="*/ 0 h 652936"/>
                <a:gd name="connsiteX22" fmla="*/ 10162 w 43189"/>
                <a:gd name="connsiteY22" fmla="*/ 0 h 652936"/>
                <a:gd name="connsiteX23" fmla="*/ 6351 w 43189"/>
                <a:gd name="connsiteY23" fmla="*/ 1270 h 65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89" h="652936">
                  <a:moveTo>
                    <a:pt x="6351" y="1270"/>
                  </a:moveTo>
                  <a:lnTo>
                    <a:pt x="6351" y="1270"/>
                  </a:lnTo>
                  <a:lnTo>
                    <a:pt x="5081" y="1270"/>
                  </a:lnTo>
                  <a:lnTo>
                    <a:pt x="3811" y="1270"/>
                  </a:lnTo>
                  <a:cubicBezTo>
                    <a:pt x="1270" y="2541"/>
                    <a:pt x="0" y="5081"/>
                    <a:pt x="0" y="8892"/>
                  </a:cubicBezTo>
                  <a:lnTo>
                    <a:pt x="0" y="20325"/>
                  </a:lnTo>
                  <a:lnTo>
                    <a:pt x="27946" y="645315"/>
                  </a:lnTo>
                  <a:lnTo>
                    <a:pt x="27946" y="645315"/>
                  </a:lnTo>
                  <a:cubicBezTo>
                    <a:pt x="27946" y="649126"/>
                    <a:pt x="31757" y="652937"/>
                    <a:pt x="35568" y="652937"/>
                  </a:cubicBezTo>
                  <a:cubicBezTo>
                    <a:pt x="39379" y="652937"/>
                    <a:pt x="43190" y="649126"/>
                    <a:pt x="43190" y="645315"/>
                  </a:cubicBezTo>
                  <a:lnTo>
                    <a:pt x="43190" y="638963"/>
                  </a:lnTo>
                  <a:lnTo>
                    <a:pt x="15243" y="7622"/>
                  </a:lnTo>
                  <a:lnTo>
                    <a:pt x="15243" y="7622"/>
                  </a:lnTo>
                  <a:cubicBezTo>
                    <a:pt x="15243" y="7622"/>
                    <a:pt x="15243" y="6352"/>
                    <a:pt x="15243" y="6352"/>
                  </a:cubicBezTo>
                  <a:cubicBezTo>
                    <a:pt x="15243" y="6352"/>
                    <a:pt x="15243" y="6352"/>
                    <a:pt x="15243" y="5081"/>
                  </a:cubicBezTo>
                  <a:cubicBezTo>
                    <a:pt x="15243" y="5081"/>
                    <a:pt x="15243" y="5081"/>
                    <a:pt x="15243" y="3811"/>
                  </a:cubicBezTo>
                  <a:lnTo>
                    <a:pt x="13973" y="2541"/>
                  </a:lnTo>
                  <a:lnTo>
                    <a:pt x="13973" y="2541"/>
                  </a:lnTo>
                  <a:lnTo>
                    <a:pt x="13973" y="1270"/>
                  </a:lnTo>
                  <a:cubicBezTo>
                    <a:pt x="13973" y="1270"/>
                    <a:pt x="12703" y="1270"/>
                    <a:pt x="12703" y="0"/>
                  </a:cubicBezTo>
                  <a:lnTo>
                    <a:pt x="12703" y="0"/>
                  </a:lnTo>
                  <a:lnTo>
                    <a:pt x="11433" y="0"/>
                  </a:lnTo>
                  <a:cubicBezTo>
                    <a:pt x="11433" y="0"/>
                    <a:pt x="10162" y="0"/>
                    <a:pt x="10162" y="0"/>
                  </a:cubicBezTo>
                  <a:lnTo>
                    <a:pt x="6351" y="1270"/>
                  </a:lnTo>
                  <a:close/>
                </a:path>
              </a:pathLst>
            </a:custGeom>
            <a:solidFill>
              <a:srgbClr val="000000"/>
            </a:solidFill>
            <a:ln w="12688"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7B4E0B4D-621A-4C57-A845-9CFD05E291EA}"/>
                </a:ext>
              </a:extLst>
            </p:cNvPr>
            <p:cNvSpPr/>
            <p:nvPr/>
          </p:nvSpPr>
          <p:spPr>
            <a:xfrm>
              <a:off x="1152155" y="1233466"/>
              <a:ext cx="19054" cy="59704"/>
            </a:xfrm>
            <a:custGeom>
              <a:avLst/>
              <a:gdLst>
                <a:gd name="connsiteX0" fmla="*/ 12703 w 19054"/>
                <a:gd name="connsiteY0" fmla="*/ 59704 h 59704"/>
                <a:gd name="connsiteX1" fmla="*/ 19054 w 19054"/>
                <a:gd name="connsiteY1" fmla="*/ 53353 h 59704"/>
                <a:gd name="connsiteX2" fmla="*/ 19054 w 19054"/>
                <a:gd name="connsiteY2" fmla="*/ 50812 h 59704"/>
                <a:gd name="connsiteX3" fmla="*/ 15244 w 19054"/>
                <a:gd name="connsiteY3" fmla="*/ 0 h 59704"/>
                <a:gd name="connsiteX4" fmla="*/ 7622 w 19054"/>
                <a:gd name="connsiteY4" fmla="*/ 7622 h 59704"/>
                <a:gd name="connsiteX5" fmla="*/ 0 w 19054"/>
                <a:gd name="connsiteY5" fmla="*/ 1270 h 59704"/>
                <a:gd name="connsiteX6" fmla="*/ 1270 w 19054"/>
                <a:gd name="connsiteY6" fmla="*/ 12703 h 59704"/>
                <a:gd name="connsiteX7" fmla="*/ 5081 w 19054"/>
                <a:gd name="connsiteY7" fmla="*/ 52082 h 59704"/>
                <a:gd name="connsiteX8" fmla="*/ 12703 w 19054"/>
                <a:gd name="connsiteY8" fmla="*/ 59704 h 59704"/>
                <a:gd name="connsiteX9" fmla="*/ 12703 w 19054"/>
                <a:gd name="connsiteY9" fmla="*/ 59704 h 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4" h="59704">
                  <a:moveTo>
                    <a:pt x="12703" y="59704"/>
                  </a:moveTo>
                  <a:cubicBezTo>
                    <a:pt x="16514" y="59704"/>
                    <a:pt x="19054" y="57164"/>
                    <a:pt x="19054" y="53353"/>
                  </a:cubicBezTo>
                  <a:cubicBezTo>
                    <a:pt x="19054" y="52082"/>
                    <a:pt x="19054" y="52082"/>
                    <a:pt x="19054" y="50812"/>
                  </a:cubicBezTo>
                  <a:lnTo>
                    <a:pt x="15244" y="0"/>
                  </a:lnTo>
                  <a:cubicBezTo>
                    <a:pt x="15244" y="3811"/>
                    <a:pt x="11433" y="7622"/>
                    <a:pt x="7622" y="7622"/>
                  </a:cubicBezTo>
                  <a:cubicBezTo>
                    <a:pt x="3811" y="7622"/>
                    <a:pt x="1270" y="5081"/>
                    <a:pt x="0" y="1270"/>
                  </a:cubicBezTo>
                  <a:lnTo>
                    <a:pt x="1270" y="12703"/>
                  </a:lnTo>
                  <a:lnTo>
                    <a:pt x="5081" y="52082"/>
                  </a:lnTo>
                  <a:cubicBezTo>
                    <a:pt x="3811" y="55893"/>
                    <a:pt x="7622" y="59704"/>
                    <a:pt x="12703" y="59704"/>
                  </a:cubicBezTo>
                  <a:cubicBezTo>
                    <a:pt x="11433" y="59704"/>
                    <a:pt x="11433" y="59704"/>
                    <a:pt x="12703" y="59704"/>
                  </a:cubicBezTo>
                  <a:close/>
                </a:path>
              </a:pathLst>
            </a:custGeom>
            <a:solidFill>
              <a:srgbClr val="000000"/>
            </a:solidFill>
            <a:ln w="12688"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C13BEB52-3D6C-4ECE-9A54-D6D7F0662516}"/>
                </a:ext>
              </a:extLst>
            </p:cNvPr>
            <p:cNvSpPr/>
            <p:nvPr/>
          </p:nvSpPr>
          <p:spPr>
            <a:xfrm>
              <a:off x="1102614" y="589172"/>
              <a:ext cx="63763" cy="653185"/>
            </a:xfrm>
            <a:custGeom>
              <a:avLst/>
              <a:gdLst>
                <a:gd name="connsiteX0" fmla="*/ 57163 w 63763"/>
                <a:gd name="connsiteY0" fmla="*/ 653186 h 653185"/>
                <a:gd name="connsiteX1" fmla="*/ 63515 w 63763"/>
                <a:gd name="connsiteY1" fmla="*/ 645564 h 653185"/>
                <a:gd name="connsiteX2" fmla="*/ 63515 w 63763"/>
                <a:gd name="connsiteY2" fmla="*/ 645564 h 653185"/>
                <a:gd name="connsiteX3" fmla="*/ 12703 w 63763"/>
                <a:gd name="connsiteY3" fmla="*/ 16763 h 653185"/>
                <a:gd name="connsiteX4" fmla="*/ 12703 w 63763"/>
                <a:gd name="connsiteY4" fmla="*/ 11682 h 653185"/>
                <a:gd name="connsiteX5" fmla="*/ 12703 w 63763"/>
                <a:gd name="connsiteY5" fmla="*/ 6601 h 653185"/>
                <a:gd name="connsiteX6" fmla="*/ 5081 w 63763"/>
                <a:gd name="connsiteY6" fmla="*/ 249 h 653185"/>
                <a:gd name="connsiteX7" fmla="*/ 5081 w 63763"/>
                <a:gd name="connsiteY7" fmla="*/ 249 h 653185"/>
                <a:gd name="connsiteX8" fmla="*/ 2541 w 63763"/>
                <a:gd name="connsiteY8" fmla="*/ 1519 h 653185"/>
                <a:gd name="connsiteX9" fmla="*/ 2541 w 63763"/>
                <a:gd name="connsiteY9" fmla="*/ 1519 h 653185"/>
                <a:gd name="connsiteX10" fmla="*/ 2541 w 63763"/>
                <a:gd name="connsiteY10" fmla="*/ 1519 h 653185"/>
                <a:gd name="connsiteX11" fmla="*/ 0 w 63763"/>
                <a:gd name="connsiteY11" fmla="*/ 5330 h 653185"/>
                <a:gd name="connsiteX12" fmla="*/ 0 w 63763"/>
                <a:gd name="connsiteY12" fmla="*/ 5330 h 653185"/>
                <a:gd name="connsiteX13" fmla="*/ 0 w 63763"/>
                <a:gd name="connsiteY13" fmla="*/ 7871 h 653185"/>
                <a:gd name="connsiteX14" fmla="*/ 0 w 63763"/>
                <a:gd name="connsiteY14" fmla="*/ 7871 h 653185"/>
                <a:gd name="connsiteX15" fmla="*/ 50812 w 63763"/>
                <a:gd name="connsiteY15" fmla="*/ 641753 h 653185"/>
                <a:gd name="connsiteX16" fmla="*/ 50812 w 63763"/>
                <a:gd name="connsiteY16" fmla="*/ 646834 h 653185"/>
                <a:gd name="connsiteX17" fmla="*/ 57163 w 63763"/>
                <a:gd name="connsiteY17" fmla="*/ 653186 h 6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763" h="653185">
                  <a:moveTo>
                    <a:pt x="57163" y="653186"/>
                  </a:moveTo>
                  <a:cubicBezTo>
                    <a:pt x="60974" y="653186"/>
                    <a:pt x="64785" y="649375"/>
                    <a:pt x="63515" y="645564"/>
                  </a:cubicBezTo>
                  <a:cubicBezTo>
                    <a:pt x="63515" y="645564"/>
                    <a:pt x="63515" y="645564"/>
                    <a:pt x="63515" y="645564"/>
                  </a:cubicBezTo>
                  <a:lnTo>
                    <a:pt x="12703" y="16763"/>
                  </a:lnTo>
                  <a:lnTo>
                    <a:pt x="12703" y="11682"/>
                  </a:lnTo>
                  <a:lnTo>
                    <a:pt x="12703" y="6601"/>
                  </a:lnTo>
                  <a:cubicBezTo>
                    <a:pt x="12703" y="2790"/>
                    <a:pt x="8892" y="-1021"/>
                    <a:pt x="5081" y="249"/>
                  </a:cubicBezTo>
                  <a:cubicBezTo>
                    <a:pt x="5081" y="249"/>
                    <a:pt x="5081" y="249"/>
                    <a:pt x="5081" y="249"/>
                  </a:cubicBezTo>
                  <a:cubicBezTo>
                    <a:pt x="3811" y="249"/>
                    <a:pt x="2541" y="249"/>
                    <a:pt x="2541" y="1519"/>
                  </a:cubicBezTo>
                  <a:lnTo>
                    <a:pt x="2541" y="1519"/>
                  </a:lnTo>
                  <a:lnTo>
                    <a:pt x="2541" y="1519"/>
                  </a:lnTo>
                  <a:cubicBezTo>
                    <a:pt x="1270" y="2790"/>
                    <a:pt x="1270" y="4060"/>
                    <a:pt x="0" y="5330"/>
                  </a:cubicBezTo>
                  <a:lnTo>
                    <a:pt x="0" y="5330"/>
                  </a:lnTo>
                  <a:cubicBezTo>
                    <a:pt x="0" y="6601"/>
                    <a:pt x="0" y="6601"/>
                    <a:pt x="0" y="7871"/>
                  </a:cubicBezTo>
                  <a:lnTo>
                    <a:pt x="0" y="7871"/>
                  </a:lnTo>
                  <a:lnTo>
                    <a:pt x="50812" y="641753"/>
                  </a:lnTo>
                  <a:lnTo>
                    <a:pt x="50812" y="646834"/>
                  </a:lnTo>
                  <a:cubicBezTo>
                    <a:pt x="50812" y="649375"/>
                    <a:pt x="53352" y="653186"/>
                    <a:pt x="57163" y="653186"/>
                  </a:cubicBezTo>
                  <a:close/>
                </a:path>
              </a:pathLst>
            </a:custGeom>
            <a:solidFill>
              <a:srgbClr val="000000"/>
            </a:solidFill>
            <a:ln w="12688"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41B7239B-E056-4524-A680-59F891FAEB79}"/>
                </a:ext>
              </a:extLst>
            </p:cNvPr>
            <p:cNvSpPr/>
            <p:nvPr/>
          </p:nvSpPr>
          <p:spPr>
            <a:xfrm>
              <a:off x="4456187" y="6375329"/>
              <a:ext cx="63514" cy="32088"/>
            </a:xfrm>
            <a:custGeom>
              <a:avLst/>
              <a:gdLst>
                <a:gd name="connsiteX0" fmla="*/ 53352 w 63514"/>
                <a:gd name="connsiteY0" fmla="*/ 23196 h 32088"/>
                <a:gd name="connsiteX1" fmla="*/ 63515 w 63514"/>
                <a:gd name="connsiteY1" fmla="*/ 18115 h 32088"/>
                <a:gd name="connsiteX2" fmla="*/ 53352 w 63514"/>
                <a:gd name="connsiteY2" fmla="*/ 14304 h 32088"/>
                <a:gd name="connsiteX3" fmla="*/ 13973 w 63514"/>
                <a:gd name="connsiteY3" fmla="*/ 1601 h 32088"/>
                <a:gd name="connsiteX4" fmla="*/ 8892 w 63514"/>
                <a:gd name="connsiteY4" fmla="*/ 330 h 32088"/>
                <a:gd name="connsiteX5" fmla="*/ 0 w 63514"/>
                <a:gd name="connsiteY5" fmla="*/ 5412 h 32088"/>
                <a:gd name="connsiteX6" fmla="*/ 0 w 63514"/>
                <a:gd name="connsiteY6" fmla="*/ 5412 h 32088"/>
                <a:gd name="connsiteX7" fmla="*/ 0 w 63514"/>
                <a:gd name="connsiteY7" fmla="*/ 7952 h 32088"/>
                <a:gd name="connsiteX8" fmla="*/ 0 w 63514"/>
                <a:gd name="connsiteY8" fmla="*/ 9223 h 32088"/>
                <a:gd name="connsiteX9" fmla="*/ 0 w 63514"/>
                <a:gd name="connsiteY9" fmla="*/ 10493 h 32088"/>
                <a:gd name="connsiteX10" fmla="*/ 1270 w 63514"/>
                <a:gd name="connsiteY10" fmla="*/ 11763 h 32088"/>
                <a:gd name="connsiteX11" fmla="*/ 2541 w 63514"/>
                <a:gd name="connsiteY11" fmla="*/ 13034 h 32088"/>
                <a:gd name="connsiteX12" fmla="*/ 3811 w 63514"/>
                <a:gd name="connsiteY12" fmla="*/ 13034 h 32088"/>
                <a:gd name="connsiteX13" fmla="*/ 5081 w 63514"/>
                <a:gd name="connsiteY13" fmla="*/ 14304 h 32088"/>
                <a:gd name="connsiteX14" fmla="*/ 5081 w 63514"/>
                <a:gd name="connsiteY14" fmla="*/ 14304 h 32088"/>
                <a:gd name="connsiteX15" fmla="*/ 8892 w 63514"/>
                <a:gd name="connsiteY15" fmla="*/ 15574 h 32088"/>
                <a:gd name="connsiteX16" fmla="*/ 59704 w 63514"/>
                <a:gd name="connsiteY16" fmla="*/ 32088 h 32088"/>
                <a:gd name="connsiteX17" fmla="*/ 53352 w 63514"/>
                <a:gd name="connsiteY17" fmla="*/ 23196 h 3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514" h="32088">
                  <a:moveTo>
                    <a:pt x="53352" y="23196"/>
                  </a:moveTo>
                  <a:cubicBezTo>
                    <a:pt x="54623" y="19385"/>
                    <a:pt x="58434" y="16845"/>
                    <a:pt x="63515" y="18115"/>
                  </a:cubicBezTo>
                  <a:lnTo>
                    <a:pt x="53352" y="14304"/>
                  </a:lnTo>
                  <a:lnTo>
                    <a:pt x="13973" y="1601"/>
                  </a:lnTo>
                  <a:lnTo>
                    <a:pt x="8892" y="330"/>
                  </a:lnTo>
                  <a:cubicBezTo>
                    <a:pt x="5081" y="-940"/>
                    <a:pt x="1270" y="1601"/>
                    <a:pt x="0" y="5412"/>
                  </a:cubicBezTo>
                  <a:cubicBezTo>
                    <a:pt x="0" y="5412"/>
                    <a:pt x="0" y="5412"/>
                    <a:pt x="0" y="5412"/>
                  </a:cubicBezTo>
                  <a:cubicBezTo>
                    <a:pt x="0" y="6682"/>
                    <a:pt x="0" y="6682"/>
                    <a:pt x="0" y="7952"/>
                  </a:cubicBezTo>
                  <a:cubicBezTo>
                    <a:pt x="0" y="7952"/>
                    <a:pt x="0" y="9223"/>
                    <a:pt x="0" y="9223"/>
                  </a:cubicBezTo>
                  <a:cubicBezTo>
                    <a:pt x="0" y="9223"/>
                    <a:pt x="0" y="10493"/>
                    <a:pt x="0" y="10493"/>
                  </a:cubicBezTo>
                  <a:cubicBezTo>
                    <a:pt x="0" y="10493"/>
                    <a:pt x="0" y="11763"/>
                    <a:pt x="1270" y="11763"/>
                  </a:cubicBezTo>
                  <a:lnTo>
                    <a:pt x="2541" y="13034"/>
                  </a:lnTo>
                  <a:lnTo>
                    <a:pt x="3811" y="13034"/>
                  </a:lnTo>
                  <a:lnTo>
                    <a:pt x="5081" y="14304"/>
                  </a:lnTo>
                  <a:lnTo>
                    <a:pt x="5081" y="14304"/>
                  </a:lnTo>
                  <a:lnTo>
                    <a:pt x="8892" y="15574"/>
                  </a:lnTo>
                  <a:lnTo>
                    <a:pt x="59704" y="32088"/>
                  </a:lnTo>
                  <a:cubicBezTo>
                    <a:pt x="54623" y="30818"/>
                    <a:pt x="52082" y="27007"/>
                    <a:pt x="53352" y="23196"/>
                  </a:cubicBezTo>
                  <a:close/>
                </a:path>
              </a:pathLst>
            </a:custGeom>
            <a:solidFill>
              <a:srgbClr val="000000"/>
            </a:solidFill>
            <a:ln w="12688"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E73CDCAF-AE9B-49FD-8FF2-7BEB7C07FC84}"/>
                </a:ext>
              </a:extLst>
            </p:cNvPr>
            <p:cNvSpPr/>
            <p:nvPr/>
          </p:nvSpPr>
          <p:spPr>
            <a:xfrm>
              <a:off x="4509209" y="6393692"/>
              <a:ext cx="1152486" cy="397688"/>
            </a:xfrm>
            <a:custGeom>
              <a:avLst/>
              <a:gdLst>
                <a:gd name="connsiteX0" fmla="*/ 330 w 1152486"/>
                <a:gd name="connsiteY0" fmla="*/ 4834 h 397688"/>
                <a:gd name="connsiteX1" fmla="*/ 5412 w 1152486"/>
                <a:gd name="connsiteY1" fmla="*/ 14996 h 397688"/>
                <a:gd name="connsiteX2" fmla="*/ 1130891 w 1152486"/>
                <a:gd name="connsiteY2" fmla="*/ 393547 h 397688"/>
                <a:gd name="connsiteX3" fmla="*/ 1137243 w 1152486"/>
                <a:gd name="connsiteY3" fmla="*/ 396087 h 397688"/>
                <a:gd name="connsiteX4" fmla="*/ 1142324 w 1152486"/>
                <a:gd name="connsiteY4" fmla="*/ 397357 h 397688"/>
                <a:gd name="connsiteX5" fmla="*/ 1152486 w 1152486"/>
                <a:gd name="connsiteY5" fmla="*/ 392277 h 397688"/>
                <a:gd name="connsiteX6" fmla="*/ 1152486 w 1152486"/>
                <a:gd name="connsiteY6" fmla="*/ 389736 h 397688"/>
                <a:gd name="connsiteX7" fmla="*/ 1152486 w 1152486"/>
                <a:gd name="connsiteY7" fmla="*/ 388466 h 397688"/>
                <a:gd name="connsiteX8" fmla="*/ 1152486 w 1152486"/>
                <a:gd name="connsiteY8" fmla="*/ 388466 h 397688"/>
                <a:gd name="connsiteX9" fmla="*/ 1152486 w 1152486"/>
                <a:gd name="connsiteY9" fmla="*/ 387195 h 397688"/>
                <a:gd name="connsiteX10" fmla="*/ 1151216 w 1152486"/>
                <a:gd name="connsiteY10" fmla="*/ 385925 h 397688"/>
                <a:gd name="connsiteX11" fmla="*/ 1149946 w 1152486"/>
                <a:gd name="connsiteY11" fmla="*/ 384654 h 397688"/>
                <a:gd name="connsiteX12" fmla="*/ 1148675 w 1152486"/>
                <a:gd name="connsiteY12" fmla="*/ 384654 h 397688"/>
                <a:gd name="connsiteX13" fmla="*/ 1147405 w 1152486"/>
                <a:gd name="connsiteY13" fmla="*/ 383384 h 397688"/>
                <a:gd name="connsiteX14" fmla="*/ 1147405 w 1152486"/>
                <a:gd name="connsiteY14" fmla="*/ 383384 h 397688"/>
                <a:gd name="connsiteX15" fmla="*/ 14304 w 1152486"/>
                <a:gd name="connsiteY15" fmla="*/ 2293 h 397688"/>
                <a:gd name="connsiteX16" fmla="*/ 9223 w 1152486"/>
                <a:gd name="connsiteY16" fmla="*/ 1023 h 397688"/>
                <a:gd name="connsiteX17" fmla="*/ 330 w 1152486"/>
                <a:gd name="connsiteY17" fmla="*/ 4834 h 39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2486" h="397688">
                  <a:moveTo>
                    <a:pt x="330" y="4834"/>
                  </a:moveTo>
                  <a:cubicBezTo>
                    <a:pt x="-940" y="8644"/>
                    <a:pt x="1601" y="12455"/>
                    <a:pt x="5412" y="14996"/>
                  </a:cubicBezTo>
                  <a:lnTo>
                    <a:pt x="1130891" y="393547"/>
                  </a:lnTo>
                  <a:lnTo>
                    <a:pt x="1137243" y="396087"/>
                  </a:lnTo>
                  <a:lnTo>
                    <a:pt x="1142324" y="397357"/>
                  </a:lnTo>
                  <a:cubicBezTo>
                    <a:pt x="1146135" y="398628"/>
                    <a:pt x="1149946" y="396087"/>
                    <a:pt x="1152486" y="392277"/>
                  </a:cubicBezTo>
                  <a:cubicBezTo>
                    <a:pt x="1152486" y="391006"/>
                    <a:pt x="1152486" y="391006"/>
                    <a:pt x="1152486" y="389736"/>
                  </a:cubicBezTo>
                  <a:cubicBezTo>
                    <a:pt x="1152486" y="389736"/>
                    <a:pt x="1152486" y="388466"/>
                    <a:pt x="1152486" y="388466"/>
                  </a:cubicBezTo>
                  <a:lnTo>
                    <a:pt x="1152486" y="388466"/>
                  </a:lnTo>
                  <a:cubicBezTo>
                    <a:pt x="1152486" y="388466"/>
                    <a:pt x="1152486" y="387195"/>
                    <a:pt x="1152486" y="387195"/>
                  </a:cubicBezTo>
                  <a:lnTo>
                    <a:pt x="1151216" y="385925"/>
                  </a:lnTo>
                  <a:lnTo>
                    <a:pt x="1149946" y="384654"/>
                  </a:lnTo>
                  <a:lnTo>
                    <a:pt x="1148675" y="384654"/>
                  </a:lnTo>
                  <a:lnTo>
                    <a:pt x="1147405" y="383384"/>
                  </a:lnTo>
                  <a:lnTo>
                    <a:pt x="1147405" y="383384"/>
                  </a:lnTo>
                  <a:lnTo>
                    <a:pt x="14304" y="2293"/>
                  </a:lnTo>
                  <a:lnTo>
                    <a:pt x="9223" y="1023"/>
                  </a:lnTo>
                  <a:cubicBezTo>
                    <a:pt x="6682" y="-1518"/>
                    <a:pt x="1601" y="1023"/>
                    <a:pt x="330" y="4834"/>
                  </a:cubicBezTo>
                  <a:close/>
                </a:path>
              </a:pathLst>
            </a:custGeom>
            <a:solidFill>
              <a:srgbClr val="000000"/>
            </a:solidFill>
            <a:ln w="12688"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38B4DDED-0F9B-45C4-83BD-F4BAD1B6C866}"/>
                </a:ext>
              </a:extLst>
            </p:cNvPr>
            <p:cNvSpPr/>
            <p:nvPr/>
          </p:nvSpPr>
          <p:spPr>
            <a:xfrm>
              <a:off x="275653" y="4642964"/>
              <a:ext cx="778689" cy="268034"/>
            </a:xfrm>
            <a:custGeom>
              <a:avLst/>
              <a:gdLst>
                <a:gd name="connsiteX0" fmla="*/ 1270 w 778689"/>
                <a:gd name="connsiteY0" fmla="*/ 15244 h 268034"/>
                <a:gd name="connsiteX1" fmla="*/ 773608 w 778689"/>
                <a:gd name="connsiteY1" fmla="*/ 268034 h 268034"/>
                <a:gd name="connsiteX2" fmla="*/ 768527 w 778689"/>
                <a:gd name="connsiteY2" fmla="*/ 259142 h 268034"/>
                <a:gd name="connsiteX3" fmla="*/ 778690 w 778689"/>
                <a:gd name="connsiteY3" fmla="*/ 254061 h 268034"/>
                <a:gd name="connsiteX4" fmla="*/ 774879 w 778689"/>
                <a:gd name="connsiteY4" fmla="*/ 252791 h 268034"/>
                <a:gd name="connsiteX5" fmla="*/ 0 w 778689"/>
                <a:gd name="connsiteY5" fmla="*/ 0 h 268034"/>
                <a:gd name="connsiteX6" fmla="*/ 0 w 778689"/>
                <a:gd name="connsiteY6" fmla="*/ 5081 h 268034"/>
                <a:gd name="connsiteX7" fmla="*/ 1270 w 778689"/>
                <a:gd name="connsiteY7" fmla="*/ 15244 h 2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689" h="268034">
                  <a:moveTo>
                    <a:pt x="1270" y="15244"/>
                  </a:moveTo>
                  <a:lnTo>
                    <a:pt x="773608" y="268034"/>
                  </a:lnTo>
                  <a:cubicBezTo>
                    <a:pt x="769798" y="266764"/>
                    <a:pt x="767257" y="262953"/>
                    <a:pt x="768527" y="259142"/>
                  </a:cubicBezTo>
                  <a:cubicBezTo>
                    <a:pt x="769798" y="255331"/>
                    <a:pt x="773608" y="252791"/>
                    <a:pt x="778690" y="254061"/>
                  </a:cubicBezTo>
                  <a:lnTo>
                    <a:pt x="774879" y="252791"/>
                  </a:lnTo>
                  <a:lnTo>
                    <a:pt x="0" y="0"/>
                  </a:lnTo>
                  <a:lnTo>
                    <a:pt x="0" y="5081"/>
                  </a:lnTo>
                  <a:lnTo>
                    <a:pt x="1270" y="15244"/>
                  </a:lnTo>
                  <a:close/>
                </a:path>
              </a:pathLst>
            </a:custGeom>
            <a:solidFill>
              <a:srgbClr val="000000"/>
            </a:solidFill>
            <a:ln w="12688"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36EDD5C2-E60E-4DDD-B01C-4748178A4D6B}"/>
                </a:ext>
              </a:extLst>
            </p:cNvPr>
            <p:cNvSpPr/>
            <p:nvPr/>
          </p:nvSpPr>
          <p:spPr>
            <a:xfrm>
              <a:off x="5558471" y="5296840"/>
              <a:ext cx="272173" cy="93062"/>
            </a:xfrm>
            <a:custGeom>
              <a:avLst/>
              <a:gdLst>
                <a:gd name="connsiteX0" fmla="*/ 263281 w 272173"/>
                <a:gd name="connsiteY0" fmla="*/ 82900 h 93062"/>
                <a:gd name="connsiteX1" fmla="*/ 272173 w 272173"/>
                <a:gd name="connsiteY1" fmla="*/ 77819 h 93062"/>
                <a:gd name="connsiteX2" fmla="*/ 272173 w 272173"/>
                <a:gd name="connsiteY2" fmla="*/ 77819 h 93062"/>
                <a:gd name="connsiteX3" fmla="*/ 263281 w 272173"/>
                <a:gd name="connsiteY3" fmla="*/ 75278 h 93062"/>
                <a:gd name="connsiteX4" fmla="*/ 21925 w 272173"/>
                <a:gd name="connsiteY4" fmla="*/ 4141 h 93062"/>
                <a:gd name="connsiteX5" fmla="*/ 9222 w 272173"/>
                <a:gd name="connsiteY5" fmla="*/ 330 h 93062"/>
                <a:gd name="connsiteX6" fmla="*/ 330 w 272173"/>
                <a:gd name="connsiteY6" fmla="*/ 5412 h 93062"/>
                <a:gd name="connsiteX7" fmla="*/ 330 w 272173"/>
                <a:gd name="connsiteY7" fmla="*/ 5412 h 93062"/>
                <a:gd name="connsiteX8" fmla="*/ 5412 w 272173"/>
                <a:gd name="connsiteY8" fmla="*/ 14304 h 93062"/>
                <a:gd name="connsiteX9" fmla="*/ 5412 w 272173"/>
                <a:gd name="connsiteY9" fmla="*/ 14304 h 93062"/>
                <a:gd name="connsiteX10" fmla="*/ 268362 w 272173"/>
                <a:gd name="connsiteY10" fmla="*/ 93063 h 93062"/>
                <a:gd name="connsiteX11" fmla="*/ 263281 w 272173"/>
                <a:gd name="connsiteY11" fmla="*/ 82900 h 93062"/>
                <a:gd name="connsiteX12" fmla="*/ 263281 w 272173"/>
                <a:gd name="connsiteY12" fmla="*/ 82900 h 9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173" h="93062">
                  <a:moveTo>
                    <a:pt x="263281" y="82900"/>
                  </a:moveTo>
                  <a:cubicBezTo>
                    <a:pt x="264551" y="79090"/>
                    <a:pt x="268362" y="76549"/>
                    <a:pt x="272173" y="77819"/>
                  </a:cubicBezTo>
                  <a:cubicBezTo>
                    <a:pt x="272173" y="77819"/>
                    <a:pt x="272173" y="77819"/>
                    <a:pt x="272173" y="77819"/>
                  </a:cubicBezTo>
                  <a:lnTo>
                    <a:pt x="263281" y="75278"/>
                  </a:lnTo>
                  <a:lnTo>
                    <a:pt x="21925" y="4141"/>
                  </a:lnTo>
                  <a:lnTo>
                    <a:pt x="9222" y="330"/>
                  </a:lnTo>
                  <a:cubicBezTo>
                    <a:pt x="5412" y="-940"/>
                    <a:pt x="1601" y="1601"/>
                    <a:pt x="330" y="5412"/>
                  </a:cubicBezTo>
                  <a:cubicBezTo>
                    <a:pt x="330" y="5412"/>
                    <a:pt x="330" y="5412"/>
                    <a:pt x="330" y="5412"/>
                  </a:cubicBezTo>
                  <a:cubicBezTo>
                    <a:pt x="-940" y="9223"/>
                    <a:pt x="1601" y="13034"/>
                    <a:pt x="5412" y="14304"/>
                  </a:cubicBezTo>
                  <a:cubicBezTo>
                    <a:pt x="5412" y="14304"/>
                    <a:pt x="5412" y="14304"/>
                    <a:pt x="5412" y="14304"/>
                  </a:cubicBezTo>
                  <a:lnTo>
                    <a:pt x="268362" y="93063"/>
                  </a:lnTo>
                  <a:cubicBezTo>
                    <a:pt x="264551" y="91793"/>
                    <a:pt x="262011" y="87981"/>
                    <a:pt x="263281" y="82900"/>
                  </a:cubicBezTo>
                  <a:cubicBezTo>
                    <a:pt x="263281" y="82900"/>
                    <a:pt x="263281" y="82900"/>
                    <a:pt x="263281" y="82900"/>
                  </a:cubicBezTo>
                  <a:close/>
                </a:path>
              </a:pathLst>
            </a:custGeom>
            <a:solidFill>
              <a:srgbClr val="000000"/>
            </a:solidFill>
            <a:ln w="12688"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E9650602-8FA9-40C0-A0ED-5336AB685179}"/>
                </a:ext>
              </a:extLst>
            </p:cNvPr>
            <p:cNvSpPr/>
            <p:nvPr/>
          </p:nvSpPr>
          <p:spPr>
            <a:xfrm>
              <a:off x="5821422" y="5374329"/>
              <a:ext cx="255989" cy="85771"/>
            </a:xfrm>
            <a:custGeom>
              <a:avLst/>
              <a:gdLst>
                <a:gd name="connsiteX0" fmla="*/ 9223 w 255989"/>
                <a:gd name="connsiteY0" fmla="*/ 330 h 85771"/>
                <a:gd name="connsiteX1" fmla="*/ 330 w 255989"/>
                <a:gd name="connsiteY1" fmla="*/ 5412 h 85771"/>
                <a:gd name="connsiteX2" fmla="*/ 5412 w 255989"/>
                <a:gd name="connsiteY2" fmla="*/ 14304 h 85771"/>
                <a:gd name="connsiteX3" fmla="*/ 246767 w 255989"/>
                <a:gd name="connsiteY3" fmla="*/ 85441 h 85771"/>
                <a:gd name="connsiteX4" fmla="*/ 255659 w 255989"/>
                <a:gd name="connsiteY4" fmla="*/ 80360 h 85771"/>
                <a:gd name="connsiteX5" fmla="*/ 250578 w 255989"/>
                <a:gd name="connsiteY5" fmla="*/ 71468 h 85771"/>
                <a:gd name="connsiteX6" fmla="*/ 250578 w 255989"/>
                <a:gd name="connsiteY6" fmla="*/ 71468 h 85771"/>
                <a:gd name="connsiteX7" fmla="*/ 241686 w 255989"/>
                <a:gd name="connsiteY7" fmla="*/ 68927 h 85771"/>
                <a:gd name="connsiteX8" fmla="*/ 15574 w 255989"/>
                <a:gd name="connsiteY8" fmla="*/ 1601 h 85771"/>
                <a:gd name="connsiteX9" fmla="*/ 9223 w 255989"/>
                <a:gd name="connsiteY9" fmla="*/ 330 h 8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989" h="85771">
                  <a:moveTo>
                    <a:pt x="9223" y="330"/>
                  </a:moveTo>
                  <a:cubicBezTo>
                    <a:pt x="5412" y="-940"/>
                    <a:pt x="1601" y="1601"/>
                    <a:pt x="330" y="5412"/>
                  </a:cubicBezTo>
                  <a:cubicBezTo>
                    <a:pt x="-940" y="9222"/>
                    <a:pt x="1601" y="13034"/>
                    <a:pt x="5412" y="14304"/>
                  </a:cubicBezTo>
                  <a:lnTo>
                    <a:pt x="246767" y="85441"/>
                  </a:lnTo>
                  <a:cubicBezTo>
                    <a:pt x="250578" y="86711"/>
                    <a:pt x="254389" y="84171"/>
                    <a:pt x="255659" y="80360"/>
                  </a:cubicBezTo>
                  <a:cubicBezTo>
                    <a:pt x="256930" y="76549"/>
                    <a:pt x="254389" y="72738"/>
                    <a:pt x="250578" y="71468"/>
                  </a:cubicBezTo>
                  <a:lnTo>
                    <a:pt x="250578" y="71468"/>
                  </a:lnTo>
                  <a:lnTo>
                    <a:pt x="241686" y="68927"/>
                  </a:lnTo>
                  <a:lnTo>
                    <a:pt x="15574" y="1601"/>
                  </a:lnTo>
                  <a:lnTo>
                    <a:pt x="9223" y="330"/>
                  </a:lnTo>
                  <a:close/>
                </a:path>
              </a:pathLst>
            </a:custGeom>
            <a:solidFill>
              <a:srgbClr val="000000"/>
            </a:solidFill>
            <a:ln w="12688"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6459885C-7811-4F59-B950-BA4D28436333}"/>
                </a:ext>
              </a:extLst>
            </p:cNvPr>
            <p:cNvSpPr/>
            <p:nvPr/>
          </p:nvSpPr>
          <p:spPr>
            <a:xfrm>
              <a:off x="6556921" y="5594092"/>
              <a:ext cx="150225" cy="56223"/>
            </a:xfrm>
            <a:custGeom>
              <a:avLst/>
              <a:gdLst>
                <a:gd name="connsiteX0" fmla="*/ 331 w 150225"/>
                <a:gd name="connsiteY0" fmla="*/ 5412 h 56223"/>
                <a:gd name="connsiteX1" fmla="*/ 5411 w 150225"/>
                <a:gd name="connsiteY1" fmla="*/ 14304 h 56223"/>
                <a:gd name="connsiteX2" fmla="*/ 5411 w 150225"/>
                <a:gd name="connsiteY2" fmla="*/ 14304 h 56223"/>
                <a:gd name="connsiteX3" fmla="*/ 146414 w 150225"/>
                <a:gd name="connsiteY3" fmla="*/ 56224 h 56223"/>
                <a:gd name="connsiteX4" fmla="*/ 141333 w 150225"/>
                <a:gd name="connsiteY4" fmla="*/ 47332 h 56223"/>
                <a:gd name="connsiteX5" fmla="*/ 150225 w 150225"/>
                <a:gd name="connsiteY5" fmla="*/ 42251 h 56223"/>
                <a:gd name="connsiteX6" fmla="*/ 150225 w 150225"/>
                <a:gd name="connsiteY6" fmla="*/ 42251 h 56223"/>
                <a:gd name="connsiteX7" fmla="*/ 9223 w 150225"/>
                <a:gd name="connsiteY7" fmla="*/ 330 h 56223"/>
                <a:gd name="connsiteX8" fmla="*/ 331 w 150225"/>
                <a:gd name="connsiteY8" fmla="*/ 5412 h 56223"/>
                <a:gd name="connsiteX9" fmla="*/ 331 w 150225"/>
                <a:gd name="connsiteY9" fmla="*/ 5412 h 5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225" h="56223">
                  <a:moveTo>
                    <a:pt x="331" y="5412"/>
                  </a:moveTo>
                  <a:cubicBezTo>
                    <a:pt x="-940" y="9223"/>
                    <a:pt x="1601" y="13034"/>
                    <a:pt x="5411" y="14304"/>
                  </a:cubicBezTo>
                  <a:cubicBezTo>
                    <a:pt x="5411" y="14304"/>
                    <a:pt x="5411" y="14304"/>
                    <a:pt x="5411" y="14304"/>
                  </a:cubicBezTo>
                  <a:lnTo>
                    <a:pt x="146414" y="56224"/>
                  </a:lnTo>
                  <a:cubicBezTo>
                    <a:pt x="142604" y="54954"/>
                    <a:pt x="140063" y="51143"/>
                    <a:pt x="141333" y="47332"/>
                  </a:cubicBezTo>
                  <a:cubicBezTo>
                    <a:pt x="142604" y="43521"/>
                    <a:pt x="146414" y="40980"/>
                    <a:pt x="150225" y="42251"/>
                  </a:cubicBezTo>
                  <a:lnTo>
                    <a:pt x="150225" y="42251"/>
                  </a:lnTo>
                  <a:lnTo>
                    <a:pt x="9223" y="330"/>
                  </a:lnTo>
                  <a:cubicBezTo>
                    <a:pt x="5411" y="-940"/>
                    <a:pt x="1601" y="1601"/>
                    <a:pt x="331" y="5412"/>
                  </a:cubicBezTo>
                  <a:cubicBezTo>
                    <a:pt x="331" y="5412"/>
                    <a:pt x="331" y="5412"/>
                    <a:pt x="331" y="5412"/>
                  </a:cubicBezTo>
                  <a:close/>
                </a:path>
              </a:pathLst>
            </a:custGeom>
            <a:solidFill>
              <a:srgbClr val="000000"/>
            </a:solidFill>
            <a:ln w="12688"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0422EA21-DDFA-40FE-8530-A820F6BC3A76}"/>
                </a:ext>
              </a:extLst>
            </p:cNvPr>
            <p:cNvSpPr/>
            <p:nvPr/>
          </p:nvSpPr>
          <p:spPr>
            <a:xfrm>
              <a:off x="6697924" y="5636342"/>
              <a:ext cx="185793" cy="65283"/>
            </a:xfrm>
            <a:custGeom>
              <a:avLst/>
              <a:gdLst>
                <a:gd name="connsiteX0" fmla="*/ 330 w 185793"/>
                <a:gd name="connsiteY0" fmla="*/ 5081 h 65283"/>
                <a:gd name="connsiteX1" fmla="*/ 5412 w 185793"/>
                <a:gd name="connsiteY1" fmla="*/ 13973 h 65283"/>
                <a:gd name="connsiteX2" fmla="*/ 164198 w 185793"/>
                <a:gd name="connsiteY2" fmla="*/ 60974 h 65283"/>
                <a:gd name="connsiteX3" fmla="*/ 176901 w 185793"/>
                <a:gd name="connsiteY3" fmla="*/ 64785 h 65283"/>
                <a:gd name="connsiteX4" fmla="*/ 184523 w 185793"/>
                <a:gd name="connsiteY4" fmla="*/ 62245 h 65283"/>
                <a:gd name="connsiteX5" fmla="*/ 185794 w 185793"/>
                <a:gd name="connsiteY5" fmla="*/ 60974 h 65283"/>
                <a:gd name="connsiteX6" fmla="*/ 185794 w 185793"/>
                <a:gd name="connsiteY6" fmla="*/ 59704 h 65283"/>
                <a:gd name="connsiteX7" fmla="*/ 185794 w 185793"/>
                <a:gd name="connsiteY7" fmla="*/ 59704 h 65283"/>
                <a:gd name="connsiteX8" fmla="*/ 185794 w 185793"/>
                <a:gd name="connsiteY8" fmla="*/ 58434 h 65283"/>
                <a:gd name="connsiteX9" fmla="*/ 185794 w 185793"/>
                <a:gd name="connsiteY9" fmla="*/ 57164 h 65283"/>
                <a:gd name="connsiteX10" fmla="*/ 185794 w 185793"/>
                <a:gd name="connsiteY10" fmla="*/ 55893 h 65283"/>
                <a:gd name="connsiteX11" fmla="*/ 185794 w 185793"/>
                <a:gd name="connsiteY11" fmla="*/ 54623 h 65283"/>
                <a:gd name="connsiteX12" fmla="*/ 185794 w 185793"/>
                <a:gd name="connsiteY12" fmla="*/ 54623 h 65283"/>
                <a:gd name="connsiteX13" fmla="*/ 184523 w 185793"/>
                <a:gd name="connsiteY13" fmla="*/ 53353 h 65283"/>
                <a:gd name="connsiteX14" fmla="*/ 184523 w 185793"/>
                <a:gd name="connsiteY14" fmla="*/ 53353 h 65283"/>
                <a:gd name="connsiteX15" fmla="*/ 183253 w 185793"/>
                <a:gd name="connsiteY15" fmla="*/ 52082 h 65283"/>
                <a:gd name="connsiteX16" fmla="*/ 181982 w 185793"/>
                <a:gd name="connsiteY16" fmla="*/ 50812 h 65283"/>
                <a:gd name="connsiteX17" fmla="*/ 181982 w 185793"/>
                <a:gd name="connsiteY17" fmla="*/ 50812 h 65283"/>
                <a:gd name="connsiteX18" fmla="*/ 180712 w 185793"/>
                <a:gd name="connsiteY18" fmla="*/ 50812 h 65283"/>
                <a:gd name="connsiteX19" fmla="*/ 180712 w 185793"/>
                <a:gd name="connsiteY19" fmla="*/ 50812 h 65283"/>
                <a:gd name="connsiteX20" fmla="*/ 9222 w 185793"/>
                <a:gd name="connsiteY20" fmla="*/ 0 h 65283"/>
                <a:gd name="connsiteX21" fmla="*/ 330 w 185793"/>
                <a:gd name="connsiteY21" fmla="*/ 5081 h 65283"/>
                <a:gd name="connsiteX22" fmla="*/ 330 w 185793"/>
                <a:gd name="connsiteY22" fmla="*/ 5081 h 6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5793" h="65283">
                  <a:moveTo>
                    <a:pt x="330" y="5081"/>
                  </a:moveTo>
                  <a:cubicBezTo>
                    <a:pt x="-940" y="8892"/>
                    <a:pt x="1601" y="12703"/>
                    <a:pt x="5412" y="13973"/>
                  </a:cubicBezTo>
                  <a:lnTo>
                    <a:pt x="164198" y="60974"/>
                  </a:lnTo>
                  <a:lnTo>
                    <a:pt x="176901" y="64785"/>
                  </a:lnTo>
                  <a:cubicBezTo>
                    <a:pt x="179442" y="66056"/>
                    <a:pt x="181982" y="64785"/>
                    <a:pt x="184523" y="62245"/>
                  </a:cubicBezTo>
                  <a:cubicBezTo>
                    <a:pt x="184523" y="62245"/>
                    <a:pt x="185794" y="60974"/>
                    <a:pt x="185794" y="60974"/>
                  </a:cubicBezTo>
                  <a:cubicBezTo>
                    <a:pt x="185794" y="60974"/>
                    <a:pt x="185794" y="59704"/>
                    <a:pt x="185794" y="59704"/>
                  </a:cubicBezTo>
                  <a:lnTo>
                    <a:pt x="185794" y="59704"/>
                  </a:lnTo>
                  <a:cubicBezTo>
                    <a:pt x="185794" y="59704"/>
                    <a:pt x="185794" y="59704"/>
                    <a:pt x="185794" y="58434"/>
                  </a:cubicBezTo>
                  <a:cubicBezTo>
                    <a:pt x="185794" y="57164"/>
                    <a:pt x="185794" y="57164"/>
                    <a:pt x="185794" y="57164"/>
                  </a:cubicBezTo>
                  <a:cubicBezTo>
                    <a:pt x="185794" y="57164"/>
                    <a:pt x="185794" y="55893"/>
                    <a:pt x="185794" y="55893"/>
                  </a:cubicBezTo>
                  <a:lnTo>
                    <a:pt x="185794" y="54623"/>
                  </a:lnTo>
                  <a:lnTo>
                    <a:pt x="185794" y="54623"/>
                  </a:lnTo>
                  <a:lnTo>
                    <a:pt x="184523" y="53353"/>
                  </a:lnTo>
                  <a:lnTo>
                    <a:pt x="184523" y="53353"/>
                  </a:lnTo>
                  <a:lnTo>
                    <a:pt x="183253" y="52082"/>
                  </a:lnTo>
                  <a:lnTo>
                    <a:pt x="181982" y="50812"/>
                  </a:lnTo>
                  <a:lnTo>
                    <a:pt x="181982" y="50812"/>
                  </a:lnTo>
                  <a:lnTo>
                    <a:pt x="180712" y="50812"/>
                  </a:lnTo>
                  <a:lnTo>
                    <a:pt x="180712" y="50812"/>
                  </a:lnTo>
                  <a:lnTo>
                    <a:pt x="9222" y="0"/>
                  </a:lnTo>
                  <a:cubicBezTo>
                    <a:pt x="6682" y="0"/>
                    <a:pt x="2871" y="1270"/>
                    <a:pt x="330" y="5081"/>
                  </a:cubicBezTo>
                  <a:cubicBezTo>
                    <a:pt x="330" y="5081"/>
                    <a:pt x="330" y="5081"/>
                    <a:pt x="330" y="5081"/>
                  </a:cubicBezTo>
                  <a:close/>
                </a:path>
              </a:pathLst>
            </a:custGeom>
            <a:solidFill>
              <a:srgbClr val="000000"/>
            </a:solidFill>
            <a:ln w="12688"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9E43B946-D65E-49CB-8AB0-9967C0BF2989}"/>
                </a:ext>
              </a:extLst>
            </p:cNvPr>
            <p:cNvSpPr/>
            <p:nvPr/>
          </p:nvSpPr>
          <p:spPr>
            <a:xfrm>
              <a:off x="1092451" y="4283468"/>
              <a:ext cx="259139" cy="92732"/>
            </a:xfrm>
            <a:custGeom>
              <a:avLst/>
              <a:gdLst>
                <a:gd name="connsiteX0" fmla="*/ 255329 w 259139"/>
                <a:gd name="connsiteY0" fmla="*/ 92732 h 92732"/>
                <a:gd name="connsiteX1" fmla="*/ 250248 w 259139"/>
                <a:gd name="connsiteY1" fmla="*/ 83840 h 92732"/>
                <a:gd name="connsiteX2" fmla="*/ 259140 w 259139"/>
                <a:gd name="connsiteY2" fmla="*/ 78759 h 92732"/>
                <a:gd name="connsiteX3" fmla="*/ 259140 w 259139"/>
                <a:gd name="connsiteY3" fmla="*/ 78759 h 92732"/>
                <a:gd name="connsiteX4" fmla="*/ 3811 w 259139"/>
                <a:gd name="connsiteY4" fmla="*/ 0 h 92732"/>
                <a:gd name="connsiteX5" fmla="*/ 3811 w 259139"/>
                <a:gd name="connsiteY5" fmla="*/ 0 h 92732"/>
                <a:gd name="connsiteX6" fmla="*/ 8892 w 259139"/>
                <a:gd name="connsiteY6" fmla="*/ 8892 h 92732"/>
                <a:gd name="connsiteX7" fmla="*/ 8892 w 259139"/>
                <a:gd name="connsiteY7" fmla="*/ 8892 h 92732"/>
                <a:gd name="connsiteX8" fmla="*/ 0 w 259139"/>
                <a:gd name="connsiteY8" fmla="*/ 13973 h 92732"/>
                <a:gd name="connsiteX9" fmla="*/ 0 w 259139"/>
                <a:gd name="connsiteY9" fmla="*/ 13973 h 92732"/>
                <a:gd name="connsiteX10" fmla="*/ 10162 w 259139"/>
                <a:gd name="connsiteY10" fmla="*/ 17784 h 92732"/>
                <a:gd name="connsiteX11" fmla="*/ 250248 w 259139"/>
                <a:gd name="connsiteY11" fmla="*/ 91462 h 92732"/>
                <a:gd name="connsiteX12" fmla="*/ 255329 w 259139"/>
                <a:gd name="connsiteY12" fmla="*/ 92732 h 9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9139" h="92732">
                  <a:moveTo>
                    <a:pt x="255329" y="92732"/>
                  </a:moveTo>
                  <a:cubicBezTo>
                    <a:pt x="251518" y="91462"/>
                    <a:pt x="248977" y="87651"/>
                    <a:pt x="250248" y="83840"/>
                  </a:cubicBezTo>
                  <a:cubicBezTo>
                    <a:pt x="251518" y="80029"/>
                    <a:pt x="255329" y="77488"/>
                    <a:pt x="259140" y="78759"/>
                  </a:cubicBezTo>
                  <a:lnTo>
                    <a:pt x="259140" y="78759"/>
                  </a:lnTo>
                  <a:lnTo>
                    <a:pt x="3811" y="0"/>
                  </a:lnTo>
                  <a:lnTo>
                    <a:pt x="3811" y="0"/>
                  </a:lnTo>
                  <a:cubicBezTo>
                    <a:pt x="7622" y="1270"/>
                    <a:pt x="10162" y="5081"/>
                    <a:pt x="8892" y="8892"/>
                  </a:cubicBezTo>
                  <a:cubicBezTo>
                    <a:pt x="8892" y="8892"/>
                    <a:pt x="8892" y="8892"/>
                    <a:pt x="8892" y="8892"/>
                  </a:cubicBezTo>
                  <a:cubicBezTo>
                    <a:pt x="7622" y="12703"/>
                    <a:pt x="3811" y="15243"/>
                    <a:pt x="0" y="13973"/>
                  </a:cubicBezTo>
                  <a:cubicBezTo>
                    <a:pt x="0" y="13973"/>
                    <a:pt x="0" y="13973"/>
                    <a:pt x="0" y="13973"/>
                  </a:cubicBezTo>
                  <a:lnTo>
                    <a:pt x="10162" y="17784"/>
                  </a:lnTo>
                  <a:lnTo>
                    <a:pt x="250248" y="91462"/>
                  </a:lnTo>
                  <a:lnTo>
                    <a:pt x="255329" y="92732"/>
                  </a:lnTo>
                  <a:close/>
                </a:path>
              </a:pathLst>
            </a:custGeom>
            <a:solidFill>
              <a:srgbClr val="000000"/>
            </a:solidFill>
            <a:ln w="12688"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B6A5BFF7-6AFE-40E2-B6B1-994A2C5A4EC6}"/>
                </a:ext>
              </a:extLst>
            </p:cNvPr>
            <p:cNvSpPr/>
            <p:nvPr/>
          </p:nvSpPr>
          <p:spPr>
            <a:xfrm>
              <a:off x="1342369" y="4363020"/>
              <a:ext cx="54013" cy="25882"/>
            </a:xfrm>
            <a:custGeom>
              <a:avLst/>
              <a:gdLst>
                <a:gd name="connsiteX0" fmla="*/ 330 w 54013"/>
                <a:gd name="connsiteY0" fmla="*/ 4287 h 25882"/>
                <a:gd name="connsiteX1" fmla="*/ 5412 w 54013"/>
                <a:gd name="connsiteY1" fmla="*/ 13179 h 25882"/>
                <a:gd name="connsiteX2" fmla="*/ 5412 w 54013"/>
                <a:gd name="connsiteY2" fmla="*/ 13179 h 25882"/>
                <a:gd name="connsiteX3" fmla="*/ 15574 w 54013"/>
                <a:gd name="connsiteY3" fmla="*/ 16990 h 25882"/>
                <a:gd name="connsiteX4" fmla="*/ 44791 w 54013"/>
                <a:gd name="connsiteY4" fmla="*/ 25882 h 25882"/>
                <a:gd name="connsiteX5" fmla="*/ 44791 w 54013"/>
                <a:gd name="connsiteY5" fmla="*/ 25882 h 25882"/>
                <a:gd name="connsiteX6" fmla="*/ 46061 w 54013"/>
                <a:gd name="connsiteY6" fmla="*/ 25882 h 25882"/>
                <a:gd name="connsiteX7" fmla="*/ 47331 w 54013"/>
                <a:gd name="connsiteY7" fmla="*/ 25882 h 25882"/>
                <a:gd name="connsiteX8" fmla="*/ 48602 w 54013"/>
                <a:gd name="connsiteY8" fmla="*/ 25882 h 25882"/>
                <a:gd name="connsiteX9" fmla="*/ 48602 w 54013"/>
                <a:gd name="connsiteY9" fmla="*/ 25882 h 25882"/>
                <a:gd name="connsiteX10" fmla="*/ 49872 w 54013"/>
                <a:gd name="connsiteY10" fmla="*/ 25882 h 25882"/>
                <a:gd name="connsiteX11" fmla="*/ 49872 w 54013"/>
                <a:gd name="connsiteY11" fmla="*/ 25882 h 25882"/>
                <a:gd name="connsiteX12" fmla="*/ 53683 w 54013"/>
                <a:gd name="connsiteY12" fmla="*/ 22072 h 25882"/>
                <a:gd name="connsiteX13" fmla="*/ 48602 w 54013"/>
                <a:gd name="connsiteY13" fmla="*/ 13179 h 25882"/>
                <a:gd name="connsiteX14" fmla="*/ 48602 w 54013"/>
                <a:gd name="connsiteY14" fmla="*/ 13179 h 25882"/>
                <a:gd name="connsiteX15" fmla="*/ 44791 w 54013"/>
                <a:gd name="connsiteY15" fmla="*/ 11909 h 25882"/>
                <a:gd name="connsiteX16" fmla="*/ 37169 w 54013"/>
                <a:gd name="connsiteY16" fmla="*/ 9369 h 25882"/>
                <a:gd name="connsiteX17" fmla="*/ 7952 w 54013"/>
                <a:gd name="connsiteY17" fmla="*/ 476 h 25882"/>
                <a:gd name="connsiteX18" fmla="*/ 7952 w 54013"/>
                <a:gd name="connsiteY18" fmla="*/ 476 h 25882"/>
                <a:gd name="connsiteX19" fmla="*/ 330 w 54013"/>
                <a:gd name="connsiteY19" fmla="*/ 4287 h 2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013" h="25882">
                  <a:moveTo>
                    <a:pt x="330" y="4287"/>
                  </a:moveTo>
                  <a:cubicBezTo>
                    <a:pt x="-940" y="8098"/>
                    <a:pt x="1601" y="11909"/>
                    <a:pt x="5412" y="13179"/>
                  </a:cubicBezTo>
                  <a:cubicBezTo>
                    <a:pt x="5412" y="13179"/>
                    <a:pt x="5412" y="13179"/>
                    <a:pt x="5412" y="13179"/>
                  </a:cubicBezTo>
                  <a:lnTo>
                    <a:pt x="15574" y="16990"/>
                  </a:lnTo>
                  <a:lnTo>
                    <a:pt x="44791" y="25882"/>
                  </a:lnTo>
                  <a:lnTo>
                    <a:pt x="44791" y="25882"/>
                  </a:lnTo>
                  <a:lnTo>
                    <a:pt x="46061" y="25882"/>
                  </a:lnTo>
                  <a:lnTo>
                    <a:pt x="47331" y="25882"/>
                  </a:lnTo>
                  <a:lnTo>
                    <a:pt x="48602" y="25882"/>
                  </a:lnTo>
                  <a:lnTo>
                    <a:pt x="48602" y="25882"/>
                  </a:lnTo>
                  <a:lnTo>
                    <a:pt x="49872" y="25882"/>
                  </a:lnTo>
                  <a:lnTo>
                    <a:pt x="49872" y="25882"/>
                  </a:lnTo>
                  <a:cubicBezTo>
                    <a:pt x="51142" y="24612"/>
                    <a:pt x="52413" y="23342"/>
                    <a:pt x="53683" y="22072"/>
                  </a:cubicBezTo>
                  <a:cubicBezTo>
                    <a:pt x="54953" y="18261"/>
                    <a:pt x="52413" y="14450"/>
                    <a:pt x="48602" y="13179"/>
                  </a:cubicBezTo>
                  <a:cubicBezTo>
                    <a:pt x="48602" y="13179"/>
                    <a:pt x="48602" y="13179"/>
                    <a:pt x="48602" y="13179"/>
                  </a:cubicBezTo>
                  <a:lnTo>
                    <a:pt x="44791" y="11909"/>
                  </a:lnTo>
                  <a:lnTo>
                    <a:pt x="37169" y="9369"/>
                  </a:lnTo>
                  <a:lnTo>
                    <a:pt x="7952" y="476"/>
                  </a:lnTo>
                  <a:lnTo>
                    <a:pt x="7952" y="476"/>
                  </a:lnTo>
                  <a:cubicBezTo>
                    <a:pt x="4141" y="-794"/>
                    <a:pt x="1601" y="476"/>
                    <a:pt x="330" y="4287"/>
                  </a:cubicBezTo>
                  <a:close/>
                </a:path>
              </a:pathLst>
            </a:custGeom>
            <a:solidFill>
              <a:srgbClr val="000000"/>
            </a:solidFill>
            <a:ln w="12688"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98BC5FEA-8DA0-4BDD-A48A-0DA5E7A88097}"/>
                </a:ext>
              </a:extLst>
            </p:cNvPr>
            <p:cNvSpPr/>
            <p:nvPr/>
          </p:nvSpPr>
          <p:spPr>
            <a:xfrm>
              <a:off x="3084271" y="829509"/>
              <a:ext cx="25405" cy="284548"/>
            </a:xfrm>
            <a:custGeom>
              <a:avLst/>
              <a:gdLst>
                <a:gd name="connsiteX0" fmla="*/ 10162 w 25405"/>
                <a:gd name="connsiteY0" fmla="*/ 276926 h 284548"/>
                <a:gd name="connsiteX1" fmla="*/ 17784 w 25405"/>
                <a:gd name="connsiteY1" fmla="*/ 284548 h 284548"/>
                <a:gd name="connsiteX2" fmla="*/ 25406 w 25405"/>
                <a:gd name="connsiteY2" fmla="*/ 276926 h 284548"/>
                <a:gd name="connsiteX3" fmla="*/ 25406 w 25405"/>
                <a:gd name="connsiteY3" fmla="*/ 276926 h 284548"/>
                <a:gd name="connsiteX4" fmla="*/ 15243 w 25405"/>
                <a:gd name="connsiteY4" fmla="*/ 0 h 284548"/>
                <a:gd name="connsiteX5" fmla="*/ 7622 w 25405"/>
                <a:gd name="connsiteY5" fmla="*/ 7622 h 284548"/>
                <a:gd name="connsiteX6" fmla="*/ 0 w 25405"/>
                <a:gd name="connsiteY6" fmla="*/ 0 h 284548"/>
                <a:gd name="connsiteX7" fmla="*/ 0 w 25405"/>
                <a:gd name="connsiteY7" fmla="*/ 6352 h 284548"/>
                <a:gd name="connsiteX8" fmla="*/ 10162 w 25405"/>
                <a:gd name="connsiteY8" fmla="*/ 271845 h 284548"/>
                <a:gd name="connsiteX9" fmla="*/ 10162 w 25405"/>
                <a:gd name="connsiteY9" fmla="*/ 276926 h 28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05" h="284548">
                  <a:moveTo>
                    <a:pt x="10162" y="276926"/>
                  </a:moveTo>
                  <a:cubicBezTo>
                    <a:pt x="10162" y="280737"/>
                    <a:pt x="13973" y="284548"/>
                    <a:pt x="17784" y="284548"/>
                  </a:cubicBezTo>
                  <a:cubicBezTo>
                    <a:pt x="21595" y="284548"/>
                    <a:pt x="25406" y="280737"/>
                    <a:pt x="25406" y="276926"/>
                  </a:cubicBezTo>
                  <a:cubicBezTo>
                    <a:pt x="25406" y="276926"/>
                    <a:pt x="25406" y="276926"/>
                    <a:pt x="25406" y="276926"/>
                  </a:cubicBezTo>
                  <a:lnTo>
                    <a:pt x="15243" y="0"/>
                  </a:lnTo>
                  <a:cubicBezTo>
                    <a:pt x="15243" y="3811"/>
                    <a:pt x="11433" y="7622"/>
                    <a:pt x="7622" y="7622"/>
                  </a:cubicBezTo>
                  <a:cubicBezTo>
                    <a:pt x="3811" y="7622"/>
                    <a:pt x="0" y="3811"/>
                    <a:pt x="0" y="0"/>
                  </a:cubicBezTo>
                  <a:lnTo>
                    <a:pt x="0" y="6352"/>
                  </a:lnTo>
                  <a:lnTo>
                    <a:pt x="10162" y="271845"/>
                  </a:lnTo>
                  <a:lnTo>
                    <a:pt x="10162" y="276926"/>
                  </a:lnTo>
                  <a:close/>
                </a:path>
              </a:pathLst>
            </a:custGeom>
            <a:solidFill>
              <a:srgbClr val="000000"/>
            </a:solidFill>
            <a:ln w="12688"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6A8690CD-869B-4AB1-88AB-AFA1856E6202}"/>
                </a:ext>
              </a:extLst>
            </p:cNvPr>
            <p:cNvSpPr/>
            <p:nvPr/>
          </p:nvSpPr>
          <p:spPr>
            <a:xfrm>
              <a:off x="3051243" y="0"/>
              <a:ext cx="48271" cy="838401"/>
            </a:xfrm>
            <a:custGeom>
              <a:avLst/>
              <a:gdLst>
                <a:gd name="connsiteX0" fmla="*/ 40649 w 48271"/>
                <a:gd name="connsiteY0" fmla="*/ 838401 h 838401"/>
                <a:gd name="connsiteX1" fmla="*/ 48271 w 48271"/>
                <a:gd name="connsiteY1" fmla="*/ 830779 h 838401"/>
                <a:gd name="connsiteX2" fmla="*/ 48271 w 48271"/>
                <a:gd name="connsiteY2" fmla="*/ 830779 h 838401"/>
                <a:gd name="connsiteX3" fmla="*/ 15243 w 48271"/>
                <a:gd name="connsiteY3" fmla="*/ 0 h 838401"/>
                <a:gd name="connsiteX4" fmla="*/ 0 w 48271"/>
                <a:gd name="connsiteY4" fmla="*/ 0 h 838401"/>
                <a:gd name="connsiteX5" fmla="*/ 33028 w 48271"/>
                <a:gd name="connsiteY5" fmla="*/ 821887 h 838401"/>
                <a:gd name="connsiteX6" fmla="*/ 33028 w 48271"/>
                <a:gd name="connsiteY6" fmla="*/ 830779 h 838401"/>
                <a:gd name="connsiteX7" fmla="*/ 40649 w 48271"/>
                <a:gd name="connsiteY7" fmla="*/ 838401 h 838401"/>
                <a:gd name="connsiteX8" fmla="*/ 40649 w 48271"/>
                <a:gd name="connsiteY8" fmla="*/ 838401 h 83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71" h="838401">
                  <a:moveTo>
                    <a:pt x="40649" y="838401"/>
                  </a:moveTo>
                  <a:cubicBezTo>
                    <a:pt x="44460" y="838401"/>
                    <a:pt x="48271" y="834590"/>
                    <a:pt x="48271" y="830779"/>
                  </a:cubicBezTo>
                  <a:cubicBezTo>
                    <a:pt x="48271" y="830779"/>
                    <a:pt x="48271" y="830779"/>
                    <a:pt x="48271" y="830779"/>
                  </a:cubicBezTo>
                  <a:lnTo>
                    <a:pt x="15243" y="0"/>
                  </a:lnTo>
                  <a:lnTo>
                    <a:pt x="0" y="0"/>
                  </a:lnTo>
                  <a:lnTo>
                    <a:pt x="33028" y="821887"/>
                  </a:lnTo>
                  <a:lnTo>
                    <a:pt x="33028" y="830779"/>
                  </a:lnTo>
                  <a:cubicBezTo>
                    <a:pt x="31757" y="834590"/>
                    <a:pt x="35568" y="838401"/>
                    <a:pt x="40649" y="838401"/>
                  </a:cubicBezTo>
                  <a:cubicBezTo>
                    <a:pt x="39379" y="838401"/>
                    <a:pt x="40649" y="838401"/>
                    <a:pt x="40649" y="838401"/>
                  </a:cubicBezTo>
                  <a:close/>
                </a:path>
              </a:pathLst>
            </a:custGeom>
            <a:solidFill>
              <a:srgbClr val="000000"/>
            </a:solidFill>
            <a:ln w="12688"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0502A706-B40B-45E4-A1C8-C8D72DE093B5}"/>
                </a:ext>
              </a:extLst>
            </p:cNvPr>
            <p:cNvSpPr/>
            <p:nvPr/>
          </p:nvSpPr>
          <p:spPr>
            <a:xfrm>
              <a:off x="472549" y="6614477"/>
              <a:ext cx="18033" cy="34298"/>
            </a:xfrm>
            <a:custGeom>
              <a:avLst/>
              <a:gdLst>
                <a:gd name="connsiteX0" fmla="*/ 11433 w 18033"/>
                <a:gd name="connsiteY0" fmla="*/ 34298 h 34298"/>
                <a:gd name="connsiteX1" fmla="*/ 17784 w 18033"/>
                <a:gd name="connsiteY1" fmla="*/ 26676 h 34298"/>
                <a:gd name="connsiteX2" fmla="*/ 17784 w 18033"/>
                <a:gd name="connsiteY2" fmla="*/ 26676 h 34298"/>
                <a:gd name="connsiteX3" fmla="*/ 17784 w 18033"/>
                <a:gd name="connsiteY3" fmla="*/ 21595 h 34298"/>
                <a:gd name="connsiteX4" fmla="*/ 15244 w 18033"/>
                <a:gd name="connsiteY4" fmla="*/ 3811 h 34298"/>
                <a:gd name="connsiteX5" fmla="*/ 15244 w 18033"/>
                <a:gd name="connsiteY5" fmla="*/ 0 h 34298"/>
                <a:gd name="connsiteX6" fmla="*/ 8892 w 18033"/>
                <a:gd name="connsiteY6" fmla="*/ 8892 h 34298"/>
                <a:gd name="connsiteX7" fmla="*/ 0 w 18033"/>
                <a:gd name="connsiteY7" fmla="*/ 2541 h 34298"/>
                <a:gd name="connsiteX8" fmla="*/ 0 w 18033"/>
                <a:gd name="connsiteY8" fmla="*/ 1270 h 34298"/>
                <a:gd name="connsiteX9" fmla="*/ 2541 w 18033"/>
                <a:gd name="connsiteY9" fmla="*/ 26676 h 34298"/>
                <a:gd name="connsiteX10" fmla="*/ 11433 w 18033"/>
                <a:gd name="connsiteY10" fmla="*/ 34298 h 34298"/>
                <a:gd name="connsiteX11" fmla="*/ 11433 w 18033"/>
                <a:gd name="connsiteY11" fmla="*/ 34298 h 3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33" h="34298">
                  <a:moveTo>
                    <a:pt x="11433" y="34298"/>
                  </a:moveTo>
                  <a:cubicBezTo>
                    <a:pt x="15244" y="34298"/>
                    <a:pt x="19054" y="30487"/>
                    <a:pt x="17784" y="26676"/>
                  </a:cubicBezTo>
                  <a:cubicBezTo>
                    <a:pt x="17784" y="26676"/>
                    <a:pt x="17784" y="26676"/>
                    <a:pt x="17784" y="26676"/>
                  </a:cubicBezTo>
                  <a:lnTo>
                    <a:pt x="17784" y="21595"/>
                  </a:lnTo>
                  <a:lnTo>
                    <a:pt x="15244" y="3811"/>
                  </a:lnTo>
                  <a:lnTo>
                    <a:pt x="15244" y="0"/>
                  </a:lnTo>
                  <a:cubicBezTo>
                    <a:pt x="16514" y="3811"/>
                    <a:pt x="12703" y="7622"/>
                    <a:pt x="8892" y="8892"/>
                  </a:cubicBezTo>
                  <a:cubicBezTo>
                    <a:pt x="5081" y="10162"/>
                    <a:pt x="1270" y="6352"/>
                    <a:pt x="0" y="2541"/>
                  </a:cubicBezTo>
                  <a:cubicBezTo>
                    <a:pt x="0" y="2541"/>
                    <a:pt x="0" y="1270"/>
                    <a:pt x="0" y="1270"/>
                  </a:cubicBezTo>
                  <a:lnTo>
                    <a:pt x="2541" y="26676"/>
                  </a:lnTo>
                  <a:cubicBezTo>
                    <a:pt x="3811" y="30487"/>
                    <a:pt x="6351" y="34298"/>
                    <a:pt x="11433" y="34298"/>
                  </a:cubicBezTo>
                  <a:cubicBezTo>
                    <a:pt x="11433" y="34298"/>
                    <a:pt x="11433" y="34298"/>
                    <a:pt x="11433" y="34298"/>
                  </a:cubicBezTo>
                  <a:close/>
                </a:path>
              </a:pathLst>
            </a:custGeom>
            <a:solidFill>
              <a:srgbClr val="000000"/>
            </a:solidFill>
            <a:ln w="12688"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558A13CA-1B9B-4A82-82DE-D7B76336B290}"/>
                </a:ext>
              </a:extLst>
            </p:cNvPr>
            <p:cNvSpPr/>
            <p:nvPr/>
          </p:nvSpPr>
          <p:spPr>
            <a:xfrm>
              <a:off x="1075938" y="6210520"/>
              <a:ext cx="72406" cy="642774"/>
            </a:xfrm>
            <a:custGeom>
              <a:avLst/>
              <a:gdLst>
                <a:gd name="connsiteX0" fmla="*/ 13973 w 72406"/>
                <a:gd name="connsiteY0" fmla="*/ 6352 h 642774"/>
                <a:gd name="connsiteX1" fmla="*/ 8892 w 72406"/>
                <a:gd name="connsiteY1" fmla="*/ 0 h 642774"/>
                <a:gd name="connsiteX2" fmla="*/ 7622 w 72406"/>
                <a:gd name="connsiteY2" fmla="*/ 0 h 642774"/>
                <a:gd name="connsiteX3" fmla="*/ 6351 w 72406"/>
                <a:gd name="connsiteY3" fmla="*/ 0 h 642774"/>
                <a:gd name="connsiteX4" fmla="*/ 5081 w 72406"/>
                <a:gd name="connsiteY4" fmla="*/ 0 h 642774"/>
                <a:gd name="connsiteX5" fmla="*/ 3811 w 72406"/>
                <a:gd name="connsiteY5" fmla="*/ 0 h 642774"/>
                <a:gd name="connsiteX6" fmla="*/ 2541 w 72406"/>
                <a:gd name="connsiteY6" fmla="*/ 0 h 642774"/>
                <a:gd name="connsiteX7" fmla="*/ 1270 w 72406"/>
                <a:gd name="connsiteY7" fmla="*/ 1270 h 642774"/>
                <a:gd name="connsiteX8" fmla="*/ 1270 w 72406"/>
                <a:gd name="connsiteY8" fmla="*/ 2541 h 642774"/>
                <a:gd name="connsiteX9" fmla="*/ 0 w 72406"/>
                <a:gd name="connsiteY9" fmla="*/ 3811 h 642774"/>
                <a:gd name="connsiteX10" fmla="*/ 0 w 72406"/>
                <a:gd name="connsiteY10" fmla="*/ 5081 h 642774"/>
                <a:gd name="connsiteX11" fmla="*/ 0 w 72406"/>
                <a:gd name="connsiteY11" fmla="*/ 6352 h 642774"/>
                <a:gd name="connsiteX12" fmla="*/ 0 w 72406"/>
                <a:gd name="connsiteY12" fmla="*/ 6352 h 642774"/>
                <a:gd name="connsiteX13" fmla="*/ 58434 w 72406"/>
                <a:gd name="connsiteY13" fmla="*/ 642774 h 642774"/>
                <a:gd name="connsiteX14" fmla="*/ 72407 w 72406"/>
                <a:gd name="connsiteY14" fmla="*/ 642774 h 642774"/>
                <a:gd name="connsiteX15" fmla="*/ 13973 w 72406"/>
                <a:gd name="connsiteY15" fmla="*/ 16514 h 642774"/>
                <a:gd name="connsiteX16" fmla="*/ 13973 w 72406"/>
                <a:gd name="connsiteY16" fmla="*/ 6352 h 64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406" h="642774">
                  <a:moveTo>
                    <a:pt x="13973" y="6352"/>
                  </a:moveTo>
                  <a:cubicBezTo>
                    <a:pt x="13973" y="3811"/>
                    <a:pt x="11433" y="1270"/>
                    <a:pt x="8892" y="0"/>
                  </a:cubicBezTo>
                  <a:lnTo>
                    <a:pt x="7622" y="0"/>
                  </a:lnTo>
                  <a:lnTo>
                    <a:pt x="6351" y="0"/>
                  </a:lnTo>
                  <a:lnTo>
                    <a:pt x="5081" y="0"/>
                  </a:lnTo>
                  <a:lnTo>
                    <a:pt x="3811" y="0"/>
                  </a:lnTo>
                  <a:lnTo>
                    <a:pt x="2541" y="0"/>
                  </a:lnTo>
                  <a:lnTo>
                    <a:pt x="1270" y="1270"/>
                  </a:lnTo>
                  <a:cubicBezTo>
                    <a:pt x="1270" y="1270"/>
                    <a:pt x="1270" y="2541"/>
                    <a:pt x="1270" y="2541"/>
                  </a:cubicBezTo>
                  <a:cubicBezTo>
                    <a:pt x="1270" y="2541"/>
                    <a:pt x="1270" y="3811"/>
                    <a:pt x="0" y="3811"/>
                  </a:cubicBezTo>
                  <a:cubicBezTo>
                    <a:pt x="0" y="3811"/>
                    <a:pt x="0" y="5081"/>
                    <a:pt x="0" y="5081"/>
                  </a:cubicBezTo>
                  <a:cubicBezTo>
                    <a:pt x="0" y="5081"/>
                    <a:pt x="0" y="6352"/>
                    <a:pt x="0" y="6352"/>
                  </a:cubicBezTo>
                  <a:lnTo>
                    <a:pt x="0" y="6352"/>
                  </a:lnTo>
                  <a:lnTo>
                    <a:pt x="58434" y="642774"/>
                  </a:lnTo>
                  <a:lnTo>
                    <a:pt x="72407" y="642774"/>
                  </a:lnTo>
                  <a:lnTo>
                    <a:pt x="13973" y="16514"/>
                  </a:lnTo>
                  <a:lnTo>
                    <a:pt x="13973" y="6352"/>
                  </a:lnTo>
                  <a:close/>
                </a:path>
              </a:pathLst>
            </a:custGeom>
            <a:solidFill>
              <a:srgbClr val="000000"/>
            </a:solidFill>
            <a:ln w="12688"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E2F09AEC-C382-4023-8628-E6B15A93A2C2}"/>
                </a:ext>
              </a:extLst>
            </p:cNvPr>
            <p:cNvSpPr/>
            <p:nvPr/>
          </p:nvSpPr>
          <p:spPr>
            <a:xfrm>
              <a:off x="1678057" y="3399335"/>
              <a:ext cx="229922" cy="153706"/>
            </a:xfrm>
            <a:custGeom>
              <a:avLst/>
              <a:gdLst>
                <a:gd name="connsiteX0" fmla="*/ 219761 w 229922"/>
                <a:gd name="connsiteY0" fmla="*/ 10162 h 153706"/>
                <a:gd name="connsiteX1" fmla="*/ 222301 w 229922"/>
                <a:gd name="connsiteY1" fmla="*/ 0 h 153706"/>
                <a:gd name="connsiteX2" fmla="*/ 218490 w 229922"/>
                <a:gd name="connsiteY2" fmla="*/ 2540 h 153706"/>
                <a:gd name="connsiteX3" fmla="*/ 8892 w 229922"/>
                <a:gd name="connsiteY3" fmla="*/ 134652 h 153706"/>
                <a:gd name="connsiteX4" fmla="*/ 0 w 229922"/>
                <a:gd name="connsiteY4" fmla="*/ 141004 h 153706"/>
                <a:gd name="connsiteX5" fmla="*/ 0 w 229922"/>
                <a:gd name="connsiteY5" fmla="*/ 141004 h 153706"/>
                <a:gd name="connsiteX6" fmla="*/ 8892 w 229922"/>
                <a:gd name="connsiteY6" fmla="*/ 146085 h 153706"/>
                <a:gd name="connsiteX7" fmla="*/ 6351 w 229922"/>
                <a:gd name="connsiteY7" fmla="*/ 153707 h 153706"/>
                <a:gd name="connsiteX8" fmla="*/ 6351 w 229922"/>
                <a:gd name="connsiteY8" fmla="*/ 153707 h 153706"/>
                <a:gd name="connsiteX9" fmla="*/ 229923 w 229922"/>
                <a:gd name="connsiteY9" fmla="*/ 12703 h 153706"/>
                <a:gd name="connsiteX10" fmla="*/ 219761 w 229922"/>
                <a:gd name="connsiteY10" fmla="*/ 10162 h 1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922" h="153706">
                  <a:moveTo>
                    <a:pt x="219761" y="10162"/>
                  </a:moveTo>
                  <a:cubicBezTo>
                    <a:pt x="217220" y="6352"/>
                    <a:pt x="218490" y="2540"/>
                    <a:pt x="222301" y="0"/>
                  </a:cubicBezTo>
                  <a:lnTo>
                    <a:pt x="218490" y="2540"/>
                  </a:lnTo>
                  <a:lnTo>
                    <a:pt x="8892" y="134652"/>
                  </a:lnTo>
                  <a:lnTo>
                    <a:pt x="0" y="141004"/>
                  </a:lnTo>
                  <a:lnTo>
                    <a:pt x="0" y="141004"/>
                  </a:lnTo>
                  <a:cubicBezTo>
                    <a:pt x="3811" y="139734"/>
                    <a:pt x="7622" y="142274"/>
                    <a:pt x="8892" y="146085"/>
                  </a:cubicBezTo>
                  <a:cubicBezTo>
                    <a:pt x="10162" y="148625"/>
                    <a:pt x="8892" y="152437"/>
                    <a:pt x="6351" y="153707"/>
                  </a:cubicBezTo>
                  <a:lnTo>
                    <a:pt x="6351" y="153707"/>
                  </a:lnTo>
                  <a:lnTo>
                    <a:pt x="229923" y="12703"/>
                  </a:lnTo>
                  <a:cubicBezTo>
                    <a:pt x="227382" y="13973"/>
                    <a:pt x="222301" y="12703"/>
                    <a:pt x="219761" y="10162"/>
                  </a:cubicBezTo>
                  <a:close/>
                </a:path>
              </a:pathLst>
            </a:custGeom>
            <a:solidFill>
              <a:srgbClr val="000000"/>
            </a:solidFill>
            <a:ln w="12688"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74B71604-83A5-43B9-B3A2-A8A0A46CFC34}"/>
                </a:ext>
              </a:extLst>
            </p:cNvPr>
            <p:cNvSpPr/>
            <p:nvPr/>
          </p:nvSpPr>
          <p:spPr>
            <a:xfrm>
              <a:off x="1676786" y="3539841"/>
              <a:ext cx="12754" cy="19552"/>
            </a:xfrm>
            <a:custGeom>
              <a:avLst/>
              <a:gdLst>
                <a:gd name="connsiteX0" fmla="*/ 1270 w 12754"/>
                <a:gd name="connsiteY0" fmla="*/ 18283 h 19552"/>
                <a:gd name="connsiteX1" fmla="*/ 1270 w 12754"/>
                <a:gd name="connsiteY1" fmla="*/ 18283 h 19552"/>
                <a:gd name="connsiteX2" fmla="*/ 0 w 12754"/>
                <a:gd name="connsiteY2" fmla="*/ 19553 h 19552"/>
                <a:gd name="connsiteX3" fmla="*/ 8892 w 12754"/>
                <a:gd name="connsiteY3" fmla="*/ 13201 h 19552"/>
                <a:gd name="connsiteX4" fmla="*/ 8892 w 12754"/>
                <a:gd name="connsiteY4" fmla="*/ 13201 h 19552"/>
                <a:gd name="connsiteX5" fmla="*/ 11433 w 12754"/>
                <a:gd name="connsiteY5" fmla="*/ 3039 h 19552"/>
                <a:gd name="connsiteX6" fmla="*/ 11433 w 12754"/>
                <a:gd name="connsiteY6" fmla="*/ 3039 h 19552"/>
                <a:gd name="connsiteX7" fmla="*/ 2541 w 12754"/>
                <a:gd name="connsiteY7" fmla="*/ 498 h 19552"/>
                <a:gd name="connsiteX8" fmla="*/ 3811 w 12754"/>
                <a:gd name="connsiteY8" fmla="*/ 13201 h 19552"/>
                <a:gd name="connsiteX9" fmla="*/ 3811 w 12754"/>
                <a:gd name="connsiteY9" fmla="*/ 14471 h 19552"/>
                <a:gd name="connsiteX10" fmla="*/ 3811 w 12754"/>
                <a:gd name="connsiteY10" fmla="*/ 15742 h 1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4" h="19552">
                  <a:moveTo>
                    <a:pt x="1270" y="18283"/>
                  </a:moveTo>
                  <a:lnTo>
                    <a:pt x="1270" y="18283"/>
                  </a:lnTo>
                  <a:cubicBezTo>
                    <a:pt x="0" y="19553"/>
                    <a:pt x="0" y="19553"/>
                    <a:pt x="0" y="19553"/>
                  </a:cubicBezTo>
                  <a:lnTo>
                    <a:pt x="8892" y="13201"/>
                  </a:lnTo>
                  <a:lnTo>
                    <a:pt x="8892" y="13201"/>
                  </a:lnTo>
                  <a:cubicBezTo>
                    <a:pt x="12703" y="10661"/>
                    <a:pt x="13973" y="6850"/>
                    <a:pt x="11433" y="3039"/>
                  </a:cubicBezTo>
                  <a:cubicBezTo>
                    <a:pt x="11433" y="3039"/>
                    <a:pt x="11433" y="3039"/>
                    <a:pt x="11433" y="3039"/>
                  </a:cubicBezTo>
                  <a:cubicBezTo>
                    <a:pt x="8892" y="498"/>
                    <a:pt x="5081" y="-772"/>
                    <a:pt x="2541" y="498"/>
                  </a:cubicBezTo>
                  <a:lnTo>
                    <a:pt x="3811" y="13201"/>
                  </a:lnTo>
                  <a:cubicBezTo>
                    <a:pt x="3811" y="13201"/>
                    <a:pt x="3811" y="13201"/>
                    <a:pt x="3811" y="14471"/>
                  </a:cubicBezTo>
                  <a:cubicBezTo>
                    <a:pt x="3811" y="15742"/>
                    <a:pt x="3811" y="15742"/>
                    <a:pt x="3811" y="15742"/>
                  </a:cubicBezTo>
                </a:path>
              </a:pathLst>
            </a:custGeom>
            <a:solidFill>
              <a:srgbClr val="000000"/>
            </a:solidFill>
            <a:ln w="12688"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D6A8FE9F-4CD2-40F7-8B21-33258DD88432}"/>
                </a:ext>
              </a:extLst>
            </p:cNvPr>
            <p:cNvSpPr/>
            <p:nvPr/>
          </p:nvSpPr>
          <p:spPr>
            <a:xfrm>
              <a:off x="1533243" y="3634342"/>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0"/>
                    <a:pt x="0" y="1270"/>
                  </a:cubicBezTo>
                  <a:close/>
                </a:path>
              </a:pathLst>
            </a:custGeom>
            <a:solidFill>
              <a:srgbClr val="000000"/>
            </a:solidFill>
            <a:ln w="12688"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0B24446B-C518-4023-817E-CB2341FC69A7}"/>
                </a:ext>
              </a:extLst>
            </p:cNvPr>
            <p:cNvSpPr/>
            <p:nvPr/>
          </p:nvSpPr>
          <p:spPr>
            <a:xfrm>
              <a:off x="1534513" y="3631801"/>
              <a:ext cx="1270" cy="1270"/>
            </a:xfrm>
            <a:custGeom>
              <a:avLst/>
              <a:gdLst>
                <a:gd name="connsiteX0" fmla="*/ 0 w 1270"/>
                <a:gd name="connsiteY0" fmla="*/ 1270 h 1270"/>
                <a:gd name="connsiteX1" fmla="*/ 1270 w 1270"/>
                <a:gd name="connsiteY1" fmla="*/ 0 h 1270"/>
                <a:gd name="connsiteX2" fmla="*/ 1270 w 1270"/>
                <a:gd name="connsiteY2" fmla="*/ 0 h 1270"/>
                <a:gd name="connsiteX3" fmla="*/ 0 w 1270"/>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 h="1270">
                  <a:moveTo>
                    <a:pt x="0" y="1270"/>
                  </a:moveTo>
                  <a:cubicBezTo>
                    <a:pt x="0" y="1270"/>
                    <a:pt x="0" y="0"/>
                    <a:pt x="1270" y="0"/>
                  </a:cubicBezTo>
                  <a:lnTo>
                    <a:pt x="1270" y="0"/>
                  </a:lnTo>
                  <a:cubicBezTo>
                    <a:pt x="0" y="0"/>
                    <a:pt x="0" y="1270"/>
                    <a:pt x="0" y="1270"/>
                  </a:cubicBezTo>
                  <a:close/>
                </a:path>
              </a:pathLst>
            </a:custGeom>
            <a:solidFill>
              <a:srgbClr val="000000"/>
            </a:solidFill>
            <a:ln w="12688"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DDA4A514-DA87-4CEB-946B-DEB8F98AAA6C}"/>
                </a:ext>
              </a:extLst>
            </p:cNvPr>
            <p:cNvSpPr/>
            <p:nvPr/>
          </p:nvSpPr>
          <p:spPr>
            <a:xfrm>
              <a:off x="1535784" y="3549231"/>
              <a:ext cx="140684" cy="92732"/>
            </a:xfrm>
            <a:custGeom>
              <a:avLst/>
              <a:gdLst>
                <a:gd name="connsiteX0" fmla="*/ 139732 w 140684"/>
                <a:gd name="connsiteY0" fmla="*/ 10163 h 92732"/>
                <a:gd name="connsiteX1" fmla="*/ 139732 w 140684"/>
                <a:gd name="connsiteY1" fmla="*/ 10163 h 92732"/>
                <a:gd name="connsiteX2" fmla="*/ 135921 w 140684"/>
                <a:gd name="connsiteY2" fmla="*/ 11433 h 92732"/>
                <a:gd name="connsiteX3" fmla="*/ 128300 w 140684"/>
                <a:gd name="connsiteY3" fmla="*/ 5081 h 92732"/>
                <a:gd name="connsiteX4" fmla="*/ 128300 w 140684"/>
                <a:gd name="connsiteY4" fmla="*/ 5081 h 92732"/>
                <a:gd name="connsiteX5" fmla="*/ 128300 w 140684"/>
                <a:gd name="connsiteY5" fmla="*/ 0 h 92732"/>
                <a:gd name="connsiteX6" fmla="*/ 1270 w 140684"/>
                <a:gd name="connsiteY6" fmla="*/ 81299 h 92732"/>
                <a:gd name="connsiteX7" fmla="*/ 0 w 140684"/>
                <a:gd name="connsiteY7" fmla="*/ 82570 h 92732"/>
                <a:gd name="connsiteX8" fmla="*/ 3811 w 140684"/>
                <a:gd name="connsiteY8" fmla="*/ 81299 h 92732"/>
                <a:gd name="connsiteX9" fmla="*/ 11433 w 140684"/>
                <a:gd name="connsiteY9" fmla="*/ 87651 h 92732"/>
                <a:gd name="connsiteX10" fmla="*/ 11433 w 140684"/>
                <a:gd name="connsiteY10" fmla="*/ 87651 h 92732"/>
                <a:gd name="connsiteX11" fmla="*/ 11433 w 140684"/>
                <a:gd name="connsiteY11" fmla="*/ 92732 h 92732"/>
                <a:gd name="connsiteX12" fmla="*/ 21595 w 140684"/>
                <a:gd name="connsiteY12" fmla="*/ 86381 h 92732"/>
                <a:gd name="connsiteX13" fmla="*/ 139732 w 140684"/>
                <a:gd name="connsiteY13" fmla="*/ 10163 h 92732"/>
                <a:gd name="connsiteX14" fmla="*/ 139732 w 140684"/>
                <a:gd name="connsiteY14" fmla="*/ 10163 h 9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684" h="92732">
                  <a:moveTo>
                    <a:pt x="139732" y="10163"/>
                  </a:moveTo>
                  <a:cubicBezTo>
                    <a:pt x="141003" y="10163"/>
                    <a:pt x="141003" y="8892"/>
                    <a:pt x="139732" y="10163"/>
                  </a:cubicBezTo>
                  <a:cubicBezTo>
                    <a:pt x="139732" y="10163"/>
                    <a:pt x="138462" y="11433"/>
                    <a:pt x="135921" y="11433"/>
                  </a:cubicBezTo>
                  <a:cubicBezTo>
                    <a:pt x="132110" y="11433"/>
                    <a:pt x="128300" y="8892"/>
                    <a:pt x="128300" y="5081"/>
                  </a:cubicBezTo>
                  <a:cubicBezTo>
                    <a:pt x="128300" y="5081"/>
                    <a:pt x="128300" y="5081"/>
                    <a:pt x="128300" y="5081"/>
                  </a:cubicBezTo>
                  <a:lnTo>
                    <a:pt x="128300" y="0"/>
                  </a:lnTo>
                  <a:lnTo>
                    <a:pt x="1270" y="81299"/>
                  </a:lnTo>
                  <a:lnTo>
                    <a:pt x="0" y="82570"/>
                  </a:lnTo>
                  <a:cubicBezTo>
                    <a:pt x="1270" y="81299"/>
                    <a:pt x="2541" y="81299"/>
                    <a:pt x="3811" y="81299"/>
                  </a:cubicBezTo>
                  <a:cubicBezTo>
                    <a:pt x="7622" y="81299"/>
                    <a:pt x="11433" y="83840"/>
                    <a:pt x="11433" y="87651"/>
                  </a:cubicBezTo>
                  <a:cubicBezTo>
                    <a:pt x="11433" y="87651"/>
                    <a:pt x="11433" y="87651"/>
                    <a:pt x="11433" y="87651"/>
                  </a:cubicBezTo>
                  <a:lnTo>
                    <a:pt x="11433" y="92732"/>
                  </a:lnTo>
                  <a:lnTo>
                    <a:pt x="21595" y="86381"/>
                  </a:lnTo>
                  <a:lnTo>
                    <a:pt x="139732" y="10163"/>
                  </a:lnTo>
                  <a:lnTo>
                    <a:pt x="139732" y="10163"/>
                  </a:lnTo>
                  <a:close/>
                </a:path>
              </a:pathLst>
            </a:custGeom>
            <a:solidFill>
              <a:srgbClr val="000000"/>
            </a:solidFill>
            <a:ln w="12688"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FE68EDDD-19D9-4764-9781-B6E03DCE4065}"/>
                </a:ext>
              </a:extLst>
            </p:cNvPr>
            <p:cNvSpPr/>
            <p:nvPr/>
          </p:nvSpPr>
          <p:spPr>
            <a:xfrm>
              <a:off x="1695841" y="5736696"/>
              <a:ext cx="64785" cy="670720"/>
            </a:xfrm>
            <a:custGeom>
              <a:avLst/>
              <a:gdLst>
                <a:gd name="connsiteX0" fmla="*/ 7622 w 64785"/>
                <a:gd name="connsiteY0" fmla="*/ 8892 h 670720"/>
                <a:gd name="connsiteX1" fmla="*/ 0 w 64785"/>
                <a:gd name="connsiteY1" fmla="*/ 2540 h 670720"/>
                <a:gd name="connsiteX2" fmla="*/ 0 w 64785"/>
                <a:gd name="connsiteY2" fmla="*/ 2540 h 670720"/>
                <a:gd name="connsiteX3" fmla="*/ 1270 w 64785"/>
                <a:gd name="connsiteY3" fmla="*/ 15243 h 670720"/>
                <a:gd name="connsiteX4" fmla="*/ 50812 w 64785"/>
                <a:gd name="connsiteY4" fmla="*/ 666910 h 670720"/>
                <a:gd name="connsiteX5" fmla="*/ 50812 w 64785"/>
                <a:gd name="connsiteY5" fmla="*/ 670721 h 670720"/>
                <a:gd name="connsiteX6" fmla="*/ 57163 w 64785"/>
                <a:gd name="connsiteY6" fmla="*/ 663099 h 670720"/>
                <a:gd name="connsiteX7" fmla="*/ 64785 w 64785"/>
                <a:gd name="connsiteY7" fmla="*/ 669450 h 670720"/>
                <a:gd name="connsiteX8" fmla="*/ 12703 w 64785"/>
                <a:gd name="connsiteY8" fmla="*/ 0 h 670720"/>
                <a:gd name="connsiteX9" fmla="*/ 7622 w 64785"/>
                <a:gd name="connsiteY9" fmla="*/ 8892 h 670720"/>
                <a:gd name="connsiteX10" fmla="*/ 7622 w 64785"/>
                <a:gd name="connsiteY10" fmla="*/ 8892 h 67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85" h="670720">
                  <a:moveTo>
                    <a:pt x="7622" y="8892"/>
                  </a:moveTo>
                  <a:cubicBezTo>
                    <a:pt x="3811" y="8892"/>
                    <a:pt x="0" y="6352"/>
                    <a:pt x="0" y="2540"/>
                  </a:cubicBezTo>
                  <a:cubicBezTo>
                    <a:pt x="0" y="2540"/>
                    <a:pt x="0" y="2540"/>
                    <a:pt x="0" y="2540"/>
                  </a:cubicBezTo>
                  <a:lnTo>
                    <a:pt x="1270" y="15243"/>
                  </a:lnTo>
                  <a:lnTo>
                    <a:pt x="50812" y="666910"/>
                  </a:lnTo>
                  <a:lnTo>
                    <a:pt x="50812" y="670721"/>
                  </a:lnTo>
                  <a:cubicBezTo>
                    <a:pt x="50812" y="666910"/>
                    <a:pt x="53352" y="663099"/>
                    <a:pt x="57163" y="663099"/>
                  </a:cubicBezTo>
                  <a:cubicBezTo>
                    <a:pt x="60974" y="663099"/>
                    <a:pt x="64785" y="665640"/>
                    <a:pt x="64785" y="669450"/>
                  </a:cubicBezTo>
                  <a:lnTo>
                    <a:pt x="12703" y="0"/>
                  </a:lnTo>
                  <a:cubicBezTo>
                    <a:pt x="15243" y="5081"/>
                    <a:pt x="12703" y="8892"/>
                    <a:pt x="7622" y="8892"/>
                  </a:cubicBezTo>
                  <a:cubicBezTo>
                    <a:pt x="7622" y="8892"/>
                    <a:pt x="7622" y="8892"/>
                    <a:pt x="7622" y="8892"/>
                  </a:cubicBezTo>
                  <a:close/>
                </a:path>
              </a:pathLst>
            </a:custGeom>
            <a:solidFill>
              <a:srgbClr val="000000"/>
            </a:solidFill>
            <a:ln w="12688"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BB91D689-CD7A-4BF8-AB85-D4C4C4E0D714}"/>
                </a:ext>
              </a:extLst>
            </p:cNvPr>
            <p:cNvSpPr/>
            <p:nvPr/>
          </p:nvSpPr>
          <p:spPr>
            <a:xfrm>
              <a:off x="3772770" y="5598233"/>
              <a:ext cx="30486" cy="566555"/>
            </a:xfrm>
            <a:custGeom>
              <a:avLst/>
              <a:gdLst>
                <a:gd name="connsiteX0" fmla="*/ 15244 w 30486"/>
                <a:gd name="connsiteY0" fmla="*/ 560204 h 566555"/>
                <a:gd name="connsiteX1" fmla="*/ 15244 w 30486"/>
                <a:gd name="connsiteY1" fmla="*/ 561475 h 566555"/>
                <a:gd name="connsiteX2" fmla="*/ 15244 w 30486"/>
                <a:gd name="connsiteY2" fmla="*/ 562745 h 566555"/>
                <a:gd name="connsiteX3" fmla="*/ 16514 w 30486"/>
                <a:gd name="connsiteY3" fmla="*/ 564015 h 566555"/>
                <a:gd name="connsiteX4" fmla="*/ 17784 w 30486"/>
                <a:gd name="connsiteY4" fmla="*/ 565286 h 566555"/>
                <a:gd name="connsiteX5" fmla="*/ 19054 w 30486"/>
                <a:gd name="connsiteY5" fmla="*/ 565286 h 566555"/>
                <a:gd name="connsiteX6" fmla="*/ 20325 w 30486"/>
                <a:gd name="connsiteY6" fmla="*/ 566556 h 566555"/>
                <a:gd name="connsiteX7" fmla="*/ 22865 w 30486"/>
                <a:gd name="connsiteY7" fmla="*/ 566556 h 566555"/>
                <a:gd name="connsiteX8" fmla="*/ 30487 w 30486"/>
                <a:gd name="connsiteY8" fmla="*/ 558934 h 566555"/>
                <a:gd name="connsiteX9" fmla="*/ 30487 w 30486"/>
                <a:gd name="connsiteY9" fmla="*/ 558934 h 566555"/>
                <a:gd name="connsiteX10" fmla="*/ 30487 w 30486"/>
                <a:gd name="connsiteY10" fmla="*/ 553853 h 566555"/>
                <a:gd name="connsiteX11" fmla="*/ 15244 w 30486"/>
                <a:gd name="connsiteY11" fmla="*/ 3811 h 566555"/>
                <a:gd name="connsiteX12" fmla="*/ 15244 w 30486"/>
                <a:gd name="connsiteY12" fmla="*/ 0 h 566555"/>
                <a:gd name="connsiteX13" fmla="*/ 7622 w 30486"/>
                <a:gd name="connsiteY13" fmla="*/ 7622 h 566555"/>
                <a:gd name="connsiteX14" fmla="*/ 0 w 30486"/>
                <a:gd name="connsiteY14" fmla="*/ 0 h 566555"/>
                <a:gd name="connsiteX15" fmla="*/ 0 w 30486"/>
                <a:gd name="connsiteY15" fmla="*/ 0 h 566555"/>
                <a:gd name="connsiteX16" fmla="*/ 15244 w 30486"/>
                <a:gd name="connsiteY16" fmla="*/ 556393 h 566555"/>
                <a:gd name="connsiteX17" fmla="*/ 15244 w 30486"/>
                <a:gd name="connsiteY17" fmla="*/ 560204 h 566555"/>
                <a:gd name="connsiteX18" fmla="*/ 15244 w 30486"/>
                <a:gd name="connsiteY18" fmla="*/ 560204 h 56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6" h="566555">
                  <a:moveTo>
                    <a:pt x="15244" y="560204"/>
                  </a:moveTo>
                  <a:cubicBezTo>
                    <a:pt x="15244" y="560204"/>
                    <a:pt x="15244" y="561475"/>
                    <a:pt x="15244" y="561475"/>
                  </a:cubicBezTo>
                  <a:cubicBezTo>
                    <a:pt x="15244" y="561475"/>
                    <a:pt x="15244" y="562745"/>
                    <a:pt x="15244" y="562745"/>
                  </a:cubicBezTo>
                  <a:lnTo>
                    <a:pt x="16514" y="564015"/>
                  </a:lnTo>
                  <a:lnTo>
                    <a:pt x="17784" y="565286"/>
                  </a:lnTo>
                  <a:lnTo>
                    <a:pt x="19054" y="565286"/>
                  </a:lnTo>
                  <a:lnTo>
                    <a:pt x="20325" y="566556"/>
                  </a:lnTo>
                  <a:cubicBezTo>
                    <a:pt x="21595" y="566556"/>
                    <a:pt x="21595" y="566556"/>
                    <a:pt x="22865" y="566556"/>
                  </a:cubicBezTo>
                  <a:cubicBezTo>
                    <a:pt x="26676" y="566556"/>
                    <a:pt x="30487" y="562745"/>
                    <a:pt x="30487" y="558934"/>
                  </a:cubicBezTo>
                  <a:cubicBezTo>
                    <a:pt x="30487" y="558934"/>
                    <a:pt x="30487" y="558934"/>
                    <a:pt x="30487" y="558934"/>
                  </a:cubicBezTo>
                  <a:lnTo>
                    <a:pt x="30487" y="553853"/>
                  </a:lnTo>
                  <a:lnTo>
                    <a:pt x="15244" y="3811"/>
                  </a:lnTo>
                  <a:lnTo>
                    <a:pt x="15244" y="0"/>
                  </a:lnTo>
                  <a:cubicBezTo>
                    <a:pt x="15244" y="3811"/>
                    <a:pt x="11433" y="7622"/>
                    <a:pt x="7622" y="7622"/>
                  </a:cubicBezTo>
                  <a:cubicBezTo>
                    <a:pt x="3811" y="7622"/>
                    <a:pt x="0" y="3811"/>
                    <a:pt x="0" y="0"/>
                  </a:cubicBezTo>
                  <a:cubicBezTo>
                    <a:pt x="0" y="0"/>
                    <a:pt x="0" y="0"/>
                    <a:pt x="0" y="0"/>
                  </a:cubicBezTo>
                  <a:lnTo>
                    <a:pt x="15244" y="556393"/>
                  </a:lnTo>
                  <a:lnTo>
                    <a:pt x="15244" y="560204"/>
                  </a:lnTo>
                  <a:lnTo>
                    <a:pt x="15244" y="560204"/>
                  </a:lnTo>
                  <a:close/>
                </a:path>
              </a:pathLst>
            </a:custGeom>
            <a:solidFill>
              <a:srgbClr val="000000"/>
            </a:solidFill>
            <a:ln w="12688"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ED79ED7C-A583-45B4-8B58-85CCB9C99307}"/>
                </a:ext>
              </a:extLst>
            </p:cNvPr>
            <p:cNvSpPr/>
            <p:nvPr/>
          </p:nvSpPr>
          <p:spPr>
            <a:xfrm>
              <a:off x="3771499" y="5586800"/>
              <a:ext cx="15243" cy="19054"/>
            </a:xfrm>
            <a:custGeom>
              <a:avLst/>
              <a:gdLst>
                <a:gd name="connsiteX0" fmla="*/ 7622 w 15243"/>
                <a:gd name="connsiteY0" fmla="*/ 19055 h 19054"/>
                <a:gd name="connsiteX1" fmla="*/ 15244 w 15243"/>
                <a:gd name="connsiteY1" fmla="*/ 11433 h 19054"/>
                <a:gd name="connsiteX2" fmla="*/ 15244 w 15243"/>
                <a:gd name="connsiteY2" fmla="*/ 0 h 19054"/>
                <a:gd name="connsiteX3" fmla="*/ 8892 w 15243"/>
                <a:gd name="connsiteY3" fmla="*/ 8892 h 19054"/>
                <a:gd name="connsiteX4" fmla="*/ 0 w 15243"/>
                <a:gd name="connsiteY4" fmla="*/ 2541 h 19054"/>
                <a:gd name="connsiteX5" fmla="*/ 0 w 15243"/>
                <a:gd name="connsiteY5" fmla="*/ 0 h 19054"/>
                <a:gd name="connsiteX6" fmla="*/ 0 w 15243"/>
                <a:gd name="connsiteY6" fmla="*/ 0 h 19054"/>
                <a:gd name="connsiteX7" fmla="*/ 0 w 15243"/>
                <a:gd name="connsiteY7" fmla="*/ 11433 h 19054"/>
                <a:gd name="connsiteX8" fmla="*/ 7622 w 15243"/>
                <a:gd name="connsiteY8" fmla="*/ 19055 h 19054"/>
                <a:gd name="connsiteX9" fmla="*/ 7622 w 15243"/>
                <a:gd name="connsiteY9" fmla="*/ 19055 h 1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3" h="19054">
                  <a:moveTo>
                    <a:pt x="7622" y="19055"/>
                  </a:moveTo>
                  <a:cubicBezTo>
                    <a:pt x="11433" y="19055"/>
                    <a:pt x="15244" y="15244"/>
                    <a:pt x="15244" y="11433"/>
                  </a:cubicBezTo>
                  <a:lnTo>
                    <a:pt x="15244" y="0"/>
                  </a:lnTo>
                  <a:cubicBezTo>
                    <a:pt x="15244" y="3811"/>
                    <a:pt x="12703" y="7622"/>
                    <a:pt x="8892" y="8892"/>
                  </a:cubicBezTo>
                  <a:cubicBezTo>
                    <a:pt x="5081" y="8892"/>
                    <a:pt x="1270" y="6352"/>
                    <a:pt x="0" y="2541"/>
                  </a:cubicBezTo>
                  <a:cubicBezTo>
                    <a:pt x="0" y="1270"/>
                    <a:pt x="0" y="1270"/>
                    <a:pt x="0" y="0"/>
                  </a:cubicBezTo>
                  <a:lnTo>
                    <a:pt x="0" y="0"/>
                  </a:lnTo>
                  <a:lnTo>
                    <a:pt x="0" y="11433"/>
                  </a:lnTo>
                  <a:cubicBezTo>
                    <a:pt x="0" y="15244"/>
                    <a:pt x="3811" y="19055"/>
                    <a:pt x="7622" y="19055"/>
                  </a:cubicBezTo>
                  <a:cubicBezTo>
                    <a:pt x="7622" y="19055"/>
                    <a:pt x="7622" y="19055"/>
                    <a:pt x="7622" y="19055"/>
                  </a:cubicBezTo>
                  <a:close/>
                </a:path>
              </a:pathLst>
            </a:custGeom>
            <a:solidFill>
              <a:srgbClr val="000000"/>
            </a:solidFill>
            <a:ln w="12688"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D81A2101-3752-471B-8F23-9E9C68622D91}"/>
                </a:ext>
              </a:extLst>
            </p:cNvPr>
            <p:cNvSpPr/>
            <p:nvPr/>
          </p:nvSpPr>
          <p:spPr>
            <a:xfrm>
              <a:off x="3771499" y="5553773"/>
              <a:ext cx="15243" cy="40649"/>
            </a:xfrm>
            <a:custGeom>
              <a:avLst/>
              <a:gdLst>
                <a:gd name="connsiteX0" fmla="*/ 7622 w 15243"/>
                <a:gd name="connsiteY0" fmla="*/ 40650 h 40649"/>
                <a:gd name="connsiteX1" fmla="*/ 15244 w 15243"/>
                <a:gd name="connsiteY1" fmla="*/ 33028 h 40649"/>
                <a:gd name="connsiteX2" fmla="*/ 15244 w 15243"/>
                <a:gd name="connsiteY2" fmla="*/ 33028 h 40649"/>
                <a:gd name="connsiteX3" fmla="*/ 15244 w 15243"/>
                <a:gd name="connsiteY3" fmla="*/ 33028 h 40649"/>
                <a:gd name="connsiteX4" fmla="*/ 15244 w 15243"/>
                <a:gd name="connsiteY4" fmla="*/ 29217 h 40649"/>
                <a:gd name="connsiteX5" fmla="*/ 15244 w 15243"/>
                <a:gd name="connsiteY5" fmla="*/ 17784 h 40649"/>
                <a:gd name="connsiteX6" fmla="*/ 15244 w 15243"/>
                <a:gd name="connsiteY6" fmla="*/ 10162 h 40649"/>
                <a:gd name="connsiteX7" fmla="*/ 15244 w 15243"/>
                <a:gd name="connsiteY7" fmla="*/ 0 h 40649"/>
                <a:gd name="connsiteX8" fmla="*/ 15244 w 15243"/>
                <a:gd name="connsiteY8" fmla="*/ 0 h 40649"/>
                <a:gd name="connsiteX9" fmla="*/ 7622 w 15243"/>
                <a:gd name="connsiteY9" fmla="*/ 7622 h 40649"/>
                <a:gd name="connsiteX10" fmla="*/ 7622 w 15243"/>
                <a:gd name="connsiteY10" fmla="*/ 7622 h 40649"/>
                <a:gd name="connsiteX11" fmla="*/ 0 w 15243"/>
                <a:gd name="connsiteY11" fmla="*/ 0 h 40649"/>
                <a:gd name="connsiteX12" fmla="*/ 0 w 15243"/>
                <a:gd name="connsiteY12" fmla="*/ 0 h 40649"/>
                <a:gd name="connsiteX13" fmla="*/ 1270 w 15243"/>
                <a:gd name="connsiteY13" fmla="*/ 33028 h 40649"/>
                <a:gd name="connsiteX14" fmla="*/ 1270 w 15243"/>
                <a:gd name="connsiteY14" fmla="*/ 33028 h 40649"/>
                <a:gd name="connsiteX15" fmla="*/ 7622 w 15243"/>
                <a:gd name="connsiteY15" fmla="*/ 40650 h 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43" h="40649">
                  <a:moveTo>
                    <a:pt x="7622" y="40650"/>
                  </a:moveTo>
                  <a:cubicBezTo>
                    <a:pt x="11433" y="40650"/>
                    <a:pt x="15244" y="36839"/>
                    <a:pt x="15244" y="33028"/>
                  </a:cubicBezTo>
                  <a:cubicBezTo>
                    <a:pt x="15244" y="33028"/>
                    <a:pt x="15244" y="33028"/>
                    <a:pt x="15244" y="33028"/>
                  </a:cubicBezTo>
                  <a:lnTo>
                    <a:pt x="15244" y="33028"/>
                  </a:lnTo>
                  <a:lnTo>
                    <a:pt x="15244" y="29217"/>
                  </a:lnTo>
                  <a:lnTo>
                    <a:pt x="15244" y="17784"/>
                  </a:lnTo>
                  <a:lnTo>
                    <a:pt x="15244" y="10162"/>
                  </a:lnTo>
                  <a:lnTo>
                    <a:pt x="15244" y="0"/>
                  </a:lnTo>
                  <a:lnTo>
                    <a:pt x="15244" y="0"/>
                  </a:lnTo>
                  <a:cubicBezTo>
                    <a:pt x="15244" y="3811"/>
                    <a:pt x="12703" y="7622"/>
                    <a:pt x="7622" y="7622"/>
                  </a:cubicBezTo>
                  <a:cubicBezTo>
                    <a:pt x="7622" y="7622"/>
                    <a:pt x="7622" y="7622"/>
                    <a:pt x="7622" y="7622"/>
                  </a:cubicBezTo>
                  <a:cubicBezTo>
                    <a:pt x="3811" y="7622"/>
                    <a:pt x="0" y="5081"/>
                    <a:pt x="0" y="0"/>
                  </a:cubicBezTo>
                  <a:cubicBezTo>
                    <a:pt x="0" y="0"/>
                    <a:pt x="0" y="0"/>
                    <a:pt x="0" y="0"/>
                  </a:cubicBezTo>
                  <a:lnTo>
                    <a:pt x="1270" y="33028"/>
                  </a:lnTo>
                  <a:lnTo>
                    <a:pt x="1270" y="33028"/>
                  </a:lnTo>
                  <a:cubicBezTo>
                    <a:pt x="0" y="36839"/>
                    <a:pt x="3811" y="40650"/>
                    <a:pt x="7622" y="40650"/>
                  </a:cubicBezTo>
                  <a:close/>
                </a:path>
              </a:pathLst>
            </a:custGeom>
            <a:solidFill>
              <a:srgbClr val="000000"/>
            </a:solidFill>
            <a:ln w="12688"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78245A02-2C27-4179-A222-6E111785DB9D}"/>
                </a:ext>
              </a:extLst>
            </p:cNvPr>
            <p:cNvSpPr/>
            <p:nvPr/>
          </p:nvSpPr>
          <p:spPr>
            <a:xfrm>
              <a:off x="1042580" y="4895424"/>
              <a:ext cx="216280" cy="81629"/>
            </a:xfrm>
            <a:custGeom>
              <a:avLst/>
              <a:gdLst>
                <a:gd name="connsiteX0" fmla="*/ 207388 w 216280"/>
                <a:gd name="connsiteY0" fmla="*/ 72738 h 81629"/>
                <a:gd name="connsiteX1" fmla="*/ 216280 w 216280"/>
                <a:gd name="connsiteY1" fmla="*/ 67657 h 81629"/>
                <a:gd name="connsiteX2" fmla="*/ 212469 w 216280"/>
                <a:gd name="connsiteY2" fmla="*/ 66386 h 81629"/>
                <a:gd name="connsiteX3" fmla="*/ 24466 w 216280"/>
                <a:gd name="connsiteY3" fmla="*/ 5412 h 81629"/>
                <a:gd name="connsiteX4" fmla="*/ 10493 w 216280"/>
                <a:gd name="connsiteY4" fmla="*/ 330 h 81629"/>
                <a:gd name="connsiteX5" fmla="*/ 330 w 216280"/>
                <a:gd name="connsiteY5" fmla="*/ 5412 h 81629"/>
                <a:gd name="connsiteX6" fmla="*/ 5412 w 216280"/>
                <a:gd name="connsiteY6" fmla="*/ 14304 h 81629"/>
                <a:gd name="connsiteX7" fmla="*/ 212469 w 216280"/>
                <a:gd name="connsiteY7" fmla="*/ 81630 h 81629"/>
                <a:gd name="connsiteX8" fmla="*/ 207388 w 216280"/>
                <a:gd name="connsiteY8" fmla="*/ 72738 h 8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280" h="81629">
                  <a:moveTo>
                    <a:pt x="207388" y="72738"/>
                  </a:moveTo>
                  <a:cubicBezTo>
                    <a:pt x="208659" y="68927"/>
                    <a:pt x="212469" y="66386"/>
                    <a:pt x="216280" y="67657"/>
                  </a:cubicBezTo>
                  <a:lnTo>
                    <a:pt x="212469" y="66386"/>
                  </a:lnTo>
                  <a:lnTo>
                    <a:pt x="24466" y="5412"/>
                  </a:lnTo>
                  <a:lnTo>
                    <a:pt x="10493" y="330"/>
                  </a:lnTo>
                  <a:cubicBezTo>
                    <a:pt x="6682" y="-940"/>
                    <a:pt x="2871" y="1601"/>
                    <a:pt x="330" y="5412"/>
                  </a:cubicBezTo>
                  <a:cubicBezTo>
                    <a:pt x="-940" y="9223"/>
                    <a:pt x="1601" y="13034"/>
                    <a:pt x="5412" y="14304"/>
                  </a:cubicBezTo>
                  <a:lnTo>
                    <a:pt x="212469" y="81630"/>
                  </a:lnTo>
                  <a:cubicBezTo>
                    <a:pt x="208659" y="81630"/>
                    <a:pt x="206118" y="77819"/>
                    <a:pt x="207388" y="72738"/>
                  </a:cubicBezTo>
                  <a:close/>
                </a:path>
              </a:pathLst>
            </a:custGeom>
            <a:solidFill>
              <a:srgbClr val="000000"/>
            </a:solidFill>
            <a:ln w="12688"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F7A78BA7-AAF5-4BB2-917B-D3DCE60E4D27}"/>
                </a:ext>
              </a:extLst>
            </p:cNvPr>
            <p:cNvSpPr/>
            <p:nvPr/>
          </p:nvSpPr>
          <p:spPr>
            <a:xfrm>
              <a:off x="1250908" y="4964020"/>
              <a:ext cx="396661" cy="143875"/>
            </a:xfrm>
            <a:custGeom>
              <a:avLst/>
              <a:gdLst>
                <a:gd name="connsiteX0" fmla="*/ 9222 w 396661"/>
                <a:gd name="connsiteY0" fmla="*/ 330 h 143875"/>
                <a:gd name="connsiteX1" fmla="*/ 330 w 396661"/>
                <a:gd name="connsiteY1" fmla="*/ 5412 h 143875"/>
                <a:gd name="connsiteX2" fmla="*/ 5412 w 396661"/>
                <a:gd name="connsiteY2" fmla="*/ 15574 h 143875"/>
                <a:gd name="connsiteX3" fmla="*/ 396662 w 396661"/>
                <a:gd name="connsiteY3" fmla="*/ 143875 h 143875"/>
                <a:gd name="connsiteX4" fmla="*/ 396662 w 396661"/>
                <a:gd name="connsiteY4" fmla="*/ 138794 h 143875"/>
                <a:gd name="connsiteX5" fmla="*/ 395392 w 396661"/>
                <a:gd name="connsiteY5" fmla="*/ 127361 h 143875"/>
                <a:gd name="connsiteX6" fmla="*/ 23196 w 396661"/>
                <a:gd name="connsiteY6" fmla="*/ 6682 h 143875"/>
                <a:gd name="connsiteX7" fmla="*/ 9222 w 396661"/>
                <a:gd name="connsiteY7" fmla="*/ 330 h 14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661" h="143875">
                  <a:moveTo>
                    <a:pt x="9222" y="330"/>
                  </a:moveTo>
                  <a:cubicBezTo>
                    <a:pt x="5412" y="-940"/>
                    <a:pt x="1601" y="1601"/>
                    <a:pt x="330" y="5412"/>
                  </a:cubicBezTo>
                  <a:cubicBezTo>
                    <a:pt x="-940" y="9223"/>
                    <a:pt x="1601" y="13033"/>
                    <a:pt x="5412" y="15574"/>
                  </a:cubicBezTo>
                  <a:lnTo>
                    <a:pt x="396662" y="143875"/>
                  </a:lnTo>
                  <a:lnTo>
                    <a:pt x="396662" y="138794"/>
                  </a:lnTo>
                  <a:lnTo>
                    <a:pt x="395392" y="127361"/>
                  </a:lnTo>
                  <a:lnTo>
                    <a:pt x="23196" y="6682"/>
                  </a:lnTo>
                  <a:lnTo>
                    <a:pt x="9222" y="330"/>
                  </a:lnTo>
                  <a:close/>
                </a:path>
              </a:pathLst>
            </a:custGeom>
            <a:solidFill>
              <a:srgbClr val="000000"/>
            </a:solidFill>
            <a:ln w="12688"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A99E0E32-59BF-460C-A97E-90D923C33625}"/>
                </a:ext>
              </a:extLst>
            </p:cNvPr>
            <p:cNvSpPr/>
            <p:nvPr/>
          </p:nvSpPr>
          <p:spPr>
            <a:xfrm>
              <a:off x="0" y="4014163"/>
              <a:ext cx="57163" cy="31757"/>
            </a:xfrm>
            <a:custGeom>
              <a:avLst/>
              <a:gdLst>
                <a:gd name="connsiteX0" fmla="*/ 48271 w 57163"/>
                <a:gd name="connsiteY0" fmla="*/ 22865 h 31757"/>
                <a:gd name="connsiteX1" fmla="*/ 57163 w 57163"/>
                <a:gd name="connsiteY1" fmla="*/ 17784 h 31757"/>
                <a:gd name="connsiteX2" fmla="*/ 57163 w 57163"/>
                <a:gd name="connsiteY2" fmla="*/ 17784 h 31757"/>
                <a:gd name="connsiteX3" fmla="*/ 45731 w 57163"/>
                <a:gd name="connsiteY3" fmla="*/ 13973 h 31757"/>
                <a:gd name="connsiteX4" fmla="*/ 0 w 57163"/>
                <a:gd name="connsiteY4" fmla="*/ 0 h 31757"/>
                <a:gd name="connsiteX5" fmla="*/ 0 w 57163"/>
                <a:gd name="connsiteY5" fmla="*/ 15244 h 31757"/>
                <a:gd name="connsiteX6" fmla="*/ 52082 w 57163"/>
                <a:gd name="connsiteY6" fmla="*/ 31758 h 31757"/>
                <a:gd name="connsiteX7" fmla="*/ 48271 w 57163"/>
                <a:gd name="connsiteY7" fmla="*/ 22865 h 31757"/>
                <a:gd name="connsiteX8" fmla="*/ 48271 w 57163"/>
                <a:gd name="connsiteY8" fmla="*/ 22865 h 3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63" h="31757">
                  <a:moveTo>
                    <a:pt x="48271" y="22865"/>
                  </a:moveTo>
                  <a:cubicBezTo>
                    <a:pt x="49541" y="19055"/>
                    <a:pt x="53352" y="16514"/>
                    <a:pt x="57163" y="17784"/>
                  </a:cubicBezTo>
                  <a:cubicBezTo>
                    <a:pt x="57163" y="17784"/>
                    <a:pt x="57163" y="17784"/>
                    <a:pt x="57163" y="17784"/>
                  </a:cubicBezTo>
                  <a:lnTo>
                    <a:pt x="45731" y="13973"/>
                  </a:lnTo>
                  <a:lnTo>
                    <a:pt x="0" y="0"/>
                  </a:lnTo>
                  <a:lnTo>
                    <a:pt x="0" y="15244"/>
                  </a:lnTo>
                  <a:lnTo>
                    <a:pt x="52082" y="31758"/>
                  </a:lnTo>
                  <a:cubicBezTo>
                    <a:pt x="48271" y="30487"/>
                    <a:pt x="45731" y="26676"/>
                    <a:pt x="48271" y="22865"/>
                  </a:cubicBezTo>
                  <a:cubicBezTo>
                    <a:pt x="47001" y="22865"/>
                    <a:pt x="47001" y="22865"/>
                    <a:pt x="48271" y="22865"/>
                  </a:cubicBezTo>
                  <a:close/>
                </a:path>
              </a:pathLst>
            </a:custGeom>
            <a:solidFill>
              <a:srgbClr val="000000"/>
            </a:solidFill>
            <a:ln w="12688"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D59C6C93-D6BC-4918-BC30-709630F2F0FB}"/>
                </a:ext>
              </a:extLst>
            </p:cNvPr>
            <p:cNvSpPr/>
            <p:nvPr/>
          </p:nvSpPr>
          <p:spPr>
            <a:xfrm>
              <a:off x="47940" y="4031617"/>
              <a:ext cx="162927" cy="60034"/>
            </a:xfrm>
            <a:custGeom>
              <a:avLst/>
              <a:gdLst>
                <a:gd name="connsiteX0" fmla="*/ 159117 w 162927"/>
                <a:gd name="connsiteY0" fmla="*/ 46062 h 60034"/>
                <a:gd name="connsiteX1" fmla="*/ 162928 w 162927"/>
                <a:gd name="connsiteY1" fmla="*/ 47332 h 60034"/>
                <a:gd name="connsiteX2" fmla="*/ 161658 w 162927"/>
                <a:gd name="connsiteY2" fmla="*/ 47332 h 60034"/>
                <a:gd name="connsiteX3" fmla="*/ 14304 w 162927"/>
                <a:gd name="connsiteY3" fmla="*/ 1601 h 60034"/>
                <a:gd name="connsiteX4" fmla="*/ 9222 w 162927"/>
                <a:gd name="connsiteY4" fmla="*/ 330 h 60034"/>
                <a:gd name="connsiteX5" fmla="*/ 330 w 162927"/>
                <a:gd name="connsiteY5" fmla="*/ 5412 h 60034"/>
                <a:gd name="connsiteX6" fmla="*/ 330 w 162927"/>
                <a:gd name="connsiteY6" fmla="*/ 5412 h 60034"/>
                <a:gd name="connsiteX7" fmla="*/ 5412 w 162927"/>
                <a:gd name="connsiteY7" fmla="*/ 14304 h 60034"/>
                <a:gd name="connsiteX8" fmla="*/ 5412 w 162927"/>
                <a:gd name="connsiteY8" fmla="*/ 14304 h 60034"/>
                <a:gd name="connsiteX9" fmla="*/ 5412 w 162927"/>
                <a:gd name="connsiteY9" fmla="*/ 14304 h 60034"/>
                <a:gd name="connsiteX10" fmla="*/ 142603 w 162927"/>
                <a:gd name="connsiteY10" fmla="*/ 56224 h 60034"/>
                <a:gd name="connsiteX11" fmla="*/ 154036 w 162927"/>
                <a:gd name="connsiteY11" fmla="*/ 60035 h 60034"/>
                <a:gd name="connsiteX12" fmla="*/ 154036 w 162927"/>
                <a:gd name="connsiteY12" fmla="*/ 54954 h 60034"/>
                <a:gd name="connsiteX13" fmla="*/ 159117 w 162927"/>
                <a:gd name="connsiteY13" fmla="*/ 46062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927" h="60034">
                  <a:moveTo>
                    <a:pt x="159117" y="46062"/>
                  </a:moveTo>
                  <a:cubicBezTo>
                    <a:pt x="160387" y="46062"/>
                    <a:pt x="161658" y="46062"/>
                    <a:pt x="162928" y="47332"/>
                  </a:cubicBezTo>
                  <a:lnTo>
                    <a:pt x="161658" y="47332"/>
                  </a:lnTo>
                  <a:lnTo>
                    <a:pt x="14304" y="1601"/>
                  </a:lnTo>
                  <a:lnTo>
                    <a:pt x="9222" y="330"/>
                  </a:lnTo>
                  <a:cubicBezTo>
                    <a:pt x="5412" y="-940"/>
                    <a:pt x="1601" y="1601"/>
                    <a:pt x="330" y="5412"/>
                  </a:cubicBezTo>
                  <a:cubicBezTo>
                    <a:pt x="330" y="5412"/>
                    <a:pt x="330" y="5412"/>
                    <a:pt x="330" y="5412"/>
                  </a:cubicBezTo>
                  <a:cubicBezTo>
                    <a:pt x="-940" y="9223"/>
                    <a:pt x="1601" y="13034"/>
                    <a:pt x="5412" y="14304"/>
                  </a:cubicBezTo>
                  <a:cubicBezTo>
                    <a:pt x="5412" y="14304"/>
                    <a:pt x="5412" y="14304"/>
                    <a:pt x="5412" y="14304"/>
                  </a:cubicBezTo>
                  <a:lnTo>
                    <a:pt x="5412" y="14304"/>
                  </a:lnTo>
                  <a:lnTo>
                    <a:pt x="142603" y="56224"/>
                  </a:lnTo>
                  <a:lnTo>
                    <a:pt x="154036" y="60035"/>
                  </a:lnTo>
                  <a:lnTo>
                    <a:pt x="154036" y="54954"/>
                  </a:lnTo>
                  <a:cubicBezTo>
                    <a:pt x="151495" y="51143"/>
                    <a:pt x="154036" y="47332"/>
                    <a:pt x="159117" y="46062"/>
                  </a:cubicBezTo>
                  <a:close/>
                </a:path>
              </a:pathLst>
            </a:custGeom>
            <a:solidFill>
              <a:srgbClr val="000000"/>
            </a:solidFill>
            <a:ln w="12688"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CAA1FB2C-40B9-450B-AD85-72C6215FE232}"/>
                </a:ext>
              </a:extLst>
            </p:cNvPr>
            <p:cNvSpPr/>
            <p:nvPr/>
          </p:nvSpPr>
          <p:spPr>
            <a:xfrm>
              <a:off x="212456" y="4080536"/>
              <a:ext cx="952" cy="952"/>
            </a:xfrm>
            <a:custGeom>
              <a:avLst/>
              <a:gdLst>
                <a:gd name="connsiteX0" fmla="*/ 953 w 952"/>
                <a:gd name="connsiteY0" fmla="*/ 952 h 952"/>
                <a:gd name="connsiteX1" fmla="*/ 953 w 952"/>
                <a:gd name="connsiteY1" fmla="*/ 952 h 952"/>
                <a:gd name="connsiteX2" fmla="*/ 953 w 952"/>
                <a:gd name="connsiteY2" fmla="*/ 952 h 952"/>
                <a:gd name="connsiteX3" fmla="*/ 953 w 952"/>
                <a:gd name="connsiteY3" fmla="*/ 952 h 952"/>
              </a:gdLst>
              <a:ahLst/>
              <a:cxnLst>
                <a:cxn ang="0">
                  <a:pos x="connsiteX0" y="connsiteY0"/>
                </a:cxn>
                <a:cxn ang="0">
                  <a:pos x="connsiteX1" y="connsiteY1"/>
                </a:cxn>
                <a:cxn ang="0">
                  <a:pos x="connsiteX2" y="connsiteY2"/>
                </a:cxn>
                <a:cxn ang="0">
                  <a:pos x="connsiteX3" y="connsiteY3"/>
                </a:cxn>
              </a:cxnLst>
              <a:rect l="l" t="t" r="r" b="b"/>
              <a:pathLst>
                <a:path w="952" h="952">
                  <a:moveTo>
                    <a:pt x="953" y="952"/>
                  </a:moveTo>
                  <a:cubicBezTo>
                    <a:pt x="953" y="952"/>
                    <a:pt x="953" y="-317"/>
                    <a:pt x="953" y="952"/>
                  </a:cubicBezTo>
                  <a:cubicBezTo>
                    <a:pt x="-318" y="-317"/>
                    <a:pt x="-318" y="-317"/>
                    <a:pt x="953" y="952"/>
                  </a:cubicBezTo>
                  <a:lnTo>
                    <a:pt x="953" y="952"/>
                  </a:lnTo>
                  <a:close/>
                </a:path>
              </a:pathLst>
            </a:custGeom>
            <a:solidFill>
              <a:srgbClr val="000000"/>
            </a:solidFill>
            <a:ln w="12688"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6118A58F-38E7-40C3-954E-D0591CA18865}"/>
                </a:ext>
              </a:extLst>
            </p:cNvPr>
            <p:cNvSpPr/>
            <p:nvPr/>
          </p:nvSpPr>
          <p:spPr>
            <a:xfrm>
              <a:off x="214679" y="4082759"/>
              <a:ext cx="12702" cy="1270"/>
            </a:xfrm>
            <a:custGeom>
              <a:avLst/>
              <a:gdLst>
                <a:gd name="connsiteX0" fmla="*/ 0 w 12702"/>
                <a:gd name="connsiteY0" fmla="*/ 1270 h 1270"/>
                <a:gd name="connsiteX1" fmla="*/ 0 w 12702"/>
                <a:gd name="connsiteY1" fmla="*/ 0 h 1270"/>
                <a:gd name="connsiteX2" fmla="*/ 0 w 12702"/>
                <a:gd name="connsiteY2" fmla="*/ 127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cubicBezTo>
                    <a:pt x="0" y="0"/>
                    <a:pt x="0" y="1270"/>
                    <a:pt x="0" y="1270"/>
                  </a:cubicBezTo>
                  <a:cubicBezTo>
                    <a:pt x="0" y="1270"/>
                    <a:pt x="0" y="1270"/>
                    <a:pt x="0" y="1270"/>
                  </a:cubicBezTo>
                  <a:close/>
                </a:path>
              </a:pathLst>
            </a:custGeom>
            <a:solidFill>
              <a:srgbClr val="000000"/>
            </a:solidFill>
            <a:ln w="12688"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029E4573-7154-4C03-BE9E-55EBD8E38681}"/>
                </a:ext>
              </a:extLst>
            </p:cNvPr>
            <p:cNvSpPr/>
            <p:nvPr/>
          </p:nvSpPr>
          <p:spPr>
            <a:xfrm>
              <a:off x="421737" y="6145734"/>
              <a:ext cx="66304" cy="476613"/>
            </a:xfrm>
            <a:custGeom>
              <a:avLst/>
              <a:gdLst>
                <a:gd name="connsiteX0" fmla="*/ 59704 w 66304"/>
                <a:gd name="connsiteY0" fmla="*/ 476364 h 476613"/>
                <a:gd name="connsiteX1" fmla="*/ 66055 w 66304"/>
                <a:gd name="connsiteY1" fmla="*/ 468743 h 476613"/>
                <a:gd name="connsiteX2" fmla="*/ 66055 w 66304"/>
                <a:gd name="connsiteY2" fmla="*/ 468743 h 476613"/>
                <a:gd name="connsiteX3" fmla="*/ 64785 w 66304"/>
                <a:gd name="connsiteY3" fmla="*/ 456040 h 476613"/>
                <a:gd name="connsiteX4" fmla="*/ 16514 w 66304"/>
                <a:gd name="connsiteY4" fmla="*/ 12703 h 476613"/>
                <a:gd name="connsiteX5" fmla="*/ 15244 w 66304"/>
                <a:gd name="connsiteY5" fmla="*/ 0 h 476613"/>
                <a:gd name="connsiteX6" fmla="*/ 8892 w 66304"/>
                <a:gd name="connsiteY6" fmla="*/ 8892 h 476613"/>
                <a:gd name="connsiteX7" fmla="*/ 0 w 66304"/>
                <a:gd name="connsiteY7" fmla="*/ 2541 h 476613"/>
                <a:gd name="connsiteX8" fmla="*/ 0 w 66304"/>
                <a:gd name="connsiteY8" fmla="*/ 2541 h 476613"/>
                <a:gd name="connsiteX9" fmla="*/ 50812 w 66304"/>
                <a:gd name="connsiteY9" fmla="*/ 470013 h 476613"/>
                <a:gd name="connsiteX10" fmla="*/ 59704 w 66304"/>
                <a:gd name="connsiteY10" fmla="*/ 476364 h 47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304" h="476613">
                  <a:moveTo>
                    <a:pt x="59704" y="476364"/>
                  </a:moveTo>
                  <a:cubicBezTo>
                    <a:pt x="63515" y="476364"/>
                    <a:pt x="67326" y="472554"/>
                    <a:pt x="66055" y="468743"/>
                  </a:cubicBezTo>
                  <a:cubicBezTo>
                    <a:pt x="66055" y="468743"/>
                    <a:pt x="66055" y="468743"/>
                    <a:pt x="66055" y="468743"/>
                  </a:cubicBezTo>
                  <a:lnTo>
                    <a:pt x="64785" y="456040"/>
                  </a:lnTo>
                  <a:lnTo>
                    <a:pt x="16514" y="12703"/>
                  </a:lnTo>
                  <a:lnTo>
                    <a:pt x="15244" y="0"/>
                  </a:lnTo>
                  <a:cubicBezTo>
                    <a:pt x="15244" y="3811"/>
                    <a:pt x="12703" y="7622"/>
                    <a:pt x="8892" y="8892"/>
                  </a:cubicBezTo>
                  <a:cubicBezTo>
                    <a:pt x="5081" y="10163"/>
                    <a:pt x="1270" y="6352"/>
                    <a:pt x="0" y="2541"/>
                  </a:cubicBezTo>
                  <a:lnTo>
                    <a:pt x="0" y="2541"/>
                  </a:lnTo>
                  <a:lnTo>
                    <a:pt x="50812" y="470013"/>
                  </a:lnTo>
                  <a:cubicBezTo>
                    <a:pt x="52082" y="473824"/>
                    <a:pt x="55893" y="477635"/>
                    <a:pt x="59704" y="476364"/>
                  </a:cubicBezTo>
                  <a:close/>
                </a:path>
              </a:pathLst>
            </a:custGeom>
            <a:solidFill>
              <a:srgbClr val="000000"/>
            </a:solidFill>
            <a:ln w="12688"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F1D76474-85B4-4F9E-9103-7CDA712CFB5A}"/>
                </a:ext>
              </a:extLst>
            </p:cNvPr>
            <p:cNvSpPr/>
            <p:nvPr/>
          </p:nvSpPr>
          <p:spPr>
            <a:xfrm>
              <a:off x="2417367" y="2661288"/>
              <a:ext cx="650389" cy="423011"/>
            </a:xfrm>
            <a:custGeom>
              <a:avLst/>
              <a:gdLst>
                <a:gd name="connsiteX0" fmla="*/ 10162 w 650389"/>
                <a:gd name="connsiteY0" fmla="*/ 412849 h 423011"/>
                <a:gd name="connsiteX1" fmla="*/ 7622 w 650389"/>
                <a:gd name="connsiteY1" fmla="*/ 423012 h 423011"/>
                <a:gd name="connsiteX2" fmla="*/ 7622 w 650389"/>
                <a:gd name="connsiteY2" fmla="*/ 423012 h 423011"/>
                <a:gd name="connsiteX3" fmla="*/ 650390 w 650389"/>
                <a:gd name="connsiteY3" fmla="*/ 15244 h 423011"/>
                <a:gd name="connsiteX4" fmla="*/ 647849 w 650389"/>
                <a:gd name="connsiteY4" fmla="*/ 13973 h 423011"/>
                <a:gd name="connsiteX5" fmla="*/ 642768 w 650389"/>
                <a:gd name="connsiteY5" fmla="*/ 5081 h 423011"/>
                <a:gd name="connsiteX6" fmla="*/ 646579 w 650389"/>
                <a:gd name="connsiteY6" fmla="*/ 0 h 423011"/>
                <a:gd name="connsiteX7" fmla="*/ 646579 w 650389"/>
                <a:gd name="connsiteY7" fmla="*/ 0 h 423011"/>
                <a:gd name="connsiteX8" fmla="*/ 11433 w 650389"/>
                <a:gd name="connsiteY8" fmla="*/ 402687 h 423011"/>
                <a:gd name="connsiteX9" fmla="*/ 0 w 650389"/>
                <a:gd name="connsiteY9" fmla="*/ 409038 h 423011"/>
                <a:gd name="connsiteX10" fmla="*/ 10162 w 650389"/>
                <a:gd name="connsiteY10" fmla="*/ 412849 h 423011"/>
                <a:gd name="connsiteX11" fmla="*/ 10162 w 650389"/>
                <a:gd name="connsiteY11" fmla="*/ 412849 h 42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0389" h="423011">
                  <a:moveTo>
                    <a:pt x="10162" y="412849"/>
                  </a:moveTo>
                  <a:cubicBezTo>
                    <a:pt x="12703" y="416660"/>
                    <a:pt x="11433" y="420471"/>
                    <a:pt x="7622" y="423012"/>
                  </a:cubicBezTo>
                  <a:cubicBezTo>
                    <a:pt x="7622" y="423012"/>
                    <a:pt x="7622" y="423012"/>
                    <a:pt x="7622" y="423012"/>
                  </a:cubicBezTo>
                  <a:lnTo>
                    <a:pt x="650390" y="15244"/>
                  </a:lnTo>
                  <a:lnTo>
                    <a:pt x="647849" y="13973"/>
                  </a:lnTo>
                  <a:cubicBezTo>
                    <a:pt x="644039" y="12703"/>
                    <a:pt x="641498" y="8892"/>
                    <a:pt x="642768" y="5081"/>
                  </a:cubicBezTo>
                  <a:cubicBezTo>
                    <a:pt x="642768" y="2541"/>
                    <a:pt x="644039" y="1270"/>
                    <a:pt x="646579" y="0"/>
                  </a:cubicBezTo>
                  <a:lnTo>
                    <a:pt x="646579" y="0"/>
                  </a:lnTo>
                  <a:lnTo>
                    <a:pt x="11433" y="402687"/>
                  </a:lnTo>
                  <a:lnTo>
                    <a:pt x="0" y="409038"/>
                  </a:lnTo>
                  <a:cubicBezTo>
                    <a:pt x="2541" y="407768"/>
                    <a:pt x="6351" y="409038"/>
                    <a:pt x="10162" y="412849"/>
                  </a:cubicBezTo>
                  <a:cubicBezTo>
                    <a:pt x="8892" y="412849"/>
                    <a:pt x="8892" y="412849"/>
                    <a:pt x="10162" y="412849"/>
                  </a:cubicBezTo>
                  <a:close/>
                </a:path>
              </a:pathLst>
            </a:custGeom>
            <a:solidFill>
              <a:srgbClr val="000000"/>
            </a:solidFill>
            <a:ln w="12688"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2C2BC550-8D08-43BF-A7ED-46633C3CBC0C}"/>
                </a:ext>
              </a:extLst>
            </p:cNvPr>
            <p:cNvSpPr/>
            <p:nvPr/>
          </p:nvSpPr>
          <p:spPr>
            <a:xfrm>
              <a:off x="1897766" y="3070275"/>
              <a:ext cx="530523" cy="341814"/>
            </a:xfrm>
            <a:custGeom>
              <a:avLst/>
              <a:gdLst>
                <a:gd name="connsiteX0" fmla="*/ 529764 w 530523"/>
                <a:gd name="connsiteY0" fmla="*/ 3862 h 341814"/>
                <a:gd name="connsiteX1" fmla="*/ 519601 w 530523"/>
                <a:gd name="connsiteY1" fmla="*/ 1322 h 341814"/>
                <a:gd name="connsiteX2" fmla="*/ 519601 w 530523"/>
                <a:gd name="connsiteY2" fmla="*/ 1322 h 341814"/>
                <a:gd name="connsiteX3" fmla="*/ 515790 w 530523"/>
                <a:gd name="connsiteY3" fmla="*/ 3862 h 341814"/>
                <a:gd name="connsiteX4" fmla="*/ 14025 w 530523"/>
                <a:gd name="connsiteY4" fmla="*/ 321439 h 341814"/>
                <a:gd name="connsiteX5" fmla="*/ 3862 w 530523"/>
                <a:gd name="connsiteY5" fmla="*/ 327790 h 341814"/>
                <a:gd name="connsiteX6" fmla="*/ 1322 w 530523"/>
                <a:gd name="connsiteY6" fmla="*/ 337952 h 341814"/>
                <a:gd name="connsiteX7" fmla="*/ 11484 w 530523"/>
                <a:gd name="connsiteY7" fmla="*/ 340493 h 341814"/>
                <a:gd name="connsiteX8" fmla="*/ 527223 w 530523"/>
                <a:gd name="connsiteY8" fmla="*/ 14025 h 341814"/>
                <a:gd name="connsiteX9" fmla="*/ 529764 w 530523"/>
                <a:gd name="connsiteY9" fmla="*/ 3862 h 34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523" h="341814">
                  <a:moveTo>
                    <a:pt x="529764" y="3862"/>
                  </a:moveTo>
                  <a:cubicBezTo>
                    <a:pt x="527223" y="51"/>
                    <a:pt x="523412" y="-1219"/>
                    <a:pt x="519601" y="1322"/>
                  </a:cubicBezTo>
                  <a:cubicBezTo>
                    <a:pt x="519601" y="1322"/>
                    <a:pt x="519601" y="1322"/>
                    <a:pt x="519601" y="1322"/>
                  </a:cubicBezTo>
                  <a:lnTo>
                    <a:pt x="515790" y="3862"/>
                  </a:lnTo>
                  <a:lnTo>
                    <a:pt x="14025" y="321439"/>
                  </a:lnTo>
                  <a:lnTo>
                    <a:pt x="3862" y="327790"/>
                  </a:lnTo>
                  <a:cubicBezTo>
                    <a:pt x="51" y="330331"/>
                    <a:pt x="-1219" y="334142"/>
                    <a:pt x="1322" y="337952"/>
                  </a:cubicBezTo>
                  <a:cubicBezTo>
                    <a:pt x="3862" y="341764"/>
                    <a:pt x="7673" y="343034"/>
                    <a:pt x="11484" y="340493"/>
                  </a:cubicBezTo>
                  <a:lnTo>
                    <a:pt x="527223" y="14025"/>
                  </a:lnTo>
                  <a:cubicBezTo>
                    <a:pt x="531034" y="11484"/>
                    <a:pt x="531034" y="7673"/>
                    <a:pt x="529764" y="3862"/>
                  </a:cubicBezTo>
                  <a:close/>
                </a:path>
              </a:pathLst>
            </a:custGeom>
            <a:solidFill>
              <a:srgbClr val="000000"/>
            </a:solidFill>
            <a:ln w="12688"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5AEA2554-5AF0-4B9D-8AD3-855A53847847}"/>
                </a:ext>
              </a:extLst>
            </p:cNvPr>
            <p:cNvSpPr/>
            <p:nvPr/>
          </p:nvSpPr>
          <p:spPr>
            <a:xfrm>
              <a:off x="1656461" y="5224763"/>
              <a:ext cx="53601" cy="519804"/>
            </a:xfrm>
            <a:custGeom>
              <a:avLst/>
              <a:gdLst>
                <a:gd name="connsiteX0" fmla="*/ 7622 w 53601"/>
                <a:gd name="connsiteY0" fmla="*/ 8892 h 519804"/>
                <a:gd name="connsiteX1" fmla="*/ 0 w 53601"/>
                <a:gd name="connsiteY1" fmla="*/ 2541 h 519804"/>
                <a:gd name="connsiteX2" fmla="*/ 1270 w 53601"/>
                <a:gd name="connsiteY2" fmla="*/ 15244 h 519804"/>
                <a:gd name="connsiteX3" fmla="*/ 39379 w 53601"/>
                <a:gd name="connsiteY3" fmla="*/ 509392 h 519804"/>
                <a:gd name="connsiteX4" fmla="*/ 39379 w 53601"/>
                <a:gd name="connsiteY4" fmla="*/ 513203 h 519804"/>
                <a:gd name="connsiteX5" fmla="*/ 47001 w 53601"/>
                <a:gd name="connsiteY5" fmla="*/ 519555 h 519804"/>
                <a:gd name="connsiteX6" fmla="*/ 47001 w 53601"/>
                <a:gd name="connsiteY6" fmla="*/ 519555 h 519804"/>
                <a:gd name="connsiteX7" fmla="*/ 53352 w 53601"/>
                <a:gd name="connsiteY7" fmla="*/ 511933 h 519804"/>
                <a:gd name="connsiteX8" fmla="*/ 53352 w 53601"/>
                <a:gd name="connsiteY8" fmla="*/ 511933 h 519804"/>
                <a:gd name="connsiteX9" fmla="*/ 13973 w 53601"/>
                <a:gd name="connsiteY9" fmla="*/ 0 h 519804"/>
                <a:gd name="connsiteX10" fmla="*/ 7622 w 53601"/>
                <a:gd name="connsiteY10" fmla="*/ 8892 h 519804"/>
                <a:gd name="connsiteX11" fmla="*/ 7622 w 53601"/>
                <a:gd name="connsiteY11" fmla="*/ 8892 h 51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1" h="519804">
                  <a:moveTo>
                    <a:pt x="7622" y="8892"/>
                  </a:moveTo>
                  <a:cubicBezTo>
                    <a:pt x="3811" y="8892"/>
                    <a:pt x="0" y="6352"/>
                    <a:pt x="0" y="2541"/>
                  </a:cubicBezTo>
                  <a:lnTo>
                    <a:pt x="1270" y="15244"/>
                  </a:lnTo>
                  <a:lnTo>
                    <a:pt x="39379" y="509392"/>
                  </a:lnTo>
                  <a:lnTo>
                    <a:pt x="39379" y="513203"/>
                  </a:lnTo>
                  <a:cubicBezTo>
                    <a:pt x="39379" y="517014"/>
                    <a:pt x="43190" y="520825"/>
                    <a:pt x="47001" y="519555"/>
                  </a:cubicBezTo>
                  <a:cubicBezTo>
                    <a:pt x="47001" y="519555"/>
                    <a:pt x="47001" y="519555"/>
                    <a:pt x="47001" y="519555"/>
                  </a:cubicBezTo>
                  <a:cubicBezTo>
                    <a:pt x="50812" y="519555"/>
                    <a:pt x="54623" y="515744"/>
                    <a:pt x="53352" y="511933"/>
                  </a:cubicBezTo>
                  <a:cubicBezTo>
                    <a:pt x="53352" y="511933"/>
                    <a:pt x="53352" y="511933"/>
                    <a:pt x="53352" y="511933"/>
                  </a:cubicBezTo>
                  <a:lnTo>
                    <a:pt x="13973" y="0"/>
                  </a:lnTo>
                  <a:cubicBezTo>
                    <a:pt x="15244" y="5082"/>
                    <a:pt x="11433" y="8892"/>
                    <a:pt x="7622" y="8892"/>
                  </a:cubicBezTo>
                  <a:cubicBezTo>
                    <a:pt x="7622" y="8892"/>
                    <a:pt x="7622" y="8892"/>
                    <a:pt x="7622" y="8892"/>
                  </a:cubicBezTo>
                  <a:close/>
                </a:path>
              </a:pathLst>
            </a:custGeom>
            <a:solidFill>
              <a:srgbClr val="000000"/>
            </a:solidFill>
            <a:ln w="12688"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572269B0-1DDC-478E-8E6C-89485F6C3137}"/>
                </a:ext>
              </a:extLst>
            </p:cNvPr>
            <p:cNvSpPr/>
            <p:nvPr/>
          </p:nvSpPr>
          <p:spPr>
            <a:xfrm>
              <a:off x="374736" y="5707479"/>
              <a:ext cx="62244" cy="447147"/>
            </a:xfrm>
            <a:custGeom>
              <a:avLst/>
              <a:gdLst>
                <a:gd name="connsiteX0" fmla="*/ 55893 w 62244"/>
                <a:gd name="connsiteY0" fmla="*/ 447147 h 447147"/>
                <a:gd name="connsiteX1" fmla="*/ 62244 w 62244"/>
                <a:gd name="connsiteY1" fmla="*/ 439526 h 447147"/>
                <a:gd name="connsiteX2" fmla="*/ 62244 w 62244"/>
                <a:gd name="connsiteY2" fmla="*/ 434444 h 447147"/>
                <a:gd name="connsiteX3" fmla="*/ 16514 w 62244"/>
                <a:gd name="connsiteY3" fmla="*/ 11433 h 447147"/>
                <a:gd name="connsiteX4" fmla="*/ 15244 w 62244"/>
                <a:gd name="connsiteY4" fmla="*/ 0 h 447147"/>
                <a:gd name="connsiteX5" fmla="*/ 8892 w 62244"/>
                <a:gd name="connsiteY5" fmla="*/ 8892 h 447147"/>
                <a:gd name="connsiteX6" fmla="*/ 0 w 62244"/>
                <a:gd name="connsiteY6" fmla="*/ 2541 h 447147"/>
                <a:gd name="connsiteX7" fmla="*/ 0 w 62244"/>
                <a:gd name="connsiteY7" fmla="*/ 1270 h 447147"/>
                <a:gd name="connsiteX8" fmla="*/ 47001 w 62244"/>
                <a:gd name="connsiteY8" fmla="*/ 439526 h 447147"/>
                <a:gd name="connsiteX9" fmla="*/ 55893 w 62244"/>
                <a:gd name="connsiteY9" fmla="*/ 447147 h 44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44" h="447147">
                  <a:moveTo>
                    <a:pt x="55893" y="447147"/>
                  </a:moveTo>
                  <a:cubicBezTo>
                    <a:pt x="59704" y="447147"/>
                    <a:pt x="62244" y="443337"/>
                    <a:pt x="62244" y="439526"/>
                  </a:cubicBezTo>
                  <a:lnTo>
                    <a:pt x="62244" y="434444"/>
                  </a:lnTo>
                  <a:lnTo>
                    <a:pt x="16514" y="11433"/>
                  </a:lnTo>
                  <a:lnTo>
                    <a:pt x="15244" y="0"/>
                  </a:lnTo>
                  <a:cubicBezTo>
                    <a:pt x="16514" y="3811"/>
                    <a:pt x="12703" y="7622"/>
                    <a:pt x="8892" y="8892"/>
                  </a:cubicBezTo>
                  <a:cubicBezTo>
                    <a:pt x="5081" y="10163"/>
                    <a:pt x="1270" y="6352"/>
                    <a:pt x="0" y="2541"/>
                  </a:cubicBezTo>
                  <a:cubicBezTo>
                    <a:pt x="0" y="2541"/>
                    <a:pt x="0" y="1270"/>
                    <a:pt x="0" y="1270"/>
                  </a:cubicBezTo>
                  <a:lnTo>
                    <a:pt x="47001" y="439526"/>
                  </a:lnTo>
                  <a:cubicBezTo>
                    <a:pt x="48271" y="444607"/>
                    <a:pt x="52082" y="447147"/>
                    <a:pt x="55893" y="447147"/>
                  </a:cubicBezTo>
                  <a:close/>
                </a:path>
              </a:pathLst>
            </a:custGeom>
            <a:solidFill>
              <a:srgbClr val="000000"/>
            </a:solidFill>
            <a:ln w="12688"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A7789F07-BC21-4CAF-BF48-AC6A7D861A54}"/>
                </a:ext>
              </a:extLst>
            </p:cNvPr>
            <p:cNvSpPr/>
            <p:nvPr/>
          </p:nvSpPr>
          <p:spPr>
            <a:xfrm>
              <a:off x="3768959" y="5486446"/>
              <a:ext cx="16513" cy="74947"/>
            </a:xfrm>
            <a:custGeom>
              <a:avLst/>
              <a:gdLst>
                <a:gd name="connsiteX0" fmla="*/ 8892 w 16513"/>
                <a:gd name="connsiteY0" fmla="*/ 74948 h 74947"/>
                <a:gd name="connsiteX1" fmla="*/ 16514 w 16513"/>
                <a:gd name="connsiteY1" fmla="*/ 67326 h 74947"/>
                <a:gd name="connsiteX2" fmla="*/ 16514 w 16513"/>
                <a:gd name="connsiteY2" fmla="*/ 67326 h 74947"/>
                <a:gd name="connsiteX3" fmla="*/ 16514 w 16513"/>
                <a:gd name="connsiteY3" fmla="*/ 67326 h 74947"/>
                <a:gd name="connsiteX4" fmla="*/ 16514 w 16513"/>
                <a:gd name="connsiteY4" fmla="*/ 62245 h 74947"/>
                <a:gd name="connsiteX5" fmla="*/ 15243 w 16513"/>
                <a:gd name="connsiteY5" fmla="*/ 10163 h 74947"/>
                <a:gd name="connsiteX6" fmla="*/ 15243 w 16513"/>
                <a:gd name="connsiteY6" fmla="*/ 0 h 74947"/>
                <a:gd name="connsiteX7" fmla="*/ 7621 w 16513"/>
                <a:gd name="connsiteY7" fmla="*/ 7622 h 74947"/>
                <a:gd name="connsiteX8" fmla="*/ 0 w 16513"/>
                <a:gd name="connsiteY8" fmla="*/ 0 h 74947"/>
                <a:gd name="connsiteX9" fmla="*/ 0 w 16513"/>
                <a:gd name="connsiteY9" fmla="*/ 0 h 74947"/>
                <a:gd name="connsiteX10" fmla="*/ 1270 w 16513"/>
                <a:gd name="connsiteY10" fmla="*/ 68596 h 74947"/>
                <a:gd name="connsiteX11" fmla="*/ 1270 w 16513"/>
                <a:gd name="connsiteY11" fmla="*/ 68596 h 74947"/>
                <a:gd name="connsiteX12" fmla="*/ 8892 w 16513"/>
                <a:gd name="connsiteY12" fmla="*/ 74948 h 74947"/>
                <a:gd name="connsiteX13" fmla="*/ 8892 w 16513"/>
                <a:gd name="connsiteY13" fmla="*/ 74948 h 74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3" h="74947">
                  <a:moveTo>
                    <a:pt x="8892" y="74948"/>
                  </a:moveTo>
                  <a:cubicBezTo>
                    <a:pt x="12703" y="74948"/>
                    <a:pt x="16514" y="71137"/>
                    <a:pt x="16514" y="67326"/>
                  </a:cubicBezTo>
                  <a:cubicBezTo>
                    <a:pt x="16514" y="67326"/>
                    <a:pt x="16514" y="67326"/>
                    <a:pt x="16514" y="67326"/>
                  </a:cubicBezTo>
                  <a:lnTo>
                    <a:pt x="16514" y="67326"/>
                  </a:lnTo>
                  <a:lnTo>
                    <a:pt x="16514" y="62245"/>
                  </a:lnTo>
                  <a:lnTo>
                    <a:pt x="15243" y="10163"/>
                  </a:lnTo>
                  <a:lnTo>
                    <a:pt x="15243" y="0"/>
                  </a:lnTo>
                  <a:cubicBezTo>
                    <a:pt x="15243" y="3811"/>
                    <a:pt x="11433" y="7622"/>
                    <a:pt x="7621" y="7622"/>
                  </a:cubicBezTo>
                  <a:cubicBezTo>
                    <a:pt x="3811" y="7622"/>
                    <a:pt x="0" y="3811"/>
                    <a:pt x="0" y="0"/>
                  </a:cubicBezTo>
                  <a:cubicBezTo>
                    <a:pt x="0" y="0"/>
                    <a:pt x="0" y="0"/>
                    <a:pt x="0" y="0"/>
                  </a:cubicBezTo>
                  <a:lnTo>
                    <a:pt x="1270" y="68596"/>
                  </a:lnTo>
                  <a:lnTo>
                    <a:pt x="1270" y="68596"/>
                  </a:lnTo>
                  <a:cubicBezTo>
                    <a:pt x="1270" y="71137"/>
                    <a:pt x="5081" y="74948"/>
                    <a:pt x="8892" y="74948"/>
                  </a:cubicBezTo>
                  <a:cubicBezTo>
                    <a:pt x="8892" y="74948"/>
                    <a:pt x="8892" y="74948"/>
                    <a:pt x="8892" y="74948"/>
                  </a:cubicBezTo>
                  <a:close/>
                </a:path>
              </a:pathLst>
            </a:custGeom>
            <a:solidFill>
              <a:srgbClr val="000000"/>
            </a:solidFill>
            <a:ln w="12688"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76352376-5C1D-45E1-9912-05358A0362CD}"/>
                </a:ext>
              </a:extLst>
            </p:cNvPr>
            <p:cNvSpPr/>
            <p:nvPr/>
          </p:nvSpPr>
          <p:spPr>
            <a:xfrm>
              <a:off x="3753715" y="4950378"/>
              <a:ext cx="30486" cy="542419"/>
            </a:xfrm>
            <a:custGeom>
              <a:avLst/>
              <a:gdLst>
                <a:gd name="connsiteX0" fmla="*/ 22865 w 30486"/>
                <a:gd name="connsiteY0" fmla="*/ 542420 h 542419"/>
                <a:gd name="connsiteX1" fmla="*/ 30487 w 30486"/>
                <a:gd name="connsiteY1" fmla="*/ 534798 h 542419"/>
                <a:gd name="connsiteX2" fmla="*/ 30487 w 30486"/>
                <a:gd name="connsiteY2" fmla="*/ 534798 h 542419"/>
                <a:gd name="connsiteX3" fmla="*/ 30487 w 30486"/>
                <a:gd name="connsiteY3" fmla="*/ 529717 h 542419"/>
                <a:gd name="connsiteX4" fmla="*/ 15244 w 30486"/>
                <a:gd name="connsiteY4" fmla="*/ 3811 h 542419"/>
                <a:gd name="connsiteX5" fmla="*/ 15244 w 30486"/>
                <a:gd name="connsiteY5" fmla="*/ 0 h 542419"/>
                <a:gd name="connsiteX6" fmla="*/ 7622 w 30486"/>
                <a:gd name="connsiteY6" fmla="*/ 7622 h 542419"/>
                <a:gd name="connsiteX7" fmla="*/ 0 w 30486"/>
                <a:gd name="connsiteY7" fmla="*/ 0 h 542419"/>
                <a:gd name="connsiteX8" fmla="*/ 0 w 30486"/>
                <a:gd name="connsiteY8" fmla="*/ 0 h 542419"/>
                <a:gd name="connsiteX9" fmla="*/ 15244 w 30486"/>
                <a:gd name="connsiteY9" fmla="*/ 534798 h 542419"/>
                <a:gd name="connsiteX10" fmla="*/ 22865 w 30486"/>
                <a:gd name="connsiteY10" fmla="*/ 542420 h 54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6" h="542419">
                  <a:moveTo>
                    <a:pt x="22865" y="542420"/>
                  </a:moveTo>
                  <a:cubicBezTo>
                    <a:pt x="26676" y="542420"/>
                    <a:pt x="30487" y="538609"/>
                    <a:pt x="30487" y="534798"/>
                  </a:cubicBezTo>
                  <a:cubicBezTo>
                    <a:pt x="30487" y="534798"/>
                    <a:pt x="30487" y="534798"/>
                    <a:pt x="30487" y="534798"/>
                  </a:cubicBezTo>
                  <a:lnTo>
                    <a:pt x="30487" y="529717"/>
                  </a:lnTo>
                  <a:lnTo>
                    <a:pt x="15244" y="3811"/>
                  </a:lnTo>
                  <a:lnTo>
                    <a:pt x="15244" y="0"/>
                  </a:lnTo>
                  <a:cubicBezTo>
                    <a:pt x="15244" y="3811"/>
                    <a:pt x="11433" y="7622"/>
                    <a:pt x="7622" y="7622"/>
                  </a:cubicBezTo>
                  <a:cubicBezTo>
                    <a:pt x="3811" y="7622"/>
                    <a:pt x="0" y="3811"/>
                    <a:pt x="0" y="0"/>
                  </a:cubicBezTo>
                  <a:cubicBezTo>
                    <a:pt x="0" y="0"/>
                    <a:pt x="0" y="0"/>
                    <a:pt x="0" y="0"/>
                  </a:cubicBezTo>
                  <a:lnTo>
                    <a:pt x="15244" y="534798"/>
                  </a:lnTo>
                  <a:cubicBezTo>
                    <a:pt x="15244" y="539880"/>
                    <a:pt x="17784" y="542420"/>
                    <a:pt x="22865" y="542420"/>
                  </a:cubicBezTo>
                  <a:close/>
                </a:path>
              </a:pathLst>
            </a:custGeom>
            <a:solidFill>
              <a:srgbClr val="000000"/>
            </a:solidFill>
            <a:ln w="12688"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7E8928F4-5848-4AA8-9263-D7B8904FF09E}"/>
                </a:ext>
              </a:extLst>
            </p:cNvPr>
            <p:cNvSpPr/>
            <p:nvPr/>
          </p:nvSpPr>
          <p:spPr>
            <a:xfrm>
              <a:off x="3735931" y="4279657"/>
              <a:ext cx="33027" cy="678342"/>
            </a:xfrm>
            <a:custGeom>
              <a:avLst/>
              <a:gdLst>
                <a:gd name="connsiteX0" fmla="*/ 25406 w 33027"/>
                <a:gd name="connsiteY0" fmla="*/ 678343 h 678342"/>
                <a:gd name="connsiteX1" fmla="*/ 33028 w 33027"/>
                <a:gd name="connsiteY1" fmla="*/ 670721 h 678342"/>
                <a:gd name="connsiteX2" fmla="*/ 33028 w 33027"/>
                <a:gd name="connsiteY2" fmla="*/ 656748 h 678342"/>
                <a:gd name="connsiteX3" fmla="*/ 15243 w 33027"/>
                <a:gd name="connsiteY3" fmla="*/ 10163 h 678342"/>
                <a:gd name="connsiteX4" fmla="*/ 15243 w 33027"/>
                <a:gd name="connsiteY4" fmla="*/ 0 h 678342"/>
                <a:gd name="connsiteX5" fmla="*/ 7622 w 33027"/>
                <a:gd name="connsiteY5" fmla="*/ 7622 h 678342"/>
                <a:gd name="connsiteX6" fmla="*/ 0 w 33027"/>
                <a:gd name="connsiteY6" fmla="*/ 0 h 678342"/>
                <a:gd name="connsiteX7" fmla="*/ 19054 w 33027"/>
                <a:gd name="connsiteY7" fmla="*/ 670721 h 678342"/>
                <a:gd name="connsiteX8" fmla="*/ 25406 w 33027"/>
                <a:gd name="connsiteY8" fmla="*/ 678343 h 67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27" h="678342">
                  <a:moveTo>
                    <a:pt x="25406" y="678343"/>
                  </a:moveTo>
                  <a:cubicBezTo>
                    <a:pt x="29217" y="678343"/>
                    <a:pt x="33028" y="674532"/>
                    <a:pt x="33028" y="670721"/>
                  </a:cubicBezTo>
                  <a:lnTo>
                    <a:pt x="33028" y="656748"/>
                  </a:lnTo>
                  <a:lnTo>
                    <a:pt x="15243" y="10163"/>
                  </a:lnTo>
                  <a:lnTo>
                    <a:pt x="15243" y="0"/>
                  </a:lnTo>
                  <a:cubicBezTo>
                    <a:pt x="15243" y="3811"/>
                    <a:pt x="11433" y="7622"/>
                    <a:pt x="7622" y="7622"/>
                  </a:cubicBezTo>
                  <a:cubicBezTo>
                    <a:pt x="3811" y="7622"/>
                    <a:pt x="0" y="3811"/>
                    <a:pt x="0" y="0"/>
                  </a:cubicBezTo>
                  <a:lnTo>
                    <a:pt x="19054" y="670721"/>
                  </a:lnTo>
                  <a:cubicBezTo>
                    <a:pt x="17784" y="674532"/>
                    <a:pt x="21595" y="678343"/>
                    <a:pt x="25406" y="678343"/>
                  </a:cubicBezTo>
                  <a:close/>
                </a:path>
              </a:pathLst>
            </a:custGeom>
            <a:solidFill>
              <a:srgbClr val="000000"/>
            </a:solidFill>
            <a:ln w="12688"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69EB38DB-E818-453F-828B-95B2611BB00B}"/>
                </a:ext>
              </a:extLst>
            </p:cNvPr>
            <p:cNvSpPr/>
            <p:nvPr/>
          </p:nvSpPr>
          <p:spPr>
            <a:xfrm>
              <a:off x="3707985" y="3343442"/>
              <a:ext cx="40649" cy="942565"/>
            </a:xfrm>
            <a:custGeom>
              <a:avLst/>
              <a:gdLst>
                <a:gd name="connsiteX0" fmla="*/ 0 w 40649"/>
                <a:gd name="connsiteY0" fmla="*/ 6352 h 942565"/>
                <a:gd name="connsiteX1" fmla="*/ 0 w 40649"/>
                <a:gd name="connsiteY1" fmla="*/ 11433 h 942565"/>
                <a:gd name="connsiteX2" fmla="*/ 0 w 40649"/>
                <a:gd name="connsiteY2" fmla="*/ 19055 h 942565"/>
                <a:gd name="connsiteX3" fmla="*/ 25406 w 40649"/>
                <a:gd name="connsiteY3" fmla="*/ 934944 h 942565"/>
                <a:gd name="connsiteX4" fmla="*/ 33028 w 40649"/>
                <a:gd name="connsiteY4" fmla="*/ 942566 h 942565"/>
                <a:gd name="connsiteX5" fmla="*/ 40650 w 40649"/>
                <a:gd name="connsiteY5" fmla="*/ 934944 h 942565"/>
                <a:gd name="connsiteX6" fmla="*/ 40650 w 40649"/>
                <a:gd name="connsiteY6" fmla="*/ 929863 h 942565"/>
                <a:gd name="connsiteX7" fmla="*/ 15244 w 40649"/>
                <a:gd name="connsiteY7" fmla="*/ 5081 h 942565"/>
                <a:gd name="connsiteX8" fmla="*/ 15244 w 40649"/>
                <a:gd name="connsiteY8" fmla="*/ 5081 h 942565"/>
                <a:gd name="connsiteX9" fmla="*/ 15244 w 40649"/>
                <a:gd name="connsiteY9" fmla="*/ 3811 h 942565"/>
                <a:gd name="connsiteX10" fmla="*/ 15244 w 40649"/>
                <a:gd name="connsiteY10" fmla="*/ 3811 h 942565"/>
                <a:gd name="connsiteX11" fmla="*/ 15244 w 40649"/>
                <a:gd name="connsiteY11" fmla="*/ 2540 h 942565"/>
                <a:gd name="connsiteX12" fmla="*/ 13973 w 40649"/>
                <a:gd name="connsiteY12" fmla="*/ 1270 h 942565"/>
                <a:gd name="connsiteX13" fmla="*/ 13973 w 40649"/>
                <a:gd name="connsiteY13" fmla="*/ 1270 h 942565"/>
                <a:gd name="connsiteX14" fmla="*/ 12703 w 40649"/>
                <a:gd name="connsiteY14" fmla="*/ 0 h 942565"/>
                <a:gd name="connsiteX15" fmla="*/ 11433 w 40649"/>
                <a:gd name="connsiteY15" fmla="*/ 0 h 942565"/>
                <a:gd name="connsiteX16" fmla="*/ 11433 w 40649"/>
                <a:gd name="connsiteY16" fmla="*/ 0 h 942565"/>
                <a:gd name="connsiteX17" fmla="*/ 10163 w 40649"/>
                <a:gd name="connsiteY17" fmla="*/ 0 h 942565"/>
                <a:gd name="connsiteX18" fmla="*/ 7622 w 40649"/>
                <a:gd name="connsiteY18" fmla="*/ 0 h 942565"/>
                <a:gd name="connsiteX19" fmla="*/ 0 w 40649"/>
                <a:gd name="connsiteY19" fmla="*/ 6352 h 9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649" h="942565">
                  <a:moveTo>
                    <a:pt x="0" y="6352"/>
                  </a:moveTo>
                  <a:lnTo>
                    <a:pt x="0" y="11433"/>
                  </a:lnTo>
                  <a:lnTo>
                    <a:pt x="0" y="19055"/>
                  </a:lnTo>
                  <a:lnTo>
                    <a:pt x="25406" y="934944"/>
                  </a:lnTo>
                  <a:cubicBezTo>
                    <a:pt x="25406" y="938755"/>
                    <a:pt x="29217" y="942566"/>
                    <a:pt x="33028" y="942566"/>
                  </a:cubicBezTo>
                  <a:cubicBezTo>
                    <a:pt x="36838" y="942566"/>
                    <a:pt x="40650" y="938755"/>
                    <a:pt x="40650" y="934944"/>
                  </a:cubicBezTo>
                  <a:lnTo>
                    <a:pt x="40650" y="929863"/>
                  </a:lnTo>
                  <a:lnTo>
                    <a:pt x="15244" y="5081"/>
                  </a:lnTo>
                  <a:lnTo>
                    <a:pt x="15244" y="5081"/>
                  </a:lnTo>
                  <a:cubicBezTo>
                    <a:pt x="15244" y="5081"/>
                    <a:pt x="15244" y="3811"/>
                    <a:pt x="15244" y="3811"/>
                  </a:cubicBezTo>
                  <a:lnTo>
                    <a:pt x="15244" y="3811"/>
                  </a:lnTo>
                  <a:lnTo>
                    <a:pt x="15244" y="2540"/>
                  </a:lnTo>
                  <a:lnTo>
                    <a:pt x="13973" y="1270"/>
                  </a:lnTo>
                  <a:lnTo>
                    <a:pt x="13973" y="1270"/>
                  </a:lnTo>
                  <a:lnTo>
                    <a:pt x="12703" y="0"/>
                  </a:lnTo>
                  <a:lnTo>
                    <a:pt x="11433" y="0"/>
                  </a:lnTo>
                  <a:lnTo>
                    <a:pt x="11433" y="0"/>
                  </a:lnTo>
                  <a:lnTo>
                    <a:pt x="10163" y="0"/>
                  </a:lnTo>
                  <a:cubicBezTo>
                    <a:pt x="8892" y="0"/>
                    <a:pt x="8892" y="0"/>
                    <a:pt x="7622" y="0"/>
                  </a:cubicBezTo>
                  <a:cubicBezTo>
                    <a:pt x="5081" y="0"/>
                    <a:pt x="1270" y="2540"/>
                    <a:pt x="0" y="6352"/>
                  </a:cubicBezTo>
                  <a:close/>
                </a:path>
              </a:pathLst>
            </a:custGeom>
            <a:solidFill>
              <a:srgbClr val="000000"/>
            </a:solidFill>
            <a:ln w="12688"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6E89A35E-4476-4040-82CE-B3DD02CD1E9E}"/>
                </a:ext>
              </a:extLst>
            </p:cNvPr>
            <p:cNvSpPr/>
            <p:nvPr/>
          </p:nvSpPr>
          <p:spPr>
            <a:xfrm>
              <a:off x="260410" y="4648045"/>
              <a:ext cx="129819" cy="1068326"/>
            </a:xfrm>
            <a:custGeom>
              <a:avLst/>
              <a:gdLst>
                <a:gd name="connsiteX0" fmla="*/ 123218 w 129819"/>
                <a:gd name="connsiteY0" fmla="*/ 1068327 h 1068326"/>
                <a:gd name="connsiteX1" fmla="*/ 129570 w 129819"/>
                <a:gd name="connsiteY1" fmla="*/ 1060705 h 1068326"/>
                <a:gd name="connsiteX2" fmla="*/ 129570 w 129819"/>
                <a:gd name="connsiteY2" fmla="*/ 1055623 h 1068326"/>
                <a:gd name="connsiteX3" fmla="*/ 16514 w 129819"/>
                <a:gd name="connsiteY3" fmla="*/ 11433 h 1068326"/>
                <a:gd name="connsiteX4" fmla="*/ 15244 w 129819"/>
                <a:gd name="connsiteY4" fmla="*/ 0 h 1068326"/>
                <a:gd name="connsiteX5" fmla="*/ 8892 w 129819"/>
                <a:gd name="connsiteY5" fmla="*/ 8892 h 1068326"/>
                <a:gd name="connsiteX6" fmla="*/ 0 w 129819"/>
                <a:gd name="connsiteY6" fmla="*/ 2541 h 1068326"/>
                <a:gd name="connsiteX7" fmla="*/ 114326 w 129819"/>
                <a:gd name="connsiteY7" fmla="*/ 1063245 h 1068326"/>
                <a:gd name="connsiteX8" fmla="*/ 123218 w 129819"/>
                <a:gd name="connsiteY8" fmla="*/ 1068327 h 106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819" h="1068326">
                  <a:moveTo>
                    <a:pt x="123218" y="1068327"/>
                  </a:moveTo>
                  <a:cubicBezTo>
                    <a:pt x="127029" y="1068327"/>
                    <a:pt x="130840" y="1064516"/>
                    <a:pt x="129570" y="1060705"/>
                  </a:cubicBezTo>
                  <a:lnTo>
                    <a:pt x="129570" y="1055623"/>
                  </a:lnTo>
                  <a:lnTo>
                    <a:pt x="16514" y="11433"/>
                  </a:lnTo>
                  <a:lnTo>
                    <a:pt x="15244" y="0"/>
                  </a:lnTo>
                  <a:cubicBezTo>
                    <a:pt x="15244" y="3811"/>
                    <a:pt x="12703" y="7622"/>
                    <a:pt x="8892" y="8892"/>
                  </a:cubicBezTo>
                  <a:cubicBezTo>
                    <a:pt x="5081" y="10163"/>
                    <a:pt x="1270" y="6352"/>
                    <a:pt x="0" y="2541"/>
                  </a:cubicBezTo>
                  <a:lnTo>
                    <a:pt x="114326" y="1063245"/>
                  </a:lnTo>
                  <a:cubicBezTo>
                    <a:pt x="115597" y="1065786"/>
                    <a:pt x="119408" y="1068327"/>
                    <a:pt x="123218" y="1068327"/>
                  </a:cubicBezTo>
                  <a:close/>
                </a:path>
              </a:pathLst>
            </a:custGeom>
            <a:solidFill>
              <a:srgbClr val="000000"/>
            </a:solidFill>
            <a:ln w="12688"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34BDEBA8-97E0-4FD5-972C-3B98DBDFDE70}"/>
                </a:ext>
              </a:extLst>
            </p:cNvPr>
            <p:cNvSpPr/>
            <p:nvPr/>
          </p:nvSpPr>
          <p:spPr>
            <a:xfrm>
              <a:off x="199186" y="4078949"/>
              <a:ext cx="75445" cy="576718"/>
            </a:xfrm>
            <a:custGeom>
              <a:avLst/>
              <a:gdLst>
                <a:gd name="connsiteX0" fmla="*/ 68845 w 75445"/>
                <a:gd name="connsiteY0" fmla="*/ 576718 h 576718"/>
                <a:gd name="connsiteX1" fmla="*/ 75196 w 75445"/>
                <a:gd name="connsiteY1" fmla="*/ 569096 h 576718"/>
                <a:gd name="connsiteX2" fmla="*/ 75196 w 75445"/>
                <a:gd name="connsiteY2" fmla="*/ 564015 h 576718"/>
                <a:gd name="connsiteX3" fmla="*/ 14222 w 75445"/>
                <a:gd name="connsiteY3" fmla="*/ 6352 h 576718"/>
                <a:gd name="connsiteX4" fmla="*/ 14222 w 75445"/>
                <a:gd name="connsiteY4" fmla="*/ 6352 h 576718"/>
                <a:gd name="connsiteX5" fmla="*/ 14222 w 75445"/>
                <a:gd name="connsiteY5" fmla="*/ 6352 h 576718"/>
                <a:gd name="connsiteX6" fmla="*/ 14222 w 75445"/>
                <a:gd name="connsiteY6" fmla="*/ 6352 h 576718"/>
                <a:gd name="connsiteX7" fmla="*/ 12952 w 75445"/>
                <a:gd name="connsiteY7" fmla="*/ 3811 h 576718"/>
                <a:gd name="connsiteX8" fmla="*/ 12952 w 75445"/>
                <a:gd name="connsiteY8" fmla="*/ 3811 h 576718"/>
                <a:gd name="connsiteX9" fmla="*/ 12952 w 75445"/>
                <a:gd name="connsiteY9" fmla="*/ 2540 h 576718"/>
                <a:gd name="connsiteX10" fmla="*/ 11682 w 75445"/>
                <a:gd name="connsiteY10" fmla="*/ 1270 h 576718"/>
                <a:gd name="connsiteX11" fmla="*/ 11682 w 75445"/>
                <a:gd name="connsiteY11" fmla="*/ 1270 h 576718"/>
                <a:gd name="connsiteX12" fmla="*/ 10412 w 75445"/>
                <a:gd name="connsiteY12" fmla="*/ 1270 h 576718"/>
                <a:gd name="connsiteX13" fmla="*/ 10412 w 75445"/>
                <a:gd name="connsiteY13" fmla="*/ 1270 h 576718"/>
                <a:gd name="connsiteX14" fmla="*/ 6601 w 75445"/>
                <a:gd name="connsiteY14" fmla="*/ 0 h 576718"/>
                <a:gd name="connsiteX15" fmla="*/ 249 w 75445"/>
                <a:gd name="connsiteY15" fmla="*/ 7622 h 576718"/>
                <a:gd name="connsiteX16" fmla="*/ 249 w 75445"/>
                <a:gd name="connsiteY16" fmla="*/ 12703 h 576718"/>
                <a:gd name="connsiteX17" fmla="*/ 1519 w 75445"/>
                <a:gd name="connsiteY17" fmla="*/ 19055 h 576718"/>
                <a:gd name="connsiteX18" fmla="*/ 59953 w 75445"/>
                <a:gd name="connsiteY18" fmla="*/ 569096 h 576718"/>
                <a:gd name="connsiteX19" fmla="*/ 68845 w 75445"/>
                <a:gd name="connsiteY19" fmla="*/ 576718 h 57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45" h="576718">
                  <a:moveTo>
                    <a:pt x="68845" y="576718"/>
                  </a:moveTo>
                  <a:cubicBezTo>
                    <a:pt x="72656" y="576718"/>
                    <a:pt x="76467" y="572908"/>
                    <a:pt x="75196" y="569096"/>
                  </a:cubicBezTo>
                  <a:lnTo>
                    <a:pt x="75196" y="564015"/>
                  </a:lnTo>
                  <a:lnTo>
                    <a:pt x="14222" y="6352"/>
                  </a:lnTo>
                  <a:lnTo>
                    <a:pt x="14222" y="6352"/>
                  </a:lnTo>
                  <a:lnTo>
                    <a:pt x="14222" y="6352"/>
                  </a:lnTo>
                  <a:lnTo>
                    <a:pt x="14222" y="6352"/>
                  </a:lnTo>
                  <a:cubicBezTo>
                    <a:pt x="14222" y="5081"/>
                    <a:pt x="14222" y="5081"/>
                    <a:pt x="12952" y="3811"/>
                  </a:cubicBezTo>
                  <a:lnTo>
                    <a:pt x="12952" y="3811"/>
                  </a:lnTo>
                  <a:lnTo>
                    <a:pt x="12952" y="2540"/>
                  </a:lnTo>
                  <a:cubicBezTo>
                    <a:pt x="12952" y="2540"/>
                    <a:pt x="11682" y="1270"/>
                    <a:pt x="11682" y="1270"/>
                  </a:cubicBezTo>
                  <a:lnTo>
                    <a:pt x="11682" y="1270"/>
                  </a:lnTo>
                  <a:lnTo>
                    <a:pt x="10412" y="1270"/>
                  </a:lnTo>
                  <a:lnTo>
                    <a:pt x="10412" y="1270"/>
                  </a:lnTo>
                  <a:cubicBezTo>
                    <a:pt x="9141" y="1270"/>
                    <a:pt x="7871" y="0"/>
                    <a:pt x="6601" y="0"/>
                  </a:cubicBezTo>
                  <a:cubicBezTo>
                    <a:pt x="2790" y="0"/>
                    <a:pt x="-1021" y="3811"/>
                    <a:pt x="249" y="7622"/>
                  </a:cubicBezTo>
                  <a:lnTo>
                    <a:pt x="249" y="12703"/>
                  </a:lnTo>
                  <a:lnTo>
                    <a:pt x="1519" y="19055"/>
                  </a:lnTo>
                  <a:lnTo>
                    <a:pt x="59953" y="569096"/>
                  </a:lnTo>
                  <a:cubicBezTo>
                    <a:pt x="62494" y="574178"/>
                    <a:pt x="65034" y="576718"/>
                    <a:pt x="68845" y="576718"/>
                  </a:cubicBezTo>
                  <a:close/>
                </a:path>
              </a:pathLst>
            </a:custGeom>
            <a:solidFill>
              <a:srgbClr val="000000"/>
            </a:solidFill>
            <a:ln w="12688"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71355FE0-D809-4DFE-BFDE-59DECE050C99}"/>
                </a:ext>
              </a:extLst>
            </p:cNvPr>
            <p:cNvSpPr/>
            <p:nvPr/>
          </p:nvSpPr>
          <p:spPr>
            <a:xfrm>
              <a:off x="1646299" y="5100274"/>
              <a:ext cx="23114" cy="133631"/>
            </a:xfrm>
            <a:custGeom>
              <a:avLst/>
              <a:gdLst>
                <a:gd name="connsiteX0" fmla="*/ 7622 w 23114"/>
                <a:gd name="connsiteY0" fmla="*/ 7622 h 133631"/>
                <a:gd name="connsiteX1" fmla="*/ 0 w 23114"/>
                <a:gd name="connsiteY1" fmla="*/ 1270 h 133631"/>
                <a:gd name="connsiteX2" fmla="*/ 0 w 23114"/>
                <a:gd name="connsiteY2" fmla="*/ 1270 h 133631"/>
                <a:gd name="connsiteX3" fmla="*/ 0 w 23114"/>
                <a:gd name="connsiteY3" fmla="*/ 6352 h 133631"/>
                <a:gd name="connsiteX4" fmla="*/ 8892 w 23114"/>
                <a:gd name="connsiteY4" fmla="*/ 123220 h 133631"/>
                <a:gd name="connsiteX5" fmla="*/ 8892 w 23114"/>
                <a:gd name="connsiteY5" fmla="*/ 127030 h 133631"/>
                <a:gd name="connsiteX6" fmla="*/ 16514 w 23114"/>
                <a:gd name="connsiteY6" fmla="*/ 133382 h 133631"/>
                <a:gd name="connsiteX7" fmla="*/ 22865 w 23114"/>
                <a:gd name="connsiteY7" fmla="*/ 125760 h 133631"/>
                <a:gd name="connsiteX8" fmla="*/ 12703 w 23114"/>
                <a:gd name="connsiteY8" fmla="*/ 0 h 133631"/>
                <a:gd name="connsiteX9" fmla="*/ 7622 w 23114"/>
                <a:gd name="connsiteY9" fmla="*/ 7622 h 13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14" h="133631">
                  <a:moveTo>
                    <a:pt x="7622" y="7622"/>
                  </a:moveTo>
                  <a:cubicBezTo>
                    <a:pt x="3811" y="7622"/>
                    <a:pt x="0" y="5081"/>
                    <a:pt x="0" y="1270"/>
                  </a:cubicBezTo>
                  <a:cubicBezTo>
                    <a:pt x="0" y="1270"/>
                    <a:pt x="0" y="1270"/>
                    <a:pt x="0" y="1270"/>
                  </a:cubicBezTo>
                  <a:lnTo>
                    <a:pt x="0" y="6352"/>
                  </a:lnTo>
                  <a:lnTo>
                    <a:pt x="8892" y="123220"/>
                  </a:lnTo>
                  <a:lnTo>
                    <a:pt x="8892" y="127030"/>
                  </a:lnTo>
                  <a:cubicBezTo>
                    <a:pt x="8892" y="130841"/>
                    <a:pt x="12703" y="134652"/>
                    <a:pt x="16514" y="133382"/>
                  </a:cubicBezTo>
                  <a:cubicBezTo>
                    <a:pt x="20325" y="133382"/>
                    <a:pt x="24135" y="129571"/>
                    <a:pt x="22865" y="125760"/>
                  </a:cubicBezTo>
                  <a:lnTo>
                    <a:pt x="12703" y="0"/>
                  </a:lnTo>
                  <a:cubicBezTo>
                    <a:pt x="15243" y="3811"/>
                    <a:pt x="11433" y="7622"/>
                    <a:pt x="7622" y="7622"/>
                  </a:cubicBezTo>
                  <a:close/>
                </a:path>
              </a:pathLst>
            </a:custGeom>
            <a:solidFill>
              <a:srgbClr val="000000"/>
            </a:solidFill>
            <a:ln w="12688"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726E9A69-0919-4DBC-847E-FDAE5ED1F28D}"/>
                </a:ext>
              </a:extLst>
            </p:cNvPr>
            <p:cNvSpPr/>
            <p:nvPr/>
          </p:nvSpPr>
          <p:spPr>
            <a:xfrm>
              <a:off x="1631056" y="4897025"/>
              <a:ext cx="30487" cy="212141"/>
            </a:xfrm>
            <a:custGeom>
              <a:avLst/>
              <a:gdLst>
                <a:gd name="connsiteX0" fmla="*/ 7622 w 30487"/>
                <a:gd name="connsiteY0" fmla="*/ 7622 h 212141"/>
                <a:gd name="connsiteX1" fmla="*/ 0 w 30487"/>
                <a:gd name="connsiteY1" fmla="*/ 1270 h 212141"/>
                <a:gd name="connsiteX2" fmla="*/ 0 w 30487"/>
                <a:gd name="connsiteY2" fmla="*/ 1270 h 212141"/>
                <a:gd name="connsiteX3" fmla="*/ 0 w 30487"/>
                <a:gd name="connsiteY3" fmla="*/ 6352 h 212141"/>
                <a:gd name="connsiteX4" fmla="*/ 13973 w 30487"/>
                <a:gd name="connsiteY4" fmla="*/ 193087 h 212141"/>
                <a:gd name="connsiteX5" fmla="*/ 15244 w 30487"/>
                <a:gd name="connsiteY5" fmla="*/ 204519 h 212141"/>
                <a:gd name="connsiteX6" fmla="*/ 22865 w 30487"/>
                <a:gd name="connsiteY6" fmla="*/ 212141 h 212141"/>
                <a:gd name="connsiteX7" fmla="*/ 30487 w 30487"/>
                <a:gd name="connsiteY7" fmla="*/ 204519 h 212141"/>
                <a:gd name="connsiteX8" fmla="*/ 30487 w 30487"/>
                <a:gd name="connsiteY8" fmla="*/ 203249 h 212141"/>
                <a:gd name="connsiteX9" fmla="*/ 30487 w 30487"/>
                <a:gd name="connsiteY9" fmla="*/ 203249 h 212141"/>
                <a:gd name="connsiteX10" fmla="*/ 15244 w 30487"/>
                <a:gd name="connsiteY10" fmla="*/ 0 h 212141"/>
                <a:gd name="connsiteX11" fmla="*/ 7622 w 30487"/>
                <a:gd name="connsiteY11" fmla="*/ 7622 h 21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7" h="212141">
                  <a:moveTo>
                    <a:pt x="7622" y="7622"/>
                  </a:moveTo>
                  <a:cubicBezTo>
                    <a:pt x="3811" y="7622"/>
                    <a:pt x="0" y="5081"/>
                    <a:pt x="0" y="1270"/>
                  </a:cubicBezTo>
                  <a:cubicBezTo>
                    <a:pt x="0" y="1270"/>
                    <a:pt x="0" y="1270"/>
                    <a:pt x="0" y="1270"/>
                  </a:cubicBezTo>
                  <a:lnTo>
                    <a:pt x="0" y="6352"/>
                  </a:lnTo>
                  <a:lnTo>
                    <a:pt x="13973" y="193087"/>
                  </a:lnTo>
                  <a:lnTo>
                    <a:pt x="15244" y="204519"/>
                  </a:lnTo>
                  <a:cubicBezTo>
                    <a:pt x="15244" y="208330"/>
                    <a:pt x="17784" y="212141"/>
                    <a:pt x="22865" y="212141"/>
                  </a:cubicBezTo>
                  <a:cubicBezTo>
                    <a:pt x="26676" y="212141"/>
                    <a:pt x="30487" y="209600"/>
                    <a:pt x="30487" y="204519"/>
                  </a:cubicBezTo>
                  <a:cubicBezTo>
                    <a:pt x="30487" y="204519"/>
                    <a:pt x="30487" y="203249"/>
                    <a:pt x="30487" y="203249"/>
                  </a:cubicBezTo>
                  <a:lnTo>
                    <a:pt x="30487" y="203249"/>
                  </a:lnTo>
                  <a:lnTo>
                    <a:pt x="15244" y="0"/>
                  </a:lnTo>
                  <a:cubicBezTo>
                    <a:pt x="13973" y="3811"/>
                    <a:pt x="11433" y="7622"/>
                    <a:pt x="7622" y="7622"/>
                  </a:cubicBezTo>
                  <a:close/>
                </a:path>
              </a:pathLst>
            </a:custGeom>
            <a:solidFill>
              <a:srgbClr val="000000"/>
            </a:solidFill>
            <a:ln w="12688"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252F1E70-C981-4C5C-8729-C50755F16155}"/>
                </a:ext>
              </a:extLst>
            </p:cNvPr>
            <p:cNvSpPr/>
            <p:nvPr/>
          </p:nvSpPr>
          <p:spPr>
            <a:xfrm>
              <a:off x="1581514" y="4249169"/>
              <a:ext cx="65034" cy="655726"/>
            </a:xfrm>
            <a:custGeom>
              <a:avLst/>
              <a:gdLst>
                <a:gd name="connsiteX0" fmla="*/ 7622 w 65034"/>
                <a:gd name="connsiteY0" fmla="*/ 7622 h 655726"/>
                <a:gd name="connsiteX1" fmla="*/ 0 w 65034"/>
                <a:gd name="connsiteY1" fmla="*/ 1270 h 655726"/>
                <a:gd name="connsiteX2" fmla="*/ 0 w 65034"/>
                <a:gd name="connsiteY2" fmla="*/ 1270 h 655726"/>
                <a:gd name="connsiteX3" fmla="*/ 1270 w 65034"/>
                <a:gd name="connsiteY3" fmla="*/ 13973 h 655726"/>
                <a:gd name="connsiteX4" fmla="*/ 49541 w 65034"/>
                <a:gd name="connsiteY4" fmla="*/ 637693 h 655726"/>
                <a:gd name="connsiteX5" fmla="*/ 50812 w 65034"/>
                <a:gd name="connsiteY5" fmla="*/ 649126 h 655726"/>
                <a:gd name="connsiteX6" fmla="*/ 58434 w 65034"/>
                <a:gd name="connsiteY6" fmla="*/ 655477 h 655726"/>
                <a:gd name="connsiteX7" fmla="*/ 58434 w 65034"/>
                <a:gd name="connsiteY7" fmla="*/ 655477 h 655726"/>
                <a:gd name="connsiteX8" fmla="*/ 64785 w 65034"/>
                <a:gd name="connsiteY8" fmla="*/ 647856 h 655726"/>
                <a:gd name="connsiteX9" fmla="*/ 64785 w 65034"/>
                <a:gd name="connsiteY9" fmla="*/ 647856 h 655726"/>
                <a:gd name="connsiteX10" fmla="*/ 64785 w 65034"/>
                <a:gd name="connsiteY10" fmla="*/ 647856 h 655726"/>
                <a:gd name="connsiteX11" fmla="*/ 15243 w 65034"/>
                <a:gd name="connsiteY11" fmla="*/ 0 h 655726"/>
                <a:gd name="connsiteX12" fmla="*/ 7622 w 65034"/>
                <a:gd name="connsiteY12" fmla="*/ 7622 h 65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034" h="655726">
                  <a:moveTo>
                    <a:pt x="7622" y="7622"/>
                  </a:moveTo>
                  <a:cubicBezTo>
                    <a:pt x="3811" y="7622"/>
                    <a:pt x="0" y="5081"/>
                    <a:pt x="0" y="1270"/>
                  </a:cubicBezTo>
                  <a:cubicBezTo>
                    <a:pt x="0" y="1270"/>
                    <a:pt x="0" y="1270"/>
                    <a:pt x="0" y="1270"/>
                  </a:cubicBezTo>
                  <a:lnTo>
                    <a:pt x="1270" y="13973"/>
                  </a:lnTo>
                  <a:lnTo>
                    <a:pt x="49541" y="637693"/>
                  </a:lnTo>
                  <a:lnTo>
                    <a:pt x="50812" y="649126"/>
                  </a:lnTo>
                  <a:cubicBezTo>
                    <a:pt x="50812" y="652937"/>
                    <a:pt x="54623" y="656748"/>
                    <a:pt x="58434" y="655477"/>
                  </a:cubicBezTo>
                  <a:cubicBezTo>
                    <a:pt x="58434" y="655477"/>
                    <a:pt x="58434" y="655477"/>
                    <a:pt x="58434" y="655477"/>
                  </a:cubicBezTo>
                  <a:cubicBezTo>
                    <a:pt x="62244" y="655477"/>
                    <a:pt x="66055" y="651666"/>
                    <a:pt x="64785" y="647856"/>
                  </a:cubicBezTo>
                  <a:cubicBezTo>
                    <a:pt x="64785" y="647856"/>
                    <a:pt x="64785" y="647856"/>
                    <a:pt x="64785" y="647856"/>
                  </a:cubicBezTo>
                  <a:lnTo>
                    <a:pt x="64785" y="647856"/>
                  </a:lnTo>
                  <a:lnTo>
                    <a:pt x="15243" y="0"/>
                  </a:lnTo>
                  <a:cubicBezTo>
                    <a:pt x="13973" y="3811"/>
                    <a:pt x="11433" y="7622"/>
                    <a:pt x="7622" y="7622"/>
                  </a:cubicBezTo>
                  <a:close/>
                </a:path>
              </a:pathLst>
            </a:custGeom>
            <a:solidFill>
              <a:srgbClr val="000000"/>
            </a:solidFill>
            <a:ln w="12688"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DE93DCF5-4E97-41B0-B109-542B1F49E4F7}"/>
                </a:ext>
              </a:extLst>
            </p:cNvPr>
            <p:cNvSpPr/>
            <p:nvPr/>
          </p:nvSpPr>
          <p:spPr>
            <a:xfrm>
              <a:off x="1534513" y="3629011"/>
              <a:ext cx="62244" cy="629050"/>
            </a:xfrm>
            <a:custGeom>
              <a:avLst/>
              <a:gdLst>
                <a:gd name="connsiteX0" fmla="*/ 13973 w 62244"/>
                <a:gd name="connsiteY0" fmla="*/ 6601 h 629050"/>
                <a:gd name="connsiteX1" fmla="*/ 6351 w 62244"/>
                <a:gd name="connsiteY1" fmla="*/ 249 h 629050"/>
                <a:gd name="connsiteX2" fmla="*/ 6351 w 62244"/>
                <a:gd name="connsiteY2" fmla="*/ 249 h 629050"/>
                <a:gd name="connsiteX3" fmla="*/ 2541 w 62244"/>
                <a:gd name="connsiteY3" fmla="*/ 1519 h 629050"/>
                <a:gd name="connsiteX4" fmla="*/ 1270 w 62244"/>
                <a:gd name="connsiteY4" fmla="*/ 2790 h 629050"/>
                <a:gd name="connsiteX5" fmla="*/ 1270 w 62244"/>
                <a:gd name="connsiteY5" fmla="*/ 2790 h 629050"/>
                <a:gd name="connsiteX6" fmla="*/ 0 w 62244"/>
                <a:gd name="connsiteY6" fmla="*/ 4060 h 629050"/>
                <a:gd name="connsiteX7" fmla="*/ 0 w 62244"/>
                <a:gd name="connsiteY7" fmla="*/ 5330 h 629050"/>
                <a:gd name="connsiteX8" fmla="*/ 0 w 62244"/>
                <a:gd name="connsiteY8" fmla="*/ 5330 h 629050"/>
                <a:gd name="connsiteX9" fmla="*/ 0 w 62244"/>
                <a:gd name="connsiteY9" fmla="*/ 6601 h 629050"/>
                <a:gd name="connsiteX10" fmla="*/ 0 w 62244"/>
                <a:gd name="connsiteY10" fmla="*/ 7871 h 629050"/>
                <a:gd name="connsiteX11" fmla="*/ 47001 w 62244"/>
                <a:gd name="connsiteY11" fmla="*/ 617617 h 629050"/>
                <a:gd name="connsiteX12" fmla="*/ 47001 w 62244"/>
                <a:gd name="connsiteY12" fmla="*/ 621428 h 629050"/>
                <a:gd name="connsiteX13" fmla="*/ 54623 w 62244"/>
                <a:gd name="connsiteY13" fmla="*/ 629050 h 629050"/>
                <a:gd name="connsiteX14" fmla="*/ 54623 w 62244"/>
                <a:gd name="connsiteY14" fmla="*/ 629050 h 629050"/>
                <a:gd name="connsiteX15" fmla="*/ 62244 w 62244"/>
                <a:gd name="connsiteY15" fmla="*/ 621428 h 629050"/>
                <a:gd name="connsiteX16" fmla="*/ 15243 w 62244"/>
                <a:gd name="connsiteY16" fmla="*/ 16763 h 629050"/>
                <a:gd name="connsiteX17" fmla="*/ 15243 w 62244"/>
                <a:gd name="connsiteY17" fmla="*/ 10411 h 629050"/>
                <a:gd name="connsiteX18" fmla="*/ 13973 w 62244"/>
                <a:gd name="connsiteY18" fmla="*/ 6601 h 62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244" h="629050">
                  <a:moveTo>
                    <a:pt x="13973" y="6601"/>
                  </a:moveTo>
                  <a:cubicBezTo>
                    <a:pt x="13973" y="2790"/>
                    <a:pt x="10162" y="-1021"/>
                    <a:pt x="6351" y="249"/>
                  </a:cubicBezTo>
                  <a:cubicBezTo>
                    <a:pt x="6351" y="249"/>
                    <a:pt x="6351" y="249"/>
                    <a:pt x="6351" y="249"/>
                  </a:cubicBezTo>
                  <a:cubicBezTo>
                    <a:pt x="5081" y="249"/>
                    <a:pt x="3811" y="1519"/>
                    <a:pt x="2541" y="1519"/>
                  </a:cubicBezTo>
                  <a:cubicBezTo>
                    <a:pt x="2541" y="1519"/>
                    <a:pt x="1270" y="1519"/>
                    <a:pt x="1270" y="2790"/>
                  </a:cubicBezTo>
                  <a:cubicBezTo>
                    <a:pt x="1270" y="4060"/>
                    <a:pt x="1270" y="2790"/>
                    <a:pt x="1270" y="2790"/>
                  </a:cubicBezTo>
                  <a:cubicBezTo>
                    <a:pt x="1270" y="2790"/>
                    <a:pt x="1270" y="4060"/>
                    <a:pt x="0" y="4060"/>
                  </a:cubicBezTo>
                  <a:lnTo>
                    <a:pt x="0" y="5330"/>
                  </a:lnTo>
                  <a:lnTo>
                    <a:pt x="0" y="5330"/>
                  </a:lnTo>
                  <a:cubicBezTo>
                    <a:pt x="0" y="5330"/>
                    <a:pt x="0" y="6601"/>
                    <a:pt x="0" y="6601"/>
                  </a:cubicBezTo>
                  <a:cubicBezTo>
                    <a:pt x="0" y="6601"/>
                    <a:pt x="0" y="6601"/>
                    <a:pt x="0" y="7871"/>
                  </a:cubicBezTo>
                  <a:lnTo>
                    <a:pt x="47001" y="617617"/>
                  </a:lnTo>
                  <a:lnTo>
                    <a:pt x="47001" y="621428"/>
                  </a:lnTo>
                  <a:cubicBezTo>
                    <a:pt x="47001" y="625239"/>
                    <a:pt x="50812" y="629050"/>
                    <a:pt x="54623" y="629050"/>
                  </a:cubicBezTo>
                  <a:cubicBezTo>
                    <a:pt x="54623" y="629050"/>
                    <a:pt x="54623" y="629050"/>
                    <a:pt x="54623" y="629050"/>
                  </a:cubicBezTo>
                  <a:cubicBezTo>
                    <a:pt x="58433" y="629050"/>
                    <a:pt x="62244" y="625239"/>
                    <a:pt x="62244" y="621428"/>
                  </a:cubicBezTo>
                  <a:lnTo>
                    <a:pt x="15243" y="16763"/>
                  </a:lnTo>
                  <a:lnTo>
                    <a:pt x="15243" y="10411"/>
                  </a:lnTo>
                  <a:lnTo>
                    <a:pt x="13973" y="6601"/>
                  </a:lnTo>
                  <a:close/>
                </a:path>
              </a:pathLst>
            </a:custGeom>
            <a:solidFill>
              <a:srgbClr val="000000"/>
            </a:solidFill>
            <a:ln w="12688"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75385752-C0C6-443C-9783-DFA5B6311E0C}"/>
                </a:ext>
              </a:extLst>
            </p:cNvPr>
            <p:cNvSpPr/>
            <p:nvPr/>
          </p:nvSpPr>
          <p:spPr>
            <a:xfrm>
              <a:off x="1504026" y="1360247"/>
              <a:ext cx="175300" cy="2201687"/>
            </a:xfrm>
            <a:custGeom>
              <a:avLst/>
              <a:gdLst>
                <a:gd name="connsiteX0" fmla="*/ 174030 w 175300"/>
                <a:gd name="connsiteY0" fmla="*/ 2195336 h 2201687"/>
                <a:gd name="connsiteX1" fmla="*/ 175300 w 175300"/>
                <a:gd name="connsiteY1" fmla="*/ 2194066 h 2201687"/>
                <a:gd name="connsiteX2" fmla="*/ 175300 w 175300"/>
                <a:gd name="connsiteY2" fmla="*/ 2192796 h 2201687"/>
                <a:gd name="connsiteX3" fmla="*/ 175300 w 175300"/>
                <a:gd name="connsiteY3" fmla="*/ 2191525 h 2201687"/>
                <a:gd name="connsiteX4" fmla="*/ 174030 w 175300"/>
                <a:gd name="connsiteY4" fmla="*/ 2178822 h 2201687"/>
                <a:gd name="connsiteX5" fmla="*/ 174030 w 175300"/>
                <a:gd name="connsiteY5" fmla="*/ 2178822 h 2201687"/>
                <a:gd name="connsiteX6" fmla="*/ 13973 w 175300"/>
                <a:gd name="connsiteY6" fmla="*/ 11682 h 2201687"/>
                <a:gd name="connsiteX7" fmla="*/ 13973 w 175300"/>
                <a:gd name="connsiteY7" fmla="*/ 6601 h 2201687"/>
                <a:gd name="connsiteX8" fmla="*/ 6351 w 175300"/>
                <a:gd name="connsiteY8" fmla="*/ 249 h 2201687"/>
                <a:gd name="connsiteX9" fmla="*/ 6351 w 175300"/>
                <a:gd name="connsiteY9" fmla="*/ 249 h 2201687"/>
                <a:gd name="connsiteX10" fmla="*/ 2541 w 175300"/>
                <a:gd name="connsiteY10" fmla="*/ 1519 h 2201687"/>
                <a:gd name="connsiteX11" fmla="*/ 1270 w 175300"/>
                <a:gd name="connsiteY11" fmla="*/ 2790 h 2201687"/>
                <a:gd name="connsiteX12" fmla="*/ 0 w 175300"/>
                <a:gd name="connsiteY12" fmla="*/ 4060 h 2201687"/>
                <a:gd name="connsiteX13" fmla="*/ 0 w 175300"/>
                <a:gd name="connsiteY13" fmla="*/ 5330 h 2201687"/>
                <a:gd name="connsiteX14" fmla="*/ 0 w 175300"/>
                <a:gd name="connsiteY14" fmla="*/ 7871 h 2201687"/>
                <a:gd name="connsiteX15" fmla="*/ 0 w 175300"/>
                <a:gd name="connsiteY15" fmla="*/ 7871 h 2201687"/>
                <a:gd name="connsiteX16" fmla="*/ 0 w 175300"/>
                <a:gd name="connsiteY16" fmla="*/ 7871 h 2201687"/>
                <a:gd name="connsiteX17" fmla="*/ 1270 w 175300"/>
                <a:gd name="connsiteY17" fmla="*/ 19304 h 2201687"/>
                <a:gd name="connsiteX18" fmla="*/ 160057 w 175300"/>
                <a:gd name="connsiteY18" fmla="*/ 2188985 h 2201687"/>
                <a:gd name="connsiteX19" fmla="*/ 160057 w 175300"/>
                <a:gd name="connsiteY19" fmla="*/ 2194066 h 2201687"/>
                <a:gd name="connsiteX20" fmla="*/ 167679 w 175300"/>
                <a:gd name="connsiteY20" fmla="*/ 2201688 h 2201687"/>
                <a:gd name="connsiteX21" fmla="*/ 167679 w 175300"/>
                <a:gd name="connsiteY21" fmla="*/ 2201688 h 2201687"/>
                <a:gd name="connsiteX22" fmla="*/ 171489 w 175300"/>
                <a:gd name="connsiteY22" fmla="*/ 2200417 h 2201687"/>
                <a:gd name="connsiteX23" fmla="*/ 172760 w 175300"/>
                <a:gd name="connsiteY23" fmla="*/ 2199147 h 2201687"/>
                <a:gd name="connsiteX24" fmla="*/ 174030 w 175300"/>
                <a:gd name="connsiteY24" fmla="*/ 2195336 h 220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5300" h="2201687">
                  <a:moveTo>
                    <a:pt x="174030" y="2195336"/>
                  </a:moveTo>
                  <a:cubicBezTo>
                    <a:pt x="174030" y="2195336"/>
                    <a:pt x="174030" y="2194066"/>
                    <a:pt x="175300" y="2194066"/>
                  </a:cubicBezTo>
                  <a:cubicBezTo>
                    <a:pt x="175300" y="2194066"/>
                    <a:pt x="175300" y="2192796"/>
                    <a:pt x="175300" y="2192796"/>
                  </a:cubicBezTo>
                  <a:cubicBezTo>
                    <a:pt x="175300" y="2192796"/>
                    <a:pt x="175300" y="2192796"/>
                    <a:pt x="175300" y="2191525"/>
                  </a:cubicBezTo>
                  <a:lnTo>
                    <a:pt x="174030" y="2178822"/>
                  </a:lnTo>
                  <a:lnTo>
                    <a:pt x="174030" y="2178822"/>
                  </a:lnTo>
                  <a:lnTo>
                    <a:pt x="13973" y="11682"/>
                  </a:lnTo>
                  <a:lnTo>
                    <a:pt x="13973" y="6601"/>
                  </a:lnTo>
                  <a:cubicBezTo>
                    <a:pt x="13973" y="2790"/>
                    <a:pt x="10162" y="-1021"/>
                    <a:pt x="6351" y="249"/>
                  </a:cubicBezTo>
                  <a:cubicBezTo>
                    <a:pt x="6351" y="249"/>
                    <a:pt x="6351" y="249"/>
                    <a:pt x="6351" y="249"/>
                  </a:cubicBezTo>
                  <a:cubicBezTo>
                    <a:pt x="5081" y="249"/>
                    <a:pt x="3811" y="1519"/>
                    <a:pt x="2541" y="1519"/>
                  </a:cubicBezTo>
                  <a:cubicBezTo>
                    <a:pt x="2541" y="1519"/>
                    <a:pt x="1270" y="1519"/>
                    <a:pt x="1270" y="2790"/>
                  </a:cubicBezTo>
                  <a:cubicBezTo>
                    <a:pt x="1270" y="2790"/>
                    <a:pt x="0" y="4060"/>
                    <a:pt x="0" y="4060"/>
                  </a:cubicBezTo>
                  <a:lnTo>
                    <a:pt x="0" y="5330"/>
                  </a:lnTo>
                  <a:cubicBezTo>
                    <a:pt x="0" y="6601"/>
                    <a:pt x="0" y="6601"/>
                    <a:pt x="0" y="7871"/>
                  </a:cubicBezTo>
                  <a:lnTo>
                    <a:pt x="0" y="7871"/>
                  </a:lnTo>
                  <a:lnTo>
                    <a:pt x="0" y="7871"/>
                  </a:lnTo>
                  <a:lnTo>
                    <a:pt x="1270" y="19304"/>
                  </a:lnTo>
                  <a:lnTo>
                    <a:pt x="160057" y="2188985"/>
                  </a:lnTo>
                  <a:lnTo>
                    <a:pt x="160057" y="2194066"/>
                  </a:lnTo>
                  <a:cubicBezTo>
                    <a:pt x="160057" y="2197877"/>
                    <a:pt x="163868" y="2201688"/>
                    <a:pt x="167679" y="2201688"/>
                  </a:cubicBezTo>
                  <a:cubicBezTo>
                    <a:pt x="167679" y="2201688"/>
                    <a:pt x="167679" y="2201688"/>
                    <a:pt x="167679" y="2201688"/>
                  </a:cubicBezTo>
                  <a:cubicBezTo>
                    <a:pt x="168949" y="2201688"/>
                    <a:pt x="170219" y="2200417"/>
                    <a:pt x="171489" y="2200417"/>
                  </a:cubicBezTo>
                  <a:lnTo>
                    <a:pt x="172760" y="2199147"/>
                  </a:lnTo>
                  <a:cubicBezTo>
                    <a:pt x="174030" y="2196606"/>
                    <a:pt x="174030" y="2196606"/>
                    <a:pt x="174030" y="2195336"/>
                  </a:cubicBezTo>
                  <a:close/>
                </a:path>
              </a:pathLst>
            </a:custGeom>
            <a:solidFill>
              <a:srgbClr val="000000"/>
            </a:solidFill>
            <a:ln w="12688"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D81DF404-7E2C-4ACC-B8BC-752BE0B1C184}"/>
                </a:ext>
              </a:extLst>
            </p:cNvPr>
            <p:cNvSpPr/>
            <p:nvPr/>
          </p:nvSpPr>
          <p:spPr>
            <a:xfrm>
              <a:off x="1002012" y="4256791"/>
              <a:ext cx="99662" cy="41646"/>
            </a:xfrm>
            <a:custGeom>
              <a:avLst/>
              <a:gdLst>
                <a:gd name="connsiteX0" fmla="*/ 99332 w 99662"/>
                <a:gd name="connsiteY0" fmla="*/ 35568 h 41646"/>
                <a:gd name="connsiteX1" fmla="*/ 94251 w 99662"/>
                <a:gd name="connsiteY1" fmla="*/ 26676 h 41646"/>
                <a:gd name="connsiteX2" fmla="*/ 94251 w 99662"/>
                <a:gd name="connsiteY2" fmla="*/ 26676 h 41646"/>
                <a:gd name="connsiteX3" fmla="*/ 9141 w 99662"/>
                <a:gd name="connsiteY3" fmla="*/ 0 h 41646"/>
                <a:gd name="connsiteX4" fmla="*/ 6601 w 99662"/>
                <a:gd name="connsiteY4" fmla="*/ 0 h 41646"/>
                <a:gd name="connsiteX5" fmla="*/ 249 w 99662"/>
                <a:gd name="connsiteY5" fmla="*/ 7622 h 41646"/>
                <a:gd name="connsiteX6" fmla="*/ 5330 w 99662"/>
                <a:gd name="connsiteY6" fmla="*/ 13973 h 41646"/>
                <a:gd name="connsiteX7" fmla="*/ 85359 w 99662"/>
                <a:gd name="connsiteY7" fmla="*/ 39380 h 41646"/>
                <a:gd name="connsiteX8" fmla="*/ 90440 w 99662"/>
                <a:gd name="connsiteY8" fmla="*/ 40650 h 41646"/>
                <a:gd name="connsiteX9" fmla="*/ 99332 w 99662"/>
                <a:gd name="connsiteY9" fmla="*/ 35568 h 41646"/>
                <a:gd name="connsiteX10" fmla="*/ 99332 w 99662"/>
                <a:gd name="connsiteY10" fmla="*/ 35568 h 4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662" h="41646">
                  <a:moveTo>
                    <a:pt x="99332" y="35568"/>
                  </a:moveTo>
                  <a:cubicBezTo>
                    <a:pt x="100602" y="31758"/>
                    <a:pt x="98062" y="27946"/>
                    <a:pt x="94251" y="26676"/>
                  </a:cubicBezTo>
                  <a:cubicBezTo>
                    <a:pt x="94251" y="26676"/>
                    <a:pt x="94251" y="26676"/>
                    <a:pt x="94251" y="26676"/>
                  </a:cubicBezTo>
                  <a:lnTo>
                    <a:pt x="9141" y="0"/>
                  </a:lnTo>
                  <a:cubicBezTo>
                    <a:pt x="7871" y="0"/>
                    <a:pt x="6601" y="0"/>
                    <a:pt x="6601" y="0"/>
                  </a:cubicBezTo>
                  <a:cubicBezTo>
                    <a:pt x="2790" y="0"/>
                    <a:pt x="-1021" y="3811"/>
                    <a:pt x="249" y="7622"/>
                  </a:cubicBezTo>
                  <a:cubicBezTo>
                    <a:pt x="249" y="10162"/>
                    <a:pt x="2790" y="12703"/>
                    <a:pt x="5330" y="13973"/>
                  </a:cubicBezTo>
                  <a:lnTo>
                    <a:pt x="85359" y="39380"/>
                  </a:lnTo>
                  <a:lnTo>
                    <a:pt x="90440" y="40650"/>
                  </a:lnTo>
                  <a:cubicBezTo>
                    <a:pt x="94251" y="43190"/>
                    <a:pt x="98062" y="40650"/>
                    <a:pt x="99332" y="35568"/>
                  </a:cubicBezTo>
                  <a:cubicBezTo>
                    <a:pt x="99332" y="36839"/>
                    <a:pt x="99332" y="36839"/>
                    <a:pt x="99332" y="35568"/>
                  </a:cubicBezTo>
                  <a:close/>
                </a:path>
              </a:pathLst>
            </a:custGeom>
            <a:solidFill>
              <a:srgbClr val="000000"/>
            </a:solidFill>
            <a:ln w="12688"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E1A08F89-70A1-4710-BB0B-87EDB9EC3E7E}"/>
                </a:ext>
              </a:extLst>
            </p:cNvPr>
            <p:cNvSpPr/>
            <p:nvPr/>
          </p:nvSpPr>
          <p:spPr>
            <a:xfrm>
              <a:off x="740104" y="1263476"/>
              <a:ext cx="361239" cy="194039"/>
            </a:xfrm>
            <a:custGeom>
              <a:avLst/>
              <a:gdLst>
                <a:gd name="connsiteX0" fmla="*/ 476 w 361239"/>
                <a:gd name="connsiteY0" fmla="*/ 189752 h 194039"/>
                <a:gd name="connsiteX1" fmla="*/ 10639 w 361239"/>
                <a:gd name="connsiteY1" fmla="*/ 193563 h 194039"/>
                <a:gd name="connsiteX2" fmla="*/ 10639 w 361239"/>
                <a:gd name="connsiteY2" fmla="*/ 193563 h 194039"/>
                <a:gd name="connsiteX3" fmla="*/ 356158 w 361239"/>
                <a:gd name="connsiteY3" fmla="*/ 13179 h 194039"/>
                <a:gd name="connsiteX4" fmla="*/ 356158 w 361239"/>
                <a:gd name="connsiteY4" fmla="*/ 13179 h 194039"/>
                <a:gd name="connsiteX5" fmla="*/ 358699 w 361239"/>
                <a:gd name="connsiteY5" fmla="*/ 11909 h 194039"/>
                <a:gd name="connsiteX6" fmla="*/ 361240 w 361239"/>
                <a:gd name="connsiteY6" fmla="*/ 6828 h 194039"/>
                <a:gd name="connsiteX7" fmla="*/ 359969 w 361239"/>
                <a:gd name="connsiteY7" fmla="*/ 4287 h 194039"/>
                <a:gd name="connsiteX8" fmla="*/ 349807 w 361239"/>
                <a:gd name="connsiteY8" fmla="*/ 476 h 194039"/>
                <a:gd name="connsiteX9" fmla="*/ 345996 w 361239"/>
                <a:gd name="connsiteY9" fmla="*/ 3017 h 194039"/>
                <a:gd name="connsiteX10" fmla="*/ 6828 w 361239"/>
                <a:gd name="connsiteY10" fmla="*/ 179589 h 194039"/>
                <a:gd name="connsiteX11" fmla="*/ 4287 w 361239"/>
                <a:gd name="connsiteY11" fmla="*/ 180860 h 194039"/>
                <a:gd name="connsiteX12" fmla="*/ 476 w 361239"/>
                <a:gd name="connsiteY12" fmla="*/ 189752 h 194039"/>
                <a:gd name="connsiteX13" fmla="*/ 476 w 361239"/>
                <a:gd name="connsiteY13" fmla="*/ 189752 h 19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239" h="194039">
                  <a:moveTo>
                    <a:pt x="476" y="189752"/>
                  </a:moveTo>
                  <a:cubicBezTo>
                    <a:pt x="1747" y="193563"/>
                    <a:pt x="6828" y="194833"/>
                    <a:pt x="10639" y="193563"/>
                  </a:cubicBezTo>
                  <a:cubicBezTo>
                    <a:pt x="10639" y="193563"/>
                    <a:pt x="10639" y="193563"/>
                    <a:pt x="10639" y="193563"/>
                  </a:cubicBezTo>
                  <a:lnTo>
                    <a:pt x="356158" y="13179"/>
                  </a:lnTo>
                  <a:lnTo>
                    <a:pt x="356158" y="13179"/>
                  </a:lnTo>
                  <a:cubicBezTo>
                    <a:pt x="357429" y="13179"/>
                    <a:pt x="357429" y="11909"/>
                    <a:pt x="358699" y="11909"/>
                  </a:cubicBezTo>
                  <a:cubicBezTo>
                    <a:pt x="359969" y="10639"/>
                    <a:pt x="361240" y="8098"/>
                    <a:pt x="361240" y="6828"/>
                  </a:cubicBezTo>
                  <a:cubicBezTo>
                    <a:pt x="361240" y="5558"/>
                    <a:pt x="361240" y="5558"/>
                    <a:pt x="359969" y="4287"/>
                  </a:cubicBezTo>
                  <a:cubicBezTo>
                    <a:pt x="357429" y="476"/>
                    <a:pt x="353618" y="-794"/>
                    <a:pt x="349807" y="476"/>
                  </a:cubicBezTo>
                  <a:lnTo>
                    <a:pt x="345996" y="3017"/>
                  </a:lnTo>
                  <a:lnTo>
                    <a:pt x="6828" y="179589"/>
                  </a:lnTo>
                  <a:lnTo>
                    <a:pt x="4287" y="180860"/>
                  </a:lnTo>
                  <a:cubicBezTo>
                    <a:pt x="476" y="180860"/>
                    <a:pt x="-794" y="185941"/>
                    <a:pt x="476" y="189752"/>
                  </a:cubicBezTo>
                  <a:cubicBezTo>
                    <a:pt x="476" y="189752"/>
                    <a:pt x="476" y="189752"/>
                    <a:pt x="476" y="189752"/>
                  </a:cubicBezTo>
                  <a:close/>
                </a:path>
              </a:pathLst>
            </a:custGeom>
            <a:solidFill>
              <a:srgbClr val="000000"/>
            </a:solidFill>
            <a:ln w="12688"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C9604AC6-114A-4845-8BAE-2E94FA056A28}"/>
                </a:ext>
              </a:extLst>
            </p:cNvPr>
            <p:cNvSpPr/>
            <p:nvPr/>
          </p:nvSpPr>
          <p:spPr>
            <a:xfrm>
              <a:off x="1747674" y="6399795"/>
              <a:ext cx="20822" cy="72407"/>
            </a:xfrm>
            <a:custGeom>
              <a:avLst/>
              <a:gdLst>
                <a:gd name="connsiteX0" fmla="*/ 6601 w 20822"/>
                <a:gd name="connsiteY0" fmla="*/ 0 h 72407"/>
                <a:gd name="connsiteX1" fmla="*/ 249 w 20822"/>
                <a:gd name="connsiteY1" fmla="*/ 7622 h 72407"/>
                <a:gd name="connsiteX2" fmla="*/ 249 w 20822"/>
                <a:gd name="connsiteY2" fmla="*/ 7622 h 72407"/>
                <a:gd name="connsiteX3" fmla="*/ 1519 w 20822"/>
                <a:gd name="connsiteY3" fmla="*/ 21595 h 72407"/>
                <a:gd name="connsiteX4" fmla="*/ 1519 w 20822"/>
                <a:gd name="connsiteY4" fmla="*/ 27947 h 72407"/>
                <a:gd name="connsiteX5" fmla="*/ 12952 w 20822"/>
                <a:gd name="connsiteY5" fmla="*/ 31758 h 72407"/>
                <a:gd name="connsiteX6" fmla="*/ 18033 w 20822"/>
                <a:gd name="connsiteY6" fmla="*/ 41920 h 72407"/>
                <a:gd name="connsiteX7" fmla="*/ 7871 w 20822"/>
                <a:gd name="connsiteY7" fmla="*/ 47001 h 72407"/>
                <a:gd name="connsiteX8" fmla="*/ 2790 w 20822"/>
                <a:gd name="connsiteY8" fmla="*/ 45731 h 72407"/>
                <a:gd name="connsiteX9" fmla="*/ 4060 w 20822"/>
                <a:gd name="connsiteY9" fmla="*/ 54623 h 72407"/>
                <a:gd name="connsiteX10" fmla="*/ 5330 w 20822"/>
                <a:gd name="connsiteY10" fmla="*/ 66056 h 72407"/>
                <a:gd name="connsiteX11" fmla="*/ 5330 w 20822"/>
                <a:gd name="connsiteY11" fmla="*/ 66056 h 72407"/>
                <a:gd name="connsiteX12" fmla="*/ 5330 w 20822"/>
                <a:gd name="connsiteY12" fmla="*/ 66056 h 72407"/>
                <a:gd name="connsiteX13" fmla="*/ 5330 w 20822"/>
                <a:gd name="connsiteY13" fmla="*/ 67326 h 72407"/>
                <a:gd name="connsiteX14" fmla="*/ 5330 w 20822"/>
                <a:gd name="connsiteY14" fmla="*/ 68597 h 72407"/>
                <a:gd name="connsiteX15" fmla="*/ 6601 w 20822"/>
                <a:gd name="connsiteY15" fmla="*/ 69867 h 72407"/>
                <a:gd name="connsiteX16" fmla="*/ 7871 w 20822"/>
                <a:gd name="connsiteY16" fmla="*/ 71137 h 72407"/>
                <a:gd name="connsiteX17" fmla="*/ 9141 w 20822"/>
                <a:gd name="connsiteY17" fmla="*/ 71137 h 72407"/>
                <a:gd name="connsiteX18" fmla="*/ 14222 w 20822"/>
                <a:gd name="connsiteY18" fmla="*/ 72408 h 72407"/>
                <a:gd name="connsiteX19" fmla="*/ 20574 w 20822"/>
                <a:gd name="connsiteY19" fmla="*/ 64786 h 72407"/>
                <a:gd name="connsiteX20" fmla="*/ 20574 w 20822"/>
                <a:gd name="connsiteY20" fmla="*/ 64786 h 72407"/>
                <a:gd name="connsiteX21" fmla="*/ 20574 w 20822"/>
                <a:gd name="connsiteY21" fmla="*/ 59704 h 72407"/>
                <a:gd name="connsiteX22" fmla="*/ 16763 w 20822"/>
                <a:gd name="connsiteY22" fmla="*/ 7622 h 72407"/>
                <a:gd name="connsiteX23" fmla="*/ 6601 w 20822"/>
                <a:gd name="connsiteY23" fmla="*/ 0 h 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822" h="72407">
                  <a:moveTo>
                    <a:pt x="6601" y="0"/>
                  </a:moveTo>
                  <a:cubicBezTo>
                    <a:pt x="2790" y="0"/>
                    <a:pt x="-1021" y="3811"/>
                    <a:pt x="249" y="7622"/>
                  </a:cubicBezTo>
                  <a:cubicBezTo>
                    <a:pt x="249" y="7622"/>
                    <a:pt x="249" y="7622"/>
                    <a:pt x="249" y="7622"/>
                  </a:cubicBezTo>
                  <a:lnTo>
                    <a:pt x="1519" y="21595"/>
                  </a:lnTo>
                  <a:lnTo>
                    <a:pt x="1519" y="27947"/>
                  </a:lnTo>
                  <a:lnTo>
                    <a:pt x="12952" y="31758"/>
                  </a:lnTo>
                  <a:cubicBezTo>
                    <a:pt x="16763" y="33028"/>
                    <a:pt x="19304" y="36839"/>
                    <a:pt x="18033" y="41920"/>
                  </a:cubicBezTo>
                  <a:cubicBezTo>
                    <a:pt x="16763" y="45731"/>
                    <a:pt x="11682" y="48272"/>
                    <a:pt x="7871" y="47001"/>
                  </a:cubicBezTo>
                  <a:lnTo>
                    <a:pt x="2790" y="45731"/>
                  </a:lnTo>
                  <a:lnTo>
                    <a:pt x="4060" y="54623"/>
                  </a:lnTo>
                  <a:lnTo>
                    <a:pt x="5330" y="66056"/>
                  </a:lnTo>
                  <a:lnTo>
                    <a:pt x="5330" y="66056"/>
                  </a:lnTo>
                  <a:lnTo>
                    <a:pt x="5330" y="66056"/>
                  </a:lnTo>
                  <a:cubicBezTo>
                    <a:pt x="5330" y="66056"/>
                    <a:pt x="5330" y="66056"/>
                    <a:pt x="5330" y="67326"/>
                  </a:cubicBezTo>
                  <a:cubicBezTo>
                    <a:pt x="5330" y="67326"/>
                    <a:pt x="5330" y="68597"/>
                    <a:pt x="5330" y="68597"/>
                  </a:cubicBezTo>
                  <a:cubicBezTo>
                    <a:pt x="5330" y="68597"/>
                    <a:pt x="5330" y="69867"/>
                    <a:pt x="6601" y="69867"/>
                  </a:cubicBezTo>
                  <a:cubicBezTo>
                    <a:pt x="6601" y="69867"/>
                    <a:pt x="7871" y="71137"/>
                    <a:pt x="7871" y="71137"/>
                  </a:cubicBezTo>
                  <a:lnTo>
                    <a:pt x="9141" y="71137"/>
                  </a:lnTo>
                  <a:cubicBezTo>
                    <a:pt x="10411" y="72408"/>
                    <a:pt x="11682" y="72408"/>
                    <a:pt x="14222" y="72408"/>
                  </a:cubicBezTo>
                  <a:cubicBezTo>
                    <a:pt x="18033" y="72408"/>
                    <a:pt x="21844" y="68597"/>
                    <a:pt x="20574" y="64786"/>
                  </a:cubicBezTo>
                  <a:cubicBezTo>
                    <a:pt x="20574" y="64786"/>
                    <a:pt x="20574" y="64786"/>
                    <a:pt x="20574" y="64786"/>
                  </a:cubicBezTo>
                  <a:lnTo>
                    <a:pt x="20574" y="59704"/>
                  </a:lnTo>
                  <a:lnTo>
                    <a:pt x="16763" y="7622"/>
                  </a:lnTo>
                  <a:cubicBezTo>
                    <a:pt x="12952" y="3811"/>
                    <a:pt x="10411" y="0"/>
                    <a:pt x="6601" y="0"/>
                  </a:cubicBezTo>
                  <a:close/>
                </a:path>
              </a:pathLst>
            </a:custGeom>
            <a:solidFill>
              <a:srgbClr val="000000"/>
            </a:solidFill>
            <a:ln w="12688"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61D23936-68CE-408C-B4C4-B1407FE30CCF}"/>
                </a:ext>
              </a:extLst>
            </p:cNvPr>
            <p:cNvSpPr/>
            <p:nvPr/>
          </p:nvSpPr>
          <p:spPr>
            <a:xfrm>
              <a:off x="3058535" y="2661288"/>
              <a:ext cx="113716" cy="40980"/>
            </a:xfrm>
            <a:custGeom>
              <a:avLst/>
              <a:gdLst>
                <a:gd name="connsiteX0" fmla="*/ 9222 w 113716"/>
                <a:gd name="connsiteY0" fmla="*/ 0 h 40980"/>
                <a:gd name="connsiteX1" fmla="*/ 6682 w 113716"/>
                <a:gd name="connsiteY1" fmla="*/ 0 h 40980"/>
                <a:gd name="connsiteX2" fmla="*/ 6682 w 113716"/>
                <a:gd name="connsiteY2" fmla="*/ 0 h 40980"/>
                <a:gd name="connsiteX3" fmla="*/ 4141 w 113716"/>
                <a:gd name="connsiteY3" fmla="*/ 1270 h 40980"/>
                <a:gd name="connsiteX4" fmla="*/ 330 w 113716"/>
                <a:gd name="connsiteY4" fmla="*/ 6352 h 40980"/>
                <a:gd name="connsiteX5" fmla="*/ 5412 w 113716"/>
                <a:gd name="connsiteY5" fmla="*/ 15244 h 40980"/>
                <a:gd name="connsiteX6" fmla="*/ 7952 w 113716"/>
                <a:gd name="connsiteY6" fmla="*/ 16514 h 40980"/>
                <a:gd name="connsiteX7" fmla="*/ 104494 w 113716"/>
                <a:gd name="connsiteY7" fmla="*/ 40650 h 40980"/>
                <a:gd name="connsiteX8" fmla="*/ 113386 w 113716"/>
                <a:gd name="connsiteY8" fmla="*/ 35569 h 40980"/>
                <a:gd name="connsiteX9" fmla="*/ 108305 w 113716"/>
                <a:gd name="connsiteY9" fmla="*/ 26676 h 40980"/>
                <a:gd name="connsiteX10" fmla="*/ 98143 w 113716"/>
                <a:gd name="connsiteY10" fmla="*/ 24136 h 40980"/>
                <a:gd name="connsiteX11" fmla="*/ 9222 w 113716"/>
                <a:gd name="connsiteY11" fmla="*/ 0 h 40980"/>
                <a:gd name="connsiteX12" fmla="*/ 9222 w 113716"/>
                <a:gd name="connsiteY12" fmla="*/ 0 h 4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716" h="40980">
                  <a:moveTo>
                    <a:pt x="9222" y="0"/>
                  </a:moveTo>
                  <a:lnTo>
                    <a:pt x="6682" y="0"/>
                  </a:lnTo>
                  <a:lnTo>
                    <a:pt x="6682" y="0"/>
                  </a:lnTo>
                  <a:cubicBezTo>
                    <a:pt x="5412" y="0"/>
                    <a:pt x="5412" y="0"/>
                    <a:pt x="4141" y="1270"/>
                  </a:cubicBezTo>
                  <a:cubicBezTo>
                    <a:pt x="2871" y="2541"/>
                    <a:pt x="1601" y="3811"/>
                    <a:pt x="330" y="6352"/>
                  </a:cubicBezTo>
                  <a:cubicBezTo>
                    <a:pt x="-940" y="10162"/>
                    <a:pt x="1601" y="13973"/>
                    <a:pt x="5412" y="15244"/>
                  </a:cubicBezTo>
                  <a:lnTo>
                    <a:pt x="7952" y="16514"/>
                  </a:lnTo>
                  <a:lnTo>
                    <a:pt x="104494" y="40650"/>
                  </a:lnTo>
                  <a:cubicBezTo>
                    <a:pt x="108305" y="41920"/>
                    <a:pt x="112116" y="39380"/>
                    <a:pt x="113386" y="35569"/>
                  </a:cubicBezTo>
                  <a:cubicBezTo>
                    <a:pt x="114657" y="31758"/>
                    <a:pt x="112116" y="27947"/>
                    <a:pt x="108305" y="26676"/>
                  </a:cubicBezTo>
                  <a:lnTo>
                    <a:pt x="98143" y="24136"/>
                  </a:lnTo>
                  <a:lnTo>
                    <a:pt x="9222" y="0"/>
                  </a:lnTo>
                  <a:lnTo>
                    <a:pt x="9222" y="0"/>
                  </a:lnTo>
                  <a:close/>
                </a:path>
              </a:pathLst>
            </a:custGeom>
            <a:solidFill>
              <a:srgbClr val="000000"/>
            </a:solidFill>
            <a:ln w="12688"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94B903E7-CF4D-471C-B281-A5FAB6DC985D}"/>
                </a:ext>
              </a:extLst>
            </p:cNvPr>
            <p:cNvSpPr/>
            <p:nvPr/>
          </p:nvSpPr>
          <p:spPr>
            <a:xfrm>
              <a:off x="1719518" y="6420914"/>
              <a:ext cx="46519" cy="24942"/>
            </a:xfrm>
            <a:custGeom>
              <a:avLst/>
              <a:gdLst>
                <a:gd name="connsiteX0" fmla="*/ 10621 w 46519"/>
                <a:gd name="connsiteY0" fmla="*/ 476 h 24942"/>
                <a:gd name="connsiteX1" fmla="*/ 458 w 46519"/>
                <a:gd name="connsiteY1" fmla="*/ 4287 h 24942"/>
                <a:gd name="connsiteX2" fmla="*/ 458 w 46519"/>
                <a:gd name="connsiteY2" fmla="*/ 4287 h 24942"/>
                <a:gd name="connsiteX3" fmla="*/ 5539 w 46519"/>
                <a:gd name="connsiteY3" fmla="*/ 14450 h 24942"/>
                <a:gd name="connsiteX4" fmla="*/ 16972 w 46519"/>
                <a:gd name="connsiteY4" fmla="*/ 18261 h 24942"/>
                <a:gd name="connsiteX5" fmla="*/ 30945 w 46519"/>
                <a:gd name="connsiteY5" fmla="*/ 23342 h 24942"/>
                <a:gd name="connsiteX6" fmla="*/ 36026 w 46519"/>
                <a:gd name="connsiteY6" fmla="*/ 24612 h 24942"/>
                <a:gd name="connsiteX7" fmla="*/ 46189 w 46519"/>
                <a:gd name="connsiteY7" fmla="*/ 19531 h 24942"/>
                <a:gd name="connsiteX8" fmla="*/ 41108 w 46519"/>
                <a:gd name="connsiteY8" fmla="*/ 9369 h 24942"/>
                <a:gd name="connsiteX9" fmla="*/ 29675 w 46519"/>
                <a:gd name="connsiteY9" fmla="*/ 5558 h 24942"/>
                <a:gd name="connsiteX10" fmla="*/ 23323 w 46519"/>
                <a:gd name="connsiteY10" fmla="*/ 3017 h 24942"/>
                <a:gd name="connsiteX11" fmla="*/ 10621 w 46519"/>
                <a:gd name="connsiteY11" fmla="*/ 476 h 2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519" h="24942">
                  <a:moveTo>
                    <a:pt x="10621" y="476"/>
                  </a:moveTo>
                  <a:cubicBezTo>
                    <a:pt x="6810" y="-794"/>
                    <a:pt x="2999" y="476"/>
                    <a:pt x="458" y="4287"/>
                  </a:cubicBezTo>
                  <a:cubicBezTo>
                    <a:pt x="458" y="4287"/>
                    <a:pt x="458" y="4287"/>
                    <a:pt x="458" y="4287"/>
                  </a:cubicBezTo>
                  <a:cubicBezTo>
                    <a:pt x="-812" y="8098"/>
                    <a:pt x="458" y="11909"/>
                    <a:pt x="5539" y="14450"/>
                  </a:cubicBezTo>
                  <a:lnTo>
                    <a:pt x="16972" y="18261"/>
                  </a:lnTo>
                  <a:lnTo>
                    <a:pt x="30945" y="23342"/>
                  </a:lnTo>
                  <a:lnTo>
                    <a:pt x="36026" y="24612"/>
                  </a:lnTo>
                  <a:cubicBezTo>
                    <a:pt x="39837" y="25882"/>
                    <a:pt x="43648" y="23342"/>
                    <a:pt x="46189" y="19531"/>
                  </a:cubicBezTo>
                  <a:cubicBezTo>
                    <a:pt x="47459" y="15720"/>
                    <a:pt x="44918" y="11909"/>
                    <a:pt x="41108" y="9369"/>
                  </a:cubicBezTo>
                  <a:lnTo>
                    <a:pt x="29675" y="5558"/>
                  </a:lnTo>
                  <a:lnTo>
                    <a:pt x="23323" y="3017"/>
                  </a:lnTo>
                  <a:lnTo>
                    <a:pt x="10621" y="476"/>
                  </a:lnTo>
                  <a:close/>
                </a:path>
              </a:pathLst>
            </a:custGeom>
            <a:solidFill>
              <a:srgbClr val="000000"/>
            </a:solidFill>
            <a:ln w="12688"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DB627E4B-97CD-4499-ACDC-F83064ECDA6F}"/>
                </a:ext>
              </a:extLst>
            </p:cNvPr>
            <p:cNvSpPr/>
            <p:nvPr/>
          </p:nvSpPr>
          <p:spPr>
            <a:xfrm>
              <a:off x="1400884" y="4361977"/>
              <a:ext cx="52331" cy="489316"/>
            </a:xfrm>
            <a:custGeom>
              <a:avLst/>
              <a:gdLst>
                <a:gd name="connsiteX0" fmla="*/ 51061 w 52331"/>
                <a:gd name="connsiteY0" fmla="*/ 468992 h 489316"/>
                <a:gd name="connsiteX1" fmla="*/ 14222 w 52331"/>
                <a:gd name="connsiteY1" fmla="*/ 11682 h 489316"/>
                <a:gd name="connsiteX2" fmla="*/ 14222 w 52331"/>
                <a:gd name="connsiteY2" fmla="*/ 6601 h 489316"/>
                <a:gd name="connsiteX3" fmla="*/ 6601 w 52331"/>
                <a:gd name="connsiteY3" fmla="*/ 249 h 489316"/>
                <a:gd name="connsiteX4" fmla="*/ 249 w 52331"/>
                <a:gd name="connsiteY4" fmla="*/ 7871 h 489316"/>
                <a:gd name="connsiteX5" fmla="*/ 1519 w 52331"/>
                <a:gd name="connsiteY5" fmla="*/ 20574 h 489316"/>
                <a:gd name="connsiteX6" fmla="*/ 37088 w 52331"/>
                <a:gd name="connsiteY6" fmla="*/ 462640 h 489316"/>
                <a:gd name="connsiteX7" fmla="*/ 38358 w 52331"/>
                <a:gd name="connsiteY7" fmla="*/ 476614 h 489316"/>
                <a:gd name="connsiteX8" fmla="*/ 38358 w 52331"/>
                <a:gd name="connsiteY8" fmla="*/ 482965 h 489316"/>
                <a:gd name="connsiteX9" fmla="*/ 44709 w 52331"/>
                <a:gd name="connsiteY9" fmla="*/ 489317 h 489316"/>
                <a:gd name="connsiteX10" fmla="*/ 45980 w 52331"/>
                <a:gd name="connsiteY10" fmla="*/ 489317 h 489316"/>
                <a:gd name="connsiteX11" fmla="*/ 52331 w 52331"/>
                <a:gd name="connsiteY11" fmla="*/ 482965 h 489316"/>
                <a:gd name="connsiteX12" fmla="*/ 52331 w 52331"/>
                <a:gd name="connsiteY12" fmla="*/ 480425 h 489316"/>
                <a:gd name="connsiteX13" fmla="*/ 51061 w 52331"/>
                <a:gd name="connsiteY13" fmla="*/ 468992 h 48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31" h="489316">
                  <a:moveTo>
                    <a:pt x="51061" y="468992"/>
                  </a:moveTo>
                  <a:lnTo>
                    <a:pt x="14222" y="11682"/>
                  </a:lnTo>
                  <a:lnTo>
                    <a:pt x="14222" y="6601"/>
                  </a:lnTo>
                  <a:cubicBezTo>
                    <a:pt x="14222" y="2790"/>
                    <a:pt x="10411" y="-1021"/>
                    <a:pt x="6601" y="249"/>
                  </a:cubicBezTo>
                  <a:cubicBezTo>
                    <a:pt x="2790" y="249"/>
                    <a:pt x="-1021" y="4060"/>
                    <a:pt x="249" y="7871"/>
                  </a:cubicBezTo>
                  <a:lnTo>
                    <a:pt x="1519" y="20574"/>
                  </a:lnTo>
                  <a:lnTo>
                    <a:pt x="37088" y="462640"/>
                  </a:lnTo>
                  <a:lnTo>
                    <a:pt x="38358" y="476614"/>
                  </a:lnTo>
                  <a:lnTo>
                    <a:pt x="38358" y="482965"/>
                  </a:lnTo>
                  <a:cubicBezTo>
                    <a:pt x="38358" y="486776"/>
                    <a:pt x="40899" y="489317"/>
                    <a:pt x="44709" y="489317"/>
                  </a:cubicBezTo>
                  <a:lnTo>
                    <a:pt x="45980" y="489317"/>
                  </a:lnTo>
                  <a:cubicBezTo>
                    <a:pt x="49791" y="489317"/>
                    <a:pt x="52331" y="486776"/>
                    <a:pt x="52331" y="482965"/>
                  </a:cubicBezTo>
                  <a:cubicBezTo>
                    <a:pt x="52331" y="481695"/>
                    <a:pt x="52331" y="481695"/>
                    <a:pt x="52331" y="480425"/>
                  </a:cubicBezTo>
                  <a:lnTo>
                    <a:pt x="51061" y="468992"/>
                  </a:lnTo>
                  <a:close/>
                </a:path>
              </a:pathLst>
            </a:custGeom>
            <a:solidFill>
              <a:srgbClr val="000000"/>
            </a:solidFill>
            <a:ln w="12688"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D53EB9D3-8EFF-49C3-BCF6-0BB58FE8E4A3}"/>
                </a:ext>
              </a:extLst>
            </p:cNvPr>
            <p:cNvSpPr/>
            <p:nvPr/>
          </p:nvSpPr>
          <p:spPr>
            <a:xfrm>
              <a:off x="6072000" y="4847483"/>
              <a:ext cx="353141" cy="712641"/>
            </a:xfrm>
            <a:custGeom>
              <a:avLst/>
              <a:gdLst>
                <a:gd name="connsiteX0" fmla="*/ 10162 w 353141"/>
                <a:gd name="connsiteY0" fmla="*/ 302332 h 712641"/>
                <a:gd name="connsiteX1" fmla="*/ 353141 w 353141"/>
                <a:gd name="connsiteY1" fmla="*/ 0 h 712641"/>
                <a:gd name="connsiteX2" fmla="*/ 353141 w 353141"/>
                <a:gd name="connsiteY2" fmla="*/ 712641 h 712641"/>
                <a:gd name="connsiteX3" fmla="*/ 0 w 353141"/>
                <a:gd name="connsiteY3" fmla="*/ 599584 h 712641"/>
              </a:gdLst>
              <a:ahLst/>
              <a:cxnLst>
                <a:cxn ang="0">
                  <a:pos x="connsiteX0" y="connsiteY0"/>
                </a:cxn>
                <a:cxn ang="0">
                  <a:pos x="connsiteX1" y="connsiteY1"/>
                </a:cxn>
                <a:cxn ang="0">
                  <a:pos x="connsiteX2" y="connsiteY2"/>
                </a:cxn>
                <a:cxn ang="0">
                  <a:pos x="connsiteX3" y="connsiteY3"/>
                </a:cxn>
              </a:cxnLst>
              <a:rect l="l" t="t" r="r" b="b"/>
              <a:pathLst>
                <a:path w="353141" h="712641">
                  <a:moveTo>
                    <a:pt x="10162" y="302332"/>
                  </a:moveTo>
                  <a:lnTo>
                    <a:pt x="353141" y="0"/>
                  </a:lnTo>
                  <a:lnTo>
                    <a:pt x="353141" y="712641"/>
                  </a:lnTo>
                  <a:lnTo>
                    <a:pt x="0" y="599584"/>
                  </a:lnTo>
                  <a:close/>
                </a:path>
              </a:pathLst>
            </a:custGeom>
            <a:solidFill>
              <a:schemeClr val="accent6"/>
            </a:solidFill>
            <a:ln w="12688" cap="rnd">
              <a:solidFill>
                <a:srgbClr val="000000"/>
              </a:solidFill>
              <a:prstDash val="solid"/>
              <a:round/>
            </a:ln>
          </p:spPr>
          <p:txBody>
            <a:bodyPr rtlCol="0" anchor="ctr"/>
            <a:lstStyle/>
            <a:p>
              <a:endParaRPr lang="en-US"/>
            </a:p>
          </p:txBody>
        </p:sp>
      </p:grpSp>
    </p:spTree>
    <p:extLst>
      <p:ext uri="{BB962C8B-B14F-4D97-AF65-F5344CB8AC3E}">
        <p14:creationId xmlns:p14="http://schemas.microsoft.com/office/powerpoint/2010/main" val="3839583478"/>
      </p:ext>
    </p:extLst>
  </p:cSld>
  <p:clrMapOvr>
    <a:masterClrMapping/>
  </p:clrMapOvr>
  <p:extLst>
    <p:ext uri="{DCECCB84-F9BA-43D5-87BE-67443E8EF086}">
      <p15:sldGuideLst xmlns:p15="http://schemas.microsoft.com/office/powerpoint/2012/main">
        <p15:guide id="1" pos="739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Market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a:lstStyle>
            <a:lvl1pPr algn="ctr">
              <a:defRPr baseline="0">
                <a:solidFill>
                  <a:schemeClr val="tx1"/>
                </a:solidFill>
              </a:defRPr>
            </a:lvl1pPr>
          </a:lstStyle>
          <a:p>
            <a:r>
              <a:rPr lang="en-US"/>
              <a:t>CLICK TO EDIT TITLE</a:t>
            </a:r>
            <a:endParaRPr lang="en-ZA"/>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solidFill>
              </a:defRPr>
            </a:lvl1pPr>
          </a:lstStyle>
          <a:p>
            <a:r>
              <a:rPr lang="en-ZA"/>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solidFill>
              </a:defRPr>
            </a:lvl1pPr>
          </a:lstStyle>
          <a:p>
            <a:fld id="{19B51A1E-902D-48AF-9020-955120F399B6}" type="slidenum">
              <a:rPr lang="en-ZA" smtClean="0"/>
              <a:pPr/>
              <a:t>‹#›</a:t>
            </a:fld>
            <a:endParaRPr lang="en-ZA"/>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671601" y="2149157"/>
            <a:ext cx="2743200" cy="2999232"/>
          </a:xfrm>
          <a:prstGeom prst="rect">
            <a:avLst/>
          </a:prstGeom>
          <a:solidFill>
            <a:schemeClr val="accent1"/>
          </a:solidFill>
          <a:ln w="22225">
            <a:solidFill>
              <a:schemeClr val="tx1"/>
            </a:solidFill>
          </a:ln>
        </p:spPr>
        <p:txBody>
          <a:bodyPr tIns="621792" anchor="t" anchorCtr="0">
            <a:normAutofit/>
          </a:bodyPr>
          <a:lstStyle>
            <a:lvl1pPr marL="0" indent="0" algn="ctr">
              <a:spcBef>
                <a:spcPts val="0"/>
              </a:spcBef>
              <a:spcAft>
                <a:spcPts val="0"/>
              </a:spcAft>
              <a:buNone/>
              <a:defRPr sz="3800" b="1">
                <a:solidFill>
                  <a:schemeClr val="tx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a:t>1</a:t>
            </a:r>
            <a:endParaRPr lang="en-ZA"/>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4724400" y="2149157"/>
            <a:ext cx="2743200" cy="2999232"/>
          </a:xfrm>
          <a:prstGeom prst="rect">
            <a:avLst/>
          </a:prstGeom>
          <a:solidFill>
            <a:schemeClr val="accent3"/>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3800" b="1" dirty="0">
                <a:solidFill>
                  <a:schemeClr val="tx1"/>
                </a:solidFill>
                <a:latin typeface="+mj-lt"/>
              </a:defRPr>
            </a:lvl1pPr>
          </a:lstStyle>
          <a:p>
            <a:pPr marL="266700" lvl="0" indent="-266700" algn="ctr"/>
            <a:r>
              <a:rPr lang="en-US"/>
              <a:t>2</a:t>
            </a:r>
            <a:endParaRPr lang="en-ZA"/>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7769944" y="2149157"/>
            <a:ext cx="2743201" cy="2997072"/>
          </a:xfrm>
          <a:prstGeom prst="rect">
            <a:avLst/>
          </a:prstGeom>
          <a:solidFill>
            <a:schemeClr val="accent4"/>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3800" b="1" dirty="0">
                <a:solidFill>
                  <a:schemeClr val="tx1"/>
                </a:solidFill>
                <a:latin typeface="+mj-lt"/>
              </a:defRPr>
            </a:lvl1pPr>
          </a:lstStyle>
          <a:p>
            <a:pPr marL="266700" lvl="0" indent="-266700" algn="ctr"/>
            <a:r>
              <a:rPr lang="en-US"/>
              <a:t>3</a:t>
            </a:r>
            <a:endParaRPr lang="en-ZA"/>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4964560" y="4279392"/>
            <a:ext cx="2286000" cy="640080"/>
          </a:xfrm>
        </p:spPr>
        <p:txBody>
          <a:bodyPr>
            <a:normAutofit/>
          </a:bodyPr>
          <a:lstStyle>
            <a:lvl1pPr marL="0" indent="0" algn="ctr">
              <a:lnSpc>
                <a:spcPts val="2000"/>
              </a:lnSpc>
              <a:spcBef>
                <a:spcPts val="0"/>
              </a:spcBef>
              <a:buFont typeface="Arial" panose="020B0604020202020204" pitchFamily="34" charset="0"/>
              <a:buNone/>
              <a:defRPr sz="1400">
                <a:solidFill>
                  <a:schemeClr val="tx1"/>
                </a:solidFill>
              </a:defRPr>
            </a:lvl1pPr>
          </a:lstStyle>
          <a:p>
            <a:pPr lvl="0"/>
            <a:r>
              <a:rPr lang="en-US"/>
              <a:t>Section Description</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8012800" y="4279392"/>
            <a:ext cx="2286000" cy="640080"/>
          </a:xfrm>
        </p:spPr>
        <p:txBody>
          <a:bodyPr>
            <a:normAutofit/>
          </a:bodyPr>
          <a:lstStyle>
            <a:lvl1pPr marL="0" indent="0" algn="ctr">
              <a:lnSpc>
                <a:spcPts val="2000"/>
              </a:lnSpc>
              <a:spcBef>
                <a:spcPts val="0"/>
              </a:spcBef>
              <a:buFont typeface="Arial" panose="020B0604020202020204" pitchFamily="34" charset="0"/>
              <a:buNone/>
              <a:defRPr sz="1400">
                <a:solidFill>
                  <a:schemeClr val="tx1"/>
                </a:solidFill>
              </a:defRPr>
            </a:lvl1pPr>
          </a:lstStyle>
          <a:p>
            <a:pPr lvl="0"/>
            <a:r>
              <a:rPr lang="en-US"/>
              <a:t>Section Description</a:t>
            </a:r>
          </a:p>
        </p:txBody>
      </p:sp>
      <p:sp>
        <p:nvSpPr>
          <p:cNvPr id="4" name="Text Placeholder 3">
            <a:extLst>
              <a:ext uri="{FF2B5EF4-FFF2-40B4-BE49-F238E27FC236}">
                <a16:creationId xmlns:a16="http://schemas.microsoft.com/office/drawing/2014/main" id="{B0481AD7-A873-4BA1-A500-D8FF0F229879}"/>
              </a:ext>
            </a:extLst>
          </p:cNvPr>
          <p:cNvSpPr>
            <a:spLocks noGrp="1"/>
          </p:cNvSpPr>
          <p:nvPr>
            <p:ph type="body" sz="quarter" idx="34" hasCustomPrompt="1"/>
          </p:nvPr>
        </p:nvSpPr>
        <p:spPr>
          <a:xfrm>
            <a:off x="1903095" y="3511296"/>
            <a:ext cx="2286000" cy="731520"/>
          </a:xfrm>
        </p:spPr>
        <p:txBody>
          <a:bodyPr>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SECTION HEADER</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901952" y="4279392"/>
            <a:ext cx="2286000" cy="64008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22" name="Text Placeholder 3">
            <a:extLst>
              <a:ext uri="{FF2B5EF4-FFF2-40B4-BE49-F238E27FC236}">
                <a16:creationId xmlns:a16="http://schemas.microsoft.com/office/drawing/2014/main" id="{AE52A1FB-F89B-45C5-92FC-A6D588F53C5D}"/>
              </a:ext>
            </a:extLst>
          </p:cNvPr>
          <p:cNvSpPr>
            <a:spLocks noGrp="1"/>
          </p:cNvSpPr>
          <p:nvPr>
            <p:ph type="body" sz="quarter" idx="36" hasCustomPrompt="1"/>
          </p:nvPr>
        </p:nvSpPr>
        <p:spPr>
          <a:xfrm>
            <a:off x="4964559" y="3511296"/>
            <a:ext cx="2286000" cy="731520"/>
          </a:xfrm>
        </p:spPr>
        <p:txBody>
          <a:bodyPr>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SECTION HEADER</a:t>
            </a:r>
          </a:p>
        </p:txBody>
      </p:sp>
      <p:sp>
        <p:nvSpPr>
          <p:cNvPr id="23" name="Text Placeholder 3">
            <a:extLst>
              <a:ext uri="{FF2B5EF4-FFF2-40B4-BE49-F238E27FC236}">
                <a16:creationId xmlns:a16="http://schemas.microsoft.com/office/drawing/2014/main" id="{46C18666-B781-4A20-AAFB-33160088C3E1}"/>
              </a:ext>
            </a:extLst>
          </p:cNvPr>
          <p:cNvSpPr>
            <a:spLocks noGrp="1"/>
          </p:cNvSpPr>
          <p:nvPr>
            <p:ph type="body" sz="quarter" idx="37" hasCustomPrompt="1"/>
          </p:nvPr>
        </p:nvSpPr>
        <p:spPr>
          <a:xfrm>
            <a:off x="8012799" y="3511296"/>
            <a:ext cx="2286000" cy="731520"/>
          </a:xfrm>
        </p:spPr>
        <p:txBody>
          <a:bodyPr>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SECTION HEADER</a:t>
            </a:r>
          </a:p>
        </p:txBody>
      </p:sp>
      <p:sp>
        <p:nvSpPr>
          <p:cNvPr id="19" name="Date Placeholder 2">
            <a:extLst>
              <a:ext uri="{FF2B5EF4-FFF2-40B4-BE49-F238E27FC236}">
                <a16:creationId xmlns:a16="http://schemas.microsoft.com/office/drawing/2014/main" id="{4EA7F64A-11F6-4F87-BCF2-6C289703AEE8}"/>
              </a:ext>
            </a:extLst>
          </p:cNvPr>
          <p:cNvSpPr>
            <a:spLocks noGrp="1"/>
          </p:cNvSpPr>
          <p:nvPr>
            <p:ph type="dt" sz="half" idx="38"/>
          </p:nvPr>
        </p:nvSpPr>
        <p:spPr>
          <a:xfrm>
            <a:off x="838200" y="6356350"/>
            <a:ext cx="2743200" cy="365125"/>
          </a:xfrm>
        </p:spPr>
        <p:txBody>
          <a:bodyPr/>
          <a:lstStyle>
            <a:lvl1pPr>
              <a:defRPr>
                <a:solidFill>
                  <a:schemeClr val="tx1"/>
                </a:solidFill>
              </a:defRPr>
            </a:lvl1pPr>
          </a:lstStyle>
          <a:p>
            <a:r>
              <a:rPr lang="en-US"/>
              <a:t>7/1/20XX</a:t>
            </a:r>
          </a:p>
        </p:txBody>
      </p:sp>
    </p:spTree>
    <p:extLst>
      <p:ext uri="{BB962C8B-B14F-4D97-AF65-F5344CB8AC3E}">
        <p14:creationId xmlns:p14="http://schemas.microsoft.com/office/powerpoint/2010/main" val="782336595"/>
      </p:ext>
    </p:extLst>
  </p:cSld>
  <p:clrMapOvr>
    <a:masterClrMapping/>
  </p:clrMapOvr>
  <p:extLst>
    <p:ext uri="{DCECCB84-F9BA-43D5-87BE-67443E8EF086}">
      <p15:sldGuideLst xmlns:p15="http://schemas.microsoft.com/office/powerpoint/2012/main">
        <p15:guide id="1" orient="horz" pos="343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sp>
        <p:nvSpPr>
          <p:cNvPr id="11" name="Rectangle 9">
            <a:extLst>
              <a:ext uri="{FF2B5EF4-FFF2-40B4-BE49-F238E27FC236}">
                <a16:creationId xmlns:a16="http://schemas.microsoft.com/office/drawing/2014/main" id="{9BBBE197-C160-4421-9307-B91851A4921E}"/>
              </a:ext>
            </a:extLst>
          </p:cNvPr>
          <p:cNvSpPr/>
          <p:nvPr userDrawn="1"/>
        </p:nvSpPr>
        <p:spPr>
          <a:xfrm flipH="1">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8DAA0FD4-5531-4AB1-ADC9-D584F92EA444}"/>
              </a:ext>
            </a:extLst>
          </p:cNvPr>
          <p:cNvCxnSpPr>
            <a:cxnSpLocks/>
          </p:cNvCxnSpPr>
          <p:nvPr userDrawn="1"/>
        </p:nvCxnSpPr>
        <p:spPr>
          <a:xfrm>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E9E034D-C1DD-48C0-BB6B-FDC6F8EBA558}"/>
              </a:ext>
            </a:extLst>
          </p:cNvPr>
          <p:cNvSpPr>
            <a:spLocks noGrp="1"/>
          </p:cNvSpPr>
          <p:nvPr>
            <p:ph type="title"/>
          </p:nvPr>
        </p:nvSpPr>
        <p:spPr>
          <a:xfrm>
            <a:off x="839788" y="365125"/>
            <a:ext cx="10515600" cy="1325563"/>
          </a:xfrm>
        </p:spPr>
        <p:txBody>
          <a:bodyPr/>
          <a:lstStyle>
            <a:lvl1pPr>
              <a:defRPr baseline="0"/>
            </a:lvl1pPr>
          </a:lstStyle>
          <a:p>
            <a:r>
              <a:rPr lang="en-US"/>
              <a:t>Click to edit Master title style</a:t>
            </a:r>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hasCustomPrompt="1"/>
          </p:nvPr>
        </p:nvSpPr>
        <p:spPr>
          <a:xfrm>
            <a:off x="839789" y="1681163"/>
            <a:ext cx="4114800" cy="823912"/>
          </a:xfrm>
        </p:spPr>
        <p:txBody>
          <a:bodyPr anchor="ctr" anchorCtr="0">
            <a:normAutofit/>
          </a:bodyPr>
          <a:lstStyle>
            <a:lvl1pPr marL="0" indent="0">
              <a:buNone/>
              <a:defRPr sz="18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p:nvPr>
        </p:nvSpPr>
        <p:spPr>
          <a:xfrm>
            <a:off x="839788" y="2505075"/>
            <a:ext cx="4114800" cy="3081971"/>
          </a:xfrm>
        </p:spPr>
        <p:txBody>
          <a:bodyPr>
            <a:normAutofit/>
          </a:bodyPr>
          <a:lstStyle>
            <a:lvl1pPr marL="285750" indent="-285750">
              <a:lnSpc>
                <a:spcPts val="2400"/>
              </a:lnSpc>
              <a:spcBef>
                <a:spcPts val="1000"/>
              </a:spcBef>
              <a:buFont typeface="Arial" panose="020B0604020202020204" pitchFamily="34" charset="0"/>
              <a:buChar char="•"/>
              <a:defRPr sz="1400"/>
            </a:lvl1pPr>
            <a:lvl2pPr marL="742950" indent="-285750">
              <a:lnSpc>
                <a:spcPts val="2400"/>
              </a:lnSpc>
              <a:spcBef>
                <a:spcPts val="1000"/>
              </a:spcBef>
              <a:buFont typeface="Arial" panose="020B0604020202020204" pitchFamily="34" charset="0"/>
              <a:buChar char="•"/>
              <a:defRPr sz="1400"/>
            </a:lvl2pPr>
            <a:lvl3pPr marL="1200150" indent="-285750">
              <a:lnSpc>
                <a:spcPts val="2400"/>
              </a:lnSpc>
              <a:spcBef>
                <a:spcPts val="1000"/>
              </a:spcBef>
              <a:buFont typeface="Arial" panose="020B0604020202020204" pitchFamily="34" charset="0"/>
              <a:buChar char="•"/>
              <a:defRPr sz="1400"/>
            </a:lvl3pPr>
            <a:lvl4pPr marL="1657350" indent="-285750">
              <a:lnSpc>
                <a:spcPts val="2400"/>
              </a:lnSpc>
              <a:spcBef>
                <a:spcPts val="1000"/>
              </a:spcBef>
              <a:buFont typeface="Arial" panose="020B0604020202020204" pitchFamily="34" charset="0"/>
              <a:buChar char="•"/>
              <a:defRPr sz="1400"/>
            </a:lvl4pPr>
            <a:lvl5pPr marL="2114550" indent="-285750">
              <a:lnSpc>
                <a:spcPts val="2400"/>
              </a:lnSpc>
              <a:spcBef>
                <a:spcPts val="1000"/>
              </a:spcBef>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6172200" y="1681163"/>
            <a:ext cx="4114800" cy="823912"/>
          </a:xfrm>
        </p:spPr>
        <p:txBody>
          <a:bodyPr anchor="ctr" anchorCtr="0">
            <a:normAutofit/>
          </a:bodyPr>
          <a:lstStyle>
            <a:lvl1pPr marL="0" indent="0">
              <a:buNone/>
              <a:defRPr sz="18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p:nvPr>
        </p:nvSpPr>
        <p:spPr>
          <a:xfrm>
            <a:off x="6172200" y="2505075"/>
            <a:ext cx="4114800" cy="3081971"/>
          </a:xfrm>
        </p:spPr>
        <p:txBody>
          <a:bodyPr>
            <a:normAutofit/>
          </a:bodyPr>
          <a:lstStyle>
            <a:lvl1pPr marL="285750" indent="-285750">
              <a:lnSpc>
                <a:spcPts val="2400"/>
              </a:lnSpc>
              <a:spcBef>
                <a:spcPts val="1000"/>
              </a:spcBef>
              <a:buFont typeface="Arial" panose="020B0604020202020204" pitchFamily="34" charset="0"/>
              <a:buChar char="•"/>
              <a:defRPr sz="1400"/>
            </a:lvl1pPr>
            <a:lvl2pPr marL="742950" indent="-285750">
              <a:lnSpc>
                <a:spcPts val="2400"/>
              </a:lnSpc>
              <a:spcBef>
                <a:spcPts val="1000"/>
              </a:spcBef>
              <a:buFont typeface="Arial" panose="020B0604020202020204" pitchFamily="34" charset="0"/>
              <a:buChar char="•"/>
              <a:defRPr sz="1400"/>
            </a:lvl2pPr>
            <a:lvl3pPr marL="1200150" indent="-285750">
              <a:lnSpc>
                <a:spcPts val="2400"/>
              </a:lnSpc>
              <a:spcBef>
                <a:spcPts val="1000"/>
              </a:spcBef>
              <a:buFont typeface="Arial" panose="020B0604020202020204" pitchFamily="34" charset="0"/>
              <a:buChar char="•"/>
              <a:defRPr sz="1400"/>
            </a:lvl3pPr>
            <a:lvl4pPr marL="1657350" indent="-285750">
              <a:lnSpc>
                <a:spcPts val="2400"/>
              </a:lnSpc>
              <a:spcBef>
                <a:spcPts val="1000"/>
              </a:spcBef>
              <a:buFont typeface="Arial" panose="020B0604020202020204" pitchFamily="34" charset="0"/>
              <a:buChar char="•"/>
              <a:defRPr sz="1400"/>
            </a:lvl4pPr>
            <a:lvl5pPr marL="2114550" indent="-285750">
              <a:lnSpc>
                <a:spcPts val="2400"/>
              </a:lnSpc>
              <a:spcBef>
                <a:spcPts val="1000"/>
              </a:spcBef>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a:lstStyle/>
          <a:p>
            <a:r>
              <a:rPr lang="en-US"/>
              <a:t>7/1/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a:lstStyle/>
          <a:p>
            <a:r>
              <a:rPr lang="en-US"/>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3843178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lgn="ctr">
              <a:defRPr baseline="0">
                <a:solidFill>
                  <a:schemeClr val="tx1"/>
                </a:solidFill>
              </a:defRPr>
            </a:lvl1pPr>
          </a:lstStyle>
          <a:p>
            <a:r>
              <a:rPr lang="en-US"/>
              <a:t>Click to edit Master title style</a:t>
            </a:r>
            <a:endParaRPr lang="en-ZA"/>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solidFill>
              </a:defRPr>
            </a:lvl1pPr>
          </a:lstStyle>
          <a:p>
            <a:r>
              <a:rPr lang="en-ZA"/>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solidFill>
              </a:defRPr>
            </a:lvl1pPr>
          </a:lstStyle>
          <a:p>
            <a:fld id="{19B51A1E-902D-48AF-9020-955120F399B6}" type="slidenum">
              <a:rPr lang="en-ZA" smtClean="0"/>
              <a:pPr/>
              <a:t>‹#›</a:t>
            </a:fld>
            <a:endParaRPr lang="en-ZA"/>
          </a:p>
        </p:txBody>
      </p:sp>
      <p:sp>
        <p:nvSpPr>
          <p:cNvPr id="10" name="Text Placeholder 5">
            <a:extLst>
              <a:ext uri="{FF2B5EF4-FFF2-40B4-BE49-F238E27FC236}">
                <a16:creationId xmlns:a16="http://schemas.microsoft.com/office/drawing/2014/main" id="{6CD52AD9-4495-432B-B01C-26AAF0EAA89F}"/>
              </a:ext>
            </a:extLst>
          </p:cNvPr>
          <p:cNvSpPr>
            <a:spLocks noGrp="1"/>
          </p:cNvSpPr>
          <p:nvPr>
            <p:ph type="body" sz="quarter" idx="12" hasCustomPrompt="1"/>
          </p:nvPr>
        </p:nvSpPr>
        <p:spPr>
          <a:xfrm>
            <a:off x="5109000" y="2112264"/>
            <a:ext cx="2011680" cy="274320"/>
          </a:xfrm>
        </p:spPr>
        <p:txBody>
          <a:bodyPr>
            <a:normAutofit/>
          </a:bodyPr>
          <a:lstStyle>
            <a:lvl1pPr marL="0" indent="0" algn="ctr">
              <a:buFont typeface="Arial" panose="020B0604020202020204" pitchFamily="34" charset="0"/>
              <a:buNone/>
              <a:defRPr sz="1200">
                <a:solidFill>
                  <a:schemeClr val="tx1">
                    <a:lumMod val="75000"/>
                    <a:lumOff val="25000"/>
                  </a:schemeClr>
                </a:solidFill>
                <a:latin typeface="+mj-lt"/>
              </a:defRPr>
            </a:lvl1pPr>
          </a:lstStyle>
          <a:p>
            <a:pPr lvl="0"/>
            <a:r>
              <a:rPr lang="en-US"/>
              <a:t>QUADRANT TITLE</a:t>
            </a:r>
          </a:p>
        </p:txBody>
      </p:sp>
      <p:sp>
        <p:nvSpPr>
          <p:cNvPr id="11" name="Text Placeholder 5">
            <a:extLst>
              <a:ext uri="{FF2B5EF4-FFF2-40B4-BE49-F238E27FC236}">
                <a16:creationId xmlns:a16="http://schemas.microsoft.com/office/drawing/2014/main" id="{23E8F54F-C5BD-4FE6-BB69-FEC69BC0FDDD}"/>
              </a:ext>
            </a:extLst>
          </p:cNvPr>
          <p:cNvSpPr>
            <a:spLocks noGrp="1"/>
          </p:cNvSpPr>
          <p:nvPr>
            <p:ph type="body" sz="quarter" idx="13" hasCustomPrompt="1"/>
          </p:nvPr>
        </p:nvSpPr>
        <p:spPr>
          <a:xfrm>
            <a:off x="5109000" y="5132470"/>
            <a:ext cx="2011680" cy="274320"/>
          </a:xfrm>
        </p:spPr>
        <p:txBody>
          <a:bodyPr>
            <a:normAutofit/>
          </a:bodyPr>
          <a:lstStyle>
            <a:lvl1pPr marL="0" indent="0" algn="ctr">
              <a:buFont typeface="Arial" panose="020B0604020202020204" pitchFamily="34" charset="0"/>
              <a:buNone/>
              <a:defRPr sz="1200">
                <a:solidFill>
                  <a:schemeClr val="tx1">
                    <a:lumMod val="75000"/>
                    <a:lumOff val="25000"/>
                  </a:schemeClr>
                </a:solidFill>
                <a:latin typeface="+mj-lt"/>
              </a:defRPr>
            </a:lvl1pPr>
          </a:lstStyle>
          <a:p>
            <a:pPr lvl="0"/>
            <a:r>
              <a:rPr lang="en-US"/>
              <a:t>QUADRANT TITLE</a:t>
            </a:r>
          </a:p>
        </p:txBody>
      </p:sp>
      <p:sp>
        <p:nvSpPr>
          <p:cNvPr id="12" name="Text Placeholder 5">
            <a:extLst>
              <a:ext uri="{FF2B5EF4-FFF2-40B4-BE49-F238E27FC236}">
                <a16:creationId xmlns:a16="http://schemas.microsoft.com/office/drawing/2014/main" id="{AF9EB7E7-72B3-4FD3-B153-815A53CB1B7D}"/>
              </a:ext>
            </a:extLst>
          </p:cNvPr>
          <p:cNvSpPr>
            <a:spLocks noGrp="1"/>
          </p:cNvSpPr>
          <p:nvPr>
            <p:ph type="body" sz="quarter" idx="14" hasCustomPrompt="1"/>
          </p:nvPr>
        </p:nvSpPr>
        <p:spPr>
          <a:xfrm>
            <a:off x="829445" y="3346704"/>
            <a:ext cx="2011680" cy="274320"/>
          </a:xfrm>
        </p:spPr>
        <p:txBody>
          <a:bodyPr>
            <a:normAutofit/>
          </a:bodyPr>
          <a:lstStyle>
            <a:lvl1pPr marL="0" indent="0" algn="l">
              <a:buFont typeface="Arial" panose="020B0604020202020204" pitchFamily="34" charset="0"/>
              <a:buNone/>
              <a:defRPr sz="1200">
                <a:solidFill>
                  <a:schemeClr val="tx1">
                    <a:lumMod val="75000"/>
                    <a:lumOff val="25000"/>
                  </a:schemeClr>
                </a:solidFill>
                <a:latin typeface="+mj-lt"/>
              </a:defRPr>
            </a:lvl1pPr>
          </a:lstStyle>
          <a:p>
            <a:pPr lvl="0"/>
            <a:r>
              <a:rPr lang="en-US"/>
              <a:t>QUADRANT TITLE</a:t>
            </a:r>
          </a:p>
        </p:txBody>
      </p:sp>
      <p:sp>
        <p:nvSpPr>
          <p:cNvPr id="13" name="Text Placeholder 5">
            <a:extLst>
              <a:ext uri="{FF2B5EF4-FFF2-40B4-BE49-F238E27FC236}">
                <a16:creationId xmlns:a16="http://schemas.microsoft.com/office/drawing/2014/main" id="{139AE34A-A4BE-43AA-9A69-9A18D5FC53D8}"/>
              </a:ext>
            </a:extLst>
          </p:cNvPr>
          <p:cNvSpPr>
            <a:spLocks noGrp="1"/>
          </p:cNvSpPr>
          <p:nvPr>
            <p:ph type="body" sz="quarter" idx="15" hasCustomPrompt="1"/>
          </p:nvPr>
        </p:nvSpPr>
        <p:spPr>
          <a:xfrm>
            <a:off x="9362752" y="3346704"/>
            <a:ext cx="2011680" cy="274320"/>
          </a:xfrm>
        </p:spPr>
        <p:txBody>
          <a:bodyPr>
            <a:normAutofit/>
          </a:bodyPr>
          <a:lstStyle>
            <a:lvl1pPr marL="0" indent="0" algn="r">
              <a:buFont typeface="Arial" panose="020B0604020202020204" pitchFamily="34" charset="0"/>
              <a:buNone/>
              <a:defRPr sz="1200">
                <a:solidFill>
                  <a:schemeClr val="tx1">
                    <a:lumMod val="75000"/>
                    <a:lumOff val="25000"/>
                  </a:schemeClr>
                </a:solidFill>
                <a:latin typeface="+mj-lt"/>
              </a:defRPr>
            </a:lvl1pPr>
          </a:lstStyle>
          <a:p>
            <a:pPr lvl="0"/>
            <a:r>
              <a:rPr lang="en-US"/>
              <a:t>QUADRANT TITLE</a:t>
            </a:r>
          </a:p>
        </p:txBody>
      </p:sp>
      <p:cxnSp>
        <p:nvCxnSpPr>
          <p:cNvPr id="5" name="Straight Connector 4">
            <a:extLst>
              <a:ext uri="{FF2B5EF4-FFF2-40B4-BE49-F238E27FC236}">
                <a16:creationId xmlns:a16="http://schemas.microsoft.com/office/drawing/2014/main" id="{930083F9-FF24-4BFD-A7D4-197B0AA39D48}"/>
              </a:ext>
            </a:extLst>
          </p:cNvPr>
          <p:cNvCxnSpPr>
            <a:cxnSpLocks/>
          </p:cNvCxnSpPr>
          <p:nvPr userDrawn="1"/>
        </p:nvCxnSpPr>
        <p:spPr>
          <a:xfrm>
            <a:off x="915924" y="3631616"/>
            <a:ext cx="10360152" cy="0"/>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8C53B62-8608-4BCE-81F2-70FBF256B701}"/>
              </a:ext>
            </a:extLst>
          </p:cNvPr>
          <p:cNvCxnSpPr>
            <a:cxnSpLocks/>
          </p:cNvCxnSpPr>
          <p:nvPr userDrawn="1"/>
        </p:nvCxnSpPr>
        <p:spPr>
          <a:xfrm>
            <a:off x="6096000" y="2473690"/>
            <a:ext cx="0" cy="2560320"/>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Placeholder 2">
            <a:extLst>
              <a:ext uri="{FF2B5EF4-FFF2-40B4-BE49-F238E27FC236}">
                <a16:creationId xmlns:a16="http://schemas.microsoft.com/office/drawing/2014/main" id="{1B3C91A3-3777-4B1B-8A3F-5E8560B3B59C}"/>
              </a:ext>
            </a:extLst>
          </p:cNvPr>
          <p:cNvSpPr>
            <a:spLocks noGrp="1"/>
          </p:cNvSpPr>
          <p:nvPr>
            <p:ph type="dt" sz="half" idx="16"/>
          </p:nvPr>
        </p:nvSpPr>
        <p:spPr>
          <a:xfrm>
            <a:off x="838200" y="6356350"/>
            <a:ext cx="2743200" cy="365125"/>
          </a:xfrm>
        </p:spPr>
        <p:txBody>
          <a:bodyPr/>
          <a:lstStyle>
            <a:lvl1pPr>
              <a:defRPr>
                <a:solidFill>
                  <a:schemeClr val="tx1"/>
                </a:solidFill>
              </a:defRPr>
            </a:lvl1pPr>
          </a:lstStyle>
          <a:p>
            <a:r>
              <a:rPr lang="en-US"/>
              <a:t>7/1/20XX</a:t>
            </a:r>
          </a:p>
        </p:txBody>
      </p:sp>
    </p:spTree>
    <p:extLst>
      <p:ext uri="{BB962C8B-B14F-4D97-AF65-F5344CB8AC3E}">
        <p14:creationId xmlns:p14="http://schemas.microsoft.com/office/powerpoint/2010/main" val="43800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Growth Strategy">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4384B8-6414-4870-BF05-99FE5E164890}"/>
              </a:ext>
            </a:extLst>
          </p:cNvPr>
          <p:cNvSpPr/>
          <p:nvPr userDrawn="1"/>
        </p:nvSpPr>
        <p:spPr>
          <a:xfrm>
            <a:off x="4499309"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08D92F3-3AB1-4672-AAAA-0D9FF28923C9}"/>
              </a:ext>
            </a:extLst>
          </p:cNvPr>
          <p:cNvSpPr/>
          <p:nvPr userDrawn="1"/>
        </p:nvSpPr>
        <p:spPr>
          <a:xfrm>
            <a:off x="8333163"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D5546-EF99-490E-8EC4-8DAE9703B984}"/>
              </a:ext>
            </a:extLst>
          </p:cNvPr>
          <p:cNvSpPr/>
          <p:nvPr userDrawn="1"/>
        </p:nvSpPr>
        <p:spPr>
          <a:xfrm>
            <a:off x="685799"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685799" y="2450592"/>
            <a:ext cx="3200400" cy="2567007"/>
          </a:xfrm>
          <a:noFill/>
          <a:ln w="22225">
            <a:noFill/>
          </a:ln>
        </p:spPr>
        <p:txBody>
          <a:bodyPr tIns="420624">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32" name="Text Placeholder 9">
            <a:extLst>
              <a:ext uri="{FF2B5EF4-FFF2-40B4-BE49-F238E27FC236}">
                <a16:creationId xmlns:a16="http://schemas.microsoft.com/office/drawing/2014/main" id="{F13B55CA-81C2-4AD0-94D7-1164220A28BB}"/>
              </a:ext>
            </a:extLst>
          </p:cNvPr>
          <p:cNvSpPr>
            <a:spLocks noGrp="1"/>
          </p:cNvSpPr>
          <p:nvPr>
            <p:ph type="body" sz="quarter" idx="17" hasCustomPrompt="1"/>
          </p:nvPr>
        </p:nvSpPr>
        <p:spPr>
          <a:xfrm>
            <a:off x="4499309" y="2450591"/>
            <a:ext cx="3200400" cy="2567009"/>
          </a:xfrm>
          <a:noFill/>
          <a:ln w="22225">
            <a:noFill/>
          </a:ln>
        </p:spPr>
        <p:txBody>
          <a:bodyPr tIns="420624">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34" name="Text Placeholder 9">
            <a:extLst>
              <a:ext uri="{FF2B5EF4-FFF2-40B4-BE49-F238E27FC236}">
                <a16:creationId xmlns:a16="http://schemas.microsoft.com/office/drawing/2014/main" id="{01BBF6FF-17B9-408E-8ED2-92B3DA12A468}"/>
              </a:ext>
            </a:extLst>
          </p:cNvPr>
          <p:cNvSpPr>
            <a:spLocks noGrp="1"/>
          </p:cNvSpPr>
          <p:nvPr>
            <p:ph type="body" sz="quarter" idx="19" hasCustomPrompt="1"/>
          </p:nvPr>
        </p:nvSpPr>
        <p:spPr>
          <a:xfrm>
            <a:off x="8333163" y="2450591"/>
            <a:ext cx="3200400" cy="2567009"/>
          </a:xfrm>
          <a:noFill/>
          <a:ln w="22225">
            <a:noFill/>
          </a:ln>
        </p:spPr>
        <p:txBody>
          <a:bodyPr tIns="420624">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939859" y="3392424"/>
            <a:ext cx="2743200" cy="1463040"/>
          </a:xfrm>
        </p:spPr>
        <p:txBody>
          <a:bodyPr>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1570874" y="704088"/>
            <a:ext cx="9050253" cy="640080"/>
          </a:xfrm>
          <a:noFill/>
        </p:spPr>
        <p:txBody>
          <a:bodyPr/>
          <a:lstStyle>
            <a:lvl1pPr algn="ctr">
              <a:defRPr baseline="0"/>
            </a:lvl1pPr>
          </a:lstStyle>
          <a:p>
            <a:r>
              <a:rPr lang="en-US"/>
              <a:t>CLICK TO EDIT TITLE</a:t>
            </a:r>
          </a:p>
        </p:txBody>
      </p:sp>
      <p:sp>
        <p:nvSpPr>
          <p:cNvPr id="20" name="Text Placeholder 9">
            <a:extLst>
              <a:ext uri="{FF2B5EF4-FFF2-40B4-BE49-F238E27FC236}">
                <a16:creationId xmlns:a16="http://schemas.microsoft.com/office/drawing/2014/main" id="{519259E2-3CE1-4C76-B5B7-4AD137FBC77B}"/>
              </a:ext>
            </a:extLst>
          </p:cNvPr>
          <p:cNvSpPr>
            <a:spLocks noGrp="1"/>
          </p:cNvSpPr>
          <p:nvPr>
            <p:ph type="body" sz="quarter" idx="14" hasCustomPrompt="1"/>
          </p:nvPr>
        </p:nvSpPr>
        <p:spPr>
          <a:xfrm>
            <a:off x="1572768" y="1389888"/>
            <a:ext cx="9052560" cy="395859"/>
          </a:xfrm>
        </p:spPr>
        <p:txBody>
          <a:bodyPr>
            <a:noAutofit/>
          </a:bodyPr>
          <a:lstStyle>
            <a:lvl1pPr marL="0" indent="0" algn="ctr">
              <a:lnSpc>
                <a:spcPts val="2600"/>
              </a:lnSpc>
              <a:spcBef>
                <a:spcPts val="0"/>
              </a:spcBef>
              <a:buNone/>
              <a:defRPr sz="1800" b="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31" name="Text Placeholder 9">
            <a:extLst>
              <a:ext uri="{FF2B5EF4-FFF2-40B4-BE49-F238E27FC236}">
                <a16:creationId xmlns:a16="http://schemas.microsoft.com/office/drawing/2014/main" id="{A551E3CC-0E54-4309-8184-90F1CF36B07A}"/>
              </a:ext>
            </a:extLst>
          </p:cNvPr>
          <p:cNvSpPr>
            <a:spLocks noGrp="1"/>
          </p:cNvSpPr>
          <p:nvPr>
            <p:ph type="body" sz="quarter" idx="16" hasCustomPrompt="1"/>
          </p:nvPr>
        </p:nvSpPr>
        <p:spPr>
          <a:xfrm>
            <a:off x="4731630" y="3392424"/>
            <a:ext cx="2743200" cy="1463040"/>
          </a:xfrm>
        </p:spPr>
        <p:txBody>
          <a:bodyPr>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33" name="Text Placeholder 9">
            <a:extLst>
              <a:ext uri="{FF2B5EF4-FFF2-40B4-BE49-F238E27FC236}">
                <a16:creationId xmlns:a16="http://schemas.microsoft.com/office/drawing/2014/main" id="{3EF0C778-EB33-45E0-B66D-9E5B206D382D}"/>
              </a:ext>
            </a:extLst>
          </p:cNvPr>
          <p:cNvSpPr>
            <a:spLocks noGrp="1"/>
          </p:cNvSpPr>
          <p:nvPr>
            <p:ph type="body" sz="quarter" idx="18" hasCustomPrompt="1"/>
          </p:nvPr>
        </p:nvSpPr>
        <p:spPr>
          <a:xfrm>
            <a:off x="8573439" y="3392424"/>
            <a:ext cx="2743200" cy="1463040"/>
          </a:xfrm>
        </p:spPr>
        <p:txBody>
          <a:bodyPr>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grpSp>
        <p:nvGrpSpPr>
          <p:cNvPr id="956" name="Picture Placeholder 1925" descr="abstract colorful illustration of buildings">
            <a:extLst>
              <a:ext uri="{FF2B5EF4-FFF2-40B4-BE49-F238E27FC236}">
                <a16:creationId xmlns:a16="http://schemas.microsoft.com/office/drawing/2014/main" id="{ED9C85CA-3D58-4E73-8FC0-F4CC731A2571}"/>
              </a:ext>
            </a:extLst>
          </p:cNvPr>
          <p:cNvGrpSpPr/>
          <p:nvPr userDrawn="1"/>
        </p:nvGrpSpPr>
        <p:grpSpPr>
          <a:xfrm>
            <a:off x="0" y="4754880"/>
            <a:ext cx="12188952" cy="2099904"/>
            <a:chOff x="0" y="4754880"/>
            <a:chExt cx="12858763" cy="2099904"/>
          </a:xfrm>
        </p:grpSpPr>
        <p:sp>
          <p:nvSpPr>
            <p:cNvPr id="957" name="Freeform: Shape 956">
              <a:extLst>
                <a:ext uri="{FF2B5EF4-FFF2-40B4-BE49-F238E27FC236}">
                  <a16:creationId xmlns:a16="http://schemas.microsoft.com/office/drawing/2014/main" id="{131B3E77-341E-4376-AEC4-ABC148DD0619}"/>
                </a:ext>
              </a:extLst>
            </p:cNvPr>
            <p:cNvSpPr/>
            <p:nvPr/>
          </p:nvSpPr>
          <p:spPr>
            <a:xfrm>
              <a:off x="8744312" y="6523108"/>
              <a:ext cx="795692" cy="330605"/>
            </a:xfrm>
            <a:custGeom>
              <a:avLst/>
              <a:gdLst>
                <a:gd name="connsiteX0" fmla="*/ 746389 w 795692"/>
                <a:gd name="connsiteY0" fmla="*/ 2545 h 330605"/>
                <a:gd name="connsiteX1" fmla="*/ 736301 w 795692"/>
                <a:gd name="connsiteY1" fmla="*/ 817 h 330605"/>
                <a:gd name="connsiteX2" fmla="*/ 735805 w 795692"/>
                <a:gd name="connsiteY2" fmla="*/ 0 h 330605"/>
                <a:gd name="connsiteX3" fmla="*/ 587759 w 795692"/>
                <a:gd name="connsiteY3" fmla="*/ 0 h 330605"/>
                <a:gd name="connsiteX4" fmla="*/ 580659 w 795692"/>
                <a:gd name="connsiteY4" fmla="*/ 5492 h 330605"/>
                <a:gd name="connsiteX5" fmla="*/ 573692 w 795692"/>
                <a:gd name="connsiteY5" fmla="*/ 0 h 330605"/>
                <a:gd name="connsiteX6" fmla="*/ 171759 w 795692"/>
                <a:gd name="connsiteY6" fmla="*/ 0 h 330605"/>
                <a:gd name="connsiteX7" fmla="*/ 164926 w 795692"/>
                <a:gd name="connsiteY7" fmla="*/ 4554 h 330605"/>
                <a:gd name="connsiteX8" fmla="*/ 159969 w 795692"/>
                <a:gd name="connsiteY8" fmla="*/ 2545 h 330605"/>
                <a:gd name="connsiteX9" fmla="*/ 7503 w 795692"/>
                <a:gd name="connsiteY9" fmla="*/ 2545 h 330605"/>
                <a:gd name="connsiteX10" fmla="*/ 3082 w 795692"/>
                <a:gd name="connsiteY10" fmla="*/ 4153 h 330605"/>
                <a:gd name="connsiteX11" fmla="*/ 0 w 795692"/>
                <a:gd name="connsiteY11" fmla="*/ 3483 h 330605"/>
                <a:gd name="connsiteX12" fmla="*/ 0 w 795692"/>
                <a:gd name="connsiteY12" fmla="*/ 330605 h 330605"/>
                <a:gd name="connsiteX13" fmla="*/ 795693 w 795692"/>
                <a:gd name="connsiteY13" fmla="*/ 330605 h 330605"/>
                <a:gd name="connsiteX14" fmla="*/ 795693 w 795692"/>
                <a:gd name="connsiteY14" fmla="*/ 2545 h 33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5692" h="330605">
                  <a:moveTo>
                    <a:pt x="746389" y="2545"/>
                  </a:moveTo>
                  <a:cubicBezTo>
                    <a:pt x="743134" y="4849"/>
                    <a:pt x="738605" y="4072"/>
                    <a:pt x="736301" y="817"/>
                  </a:cubicBezTo>
                  <a:cubicBezTo>
                    <a:pt x="736127" y="549"/>
                    <a:pt x="735953" y="281"/>
                    <a:pt x="735805" y="0"/>
                  </a:cubicBezTo>
                  <a:lnTo>
                    <a:pt x="587759" y="0"/>
                  </a:lnTo>
                  <a:cubicBezTo>
                    <a:pt x="586876" y="3202"/>
                    <a:pt x="583982" y="5439"/>
                    <a:pt x="580659" y="5492"/>
                  </a:cubicBezTo>
                  <a:cubicBezTo>
                    <a:pt x="577377" y="5425"/>
                    <a:pt x="574523" y="3175"/>
                    <a:pt x="573692" y="0"/>
                  </a:cubicBezTo>
                  <a:lnTo>
                    <a:pt x="171759" y="0"/>
                  </a:lnTo>
                  <a:cubicBezTo>
                    <a:pt x="170594" y="2746"/>
                    <a:pt x="167901" y="4528"/>
                    <a:pt x="164926" y="4554"/>
                  </a:cubicBezTo>
                  <a:cubicBezTo>
                    <a:pt x="163077" y="4568"/>
                    <a:pt x="161283" y="3845"/>
                    <a:pt x="159969" y="2545"/>
                  </a:cubicBezTo>
                  <a:lnTo>
                    <a:pt x="7503" y="2545"/>
                  </a:lnTo>
                  <a:cubicBezTo>
                    <a:pt x="6257" y="3563"/>
                    <a:pt x="4690" y="4139"/>
                    <a:pt x="3082" y="4153"/>
                  </a:cubicBezTo>
                  <a:cubicBezTo>
                    <a:pt x="2023" y="4139"/>
                    <a:pt x="965" y="3912"/>
                    <a:pt x="0" y="3483"/>
                  </a:cubicBezTo>
                  <a:lnTo>
                    <a:pt x="0" y="330605"/>
                  </a:lnTo>
                  <a:lnTo>
                    <a:pt x="795693" y="330605"/>
                  </a:lnTo>
                  <a:lnTo>
                    <a:pt x="795693" y="2545"/>
                  </a:lnTo>
                  <a:close/>
                </a:path>
              </a:pathLst>
            </a:custGeom>
            <a:solidFill>
              <a:schemeClr val="bg1">
                <a:lumMod val="95000"/>
              </a:schemeClr>
            </a:solidFill>
            <a:ln w="12700" cap="flat">
              <a:noFill/>
              <a:prstDash val="solid"/>
              <a:miter/>
            </a:ln>
          </p:spPr>
          <p:txBody>
            <a:bodyPr rtlCol="0" anchor="ctr"/>
            <a:lstStyle/>
            <a:p>
              <a:endParaRPr lang="en-US"/>
            </a:p>
          </p:txBody>
        </p:sp>
        <p:sp>
          <p:nvSpPr>
            <p:cNvPr id="958" name="Freeform: Shape 957">
              <a:extLst>
                <a:ext uri="{FF2B5EF4-FFF2-40B4-BE49-F238E27FC236}">
                  <a16:creationId xmlns:a16="http://schemas.microsoft.com/office/drawing/2014/main" id="{BC33952E-CE92-4ABC-BFD5-5F04A9DB0723}"/>
                </a:ext>
              </a:extLst>
            </p:cNvPr>
            <p:cNvSpPr/>
            <p:nvPr/>
          </p:nvSpPr>
          <p:spPr>
            <a:xfrm>
              <a:off x="9610075" y="5937047"/>
              <a:ext cx="72883" cy="541184"/>
            </a:xfrm>
            <a:custGeom>
              <a:avLst/>
              <a:gdLst>
                <a:gd name="connsiteX0" fmla="*/ 72884 w 72883"/>
                <a:gd name="connsiteY0" fmla="*/ 541185 h 541184"/>
                <a:gd name="connsiteX1" fmla="*/ 72884 w 72883"/>
                <a:gd name="connsiteY1" fmla="*/ 0 h 541184"/>
                <a:gd name="connsiteX2" fmla="*/ 0 w 72883"/>
                <a:gd name="connsiteY2" fmla="*/ 17682 h 541184"/>
                <a:gd name="connsiteX3" fmla="*/ 0 w 72883"/>
                <a:gd name="connsiteY3" fmla="*/ 541185 h 541184"/>
                <a:gd name="connsiteX4" fmla="*/ 804 w 72883"/>
                <a:gd name="connsiteY4" fmla="*/ 541185 h 541184"/>
                <a:gd name="connsiteX5" fmla="*/ 938 w 72883"/>
                <a:gd name="connsiteY5" fmla="*/ 541185 h 541184"/>
                <a:gd name="connsiteX6" fmla="*/ 1072 w 72883"/>
                <a:gd name="connsiteY6" fmla="*/ 541185 h 541184"/>
                <a:gd name="connsiteX7" fmla="*/ 72884 w 72883"/>
                <a:gd name="connsiteY7" fmla="*/ 541185 h 54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83" h="541184">
                  <a:moveTo>
                    <a:pt x="72884" y="541185"/>
                  </a:moveTo>
                  <a:lnTo>
                    <a:pt x="72884" y="0"/>
                  </a:lnTo>
                  <a:lnTo>
                    <a:pt x="0" y="17682"/>
                  </a:lnTo>
                  <a:lnTo>
                    <a:pt x="0" y="541185"/>
                  </a:lnTo>
                  <a:lnTo>
                    <a:pt x="804" y="541185"/>
                  </a:lnTo>
                  <a:lnTo>
                    <a:pt x="938" y="541185"/>
                  </a:lnTo>
                  <a:lnTo>
                    <a:pt x="1072" y="541185"/>
                  </a:lnTo>
                  <a:lnTo>
                    <a:pt x="72884" y="541185"/>
                  </a:lnTo>
                  <a:close/>
                </a:path>
              </a:pathLst>
            </a:custGeom>
            <a:solidFill>
              <a:schemeClr val="accent3"/>
            </a:solidFill>
            <a:ln w="12700" cap="flat">
              <a:noFill/>
              <a:prstDash val="solid"/>
              <a:miter/>
            </a:ln>
          </p:spPr>
          <p:txBody>
            <a:bodyPr rtlCol="0" anchor="ctr"/>
            <a:lstStyle/>
            <a:p>
              <a:endParaRPr lang="en-US"/>
            </a:p>
          </p:txBody>
        </p:sp>
        <p:sp>
          <p:nvSpPr>
            <p:cNvPr id="960" name="Freeform: Shape 959">
              <a:extLst>
                <a:ext uri="{FF2B5EF4-FFF2-40B4-BE49-F238E27FC236}">
                  <a16:creationId xmlns:a16="http://schemas.microsoft.com/office/drawing/2014/main" id="{65A35995-5FB4-42B0-ABBB-F1EC27E168C0}"/>
                </a:ext>
              </a:extLst>
            </p:cNvPr>
            <p:cNvSpPr/>
            <p:nvPr/>
          </p:nvSpPr>
          <p:spPr>
            <a:xfrm>
              <a:off x="9964982" y="5936244"/>
              <a:ext cx="39522" cy="535960"/>
            </a:xfrm>
            <a:custGeom>
              <a:avLst/>
              <a:gdLst>
                <a:gd name="connsiteX0" fmla="*/ 39523 w 39522"/>
                <a:gd name="connsiteY0" fmla="*/ 535961 h 535960"/>
                <a:gd name="connsiteX1" fmla="*/ 39523 w 39522"/>
                <a:gd name="connsiteY1" fmla="*/ 0 h 535960"/>
                <a:gd name="connsiteX2" fmla="*/ 0 w 39522"/>
                <a:gd name="connsiteY2" fmla="*/ 0 h 535960"/>
                <a:gd name="connsiteX3" fmla="*/ 0 w 39522"/>
                <a:gd name="connsiteY3" fmla="*/ 535961 h 535960"/>
                <a:gd name="connsiteX4" fmla="*/ 17015 w 39522"/>
                <a:gd name="connsiteY4" fmla="*/ 535961 h 535960"/>
                <a:gd name="connsiteX5" fmla="*/ 39523 w 39522"/>
                <a:gd name="connsiteY5" fmla="*/ 535961 h 53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2" h="535960">
                  <a:moveTo>
                    <a:pt x="39523" y="535961"/>
                  </a:moveTo>
                  <a:lnTo>
                    <a:pt x="39523" y="0"/>
                  </a:lnTo>
                  <a:lnTo>
                    <a:pt x="0" y="0"/>
                  </a:lnTo>
                  <a:lnTo>
                    <a:pt x="0" y="535961"/>
                  </a:lnTo>
                  <a:lnTo>
                    <a:pt x="17015" y="535961"/>
                  </a:lnTo>
                  <a:lnTo>
                    <a:pt x="39523" y="535961"/>
                  </a:lnTo>
                  <a:close/>
                </a:path>
              </a:pathLst>
            </a:custGeom>
            <a:solidFill>
              <a:srgbClr val="22B0AE"/>
            </a:solidFill>
            <a:ln w="12700" cap="flat">
              <a:noFill/>
              <a:prstDash val="solid"/>
              <a:miter/>
            </a:ln>
          </p:spPr>
          <p:txBody>
            <a:bodyPr rtlCol="0" anchor="ctr"/>
            <a:lstStyle/>
            <a:p>
              <a:endParaRPr lang="en-US"/>
            </a:p>
          </p:txBody>
        </p:sp>
        <p:sp>
          <p:nvSpPr>
            <p:cNvPr id="961" name="Freeform: Shape 960">
              <a:extLst>
                <a:ext uri="{FF2B5EF4-FFF2-40B4-BE49-F238E27FC236}">
                  <a16:creationId xmlns:a16="http://schemas.microsoft.com/office/drawing/2014/main" id="{1620977A-0A14-40B0-9185-909298804E94}"/>
                </a:ext>
              </a:extLst>
            </p:cNvPr>
            <p:cNvSpPr/>
            <p:nvPr/>
          </p:nvSpPr>
          <p:spPr>
            <a:xfrm>
              <a:off x="6202088" y="6503818"/>
              <a:ext cx="23311" cy="349894"/>
            </a:xfrm>
            <a:custGeom>
              <a:avLst/>
              <a:gdLst>
                <a:gd name="connsiteX0" fmla="*/ 23312 w 23311"/>
                <a:gd name="connsiteY0" fmla="*/ 76757 h 349894"/>
                <a:gd name="connsiteX1" fmla="*/ 23312 w 23311"/>
                <a:gd name="connsiteY1" fmla="*/ 0 h 349894"/>
                <a:gd name="connsiteX2" fmla="*/ 0 w 23311"/>
                <a:gd name="connsiteY2" fmla="*/ 0 h 349894"/>
                <a:gd name="connsiteX3" fmla="*/ 0 w 23311"/>
                <a:gd name="connsiteY3" fmla="*/ 72872 h 349894"/>
                <a:gd name="connsiteX4" fmla="*/ 6029 w 23311"/>
                <a:gd name="connsiteY4" fmla="*/ 79972 h 349894"/>
                <a:gd name="connsiteX5" fmla="*/ 6029 w 23311"/>
                <a:gd name="connsiteY5" fmla="*/ 349895 h 349894"/>
                <a:gd name="connsiteX6" fmla="*/ 23312 w 23311"/>
                <a:gd name="connsiteY6" fmla="*/ 349895 h 349894"/>
                <a:gd name="connsiteX7" fmla="*/ 23312 w 23311"/>
                <a:gd name="connsiteY7" fmla="*/ 76757 h 34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1" h="349894">
                  <a:moveTo>
                    <a:pt x="23312" y="76757"/>
                  </a:moveTo>
                  <a:lnTo>
                    <a:pt x="23312" y="0"/>
                  </a:lnTo>
                  <a:lnTo>
                    <a:pt x="0" y="0"/>
                  </a:lnTo>
                  <a:lnTo>
                    <a:pt x="0" y="72872"/>
                  </a:lnTo>
                  <a:cubicBezTo>
                    <a:pt x="3470" y="73462"/>
                    <a:pt x="6015" y="76449"/>
                    <a:pt x="6029" y="79972"/>
                  </a:cubicBezTo>
                  <a:lnTo>
                    <a:pt x="6029" y="349895"/>
                  </a:lnTo>
                  <a:lnTo>
                    <a:pt x="23312" y="349895"/>
                  </a:lnTo>
                  <a:lnTo>
                    <a:pt x="23312" y="76757"/>
                  </a:lnTo>
                  <a:close/>
                </a:path>
              </a:pathLst>
            </a:custGeom>
            <a:solidFill>
              <a:srgbClr val="F9C996"/>
            </a:solidFill>
            <a:ln w="12700" cap="flat">
              <a:noFill/>
              <a:prstDash val="solid"/>
              <a:miter/>
            </a:ln>
          </p:spPr>
          <p:txBody>
            <a:bodyPr rtlCol="0" anchor="ctr"/>
            <a:lstStyle/>
            <a:p>
              <a:endParaRPr lang="en-US"/>
            </a:p>
          </p:txBody>
        </p:sp>
        <p:sp>
          <p:nvSpPr>
            <p:cNvPr id="962" name="Freeform: Shape 961">
              <a:extLst>
                <a:ext uri="{FF2B5EF4-FFF2-40B4-BE49-F238E27FC236}">
                  <a16:creationId xmlns:a16="http://schemas.microsoft.com/office/drawing/2014/main" id="{11F529F0-346F-4703-978C-82DBAA405F6E}"/>
                </a:ext>
              </a:extLst>
            </p:cNvPr>
            <p:cNvSpPr/>
            <p:nvPr/>
          </p:nvSpPr>
          <p:spPr>
            <a:xfrm>
              <a:off x="5803639" y="6107373"/>
              <a:ext cx="464095" cy="469049"/>
            </a:xfrm>
            <a:custGeom>
              <a:avLst/>
              <a:gdLst>
                <a:gd name="connsiteX0" fmla="*/ 395904 w 395903"/>
                <a:gd name="connsiteY0" fmla="*/ 72605 h 72604"/>
                <a:gd name="connsiteX1" fmla="*/ 395904 w 395903"/>
                <a:gd name="connsiteY1" fmla="*/ 0 h 72604"/>
                <a:gd name="connsiteX2" fmla="*/ 34968 w 395903"/>
                <a:gd name="connsiteY2" fmla="*/ 0 h 72604"/>
                <a:gd name="connsiteX3" fmla="*/ 0 w 395903"/>
                <a:gd name="connsiteY3" fmla="*/ 536 h 72604"/>
                <a:gd name="connsiteX4" fmla="*/ 0 w 395903"/>
                <a:gd name="connsiteY4" fmla="*/ 72605 h 72604"/>
                <a:gd name="connsiteX5" fmla="*/ 34834 w 395903"/>
                <a:gd name="connsiteY5" fmla="*/ 72605 h 72604"/>
                <a:gd name="connsiteX6" fmla="*/ 395904 w 395903"/>
                <a:gd name="connsiteY6" fmla="*/ 72605 h 7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903" h="72604">
                  <a:moveTo>
                    <a:pt x="395904" y="72605"/>
                  </a:moveTo>
                  <a:lnTo>
                    <a:pt x="395904" y="0"/>
                  </a:lnTo>
                  <a:lnTo>
                    <a:pt x="34968" y="0"/>
                  </a:lnTo>
                  <a:lnTo>
                    <a:pt x="0" y="536"/>
                  </a:lnTo>
                  <a:lnTo>
                    <a:pt x="0" y="72605"/>
                  </a:lnTo>
                  <a:lnTo>
                    <a:pt x="34834" y="72605"/>
                  </a:lnTo>
                  <a:lnTo>
                    <a:pt x="395904" y="72605"/>
                  </a:lnTo>
                  <a:close/>
                </a:path>
              </a:pathLst>
            </a:custGeom>
            <a:solidFill>
              <a:schemeClr val="accent5">
                <a:lumMod val="50000"/>
              </a:schemeClr>
            </a:solidFill>
            <a:ln w="12700" cap="flat">
              <a:solidFill>
                <a:schemeClr val="tx1"/>
              </a:solidFill>
              <a:prstDash val="solid"/>
              <a:miter/>
            </a:ln>
          </p:spPr>
          <p:txBody>
            <a:bodyPr rtlCol="0" anchor="ctr"/>
            <a:lstStyle/>
            <a:p>
              <a:endParaRPr lang="en-US"/>
            </a:p>
          </p:txBody>
        </p:sp>
        <p:sp>
          <p:nvSpPr>
            <p:cNvPr id="963" name="Freeform: Shape 962">
              <a:extLst>
                <a:ext uri="{FF2B5EF4-FFF2-40B4-BE49-F238E27FC236}">
                  <a16:creationId xmlns:a16="http://schemas.microsoft.com/office/drawing/2014/main" id="{116CE612-E9A9-432D-AE3E-4541EBDD112B}"/>
                </a:ext>
              </a:extLst>
            </p:cNvPr>
            <p:cNvSpPr/>
            <p:nvPr/>
          </p:nvSpPr>
          <p:spPr>
            <a:xfrm>
              <a:off x="7620777" y="5652791"/>
              <a:ext cx="30010" cy="203614"/>
            </a:xfrm>
            <a:custGeom>
              <a:avLst/>
              <a:gdLst>
                <a:gd name="connsiteX0" fmla="*/ 30011 w 30010"/>
                <a:gd name="connsiteY0" fmla="*/ 10315 h 203614"/>
                <a:gd name="connsiteX1" fmla="*/ 30011 w 30010"/>
                <a:gd name="connsiteY1" fmla="*/ 0 h 203614"/>
                <a:gd name="connsiteX2" fmla="*/ 2143 w 30010"/>
                <a:gd name="connsiteY2" fmla="*/ 0 h 203614"/>
                <a:gd name="connsiteX3" fmla="*/ 0 w 30010"/>
                <a:gd name="connsiteY3" fmla="*/ 10984 h 203614"/>
                <a:gd name="connsiteX4" fmla="*/ 0 w 30010"/>
                <a:gd name="connsiteY4" fmla="*/ 203614 h 203614"/>
                <a:gd name="connsiteX5" fmla="*/ 30011 w 30010"/>
                <a:gd name="connsiteY5" fmla="*/ 203614 h 203614"/>
                <a:gd name="connsiteX6" fmla="*/ 30011 w 30010"/>
                <a:gd name="connsiteY6" fmla="*/ 10315 h 20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10" h="203614">
                  <a:moveTo>
                    <a:pt x="30011" y="10315"/>
                  </a:moveTo>
                  <a:lnTo>
                    <a:pt x="30011" y="0"/>
                  </a:lnTo>
                  <a:lnTo>
                    <a:pt x="2143" y="0"/>
                  </a:lnTo>
                  <a:lnTo>
                    <a:pt x="0" y="10984"/>
                  </a:lnTo>
                  <a:lnTo>
                    <a:pt x="0" y="203614"/>
                  </a:lnTo>
                  <a:lnTo>
                    <a:pt x="30011" y="203614"/>
                  </a:lnTo>
                  <a:lnTo>
                    <a:pt x="30011" y="10315"/>
                  </a:lnTo>
                  <a:close/>
                </a:path>
              </a:pathLst>
            </a:custGeom>
            <a:solidFill>
              <a:srgbClr val="7E121D"/>
            </a:solidFill>
            <a:ln w="12700" cap="flat">
              <a:noFill/>
              <a:prstDash val="solid"/>
              <a:miter/>
            </a:ln>
          </p:spPr>
          <p:txBody>
            <a:bodyPr rtlCol="0" anchor="ctr"/>
            <a:lstStyle/>
            <a:p>
              <a:endParaRPr lang="en-US"/>
            </a:p>
          </p:txBody>
        </p:sp>
        <p:sp>
          <p:nvSpPr>
            <p:cNvPr id="964" name="Freeform: Shape 963">
              <a:extLst>
                <a:ext uri="{FF2B5EF4-FFF2-40B4-BE49-F238E27FC236}">
                  <a16:creationId xmlns:a16="http://schemas.microsoft.com/office/drawing/2014/main" id="{412B2E6D-4E47-43E7-AED9-1038CD508BEF}"/>
                </a:ext>
              </a:extLst>
            </p:cNvPr>
            <p:cNvSpPr/>
            <p:nvPr/>
          </p:nvSpPr>
          <p:spPr>
            <a:xfrm>
              <a:off x="7906283" y="4791316"/>
              <a:ext cx="260318" cy="1016731"/>
            </a:xfrm>
            <a:custGeom>
              <a:avLst/>
              <a:gdLst>
                <a:gd name="connsiteX0" fmla="*/ 154074 w 260318"/>
                <a:gd name="connsiteY0" fmla="*/ 1016731 h 1016731"/>
                <a:gd name="connsiteX1" fmla="*/ 154074 w 260318"/>
                <a:gd name="connsiteY1" fmla="*/ 202275 h 1016731"/>
                <a:gd name="connsiteX2" fmla="*/ 154074 w 260318"/>
                <a:gd name="connsiteY2" fmla="*/ 202275 h 1016731"/>
                <a:gd name="connsiteX3" fmla="*/ 154074 w 260318"/>
                <a:gd name="connsiteY3" fmla="*/ 200935 h 1016731"/>
                <a:gd name="connsiteX4" fmla="*/ 154074 w 260318"/>
                <a:gd name="connsiteY4" fmla="*/ 199462 h 1016731"/>
                <a:gd name="connsiteX5" fmla="*/ 154074 w 260318"/>
                <a:gd name="connsiteY5" fmla="*/ 199462 h 1016731"/>
                <a:gd name="connsiteX6" fmla="*/ 161175 w 260318"/>
                <a:gd name="connsiteY6" fmla="*/ 182449 h 1016731"/>
                <a:gd name="connsiteX7" fmla="*/ 161175 w 260318"/>
                <a:gd name="connsiteY7" fmla="*/ 182449 h 1016731"/>
                <a:gd name="connsiteX8" fmla="*/ 162783 w 260318"/>
                <a:gd name="connsiteY8" fmla="*/ 180172 h 1016731"/>
                <a:gd name="connsiteX9" fmla="*/ 163988 w 260318"/>
                <a:gd name="connsiteY9" fmla="*/ 179368 h 1016731"/>
                <a:gd name="connsiteX10" fmla="*/ 165195 w 260318"/>
                <a:gd name="connsiteY10" fmla="*/ 178564 h 1016731"/>
                <a:gd name="connsiteX11" fmla="*/ 168008 w 260318"/>
                <a:gd name="connsiteY11" fmla="*/ 178564 h 1016731"/>
                <a:gd name="connsiteX12" fmla="*/ 260318 w 260318"/>
                <a:gd name="connsiteY12" fmla="*/ 178564 h 1016731"/>
                <a:gd name="connsiteX13" fmla="*/ 260318 w 260318"/>
                <a:gd name="connsiteY13" fmla="*/ 0 h 1016731"/>
                <a:gd name="connsiteX14" fmla="*/ 4287 w 260318"/>
                <a:gd name="connsiteY14" fmla="*/ 0 h 1016731"/>
                <a:gd name="connsiteX15" fmla="*/ 0 w 260318"/>
                <a:gd name="connsiteY15" fmla="*/ 16343 h 1016731"/>
                <a:gd name="connsiteX16" fmla="*/ 0 w 260318"/>
                <a:gd name="connsiteY16" fmla="*/ 1016731 h 101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0318" h="1016731">
                  <a:moveTo>
                    <a:pt x="154074" y="1016731"/>
                  </a:moveTo>
                  <a:lnTo>
                    <a:pt x="154074" y="202275"/>
                  </a:lnTo>
                  <a:lnTo>
                    <a:pt x="154074" y="202275"/>
                  </a:lnTo>
                  <a:cubicBezTo>
                    <a:pt x="154007" y="201830"/>
                    <a:pt x="154007" y="201380"/>
                    <a:pt x="154074" y="200935"/>
                  </a:cubicBezTo>
                  <a:cubicBezTo>
                    <a:pt x="154074" y="200935"/>
                    <a:pt x="154074" y="199997"/>
                    <a:pt x="154074" y="199462"/>
                  </a:cubicBezTo>
                  <a:lnTo>
                    <a:pt x="154074" y="199462"/>
                  </a:lnTo>
                  <a:lnTo>
                    <a:pt x="161175" y="182449"/>
                  </a:lnTo>
                  <a:lnTo>
                    <a:pt x="161175" y="182449"/>
                  </a:lnTo>
                  <a:cubicBezTo>
                    <a:pt x="161591" y="181609"/>
                    <a:pt x="162126" y="180842"/>
                    <a:pt x="162783" y="180172"/>
                  </a:cubicBezTo>
                  <a:lnTo>
                    <a:pt x="163988" y="179368"/>
                  </a:lnTo>
                  <a:cubicBezTo>
                    <a:pt x="163988" y="179368"/>
                    <a:pt x="164658" y="178698"/>
                    <a:pt x="165195" y="178564"/>
                  </a:cubicBezTo>
                  <a:cubicBezTo>
                    <a:pt x="166119" y="178347"/>
                    <a:pt x="167084" y="178347"/>
                    <a:pt x="168008" y="178564"/>
                  </a:cubicBezTo>
                  <a:lnTo>
                    <a:pt x="260318" y="178564"/>
                  </a:lnTo>
                  <a:lnTo>
                    <a:pt x="260318" y="0"/>
                  </a:lnTo>
                  <a:lnTo>
                    <a:pt x="4287" y="0"/>
                  </a:lnTo>
                  <a:lnTo>
                    <a:pt x="0" y="16343"/>
                  </a:lnTo>
                  <a:lnTo>
                    <a:pt x="0" y="1016731"/>
                  </a:lnTo>
                  <a:close/>
                </a:path>
              </a:pathLst>
            </a:custGeom>
            <a:solidFill>
              <a:schemeClr val="bg1">
                <a:lumMod val="95000"/>
              </a:schemeClr>
            </a:solidFill>
            <a:ln w="12700" cap="flat">
              <a:noFill/>
              <a:prstDash val="solid"/>
              <a:miter/>
            </a:ln>
          </p:spPr>
          <p:txBody>
            <a:bodyPr rtlCol="0" anchor="ctr"/>
            <a:lstStyle/>
            <a:p>
              <a:endParaRPr lang="en-US"/>
            </a:p>
          </p:txBody>
        </p:sp>
        <p:sp>
          <p:nvSpPr>
            <p:cNvPr id="965" name="Freeform: Shape 964">
              <a:extLst>
                <a:ext uri="{FF2B5EF4-FFF2-40B4-BE49-F238E27FC236}">
                  <a16:creationId xmlns:a16="http://schemas.microsoft.com/office/drawing/2014/main" id="{1F3A8809-F3A4-474B-BD25-E38BC9A1ED61}"/>
                </a:ext>
              </a:extLst>
            </p:cNvPr>
            <p:cNvSpPr/>
            <p:nvPr/>
          </p:nvSpPr>
          <p:spPr>
            <a:xfrm>
              <a:off x="9332340" y="5770539"/>
              <a:ext cx="146839" cy="747880"/>
            </a:xfrm>
            <a:custGeom>
              <a:avLst/>
              <a:gdLst>
                <a:gd name="connsiteX0" fmla="*/ 146840 w 146839"/>
                <a:gd name="connsiteY0" fmla="*/ 747880 h 747880"/>
                <a:gd name="connsiteX1" fmla="*/ 146840 w 146839"/>
                <a:gd name="connsiteY1" fmla="*/ 747746 h 747880"/>
                <a:gd name="connsiteX2" fmla="*/ 146840 w 146839"/>
                <a:gd name="connsiteY2" fmla="*/ 742790 h 747880"/>
                <a:gd name="connsiteX3" fmla="*/ 146840 w 146839"/>
                <a:gd name="connsiteY3" fmla="*/ 741584 h 747880"/>
                <a:gd name="connsiteX4" fmla="*/ 146840 w 146839"/>
                <a:gd name="connsiteY4" fmla="*/ 0 h 747880"/>
                <a:gd name="connsiteX5" fmla="*/ 0 w 146839"/>
                <a:gd name="connsiteY5" fmla="*/ 0 h 747880"/>
                <a:gd name="connsiteX6" fmla="*/ 0 w 146839"/>
                <a:gd name="connsiteY6" fmla="*/ 747880 h 747880"/>
                <a:gd name="connsiteX7" fmla="*/ 146840 w 146839"/>
                <a:gd name="connsiteY7" fmla="*/ 747880 h 74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39" h="747880">
                  <a:moveTo>
                    <a:pt x="146840" y="747880"/>
                  </a:moveTo>
                  <a:lnTo>
                    <a:pt x="146840" y="747746"/>
                  </a:lnTo>
                  <a:lnTo>
                    <a:pt x="146840" y="742790"/>
                  </a:lnTo>
                  <a:lnTo>
                    <a:pt x="146840" y="741584"/>
                  </a:lnTo>
                  <a:lnTo>
                    <a:pt x="146840" y="0"/>
                  </a:lnTo>
                  <a:lnTo>
                    <a:pt x="0" y="0"/>
                  </a:lnTo>
                  <a:lnTo>
                    <a:pt x="0" y="747880"/>
                  </a:lnTo>
                  <a:lnTo>
                    <a:pt x="146840" y="747880"/>
                  </a:lnTo>
                  <a:close/>
                </a:path>
              </a:pathLst>
            </a:custGeom>
            <a:solidFill>
              <a:schemeClr val="accent5">
                <a:lumMod val="50000"/>
              </a:schemeClr>
            </a:solidFill>
            <a:ln w="12700" cap="flat">
              <a:noFill/>
              <a:prstDash val="solid"/>
              <a:miter/>
            </a:ln>
          </p:spPr>
          <p:txBody>
            <a:bodyPr rtlCol="0" anchor="ctr"/>
            <a:lstStyle/>
            <a:p>
              <a:endParaRPr lang="en-US"/>
            </a:p>
          </p:txBody>
        </p:sp>
        <p:sp>
          <p:nvSpPr>
            <p:cNvPr id="966" name="Freeform: Shape 965">
              <a:extLst>
                <a:ext uri="{FF2B5EF4-FFF2-40B4-BE49-F238E27FC236}">
                  <a16:creationId xmlns:a16="http://schemas.microsoft.com/office/drawing/2014/main" id="{582408F3-3381-4456-A492-84123D11170D}"/>
                </a:ext>
              </a:extLst>
            </p:cNvPr>
            <p:cNvSpPr/>
            <p:nvPr/>
          </p:nvSpPr>
          <p:spPr>
            <a:xfrm>
              <a:off x="8916474" y="5463376"/>
              <a:ext cx="17685" cy="1056516"/>
            </a:xfrm>
            <a:custGeom>
              <a:avLst/>
              <a:gdLst>
                <a:gd name="connsiteX0" fmla="*/ 0 w 17685"/>
                <a:gd name="connsiteY0" fmla="*/ 1055847 h 1056516"/>
                <a:gd name="connsiteX1" fmla="*/ 17685 w 17685"/>
                <a:gd name="connsiteY1" fmla="*/ 1056516 h 1056516"/>
                <a:gd name="connsiteX2" fmla="*/ 17685 w 17685"/>
                <a:gd name="connsiteY2" fmla="*/ 0 h 1056516"/>
                <a:gd name="connsiteX3" fmla="*/ 0 w 17685"/>
                <a:gd name="connsiteY3" fmla="*/ 12190 h 1056516"/>
                <a:gd name="connsiteX4" fmla="*/ 0 w 17685"/>
                <a:gd name="connsiteY4" fmla="*/ 166106 h 1056516"/>
                <a:gd name="connsiteX5" fmla="*/ 0 w 17685"/>
                <a:gd name="connsiteY5" fmla="*/ 1054909 h 1056516"/>
                <a:gd name="connsiteX6" fmla="*/ 0 w 17685"/>
                <a:gd name="connsiteY6" fmla="*/ 1055847 h 105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85" h="1056516">
                  <a:moveTo>
                    <a:pt x="0" y="1055847"/>
                  </a:moveTo>
                  <a:lnTo>
                    <a:pt x="17685" y="1056516"/>
                  </a:lnTo>
                  <a:lnTo>
                    <a:pt x="17685" y="0"/>
                  </a:lnTo>
                  <a:lnTo>
                    <a:pt x="0" y="12190"/>
                  </a:lnTo>
                  <a:lnTo>
                    <a:pt x="0" y="166106"/>
                  </a:lnTo>
                  <a:lnTo>
                    <a:pt x="0" y="1054909"/>
                  </a:lnTo>
                  <a:lnTo>
                    <a:pt x="0" y="1055847"/>
                  </a:lnTo>
                  <a:close/>
                </a:path>
              </a:pathLst>
            </a:custGeom>
            <a:solidFill>
              <a:srgbClr val="7E121D"/>
            </a:solidFill>
            <a:ln w="12700" cap="flat">
              <a:noFill/>
              <a:prstDash val="solid"/>
              <a:miter/>
            </a:ln>
          </p:spPr>
          <p:txBody>
            <a:bodyPr rtlCol="0" anchor="ctr"/>
            <a:lstStyle/>
            <a:p>
              <a:endParaRPr lang="en-US"/>
            </a:p>
          </p:txBody>
        </p:sp>
        <p:sp>
          <p:nvSpPr>
            <p:cNvPr id="967" name="Freeform: Shape 966">
              <a:extLst>
                <a:ext uri="{FF2B5EF4-FFF2-40B4-BE49-F238E27FC236}">
                  <a16:creationId xmlns:a16="http://schemas.microsoft.com/office/drawing/2014/main" id="{130BFFEF-36E1-47B3-BA25-9422271FD910}"/>
                </a:ext>
              </a:extLst>
            </p:cNvPr>
            <p:cNvSpPr/>
            <p:nvPr/>
          </p:nvSpPr>
          <p:spPr>
            <a:xfrm>
              <a:off x="8936704" y="5460965"/>
              <a:ext cx="380898" cy="1058927"/>
            </a:xfrm>
            <a:custGeom>
              <a:avLst/>
              <a:gdLst>
                <a:gd name="connsiteX0" fmla="*/ 380898 w 380898"/>
                <a:gd name="connsiteY0" fmla="*/ 1058928 h 1058927"/>
                <a:gd name="connsiteX1" fmla="*/ 380898 w 380898"/>
                <a:gd name="connsiteY1" fmla="*/ 1058660 h 1058927"/>
                <a:gd name="connsiteX2" fmla="*/ 380898 w 380898"/>
                <a:gd name="connsiteY2" fmla="*/ 302206 h 1058927"/>
                <a:gd name="connsiteX3" fmla="*/ 380898 w 380898"/>
                <a:gd name="connsiteY3" fmla="*/ 0 h 1058927"/>
                <a:gd name="connsiteX4" fmla="*/ 1071 w 380898"/>
                <a:gd name="connsiteY4" fmla="*/ 0 h 1058927"/>
                <a:gd name="connsiteX5" fmla="*/ 0 w 380898"/>
                <a:gd name="connsiteY5" fmla="*/ 670 h 1058927"/>
                <a:gd name="connsiteX6" fmla="*/ 0 w 380898"/>
                <a:gd name="connsiteY6" fmla="*/ 1058928 h 1058927"/>
                <a:gd name="connsiteX7" fmla="*/ 380898 w 380898"/>
                <a:gd name="connsiteY7" fmla="*/ 1058928 h 105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898" h="1058927">
                  <a:moveTo>
                    <a:pt x="380898" y="1058928"/>
                  </a:moveTo>
                  <a:lnTo>
                    <a:pt x="380898" y="1058660"/>
                  </a:lnTo>
                  <a:lnTo>
                    <a:pt x="380898" y="302206"/>
                  </a:lnTo>
                  <a:lnTo>
                    <a:pt x="380898" y="0"/>
                  </a:lnTo>
                  <a:lnTo>
                    <a:pt x="1071" y="0"/>
                  </a:lnTo>
                  <a:lnTo>
                    <a:pt x="0" y="670"/>
                  </a:lnTo>
                  <a:lnTo>
                    <a:pt x="0" y="1058928"/>
                  </a:lnTo>
                  <a:lnTo>
                    <a:pt x="380898" y="1058928"/>
                  </a:lnTo>
                  <a:close/>
                </a:path>
              </a:pathLst>
            </a:custGeom>
            <a:solidFill>
              <a:schemeClr val="accent2"/>
            </a:solidFill>
            <a:ln w="12700" cap="flat">
              <a:noFill/>
              <a:prstDash val="solid"/>
              <a:miter/>
            </a:ln>
          </p:spPr>
          <p:txBody>
            <a:bodyPr rtlCol="0" anchor="ctr"/>
            <a:lstStyle/>
            <a:p>
              <a:endParaRPr lang="en-US"/>
            </a:p>
          </p:txBody>
        </p:sp>
        <p:sp>
          <p:nvSpPr>
            <p:cNvPr id="968" name="Freeform: Shape 967">
              <a:extLst>
                <a:ext uri="{FF2B5EF4-FFF2-40B4-BE49-F238E27FC236}">
                  <a16:creationId xmlns:a16="http://schemas.microsoft.com/office/drawing/2014/main" id="{DC4A3764-75C1-4B21-98A1-76E8FF07AC9E}"/>
                </a:ext>
              </a:extLst>
            </p:cNvPr>
            <p:cNvSpPr/>
            <p:nvPr/>
          </p:nvSpPr>
          <p:spPr>
            <a:xfrm>
              <a:off x="8872260" y="5638860"/>
              <a:ext cx="15006" cy="872058"/>
            </a:xfrm>
            <a:custGeom>
              <a:avLst/>
              <a:gdLst>
                <a:gd name="connsiteX0" fmla="*/ 15006 w 15006"/>
                <a:gd name="connsiteY0" fmla="*/ 0 h 872058"/>
                <a:gd name="connsiteX1" fmla="*/ 0 w 15006"/>
                <a:gd name="connsiteY1" fmla="*/ 8707 h 872058"/>
                <a:gd name="connsiteX2" fmla="*/ 0 w 15006"/>
                <a:gd name="connsiteY2" fmla="*/ 872058 h 872058"/>
                <a:gd name="connsiteX3" fmla="*/ 15006 w 15006"/>
                <a:gd name="connsiteY3" fmla="*/ 872058 h 872058"/>
                <a:gd name="connsiteX4" fmla="*/ 15006 w 15006"/>
                <a:gd name="connsiteY4" fmla="*/ 0 h 872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872058">
                  <a:moveTo>
                    <a:pt x="15006" y="0"/>
                  </a:moveTo>
                  <a:lnTo>
                    <a:pt x="0" y="8707"/>
                  </a:lnTo>
                  <a:lnTo>
                    <a:pt x="0" y="872058"/>
                  </a:lnTo>
                  <a:lnTo>
                    <a:pt x="15006" y="872058"/>
                  </a:lnTo>
                  <a:lnTo>
                    <a:pt x="15006" y="0"/>
                  </a:lnTo>
                  <a:close/>
                </a:path>
              </a:pathLst>
            </a:custGeom>
            <a:solidFill>
              <a:schemeClr val="accent5">
                <a:lumMod val="50000"/>
              </a:schemeClr>
            </a:solidFill>
            <a:ln w="12700" cap="flat">
              <a:noFill/>
              <a:prstDash val="solid"/>
              <a:miter/>
            </a:ln>
          </p:spPr>
          <p:txBody>
            <a:bodyPr rtlCol="0" anchor="ctr"/>
            <a:lstStyle/>
            <a:p>
              <a:endParaRPr lang="en-US"/>
            </a:p>
          </p:txBody>
        </p:sp>
        <p:sp>
          <p:nvSpPr>
            <p:cNvPr id="969" name="Freeform: Shape 968">
              <a:extLst>
                <a:ext uri="{FF2B5EF4-FFF2-40B4-BE49-F238E27FC236}">
                  <a16:creationId xmlns:a16="http://schemas.microsoft.com/office/drawing/2014/main" id="{8B667069-B551-472E-B243-D27A1983B068}"/>
                </a:ext>
              </a:extLst>
            </p:cNvPr>
            <p:cNvSpPr/>
            <p:nvPr/>
          </p:nvSpPr>
          <p:spPr>
            <a:xfrm>
              <a:off x="8889812" y="5636850"/>
              <a:ext cx="11923" cy="874067"/>
            </a:xfrm>
            <a:custGeom>
              <a:avLst/>
              <a:gdLst>
                <a:gd name="connsiteX0" fmla="*/ 0 w 11923"/>
                <a:gd name="connsiteY0" fmla="*/ 874067 h 874067"/>
                <a:gd name="connsiteX1" fmla="*/ 11923 w 11923"/>
                <a:gd name="connsiteY1" fmla="*/ 874067 h 874067"/>
                <a:gd name="connsiteX2" fmla="*/ 11923 w 11923"/>
                <a:gd name="connsiteY2" fmla="*/ 0 h 874067"/>
                <a:gd name="connsiteX3" fmla="*/ 804 w 11923"/>
                <a:gd name="connsiteY3" fmla="*/ 0 h 874067"/>
                <a:gd name="connsiteX4" fmla="*/ 0 w 11923"/>
                <a:gd name="connsiteY4" fmla="*/ 402 h 874067"/>
                <a:gd name="connsiteX5" fmla="*/ 0 w 11923"/>
                <a:gd name="connsiteY5" fmla="*/ 874067 h 8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23" h="874067">
                  <a:moveTo>
                    <a:pt x="0" y="874067"/>
                  </a:moveTo>
                  <a:lnTo>
                    <a:pt x="11923" y="874067"/>
                  </a:lnTo>
                  <a:lnTo>
                    <a:pt x="11923" y="0"/>
                  </a:lnTo>
                  <a:lnTo>
                    <a:pt x="804" y="0"/>
                  </a:lnTo>
                  <a:lnTo>
                    <a:pt x="0" y="402"/>
                  </a:lnTo>
                  <a:lnTo>
                    <a:pt x="0" y="874067"/>
                  </a:lnTo>
                  <a:close/>
                </a:path>
              </a:pathLst>
            </a:custGeom>
            <a:solidFill>
              <a:srgbClr val="7E121D"/>
            </a:solidFill>
            <a:ln w="12700" cap="flat">
              <a:noFill/>
              <a:prstDash val="solid"/>
              <a:miter/>
            </a:ln>
          </p:spPr>
          <p:txBody>
            <a:bodyPr rtlCol="0" anchor="ctr"/>
            <a:lstStyle/>
            <a:p>
              <a:endParaRPr lang="en-US"/>
            </a:p>
          </p:txBody>
        </p:sp>
        <p:sp>
          <p:nvSpPr>
            <p:cNvPr id="970" name="Freeform: Shape 969">
              <a:extLst>
                <a:ext uri="{FF2B5EF4-FFF2-40B4-BE49-F238E27FC236}">
                  <a16:creationId xmlns:a16="http://schemas.microsoft.com/office/drawing/2014/main" id="{1DC74F7F-15FF-4F6A-A9E7-EC98CACAFBE0}"/>
                </a:ext>
              </a:extLst>
            </p:cNvPr>
            <p:cNvSpPr/>
            <p:nvPr/>
          </p:nvSpPr>
          <p:spPr>
            <a:xfrm>
              <a:off x="8363012" y="6517348"/>
              <a:ext cx="366562" cy="336499"/>
            </a:xfrm>
            <a:custGeom>
              <a:avLst/>
              <a:gdLst>
                <a:gd name="connsiteX0" fmla="*/ 366562 w 366562"/>
                <a:gd name="connsiteY0" fmla="*/ 2545 h 336499"/>
                <a:gd name="connsiteX1" fmla="*/ 366562 w 366562"/>
                <a:gd name="connsiteY1" fmla="*/ 938 h 336499"/>
                <a:gd name="connsiteX2" fmla="*/ 339365 w 366562"/>
                <a:gd name="connsiteY2" fmla="*/ 0 h 336499"/>
                <a:gd name="connsiteX3" fmla="*/ 331594 w 366562"/>
                <a:gd name="connsiteY3" fmla="*/ 0 h 336499"/>
                <a:gd name="connsiteX4" fmla="*/ 0 w 366562"/>
                <a:gd name="connsiteY4" fmla="*/ 0 h 336499"/>
                <a:gd name="connsiteX5" fmla="*/ 0 w 366562"/>
                <a:gd name="connsiteY5" fmla="*/ 336499 h 336499"/>
                <a:gd name="connsiteX6" fmla="*/ 366562 w 366562"/>
                <a:gd name="connsiteY6" fmla="*/ 336499 h 336499"/>
                <a:gd name="connsiteX7" fmla="*/ 366562 w 366562"/>
                <a:gd name="connsiteY7" fmla="*/ 4420 h 336499"/>
                <a:gd name="connsiteX8" fmla="*/ 366562 w 366562"/>
                <a:gd name="connsiteY8" fmla="*/ 2545 h 3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562" h="336499">
                  <a:moveTo>
                    <a:pt x="366562" y="2545"/>
                  </a:moveTo>
                  <a:lnTo>
                    <a:pt x="366562" y="938"/>
                  </a:lnTo>
                  <a:lnTo>
                    <a:pt x="339365" y="0"/>
                  </a:lnTo>
                  <a:lnTo>
                    <a:pt x="331594" y="0"/>
                  </a:lnTo>
                  <a:lnTo>
                    <a:pt x="0" y="0"/>
                  </a:lnTo>
                  <a:lnTo>
                    <a:pt x="0" y="336499"/>
                  </a:lnTo>
                  <a:lnTo>
                    <a:pt x="366562" y="336499"/>
                  </a:lnTo>
                  <a:lnTo>
                    <a:pt x="366562" y="4420"/>
                  </a:lnTo>
                  <a:lnTo>
                    <a:pt x="366562" y="2545"/>
                  </a:lnTo>
                  <a:close/>
                </a:path>
              </a:pathLst>
            </a:custGeom>
            <a:solidFill>
              <a:schemeClr val="accent5">
                <a:lumMod val="50000"/>
              </a:schemeClr>
            </a:solidFill>
            <a:ln w="12700" cap="flat">
              <a:noFill/>
              <a:prstDash val="solid"/>
              <a:miter/>
            </a:ln>
          </p:spPr>
          <p:txBody>
            <a:bodyPr rtlCol="0" anchor="ctr"/>
            <a:lstStyle/>
            <a:p>
              <a:endParaRPr lang="en-US"/>
            </a:p>
          </p:txBody>
        </p:sp>
        <p:sp>
          <p:nvSpPr>
            <p:cNvPr id="971" name="Freeform: Shape 970">
              <a:extLst>
                <a:ext uri="{FF2B5EF4-FFF2-40B4-BE49-F238E27FC236}">
                  <a16:creationId xmlns:a16="http://schemas.microsoft.com/office/drawing/2014/main" id="{42633EFE-A3AB-41DD-8A0D-43C6CFF32B3D}"/>
                </a:ext>
              </a:extLst>
            </p:cNvPr>
            <p:cNvSpPr/>
            <p:nvPr/>
          </p:nvSpPr>
          <p:spPr>
            <a:xfrm>
              <a:off x="8363012" y="5638056"/>
              <a:ext cx="377012" cy="169991"/>
            </a:xfrm>
            <a:custGeom>
              <a:avLst/>
              <a:gdLst>
                <a:gd name="connsiteX0" fmla="*/ 377012 w 377012"/>
                <a:gd name="connsiteY0" fmla="*/ 169991 h 169991"/>
                <a:gd name="connsiteX1" fmla="*/ 377012 w 377012"/>
                <a:gd name="connsiteY1" fmla="*/ 0 h 169991"/>
                <a:gd name="connsiteX2" fmla="*/ 279075 w 377012"/>
                <a:gd name="connsiteY2" fmla="*/ 0 h 169991"/>
                <a:gd name="connsiteX3" fmla="*/ 230709 w 377012"/>
                <a:gd name="connsiteY3" fmla="*/ 0 h 169991"/>
                <a:gd name="connsiteX4" fmla="*/ 106780 w 377012"/>
                <a:gd name="connsiteY4" fmla="*/ 0 h 169991"/>
                <a:gd name="connsiteX5" fmla="*/ 65514 w 377012"/>
                <a:gd name="connsiteY5" fmla="*/ 0 h 169991"/>
                <a:gd name="connsiteX6" fmla="*/ 0 w 377012"/>
                <a:gd name="connsiteY6" fmla="*/ 0 h 169991"/>
                <a:gd name="connsiteX7" fmla="*/ 0 w 377012"/>
                <a:gd name="connsiteY7" fmla="*/ 169991 h 169991"/>
                <a:gd name="connsiteX8" fmla="*/ 377012 w 377012"/>
                <a:gd name="connsiteY8" fmla="*/ 169991 h 16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012" h="169991">
                  <a:moveTo>
                    <a:pt x="377012" y="169991"/>
                  </a:moveTo>
                  <a:lnTo>
                    <a:pt x="377012" y="0"/>
                  </a:lnTo>
                  <a:lnTo>
                    <a:pt x="279075" y="0"/>
                  </a:lnTo>
                  <a:lnTo>
                    <a:pt x="230709" y="0"/>
                  </a:lnTo>
                  <a:lnTo>
                    <a:pt x="106780" y="0"/>
                  </a:lnTo>
                  <a:lnTo>
                    <a:pt x="65514" y="0"/>
                  </a:lnTo>
                  <a:lnTo>
                    <a:pt x="0" y="0"/>
                  </a:lnTo>
                  <a:lnTo>
                    <a:pt x="0" y="169991"/>
                  </a:lnTo>
                  <a:lnTo>
                    <a:pt x="377012" y="169991"/>
                  </a:ln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972" name="Freeform: Shape 971">
              <a:extLst>
                <a:ext uri="{FF2B5EF4-FFF2-40B4-BE49-F238E27FC236}">
                  <a16:creationId xmlns:a16="http://schemas.microsoft.com/office/drawing/2014/main" id="{62A99F22-7878-4ADF-9497-A56314990D1E}"/>
                </a:ext>
              </a:extLst>
            </p:cNvPr>
            <p:cNvSpPr/>
            <p:nvPr/>
          </p:nvSpPr>
          <p:spPr>
            <a:xfrm>
              <a:off x="8754093" y="6145618"/>
              <a:ext cx="10315" cy="2411"/>
            </a:xfrm>
            <a:custGeom>
              <a:avLst/>
              <a:gdLst>
                <a:gd name="connsiteX0" fmla="*/ 536 w 10315"/>
                <a:gd name="connsiteY0" fmla="*/ 2411 h 2411"/>
                <a:gd name="connsiteX1" fmla="*/ 10316 w 10315"/>
                <a:gd name="connsiteY1" fmla="*/ 0 h 2411"/>
                <a:gd name="connsiteX2" fmla="*/ 0 w 10315"/>
                <a:gd name="connsiteY2" fmla="*/ 0 h 2411"/>
                <a:gd name="connsiteX3" fmla="*/ 536 w 10315"/>
                <a:gd name="connsiteY3" fmla="*/ 2411 h 2411"/>
              </a:gdLst>
              <a:ahLst/>
              <a:cxnLst>
                <a:cxn ang="0">
                  <a:pos x="connsiteX0" y="connsiteY0"/>
                </a:cxn>
                <a:cxn ang="0">
                  <a:pos x="connsiteX1" y="connsiteY1"/>
                </a:cxn>
                <a:cxn ang="0">
                  <a:pos x="connsiteX2" y="connsiteY2"/>
                </a:cxn>
                <a:cxn ang="0">
                  <a:pos x="connsiteX3" y="connsiteY3"/>
                </a:cxn>
              </a:cxnLst>
              <a:rect l="l" t="t" r="r" b="b"/>
              <a:pathLst>
                <a:path w="10315" h="2411">
                  <a:moveTo>
                    <a:pt x="536" y="2411"/>
                  </a:moveTo>
                  <a:lnTo>
                    <a:pt x="10316" y="0"/>
                  </a:lnTo>
                  <a:lnTo>
                    <a:pt x="0" y="0"/>
                  </a:lnTo>
                  <a:cubicBezTo>
                    <a:pt x="241" y="790"/>
                    <a:pt x="428" y="1594"/>
                    <a:pt x="536" y="2411"/>
                  </a:cubicBezTo>
                  <a:close/>
                </a:path>
              </a:pathLst>
            </a:custGeom>
            <a:solidFill>
              <a:srgbClr val="088A8F"/>
            </a:solidFill>
            <a:ln w="12700"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76BBBAFA-1E15-4010-97BB-B179A5A202B9}"/>
                </a:ext>
              </a:extLst>
            </p:cNvPr>
            <p:cNvSpPr/>
            <p:nvPr/>
          </p:nvSpPr>
          <p:spPr>
            <a:xfrm>
              <a:off x="8701976" y="6146154"/>
              <a:ext cx="38852" cy="357530"/>
            </a:xfrm>
            <a:custGeom>
              <a:avLst/>
              <a:gdLst>
                <a:gd name="connsiteX0" fmla="*/ 38853 w 38852"/>
                <a:gd name="connsiteY0" fmla="*/ 0 h 357530"/>
                <a:gd name="connsiteX1" fmla="*/ 0 w 38852"/>
                <a:gd name="connsiteY1" fmla="*/ 0 h 357530"/>
                <a:gd name="connsiteX2" fmla="*/ 0 w 38852"/>
                <a:gd name="connsiteY2" fmla="*/ 356459 h 357530"/>
                <a:gd name="connsiteX3" fmla="*/ 804 w 38852"/>
                <a:gd name="connsiteY3" fmla="*/ 356459 h 357530"/>
                <a:gd name="connsiteX4" fmla="*/ 35102 w 38852"/>
                <a:gd name="connsiteY4" fmla="*/ 357530 h 357530"/>
                <a:gd name="connsiteX5" fmla="*/ 36442 w 38852"/>
                <a:gd name="connsiteY5" fmla="*/ 357530 h 357530"/>
                <a:gd name="connsiteX6" fmla="*/ 37916 w 38852"/>
                <a:gd name="connsiteY6" fmla="*/ 357530 h 357530"/>
                <a:gd name="connsiteX7" fmla="*/ 37916 w 38852"/>
                <a:gd name="connsiteY7" fmla="*/ 357530 h 357530"/>
                <a:gd name="connsiteX8" fmla="*/ 37916 w 38852"/>
                <a:gd name="connsiteY8" fmla="*/ 3081 h 357530"/>
                <a:gd name="connsiteX9" fmla="*/ 38853 w 38852"/>
                <a:gd name="connsiteY9" fmla="*/ 0 h 3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52" h="357530">
                  <a:moveTo>
                    <a:pt x="38853" y="0"/>
                  </a:moveTo>
                  <a:lnTo>
                    <a:pt x="0" y="0"/>
                  </a:lnTo>
                  <a:lnTo>
                    <a:pt x="0" y="356459"/>
                  </a:lnTo>
                  <a:lnTo>
                    <a:pt x="804" y="356459"/>
                  </a:lnTo>
                  <a:lnTo>
                    <a:pt x="35102" y="357530"/>
                  </a:lnTo>
                  <a:lnTo>
                    <a:pt x="36442" y="357530"/>
                  </a:lnTo>
                  <a:lnTo>
                    <a:pt x="37916" y="357530"/>
                  </a:lnTo>
                  <a:lnTo>
                    <a:pt x="37916" y="357530"/>
                  </a:lnTo>
                  <a:lnTo>
                    <a:pt x="37916" y="3081"/>
                  </a:lnTo>
                  <a:cubicBezTo>
                    <a:pt x="37956" y="1983"/>
                    <a:pt x="38277" y="924"/>
                    <a:pt x="38853" y="0"/>
                  </a:cubicBezTo>
                  <a:close/>
                </a:path>
              </a:pathLst>
            </a:custGeom>
            <a:solidFill>
              <a:srgbClr val="088A8F"/>
            </a:solidFill>
            <a:ln w="12700"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82F54E79-6B0B-4DDF-9AB3-4D53627023C5}"/>
                </a:ext>
              </a:extLst>
            </p:cNvPr>
            <p:cNvSpPr/>
            <p:nvPr/>
          </p:nvSpPr>
          <p:spPr>
            <a:xfrm>
              <a:off x="7614747" y="5877838"/>
              <a:ext cx="803" cy="292025"/>
            </a:xfrm>
            <a:custGeom>
              <a:avLst/>
              <a:gdLst>
                <a:gd name="connsiteX0" fmla="*/ 804 w 803"/>
                <a:gd name="connsiteY0" fmla="*/ 292026 h 292025"/>
                <a:gd name="connsiteX1" fmla="*/ 804 w 803"/>
                <a:gd name="connsiteY1" fmla="*/ 0 h 292025"/>
                <a:gd name="connsiteX2" fmla="*/ 0 w 803"/>
                <a:gd name="connsiteY2" fmla="*/ 0 h 292025"/>
                <a:gd name="connsiteX3" fmla="*/ 0 w 803"/>
                <a:gd name="connsiteY3" fmla="*/ 291892 h 292025"/>
              </a:gdLst>
              <a:ahLst/>
              <a:cxnLst>
                <a:cxn ang="0">
                  <a:pos x="connsiteX0" y="connsiteY0"/>
                </a:cxn>
                <a:cxn ang="0">
                  <a:pos x="connsiteX1" y="connsiteY1"/>
                </a:cxn>
                <a:cxn ang="0">
                  <a:pos x="connsiteX2" y="connsiteY2"/>
                </a:cxn>
                <a:cxn ang="0">
                  <a:pos x="connsiteX3" y="connsiteY3"/>
                </a:cxn>
              </a:cxnLst>
              <a:rect l="l" t="t" r="r" b="b"/>
              <a:pathLst>
                <a:path w="803" h="292025">
                  <a:moveTo>
                    <a:pt x="804" y="292026"/>
                  </a:moveTo>
                  <a:lnTo>
                    <a:pt x="804" y="0"/>
                  </a:lnTo>
                  <a:lnTo>
                    <a:pt x="0" y="0"/>
                  </a:lnTo>
                  <a:lnTo>
                    <a:pt x="0" y="291892"/>
                  </a:lnTo>
                  <a:close/>
                </a:path>
              </a:pathLst>
            </a:custGeom>
            <a:solidFill>
              <a:srgbClr val="F2494C"/>
            </a:solidFill>
            <a:ln w="12700"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73ED1CAB-15F2-4DB1-86ED-6812ACCD0F85}"/>
                </a:ext>
              </a:extLst>
            </p:cNvPr>
            <p:cNvSpPr/>
            <p:nvPr/>
          </p:nvSpPr>
          <p:spPr>
            <a:xfrm>
              <a:off x="7271229" y="5878240"/>
              <a:ext cx="340169" cy="625443"/>
            </a:xfrm>
            <a:custGeom>
              <a:avLst/>
              <a:gdLst>
                <a:gd name="connsiteX0" fmla="*/ 3752 w 340169"/>
                <a:gd name="connsiteY0" fmla="*/ 0 h 625443"/>
                <a:gd name="connsiteX1" fmla="*/ 0 w 340169"/>
                <a:gd name="connsiteY1" fmla="*/ 0 h 625443"/>
                <a:gd name="connsiteX2" fmla="*/ 0 w 340169"/>
                <a:gd name="connsiteY2" fmla="*/ 625444 h 625443"/>
                <a:gd name="connsiteX3" fmla="*/ 325298 w 340169"/>
                <a:gd name="connsiteY3" fmla="*/ 625444 h 625443"/>
                <a:gd name="connsiteX4" fmla="*/ 325298 w 340169"/>
                <a:gd name="connsiteY4" fmla="*/ 300733 h 625443"/>
                <a:gd name="connsiteX5" fmla="*/ 325298 w 340169"/>
                <a:gd name="connsiteY5" fmla="*/ 299393 h 625443"/>
                <a:gd name="connsiteX6" fmla="*/ 325298 w 340169"/>
                <a:gd name="connsiteY6" fmla="*/ 297920 h 625443"/>
                <a:gd name="connsiteX7" fmla="*/ 325298 w 340169"/>
                <a:gd name="connsiteY7" fmla="*/ 297920 h 625443"/>
                <a:gd name="connsiteX8" fmla="*/ 326370 w 340169"/>
                <a:gd name="connsiteY8" fmla="*/ 295910 h 625443"/>
                <a:gd name="connsiteX9" fmla="*/ 327040 w 340169"/>
                <a:gd name="connsiteY9" fmla="*/ 294973 h 625443"/>
                <a:gd name="connsiteX10" fmla="*/ 327978 w 340169"/>
                <a:gd name="connsiteY10" fmla="*/ 293767 h 625443"/>
                <a:gd name="connsiteX11" fmla="*/ 329183 w 340169"/>
                <a:gd name="connsiteY11" fmla="*/ 292963 h 625443"/>
                <a:gd name="connsiteX12" fmla="*/ 330389 w 340169"/>
                <a:gd name="connsiteY12" fmla="*/ 292963 h 625443"/>
                <a:gd name="connsiteX13" fmla="*/ 331863 w 340169"/>
                <a:gd name="connsiteY13" fmla="*/ 292963 h 625443"/>
                <a:gd name="connsiteX14" fmla="*/ 340169 w 340169"/>
                <a:gd name="connsiteY14" fmla="*/ 292963 h 625443"/>
                <a:gd name="connsiteX15" fmla="*/ 340169 w 340169"/>
                <a:gd name="connsiteY15" fmla="*/ 0 h 625443"/>
                <a:gd name="connsiteX16" fmla="*/ 3752 w 340169"/>
                <a:gd name="connsiteY16" fmla="*/ 0 h 62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169" h="625443">
                  <a:moveTo>
                    <a:pt x="3752" y="0"/>
                  </a:moveTo>
                  <a:lnTo>
                    <a:pt x="0" y="0"/>
                  </a:lnTo>
                  <a:lnTo>
                    <a:pt x="0" y="625444"/>
                  </a:lnTo>
                  <a:lnTo>
                    <a:pt x="325298" y="625444"/>
                  </a:lnTo>
                  <a:lnTo>
                    <a:pt x="325298" y="300733"/>
                  </a:lnTo>
                  <a:cubicBezTo>
                    <a:pt x="325298" y="300733"/>
                    <a:pt x="325298" y="299795"/>
                    <a:pt x="325298" y="299393"/>
                  </a:cubicBezTo>
                  <a:lnTo>
                    <a:pt x="325298" y="297920"/>
                  </a:lnTo>
                  <a:cubicBezTo>
                    <a:pt x="325298" y="297920"/>
                    <a:pt x="325298" y="297920"/>
                    <a:pt x="325298" y="297920"/>
                  </a:cubicBezTo>
                  <a:lnTo>
                    <a:pt x="326370" y="295910"/>
                  </a:lnTo>
                  <a:cubicBezTo>
                    <a:pt x="326370" y="295910"/>
                    <a:pt x="326370" y="295910"/>
                    <a:pt x="327040" y="294973"/>
                  </a:cubicBezTo>
                  <a:lnTo>
                    <a:pt x="327978" y="293767"/>
                  </a:lnTo>
                  <a:lnTo>
                    <a:pt x="329183" y="292963"/>
                  </a:lnTo>
                  <a:lnTo>
                    <a:pt x="330389" y="292963"/>
                  </a:lnTo>
                  <a:lnTo>
                    <a:pt x="331863" y="292963"/>
                  </a:lnTo>
                  <a:lnTo>
                    <a:pt x="340169" y="292963"/>
                  </a:lnTo>
                  <a:lnTo>
                    <a:pt x="340169" y="0"/>
                  </a:lnTo>
                  <a:lnTo>
                    <a:pt x="3752" y="0"/>
                  </a:lnTo>
                  <a:close/>
                </a:path>
              </a:pathLst>
            </a:custGeom>
            <a:solidFill>
              <a:srgbClr val="0A4054"/>
            </a:solidFill>
            <a:ln w="12700"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1497780C-DE25-449F-8697-0B80B66EA9BA}"/>
                </a:ext>
              </a:extLst>
            </p:cNvPr>
            <p:cNvSpPr/>
            <p:nvPr/>
          </p:nvSpPr>
          <p:spPr>
            <a:xfrm>
              <a:off x="4575065" y="6592363"/>
              <a:ext cx="104904" cy="261483"/>
            </a:xfrm>
            <a:custGeom>
              <a:avLst/>
              <a:gdLst>
                <a:gd name="connsiteX0" fmla="*/ 15139 w 104904"/>
                <a:gd name="connsiteY0" fmla="*/ 0 h 261483"/>
                <a:gd name="connsiteX1" fmla="*/ 0 w 104904"/>
                <a:gd name="connsiteY1" fmla="*/ 0 h 261483"/>
                <a:gd name="connsiteX2" fmla="*/ 0 w 104904"/>
                <a:gd name="connsiteY2" fmla="*/ 261484 h 261483"/>
                <a:gd name="connsiteX3" fmla="*/ 104904 w 104904"/>
                <a:gd name="connsiteY3" fmla="*/ 261484 h 261483"/>
                <a:gd name="connsiteX4" fmla="*/ 104904 w 104904"/>
                <a:gd name="connsiteY4" fmla="*/ 0 h 261483"/>
                <a:gd name="connsiteX5" fmla="*/ 15139 w 104904"/>
                <a:gd name="connsiteY5" fmla="*/ 0 h 2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904" h="261483">
                  <a:moveTo>
                    <a:pt x="15139" y="0"/>
                  </a:moveTo>
                  <a:lnTo>
                    <a:pt x="0" y="0"/>
                  </a:lnTo>
                  <a:lnTo>
                    <a:pt x="0" y="261484"/>
                  </a:lnTo>
                  <a:lnTo>
                    <a:pt x="104904" y="261484"/>
                  </a:lnTo>
                  <a:lnTo>
                    <a:pt x="104904" y="0"/>
                  </a:lnTo>
                  <a:lnTo>
                    <a:pt x="15139" y="0"/>
                  </a:lnTo>
                  <a:close/>
                </a:path>
              </a:pathLst>
            </a:custGeom>
            <a:solidFill>
              <a:schemeClr val="bg1">
                <a:lumMod val="95000"/>
              </a:schemeClr>
            </a:solidFill>
            <a:ln w="12700"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99E1826C-F759-4242-BD8B-D5FC0DB5581D}"/>
                </a:ext>
              </a:extLst>
            </p:cNvPr>
            <p:cNvSpPr/>
            <p:nvPr/>
          </p:nvSpPr>
          <p:spPr>
            <a:xfrm>
              <a:off x="4682649" y="6592363"/>
              <a:ext cx="56806" cy="261483"/>
            </a:xfrm>
            <a:custGeom>
              <a:avLst/>
              <a:gdLst>
                <a:gd name="connsiteX0" fmla="*/ 0 w 56806"/>
                <a:gd name="connsiteY0" fmla="*/ 0 h 261483"/>
                <a:gd name="connsiteX1" fmla="*/ 56806 w 56806"/>
                <a:gd name="connsiteY1" fmla="*/ 0 h 261483"/>
                <a:gd name="connsiteX2" fmla="*/ 56806 w 56806"/>
                <a:gd name="connsiteY2" fmla="*/ 261483 h 261483"/>
                <a:gd name="connsiteX3" fmla="*/ 0 w 56806"/>
                <a:gd name="connsiteY3" fmla="*/ 261483 h 261483"/>
              </a:gdLst>
              <a:ahLst/>
              <a:cxnLst>
                <a:cxn ang="0">
                  <a:pos x="connsiteX0" y="connsiteY0"/>
                </a:cxn>
                <a:cxn ang="0">
                  <a:pos x="connsiteX1" y="connsiteY1"/>
                </a:cxn>
                <a:cxn ang="0">
                  <a:pos x="connsiteX2" y="connsiteY2"/>
                </a:cxn>
                <a:cxn ang="0">
                  <a:pos x="connsiteX3" y="connsiteY3"/>
                </a:cxn>
              </a:cxnLst>
              <a:rect l="l" t="t" r="r" b="b"/>
              <a:pathLst>
                <a:path w="56806" h="261483">
                  <a:moveTo>
                    <a:pt x="0" y="0"/>
                  </a:moveTo>
                  <a:lnTo>
                    <a:pt x="56806" y="0"/>
                  </a:lnTo>
                  <a:lnTo>
                    <a:pt x="56806" y="261483"/>
                  </a:lnTo>
                  <a:lnTo>
                    <a:pt x="0" y="261483"/>
                  </a:lnTo>
                  <a:close/>
                </a:path>
              </a:pathLst>
            </a:custGeom>
            <a:solidFill>
              <a:schemeClr val="accent5">
                <a:lumMod val="50000"/>
              </a:schemeClr>
            </a:solidFill>
            <a:ln w="12700"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32672589-1EBE-40DE-8C53-E49ED75B37D8}"/>
                </a:ext>
              </a:extLst>
            </p:cNvPr>
            <p:cNvSpPr/>
            <p:nvPr/>
          </p:nvSpPr>
          <p:spPr>
            <a:xfrm>
              <a:off x="4597573" y="5986611"/>
              <a:ext cx="209540" cy="591017"/>
            </a:xfrm>
            <a:custGeom>
              <a:avLst/>
              <a:gdLst>
                <a:gd name="connsiteX0" fmla="*/ 209541 w 209540"/>
                <a:gd name="connsiteY0" fmla="*/ 588204 h 591017"/>
                <a:gd name="connsiteX1" fmla="*/ 209541 w 209540"/>
                <a:gd name="connsiteY1" fmla="*/ 3349 h 591017"/>
                <a:gd name="connsiteX2" fmla="*/ 209541 w 209540"/>
                <a:gd name="connsiteY2" fmla="*/ 0 h 591017"/>
                <a:gd name="connsiteX3" fmla="*/ 0 w 209540"/>
                <a:gd name="connsiteY3" fmla="*/ 0 h 591017"/>
                <a:gd name="connsiteX4" fmla="*/ 0 w 209540"/>
                <a:gd name="connsiteY4" fmla="*/ 591017 h 591017"/>
                <a:gd name="connsiteX5" fmla="*/ 142954 w 209540"/>
                <a:gd name="connsiteY5" fmla="*/ 591017 h 591017"/>
                <a:gd name="connsiteX6" fmla="*/ 209541 w 209540"/>
                <a:gd name="connsiteY6" fmla="*/ 588204 h 59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40" h="591017">
                  <a:moveTo>
                    <a:pt x="209541" y="588204"/>
                  </a:moveTo>
                  <a:lnTo>
                    <a:pt x="209541" y="3349"/>
                  </a:lnTo>
                  <a:lnTo>
                    <a:pt x="209541" y="0"/>
                  </a:lnTo>
                  <a:lnTo>
                    <a:pt x="0" y="0"/>
                  </a:lnTo>
                  <a:lnTo>
                    <a:pt x="0" y="591017"/>
                  </a:lnTo>
                  <a:lnTo>
                    <a:pt x="142954" y="591017"/>
                  </a:lnTo>
                  <a:lnTo>
                    <a:pt x="209541" y="588204"/>
                  </a:lnTo>
                  <a:close/>
                </a:path>
              </a:pathLst>
            </a:custGeom>
            <a:solidFill>
              <a:schemeClr val="accent2">
                <a:lumMod val="75000"/>
              </a:schemeClr>
            </a:solidFill>
            <a:ln w="12700"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4E6FAF92-5825-4FC3-B64B-8BF8E278E828}"/>
                </a:ext>
              </a:extLst>
            </p:cNvPr>
            <p:cNvSpPr/>
            <p:nvPr/>
          </p:nvSpPr>
          <p:spPr>
            <a:xfrm>
              <a:off x="7084598" y="5692442"/>
              <a:ext cx="184085" cy="136234"/>
            </a:xfrm>
            <a:custGeom>
              <a:avLst/>
              <a:gdLst>
                <a:gd name="connsiteX0" fmla="*/ 181272 w 184085"/>
                <a:gd name="connsiteY0" fmla="*/ 136234 h 136234"/>
                <a:gd name="connsiteX1" fmla="*/ 182746 w 184085"/>
                <a:gd name="connsiteY1" fmla="*/ 136234 h 136234"/>
                <a:gd name="connsiteX2" fmla="*/ 184086 w 184085"/>
                <a:gd name="connsiteY2" fmla="*/ 136234 h 136234"/>
                <a:gd name="connsiteX3" fmla="*/ 184086 w 184085"/>
                <a:gd name="connsiteY3" fmla="*/ 136234 h 136234"/>
                <a:gd name="connsiteX4" fmla="*/ 184086 w 184085"/>
                <a:gd name="connsiteY4" fmla="*/ 1072 h 136234"/>
                <a:gd name="connsiteX5" fmla="*/ 184086 w 184085"/>
                <a:gd name="connsiteY5" fmla="*/ 0 h 136234"/>
                <a:gd name="connsiteX6" fmla="*/ 0 w 184085"/>
                <a:gd name="connsiteY6" fmla="*/ 0 h 136234"/>
                <a:gd name="connsiteX7" fmla="*/ 0 w 184085"/>
                <a:gd name="connsiteY7" fmla="*/ 136100 h 136234"/>
                <a:gd name="connsiteX8" fmla="*/ 181272 w 184085"/>
                <a:gd name="connsiteY8" fmla="*/ 136100 h 1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085" h="136234">
                  <a:moveTo>
                    <a:pt x="181272" y="136234"/>
                  </a:moveTo>
                  <a:lnTo>
                    <a:pt x="182746" y="136234"/>
                  </a:lnTo>
                  <a:lnTo>
                    <a:pt x="184086" y="136234"/>
                  </a:lnTo>
                  <a:lnTo>
                    <a:pt x="184086" y="136234"/>
                  </a:lnTo>
                  <a:lnTo>
                    <a:pt x="184086" y="1072"/>
                  </a:lnTo>
                  <a:lnTo>
                    <a:pt x="184086" y="0"/>
                  </a:lnTo>
                  <a:lnTo>
                    <a:pt x="0" y="0"/>
                  </a:lnTo>
                  <a:lnTo>
                    <a:pt x="0" y="136100"/>
                  </a:lnTo>
                  <a:lnTo>
                    <a:pt x="181272" y="136100"/>
                  </a:lnTo>
                  <a:close/>
                </a:path>
              </a:pathLst>
            </a:custGeom>
            <a:solidFill>
              <a:srgbClr val="088A8F"/>
            </a:solidFill>
            <a:ln w="12700"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EF659A69-A204-4AD4-A87E-70339A2EC39D}"/>
                </a:ext>
              </a:extLst>
            </p:cNvPr>
            <p:cNvSpPr/>
            <p:nvPr/>
          </p:nvSpPr>
          <p:spPr>
            <a:xfrm>
              <a:off x="7665525" y="5671277"/>
              <a:ext cx="159969" cy="499390"/>
            </a:xfrm>
            <a:custGeom>
              <a:avLst/>
              <a:gdLst>
                <a:gd name="connsiteX0" fmla="*/ 0 w 159969"/>
                <a:gd name="connsiteY0" fmla="*/ 498587 h 499390"/>
                <a:gd name="connsiteX1" fmla="*/ 159969 w 159969"/>
                <a:gd name="connsiteY1" fmla="*/ 498587 h 499390"/>
                <a:gd name="connsiteX2" fmla="*/ 159969 w 159969"/>
                <a:gd name="connsiteY2" fmla="*/ 206695 h 499390"/>
                <a:gd name="connsiteX3" fmla="*/ 157825 w 159969"/>
                <a:gd name="connsiteY3" fmla="*/ 206695 h 499390"/>
                <a:gd name="connsiteX4" fmla="*/ 157825 w 159969"/>
                <a:gd name="connsiteY4" fmla="*/ 206695 h 499390"/>
                <a:gd name="connsiteX5" fmla="*/ 157825 w 159969"/>
                <a:gd name="connsiteY5" fmla="*/ 206695 h 499390"/>
                <a:gd name="connsiteX6" fmla="*/ 156753 w 159969"/>
                <a:gd name="connsiteY6" fmla="*/ 205624 h 499390"/>
                <a:gd name="connsiteX7" fmla="*/ 155949 w 159969"/>
                <a:gd name="connsiteY7" fmla="*/ 204418 h 499390"/>
                <a:gd name="connsiteX8" fmla="*/ 155949 w 159969"/>
                <a:gd name="connsiteY8" fmla="*/ 203212 h 499390"/>
                <a:gd name="connsiteX9" fmla="*/ 155949 w 159969"/>
                <a:gd name="connsiteY9" fmla="*/ 201739 h 499390"/>
                <a:gd name="connsiteX10" fmla="*/ 155949 w 159969"/>
                <a:gd name="connsiteY10" fmla="*/ 200935 h 499390"/>
                <a:gd name="connsiteX11" fmla="*/ 155949 w 159969"/>
                <a:gd name="connsiteY11" fmla="*/ 0 h 499390"/>
                <a:gd name="connsiteX12" fmla="*/ 0 w 159969"/>
                <a:gd name="connsiteY12" fmla="*/ 0 h 499390"/>
                <a:gd name="connsiteX13" fmla="*/ 0 w 159969"/>
                <a:gd name="connsiteY13" fmla="*/ 499391 h 49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969" h="499390">
                  <a:moveTo>
                    <a:pt x="0" y="498587"/>
                  </a:moveTo>
                  <a:lnTo>
                    <a:pt x="159969" y="498587"/>
                  </a:lnTo>
                  <a:lnTo>
                    <a:pt x="159969" y="206695"/>
                  </a:lnTo>
                  <a:lnTo>
                    <a:pt x="157825" y="206695"/>
                  </a:lnTo>
                  <a:lnTo>
                    <a:pt x="157825" y="206695"/>
                  </a:lnTo>
                  <a:lnTo>
                    <a:pt x="157825" y="206695"/>
                  </a:lnTo>
                  <a:lnTo>
                    <a:pt x="156753" y="205624"/>
                  </a:lnTo>
                  <a:lnTo>
                    <a:pt x="155949" y="204418"/>
                  </a:lnTo>
                  <a:lnTo>
                    <a:pt x="155949" y="203212"/>
                  </a:lnTo>
                  <a:cubicBezTo>
                    <a:pt x="155882" y="202723"/>
                    <a:pt x="155882" y="202228"/>
                    <a:pt x="155949" y="201739"/>
                  </a:cubicBezTo>
                  <a:cubicBezTo>
                    <a:pt x="155949" y="201739"/>
                    <a:pt x="155949" y="201739"/>
                    <a:pt x="155949" y="200935"/>
                  </a:cubicBezTo>
                  <a:lnTo>
                    <a:pt x="155949" y="0"/>
                  </a:lnTo>
                  <a:lnTo>
                    <a:pt x="0" y="0"/>
                  </a:lnTo>
                  <a:lnTo>
                    <a:pt x="0" y="499391"/>
                  </a:lnTo>
                  <a:close/>
                </a:path>
              </a:pathLst>
            </a:custGeom>
            <a:solidFill>
              <a:schemeClr val="accent5"/>
            </a:solidFill>
            <a:ln w="12700"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2BB71032-D2E0-4F33-94A1-9AB8125A4065}"/>
                </a:ext>
              </a:extLst>
            </p:cNvPr>
            <p:cNvSpPr/>
            <p:nvPr/>
          </p:nvSpPr>
          <p:spPr>
            <a:xfrm>
              <a:off x="8477161" y="5601888"/>
              <a:ext cx="152734" cy="21433"/>
            </a:xfrm>
            <a:custGeom>
              <a:avLst/>
              <a:gdLst>
                <a:gd name="connsiteX0" fmla="*/ 123662 w 152734"/>
                <a:gd name="connsiteY0" fmla="*/ 21433 h 21433"/>
                <a:gd name="connsiteX1" fmla="*/ 152735 w 152734"/>
                <a:gd name="connsiteY1" fmla="*/ 0 h 21433"/>
                <a:gd name="connsiteX2" fmla="*/ 0 w 152734"/>
                <a:gd name="connsiteY2" fmla="*/ 0 h 21433"/>
                <a:gd name="connsiteX3" fmla="*/ 0 w 152734"/>
                <a:gd name="connsiteY3" fmla="*/ 21433 h 21433"/>
                <a:gd name="connsiteX4" fmla="*/ 116561 w 152734"/>
                <a:gd name="connsiteY4" fmla="*/ 21433 h 21433"/>
                <a:gd name="connsiteX5" fmla="*/ 123662 w 152734"/>
                <a:gd name="connsiteY5" fmla="*/ 21433 h 2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734" h="21433">
                  <a:moveTo>
                    <a:pt x="123662" y="21433"/>
                  </a:moveTo>
                  <a:lnTo>
                    <a:pt x="152735" y="0"/>
                  </a:lnTo>
                  <a:lnTo>
                    <a:pt x="0" y="0"/>
                  </a:lnTo>
                  <a:lnTo>
                    <a:pt x="0" y="21433"/>
                  </a:lnTo>
                  <a:lnTo>
                    <a:pt x="116561" y="21433"/>
                  </a:lnTo>
                  <a:lnTo>
                    <a:pt x="123662" y="21433"/>
                  </a:lnTo>
                  <a:close/>
                </a:path>
              </a:pathLst>
            </a:custGeom>
            <a:solidFill>
              <a:srgbClr val="A45950"/>
            </a:solidFill>
            <a:ln w="12700"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D1137AB8-283F-48EF-AE22-3CC079B24299}"/>
                </a:ext>
              </a:extLst>
            </p:cNvPr>
            <p:cNvSpPr/>
            <p:nvPr/>
          </p:nvSpPr>
          <p:spPr>
            <a:xfrm>
              <a:off x="8605243" y="5601888"/>
              <a:ext cx="29475" cy="21433"/>
            </a:xfrm>
            <a:custGeom>
              <a:avLst/>
              <a:gdLst>
                <a:gd name="connsiteX0" fmla="*/ 0 w 29475"/>
                <a:gd name="connsiteY0" fmla="*/ 21433 h 21433"/>
                <a:gd name="connsiteX1" fmla="*/ 29475 w 29475"/>
                <a:gd name="connsiteY1" fmla="*/ 21433 h 21433"/>
                <a:gd name="connsiteX2" fmla="*/ 29475 w 29475"/>
                <a:gd name="connsiteY2" fmla="*/ 0 h 21433"/>
                <a:gd name="connsiteX3" fmla="*/ 29074 w 29475"/>
                <a:gd name="connsiteY3" fmla="*/ 0 h 21433"/>
                <a:gd name="connsiteX4" fmla="*/ 0 w 29475"/>
                <a:gd name="connsiteY4" fmla="*/ 21433 h 21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75" h="21433">
                  <a:moveTo>
                    <a:pt x="0" y="21433"/>
                  </a:moveTo>
                  <a:lnTo>
                    <a:pt x="29475" y="21433"/>
                  </a:lnTo>
                  <a:lnTo>
                    <a:pt x="29475" y="0"/>
                  </a:lnTo>
                  <a:lnTo>
                    <a:pt x="29074" y="0"/>
                  </a:lnTo>
                  <a:lnTo>
                    <a:pt x="0" y="21433"/>
                  </a:lnTo>
                  <a:close/>
                </a:path>
              </a:pathLst>
            </a:custGeom>
            <a:solidFill>
              <a:srgbClr val="E8E7E3"/>
            </a:solidFill>
            <a:ln w="12700"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F30946F3-4602-4980-8F90-B1607C11937E}"/>
                </a:ext>
              </a:extLst>
            </p:cNvPr>
            <p:cNvSpPr/>
            <p:nvPr/>
          </p:nvSpPr>
          <p:spPr>
            <a:xfrm>
              <a:off x="4742001" y="6589282"/>
              <a:ext cx="71142" cy="264564"/>
            </a:xfrm>
            <a:custGeom>
              <a:avLst/>
              <a:gdLst>
                <a:gd name="connsiteX0" fmla="*/ 0 w 71142"/>
                <a:gd name="connsiteY0" fmla="*/ 2947 h 264564"/>
                <a:gd name="connsiteX1" fmla="*/ 0 w 71142"/>
                <a:gd name="connsiteY1" fmla="*/ 264564 h 264564"/>
                <a:gd name="connsiteX2" fmla="*/ 71142 w 71142"/>
                <a:gd name="connsiteY2" fmla="*/ 264564 h 264564"/>
                <a:gd name="connsiteX3" fmla="*/ 71142 w 71142"/>
                <a:gd name="connsiteY3" fmla="*/ 0 h 264564"/>
                <a:gd name="connsiteX4" fmla="*/ 0 w 71142"/>
                <a:gd name="connsiteY4" fmla="*/ 2947 h 264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42" h="264564">
                  <a:moveTo>
                    <a:pt x="0" y="2947"/>
                  </a:moveTo>
                  <a:lnTo>
                    <a:pt x="0" y="264564"/>
                  </a:lnTo>
                  <a:lnTo>
                    <a:pt x="71142" y="264564"/>
                  </a:lnTo>
                  <a:lnTo>
                    <a:pt x="71142" y="0"/>
                  </a:lnTo>
                  <a:lnTo>
                    <a:pt x="0" y="2947"/>
                  </a:lnTo>
                  <a:close/>
                </a:path>
              </a:pathLst>
            </a:custGeom>
            <a:solidFill>
              <a:schemeClr val="bg1">
                <a:lumMod val="95000"/>
              </a:schemeClr>
            </a:solidFill>
            <a:ln w="12700"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EECFF19D-FC70-4A74-8DFD-0ED9C8146C03}"/>
                </a:ext>
              </a:extLst>
            </p:cNvPr>
            <p:cNvSpPr/>
            <p:nvPr/>
          </p:nvSpPr>
          <p:spPr>
            <a:xfrm>
              <a:off x="4816091" y="6584192"/>
              <a:ext cx="124063" cy="270592"/>
            </a:xfrm>
            <a:custGeom>
              <a:avLst/>
              <a:gdLst>
                <a:gd name="connsiteX0" fmla="*/ 69267 w 124063"/>
                <a:gd name="connsiteY0" fmla="*/ 2009 h 270592"/>
                <a:gd name="connsiteX1" fmla="*/ 44748 w 124063"/>
                <a:gd name="connsiteY1" fmla="*/ 3081 h 270592"/>
                <a:gd name="connsiteX2" fmla="*/ 44748 w 124063"/>
                <a:gd name="connsiteY2" fmla="*/ 3081 h 270592"/>
                <a:gd name="connsiteX3" fmla="*/ 41935 w 124063"/>
                <a:gd name="connsiteY3" fmla="*/ 3081 h 270592"/>
                <a:gd name="connsiteX4" fmla="*/ 41131 w 124063"/>
                <a:gd name="connsiteY4" fmla="*/ 3081 h 270592"/>
                <a:gd name="connsiteX5" fmla="*/ 39657 w 124063"/>
                <a:gd name="connsiteY5" fmla="*/ 2009 h 270592"/>
                <a:gd name="connsiteX6" fmla="*/ 38988 w 124063"/>
                <a:gd name="connsiteY6" fmla="*/ 1206 h 270592"/>
                <a:gd name="connsiteX7" fmla="*/ 38184 w 124063"/>
                <a:gd name="connsiteY7" fmla="*/ 0 h 270592"/>
                <a:gd name="connsiteX8" fmla="*/ 31083 w 124063"/>
                <a:gd name="connsiteY8" fmla="*/ 0 h 270592"/>
                <a:gd name="connsiteX9" fmla="*/ 24518 w 124063"/>
                <a:gd name="connsiteY9" fmla="*/ 4956 h 270592"/>
                <a:gd name="connsiteX10" fmla="*/ 0 w 124063"/>
                <a:gd name="connsiteY10" fmla="*/ 6028 h 270592"/>
                <a:gd name="connsiteX11" fmla="*/ 0 w 124063"/>
                <a:gd name="connsiteY11" fmla="*/ 270592 h 270592"/>
                <a:gd name="connsiteX12" fmla="*/ 124063 w 124063"/>
                <a:gd name="connsiteY12" fmla="*/ 270592 h 270592"/>
                <a:gd name="connsiteX13" fmla="*/ 124063 w 124063"/>
                <a:gd name="connsiteY13" fmla="*/ 2679 h 27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063" h="270592">
                  <a:moveTo>
                    <a:pt x="69267" y="2009"/>
                  </a:moveTo>
                  <a:lnTo>
                    <a:pt x="44748" y="3081"/>
                  </a:lnTo>
                  <a:lnTo>
                    <a:pt x="44748" y="3081"/>
                  </a:lnTo>
                  <a:cubicBezTo>
                    <a:pt x="43824" y="3295"/>
                    <a:pt x="42859" y="3295"/>
                    <a:pt x="41935" y="3081"/>
                  </a:cubicBezTo>
                  <a:lnTo>
                    <a:pt x="41131" y="3081"/>
                  </a:lnTo>
                  <a:cubicBezTo>
                    <a:pt x="40555" y="2853"/>
                    <a:pt x="40059" y="2478"/>
                    <a:pt x="39657" y="2009"/>
                  </a:cubicBezTo>
                  <a:lnTo>
                    <a:pt x="38988" y="1206"/>
                  </a:lnTo>
                  <a:cubicBezTo>
                    <a:pt x="38679" y="830"/>
                    <a:pt x="38398" y="429"/>
                    <a:pt x="38184" y="0"/>
                  </a:cubicBezTo>
                  <a:lnTo>
                    <a:pt x="31083" y="0"/>
                  </a:lnTo>
                  <a:cubicBezTo>
                    <a:pt x="30172" y="2880"/>
                    <a:pt x="27532" y="4863"/>
                    <a:pt x="24518" y="4956"/>
                  </a:cubicBezTo>
                  <a:lnTo>
                    <a:pt x="0" y="6028"/>
                  </a:lnTo>
                  <a:lnTo>
                    <a:pt x="0" y="270592"/>
                  </a:lnTo>
                  <a:lnTo>
                    <a:pt x="124063" y="270592"/>
                  </a:lnTo>
                  <a:lnTo>
                    <a:pt x="124063" y="2679"/>
                  </a:lnTo>
                  <a:close/>
                </a:path>
              </a:pathLst>
            </a:custGeom>
            <a:solidFill>
              <a:schemeClr val="bg1">
                <a:lumMod val="95000"/>
              </a:schemeClr>
            </a:solidFill>
            <a:ln w="12700" cap="flat">
              <a:noFill/>
              <a:prstDash val="solid"/>
              <a:miter/>
            </a:ln>
          </p:spPr>
          <p:txBody>
            <a:bodyPr rtlCol="0" anchor="ctr"/>
            <a:lstStyle/>
            <a:p>
              <a:endParaRPr lang="en-US"/>
            </a:p>
          </p:txBody>
        </p:sp>
        <p:sp>
          <p:nvSpPr>
            <p:cNvPr id="985" name="Freeform: Shape 984">
              <a:extLst>
                <a:ext uri="{FF2B5EF4-FFF2-40B4-BE49-F238E27FC236}">
                  <a16:creationId xmlns:a16="http://schemas.microsoft.com/office/drawing/2014/main" id="{B912456C-9B7E-458E-8282-9707C502A59A}"/>
                </a:ext>
              </a:extLst>
            </p:cNvPr>
            <p:cNvSpPr/>
            <p:nvPr/>
          </p:nvSpPr>
          <p:spPr>
            <a:xfrm>
              <a:off x="8447552" y="5610595"/>
              <a:ext cx="14871" cy="12725"/>
            </a:xfrm>
            <a:custGeom>
              <a:avLst/>
              <a:gdLst>
                <a:gd name="connsiteX0" fmla="*/ 14871 w 14871"/>
                <a:gd name="connsiteY0" fmla="*/ 0 h 12725"/>
                <a:gd name="connsiteX1" fmla="*/ 0 w 14871"/>
                <a:gd name="connsiteY1" fmla="*/ 12726 h 12725"/>
                <a:gd name="connsiteX2" fmla="*/ 14871 w 14871"/>
                <a:gd name="connsiteY2" fmla="*/ 12726 h 12725"/>
                <a:gd name="connsiteX3" fmla="*/ 14871 w 14871"/>
                <a:gd name="connsiteY3" fmla="*/ 0 h 12725"/>
              </a:gdLst>
              <a:ahLst/>
              <a:cxnLst>
                <a:cxn ang="0">
                  <a:pos x="connsiteX0" y="connsiteY0"/>
                </a:cxn>
                <a:cxn ang="0">
                  <a:pos x="connsiteX1" y="connsiteY1"/>
                </a:cxn>
                <a:cxn ang="0">
                  <a:pos x="connsiteX2" y="connsiteY2"/>
                </a:cxn>
                <a:cxn ang="0">
                  <a:pos x="connsiteX3" y="connsiteY3"/>
                </a:cxn>
              </a:cxnLst>
              <a:rect l="l" t="t" r="r" b="b"/>
              <a:pathLst>
                <a:path w="14871" h="12725">
                  <a:moveTo>
                    <a:pt x="14871" y="0"/>
                  </a:moveTo>
                  <a:lnTo>
                    <a:pt x="0" y="12726"/>
                  </a:lnTo>
                  <a:lnTo>
                    <a:pt x="14871" y="12726"/>
                  </a:lnTo>
                  <a:lnTo>
                    <a:pt x="14871" y="0"/>
                  </a:lnTo>
                  <a:close/>
                </a:path>
              </a:pathLst>
            </a:custGeom>
            <a:solidFill>
              <a:srgbClr val="A45950"/>
            </a:solidFill>
            <a:ln w="12700" cap="flat">
              <a:noFill/>
              <a:prstDash val="solid"/>
              <a:miter/>
            </a:ln>
          </p:spPr>
          <p:txBody>
            <a:bodyPr rtlCol="0" anchor="ctr"/>
            <a:lstStyle/>
            <a:p>
              <a:endParaRPr lang="en-US"/>
            </a:p>
          </p:txBody>
        </p:sp>
        <p:sp>
          <p:nvSpPr>
            <p:cNvPr id="986" name="Freeform: Shape 985">
              <a:extLst>
                <a:ext uri="{FF2B5EF4-FFF2-40B4-BE49-F238E27FC236}">
                  <a16:creationId xmlns:a16="http://schemas.microsoft.com/office/drawing/2014/main" id="{E3C0B854-5DBE-4579-BF1B-4F234EBADDEE}"/>
                </a:ext>
              </a:extLst>
            </p:cNvPr>
            <p:cNvSpPr/>
            <p:nvPr/>
          </p:nvSpPr>
          <p:spPr>
            <a:xfrm>
              <a:off x="5803639" y="6591158"/>
              <a:ext cx="33628" cy="262555"/>
            </a:xfrm>
            <a:custGeom>
              <a:avLst/>
              <a:gdLst>
                <a:gd name="connsiteX0" fmla="*/ 0 w 33628"/>
                <a:gd name="connsiteY0" fmla="*/ 0 h 262555"/>
                <a:gd name="connsiteX1" fmla="*/ 33628 w 33628"/>
                <a:gd name="connsiteY1" fmla="*/ 0 h 262555"/>
                <a:gd name="connsiteX2" fmla="*/ 33628 w 33628"/>
                <a:gd name="connsiteY2" fmla="*/ 262555 h 262555"/>
                <a:gd name="connsiteX3" fmla="*/ 0 w 33628"/>
                <a:gd name="connsiteY3" fmla="*/ 262555 h 262555"/>
              </a:gdLst>
              <a:ahLst/>
              <a:cxnLst>
                <a:cxn ang="0">
                  <a:pos x="connsiteX0" y="connsiteY0"/>
                </a:cxn>
                <a:cxn ang="0">
                  <a:pos x="connsiteX1" y="connsiteY1"/>
                </a:cxn>
                <a:cxn ang="0">
                  <a:pos x="connsiteX2" y="connsiteY2"/>
                </a:cxn>
                <a:cxn ang="0">
                  <a:pos x="connsiteX3" y="connsiteY3"/>
                </a:cxn>
              </a:cxnLst>
              <a:rect l="l" t="t" r="r" b="b"/>
              <a:pathLst>
                <a:path w="33628" h="262555">
                  <a:moveTo>
                    <a:pt x="0" y="0"/>
                  </a:moveTo>
                  <a:lnTo>
                    <a:pt x="33628" y="0"/>
                  </a:lnTo>
                  <a:lnTo>
                    <a:pt x="33628" y="262555"/>
                  </a:lnTo>
                  <a:lnTo>
                    <a:pt x="0" y="262555"/>
                  </a:lnTo>
                  <a:close/>
                </a:path>
              </a:pathLst>
            </a:custGeom>
            <a:solidFill>
              <a:schemeClr val="accent5">
                <a:lumMod val="50000"/>
              </a:schemeClr>
            </a:solidFill>
            <a:ln w="12700" cap="flat">
              <a:noFill/>
              <a:prstDash val="solid"/>
              <a:miter/>
            </a:ln>
          </p:spPr>
          <p:txBody>
            <a:bodyPr rtlCol="0" anchor="ctr"/>
            <a:lstStyle/>
            <a:p>
              <a:endParaRPr lang="en-US"/>
            </a:p>
          </p:txBody>
        </p:sp>
        <p:sp>
          <p:nvSpPr>
            <p:cNvPr id="987" name="Freeform: Shape 986">
              <a:extLst>
                <a:ext uri="{FF2B5EF4-FFF2-40B4-BE49-F238E27FC236}">
                  <a16:creationId xmlns:a16="http://schemas.microsoft.com/office/drawing/2014/main" id="{F8E5C694-D143-4741-A2CB-18612CB8F454}"/>
                </a:ext>
              </a:extLst>
            </p:cNvPr>
            <p:cNvSpPr/>
            <p:nvPr/>
          </p:nvSpPr>
          <p:spPr>
            <a:xfrm>
              <a:off x="5839813" y="6591158"/>
              <a:ext cx="353566" cy="262555"/>
            </a:xfrm>
            <a:custGeom>
              <a:avLst/>
              <a:gdLst>
                <a:gd name="connsiteX0" fmla="*/ 0 w 353566"/>
                <a:gd name="connsiteY0" fmla="*/ 0 h 262555"/>
                <a:gd name="connsiteX1" fmla="*/ 353567 w 353566"/>
                <a:gd name="connsiteY1" fmla="*/ 0 h 262555"/>
                <a:gd name="connsiteX2" fmla="*/ 353567 w 353566"/>
                <a:gd name="connsiteY2" fmla="*/ 262555 h 262555"/>
                <a:gd name="connsiteX3" fmla="*/ 0 w 353566"/>
                <a:gd name="connsiteY3" fmla="*/ 262555 h 262555"/>
              </a:gdLst>
              <a:ahLst/>
              <a:cxnLst>
                <a:cxn ang="0">
                  <a:pos x="connsiteX0" y="connsiteY0"/>
                </a:cxn>
                <a:cxn ang="0">
                  <a:pos x="connsiteX1" y="connsiteY1"/>
                </a:cxn>
                <a:cxn ang="0">
                  <a:pos x="connsiteX2" y="connsiteY2"/>
                </a:cxn>
                <a:cxn ang="0">
                  <a:pos x="connsiteX3" y="connsiteY3"/>
                </a:cxn>
              </a:cxnLst>
              <a:rect l="l" t="t" r="r" b="b"/>
              <a:pathLst>
                <a:path w="353566" h="262555">
                  <a:moveTo>
                    <a:pt x="0" y="0"/>
                  </a:moveTo>
                  <a:lnTo>
                    <a:pt x="353567" y="0"/>
                  </a:lnTo>
                  <a:lnTo>
                    <a:pt x="353567" y="262555"/>
                  </a:lnTo>
                  <a:lnTo>
                    <a:pt x="0" y="262555"/>
                  </a:lnTo>
                  <a:close/>
                </a:path>
              </a:pathLst>
            </a:custGeom>
            <a:solidFill>
              <a:srgbClr val="22B0AE"/>
            </a:solidFill>
            <a:ln w="12700" cap="flat">
              <a:noFill/>
              <a:prstDash val="solid"/>
              <a:miter/>
            </a:ln>
          </p:spPr>
          <p:txBody>
            <a:bodyPr rtlCol="0" anchor="ctr"/>
            <a:lstStyle/>
            <a:p>
              <a:endParaRPr lang="en-US"/>
            </a:p>
          </p:txBody>
        </p:sp>
        <p:sp>
          <p:nvSpPr>
            <p:cNvPr id="988" name="Freeform: Shape 987">
              <a:extLst>
                <a:ext uri="{FF2B5EF4-FFF2-40B4-BE49-F238E27FC236}">
                  <a16:creationId xmlns:a16="http://schemas.microsoft.com/office/drawing/2014/main" id="{BC083D84-FEBA-4220-BE79-6305DEFBBC67}"/>
                </a:ext>
              </a:extLst>
            </p:cNvPr>
            <p:cNvSpPr/>
            <p:nvPr/>
          </p:nvSpPr>
          <p:spPr>
            <a:xfrm>
              <a:off x="6825084" y="6519223"/>
              <a:ext cx="125536" cy="334891"/>
            </a:xfrm>
            <a:custGeom>
              <a:avLst/>
              <a:gdLst>
                <a:gd name="connsiteX0" fmla="*/ 58414 w 125536"/>
                <a:gd name="connsiteY0" fmla="*/ 0 h 334891"/>
                <a:gd name="connsiteX1" fmla="*/ 58414 w 125536"/>
                <a:gd name="connsiteY1" fmla="*/ 0 h 334891"/>
                <a:gd name="connsiteX2" fmla="*/ 56940 w 125536"/>
                <a:gd name="connsiteY2" fmla="*/ 0 h 334891"/>
                <a:gd name="connsiteX3" fmla="*/ 0 w 125536"/>
                <a:gd name="connsiteY3" fmla="*/ 0 h 334891"/>
                <a:gd name="connsiteX4" fmla="*/ 0 w 125536"/>
                <a:gd name="connsiteY4" fmla="*/ 334892 h 334891"/>
                <a:gd name="connsiteX5" fmla="*/ 125536 w 125536"/>
                <a:gd name="connsiteY5" fmla="*/ 334892 h 334891"/>
                <a:gd name="connsiteX6" fmla="*/ 125536 w 125536"/>
                <a:gd name="connsiteY6" fmla="*/ 0 h 3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36" h="334891">
                  <a:moveTo>
                    <a:pt x="58414" y="0"/>
                  </a:moveTo>
                  <a:lnTo>
                    <a:pt x="58414" y="0"/>
                  </a:lnTo>
                  <a:lnTo>
                    <a:pt x="56940" y="0"/>
                  </a:lnTo>
                  <a:lnTo>
                    <a:pt x="0" y="0"/>
                  </a:lnTo>
                  <a:lnTo>
                    <a:pt x="0" y="334892"/>
                  </a:lnTo>
                  <a:lnTo>
                    <a:pt x="125536" y="334892"/>
                  </a:lnTo>
                  <a:lnTo>
                    <a:pt x="125536" y="0"/>
                  </a:lnTo>
                  <a:close/>
                </a:path>
              </a:pathLst>
            </a:custGeom>
            <a:solidFill>
              <a:schemeClr val="accent2">
                <a:lumMod val="75000"/>
              </a:schemeClr>
            </a:solidFill>
            <a:ln w="12700" cap="flat">
              <a:noFill/>
              <a:prstDash val="solid"/>
              <a:miter/>
            </a:ln>
          </p:spPr>
          <p:txBody>
            <a:bodyPr rtlCol="0" anchor="ctr"/>
            <a:lstStyle/>
            <a:p>
              <a:endParaRPr lang="en-US"/>
            </a:p>
          </p:txBody>
        </p:sp>
        <p:sp>
          <p:nvSpPr>
            <p:cNvPr id="989" name="Freeform: Shape 988">
              <a:extLst>
                <a:ext uri="{FF2B5EF4-FFF2-40B4-BE49-F238E27FC236}">
                  <a16:creationId xmlns:a16="http://schemas.microsoft.com/office/drawing/2014/main" id="{BEE28A17-37E3-43BB-B9E3-681F798134DB}"/>
                </a:ext>
              </a:extLst>
            </p:cNvPr>
            <p:cNvSpPr/>
            <p:nvPr/>
          </p:nvSpPr>
          <p:spPr>
            <a:xfrm>
              <a:off x="6714955" y="5894583"/>
              <a:ext cx="335881" cy="685992"/>
            </a:xfrm>
            <a:custGeom>
              <a:avLst/>
              <a:gdLst>
                <a:gd name="connsiteX0" fmla="*/ 0 w 335881"/>
                <a:gd name="connsiteY0" fmla="*/ 685992 h 685992"/>
                <a:gd name="connsiteX1" fmla="*/ 95392 w 335881"/>
                <a:gd name="connsiteY1" fmla="*/ 685992 h 685992"/>
                <a:gd name="connsiteX2" fmla="*/ 95392 w 335881"/>
                <a:gd name="connsiteY2" fmla="*/ 617005 h 685992"/>
                <a:gd name="connsiteX3" fmla="*/ 102761 w 335881"/>
                <a:gd name="connsiteY3" fmla="*/ 609637 h 685992"/>
                <a:gd name="connsiteX4" fmla="*/ 246921 w 335881"/>
                <a:gd name="connsiteY4" fmla="*/ 609637 h 685992"/>
                <a:gd name="connsiteX5" fmla="*/ 252280 w 335881"/>
                <a:gd name="connsiteY5" fmla="*/ 609637 h 685992"/>
                <a:gd name="connsiteX6" fmla="*/ 335882 w 335881"/>
                <a:gd name="connsiteY6" fmla="*/ 609637 h 685992"/>
                <a:gd name="connsiteX7" fmla="*/ 335882 w 335881"/>
                <a:gd name="connsiteY7" fmla="*/ 0 h 685992"/>
                <a:gd name="connsiteX8" fmla="*/ 0 w 335881"/>
                <a:gd name="connsiteY8" fmla="*/ 0 h 685992"/>
                <a:gd name="connsiteX9" fmla="*/ 0 w 335881"/>
                <a:gd name="connsiteY9" fmla="*/ 685992 h 68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881" h="685992">
                  <a:moveTo>
                    <a:pt x="0" y="685992"/>
                  </a:moveTo>
                  <a:lnTo>
                    <a:pt x="95392" y="685992"/>
                  </a:lnTo>
                  <a:lnTo>
                    <a:pt x="95392" y="617005"/>
                  </a:lnTo>
                  <a:cubicBezTo>
                    <a:pt x="95392" y="612932"/>
                    <a:pt x="98688" y="609637"/>
                    <a:pt x="102761" y="609637"/>
                  </a:cubicBezTo>
                  <a:lnTo>
                    <a:pt x="246921" y="609637"/>
                  </a:lnTo>
                  <a:lnTo>
                    <a:pt x="252280" y="609637"/>
                  </a:lnTo>
                  <a:lnTo>
                    <a:pt x="335882" y="609637"/>
                  </a:lnTo>
                  <a:lnTo>
                    <a:pt x="335882" y="0"/>
                  </a:lnTo>
                  <a:lnTo>
                    <a:pt x="0" y="0"/>
                  </a:lnTo>
                  <a:lnTo>
                    <a:pt x="0" y="685992"/>
                  </a:ln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990" name="Freeform: Shape 989">
              <a:extLst>
                <a:ext uri="{FF2B5EF4-FFF2-40B4-BE49-F238E27FC236}">
                  <a16:creationId xmlns:a16="http://schemas.microsoft.com/office/drawing/2014/main" id="{2E092F0F-206B-435A-9CB4-00CD98736B05}"/>
                </a:ext>
              </a:extLst>
            </p:cNvPr>
            <p:cNvSpPr/>
            <p:nvPr/>
          </p:nvSpPr>
          <p:spPr>
            <a:xfrm>
              <a:off x="6240138" y="6298443"/>
              <a:ext cx="466241" cy="555672"/>
            </a:xfrm>
            <a:custGeom>
              <a:avLst/>
              <a:gdLst>
                <a:gd name="connsiteX0" fmla="*/ 461687 w 466241"/>
                <a:gd name="connsiteY0" fmla="*/ 0 h 267913"/>
                <a:gd name="connsiteX1" fmla="*/ 0 w 466241"/>
                <a:gd name="connsiteY1" fmla="*/ 0 h 267913"/>
                <a:gd name="connsiteX2" fmla="*/ 0 w 466241"/>
                <a:gd name="connsiteY2" fmla="*/ 267913 h 267913"/>
                <a:gd name="connsiteX3" fmla="*/ 466242 w 466241"/>
                <a:gd name="connsiteY3" fmla="*/ 267913 h 267913"/>
                <a:gd name="connsiteX4" fmla="*/ 466242 w 466241"/>
                <a:gd name="connsiteY4" fmla="*/ 2813 h 267913"/>
                <a:gd name="connsiteX5" fmla="*/ 461687 w 466241"/>
                <a:gd name="connsiteY5" fmla="*/ 0 h 26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241" h="267913">
                  <a:moveTo>
                    <a:pt x="461687" y="0"/>
                  </a:moveTo>
                  <a:lnTo>
                    <a:pt x="0" y="0"/>
                  </a:lnTo>
                  <a:lnTo>
                    <a:pt x="0" y="267913"/>
                  </a:lnTo>
                  <a:lnTo>
                    <a:pt x="466242" y="267913"/>
                  </a:lnTo>
                  <a:lnTo>
                    <a:pt x="466242" y="2813"/>
                  </a:lnTo>
                  <a:cubicBezTo>
                    <a:pt x="464433" y="2438"/>
                    <a:pt x="462825" y="1447"/>
                    <a:pt x="461687" y="0"/>
                  </a:cubicBezTo>
                  <a:close/>
                </a:path>
              </a:pathLst>
            </a:custGeom>
            <a:solidFill>
              <a:schemeClr val="tx2"/>
            </a:solidFill>
            <a:ln w="12700" cap="flat">
              <a:solidFill>
                <a:schemeClr val="tx1"/>
              </a:solidFill>
              <a:prstDash val="solid"/>
              <a:miter/>
            </a:ln>
          </p:spPr>
          <p:txBody>
            <a:bodyPr rtlCol="0" anchor="ctr"/>
            <a:lstStyle/>
            <a:p>
              <a:endParaRPr lang="en-US"/>
            </a:p>
          </p:txBody>
        </p:sp>
        <p:sp>
          <p:nvSpPr>
            <p:cNvPr id="991" name="Freeform: Shape 990">
              <a:extLst>
                <a:ext uri="{FF2B5EF4-FFF2-40B4-BE49-F238E27FC236}">
                  <a16:creationId xmlns:a16="http://schemas.microsoft.com/office/drawing/2014/main" id="{8A246B39-318B-402F-BB1E-12FDEDE5EA44}"/>
                </a:ext>
              </a:extLst>
            </p:cNvPr>
            <p:cNvSpPr/>
            <p:nvPr/>
          </p:nvSpPr>
          <p:spPr>
            <a:xfrm>
              <a:off x="6708925" y="6583120"/>
              <a:ext cx="101421" cy="270592"/>
            </a:xfrm>
            <a:custGeom>
              <a:avLst/>
              <a:gdLst>
                <a:gd name="connsiteX0" fmla="*/ 5761 w 101421"/>
                <a:gd name="connsiteY0" fmla="*/ 0 h 270592"/>
                <a:gd name="connsiteX1" fmla="*/ 0 w 101421"/>
                <a:gd name="connsiteY1" fmla="*/ 5894 h 270592"/>
                <a:gd name="connsiteX2" fmla="*/ 0 w 101421"/>
                <a:gd name="connsiteY2" fmla="*/ 270592 h 270592"/>
                <a:gd name="connsiteX3" fmla="*/ 101421 w 101421"/>
                <a:gd name="connsiteY3" fmla="*/ 270592 h 270592"/>
                <a:gd name="connsiteX4" fmla="*/ 101421 w 101421"/>
                <a:gd name="connsiteY4" fmla="*/ 0 h 27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21" h="270592">
                  <a:moveTo>
                    <a:pt x="5761" y="0"/>
                  </a:moveTo>
                  <a:cubicBezTo>
                    <a:pt x="5292" y="2987"/>
                    <a:pt x="2988" y="5358"/>
                    <a:pt x="0" y="5894"/>
                  </a:cubicBezTo>
                  <a:lnTo>
                    <a:pt x="0" y="270592"/>
                  </a:lnTo>
                  <a:lnTo>
                    <a:pt x="101421" y="270592"/>
                  </a:lnTo>
                  <a:lnTo>
                    <a:pt x="101421" y="0"/>
                  </a:lnTo>
                  <a:close/>
                </a:path>
              </a:pathLst>
            </a:custGeom>
            <a:solidFill>
              <a:schemeClr val="accent4"/>
            </a:solidFill>
            <a:ln w="12700" cap="flat">
              <a:noFill/>
              <a:prstDash val="solid"/>
              <a:miter/>
            </a:ln>
          </p:spPr>
          <p:txBody>
            <a:bodyPr rtlCol="0" anchor="ctr"/>
            <a:lstStyle/>
            <a:p>
              <a:endParaRPr lang="en-US"/>
            </a:p>
          </p:txBody>
        </p:sp>
        <p:sp>
          <p:nvSpPr>
            <p:cNvPr id="992" name="Freeform: Shape 991">
              <a:extLst>
                <a:ext uri="{FF2B5EF4-FFF2-40B4-BE49-F238E27FC236}">
                  <a16:creationId xmlns:a16="http://schemas.microsoft.com/office/drawing/2014/main" id="{1160F50E-9062-4BCA-AC7A-EAF8A8CB4FFA}"/>
                </a:ext>
              </a:extLst>
            </p:cNvPr>
            <p:cNvSpPr/>
            <p:nvPr/>
          </p:nvSpPr>
          <p:spPr>
            <a:xfrm>
              <a:off x="8346667" y="6518955"/>
              <a:ext cx="1607" cy="334891"/>
            </a:xfrm>
            <a:custGeom>
              <a:avLst/>
              <a:gdLst>
                <a:gd name="connsiteX0" fmla="*/ 0 w 1607"/>
                <a:gd name="connsiteY0" fmla="*/ 0 h 334891"/>
                <a:gd name="connsiteX1" fmla="*/ 1608 w 1607"/>
                <a:gd name="connsiteY1" fmla="*/ 0 h 334891"/>
                <a:gd name="connsiteX2" fmla="*/ 1608 w 1607"/>
                <a:gd name="connsiteY2" fmla="*/ 334892 h 334891"/>
                <a:gd name="connsiteX3" fmla="*/ 0 w 1607"/>
                <a:gd name="connsiteY3" fmla="*/ 334892 h 334891"/>
              </a:gdLst>
              <a:ahLst/>
              <a:cxnLst>
                <a:cxn ang="0">
                  <a:pos x="connsiteX0" y="connsiteY0"/>
                </a:cxn>
                <a:cxn ang="0">
                  <a:pos x="connsiteX1" y="connsiteY1"/>
                </a:cxn>
                <a:cxn ang="0">
                  <a:pos x="connsiteX2" y="connsiteY2"/>
                </a:cxn>
                <a:cxn ang="0">
                  <a:pos x="connsiteX3" y="connsiteY3"/>
                </a:cxn>
              </a:cxnLst>
              <a:rect l="l" t="t" r="r" b="b"/>
              <a:pathLst>
                <a:path w="1607" h="334891">
                  <a:moveTo>
                    <a:pt x="0" y="0"/>
                  </a:moveTo>
                  <a:lnTo>
                    <a:pt x="1608" y="0"/>
                  </a:lnTo>
                  <a:lnTo>
                    <a:pt x="1608" y="334892"/>
                  </a:lnTo>
                  <a:lnTo>
                    <a:pt x="0" y="334892"/>
                  </a:lnTo>
                  <a:close/>
                </a:path>
              </a:pathLst>
            </a:custGeom>
            <a:solidFill>
              <a:srgbClr val="F9AA19"/>
            </a:solidFill>
            <a:ln w="12700" cap="flat">
              <a:noFill/>
              <a:prstDash val="solid"/>
              <a:miter/>
            </a:ln>
          </p:spPr>
          <p:txBody>
            <a:bodyPr rtlCol="0" anchor="ctr"/>
            <a:lstStyle/>
            <a:p>
              <a:endParaRPr lang="en-US"/>
            </a:p>
          </p:txBody>
        </p:sp>
        <p:sp>
          <p:nvSpPr>
            <p:cNvPr id="993" name="Freeform: Shape 992">
              <a:extLst>
                <a:ext uri="{FF2B5EF4-FFF2-40B4-BE49-F238E27FC236}">
                  <a16:creationId xmlns:a16="http://schemas.microsoft.com/office/drawing/2014/main" id="{6F0D71BE-388D-44EB-9A2F-1E84AF5E96C2}"/>
                </a:ext>
              </a:extLst>
            </p:cNvPr>
            <p:cNvSpPr/>
            <p:nvPr/>
          </p:nvSpPr>
          <p:spPr>
            <a:xfrm>
              <a:off x="8087286" y="6518955"/>
              <a:ext cx="256700" cy="334891"/>
            </a:xfrm>
            <a:custGeom>
              <a:avLst/>
              <a:gdLst>
                <a:gd name="connsiteX0" fmla="*/ 0 w 256700"/>
                <a:gd name="connsiteY0" fmla="*/ 0 h 334891"/>
                <a:gd name="connsiteX1" fmla="*/ 256701 w 256700"/>
                <a:gd name="connsiteY1" fmla="*/ 0 h 334891"/>
                <a:gd name="connsiteX2" fmla="*/ 256701 w 256700"/>
                <a:gd name="connsiteY2" fmla="*/ 334892 h 334891"/>
                <a:gd name="connsiteX3" fmla="*/ 0 w 256700"/>
                <a:gd name="connsiteY3" fmla="*/ 334892 h 334891"/>
              </a:gdLst>
              <a:ahLst/>
              <a:cxnLst>
                <a:cxn ang="0">
                  <a:pos x="connsiteX0" y="connsiteY0"/>
                </a:cxn>
                <a:cxn ang="0">
                  <a:pos x="connsiteX1" y="connsiteY1"/>
                </a:cxn>
                <a:cxn ang="0">
                  <a:pos x="connsiteX2" y="connsiteY2"/>
                </a:cxn>
                <a:cxn ang="0">
                  <a:pos x="connsiteX3" y="connsiteY3"/>
                </a:cxn>
              </a:cxnLst>
              <a:rect l="l" t="t" r="r" b="b"/>
              <a:pathLst>
                <a:path w="256700" h="334891">
                  <a:moveTo>
                    <a:pt x="0" y="0"/>
                  </a:moveTo>
                  <a:lnTo>
                    <a:pt x="256701" y="0"/>
                  </a:lnTo>
                  <a:lnTo>
                    <a:pt x="256701" y="334892"/>
                  </a:lnTo>
                  <a:lnTo>
                    <a:pt x="0" y="334892"/>
                  </a:lnTo>
                  <a:close/>
                </a:path>
              </a:pathLst>
            </a:custGeom>
            <a:solidFill>
              <a:schemeClr val="bg1">
                <a:lumMod val="95000"/>
              </a:schemeClr>
            </a:solidFill>
            <a:ln w="12700" cap="flat">
              <a:noFill/>
              <a:prstDash val="solid"/>
              <a:miter/>
            </a:ln>
          </p:spPr>
          <p:txBody>
            <a:bodyPr rtlCol="0" anchor="ctr"/>
            <a:lstStyle/>
            <a:p>
              <a:endParaRPr lang="en-US"/>
            </a:p>
          </p:txBody>
        </p:sp>
        <p:sp>
          <p:nvSpPr>
            <p:cNvPr id="994" name="Freeform: Shape 993">
              <a:extLst>
                <a:ext uri="{FF2B5EF4-FFF2-40B4-BE49-F238E27FC236}">
                  <a16:creationId xmlns:a16="http://schemas.microsoft.com/office/drawing/2014/main" id="{11D8FE1C-6E10-4CFC-B9E3-6160A3156496}"/>
                </a:ext>
              </a:extLst>
            </p:cNvPr>
            <p:cNvSpPr/>
            <p:nvPr/>
          </p:nvSpPr>
          <p:spPr>
            <a:xfrm>
              <a:off x="7618231" y="5859084"/>
              <a:ext cx="32556" cy="310779"/>
            </a:xfrm>
            <a:custGeom>
              <a:avLst/>
              <a:gdLst>
                <a:gd name="connsiteX0" fmla="*/ 32556 w 32556"/>
                <a:gd name="connsiteY0" fmla="*/ 310779 h 310779"/>
                <a:gd name="connsiteX1" fmla="*/ 32556 w 32556"/>
                <a:gd name="connsiteY1" fmla="*/ 0 h 310779"/>
                <a:gd name="connsiteX2" fmla="*/ 2546 w 32556"/>
                <a:gd name="connsiteY2" fmla="*/ 0 h 310779"/>
                <a:gd name="connsiteX3" fmla="*/ 2546 w 32556"/>
                <a:gd name="connsiteY3" fmla="*/ 11788 h 310779"/>
                <a:gd name="connsiteX4" fmla="*/ 0 w 32556"/>
                <a:gd name="connsiteY4" fmla="*/ 17280 h 310779"/>
                <a:gd name="connsiteX5" fmla="*/ 0 w 32556"/>
                <a:gd name="connsiteY5" fmla="*/ 310779 h 310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56" h="310779">
                  <a:moveTo>
                    <a:pt x="32556" y="310779"/>
                  </a:moveTo>
                  <a:lnTo>
                    <a:pt x="32556" y="0"/>
                  </a:lnTo>
                  <a:lnTo>
                    <a:pt x="2546" y="0"/>
                  </a:lnTo>
                  <a:lnTo>
                    <a:pt x="2546" y="11788"/>
                  </a:lnTo>
                  <a:cubicBezTo>
                    <a:pt x="2573" y="13911"/>
                    <a:pt x="1635" y="15933"/>
                    <a:pt x="0" y="17280"/>
                  </a:cubicBezTo>
                  <a:lnTo>
                    <a:pt x="0" y="310779"/>
                  </a:lnTo>
                  <a:close/>
                </a:path>
              </a:pathLst>
            </a:custGeom>
            <a:solidFill>
              <a:srgbClr val="F4F5F3"/>
            </a:solidFill>
            <a:ln w="12700" cap="flat">
              <a:no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025BC125-3883-4318-BA23-E61A5E36AA89}"/>
                </a:ext>
              </a:extLst>
            </p:cNvPr>
            <p:cNvSpPr/>
            <p:nvPr/>
          </p:nvSpPr>
          <p:spPr>
            <a:xfrm>
              <a:off x="7266808" y="5877704"/>
              <a:ext cx="1473" cy="625979"/>
            </a:xfrm>
            <a:custGeom>
              <a:avLst/>
              <a:gdLst>
                <a:gd name="connsiteX0" fmla="*/ 0 w 1473"/>
                <a:gd name="connsiteY0" fmla="*/ 0 h 625979"/>
                <a:gd name="connsiteX1" fmla="*/ 0 w 1473"/>
                <a:gd name="connsiteY1" fmla="*/ 625980 h 625979"/>
                <a:gd name="connsiteX2" fmla="*/ 1474 w 1473"/>
                <a:gd name="connsiteY2" fmla="*/ 625980 h 625979"/>
                <a:gd name="connsiteX3" fmla="*/ 1474 w 1473"/>
                <a:gd name="connsiteY3" fmla="*/ 268 h 625979"/>
              </a:gdLst>
              <a:ahLst/>
              <a:cxnLst>
                <a:cxn ang="0">
                  <a:pos x="connsiteX0" y="connsiteY0"/>
                </a:cxn>
                <a:cxn ang="0">
                  <a:pos x="connsiteX1" y="connsiteY1"/>
                </a:cxn>
                <a:cxn ang="0">
                  <a:pos x="connsiteX2" y="connsiteY2"/>
                </a:cxn>
                <a:cxn ang="0">
                  <a:pos x="connsiteX3" y="connsiteY3"/>
                </a:cxn>
              </a:cxnLst>
              <a:rect l="l" t="t" r="r" b="b"/>
              <a:pathLst>
                <a:path w="1473" h="625979">
                  <a:moveTo>
                    <a:pt x="0" y="0"/>
                  </a:moveTo>
                  <a:lnTo>
                    <a:pt x="0" y="625980"/>
                  </a:lnTo>
                  <a:lnTo>
                    <a:pt x="1474" y="625980"/>
                  </a:lnTo>
                  <a:lnTo>
                    <a:pt x="1474" y="268"/>
                  </a:lnTo>
                  <a:close/>
                </a:path>
              </a:pathLst>
            </a:custGeom>
            <a:solidFill>
              <a:srgbClr val="F9AA19"/>
            </a:solidFill>
            <a:ln w="12700" cap="flat">
              <a:noFill/>
              <a:prstDash val="solid"/>
              <a:miter/>
            </a:ln>
          </p:spPr>
          <p:txBody>
            <a:bodyPr rtlCol="0" anchor="ctr"/>
            <a:lstStyle/>
            <a:p>
              <a:endParaRPr lang="en-US"/>
            </a:p>
          </p:txBody>
        </p:sp>
        <p:sp>
          <p:nvSpPr>
            <p:cNvPr id="996" name="Freeform: Shape 995">
              <a:extLst>
                <a:ext uri="{FF2B5EF4-FFF2-40B4-BE49-F238E27FC236}">
                  <a16:creationId xmlns:a16="http://schemas.microsoft.com/office/drawing/2014/main" id="{A8365818-E5A4-44C3-9068-16FA05BCFB39}"/>
                </a:ext>
              </a:extLst>
            </p:cNvPr>
            <p:cNvSpPr/>
            <p:nvPr/>
          </p:nvSpPr>
          <p:spPr>
            <a:xfrm>
              <a:off x="7065574" y="5843278"/>
              <a:ext cx="198554" cy="660406"/>
            </a:xfrm>
            <a:custGeom>
              <a:avLst/>
              <a:gdLst>
                <a:gd name="connsiteX0" fmla="*/ 198555 w 198554"/>
                <a:gd name="connsiteY0" fmla="*/ 660407 h 660406"/>
                <a:gd name="connsiteX1" fmla="*/ 198555 w 198554"/>
                <a:gd name="connsiteY1" fmla="*/ 32551 h 660406"/>
                <a:gd name="connsiteX2" fmla="*/ 198555 w 198554"/>
                <a:gd name="connsiteY2" fmla="*/ 22639 h 660406"/>
                <a:gd name="connsiteX3" fmla="*/ 198555 w 198554"/>
                <a:gd name="connsiteY3" fmla="*/ 14065 h 660406"/>
                <a:gd name="connsiteX4" fmla="*/ 196947 w 198554"/>
                <a:gd name="connsiteY4" fmla="*/ 8439 h 660406"/>
                <a:gd name="connsiteX5" fmla="*/ 196947 w 198554"/>
                <a:gd name="connsiteY5" fmla="*/ 8439 h 660406"/>
                <a:gd name="connsiteX6" fmla="*/ 194402 w 198554"/>
                <a:gd name="connsiteY6" fmla="*/ 0 h 660406"/>
                <a:gd name="connsiteX7" fmla="*/ 0 w 198554"/>
                <a:gd name="connsiteY7" fmla="*/ 0 h 660406"/>
                <a:gd name="connsiteX8" fmla="*/ 0 w 198554"/>
                <a:gd name="connsiteY8" fmla="*/ 660407 h 66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554" h="660406">
                  <a:moveTo>
                    <a:pt x="198555" y="660407"/>
                  </a:moveTo>
                  <a:lnTo>
                    <a:pt x="198555" y="32551"/>
                  </a:lnTo>
                  <a:cubicBezTo>
                    <a:pt x="196063" y="29718"/>
                    <a:pt x="196063" y="25472"/>
                    <a:pt x="198555" y="22639"/>
                  </a:cubicBezTo>
                  <a:lnTo>
                    <a:pt x="198555" y="14065"/>
                  </a:lnTo>
                  <a:lnTo>
                    <a:pt x="196947" y="8439"/>
                  </a:lnTo>
                  <a:lnTo>
                    <a:pt x="196947" y="8439"/>
                  </a:lnTo>
                  <a:lnTo>
                    <a:pt x="194402" y="0"/>
                  </a:lnTo>
                  <a:lnTo>
                    <a:pt x="0" y="0"/>
                  </a:lnTo>
                  <a:lnTo>
                    <a:pt x="0" y="660407"/>
                  </a:lnTo>
                  <a:close/>
                </a:path>
              </a:pathLst>
            </a:custGeom>
            <a:solidFill>
              <a:schemeClr val="accent2">
                <a:lumMod val="75000"/>
              </a:schemeClr>
            </a:solidFill>
            <a:ln w="12700" cap="flat">
              <a:noFill/>
              <a:prstDash val="solid"/>
              <a:miter/>
            </a:ln>
          </p:spPr>
          <p:txBody>
            <a:bodyPr rtlCol="0" anchor="ctr"/>
            <a:lstStyle/>
            <a:p>
              <a:endParaRPr lang="en-US"/>
            </a:p>
          </p:txBody>
        </p:sp>
        <p:sp>
          <p:nvSpPr>
            <p:cNvPr id="997" name="Freeform: Shape 996">
              <a:extLst>
                <a:ext uri="{FF2B5EF4-FFF2-40B4-BE49-F238E27FC236}">
                  <a16:creationId xmlns:a16="http://schemas.microsoft.com/office/drawing/2014/main" id="{C212015A-18C4-40C5-8DF7-ADF2338257CB}"/>
                </a:ext>
              </a:extLst>
            </p:cNvPr>
            <p:cNvSpPr/>
            <p:nvPr/>
          </p:nvSpPr>
          <p:spPr>
            <a:xfrm>
              <a:off x="5552833" y="6547086"/>
              <a:ext cx="42202" cy="33489"/>
            </a:xfrm>
            <a:custGeom>
              <a:avLst/>
              <a:gdLst>
                <a:gd name="connsiteX0" fmla="*/ 19025 w 42202"/>
                <a:gd name="connsiteY0" fmla="*/ 33489 h 33489"/>
                <a:gd name="connsiteX1" fmla="*/ 20231 w 42202"/>
                <a:gd name="connsiteY1" fmla="*/ 32150 h 33489"/>
                <a:gd name="connsiteX2" fmla="*/ 30681 w 42202"/>
                <a:gd name="connsiteY2" fmla="*/ 32150 h 33489"/>
                <a:gd name="connsiteX3" fmla="*/ 31753 w 42202"/>
                <a:gd name="connsiteY3" fmla="*/ 31480 h 33489"/>
                <a:gd name="connsiteX4" fmla="*/ 42203 w 42202"/>
                <a:gd name="connsiteY4" fmla="*/ 31480 h 33489"/>
                <a:gd name="connsiteX5" fmla="*/ 42203 w 42202"/>
                <a:gd name="connsiteY5" fmla="*/ 29471 h 33489"/>
                <a:gd name="connsiteX6" fmla="*/ 42203 w 42202"/>
                <a:gd name="connsiteY6" fmla="*/ 0 h 33489"/>
                <a:gd name="connsiteX7" fmla="*/ 0 w 42202"/>
                <a:gd name="connsiteY7" fmla="*/ 0 h 33489"/>
                <a:gd name="connsiteX8" fmla="*/ 0 w 42202"/>
                <a:gd name="connsiteY8" fmla="*/ 33489 h 3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02" h="33489">
                  <a:moveTo>
                    <a:pt x="19025" y="33489"/>
                  </a:moveTo>
                  <a:cubicBezTo>
                    <a:pt x="19025" y="32793"/>
                    <a:pt x="19548" y="32217"/>
                    <a:pt x="20231" y="32150"/>
                  </a:cubicBezTo>
                  <a:lnTo>
                    <a:pt x="30681" y="32150"/>
                  </a:lnTo>
                  <a:cubicBezTo>
                    <a:pt x="30681" y="32150"/>
                    <a:pt x="31351" y="31480"/>
                    <a:pt x="31753" y="31480"/>
                  </a:cubicBezTo>
                  <a:lnTo>
                    <a:pt x="42203" y="31480"/>
                  </a:lnTo>
                  <a:cubicBezTo>
                    <a:pt x="42136" y="30810"/>
                    <a:pt x="42136" y="30140"/>
                    <a:pt x="42203" y="29471"/>
                  </a:cubicBezTo>
                  <a:lnTo>
                    <a:pt x="42203" y="0"/>
                  </a:lnTo>
                  <a:lnTo>
                    <a:pt x="0" y="0"/>
                  </a:lnTo>
                  <a:lnTo>
                    <a:pt x="0" y="33489"/>
                  </a:lnTo>
                  <a:close/>
                </a:path>
              </a:pathLst>
            </a:custGeom>
            <a:solidFill>
              <a:srgbClr val="DD2A27"/>
            </a:solidFill>
            <a:ln w="12700" cap="flat">
              <a:noFill/>
              <a:prstDash val="solid"/>
              <a:miter/>
            </a:ln>
          </p:spPr>
          <p:txBody>
            <a:bodyPr rtlCol="0" anchor="ctr"/>
            <a:lstStyle/>
            <a:p>
              <a:endParaRPr lang="en-US"/>
            </a:p>
          </p:txBody>
        </p:sp>
        <p:sp>
          <p:nvSpPr>
            <p:cNvPr id="998" name="Freeform: Shape 997">
              <a:extLst>
                <a:ext uri="{FF2B5EF4-FFF2-40B4-BE49-F238E27FC236}">
                  <a16:creationId xmlns:a16="http://schemas.microsoft.com/office/drawing/2014/main" id="{CBDDF55A-575B-45AB-99A4-F44472273B92}"/>
                </a:ext>
              </a:extLst>
            </p:cNvPr>
            <p:cNvSpPr/>
            <p:nvPr/>
          </p:nvSpPr>
          <p:spPr>
            <a:xfrm>
              <a:off x="5519875" y="6547086"/>
              <a:ext cx="30814" cy="33489"/>
            </a:xfrm>
            <a:custGeom>
              <a:avLst/>
              <a:gdLst>
                <a:gd name="connsiteX0" fmla="*/ 0 w 30814"/>
                <a:gd name="connsiteY0" fmla="*/ 0 h 33489"/>
                <a:gd name="connsiteX1" fmla="*/ 30815 w 30814"/>
                <a:gd name="connsiteY1" fmla="*/ 0 h 33489"/>
                <a:gd name="connsiteX2" fmla="*/ 30815 w 30814"/>
                <a:gd name="connsiteY2" fmla="*/ 33489 h 33489"/>
                <a:gd name="connsiteX3" fmla="*/ 0 w 30814"/>
                <a:gd name="connsiteY3" fmla="*/ 33489 h 33489"/>
              </a:gdLst>
              <a:ahLst/>
              <a:cxnLst>
                <a:cxn ang="0">
                  <a:pos x="connsiteX0" y="connsiteY0"/>
                </a:cxn>
                <a:cxn ang="0">
                  <a:pos x="connsiteX1" y="connsiteY1"/>
                </a:cxn>
                <a:cxn ang="0">
                  <a:pos x="connsiteX2" y="connsiteY2"/>
                </a:cxn>
                <a:cxn ang="0">
                  <a:pos x="connsiteX3" y="connsiteY3"/>
                </a:cxn>
              </a:cxnLst>
              <a:rect l="l" t="t" r="r" b="b"/>
              <a:pathLst>
                <a:path w="30814" h="33489">
                  <a:moveTo>
                    <a:pt x="0" y="0"/>
                  </a:moveTo>
                  <a:lnTo>
                    <a:pt x="30815" y="0"/>
                  </a:lnTo>
                  <a:lnTo>
                    <a:pt x="30815" y="33489"/>
                  </a:lnTo>
                  <a:lnTo>
                    <a:pt x="0" y="33489"/>
                  </a:lnTo>
                  <a:close/>
                </a:path>
              </a:pathLst>
            </a:custGeom>
            <a:solidFill>
              <a:srgbClr val="DD2A27"/>
            </a:solidFill>
            <a:ln w="12700" cap="flat">
              <a:noFill/>
              <a:prstDash val="solid"/>
              <a:miter/>
            </a:ln>
          </p:spPr>
          <p:txBody>
            <a:bodyPr rtlCol="0" anchor="ctr"/>
            <a:lstStyle/>
            <a:p>
              <a:endParaRPr lang="en-US"/>
            </a:p>
          </p:txBody>
        </p:sp>
        <p:sp>
          <p:nvSpPr>
            <p:cNvPr id="999" name="Freeform: Shape 998">
              <a:extLst>
                <a:ext uri="{FF2B5EF4-FFF2-40B4-BE49-F238E27FC236}">
                  <a16:creationId xmlns:a16="http://schemas.microsoft.com/office/drawing/2014/main" id="{1FA52B97-60D0-41BF-BFC2-37AF3AD252EB}"/>
                </a:ext>
              </a:extLst>
            </p:cNvPr>
            <p:cNvSpPr/>
            <p:nvPr/>
          </p:nvSpPr>
          <p:spPr>
            <a:xfrm>
              <a:off x="5519875" y="6233615"/>
              <a:ext cx="269026" cy="620097"/>
            </a:xfrm>
            <a:custGeom>
              <a:avLst/>
              <a:gdLst>
                <a:gd name="connsiteX0" fmla="*/ 82932 w 269026"/>
                <a:gd name="connsiteY0" fmla="*/ 3081 h 270592"/>
                <a:gd name="connsiteX1" fmla="*/ 82932 w 269026"/>
                <a:gd name="connsiteY1" fmla="*/ 3081 h 270592"/>
                <a:gd name="connsiteX2" fmla="*/ 77037 w 269026"/>
                <a:gd name="connsiteY2" fmla="*/ 0 h 270592"/>
                <a:gd name="connsiteX3" fmla="*/ 0 w 269026"/>
                <a:gd name="connsiteY3" fmla="*/ 0 h 270592"/>
                <a:gd name="connsiteX4" fmla="*/ 0 w 269026"/>
                <a:gd name="connsiteY4" fmla="*/ 270592 h 270592"/>
                <a:gd name="connsiteX5" fmla="*/ 269027 w 269026"/>
                <a:gd name="connsiteY5" fmla="*/ 270592 h 270592"/>
                <a:gd name="connsiteX6" fmla="*/ 269027 w 269026"/>
                <a:gd name="connsiteY6" fmla="*/ 2679 h 27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026" h="270592">
                  <a:moveTo>
                    <a:pt x="82932" y="3081"/>
                  </a:moveTo>
                  <a:lnTo>
                    <a:pt x="82932" y="3081"/>
                  </a:lnTo>
                  <a:cubicBezTo>
                    <a:pt x="80588" y="3068"/>
                    <a:pt x="78390" y="1929"/>
                    <a:pt x="77037" y="0"/>
                  </a:cubicBezTo>
                  <a:lnTo>
                    <a:pt x="0" y="0"/>
                  </a:lnTo>
                  <a:lnTo>
                    <a:pt x="0" y="270592"/>
                  </a:lnTo>
                  <a:lnTo>
                    <a:pt x="269027" y="270592"/>
                  </a:lnTo>
                  <a:lnTo>
                    <a:pt x="269027" y="2679"/>
                  </a:lnTo>
                  <a:close/>
                </a:path>
              </a:pathLst>
            </a:custGeom>
            <a:solidFill>
              <a:srgbClr val="088A8F"/>
            </a:solidFill>
            <a:ln w="12700" cap="flat">
              <a:solidFill>
                <a:schemeClr val="tx1"/>
              </a:solidFill>
              <a:prstDash val="solid"/>
              <a:miter/>
            </a:ln>
          </p:spPr>
          <p:txBody>
            <a:bodyPr rtlCol="0" anchor="ctr"/>
            <a:lstStyle/>
            <a:p>
              <a:endParaRPr lang="en-US"/>
            </a:p>
          </p:txBody>
        </p:sp>
        <p:sp>
          <p:nvSpPr>
            <p:cNvPr id="1000" name="Freeform: Shape 999">
              <a:extLst>
                <a:ext uri="{FF2B5EF4-FFF2-40B4-BE49-F238E27FC236}">
                  <a16:creationId xmlns:a16="http://schemas.microsoft.com/office/drawing/2014/main" id="{4C3BC277-A897-450F-8F63-8D3A27FF1B20}"/>
                </a:ext>
              </a:extLst>
            </p:cNvPr>
            <p:cNvSpPr/>
            <p:nvPr/>
          </p:nvSpPr>
          <p:spPr>
            <a:xfrm>
              <a:off x="4954623" y="5937449"/>
              <a:ext cx="492233" cy="916397"/>
            </a:xfrm>
            <a:custGeom>
              <a:avLst/>
              <a:gdLst>
                <a:gd name="connsiteX0" fmla="*/ 0 w 492233"/>
                <a:gd name="connsiteY0" fmla="*/ 0 h 916397"/>
                <a:gd name="connsiteX1" fmla="*/ 0 w 492233"/>
                <a:gd name="connsiteY1" fmla="*/ 641385 h 916397"/>
                <a:gd name="connsiteX2" fmla="*/ 0 w 492233"/>
                <a:gd name="connsiteY2" fmla="*/ 642456 h 916397"/>
                <a:gd name="connsiteX3" fmla="*/ 0 w 492233"/>
                <a:gd name="connsiteY3" fmla="*/ 643126 h 916397"/>
                <a:gd name="connsiteX4" fmla="*/ 0 w 492233"/>
                <a:gd name="connsiteY4" fmla="*/ 644466 h 916397"/>
                <a:gd name="connsiteX5" fmla="*/ 0 w 492233"/>
                <a:gd name="connsiteY5" fmla="*/ 916398 h 916397"/>
                <a:gd name="connsiteX6" fmla="*/ 492233 w 492233"/>
                <a:gd name="connsiteY6" fmla="*/ 916398 h 916397"/>
                <a:gd name="connsiteX7" fmla="*/ 492233 w 492233"/>
                <a:gd name="connsiteY7" fmla="*/ 0 h 916397"/>
                <a:gd name="connsiteX8" fmla="*/ 0 w 492233"/>
                <a:gd name="connsiteY8" fmla="*/ 0 h 91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233" h="916397">
                  <a:moveTo>
                    <a:pt x="0" y="0"/>
                  </a:moveTo>
                  <a:lnTo>
                    <a:pt x="0" y="641385"/>
                  </a:lnTo>
                  <a:lnTo>
                    <a:pt x="0" y="642456"/>
                  </a:lnTo>
                  <a:lnTo>
                    <a:pt x="0" y="643126"/>
                  </a:lnTo>
                  <a:lnTo>
                    <a:pt x="0" y="644466"/>
                  </a:lnTo>
                  <a:lnTo>
                    <a:pt x="0" y="916398"/>
                  </a:lnTo>
                  <a:lnTo>
                    <a:pt x="492233" y="916398"/>
                  </a:lnTo>
                  <a:lnTo>
                    <a:pt x="492233" y="0"/>
                  </a:lnTo>
                  <a:lnTo>
                    <a:pt x="0" y="0"/>
                  </a:lnTo>
                  <a:close/>
                </a:path>
              </a:pathLst>
            </a:custGeom>
            <a:solidFill>
              <a:schemeClr val="accent5"/>
            </a:solidFill>
            <a:ln w="12700" cap="flat">
              <a:noFill/>
              <a:prstDash val="solid"/>
              <a:miter/>
            </a:ln>
          </p:spPr>
          <p:txBody>
            <a:bodyPr rtlCol="0" anchor="ctr"/>
            <a:lstStyle/>
            <a:p>
              <a:endParaRPr lang="en-US"/>
            </a:p>
          </p:txBody>
        </p:sp>
        <p:sp>
          <p:nvSpPr>
            <p:cNvPr id="1001" name="Freeform: Shape 1000">
              <a:extLst>
                <a:ext uri="{FF2B5EF4-FFF2-40B4-BE49-F238E27FC236}">
                  <a16:creationId xmlns:a16="http://schemas.microsoft.com/office/drawing/2014/main" id="{C71BDA87-6340-49F8-BA83-FCF4649C80C0}"/>
                </a:ext>
              </a:extLst>
            </p:cNvPr>
            <p:cNvSpPr/>
            <p:nvPr/>
          </p:nvSpPr>
          <p:spPr>
            <a:xfrm>
              <a:off x="5449536" y="5938119"/>
              <a:ext cx="55600" cy="915727"/>
            </a:xfrm>
            <a:custGeom>
              <a:avLst/>
              <a:gdLst>
                <a:gd name="connsiteX0" fmla="*/ 55601 w 55600"/>
                <a:gd name="connsiteY0" fmla="*/ 603475 h 915727"/>
                <a:gd name="connsiteX1" fmla="*/ 55601 w 55600"/>
                <a:gd name="connsiteY1" fmla="*/ 601600 h 915727"/>
                <a:gd name="connsiteX2" fmla="*/ 55601 w 55600"/>
                <a:gd name="connsiteY2" fmla="*/ 15003 h 915727"/>
                <a:gd name="connsiteX3" fmla="*/ 0 w 55600"/>
                <a:gd name="connsiteY3" fmla="*/ 0 h 915727"/>
                <a:gd name="connsiteX4" fmla="*/ 0 w 55600"/>
                <a:gd name="connsiteY4" fmla="*/ 915728 h 915727"/>
                <a:gd name="connsiteX5" fmla="*/ 55601 w 55600"/>
                <a:gd name="connsiteY5" fmla="*/ 915728 h 915727"/>
                <a:gd name="connsiteX6" fmla="*/ 55601 w 55600"/>
                <a:gd name="connsiteY6" fmla="*/ 643796 h 915727"/>
                <a:gd name="connsiteX7" fmla="*/ 55601 w 55600"/>
                <a:gd name="connsiteY7" fmla="*/ 603475 h 91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00" h="915727">
                  <a:moveTo>
                    <a:pt x="55601" y="603475"/>
                  </a:moveTo>
                  <a:lnTo>
                    <a:pt x="55601" y="601600"/>
                  </a:lnTo>
                  <a:lnTo>
                    <a:pt x="55601" y="15003"/>
                  </a:lnTo>
                  <a:lnTo>
                    <a:pt x="0" y="0"/>
                  </a:lnTo>
                  <a:lnTo>
                    <a:pt x="0" y="915728"/>
                  </a:lnTo>
                  <a:lnTo>
                    <a:pt x="55601" y="915728"/>
                  </a:lnTo>
                  <a:lnTo>
                    <a:pt x="55601" y="643796"/>
                  </a:lnTo>
                  <a:lnTo>
                    <a:pt x="55601" y="603475"/>
                  </a:lnTo>
                  <a:close/>
                </a:path>
              </a:pathLst>
            </a:custGeom>
            <a:solidFill>
              <a:srgbClr val="22B0AE"/>
            </a:solidFill>
            <a:ln w="12700" cap="flat">
              <a:noFill/>
              <a:prstDash val="solid"/>
              <a:miter/>
            </a:ln>
          </p:spPr>
          <p:txBody>
            <a:bodyPr rtlCol="0" anchor="ctr"/>
            <a:lstStyle/>
            <a:p>
              <a:endParaRPr lang="en-US"/>
            </a:p>
          </p:txBody>
        </p:sp>
        <p:sp>
          <p:nvSpPr>
            <p:cNvPr id="1002" name="Freeform: Shape 1001">
              <a:extLst>
                <a:ext uri="{FF2B5EF4-FFF2-40B4-BE49-F238E27FC236}">
                  <a16:creationId xmlns:a16="http://schemas.microsoft.com/office/drawing/2014/main" id="{C6FA4F0A-0128-4F67-8F08-0D256C62EA0F}"/>
                </a:ext>
              </a:extLst>
            </p:cNvPr>
            <p:cNvSpPr/>
            <p:nvPr/>
          </p:nvSpPr>
          <p:spPr>
            <a:xfrm>
              <a:off x="7827906" y="5873820"/>
              <a:ext cx="5224" cy="289480"/>
            </a:xfrm>
            <a:custGeom>
              <a:avLst/>
              <a:gdLst>
                <a:gd name="connsiteX0" fmla="*/ 134 w 5224"/>
                <a:gd name="connsiteY0" fmla="*/ 289480 h 289480"/>
                <a:gd name="connsiteX1" fmla="*/ 938 w 5224"/>
                <a:gd name="connsiteY1" fmla="*/ 288409 h 289480"/>
                <a:gd name="connsiteX2" fmla="*/ 1875 w 5224"/>
                <a:gd name="connsiteY2" fmla="*/ 287203 h 289480"/>
                <a:gd name="connsiteX3" fmla="*/ 1875 w 5224"/>
                <a:gd name="connsiteY3" fmla="*/ 287203 h 289480"/>
                <a:gd name="connsiteX4" fmla="*/ 4555 w 5224"/>
                <a:gd name="connsiteY4" fmla="*/ 285060 h 289480"/>
                <a:gd name="connsiteX5" fmla="*/ 5225 w 5224"/>
                <a:gd name="connsiteY5" fmla="*/ 285060 h 289480"/>
                <a:gd name="connsiteX6" fmla="*/ 5225 w 5224"/>
                <a:gd name="connsiteY6" fmla="*/ 0 h 289480"/>
                <a:gd name="connsiteX7" fmla="*/ 4555 w 5224"/>
                <a:gd name="connsiteY7" fmla="*/ 938 h 289480"/>
                <a:gd name="connsiteX8" fmla="*/ 4555 w 5224"/>
                <a:gd name="connsiteY8" fmla="*/ 938 h 289480"/>
                <a:gd name="connsiteX9" fmla="*/ 2679 w 5224"/>
                <a:gd name="connsiteY9" fmla="*/ 2679 h 289480"/>
                <a:gd name="connsiteX10" fmla="*/ 2009 w 5224"/>
                <a:gd name="connsiteY10" fmla="*/ 2679 h 289480"/>
                <a:gd name="connsiteX11" fmla="*/ 0 w 5224"/>
                <a:gd name="connsiteY11" fmla="*/ 2679 h 28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4" h="289480">
                  <a:moveTo>
                    <a:pt x="134" y="289480"/>
                  </a:moveTo>
                  <a:lnTo>
                    <a:pt x="938" y="288409"/>
                  </a:lnTo>
                  <a:lnTo>
                    <a:pt x="1875" y="287203"/>
                  </a:lnTo>
                  <a:lnTo>
                    <a:pt x="1875" y="287203"/>
                  </a:lnTo>
                  <a:lnTo>
                    <a:pt x="4555" y="285060"/>
                  </a:lnTo>
                  <a:lnTo>
                    <a:pt x="5225" y="285060"/>
                  </a:lnTo>
                  <a:lnTo>
                    <a:pt x="5225" y="0"/>
                  </a:lnTo>
                  <a:lnTo>
                    <a:pt x="4555" y="938"/>
                  </a:lnTo>
                  <a:lnTo>
                    <a:pt x="4555" y="938"/>
                  </a:lnTo>
                  <a:cubicBezTo>
                    <a:pt x="4032" y="1618"/>
                    <a:pt x="3390" y="2206"/>
                    <a:pt x="2679" y="2679"/>
                  </a:cubicBezTo>
                  <a:lnTo>
                    <a:pt x="2009" y="2679"/>
                  </a:lnTo>
                  <a:lnTo>
                    <a:pt x="0" y="2679"/>
                  </a:lnTo>
                  <a:close/>
                </a:path>
              </a:pathLst>
            </a:custGeom>
            <a:solidFill>
              <a:srgbClr val="F39896"/>
            </a:solidFill>
            <a:ln w="12700" cap="flat">
              <a:noFill/>
              <a:prstDash val="solid"/>
              <a:miter/>
            </a:ln>
          </p:spPr>
          <p:txBody>
            <a:bodyPr rtlCol="0" anchor="ctr"/>
            <a:lstStyle/>
            <a:p>
              <a:endParaRPr lang="en-US"/>
            </a:p>
          </p:txBody>
        </p:sp>
        <p:sp>
          <p:nvSpPr>
            <p:cNvPr id="1003" name="Freeform: Shape 1002">
              <a:extLst>
                <a:ext uri="{FF2B5EF4-FFF2-40B4-BE49-F238E27FC236}">
                  <a16:creationId xmlns:a16="http://schemas.microsoft.com/office/drawing/2014/main" id="{F12FE61B-3742-4A2F-AC13-2A08BC07DD67}"/>
                </a:ext>
              </a:extLst>
            </p:cNvPr>
            <p:cNvSpPr/>
            <p:nvPr/>
          </p:nvSpPr>
          <p:spPr>
            <a:xfrm>
              <a:off x="7836213" y="5869399"/>
              <a:ext cx="134" cy="287203"/>
            </a:xfrm>
            <a:custGeom>
              <a:avLst/>
              <a:gdLst>
                <a:gd name="connsiteX0" fmla="*/ 134 w 134"/>
                <a:gd name="connsiteY0" fmla="*/ 287203 h 287203"/>
                <a:gd name="connsiteX1" fmla="*/ 134 w 134"/>
                <a:gd name="connsiteY1" fmla="*/ 0 h 287203"/>
                <a:gd name="connsiteX2" fmla="*/ 0 w 134"/>
                <a:gd name="connsiteY2" fmla="*/ 268 h 287203"/>
                <a:gd name="connsiteX3" fmla="*/ 0 w 134"/>
                <a:gd name="connsiteY3" fmla="*/ 287203 h 287203"/>
                <a:gd name="connsiteX4" fmla="*/ 134 w 134"/>
                <a:gd name="connsiteY4" fmla="*/ 287203 h 287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 h="287203">
                  <a:moveTo>
                    <a:pt x="134" y="287203"/>
                  </a:moveTo>
                  <a:lnTo>
                    <a:pt x="134" y="0"/>
                  </a:lnTo>
                  <a:lnTo>
                    <a:pt x="0" y="268"/>
                  </a:lnTo>
                  <a:lnTo>
                    <a:pt x="0" y="287203"/>
                  </a:lnTo>
                  <a:lnTo>
                    <a:pt x="134" y="287203"/>
                  </a:lnTo>
                  <a:close/>
                </a:path>
              </a:pathLst>
            </a:custGeom>
            <a:solidFill>
              <a:srgbClr val="F4F5F3"/>
            </a:solidFill>
            <a:ln w="12700" cap="flat">
              <a:noFill/>
              <a:prstDash val="solid"/>
              <a:miter/>
            </a:ln>
          </p:spPr>
          <p:txBody>
            <a:bodyPr rtlCol="0" anchor="ctr"/>
            <a:lstStyle/>
            <a:p>
              <a:endParaRPr lang="en-US"/>
            </a:p>
          </p:txBody>
        </p:sp>
        <p:sp>
          <p:nvSpPr>
            <p:cNvPr id="1004" name="Freeform: Shape 1003">
              <a:extLst>
                <a:ext uri="{FF2B5EF4-FFF2-40B4-BE49-F238E27FC236}">
                  <a16:creationId xmlns:a16="http://schemas.microsoft.com/office/drawing/2014/main" id="{61BBFDF2-AD04-4407-AB9A-903C0923AD91}"/>
                </a:ext>
              </a:extLst>
            </p:cNvPr>
            <p:cNvSpPr/>
            <p:nvPr/>
          </p:nvSpPr>
          <p:spPr>
            <a:xfrm>
              <a:off x="8363012" y="5822782"/>
              <a:ext cx="431005" cy="320826"/>
            </a:xfrm>
            <a:custGeom>
              <a:avLst/>
              <a:gdLst>
                <a:gd name="connsiteX0" fmla="*/ 0 w 431005"/>
                <a:gd name="connsiteY0" fmla="*/ 196113 h 320826"/>
                <a:gd name="connsiteX1" fmla="*/ 332130 w 431005"/>
                <a:gd name="connsiteY1" fmla="*/ 196113 h 320826"/>
                <a:gd name="connsiteX2" fmla="*/ 339499 w 431005"/>
                <a:gd name="connsiteY2" fmla="*/ 203480 h 320826"/>
                <a:gd name="connsiteX3" fmla="*/ 339499 w 431005"/>
                <a:gd name="connsiteY3" fmla="*/ 320826 h 320826"/>
                <a:gd name="connsiteX4" fmla="*/ 380496 w 431005"/>
                <a:gd name="connsiteY4" fmla="*/ 320826 h 320826"/>
                <a:gd name="connsiteX5" fmla="*/ 384917 w 431005"/>
                <a:gd name="connsiteY5" fmla="*/ 319085 h 320826"/>
                <a:gd name="connsiteX6" fmla="*/ 389473 w 431005"/>
                <a:gd name="connsiteY6" fmla="*/ 320826 h 320826"/>
                <a:gd name="connsiteX7" fmla="*/ 412517 w 431005"/>
                <a:gd name="connsiteY7" fmla="*/ 320826 h 320826"/>
                <a:gd name="connsiteX8" fmla="*/ 431006 w 431005"/>
                <a:gd name="connsiteY8" fmla="*/ 316272 h 320826"/>
                <a:gd name="connsiteX9" fmla="*/ 431006 w 431005"/>
                <a:gd name="connsiteY9" fmla="*/ 0 h 320826"/>
                <a:gd name="connsiteX10" fmla="*/ 0 w 431005"/>
                <a:gd name="connsiteY10" fmla="*/ 0 h 32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005" h="320826">
                  <a:moveTo>
                    <a:pt x="0" y="196113"/>
                  </a:moveTo>
                  <a:lnTo>
                    <a:pt x="332130" y="196113"/>
                  </a:lnTo>
                  <a:cubicBezTo>
                    <a:pt x="336203" y="196113"/>
                    <a:pt x="339499" y="199411"/>
                    <a:pt x="339499" y="203480"/>
                  </a:cubicBezTo>
                  <a:lnTo>
                    <a:pt x="339499" y="320826"/>
                  </a:lnTo>
                  <a:lnTo>
                    <a:pt x="380496" y="320826"/>
                  </a:lnTo>
                  <a:cubicBezTo>
                    <a:pt x="381702" y="319714"/>
                    <a:pt x="383283" y="319098"/>
                    <a:pt x="384917" y="319085"/>
                  </a:cubicBezTo>
                  <a:cubicBezTo>
                    <a:pt x="386592" y="319112"/>
                    <a:pt x="388213" y="319728"/>
                    <a:pt x="389473" y="320826"/>
                  </a:cubicBezTo>
                  <a:lnTo>
                    <a:pt x="412517" y="320826"/>
                  </a:lnTo>
                  <a:lnTo>
                    <a:pt x="431006" y="316272"/>
                  </a:lnTo>
                  <a:lnTo>
                    <a:pt x="431006" y="0"/>
                  </a:lnTo>
                  <a:lnTo>
                    <a:pt x="0" y="0"/>
                  </a:lnTo>
                  <a:close/>
                </a:path>
              </a:pathLst>
            </a:custGeom>
            <a:solidFill>
              <a:schemeClr val="accent3"/>
            </a:solidFill>
            <a:ln w="12700" cap="flat">
              <a:noFill/>
              <a:prstDash val="solid"/>
              <a:miter/>
            </a:ln>
          </p:spPr>
          <p:txBody>
            <a:bodyPr rtlCol="0" anchor="ctr"/>
            <a:lstStyle/>
            <a:p>
              <a:endParaRPr lang="en-US"/>
            </a:p>
          </p:txBody>
        </p:sp>
        <p:sp>
          <p:nvSpPr>
            <p:cNvPr id="1005" name="Freeform: Shape 1004">
              <a:extLst>
                <a:ext uri="{FF2B5EF4-FFF2-40B4-BE49-F238E27FC236}">
                  <a16:creationId xmlns:a16="http://schemas.microsoft.com/office/drawing/2014/main" id="{F4C11BA2-A726-4E10-BCAE-3DE2F37B339F}"/>
                </a:ext>
              </a:extLst>
            </p:cNvPr>
            <p:cNvSpPr/>
            <p:nvPr/>
          </p:nvSpPr>
          <p:spPr>
            <a:xfrm>
              <a:off x="8363012" y="6032826"/>
              <a:ext cx="327172" cy="468848"/>
            </a:xfrm>
            <a:custGeom>
              <a:avLst/>
              <a:gdLst>
                <a:gd name="connsiteX0" fmla="*/ 324225 w 327172"/>
                <a:gd name="connsiteY0" fmla="*/ 804 h 468848"/>
                <a:gd name="connsiteX1" fmla="*/ 0 w 327172"/>
                <a:gd name="connsiteY1" fmla="*/ 804 h 468848"/>
                <a:gd name="connsiteX2" fmla="*/ 0 w 327172"/>
                <a:gd name="connsiteY2" fmla="*/ 137172 h 468848"/>
                <a:gd name="connsiteX3" fmla="*/ 6565 w 327172"/>
                <a:gd name="connsiteY3" fmla="*/ 144405 h 468848"/>
                <a:gd name="connsiteX4" fmla="*/ 6565 w 327172"/>
                <a:gd name="connsiteY4" fmla="*/ 266574 h 468848"/>
                <a:gd name="connsiteX5" fmla="*/ 6565 w 327172"/>
                <a:gd name="connsiteY5" fmla="*/ 267378 h 468848"/>
                <a:gd name="connsiteX6" fmla="*/ 6565 w 327172"/>
                <a:gd name="connsiteY6" fmla="*/ 268851 h 468848"/>
                <a:gd name="connsiteX7" fmla="*/ 6565 w 327172"/>
                <a:gd name="connsiteY7" fmla="*/ 270057 h 468848"/>
                <a:gd name="connsiteX8" fmla="*/ 6565 w 327172"/>
                <a:gd name="connsiteY8" fmla="*/ 271262 h 468848"/>
                <a:gd name="connsiteX9" fmla="*/ 5493 w 327172"/>
                <a:gd name="connsiteY9" fmla="*/ 272200 h 468848"/>
                <a:gd name="connsiteX10" fmla="*/ 4421 w 327172"/>
                <a:gd name="connsiteY10" fmla="*/ 273004 h 468848"/>
                <a:gd name="connsiteX11" fmla="*/ 2947 w 327172"/>
                <a:gd name="connsiteY11" fmla="*/ 273004 h 468848"/>
                <a:gd name="connsiteX12" fmla="*/ 2947 w 327172"/>
                <a:gd name="connsiteY12" fmla="*/ 273004 h 468848"/>
                <a:gd name="connsiteX13" fmla="*/ 2947 w 327172"/>
                <a:gd name="connsiteY13" fmla="*/ 273004 h 468848"/>
                <a:gd name="connsiteX14" fmla="*/ 2947 w 327172"/>
                <a:gd name="connsiteY14" fmla="*/ 468848 h 468848"/>
                <a:gd name="connsiteX15" fmla="*/ 327173 w 327172"/>
                <a:gd name="connsiteY15" fmla="*/ 468848 h 468848"/>
                <a:gd name="connsiteX16" fmla="*/ 327173 w 327172"/>
                <a:gd name="connsiteY16" fmla="*/ 0 h 4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7172" h="468848">
                  <a:moveTo>
                    <a:pt x="324225" y="804"/>
                  </a:moveTo>
                  <a:lnTo>
                    <a:pt x="0" y="804"/>
                  </a:lnTo>
                  <a:lnTo>
                    <a:pt x="0" y="137172"/>
                  </a:lnTo>
                  <a:cubicBezTo>
                    <a:pt x="3738" y="137520"/>
                    <a:pt x="6578" y="140655"/>
                    <a:pt x="6565" y="144405"/>
                  </a:cubicBezTo>
                  <a:lnTo>
                    <a:pt x="6565" y="266574"/>
                  </a:lnTo>
                  <a:cubicBezTo>
                    <a:pt x="6565" y="266574"/>
                    <a:pt x="6565" y="266574"/>
                    <a:pt x="6565" y="267378"/>
                  </a:cubicBezTo>
                  <a:cubicBezTo>
                    <a:pt x="6632" y="267873"/>
                    <a:pt x="6632" y="268355"/>
                    <a:pt x="6565" y="268851"/>
                  </a:cubicBezTo>
                  <a:cubicBezTo>
                    <a:pt x="6618" y="269253"/>
                    <a:pt x="6618" y="269655"/>
                    <a:pt x="6565" y="270057"/>
                  </a:cubicBezTo>
                  <a:cubicBezTo>
                    <a:pt x="6605" y="270458"/>
                    <a:pt x="6605" y="270860"/>
                    <a:pt x="6565" y="271262"/>
                  </a:cubicBezTo>
                  <a:lnTo>
                    <a:pt x="5493" y="272200"/>
                  </a:lnTo>
                  <a:lnTo>
                    <a:pt x="4421" y="273004"/>
                  </a:lnTo>
                  <a:lnTo>
                    <a:pt x="2947" y="273004"/>
                  </a:lnTo>
                  <a:lnTo>
                    <a:pt x="2947" y="273004"/>
                  </a:lnTo>
                  <a:lnTo>
                    <a:pt x="2947" y="273004"/>
                  </a:lnTo>
                  <a:lnTo>
                    <a:pt x="2947" y="468848"/>
                  </a:lnTo>
                  <a:lnTo>
                    <a:pt x="327173" y="468848"/>
                  </a:lnTo>
                  <a:lnTo>
                    <a:pt x="327173" y="0"/>
                  </a:lnTo>
                  <a:close/>
                </a:path>
              </a:pathLst>
            </a:custGeom>
            <a:solidFill>
              <a:schemeClr val="bg1">
                <a:lumMod val="95000"/>
              </a:schemeClr>
            </a:solidFill>
            <a:ln w="12700" cap="flat">
              <a:noFill/>
              <a:prstDash val="solid"/>
              <a:miter/>
            </a:ln>
          </p:spPr>
          <p:txBody>
            <a:bodyPr rtlCol="0" anchor="ctr"/>
            <a:lstStyle/>
            <a:p>
              <a:endParaRPr lang="en-US"/>
            </a:p>
          </p:txBody>
        </p:sp>
        <p:sp>
          <p:nvSpPr>
            <p:cNvPr id="1006" name="Freeform: Shape 1005">
              <a:extLst>
                <a:ext uri="{FF2B5EF4-FFF2-40B4-BE49-F238E27FC236}">
                  <a16:creationId xmlns:a16="http://schemas.microsoft.com/office/drawing/2014/main" id="{1FF6B3EA-F65C-492A-AE9E-16873F479256}"/>
                </a:ext>
              </a:extLst>
            </p:cNvPr>
            <p:cNvSpPr/>
            <p:nvPr/>
          </p:nvSpPr>
          <p:spPr>
            <a:xfrm>
              <a:off x="7838892" y="5831489"/>
              <a:ext cx="20900" cy="324844"/>
            </a:xfrm>
            <a:custGeom>
              <a:avLst/>
              <a:gdLst>
                <a:gd name="connsiteX0" fmla="*/ 4957 w 20900"/>
                <a:gd name="connsiteY0" fmla="*/ 25720 h 324844"/>
                <a:gd name="connsiteX1" fmla="*/ 2277 w 20900"/>
                <a:gd name="connsiteY1" fmla="*/ 30140 h 324844"/>
                <a:gd name="connsiteX2" fmla="*/ 2277 w 20900"/>
                <a:gd name="connsiteY2" fmla="*/ 30140 h 324844"/>
                <a:gd name="connsiteX3" fmla="*/ 0 w 20900"/>
                <a:gd name="connsiteY3" fmla="*/ 33757 h 324844"/>
                <a:gd name="connsiteX4" fmla="*/ 0 w 20900"/>
                <a:gd name="connsiteY4" fmla="*/ 324845 h 324844"/>
                <a:gd name="connsiteX5" fmla="*/ 5761 w 20900"/>
                <a:gd name="connsiteY5" fmla="*/ 324845 h 324844"/>
                <a:gd name="connsiteX6" fmla="*/ 20900 w 20900"/>
                <a:gd name="connsiteY6" fmla="*/ 312789 h 324844"/>
                <a:gd name="connsiteX7" fmla="*/ 20900 w 20900"/>
                <a:gd name="connsiteY7" fmla="*/ 0 h 324844"/>
                <a:gd name="connsiteX8" fmla="*/ 4957 w 20900"/>
                <a:gd name="connsiteY8" fmla="*/ 25720 h 324844"/>
                <a:gd name="connsiteX9" fmla="*/ 4957 w 20900"/>
                <a:gd name="connsiteY9" fmla="*/ 25720 h 324844"/>
                <a:gd name="connsiteX10" fmla="*/ 4957 w 20900"/>
                <a:gd name="connsiteY10" fmla="*/ 25720 h 32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00" h="324844">
                  <a:moveTo>
                    <a:pt x="4957" y="25720"/>
                  </a:moveTo>
                  <a:lnTo>
                    <a:pt x="2277" y="30140"/>
                  </a:lnTo>
                  <a:lnTo>
                    <a:pt x="2277" y="30140"/>
                  </a:lnTo>
                  <a:lnTo>
                    <a:pt x="0" y="33757"/>
                  </a:lnTo>
                  <a:lnTo>
                    <a:pt x="0" y="324845"/>
                  </a:lnTo>
                  <a:lnTo>
                    <a:pt x="5761" y="324845"/>
                  </a:lnTo>
                  <a:lnTo>
                    <a:pt x="20900" y="312789"/>
                  </a:lnTo>
                  <a:lnTo>
                    <a:pt x="20900" y="0"/>
                  </a:lnTo>
                  <a:lnTo>
                    <a:pt x="4957" y="25720"/>
                  </a:lnTo>
                  <a:lnTo>
                    <a:pt x="4957" y="25720"/>
                  </a:lnTo>
                  <a:lnTo>
                    <a:pt x="4957" y="25720"/>
                  </a:lnTo>
                  <a:close/>
                </a:path>
              </a:pathLst>
            </a:custGeom>
            <a:solidFill>
              <a:srgbClr val="F26544"/>
            </a:solidFill>
            <a:ln w="12700" cap="flat">
              <a:noFill/>
              <a:prstDash val="solid"/>
              <a:miter/>
            </a:ln>
          </p:spPr>
          <p:txBody>
            <a:bodyPr rtlCol="0" anchor="ctr"/>
            <a:lstStyle/>
            <a:p>
              <a:endParaRPr lang="en-US"/>
            </a:p>
          </p:txBody>
        </p:sp>
        <p:sp>
          <p:nvSpPr>
            <p:cNvPr id="1007" name="Freeform: Shape 1006">
              <a:extLst>
                <a:ext uri="{FF2B5EF4-FFF2-40B4-BE49-F238E27FC236}">
                  <a16:creationId xmlns:a16="http://schemas.microsoft.com/office/drawing/2014/main" id="{95401B9B-CF49-4C3C-A477-BCF06E77FB64}"/>
                </a:ext>
              </a:extLst>
            </p:cNvPr>
            <p:cNvSpPr/>
            <p:nvPr/>
          </p:nvSpPr>
          <p:spPr>
            <a:xfrm>
              <a:off x="7862472" y="5822782"/>
              <a:ext cx="195607" cy="320826"/>
            </a:xfrm>
            <a:custGeom>
              <a:avLst/>
              <a:gdLst>
                <a:gd name="connsiteX0" fmla="*/ 184353 w 195607"/>
                <a:gd name="connsiteY0" fmla="*/ 320826 h 320826"/>
                <a:gd name="connsiteX1" fmla="*/ 184353 w 195607"/>
                <a:gd name="connsiteY1" fmla="*/ 246480 h 320826"/>
                <a:gd name="connsiteX2" fmla="*/ 184353 w 195607"/>
                <a:gd name="connsiteY2" fmla="*/ 245811 h 320826"/>
                <a:gd name="connsiteX3" fmla="*/ 184353 w 195607"/>
                <a:gd name="connsiteY3" fmla="*/ 244337 h 320826"/>
                <a:gd name="connsiteX4" fmla="*/ 184353 w 195607"/>
                <a:gd name="connsiteY4" fmla="*/ 242997 h 320826"/>
                <a:gd name="connsiteX5" fmla="*/ 184353 w 195607"/>
                <a:gd name="connsiteY5" fmla="*/ 241926 h 320826"/>
                <a:gd name="connsiteX6" fmla="*/ 185425 w 195607"/>
                <a:gd name="connsiteY6" fmla="*/ 240854 h 320826"/>
                <a:gd name="connsiteX7" fmla="*/ 185425 w 195607"/>
                <a:gd name="connsiteY7" fmla="*/ 240854 h 320826"/>
                <a:gd name="connsiteX8" fmla="*/ 195608 w 195607"/>
                <a:gd name="connsiteY8" fmla="*/ 234022 h 320826"/>
                <a:gd name="connsiteX9" fmla="*/ 195608 w 195607"/>
                <a:gd name="connsiteY9" fmla="*/ 0 h 320826"/>
                <a:gd name="connsiteX10" fmla="*/ 2814 w 195607"/>
                <a:gd name="connsiteY10" fmla="*/ 0 h 320826"/>
                <a:gd name="connsiteX11" fmla="*/ 0 w 195607"/>
                <a:gd name="connsiteY11" fmla="*/ 4554 h 320826"/>
                <a:gd name="connsiteX12" fmla="*/ 0 w 195607"/>
                <a:gd name="connsiteY12" fmla="*/ 320826 h 32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607" h="320826">
                  <a:moveTo>
                    <a:pt x="184353" y="320826"/>
                  </a:moveTo>
                  <a:lnTo>
                    <a:pt x="184353" y="246480"/>
                  </a:lnTo>
                  <a:cubicBezTo>
                    <a:pt x="184340" y="246257"/>
                    <a:pt x="184340" y="246034"/>
                    <a:pt x="184353" y="245811"/>
                  </a:cubicBezTo>
                  <a:lnTo>
                    <a:pt x="184353" y="244337"/>
                  </a:lnTo>
                  <a:cubicBezTo>
                    <a:pt x="184273" y="243894"/>
                    <a:pt x="184273" y="243441"/>
                    <a:pt x="184353" y="242997"/>
                  </a:cubicBezTo>
                  <a:cubicBezTo>
                    <a:pt x="184286" y="242644"/>
                    <a:pt x="184286" y="242279"/>
                    <a:pt x="184353" y="241926"/>
                  </a:cubicBezTo>
                  <a:cubicBezTo>
                    <a:pt x="184675" y="241536"/>
                    <a:pt x="185037" y="241177"/>
                    <a:pt x="185425" y="240854"/>
                  </a:cubicBezTo>
                  <a:cubicBezTo>
                    <a:pt x="185425" y="240854"/>
                    <a:pt x="185425" y="240854"/>
                    <a:pt x="185425" y="240854"/>
                  </a:cubicBezTo>
                  <a:lnTo>
                    <a:pt x="195608" y="234022"/>
                  </a:lnTo>
                  <a:lnTo>
                    <a:pt x="195608" y="0"/>
                  </a:lnTo>
                  <a:lnTo>
                    <a:pt x="2814" y="0"/>
                  </a:lnTo>
                  <a:lnTo>
                    <a:pt x="0" y="4554"/>
                  </a:lnTo>
                  <a:lnTo>
                    <a:pt x="0" y="320826"/>
                  </a:lnTo>
                  <a:close/>
                </a:path>
              </a:pathLst>
            </a:custGeom>
            <a:solidFill>
              <a:schemeClr val="accent3"/>
            </a:solidFill>
            <a:ln w="12700" cap="flat">
              <a:noFill/>
              <a:prstDash val="solid"/>
              <a:miter/>
            </a:ln>
          </p:spPr>
          <p:txBody>
            <a:bodyPr rtlCol="0" anchor="ctr"/>
            <a:lstStyle/>
            <a:p>
              <a:endParaRPr lang="en-US"/>
            </a:p>
          </p:txBody>
        </p:sp>
        <p:sp>
          <p:nvSpPr>
            <p:cNvPr id="1008" name="Freeform: Shape 1007">
              <a:extLst>
                <a:ext uri="{FF2B5EF4-FFF2-40B4-BE49-F238E27FC236}">
                  <a16:creationId xmlns:a16="http://schemas.microsoft.com/office/drawing/2014/main" id="{AFD2D2EA-51FE-4547-AF17-D5445AE5C156}"/>
                </a:ext>
              </a:extLst>
            </p:cNvPr>
            <p:cNvSpPr/>
            <p:nvPr/>
          </p:nvSpPr>
          <p:spPr>
            <a:xfrm>
              <a:off x="7848941" y="6146154"/>
              <a:ext cx="198018" cy="10180"/>
            </a:xfrm>
            <a:custGeom>
              <a:avLst/>
              <a:gdLst>
                <a:gd name="connsiteX0" fmla="*/ 198018 w 198018"/>
                <a:gd name="connsiteY0" fmla="*/ 0 h 10180"/>
                <a:gd name="connsiteX1" fmla="*/ 12594 w 198018"/>
                <a:gd name="connsiteY1" fmla="*/ 0 h 10180"/>
                <a:gd name="connsiteX2" fmla="*/ 0 w 198018"/>
                <a:gd name="connsiteY2" fmla="*/ 10181 h 10180"/>
                <a:gd name="connsiteX3" fmla="*/ 198018 w 198018"/>
                <a:gd name="connsiteY3" fmla="*/ 10181 h 10180"/>
                <a:gd name="connsiteX4" fmla="*/ 198018 w 198018"/>
                <a:gd name="connsiteY4" fmla="*/ 0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18" h="10180">
                  <a:moveTo>
                    <a:pt x="198018" y="0"/>
                  </a:moveTo>
                  <a:lnTo>
                    <a:pt x="12594" y="0"/>
                  </a:lnTo>
                  <a:lnTo>
                    <a:pt x="0" y="10181"/>
                  </a:lnTo>
                  <a:lnTo>
                    <a:pt x="198018" y="10181"/>
                  </a:lnTo>
                  <a:lnTo>
                    <a:pt x="198018" y="0"/>
                  </a:lnTo>
                  <a:close/>
                </a:path>
              </a:pathLst>
            </a:custGeom>
            <a:solidFill>
              <a:srgbClr val="22B0AE"/>
            </a:solidFill>
            <a:ln w="12700" cap="flat">
              <a:noFill/>
              <a:prstDash val="solid"/>
              <a:miter/>
            </a:ln>
          </p:spPr>
          <p:txBody>
            <a:bodyPr rtlCol="0" anchor="ctr"/>
            <a:lstStyle/>
            <a:p>
              <a:endParaRPr lang="en-US"/>
            </a:p>
          </p:txBody>
        </p:sp>
        <p:sp>
          <p:nvSpPr>
            <p:cNvPr id="1009" name="Freeform: Shape 1008">
              <a:extLst>
                <a:ext uri="{FF2B5EF4-FFF2-40B4-BE49-F238E27FC236}">
                  <a16:creationId xmlns:a16="http://schemas.microsoft.com/office/drawing/2014/main" id="{7B754768-868F-46D4-AA6E-E5EF2B88DA12}"/>
                </a:ext>
              </a:extLst>
            </p:cNvPr>
            <p:cNvSpPr/>
            <p:nvPr/>
          </p:nvSpPr>
          <p:spPr>
            <a:xfrm>
              <a:off x="4597573" y="5894583"/>
              <a:ext cx="215569" cy="89349"/>
            </a:xfrm>
            <a:custGeom>
              <a:avLst/>
              <a:gdLst>
                <a:gd name="connsiteX0" fmla="*/ 215570 w 215569"/>
                <a:gd name="connsiteY0" fmla="*/ 83589 h 89349"/>
                <a:gd name="connsiteX1" fmla="*/ 215570 w 215569"/>
                <a:gd name="connsiteY1" fmla="*/ 0 h 89349"/>
                <a:gd name="connsiteX2" fmla="*/ 0 w 215569"/>
                <a:gd name="connsiteY2" fmla="*/ 0 h 89349"/>
                <a:gd name="connsiteX3" fmla="*/ 0 w 215569"/>
                <a:gd name="connsiteY3" fmla="*/ 89349 h 89349"/>
                <a:gd name="connsiteX4" fmla="*/ 209809 w 215569"/>
                <a:gd name="connsiteY4" fmla="*/ 89349 h 89349"/>
                <a:gd name="connsiteX5" fmla="*/ 215570 w 215569"/>
                <a:gd name="connsiteY5" fmla="*/ 83589 h 8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569" h="89349">
                  <a:moveTo>
                    <a:pt x="215570" y="83589"/>
                  </a:moveTo>
                  <a:lnTo>
                    <a:pt x="215570" y="0"/>
                  </a:lnTo>
                  <a:lnTo>
                    <a:pt x="0" y="0"/>
                  </a:lnTo>
                  <a:lnTo>
                    <a:pt x="0" y="89349"/>
                  </a:lnTo>
                  <a:lnTo>
                    <a:pt x="209809" y="89349"/>
                  </a:lnTo>
                  <a:cubicBezTo>
                    <a:pt x="210331" y="86409"/>
                    <a:pt x="212636" y="84107"/>
                    <a:pt x="215570" y="83589"/>
                  </a:cubicBez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010" name="Freeform: Shape 1009">
              <a:extLst>
                <a:ext uri="{FF2B5EF4-FFF2-40B4-BE49-F238E27FC236}">
                  <a16:creationId xmlns:a16="http://schemas.microsoft.com/office/drawing/2014/main" id="{D73C4151-C525-464C-94CC-302B3C8390B1}"/>
                </a:ext>
              </a:extLst>
            </p:cNvPr>
            <p:cNvSpPr/>
            <p:nvPr/>
          </p:nvSpPr>
          <p:spPr>
            <a:xfrm>
              <a:off x="4815823" y="5894985"/>
              <a:ext cx="16880" cy="92296"/>
            </a:xfrm>
            <a:custGeom>
              <a:avLst/>
              <a:gdLst>
                <a:gd name="connsiteX0" fmla="*/ 6029 w 16880"/>
                <a:gd name="connsiteY0" fmla="*/ 90287 h 92296"/>
                <a:gd name="connsiteX1" fmla="*/ 6029 w 16880"/>
                <a:gd name="connsiteY1" fmla="*/ 90287 h 92296"/>
                <a:gd name="connsiteX2" fmla="*/ 16881 w 16880"/>
                <a:gd name="connsiteY2" fmla="*/ 92296 h 92296"/>
                <a:gd name="connsiteX3" fmla="*/ 16881 w 16880"/>
                <a:gd name="connsiteY3" fmla="*/ 3751 h 92296"/>
                <a:gd name="connsiteX4" fmla="*/ 0 w 16880"/>
                <a:gd name="connsiteY4" fmla="*/ 0 h 92296"/>
                <a:gd name="connsiteX5" fmla="*/ 0 w 16880"/>
                <a:gd name="connsiteY5" fmla="*/ 83187 h 92296"/>
                <a:gd name="connsiteX6" fmla="*/ 6029 w 16880"/>
                <a:gd name="connsiteY6" fmla="*/ 90287 h 9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80" h="92296">
                  <a:moveTo>
                    <a:pt x="6029" y="90287"/>
                  </a:moveTo>
                  <a:lnTo>
                    <a:pt x="6029" y="90287"/>
                  </a:lnTo>
                  <a:lnTo>
                    <a:pt x="16881" y="92296"/>
                  </a:lnTo>
                  <a:lnTo>
                    <a:pt x="16881" y="3751"/>
                  </a:lnTo>
                  <a:lnTo>
                    <a:pt x="0" y="0"/>
                  </a:lnTo>
                  <a:lnTo>
                    <a:pt x="0" y="83187"/>
                  </a:lnTo>
                  <a:cubicBezTo>
                    <a:pt x="3443" y="83822"/>
                    <a:pt x="5962" y="86789"/>
                    <a:pt x="6029" y="90287"/>
                  </a:cubicBezTo>
                  <a:close/>
                </a:path>
              </a:pathLst>
            </a:custGeom>
            <a:solidFill>
              <a:srgbClr val="7E121D"/>
            </a:solidFill>
            <a:ln w="12700" cap="flat">
              <a:noFill/>
              <a:prstDash val="solid"/>
              <a:miter/>
            </a:ln>
          </p:spPr>
          <p:txBody>
            <a:bodyPr rtlCol="0" anchor="ctr"/>
            <a:lstStyle/>
            <a:p>
              <a:endParaRPr lang="en-US"/>
            </a:p>
          </p:txBody>
        </p:sp>
        <p:sp>
          <p:nvSpPr>
            <p:cNvPr id="1011" name="Freeform: Shape 1010">
              <a:extLst>
                <a:ext uri="{FF2B5EF4-FFF2-40B4-BE49-F238E27FC236}">
                  <a16:creationId xmlns:a16="http://schemas.microsoft.com/office/drawing/2014/main" id="{9BAC15A3-6218-4680-91D5-7DB41C6C7DE1}"/>
                </a:ext>
              </a:extLst>
            </p:cNvPr>
            <p:cNvSpPr/>
            <p:nvPr/>
          </p:nvSpPr>
          <p:spPr>
            <a:xfrm>
              <a:off x="4845968" y="5998533"/>
              <a:ext cx="7234" cy="580702"/>
            </a:xfrm>
            <a:custGeom>
              <a:avLst/>
              <a:gdLst>
                <a:gd name="connsiteX0" fmla="*/ 1072 w 7234"/>
                <a:gd name="connsiteY0" fmla="*/ 580702 h 580702"/>
                <a:gd name="connsiteX1" fmla="*/ 7234 w 7234"/>
                <a:gd name="connsiteY1" fmla="*/ 580702 h 580702"/>
                <a:gd name="connsiteX2" fmla="*/ 7234 w 7234"/>
                <a:gd name="connsiteY2" fmla="*/ 580702 h 580702"/>
                <a:gd name="connsiteX3" fmla="*/ 7234 w 7234"/>
                <a:gd name="connsiteY3" fmla="*/ 1340 h 580702"/>
                <a:gd name="connsiteX4" fmla="*/ 0 w 7234"/>
                <a:gd name="connsiteY4" fmla="*/ 0 h 580702"/>
                <a:gd name="connsiteX5" fmla="*/ 0 w 7234"/>
                <a:gd name="connsiteY5" fmla="*/ 578157 h 580702"/>
                <a:gd name="connsiteX6" fmla="*/ 1072 w 7234"/>
                <a:gd name="connsiteY6" fmla="*/ 580702 h 58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580702">
                  <a:moveTo>
                    <a:pt x="1072" y="580702"/>
                  </a:moveTo>
                  <a:lnTo>
                    <a:pt x="7234" y="580702"/>
                  </a:lnTo>
                  <a:lnTo>
                    <a:pt x="7234" y="580702"/>
                  </a:lnTo>
                  <a:lnTo>
                    <a:pt x="7234" y="1340"/>
                  </a:lnTo>
                  <a:lnTo>
                    <a:pt x="0" y="0"/>
                  </a:lnTo>
                  <a:lnTo>
                    <a:pt x="0" y="578157"/>
                  </a:lnTo>
                  <a:cubicBezTo>
                    <a:pt x="549" y="578907"/>
                    <a:pt x="924" y="579778"/>
                    <a:pt x="1072" y="580702"/>
                  </a:cubicBezTo>
                  <a:close/>
                </a:path>
              </a:pathLst>
            </a:custGeom>
            <a:solidFill>
              <a:srgbClr val="66B2B0"/>
            </a:solidFill>
            <a:ln w="12700" cap="flat">
              <a:noFill/>
              <a:prstDash val="solid"/>
              <a:miter/>
            </a:ln>
          </p:spPr>
          <p:txBody>
            <a:bodyPr rtlCol="0" anchor="ctr"/>
            <a:lstStyle/>
            <a:p>
              <a:endParaRPr lang="en-US"/>
            </a:p>
          </p:txBody>
        </p:sp>
        <p:sp>
          <p:nvSpPr>
            <p:cNvPr id="1012" name="Freeform: Shape 1011">
              <a:extLst>
                <a:ext uri="{FF2B5EF4-FFF2-40B4-BE49-F238E27FC236}">
                  <a16:creationId xmlns:a16="http://schemas.microsoft.com/office/drawing/2014/main" id="{71C46B78-1BFF-40BE-9EC5-A026BEA2D882}"/>
                </a:ext>
              </a:extLst>
            </p:cNvPr>
            <p:cNvSpPr/>
            <p:nvPr/>
          </p:nvSpPr>
          <p:spPr>
            <a:xfrm>
              <a:off x="4841278" y="5998131"/>
              <a:ext cx="2009" cy="576013"/>
            </a:xfrm>
            <a:custGeom>
              <a:avLst/>
              <a:gdLst>
                <a:gd name="connsiteX0" fmla="*/ 2010 w 2009"/>
                <a:gd name="connsiteY0" fmla="*/ 0 h 576013"/>
                <a:gd name="connsiteX1" fmla="*/ 2010 w 2009"/>
                <a:gd name="connsiteY1" fmla="*/ 0 h 576013"/>
                <a:gd name="connsiteX2" fmla="*/ 0 w 2009"/>
                <a:gd name="connsiteY2" fmla="*/ 0 h 576013"/>
                <a:gd name="connsiteX3" fmla="*/ 0 w 2009"/>
                <a:gd name="connsiteY3" fmla="*/ 576014 h 576013"/>
                <a:gd name="connsiteX4" fmla="*/ 2010 w 2009"/>
                <a:gd name="connsiteY4" fmla="*/ 576014 h 576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 h="576013">
                  <a:moveTo>
                    <a:pt x="2010" y="0"/>
                  </a:moveTo>
                  <a:lnTo>
                    <a:pt x="2010" y="0"/>
                  </a:lnTo>
                  <a:lnTo>
                    <a:pt x="0" y="0"/>
                  </a:lnTo>
                  <a:lnTo>
                    <a:pt x="0" y="576014"/>
                  </a:lnTo>
                  <a:cubicBezTo>
                    <a:pt x="656" y="575853"/>
                    <a:pt x="1353" y="575853"/>
                    <a:pt x="2010" y="576014"/>
                  </a:cubicBezTo>
                  <a:close/>
                </a:path>
              </a:pathLst>
            </a:custGeom>
            <a:solidFill>
              <a:srgbClr val="0A4054"/>
            </a:solidFill>
            <a:ln w="12700" cap="flat">
              <a:noFill/>
              <a:prstDash val="solid"/>
              <a:miter/>
            </a:ln>
          </p:spPr>
          <p:txBody>
            <a:bodyPr rtlCol="0" anchor="ctr"/>
            <a:lstStyle/>
            <a:p>
              <a:endParaRPr lang="en-US"/>
            </a:p>
          </p:txBody>
        </p:sp>
        <p:sp>
          <p:nvSpPr>
            <p:cNvPr id="1013" name="Freeform: Shape 1012">
              <a:extLst>
                <a:ext uri="{FF2B5EF4-FFF2-40B4-BE49-F238E27FC236}">
                  <a16:creationId xmlns:a16="http://schemas.microsoft.com/office/drawing/2014/main" id="{3A5BABA1-38BC-4CAD-9D9D-FFFCA1C5C404}"/>
                </a:ext>
              </a:extLst>
            </p:cNvPr>
            <p:cNvSpPr/>
            <p:nvPr/>
          </p:nvSpPr>
          <p:spPr>
            <a:xfrm>
              <a:off x="4821851" y="5991300"/>
              <a:ext cx="16881" cy="582845"/>
            </a:xfrm>
            <a:custGeom>
              <a:avLst/>
              <a:gdLst>
                <a:gd name="connsiteX0" fmla="*/ 0 w 16881"/>
                <a:gd name="connsiteY0" fmla="*/ 0 h 582845"/>
                <a:gd name="connsiteX1" fmla="*/ 0 w 16881"/>
                <a:gd name="connsiteY1" fmla="*/ 582846 h 582845"/>
                <a:gd name="connsiteX2" fmla="*/ 16881 w 16881"/>
                <a:gd name="connsiteY2" fmla="*/ 582176 h 582845"/>
                <a:gd name="connsiteX3" fmla="*/ 16881 w 16881"/>
                <a:gd name="connsiteY3" fmla="*/ 6162 h 582845"/>
                <a:gd name="connsiteX4" fmla="*/ 16881 w 16881"/>
                <a:gd name="connsiteY4" fmla="*/ 6162 h 582845"/>
                <a:gd name="connsiteX5" fmla="*/ 16077 w 16881"/>
                <a:gd name="connsiteY5" fmla="*/ 6162 h 582845"/>
                <a:gd name="connsiteX6" fmla="*/ 14738 w 16881"/>
                <a:gd name="connsiteY6" fmla="*/ 6162 h 582845"/>
                <a:gd name="connsiteX7" fmla="*/ 13666 w 16881"/>
                <a:gd name="connsiteY7" fmla="*/ 5358 h 582845"/>
                <a:gd name="connsiteX8" fmla="*/ 12594 w 16881"/>
                <a:gd name="connsiteY8" fmla="*/ 4420 h 582845"/>
                <a:gd name="connsiteX9" fmla="*/ 11790 w 16881"/>
                <a:gd name="connsiteY9" fmla="*/ 3215 h 582845"/>
                <a:gd name="connsiteX10" fmla="*/ 11790 w 16881"/>
                <a:gd name="connsiteY10" fmla="*/ 2009 h 582845"/>
                <a:gd name="connsiteX11" fmla="*/ 11790 w 16881"/>
                <a:gd name="connsiteY11" fmla="*/ 1072 h 58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81" h="582845">
                  <a:moveTo>
                    <a:pt x="0" y="0"/>
                  </a:moveTo>
                  <a:lnTo>
                    <a:pt x="0" y="582846"/>
                  </a:lnTo>
                  <a:lnTo>
                    <a:pt x="16881" y="582176"/>
                  </a:lnTo>
                  <a:lnTo>
                    <a:pt x="16881" y="6162"/>
                  </a:lnTo>
                  <a:lnTo>
                    <a:pt x="16881" y="6162"/>
                  </a:lnTo>
                  <a:lnTo>
                    <a:pt x="16077" y="6162"/>
                  </a:lnTo>
                  <a:lnTo>
                    <a:pt x="14738" y="6162"/>
                  </a:lnTo>
                  <a:lnTo>
                    <a:pt x="13666" y="5358"/>
                  </a:lnTo>
                  <a:cubicBezTo>
                    <a:pt x="13251" y="5120"/>
                    <a:pt x="12889" y="4801"/>
                    <a:pt x="12594" y="4420"/>
                  </a:cubicBezTo>
                  <a:lnTo>
                    <a:pt x="11790" y="3215"/>
                  </a:lnTo>
                  <a:lnTo>
                    <a:pt x="11790" y="2009"/>
                  </a:lnTo>
                  <a:cubicBezTo>
                    <a:pt x="11737" y="1700"/>
                    <a:pt x="11737" y="1381"/>
                    <a:pt x="11790" y="1072"/>
                  </a:cubicBezTo>
                  <a:close/>
                </a:path>
              </a:pathLst>
            </a:custGeom>
            <a:solidFill>
              <a:srgbClr val="0A4054"/>
            </a:solidFill>
            <a:ln w="12700" cap="flat">
              <a:noFill/>
              <a:prstDash val="solid"/>
              <a:miter/>
            </a:ln>
          </p:spPr>
          <p:txBody>
            <a:bodyPr rtlCol="0" anchor="ctr"/>
            <a:lstStyle/>
            <a:p>
              <a:endParaRPr lang="en-US"/>
            </a:p>
          </p:txBody>
        </p:sp>
        <p:sp>
          <p:nvSpPr>
            <p:cNvPr id="1014" name="Freeform: Shape 1013">
              <a:extLst>
                <a:ext uri="{FF2B5EF4-FFF2-40B4-BE49-F238E27FC236}">
                  <a16:creationId xmlns:a16="http://schemas.microsoft.com/office/drawing/2014/main" id="{030AD32D-FB39-4C7D-9E94-D64143FF7250}"/>
                </a:ext>
              </a:extLst>
            </p:cNvPr>
            <p:cNvSpPr/>
            <p:nvPr/>
          </p:nvSpPr>
          <p:spPr>
            <a:xfrm>
              <a:off x="4821851" y="5987951"/>
              <a:ext cx="3885" cy="803"/>
            </a:xfrm>
            <a:custGeom>
              <a:avLst/>
              <a:gdLst>
                <a:gd name="connsiteX0" fmla="*/ 0 w 3885"/>
                <a:gd name="connsiteY0" fmla="*/ 0 h 803"/>
                <a:gd name="connsiteX1" fmla="*/ 0 w 3885"/>
                <a:gd name="connsiteY1" fmla="*/ 804 h 803"/>
                <a:gd name="connsiteX2" fmla="*/ 3885 w 3885"/>
                <a:gd name="connsiteY2" fmla="*/ 804 h 803"/>
                <a:gd name="connsiteX3" fmla="*/ 0 w 3885"/>
                <a:gd name="connsiteY3" fmla="*/ 0 h 803"/>
              </a:gdLst>
              <a:ahLst/>
              <a:cxnLst>
                <a:cxn ang="0">
                  <a:pos x="connsiteX0" y="connsiteY0"/>
                </a:cxn>
                <a:cxn ang="0">
                  <a:pos x="connsiteX1" y="connsiteY1"/>
                </a:cxn>
                <a:cxn ang="0">
                  <a:pos x="connsiteX2" y="connsiteY2"/>
                </a:cxn>
                <a:cxn ang="0">
                  <a:pos x="connsiteX3" y="connsiteY3"/>
                </a:cxn>
              </a:cxnLst>
              <a:rect l="l" t="t" r="r" b="b"/>
              <a:pathLst>
                <a:path w="3885" h="803">
                  <a:moveTo>
                    <a:pt x="0" y="0"/>
                  </a:moveTo>
                  <a:lnTo>
                    <a:pt x="0" y="804"/>
                  </a:lnTo>
                  <a:lnTo>
                    <a:pt x="3885" y="804"/>
                  </a:lnTo>
                  <a:lnTo>
                    <a:pt x="0" y="0"/>
                  </a:lnTo>
                  <a:close/>
                </a:path>
              </a:pathLst>
            </a:custGeom>
            <a:solidFill>
              <a:srgbClr val="F2494C"/>
            </a:solidFill>
            <a:ln w="12700" cap="flat">
              <a:noFill/>
              <a:prstDash val="solid"/>
              <a:miter/>
            </a:ln>
          </p:spPr>
          <p:txBody>
            <a:bodyPr rtlCol="0" anchor="ctr"/>
            <a:lstStyle/>
            <a:p>
              <a:endParaRPr lang="en-US"/>
            </a:p>
          </p:txBody>
        </p:sp>
        <p:sp>
          <p:nvSpPr>
            <p:cNvPr id="1015" name="Freeform: Shape 1014">
              <a:extLst>
                <a:ext uri="{FF2B5EF4-FFF2-40B4-BE49-F238E27FC236}">
                  <a16:creationId xmlns:a16="http://schemas.microsoft.com/office/drawing/2014/main" id="{49185E3F-0CD9-4BC4-A78A-96A7E1540A49}"/>
                </a:ext>
              </a:extLst>
            </p:cNvPr>
            <p:cNvSpPr/>
            <p:nvPr/>
          </p:nvSpPr>
          <p:spPr>
            <a:xfrm>
              <a:off x="8061563" y="6069932"/>
              <a:ext cx="4822" cy="99931"/>
            </a:xfrm>
            <a:custGeom>
              <a:avLst/>
              <a:gdLst>
                <a:gd name="connsiteX0" fmla="*/ 0 w 4822"/>
                <a:gd name="connsiteY0" fmla="*/ 96047 h 99931"/>
                <a:gd name="connsiteX1" fmla="*/ 0 w 4822"/>
                <a:gd name="connsiteY1" fmla="*/ 99932 h 99931"/>
                <a:gd name="connsiteX2" fmla="*/ 4823 w 4822"/>
                <a:gd name="connsiteY2" fmla="*/ 99932 h 99931"/>
                <a:gd name="connsiteX3" fmla="*/ 4823 w 4822"/>
                <a:gd name="connsiteY3" fmla="*/ 0 h 99931"/>
                <a:gd name="connsiteX4" fmla="*/ 0 w 4822"/>
                <a:gd name="connsiteY4" fmla="*/ 3215 h 99931"/>
                <a:gd name="connsiteX5" fmla="*/ 0 w 4822"/>
                <a:gd name="connsiteY5" fmla="*/ 75016 h 99931"/>
                <a:gd name="connsiteX6" fmla="*/ 0 w 4822"/>
                <a:gd name="connsiteY6" fmla="*/ 93770 h 99931"/>
                <a:gd name="connsiteX7" fmla="*/ 0 w 4822"/>
                <a:gd name="connsiteY7" fmla="*/ 96047 h 9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2" h="99931">
                  <a:moveTo>
                    <a:pt x="0" y="96047"/>
                  </a:moveTo>
                  <a:lnTo>
                    <a:pt x="0" y="99932"/>
                  </a:lnTo>
                  <a:lnTo>
                    <a:pt x="4823" y="99932"/>
                  </a:lnTo>
                  <a:lnTo>
                    <a:pt x="4823" y="0"/>
                  </a:lnTo>
                  <a:lnTo>
                    <a:pt x="0" y="3215"/>
                  </a:lnTo>
                  <a:lnTo>
                    <a:pt x="0" y="75016"/>
                  </a:lnTo>
                  <a:lnTo>
                    <a:pt x="0" y="93770"/>
                  </a:lnTo>
                  <a:lnTo>
                    <a:pt x="0" y="96047"/>
                  </a:lnTo>
                  <a:close/>
                </a:path>
              </a:pathLst>
            </a:custGeom>
            <a:solidFill>
              <a:srgbClr val="E8E7E3"/>
            </a:solidFill>
            <a:ln w="12700" cap="flat">
              <a:noFill/>
              <a:prstDash val="solid"/>
              <a:miter/>
            </a:ln>
          </p:spPr>
          <p:txBody>
            <a:bodyPr rtlCol="0" anchor="ctr"/>
            <a:lstStyle/>
            <a:p>
              <a:endParaRPr lang="en-US"/>
            </a:p>
          </p:txBody>
        </p:sp>
        <p:sp>
          <p:nvSpPr>
            <p:cNvPr id="1016" name="Freeform: Shape 1015">
              <a:extLst>
                <a:ext uri="{FF2B5EF4-FFF2-40B4-BE49-F238E27FC236}">
                  <a16:creationId xmlns:a16="http://schemas.microsoft.com/office/drawing/2014/main" id="{ABAFCE56-CA27-4988-A654-73E93462E570}"/>
                </a:ext>
              </a:extLst>
            </p:cNvPr>
            <p:cNvSpPr/>
            <p:nvPr/>
          </p:nvSpPr>
          <p:spPr>
            <a:xfrm>
              <a:off x="7611264" y="6185403"/>
              <a:ext cx="742638" cy="326184"/>
            </a:xfrm>
            <a:custGeom>
              <a:avLst/>
              <a:gdLst>
                <a:gd name="connsiteX0" fmla="*/ 460615 w 742638"/>
                <a:gd name="connsiteY0" fmla="*/ 113997 h 326184"/>
                <a:gd name="connsiteX1" fmla="*/ 467984 w 742638"/>
                <a:gd name="connsiteY1" fmla="*/ 106630 h 326184"/>
                <a:gd name="connsiteX2" fmla="*/ 475085 w 742638"/>
                <a:gd name="connsiteY2" fmla="*/ 112792 h 326184"/>
                <a:gd name="connsiteX3" fmla="*/ 737547 w 742638"/>
                <a:gd name="connsiteY3" fmla="*/ 112792 h 326184"/>
                <a:gd name="connsiteX4" fmla="*/ 737547 w 742638"/>
                <a:gd name="connsiteY4" fmla="*/ 111854 h 326184"/>
                <a:gd name="connsiteX5" fmla="*/ 738351 w 742638"/>
                <a:gd name="connsiteY5" fmla="*/ 110648 h 326184"/>
                <a:gd name="connsiteX6" fmla="*/ 739422 w 742638"/>
                <a:gd name="connsiteY6" fmla="*/ 109711 h 326184"/>
                <a:gd name="connsiteX7" fmla="*/ 740494 w 742638"/>
                <a:gd name="connsiteY7" fmla="*/ 108907 h 326184"/>
                <a:gd name="connsiteX8" fmla="*/ 741834 w 742638"/>
                <a:gd name="connsiteY8" fmla="*/ 108907 h 326184"/>
                <a:gd name="connsiteX9" fmla="*/ 742638 w 742638"/>
                <a:gd name="connsiteY9" fmla="*/ 108907 h 326184"/>
                <a:gd name="connsiteX10" fmla="*/ 742638 w 742638"/>
                <a:gd name="connsiteY10" fmla="*/ 108907 h 326184"/>
                <a:gd name="connsiteX11" fmla="*/ 742638 w 742638"/>
                <a:gd name="connsiteY11" fmla="*/ 0 h 326184"/>
                <a:gd name="connsiteX12" fmla="*/ 0 w 742638"/>
                <a:gd name="connsiteY12" fmla="*/ 0 h 326184"/>
                <a:gd name="connsiteX13" fmla="*/ 0 w 742638"/>
                <a:gd name="connsiteY13" fmla="*/ 326185 h 326184"/>
                <a:gd name="connsiteX14" fmla="*/ 460615 w 742638"/>
                <a:gd name="connsiteY14" fmla="*/ 326185 h 326184"/>
                <a:gd name="connsiteX15" fmla="*/ 460615 w 742638"/>
                <a:gd name="connsiteY15" fmla="*/ 113997 h 32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2638" h="326184">
                  <a:moveTo>
                    <a:pt x="460615" y="113997"/>
                  </a:moveTo>
                  <a:cubicBezTo>
                    <a:pt x="460615" y="109925"/>
                    <a:pt x="463911" y="106630"/>
                    <a:pt x="467984" y="106630"/>
                  </a:cubicBezTo>
                  <a:cubicBezTo>
                    <a:pt x="471548" y="106656"/>
                    <a:pt x="474562" y="109268"/>
                    <a:pt x="475085" y="112792"/>
                  </a:cubicBezTo>
                  <a:lnTo>
                    <a:pt x="737547" y="112792"/>
                  </a:lnTo>
                  <a:lnTo>
                    <a:pt x="737547" y="111854"/>
                  </a:lnTo>
                  <a:lnTo>
                    <a:pt x="738351" y="110648"/>
                  </a:lnTo>
                  <a:lnTo>
                    <a:pt x="739422" y="109711"/>
                  </a:lnTo>
                  <a:cubicBezTo>
                    <a:pt x="739717" y="109376"/>
                    <a:pt x="740079" y="109094"/>
                    <a:pt x="740494" y="108907"/>
                  </a:cubicBezTo>
                  <a:lnTo>
                    <a:pt x="741834" y="108907"/>
                  </a:lnTo>
                  <a:lnTo>
                    <a:pt x="742638" y="108907"/>
                  </a:lnTo>
                  <a:lnTo>
                    <a:pt x="742638" y="108907"/>
                  </a:lnTo>
                  <a:lnTo>
                    <a:pt x="742638" y="0"/>
                  </a:lnTo>
                  <a:lnTo>
                    <a:pt x="0" y="0"/>
                  </a:lnTo>
                  <a:lnTo>
                    <a:pt x="0" y="326185"/>
                  </a:lnTo>
                  <a:lnTo>
                    <a:pt x="460615" y="326185"/>
                  </a:lnTo>
                  <a:lnTo>
                    <a:pt x="460615" y="113997"/>
                  </a:lnTo>
                  <a:close/>
                </a:path>
              </a:pathLst>
            </a:custGeom>
            <a:solidFill>
              <a:schemeClr val="accent2"/>
            </a:solidFill>
            <a:ln w="12700" cap="flat">
              <a:noFill/>
              <a:prstDash val="solid"/>
              <a:miter/>
            </a:ln>
          </p:spPr>
          <p:txBody>
            <a:bodyPr rtlCol="0" anchor="ctr"/>
            <a:lstStyle/>
            <a:p>
              <a:endParaRPr lang="en-US"/>
            </a:p>
          </p:txBody>
        </p:sp>
        <p:sp>
          <p:nvSpPr>
            <p:cNvPr id="1017" name="Freeform: Shape 1016">
              <a:extLst>
                <a:ext uri="{FF2B5EF4-FFF2-40B4-BE49-F238E27FC236}">
                  <a16:creationId xmlns:a16="http://schemas.microsoft.com/office/drawing/2014/main" id="{CB5ACEFB-944B-43E4-80FC-AFCDA177B519}"/>
                </a:ext>
              </a:extLst>
            </p:cNvPr>
            <p:cNvSpPr/>
            <p:nvPr/>
          </p:nvSpPr>
          <p:spPr>
            <a:xfrm>
              <a:off x="8086617" y="6301945"/>
              <a:ext cx="261657" cy="202274"/>
            </a:xfrm>
            <a:custGeom>
              <a:avLst/>
              <a:gdLst>
                <a:gd name="connsiteX0" fmla="*/ 261658 w 261657"/>
                <a:gd name="connsiteY0" fmla="*/ 0 h 202274"/>
                <a:gd name="connsiteX1" fmla="*/ 0 w 261657"/>
                <a:gd name="connsiteY1" fmla="*/ 0 h 202274"/>
                <a:gd name="connsiteX2" fmla="*/ 0 w 261657"/>
                <a:gd name="connsiteY2" fmla="*/ 202275 h 202274"/>
                <a:gd name="connsiteX3" fmla="*/ 258711 w 261657"/>
                <a:gd name="connsiteY3" fmla="*/ 202275 h 202274"/>
                <a:gd name="connsiteX4" fmla="*/ 261658 w 261657"/>
                <a:gd name="connsiteY4" fmla="*/ 202275 h 202274"/>
                <a:gd name="connsiteX5" fmla="*/ 261658 w 261657"/>
                <a:gd name="connsiteY5" fmla="*/ 0 h 20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657" h="202274">
                  <a:moveTo>
                    <a:pt x="261658" y="0"/>
                  </a:moveTo>
                  <a:lnTo>
                    <a:pt x="0" y="0"/>
                  </a:lnTo>
                  <a:lnTo>
                    <a:pt x="0" y="202275"/>
                  </a:lnTo>
                  <a:lnTo>
                    <a:pt x="258711" y="202275"/>
                  </a:lnTo>
                  <a:lnTo>
                    <a:pt x="261658" y="202275"/>
                  </a:lnTo>
                  <a:lnTo>
                    <a:pt x="261658" y="0"/>
                  </a:lnTo>
                  <a:close/>
                </a:path>
              </a:pathLst>
            </a:custGeom>
            <a:solidFill>
              <a:schemeClr val="bg1">
                <a:lumMod val="95000"/>
              </a:schemeClr>
            </a:solidFill>
            <a:ln w="12700" cap="flat">
              <a:noFill/>
              <a:prstDash val="solid"/>
              <a:miter/>
            </a:ln>
          </p:spPr>
          <p:txBody>
            <a:bodyPr rtlCol="0" anchor="ctr"/>
            <a:lstStyle/>
            <a:p>
              <a:endParaRPr lang="en-US"/>
            </a:p>
          </p:txBody>
        </p:sp>
        <p:sp>
          <p:nvSpPr>
            <p:cNvPr id="1018" name="Freeform: Shape 1017">
              <a:extLst>
                <a:ext uri="{FF2B5EF4-FFF2-40B4-BE49-F238E27FC236}">
                  <a16:creationId xmlns:a16="http://schemas.microsoft.com/office/drawing/2014/main" id="{558DBBB3-0BA7-4E98-B822-B407FDD49A86}"/>
                </a:ext>
              </a:extLst>
            </p:cNvPr>
            <p:cNvSpPr/>
            <p:nvPr/>
          </p:nvSpPr>
          <p:spPr>
            <a:xfrm>
              <a:off x="8069066" y="6064574"/>
              <a:ext cx="4420" cy="104754"/>
            </a:xfrm>
            <a:custGeom>
              <a:avLst/>
              <a:gdLst>
                <a:gd name="connsiteX0" fmla="*/ 0 w 4420"/>
                <a:gd name="connsiteY0" fmla="*/ 3081 h 104754"/>
                <a:gd name="connsiteX1" fmla="*/ 0 w 4420"/>
                <a:gd name="connsiteY1" fmla="*/ 104754 h 104754"/>
                <a:gd name="connsiteX2" fmla="*/ 4421 w 4420"/>
                <a:gd name="connsiteY2" fmla="*/ 104754 h 104754"/>
                <a:gd name="connsiteX3" fmla="*/ 4421 w 4420"/>
                <a:gd name="connsiteY3" fmla="*/ 0 h 104754"/>
                <a:gd name="connsiteX4" fmla="*/ 4421 w 4420"/>
                <a:gd name="connsiteY4" fmla="*/ 0 h 104754"/>
                <a:gd name="connsiteX5" fmla="*/ 3349 w 4420"/>
                <a:gd name="connsiteY5" fmla="*/ 1072 h 104754"/>
                <a:gd name="connsiteX6" fmla="*/ 3349 w 4420"/>
                <a:gd name="connsiteY6" fmla="*/ 1072 h 10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0" h="104754">
                  <a:moveTo>
                    <a:pt x="0" y="3081"/>
                  </a:moveTo>
                  <a:lnTo>
                    <a:pt x="0" y="104754"/>
                  </a:lnTo>
                  <a:lnTo>
                    <a:pt x="4421" y="104754"/>
                  </a:lnTo>
                  <a:lnTo>
                    <a:pt x="4421" y="0"/>
                  </a:lnTo>
                  <a:lnTo>
                    <a:pt x="4421" y="0"/>
                  </a:lnTo>
                  <a:cubicBezTo>
                    <a:pt x="4139" y="422"/>
                    <a:pt x="3765" y="785"/>
                    <a:pt x="3349" y="1072"/>
                  </a:cubicBezTo>
                  <a:cubicBezTo>
                    <a:pt x="3349" y="1072"/>
                    <a:pt x="3349" y="1072"/>
                    <a:pt x="3349" y="1072"/>
                  </a:cubicBezTo>
                  <a:close/>
                </a:path>
              </a:pathLst>
            </a:custGeom>
            <a:solidFill>
              <a:srgbClr val="F4F5F3"/>
            </a:solidFill>
            <a:ln w="12700" cap="flat">
              <a:noFill/>
              <a:prstDash val="solid"/>
              <a:miter/>
            </a:ln>
          </p:spPr>
          <p:txBody>
            <a:bodyPr rtlCol="0" anchor="ctr"/>
            <a:lstStyle/>
            <a:p>
              <a:endParaRPr lang="en-US"/>
            </a:p>
          </p:txBody>
        </p:sp>
        <p:sp>
          <p:nvSpPr>
            <p:cNvPr id="1019" name="Freeform: Shape 1018">
              <a:extLst>
                <a:ext uri="{FF2B5EF4-FFF2-40B4-BE49-F238E27FC236}">
                  <a16:creationId xmlns:a16="http://schemas.microsoft.com/office/drawing/2014/main" id="{0E7EEED0-C618-46FE-A9A7-CB80BBB4CCE1}"/>
                </a:ext>
              </a:extLst>
            </p:cNvPr>
            <p:cNvSpPr/>
            <p:nvPr/>
          </p:nvSpPr>
          <p:spPr>
            <a:xfrm>
              <a:off x="8076166" y="4983811"/>
              <a:ext cx="272108" cy="1186052"/>
            </a:xfrm>
            <a:custGeom>
              <a:avLst/>
              <a:gdLst>
                <a:gd name="connsiteX0" fmla="*/ 0 w 272108"/>
                <a:gd name="connsiteY0" fmla="*/ 8707 h 1186052"/>
                <a:gd name="connsiteX1" fmla="*/ 0 w 272108"/>
                <a:gd name="connsiteY1" fmla="*/ 1186053 h 1186052"/>
                <a:gd name="connsiteX2" fmla="*/ 272108 w 272108"/>
                <a:gd name="connsiteY2" fmla="*/ 1186053 h 1186052"/>
                <a:gd name="connsiteX3" fmla="*/ 272108 w 272108"/>
                <a:gd name="connsiteY3" fmla="*/ 1042451 h 1186052"/>
                <a:gd name="connsiteX4" fmla="*/ 272108 w 272108"/>
                <a:gd name="connsiteY4" fmla="*/ 831603 h 1186052"/>
                <a:gd name="connsiteX5" fmla="*/ 272108 w 272108"/>
                <a:gd name="connsiteY5" fmla="*/ 647011 h 1186052"/>
                <a:gd name="connsiteX6" fmla="*/ 272108 w 272108"/>
                <a:gd name="connsiteY6" fmla="*/ 0 h 1186052"/>
                <a:gd name="connsiteX7" fmla="*/ 98340 w 272108"/>
                <a:gd name="connsiteY7" fmla="*/ 0 h 1186052"/>
                <a:gd name="connsiteX8" fmla="*/ 3618 w 272108"/>
                <a:gd name="connsiteY8" fmla="*/ 0 h 1186052"/>
                <a:gd name="connsiteX9" fmla="*/ 0 w 272108"/>
                <a:gd name="connsiteY9" fmla="*/ 8707 h 118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108" h="1186052">
                  <a:moveTo>
                    <a:pt x="0" y="8707"/>
                  </a:moveTo>
                  <a:lnTo>
                    <a:pt x="0" y="1186053"/>
                  </a:lnTo>
                  <a:lnTo>
                    <a:pt x="272108" y="1186053"/>
                  </a:lnTo>
                  <a:lnTo>
                    <a:pt x="272108" y="1042451"/>
                  </a:lnTo>
                  <a:lnTo>
                    <a:pt x="272108" y="831603"/>
                  </a:lnTo>
                  <a:lnTo>
                    <a:pt x="272108" y="647011"/>
                  </a:lnTo>
                  <a:lnTo>
                    <a:pt x="272108" y="0"/>
                  </a:lnTo>
                  <a:lnTo>
                    <a:pt x="98340" y="0"/>
                  </a:lnTo>
                  <a:lnTo>
                    <a:pt x="3618" y="0"/>
                  </a:lnTo>
                  <a:lnTo>
                    <a:pt x="0" y="8707"/>
                  </a:lnTo>
                  <a:close/>
                </a:path>
              </a:pathLst>
            </a:custGeom>
            <a:solidFill>
              <a:schemeClr val="accent2"/>
            </a:solidFill>
            <a:ln w="12700" cap="flat">
              <a:noFill/>
              <a:prstDash val="solid"/>
              <a:miter/>
            </a:ln>
          </p:spPr>
          <p:txBody>
            <a:bodyPr rtlCol="0" anchor="ctr"/>
            <a:lstStyle/>
            <a:p>
              <a:endParaRPr lang="en-US"/>
            </a:p>
          </p:txBody>
        </p:sp>
        <p:sp>
          <p:nvSpPr>
            <p:cNvPr id="1020" name="Freeform: Shape 1019">
              <a:extLst>
                <a:ext uri="{FF2B5EF4-FFF2-40B4-BE49-F238E27FC236}">
                  <a16:creationId xmlns:a16="http://schemas.microsoft.com/office/drawing/2014/main" id="{5CA3BD82-C7A2-488B-9C1E-A67FB932C20B}"/>
                </a:ext>
              </a:extLst>
            </p:cNvPr>
            <p:cNvSpPr/>
            <p:nvPr/>
          </p:nvSpPr>
          <p:spPr>
            <a:xfrm>
              <a:off x="6965359" y="6513195"/>
              <a:ext cx="1107323" cy="339580"/>
            </a:xfrm>
            <a:custGeom>
              <a:avLst/>
              <a:gdLst>
                <a:gd name="connsiteX0" fmla="*/ 1107057 w 1107323"/>
                <a:gd name="connsiteY0" fmla="*/ 1340 h 339580"/>
                <a:gd name="connsiteX1" fmla="*/ 1107057 w 1107323"/>
                <a:gd name="connsiteY1" fmla="*/ 0 h 339580"/>
                <a:gd name="connsiteX2" fmla="*/ 645504 w 1107323"/>
                <a:gd name="connsiteY2" fmla="*/ 0 h 339580"/>
                <a:gd name="connsiteX3" fmla="*/ 645504 w 1107323"/>
                <a:gd name="connsiteY3" fmla="*/ 0 h 339580"/>
                <a:gd name="connsiteX4" fmla="*/ 645504 w 1107323"/>
                <a:gd name="connsiteY4" fmla="*/ 0 h 339580"/>
                <a:gd name="connsiteX5" fmla="*/ 638939 w 1107323"/>
                <a:gd name="connsiteY5" fmla="*/ 4689 h 339580"/>
                <a:gd name="connsiteX6" fmla="*/ 636661 w 1107323"/>
                <a:gd name="connsiteY6" fmla="*/ 4689 h 339580"/>
                <a:gd name="connsiteX7" fmla="*/ 2813 w 1107323"/>
                <a:gd name="connsiteY7" fmla="*/ 4689 h 339580"/>
                <a:gd name="connsiteX8" fmla="*/ 0 w 1107323"/>
                <a:gd name="connsiteY8" fmla="*/ 4689 h 339580"/>
                <a:gd name="connsiteX9" fmla="*/ 0 w 1107323"/>
                <a:gd name="connsiteY9" fmla="*/ 339580 h 339580"/>
                <a:gd name="connsiteX10" fmla="*/ 1107324 w 1107323"/>
                <a:gd name="connsiteY10" fmla="*/ 339580 h 339580"/>
                <a:gd name="connsiteX11" fmla="*/ 1107324 w 1107323"/>
                <a:gd name="connsiteY11" fmla="*/ 1742 h 3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323" h="339580">
                  <a:moveTo>
                    <a:pt x="1107057" y="1340"/>
                  </a:moveTo>
                  <a:cubicBezTo>
                    <a:pt x="1107057" y="1340"/>
                    <a:pt x="1107057" y="536"/>
                    <a:pt x="1107057" y="0"/>
                  </a:cubicBezTo>
                  <a:lnTo>
                    <a:pt x="645504" y="0"/>
                  </a:lnTo>
                  <a:cubicBezTo>
                    <a:pt x="645504" y="0"/>
                    <a:pt x="645504" y="0"/>
                    <a:pt x="645504" y="0"/>
                  </a:cubicBezTo>
                  <a:lnTo>
                    <a:pt x="645504" y="0"/>
                  </a:lnTo>
                  <a:cubicBezTo>
                    <a:pt x="644499" y="2773"/>
                    <a:pt x="641886" y="4635"/>
                    <a:pt x="638939" y="4689"/>
                  </a:cubicBezTo>
                  <a:cubicBezTo>
                    <a:pt x="638188" y="4822"/>
                    <a:pt x="637411" y="4822"/>
                    <a:pt x="636661" y="4689"/>
                  </a:cubicBezTo>
                  <a:lnTo>
                    <a:pt x="2813" y="4689"/>
                  </a:lnTo>
                  <a:lnTo>
                    <a:pt x="0" y="4689"/>
                  </a:lnTo>
                  <a:lnTo>
                    <a:pt x="0" y="339580"/>
                  </a:lnTo>
                  <a:lnTo>
                    <a:pt x="1107324" y="339580"/>
                  </a:lnTo>
                  <a:lnTo>
                    <a:pt x="1107324" y="1742"/>
                  </a:lnTo>
                  <a:close/>
                </a:path>
              </a:pathLst>
            </a:custGeom>
            <a:solidFill>
              <a:srgbClr val="0A4054"/>
            </a:solidFill>
            <a:ln w="12700" cap="flat">
              <a:noFill/>
              <a:prstDash val="solid"/>
              <a:miter/>
            </a:ln>
          </p:spPr>
          <p:txBody>
            <a:bodyPr rtlCol="0" anchor="ctr"/>
            <a:lstStyle/>
            <a:p>
              <a:endParaRPr lang="en-US"/>
            </a:p>
          </p:txBody>
        </p:sp>
        <p:sp>
          <p:nvSpPr>
            <p:cNvPr id="1021" name="Freeform: Shape 1020">
              <a:extLst>
                <a:ext uri="{FF2B5EF4-FFF2-40B4-BE49-F238E27FC236}">
                  <a16:creationId xmlns:a16="http://schemas.microsoft.com/office/drawing/2014/main" id="{CDF6165C-22D5-4505-BC3D-A525FD9EA3B3}"/>
                </a:ext>
              </a:extLst>
            </p:cNvPr>
            <p:cNvSpPr/>
            <p:nvPr/>
          </p:nvSpPr>
          <p:spPr>
            <a:xfrm>
              <a:off x="8343987" y="6518955"/>
              <a:ext cx="2679" cy="334891"/>
            </a:xfrm>
            <a:custGeom>
              <a:avLst/>
              <a:gdLst>
                <a:gd name="connsiteX0" fmla="*/ 1340 w 2679"/>
                <a:gd name="connsiteY0" fmla="*/ 0 h 334891"/>
                <a:gd name="connsiteX1" fmla="*/ 0 w 2679"/>
                <a:gd name="connsiteY1" fmla="*/ 0 h 334891"/>
                <a:gd name="connsiteX2" fmla="*/ 0 w 2679"/>
                <a:gd name="connsiteY2" fmla="*/ 334892 h 334891"/>
                <a:gd name="connsiteX3" fmla="*/ 2680 w 2679"/>
                <a:gd name="connsiteY3" fmla="*/ 334892 h 334891"/>
                <a:gd name="connsiteX4" fmla="*/ 2680 w 2679"/>
                <a:gd name="connsiteY4" fmla="*/ 0 h 334891"/>
                <a:gd name="connsiteX5" fmla="*/ 1340 w 2679"/>
                <a:gd name="connsiteY5" fmla="*/ 0 h 3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34891">
                  <a:moveTo>
                    <a:pt x="1340" y="0"/>
                  </a:moveTo>
                  <a:lnTo>
                    <a:pt x="0" y="0"/>
                  </a:lnTo>
                  <a:lnTo>
                    <a:pt x="0" y="334892"/>
                  </a:lnTo>
                  <a:lnTo>
                    <a:pt x="2680" y="334892"/>
                  </a:lnTo>
                  <a:lnTo>
                    <a:pt x="2680" y="0"/>
                  </a:lnTo>
                  <a:lnTo>
                    <a:pt x="1340" y="0"/>
                  </a:lnTo>
                  <a:close/>
                </a:path>
              </a:pathLst>
            </a:custGeom>
            <a:solidFill>
              <a:srgbClr val="000000"/>
            </a:solidFill>
            <a:ln w="12700" cap="flat">
              <a:noFill/>
              <a:prstDash val="solid"/>
              <a:miter/>
            </a:ln>
          </p:spPr>
          <p:txBody>
            <a:bodyPr rtlCol="0" anchor="ctr"/>
            <a:lstStyle/>
            <a:p>
              <a:endParaRPr lang="en-US"/>
            </a:p>
          </p:txBody>
        </p:sp>
        <p:sp>
          <p:nvSpPr>
            <p:cNvPr id="1022" name="Freeform: Shape 1021">
              <a:extLst>
                <a:ext uri="{FF2B5EF4-FFF2-40B4-BE49-F238E27FC236}">
                  <a16:creationId xmlns:a16="http://schemas.microsoft.com/office/drawing/2014/main" id="{A9720DD1-34F9-4DB8-9DE6-8301BFB445D3}"/>
                </a:ext>
              </a:extLst>
            </p:cNvPr>
            <p:cNvSpPr/>
            <p:nvPr/>
          </p:nvSpPr>
          <p:spPr>
            <a:xfrm>
              <a:off x="9490701" y="6523108"/>
              <a:ext cx="49303" cy="2545"/>
            </a:xfrm>
            <a:custGeom>
              <a:avLst/>
              <a:gdLst>
                <a:gd name="connsiteX0" fmla="*/ 0 w 49303"/>
                <a:gd name="connsiteY0" fmla="*/ 2545 h 2545"/>
                <a:gd name="connsiteX1" fmla="*/ 49304 w 49303"/>
                <a:gd name="connsiteY1" fmla="*/ 2545 h 2545"/>
                <a:gd name="connsiteX2" fmla="*/ 49304 w 49303"/>
                <a:gd name="connsiteY2" fmla="*/ 0 h 2545"/>
                <a:gd name="connsiteX3" fmla="*/ 2277 w 49303"/>
                <a:gd name="connsiteY3" fmla="*/ 0 h 2545"/>
                <a:gd name="connsiteX4" fmla="*/ 0 w 49303"/>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03" h="2545">
                  <a:moveTo>
                    <a:pt x="0" y="2545"/>
                  </a:moveTo>
                  <a:lnTo>
                    <a:pt x="49304" y="2545"/>
                  </a:lnTo>
                  <a:lnTo>
                    <a:pt x="49304" y="0"/>
                  </a:lnTo>
                  <a:lnTo>
                    <a:pt x="2277" y="0"/>
                  </a:lnTo>
                  <a:cubicBezTo>
                    <a:pt x="1742" y="1018"/>
                    <a:pt x="965" y="1902"/>
                    <a:pt x="0" y="2545"/>
                  </a:cubicBezTo>
                  <a:close/>
                </a:path>
              </a:pathLst>
            </a:custGeom>
            <a:solidFill>
              <a:srgbClr val="000000"/>
            </a:solidFill>
            <a:ln w="12700" cap="flat">
              <a:noFill/>
              <a:prstDash val="solid"/>
              <a:miter/>
            </a:ln>
          </p:spPr>
          <p:txBody>
            <a:bodyPr rtlCol="0" anchor="ctr"/>
            <a:lstStyle/>
            <a:p>
              <a:endParaRPr lang="en-US"/>
            </a:p>
          </p:txBody>
        </p:sp>
        <p:sp>
          <p:nvSpPr>
            <p:cNvPr id="1023" name="Freeform: Shape 1022">
              <a:extLst>
                <a:ext uri="{FF2B5EF4-FFF2-40B4-BE49-F238E27FC236}">
                  <a16:creationId xmlns:a16="http://schemas.microsoft.com/office/drawing/2014/main" id="{EE438E5A-656B-48AE-B5E4-CDF89795776D}"/>
                </a:ext>
              </a:extLst>
            </p:cNvPr>
            <p:cNvSpPr/>
            <p:nvPr/>
          </p:nvSpPr>
          <p:spPr>
            <a:xfrm>
              <a:off x="9493783" y="6519491"/>
              <a:ext cx="46222" cy="937"/>
            </a:xfrm>
            <a:custGeom>
              <a:avLst/>
              <a:gdLst>
                <a:gd name="connsiteX0" fmla="*/ 0 w 46222"/>
                <a:gd name="connsiteY0" fmla="*/ 938 h 937"/>
                <a:gd name="connsiteX1" fmla="*/ 46222 w 46222"/>
                <a:gd name="connsiteY1" fmla="*/ 938 h 937"/>
                <a:gd name="connsiteX2" fmla="*/ 46222 w 46222"/>
                <a:gd name="connsiteY2" fmla="*/ 0 h 937"/>
                <a:gd name="connsiteX3" fmla="*/ 134 w 46222"/>
                <a:gd name="connsiteY3" fmla="*/ 0 h 937"/>
                <a:gd name="connsiteX4" fmla="*/ 0 w 46222"/>
                <a:gd name="connsiteY4" fmla="*/ 938 h 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22" h="937">
                  <a:moveTo>
                    <a:pt x="0" y="938"/>
                  </a:moveTo>
                  <a:lnTo>
                    <a:pt x="46222" y="938"/>
                  </a:lnTo>
                  <a:lnTo>
                    <a:pt x="46222" y="0"/>
                  </a:lnTo>
                  <a:lnTo>
                    <a:pt x="134" y="0"/>
                  </a:lnTo>
                  <a:cubicBezTo>
                    <a:pt x="134" y="0"/>
                    <a:pt x="0" y="670"/>
                    <a:pt x="0" y="938"/>
                  </a:cubicBezTo>
                  <a:close/>
                </a:path>
              </a:pathLst>
            </a:custGeom>
            <a:solidFill>
              <a:srgbClr val="000000"/>
            </a:solidFill>
            <a:ln w="12700" cap="flat">
              <a:noFill/>
              <a:prstDash val="solid"/>
              <a:miter/>
            </a:ln>
          </p:spPr>
          <p:txBody>
            <a:bodyPr rtlCol="0" anchor="ctr"/>
            <a:lstStyle/>
            <a:p>
              <a:endParaRPr lang="en-US"/>
            </a:p>
          </p:txBody>
        </p:sp>
        <p:sp>
          <p:nvSpPr>
            <p:cNvPr id="1024" name="Freeform: Shape 1023">
              <a:extLst>
                <a:ext uri="{FF2B5EF4-FFF2-40B4-BE49-F238E27FC236}">
                  <a16:creationId xmlns:a16="http://schemas.microsoft.com/office/drawing/2014/main" id="{C9AFDC04-FE39-4477-8378-971A59DEAD4A}"/>
                </a:ext>
              </a:extLst>
            </p:cNvPr>
            <p:cNvSpPr/>
            <p:nvPr/>
          </p:nvSpPr>
          <p:spPr>
            <a:xfrm>
              <a:off x="8363012" y="6018895"/>
              <a:ext cx="331594" cy="14735"/>
            </a:xfrm>
            <a:custGeom>
              <a:avLst/>
              <a:gdLst>
                <a:gd name="connsiteX0" fmla="*/ 0 w 331594"/>
                <a:gd name="connsiteY0" fmla="*/ 14735 h 14735"/>
                <a:gd name="connsiteX1" fmla="*/ 324225 w 331594"/>
                <a:gd name="connsiteY1" fmla="*/ 14735 h 14735"/>
                <a:gd name="connsiteX2" fmla="*/ 324225 w 331594"/>
                <a:gd name="connsiteY2" fmla="*/ 7368 h 14735"/>
                <a:gd name="connsiteX3" fmla="*/ 331594 w 331594"/>
                <a:gd name="connsiteY3" fmla="*/ 0 h 14735"/>
                <a:gd name="connsiteX4" fmla="*/ 0 w 331594"/>
                <a:gd name="connsiteY4" fmla="*/ 0 h 14735"/>
                <a:gd name="connsiteX5" fmla="*/ 0 w 331594"/>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594" h="14735">
                  <a:moveTo>
                    <a:pt x="0" y="14735"/>
                  </a:moveTo>
                  <a:lnTo>
                    <a:pt x="324225" y="14735"/>
                  </a:lnTo>
                  <a:lnTo>
                    <a:pt x="324225" y="7368"/>
                  </a:lnTo>
                  <a:cubicBezTo>
                    <a:pt x="324225" y="3298"/>
                    <a:pt x="327521" y="0"/>
                    <a:pt x="331594" y="0"/>
                  </a:cubicBezTo>
                  <a:lnTo>
                    <a:pt x="0" y="0"/>
                  </a:lnTo>
                  <a:lnTo>
                    <a:pt x="0" y="14735"/>
                  </a:lnTo>
                  <a:close/>
                </a:path>
              </a:pathLst>
            </a:custGeom>
            <a:solidFill>
              <a:srgbClr val="000000"/>
            </a:solidFill>
            <a:ln w="12700" cap="flat">
              <a:noFill/>
              <a:prstDash val="solid"/>
              <a:miter/>
            </a:ln>
          </p:spPr>
          <p:txBody>
            <a:bodyPr rtlCol="0" anchor="ctr"/>
            <a:lstStyle/>
            <a:p>
              <a:endParaRPr lang="en-US"/>
            </a:p>
          </p:txBody>
        </p:sp>
        <p:sp>
          <p:nvSpPr>
            <p:cNvPr id="1025" name="Freeform: Shape 1024">
              <a:extLst>
                <a:ext uri="{FF2B5EF4-FFF2-40B4-BE49-F238E27FC236}">
                  <a16:creationId xmlns:a16="http://schemas.microsoft.com/office/drawing/2014/main" id="{EE5B02FA-5CB8-4475-B78C-F66D61AA6FC9}"/>
                </a:ext>
              </a:extLst>
            </p:cNvPr>
            <p:cNvSpPr/>
            <p:nvPr/>
          </p:nvSpPr>
          <p:spPr>
            <a:xfrm>
              <a:off x="8916206" y="6522438"/>
              <a:ext cx="401932" cy="1205"/>
            </a:xfrm>
            <a:custGeom>
              <a:avLst/>
              <a:gdLst>
                <a:gd name="connsiteX0" fmla="*/ 19293 w 401932"/>
                <a:gd name="connsiteY0" fmla="*/ 670 h 1205"/>
                <a:gd name="connsiteX1" fmla="*/ 19293 w 401932"/>
                <a:gd name="connsiteY1" fmla="*/ 670 h 1205"/>
                <a:gd name="connsiteX2" fmla="*/ 0 w 401932"/>
                <a:gd name="connsiteY2" fmla="*/ 0 h 1205"/>
                <a:gd name="connsiteX3" fmla="*/ 0 w 401932"/>
                <a:gd name="connsiteY3" fmla="*/ 1206 h 1205"/>
                <a:gd name="connsiteX4" fmla="*/ 401933 w 401932"/>
                <a:gd name="connsiteY4" fmla="*/ 1206 h 1205"/>
                <a:gd name="connsiteX5" fmla="*/ 401933 w 401932"/>
                <a:gd name="connsiteY5" fmla="*/ 1206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932" h="1205">
                  <a:moveTo>
                    <a:pt x="19293" y="670"/>
                  </a:moveTo>
                  <a:lnTo>
                    <a:pt x="19293" y="670"/>
                  </a:lnTo>
                  <a:lnTo>
                    <a:pt x="0" y="0"/>
                  </a:lnTo>
                  <a:cubicBezTo>
                    <a:pt x="67" y="402"/>
                    <a:pt x="67" y="804"/>
                    <a:pt x="0" y="1206"/>
                  </a:cubicBezTo>
                  <a:lnTo>
                    <a:pt x="401933" y="1206"/>
                  </a:lnTo>
                  <a:cubicBezTo>
                    <a:pt x="401933" y="1206"/>
                    <a:pt x="401933" y="1206"/>
                    <a:pt x="401933" y="1206"/>
                  </a:cubicBezTo>
                  <a:close/>
                </a:path>
              </a:pathLst>
            </a:custGeom>
            <a:solidFill>
              <a:srgbClr val="000000"/>
            </a:solidFill>
            <a:ln w="12700" cap="flat">
              <a:noFill/>
              <a:prstDash val="solid"/>
              <a:miter/>
            </a:ln>
          </p:spPr>
          <p:txBody>
            <a:bodyPr rtlCol="0" anchor="ctr"/>
            <a:lstStyle/>
            <a:p>
              <a:endParaRPr lang="en-US"/>
            </a:p>
          </p:txBody>
        </p:sp>
        <p:sp>
          <p:nvSpPr>
            <p:cNvPr id="1026" name="Freeform: Shape 1025">
              <a:extLst>
                <a:ext uri="{FF2B5EF4-FFF2-40B4-BE49-F238E27FC236}">
                  <a16:creationId xmlns:a16="http://schemas.microsoft.com/office/drawing/2014/main" id="{8E73C6D5-4816-4FAF-AD49-B8DFF6726D62}"/>
                </a:ext>
              </a:extLst>
            </p:cNvPr>
            <p:cNvSpPr/>
            <p:nvPr/>
          </p:nvSpPr>
          <p:spPr>
            <a:xfrm>
              <a:off x="9332340" y="6520697"/>
              <a:ext cx="148045" cy="2143"/>
            </a:xfrm>
            <a:custGeom>
              <a:avLst/>
              <a:gdLst>
                <a:gd name="connsiteX0" fmla="*/ 0 w 148045"/>
                <a:gd name="connsiteY0" fmla="*/ 268 h 2143"/>
                <a:gd name="connsiteX1" fmla="*/ 0 w 148045"/>
                <a:gd name="connsiteY1" fmla="*/ 268 h 2143"/>
                <a:gd name="connsiteX2" fmla="*/ 0 w 148045"/>
                <a:gd name="connsiteY2" fmla="*/ 2143 h 2143"/>
                <a:gd name="connsiteX3" fmla="*/ 148045 w 148045"/>
                <a:gd name="connsiteY3" fmla="*/ 2143 h 2143"/>
                <a:gd name="connsiteX4" fmla="*/ 147375 w 148045"/>
                <a:gd name="connsiteY4" fmla="*/ 0 h 2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45" h="2143">
                  <a:moveTo>
                    <a:pt x="0" y="268"/>
                  </a:moveTo>
                  <a:lnTo>
                    <a:pt x="0" y="268"/>
                  </a:lnTo>
                  <a:cubicBezTo>
                    <a:pt x="67" y="897"/>
                    <a:pt x="67" y="1514"/>
                    <a:pt x="0" y="2143"/>
                  </a:cubicBezTo>
                  <a:lnTo>
                    <a:pt x="148045" y="2143"/>
                  </a:lnTo>
                  <a:cubicBezTo>
                    <a:pt x="147737" y="1460"/>
                    <a:pt x="147523" y="737"/>
                    <a:pt x="147375" y="0"/>
                  </a:cubicBezTo>
                  <a:close/>
                </a:path>
              </a:pathLst>
            </a:custGeom>
            <a:solidFill>
              <a:srgbClr val="000000"/>
            </a:solidFill>
            <a:ln w="12700" cap="flat">
              <a:noFill/>
              <a:prstDash val="solid"/>
              <a:miter/>
            </a:ln>
          </p:spPr>
          <p:txBody>
            <a:bodyPr rtlCol="0" anchor="ctr"/>
            <a:lstStyle/>
            <a:p>
              <a:endParaRPr lang="en-US"/>
            </a:p>
          </p:txBody>
        </p:sp>
        <p:sp>
          <p:nvSpPr>
            <p:cNvPr id="1027" name="Freeform: Shape 1026">
              <a:extLst>
                <a:ext uri="{FF2B5EF4-FFF2-40B4-BE49-F238E27FC236}">
                  <a16:creationId xmlns:a16="http://schemas.microsoft.com/office/drawing/2014/main" id="{34F4C212-2FC4-440B-825A-4B6D37DDDF25}"/>
                </a:ext>
              </a:extLst>
            </p:cNvPr>
            <p:cNvSpPr/>
            <p:nvPr/>
          </p:nvSpPr>
          <p:spPr>
            <a:xfrm>
              <a:off x="9492979" y="6520429"/>
              <a:ext cx="47026" cy="2679"/>
            </a:xfrm>
            <a:custGeom>
              <a:avLst/>
              <a:gdLst>
                <a:gd name="connsiteX0" fmla="*/ 0 w 47026"/>
                <a:gd name="connsiteY0" fmla="*/ 2679 h 2679"/>
                <a:gd name="connsiteX1" fmla="*/ 47026 w 47026"/>
                <a:gd name="connsiteY1" fmla="*/ 2679 h 2679"/>
                <a:gd name="connsiteX2" fmla="*/ 47026 w 47026"/>
                <a:gd name="connsiteY2" fmla="*/ 0 h 2679"/>
                <a:gd name="connsiteX3" fmla="*/ 804 w 47026"/>
                <a:gd name="connsiteY3" fmla="*/ 0 h 2679"/>
                <a:gd name="connsiteX4" fmla="*/ 0 w 47026"/>
                <a:gd name="connsiteY4" fmla="*/ 2679 h 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26" h="2679">
                  <a:moveTo>
                    <a:pt x="0" y="2679"/>
                  </a:moveTo>
                  <a:lnTo>
                    <a:pt x="47026" y="2679"/>
                  </a:lnTo>
                  <a:lnTo>
                    <a:pt x="47026" y="0"/>
                  </a:lnTo>
                  <a:lnTo>
                    <a:pt x="804" y="0"/>
                  </a:lnTo>
                  <a:cubicBezTo>
                    <a:pt x="737" y="938"/>
                    <a:pt x="469" y="1862"/>
                    <a:pt x="0" y="2679"/>
                  </a:cubicBezTo>
                  <a:close/>
                </a:path>
              </a:pathLst>
            </a:custGeom>
            <a:solidFill>
              <a:srgbClr val="000000"/>
            </a:solidFill>
            <a:ln w="12700" cap="flat">
              <a:no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5220D6DE-7574-4E6D-939E-3B273208479B}"/>
                </a:ext>
              </a:extLst>
            </p:cNvPr>
            <p:cNvSpPr/>
            <p:nvPr/>
          </p:nvSpPr>
          <p:spPr>
            <a:xfrm>
              <a:off x="9600965" y="5921910"/>
              <a:ext cx="81994" cy="32819"/>
            </a:xfrm>
            <a:custGeom>
              <a:avLst/>
              <a:gdLst>
                <a:gd name="connsiteX0" fmla="*/ 9110 w 81994"/>
                <a:gd name="connsiteY0" fmla="*/ 27059 h 32819"/>
                <a:gd name="connsiteX1" fmla="*/ 9110 w 81994"/>
                <a:gd name="connsiteY1" fmla="*/ 32819 h 32819"/>
                <a:gd name="connsiteX2" fmla="*/ 81994 w 81994"/>
                <a:gd name="connsiteY2" fmla="*/ 15137 h 32819"/>
                <a:gd name="connsiteX3" fmla="*/ 81994 w 81994"/>
                <a:gd name="connsiteY3" fmla="*/ 13798 h 32819"/>
                <a:gd name="connsiteX4" fmla="*/ 77037 w 81994"/>
                <a:gd name="connsiteY4" fmla="*/ 6966 h 32819"/>
                <a:gd name="connsiteX5" fmla="*/ 81994 w 81994"/>
                <a:gd name="connsiteY5" fmla="*/ 0 h 32819"/>
                <a:gd name="connsiteX6" fmla="*/ 81994 w 81994"/>
                <a:gd name="connsiteY6" fmla="*/ 0 h 32819"/>
                <a:gd name="connsiteX7" fmla="*/ 0 w 81994"/>
                <a:gd name="connsiteY7" fmla="*/ 19826 h 32819"/>
                <a:gd name="connsiteX8" fmla="*/ 2278 w 81994"/>
                <a:gd name="connsiteY8" fmla="*/ 19826 h 32819"/>
                <a:gd name="connsiteX9" fmla="*/ 9110 w 81994"/>
                <a:gd name="connsiteY9" fmla="*/ 27059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94" h="32819">
                  <a:moveTo>
                    <a:pt x="9110" y="27059"/>
                  </a:moveTo>
                  <a:lnTo>
                    <a:pt x="9110" y="32819"/>
                  </a:lnTo>
                  <a:lnTo>
                    <a:pt x="81994" y="15137"/>
                  </a:lnTo>
                  <a:lnTo>
                    <a:pt x="81994" y="13798"/>
                  </a:lnTo>
                  <a:cubicBezTo>
                    <a:pt x="79047" y="12820"/>
                    <a:pt x="77051" y="10071"/>
                    <a:pt x="77037" y="6966"/>
                  </a:cubicBezTo>
                  <a:cubicBezTo>
                    <a:pt x="77077" y="3838"/>
                    <a:pt x="79047" y="1061"/>
                    <a:pt x="81994" y="0"/>
                  </a:cubicBezTo>
                  <a:lnTo>
                    <a:pt x="81994" y="0"/>
                  </a:lnTo>
                  <a:lnTo>
                    <a:pt x="0" y="19826"/>
                  </a:lnTo>
                  <a:cubicBezTo>
                    <a:pt x="751" y="19698"/>
                    <a:pt x="1528" y="19698"/>
                    <a:pt x="2278" y="19826"/>
                  </a:cubicBezTo>
                  <a:cubicBezTo>
                    <a:pt x="6109" y="20039"/>
                    <a:pt x="9110" y="23216"/>
                    <a:pt x="9110" y="27059"/>
                  </a:cubicBezTo>
                  <a:close/>
                </a:path>
              </a:pathLst>
            </a:custGeom>
            <a:solidFill>
              <a:srgbClr val="000000"/>
            </a:solidFill>
            <a:ln w="12700" cap="flat">
              <a:noFill/>
              <a:prstDash val="solid"/>
              <a:miter/>
            </a:ln>
          </p:spPr>
          <p:txBody>
            <a:bodyPr rtlCol="0" anchor="ctr"/>
            <a:lstStyle/>
            <a:p>
              <a:endParaRPr lang="en-US"/>
            </a:p>
          </p:txBody>
        </p:sp>
        <p:sp>
          <p:nvSpPr>
            <p:cNvPr id="1029" name="Freeform: Shape 1028">
              <a:extLst>
                <a:ext uri="{FF2B5EF4-FFF2-40B4-BE49-F238E27FC236}">
                  <a16:creationId xmlns:a16="http://schemas.microsoft.com/office/drawing/2014/main" id="{134A1E65-BB0E-4BB2-B8A1-0081F51D030A}"/>
                </a:ext>
              </a:extLst>
            </p:cNvPr>
            <p:cNvSpPr/>
            <p:nvPr/>
          </p:nvSpPr>
          <p:spPr>
            <a:xfrm>
              <a:off x="9964982" y="5921508"/>
              <a:ext cx="46892" cy="14735"/>
            </a:xfrm>
            <a:custGeom>
              <a:avLst/>
              <a:gdLst>
                <a:gd name="connsiteX0" fmla="*/ 39523 w 46892"/>
                <a:gd name="connsiteY0" fmla="*/ 14735 h 14735"/>
                <a:gd name="connsiteX1" fmla="*/ 39523 w 46892"/>
                <a:gd name="connsiteY1" fmla="*/ 7368 h 14735"/>
                <a:gd name="connsiteX2" fmla="*/ 46892 w 46892"/>
                <a:gd name="connsiteY2" fmla="*/ 0 h 14735"/>
                <a:gd name="connsiteX3" fmla="*/ 0 w 46892"/>
                <a:gd name="connsiteY3" fmla="*/ 0 h 14735"/>
                <a:gd name="connsiteX4" fmla="*/ 0 w 46892"/>
                <a:gd name="connsiteY4" fmla="*/ 14735 h 14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2" h="14735">
                  <a:moveTo>
                    <a:pt x="39523" y="14735"/>
                  </a:moveTo>
                  <a:lnTo>
                    <a:pt x="39523" y="7368"/>
                  </a:lnTo>
                  <a:cubicBezTo>
                    <a:pt x="39523" y="3298"/>
                    <a:pt x="42819" y="0"/>
                    <a:pt x="46892" y="0"/>
                  </a:cubicBezTo>
                  <a:lnTo>
                    <a:pt x="0" y="0"/>
                  </a:lnTo>
                  <a:lnTo>
                    <a:pt x="0" y="14735"/>
                  </a:lnTo>
                  <a:close/>
                </a:path>
              </a:pathLst>
            </a:custGeom>
            <a:solidFill>
              <a:srgbClr val="000000"/>
            </a:solidFill>
            <a:ln w="12700"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FDBC443F-F342-4110-855B-1F38273598C6}"/>
                </a:ext>
              </a:extLst>
            </p:cNvPr>
            <p:cNvSpPr/>
            <p:nvPr/>
          </p:nvSpPr>
          <p:spPr>
            <a:xfrm>
              <a:off x="9678002" y="5922312"/>
              <a:ext cx="4957" cy="13395"/>
            </a:xfrm>
            <a:custGeom>
              <a:avLst/>
              <a:gdLst>
                <a:gd name="connsiteX0" fmla="*/ 0 w 4957"/>
                <a:gd name="connsiteY0" fmla="*/ 6564 h 13395"/>
                <a:gd name="connsiteX1" fmla="*/ 4957 w 4957"/>
                <a:gd name="connsiteY1" fmla="*/ 13396 h 13395"/>
                <a:gd name="connsiteX2" fmla="*/ 4957 w 4957"/>
                <a:gd name="connsiteY2" fmla="*/ 0 h 13395"/>
                <a:gd name="connsiteX3" fmla="*/ 0 w 4957"/>
                <a:gd name="connsiteY3" fmla="*/ 6564 h 13395"/>
              </a:gdLst>
              <a:ahLst/>
              <a:cxnLst>
                <a:cxn ang="0">
                  <a:pos x="connsiteX0" y="connsiteY0"/>
                </a:cxn>
                <a:cxn ang="0">
                  <a:pos x="connsiteX1" y="connsiteY1"/>
                </a:cxn>
                <a:cxn ang="0">
                  <a:pos x="connsiteX2" y="connsiteY2"/>
                </a:cxn>
                <a:cxn ang="0">
                  <a:pos x="connsiteX3" y="connsiteY3"/>
                </a:cxn>
              </a:cxnLst>
              <a:rect l="l" t="t" r="r" b="b"/>
              <a:pathLst>
                <a:path w="4957" h="13395">
                  <a:moveTo>
                    <a:pt x="0" y="6564"/>
                  </a:moveTo>
                  <a:cubicBezTo>
                    <a:pt x="14" y="9669"/>
                    <a:pt x="2010" y="12418"/>
                    <a:pt x="4957" y="13396"/>
                  </a:cubicBezTo>
                  <a:lnTo>
                    <a:pt x="4957" y="0"/>
                  </a:lnTo>
                  <a:cubicBezTo>
                    <a:pt x="2144" y="1006"/>
                    <a:pt x="201" y="3585"/>
                    <a:pt x="0" y="6564"/>
                  </a:cubicBezTo>
                  <a:close/>
                </a:path>
              </a:pathLst>
            </a:custGeom>
            <a:solidFill>
              <a:srgbClr val="000000"/>
            </a:solidFill>
            <a:ln w="12700"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3B32654C-57AD-48C1-B917-03A4BD8FB34F}"/>
                </a:ext>
              </a:extLst>
            </p:cNvPr>
            <p:cNvSpPr/>
            <p:nvPr/>
          </p:nvSpPr>
          <p:spPr>
            <a:xfrm>
              <a:off x="5794930" y="6489619"/>
              <a:ext cx="43542" cy="6697"/>
            </a:xfrm>
            <a:custGeom>
              <a:avLst/>
              <a:gdLst>
                <a:gd name="connsiteX0" fmla="*/ 8441 w 43542"/>
                <a:gd name="connsiteY0" fmla="*/ 6698 h 6697"/>
                <a:gd name="connsiteX1" fmla="*/ 36308 w 43542"/>
                <a:gd name="connsiteY1" fmla="*/ 6698 h 6697"/>
                <a:gd name="connsiteX2" fmla="*/ 43543 w 43542"/>
                <a:gd name="connsiteY2" fmla="*/ 0 h 6697"/>
                <a:gd name="connsiteX3" fmla="*/ 43543 w 43542"/>
                <a:gd name="connsiteY3" fmla="*/ 0 h 6697"/>
                <a:gd name="connsiteX4" fmla="*/ 1340 w 43542"/>
                <a:gd name="connsiteY4" fmla="*/ 0 h 6697"/>
                <a:gd name="connsiteX5" fmla="*/ 0 w 43542"/>
                <a:gd name="connsiteY5" fmla="*/ 0 h 6697"/>
                <a:gd name="connsiteX6" fmla="*/ 1474 w 43542"/>
                <a:gd name="connsiteY6" fmla="*/ 0 h 6697"/>
                <a:gd name="connsiteX7" fmla="*/ 8441 w 43542"/>
                <a:gd name="connsiteY7"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42" h="6697">
                  <a:moveTo>
                    <a:pt x="8441" y="6698"/>
                  </a:moveTo>
                  <a:lnTo>
                    <a:pt x="36308" y="6698"/>
                  </a:lnTo>
                  <a:cubicBezTo>
                    <a:pt x="36656" y="2947"/>
                    <a:pt x="39778" y="54"/>
                    <a:pt x="43543" y="0"/>
                  </a:cubicBezTo>
                  <a:lnTo>
                    <a:pt x="43543" y="0"/>
                  </a:lnTo>
                  <a:lnTo>
                    <a:pt x="1340" y="0"/>
                  </a:lnTo>
                  <a:lnTo>
                    <a:pt x="0" y="0"/>
                  </a:lnTo>
                  <a:lnTo>
                    <a:pt x="1474" y="0"/>
                  </a:lnTo>
                  <a:cubicBezTo>
                    <a:pt x="5171" y="121"/>
                    <a:pt x="8173" y="3014"/>
                    <a:pt x="8441" y="6698"/>
                  </a:cubicBezTo>
                  <a:close/>
                </a:path>
              </a:pathLst>
            </a:custGeom>
            <a:solidFill>
              <a:srgbClr val="000000"/>
            </a:solidFill>
            <a:ln w="12700"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878B5760-A304-4034-B20B-706D004322E8}"/>
                </a:ext>
              </a:extLst>
            </p:cNvPr>
            <p:cNvSpPr/>
            <p:nvPr/>
          </p:nvSpPr>
          <p:spPr>
            <a:xfrm>
              <a:off x="5803639" y="6498326"/>
              <a:ext cx="34968" cy="6028"/>
            </a:xfrm>
            <a:custGeom>
              <a:avLst/>
              <a:gdLst>
                <a:gd name="connsiteX0" fmla="*/ 34834 w 34968"/>
                <a:gd name="connsiteY0" fmla="*/ 5492 h 6028"/>
                <a:gd name="connsiteX1" fmla="*/ 27868 w 34968"/>
                <a:gd name="connsiteY1" fmla="*/ 0 h 6028"/>
                <a:gd name="connsiteX2" fmla="*/ 0 w 34968"/>
                <a:gd name="connsiteY2" fmla="*/ 0 h 6028"/>
                <a:gd name="connsiteX3" fmla="*/ 0 w 34968"/>
                <a:gd name="connsiteY3" fmla="*/ 6028 h 6028"/>
                <a:gd name="connsiteX4" fmla="*/ 34968 w 34968"/>
                <a:gd name="connsiteY4" fmla="*/ 6028 h 6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68" h="6028">
                  <a:moveTo>
                    <a:pt x="34834" y="5492"/>
                  </a:moveTo>
                  <a:cubicBezTo>
                    <a:pt x="31565" y="5372"/>
                    <a:pt x="28738" y="3148"/>
                    <a:pt x="27868" y="0"/>
                  </a:cubicBezTo>
                  <a:lnTo>
                    <a:pt x="0" y="0"/>
                  </a:lnTo>
                  <a:lnTo>
                    <a:pt x="0" y="6028"/>
                  </a:lnTo>
                  <a:lnTo>
                    <a:pt x="34968" y="6028"/>
                  </a:lnTo>
                  <a:close/>
                </a:path>
              </a:pathLst>
            </a:custGeom>
            <a:solidFill>
              <a:srgbClr val="000000"/>
            </a:solidFill>
            <a:ln w="12700"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30877A31-D501-4097-81DC-0090A29ABACC}"/>
                </a:ext>
              </a:extLst>
            </p:cNvPr>
            <p:cNvSpPr/>
            <p:nvPr/>
          </p:nvSpPr>
          <p:spPr>
            <a:xfrm>
              <a:off x="6202088" y="6497924"/>
              <a:ext cx="23311" cy="5894"/>
            </a:xfrm>
            <a:custGeom>
              <a:avLst/>
              <a:gdLst>
                <a:gd name="connsiteX0" fmla="*/ 0 w 23311"/>
                <a:gd name="connsiteY0" fmla="*/ 5894 h 5894"/>
                <a:gd name="connsiteX1" fmla="*/ 23312 w 23311"/>
                <a:gd name="connsiteY1" fmla="*/ 5894 h 5894"/>
                <a:gd name="connsiteX2" fmla="*/ 23312 w 23311"/>
                <a:gd name="connsiteY2" fmla="*/ 0 h 5894"/>
                <a:gd name="connsiteX3" fmla="*/ 0 w 23311"/>
                <a:gd name="connsiteY3" fmla="*/ 402 h 5894"/>
                <a:gd name="connsiteX4" fmla="*/ 0 w 23311"/>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11" h="5894">
                  <a:moveTo>
                    <a:pt x="0" y="5894"/>
                  </a:moveTo>
                  <a:lnTo>
                    <a:pt x="23312" y="5894"/>
                  </a:lnTo>
                  <a:lnTo>
                    <a:pt x="23312" y="0"/>
                  </a:lnTo>
                  <a:lnTo>
                    <a:pt x="0" y="402"/>
                  </a:lnTo>
                  <a:lnTo>
                    <a:pt x="0" y="5894"/>
                  </a:lnTo>
                  <a:close/>
                </a:path>
              </a:pathLst>
            </a:custGeom>
            <a:solidFill>
              <a:srgbClr val="000000"/>
            </a:solidFill>
            <a:ln w="12700" cap="flat">
              <a:noFill/>
              <a:prstDash val="solid"/>
              <a:miter/>
            </a:ln>
          </p:spPr>
          <p:txBody>
            <a:bodyPr rtlCol="0" anchor="ctr"/>
            <a:lstStyle/>
            <a:p>
              <a:endParaRPr lang="en-US"/>
            </a:p>
          </p:txBody>
        </p:sp>
        <p:sp>
          <p:nvSpPr>
            <p:cNvPr id="1034" name="Freeform: Shape 1033">
              <a:extLst>
                <a:ext uri="{FF2B5EF4-FFF2-40B4-BE49-F238E27FC236}">
                  <a16:creationId xmlns:a16="http://schemas.microsoft.com/office/drawing/2014/main" id="{598C355A-2CAA-478E-81C8-1C685F3ED217}"/>
                </a:ext>
              </a:extLst>
            </p:cNvPr>
            <p:cNvSpPr/>
            <p:nvPr/>
          </p:nvSpPr>
          <p:spPr>
            <a:xfrm>
              <a:off x="5831507" y="6498326"/>
              <a:ext cx="368706" cy="5492"/>
            </a:xfrm>
            <a:custGeom>
              <a:avLst/>
              <a:gdLst>
                <a:gd name="connsiteX0" fmla="*/ 0 w 368706"/>
                <a:gd name="connsiteY0" fmla="*/ 0 h 5492"/>
                <a:gd name="connsiteX1" fmla="*/ 6967 w 368706"/>
                <a:gd name="connsiteY1" fmla="*/ 5492 h 5492"/>
                <a:gd name="connsiteX2" fmla="*/ 368706 w 368706"/>
                <a:gd name="connsiteY2" fmla="*/ 5492 h 5492"/>
                <a:gd name="connsiteX3" fmla="*/ 368706 w 368706"/>
                <a:gd name="connsiteY3" fmla="*/ 0 h 5492"/>
              </a:gdLst>
              <a:ahLst/>
              <a:cxnLst>
                <a:cxn ang="0">
                  <a:pos x="connsiteX0" y="connsiteY0"/>
                </a:cxn>
                <a:cxn ang="0">
                  <a:pos x="connsiteX1" y="connsiteY1"/>
                </a:cxn>
                <a:cxn ang="0">
                  <a:pos x="connsiteX2" y="connsiteY2"/>
                </a:cxn>
                <a:cxn ang="0">
                  <a:pos x="connsiteX3" y="connsiteY3"/>
                </a:cxn>
              </a:cxnLst>
              <a:rect l="l" t="t" r="r" b="b"/>
              <a:pathLst>
                <a:path w="368706" h="5492">
                  <a:moveTo>
                    <a:pt x="0" y="0"/>
                  </a:moveTo>
                  <a:cubicBezTo>
                    <a:pt x="871" y="3148"/>
                    <a:pt x="3698" y="5372"/>
                    <a:pt x="6967" y="5492"/>
                  </a:cubicBezTo>
                  <a:lnTo>
                    <a:pt x="368706" y="5492"/>
                  </a:lnTo>
                  <a:lnTo>
                    <a:pt x="368706" y="0"/>
                  </a:lnTo>
                  <a:close/>
                </a:path>
              </a:pathLst>
            </a:custGeom>
            <a:solidFill>
              <a:srgbClr val="000000"/>
            </a:solidFill>
            <a:ln w="12700" cap="flat">
              <a:noFill/>
              <a:prstDash val="solid"/>
              <a:miter/>
            </a:ln>
          </p:spPr>
          <p:txBody>
            <a:bodyPr rtlCol="0" anchor="ctr"/>
            <a:lstStyle/>
            <a:p>
              <a:endParaRPr lang="en-US"/>
            </a:p>
          </p:txBody>
        </p:sp>
        <p:sp>
          <p:nvSpPr>
            <p:cNvPr id="1035" name="Freeform: Shape 1034">
              <a:extLst>
                <a:ext uri="{FF2B5EF4-FFF2-40B4-BE49-F238E27FC236}">
                  <a16:creationId xmlns:a16="http://schemas.microsoft.com/office/drawing/2014/main" id="{B9AF63AC-7B44-4843-8F0C-799E1214AD9C}"/>
                </a:ext>
              </a:extLst>
            </p:cNvPr>
            <p:cNvSpPr/>
            <p:nvPr/>
          </p:nvSpPr>
          <p:spPr>
            <a:xfrm>
              <a:off x="5831238" y="6490154"/>
              <a:ext cx="401530" cy="6162"/>
            </a:xfrm>
            <a:custGeom>
              <a:avLst/>
              <a:gdLst>
                <a:gd name="connsiteX0" fmla="*/ 0 w 401530"/>
                <a:gd name="connsiteY0" fmla="*/ 6162 h 6162"/>
                <a:gd name="connsiteX1" fmla="*/ 369510 w 401530"/>
                <a:gd name="connsiteY1" fmla="*/ 6162 h 6162"/>
                <a:gd name="connsiteX2" fmla="*/ 394296 w 401530"/>
                <a:gd name="connsiteY2" fmla="*/ 6162 h 6162"/>
                <a:gd name="connsiteX3" fmla="*/ 401531 w 401530"/>
                <a:gd name="connsiteY3" fmla="*/ 0 h 6162"/>
                <a:gd name="connsiteX4" fmla="*/ 7235 w 401530"/>
                <a:gd name="connsiteY4" fmla="*/ 0 h 6162"/>
                <a:gd name="connsiteX5" fmla="*/ 0 w 401530"/>
                <a:gd name="connsiteY5" fmla="*/ 6162 h 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530" h="6162">
                  <a:moveTo>
                    <a:pt x="0" y="6162"/>
                  </a:moveTo>
                  <a:lnTo>
                    <a:pt x="369510" y="6162"/>
                  </a:lnTo>
                  <a:lnTo>
                    <a:pt x="394296" y="6162"/>
                  </a:lnTo>
                  <a:cubicBezTo>
                    <a:pt x="394885" y="2626"/>
                    <a:pt x="397940" y="13"/>
                    <a:pt x="401531" y="0"/>
                  </a:cubicBezTo>
                  <a:lnTo>
                    <a:pt x="7235" y="0"/>
                  </a:lnTo>
                  <a:cubicBezTo>
                    <a:pt x="3644" y="13"/>
                    <a:pt x="590" y="2626"/>
                    <a:pt x="0" y="6162"/>
                  </a:cubicBezTo>
                  <a:close/>
                </a:path>
              </a:pathLst>
            </a:custGeom>
            <a:solidFill>
              <a:srgbClr val="000000"/>
            </a:solidFill>
            <a:ln w="12700" cap="flat">
              <a:noFill/>
              <a:prstDash val="solid"/>
              <a:miter/>
            </a:ln>
          </p:spPr>
          <p:txBody>
            <a:bodyPr rtlCol="0" anchor="ctr"/>
            <a:lstStyle/>
            <a:p>
              <a:endParaRPr lang="en-US"/>
            </a:p>
          </p:txBody>
        </p:sp>
        <p:sp>
          <p:nvSpPr>
            <p:cNvPr id="1036" name="Freeform: Shape 1035">
              <a:extLst>
                <a:ext uri="{FF2B5EF4-FFF2-40B4-BE49-F238E27FC236}">
                  <a16:creationId xmlns:a16="http://schemas.microsoft.com/office/drawing/2014/main" id="{030EA438-F2AA-4771-88D8-435B9AEBB1C6}"/>
                </a:ext>
              </a:extLst>
            </p:cNvPr>
            <p:cNvSpPr/>
            <p:nvPr/>
          </p:nvSpPr>
          <p:spPr>
            <a:xfrm>
              <a:off x="6200614" y="6494873"/>
              <a:ext cx="24785" cy="3452"/>
            </a:xfrm>
            <a:custGeom>
              <a:avLst/>
              <a:gdLst>
                <a:gd name="connsiteX0" fmla="*/ 1474 w 24785"/>
                <a:gd name="connsiteY0" fmla="*/ 2247 h 3452"/>
                <a:gd name="connsiteX1" fmla="*/ 1474 w 24785"/>
                <a:gd name="connsiteY1" fmla="*/ 3452 h 3452"/>
                <a:gd name="connsiteX2" fmla="*/ 24786 w 24785"/>
                <a:gd name="connsiteY2" fmla="*/ 3452 h 3452"/>
                <a:gd name="connsiteX3" fmla="*/ 24786 w 24785"/>
                <a:gd name="connsiteY3" fmla="*/ 1443 h 3452"/>
                <a:gd name="connsiteX4" fmla="*/ 24786 w 24785"/>
                <a:gd name="connsiteY4" fmla="*/ 237 h 3452"/>
                <a:gd name="connsiteX5" fmla="*/ 0 w 24785"/>
                <a:gd name="connsiteY5" fmla="*/ 237 h 3452"/>
                <a:gd name="connsiteX6" fmla="*/ 0 w 24785"/>
                <a:gd name="connsiteY6" fmla="*/ 237 h 3452"/>
                <a:gd name="connsiteX7" fmla="*/ 1742 w 24785"/>
                <a:gd name="connsiteY7" fmla="*/ 505 h 3452"/>
                <a:gd name="connsiteX8" fmla="*/ 1474 w 24785"/>
                <a:gd name="connsiteY8" fmla="*/ 2247 h 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5" h="3452">
                  <a:moveTo>
                    <a:pt x="1474" y="2247"/>
                  </a:moveTo>
                  <a:lnTo>
                    <a:pt x="1474" y="3452"/>
                  </a:lnTo>
                  <a:lnTo>
                    <a:pt x="24786" y="3452"/>
                  </a:lnTo>
                  <a:lnTo>
                    <a:pt x="24786" y="1443"/>
                  </a:lnTo>
                  <a:cubicBezTo>
                    <a:pt x="24786" y="1443"/>
                    <a:pt x="24786" y="639"/>
                    <a:pt x="24786" y="237"/>
                  </a:cubicBezTo>
                  <a:lnTo>
                    <a:pt x="0" y="237"/>
                  </a:lnTo>
                  <a:lnTo>
                    <a:pt x="0" y="237"/>
                  </a:lnTo>
                  <a:cubicBezTo>
                    <a:pt x="550" y="-164"/>
                    <a:pt x="1340" y="-44"/>
                    <a:pt x="1742" y="505"/>
                  </a:cubicBezTo>
                  <a:cubicBezTo>
                    <a:pt x="2144" y="1054"/>
                    <a:pt x="2023" y="1845"/>
                    <a:pt x="1474" y="2247"/>
                  </a:cubicBezTo>
                  <a:close/>
                </a:path>
              </a:pathLst>
            </a:custGeom>
            <a:solidFill>
              <a:srgbClr val="000000"/>
            </a:solidFill>
            <a:ln w="12700"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055CA3F5-ECCA-4D5E-932D-EA5281C5DDB7}"/>
                </a:ext>
              </a:extLst>
            </p:cNvPr>
            <p:cNvSpPr/>
            <p:nvPr/>
          </p:nvSpPr>
          <p:spPr>
            <a:xfrm>
              <a:off x="5803371" y="6495781"/>
              <a:ext cx="397377" cy="2545"/>
            </a:xfrm>
            <a:custGeom>
              <a:avLst/>
              <a:gdLst>
                <a:gd name="connsiteX0" fmla="*/ 396172 w 397377"/>
                <a:gd name="connsiteY0" fmla="*/ 2545 h 2545"/>
                <a:gd name="connsiteX1" fmla="*/ 396172 w 397377"/>
                <a:gd name="connsiteY1" fmla="*/ 1339 h 2545"/>
                <a:gd name="connsiteX2" fmla="*/ 397230 w 397377"/>
                <a:gd name="connsiteY2" fmla="*/ 13 h 2545"/>
                <a:gd name="connsiteX3" fmla="*/ 397377 w 397377"/>
                <a:gd name="connsiteY3" fmla="*/ 0 h 2545"/>
                <a:gd name="connsiteX4" fmla="*/ 0 w 397377"/>
                <a:gd name="connsiteY4" fmla="*/ 0 h 2545"/>
                <a:gd name="connsiteX5" fmla="*/ 0 w 397377"/>
                <a:gd name="connsiteY5" fmla="*/ 1339 h 2545"/>
                <a:gd name="connsiteX6" fmla="*/ 0 w 397377"/>
                <a:gd name="connsiteY6" fmla="*/ 2545 h 2545"/>
                <a:gd name="connsiteX7" fmla="*/ 395904 w 397377"/>
                <a:gd name="connsiteY7"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77" h="2545">
                  <a:moveTo>
                    <a:pt x="396172" y="2545"/>
                  </a:moveTo>
                  <a:lnTo>
                    <a:pt x="396172" y="1339"/>
                  </a:lnTo>
                  <a:cubicBezTo>
                    <a:pt x="396091" y="683"/>
                    <a:pt x="396574" y="80"/>
                    <a:pt x="397230" y="13"/>
                  </a:cubicBezTo>
                  <a:cubicBezTo>
                    <a:pt x="397283" y="0"/>
                    <a:pt x="397324" y="0"/>
                    <a:pt x="397377" y="0"/>
                  </a:cubicBezTo>
                  <a:lnTo>
                    <a:pt x="0" y="0"/>
                  </a:lnTo>
                  <a:cubicBezTo>
                    <a:pt x="80" y="442"/>
                    <a:pt x="80" y="897"/>
                    <a:pt x="0" y="1339"/>
                  </a:cubicBezTo>
                  <a:lnTo>
                    <a:pt x="0" y="2545"/>
                  </a:lnTo>
                  <a:lnTo>
                    <a:pt x="395904" y="2545"/>
                  </a:lnTo>
                  <a:close/>
                </a:path>
              </a:pathLst>
            </a:custGeom>
            <a:solidFill>
              <a:srgbClr val="000000"/>
            </a:solidFill>
            <a:ln w="12700"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E2DF7C40-4A20-422F-AC8D-88D8EE329487}"/>
                </a:ext>
              </a:extLst>
            </p:cNvPr>
            <p:cNvSpPr/>
            <p:nvPr/>
          </p:nvSpPr>
          <p:spPr>
            <a:xfrm>
              <a:off x="5837267" y="6591158"/>
              <a:ext cx="2545" cy="262689"/>
            </a:xfrm>
            <a:custGeom>
              <a:avLst/>
              <a:gdLst>
                <a:gd name="connsiteX0" fmla="*/ 1206 w 2545"/>
                <a:gd name="connsiteY0" fmla="*/ 0 h 262689"/>
                <a:gd name="connsiteX1" fmla="*/ 0 w 2545"/>
                <a:gd name="connsiteY1" fmla="*/ 0 h 262689"/>
                <a:gd name="connsiteX2" fmla="*/ 0 w 2545"/>
                <a:gd name="connsiteY2" fmla="*/ 262689 h 262689"/>
                <a:gd name="connsiteX3" fmla="*/ 2546 w 2545"/>
                <a:gd name="connsiteY3" fmla="*/ 262689 h 262689"/>
                <a:gd name="connsiteX4" fmla="*/ 2546 w 2545"/>
                <a:gd name="connsiteY4" fmla="*/ 0 h 262689"/>
                <a:gd name="connsiteX5" fmla="*/ 1206 w 2545"/>
                <a:gd name="connsiteY5" fmla="*/ 0 h 2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62689">
                  <a:moveTo>
                    <a:pt x="1206" y="0"/>
                  </a:moveTo>
                  <a:lnTo>
                    <a:pt x="0" y="0"/>
                  </a:lnTo>
                  <a:lnTo>
                    <a:pt x="0" y="262689"/>
                  </a:lnTo>
                  <a:lnTo>
                    <a:pt x="2546" y="262689"/>
                  </a:lnTo>
                  <a:lnTo>
                    <a:pt x="2546" y="0"/>
                  </a:lnTo>
                  <a:lnTo>
                    <a:pt x="1206" y="0"/>
                  </a:lnTo>
                  <a:close/>
                </a:path>
              </a:pathLst>
            </a:custGeom>
            <a:solidFill>
              <a:srgbClr val="000000"/>
            </a:solidFill>
            <a:ln w="12700"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E3C44A96-9D88-464D-A79C-388FE4CF3EA7}"/>
                </a:ext>
              </a:extLst>
            </p:cNvPr>
            <p:cNvSpPr/>
            <p:nvPr/>
          </p:nvSpPr>
          <p:spPr>
            <a:xfrm>
              <a:off x="6199529" y="6495771"/>
              <a:ext cx="2568" cy="80919"/>
            </a:xfrm>
            <a:custGeom>
              <a:avLst/>
              <a:gdLst>
                <a:gd name="connsiteX0" fmla="*/ 2559 w 2568"/>
                <a:gd name="connsiteY0" fmla="*/ 1350 h 80919"/>
                <a:gd name="connsiteX1" fmla="*/ 1501 w 2568"/>
                <a:gd name="connsiteY1" fmla="*/ 10 h 80919"/>
                <a:gd name="connsiteX2" fmla="*/ 1219 w 2568"/>
                <a:gd name="connsiteY2" fmla="*/ 10 h 80919"/>
                <a:gd name="connsiteX3" fmla="*/ 0 w 2568"/>
                <a:gd name="connsiteY3" fmla="*/ 1202 h 80919"/>
                <a:gd name="connsiteX4" fmla="*/ 13 w 2568"/>
                <a:gd name="connsiteY4" fmla="*/ 1350 h 80919"/>
                <a:gd name="connsiteX5" fmla="*/ 13 w 2568"/>
                <a:gd name="connsiteY5" fmla="*/ 80920 h 80919"/>
                <a:gd name="connsiteX6" fmla="*/ 1219 w 2568"/>
                <a:gd name="connsiteY6" fmla="*/ 80920 h 80919"/>
                <a:gd name="connsiteX7" fmla="*/ 2559 w 2568"/>
                <a:gd name="connsiteY7" fmla="*/ 80920 h 80919"/>
                <a:gd name="connsiteX8" fmla="*/ 2559 w 2568"/>
                <a:gd name="connsiteY8" fmla="*/ 1350 h 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8" h="80919">
                  <a:moveTo>
                    <a:pt x="2559" y="1350"/>
                  </a:moveTo>
                  <a:cubicBezTo>
                    <a:pt x="2639" y="693"/>
                    <a:pt x="2170" y="90"/>
                    <a:pt x="1501" y="10"/>
                  </a:cubicBezTo>
                  <a:cubicBezTo>
                    <a:pt x="1407" y="-3"/>
                    <a:pt x="1313" y="-3"/>
                    <a:pt x="1219" y="10"/>
                  </a:cubicBezTo>
                  <a:cubicBezTo>
                    <a:pt x="549" y="10"/>
                    <a:pt x="13" y="546"/>
                    <a:pt x="0" y="1202"/>
                  </a:cubicBezTo>
                  <a:cubicBezTo>
                    <a:pt x="0" y="1256"/>
                    <a:pt x="13" y="1296"/>
                    <a:pt x="13" y="1350"/>
                  </a:cubicBezTo>
                  <a:lnTo>
                    <a:pt x="13" y="80920"/>
                  </a:lnTo>
                  <a:lnTo>
                    <a:pt x="1219" y="80920"/>
                  </a:lnTo>
                  <a:lnTo>
                    <a:pt x="2559" y="80920"/>
                  </a:lnTo>
                  <a:lnTo>
                    <a:pt x="2559" y="1350"/>
                  </a:lnTo>
                  <a:close/>
                </a:path>
              </a:pathLst>
            </a:custGeom>
            <a:solidFill>
              <a:srgbClr val="000000"/>
            </a:solidFill>
            <a:ln w="12700"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10366CC7-BCC7-47DC-B90F-765B20B3098E}"/>
                </a:ext>
              </a:extLst>
            </p:cNvPr>
            <p:cNvSpPr/>
            <p:nvPr/>
          </p:nvSpPr>
          <p:spPr>
            <a:xfrm>
              <a:off x="5550689" y="6547086"/>
              <a:ext cx="2545" cy="33489"/>
            </a:xfrm>
            <a:custGeom>
              <a:avLst/>
              <a:gdLst>
                <a:gd name="connsiteX0" fmla="*/ 0 w 2545"/>
                <a:gd name="connsiteY0" fmla="*/ 0 h 33489"/>
                <a:gd name="connsiteX1" fmla="*/ 2545 w 2545"/>
                <a:gd name="connsiteY1" fmla="*/ 0 h 33489"/>
                <a:gd name="connsiteX2" fmla="*/ 2545 w 2545"/>
                <a:gd name="connsiteY2" fmla="*/ 33489 h 33489"/>
                <a:gd name="connsiteX3" fmla="*/ 0 w 2545"/>
                <a:gd name="connsiteY3" fmla="*/ 33489 h 33489"/>
              </a:gdLst>
              <a:ahLst/>
              <a:cxnLst>
                <a:cxn ang="0">
                  <a:pos x="connsiteX0" y="connsiteY0"/>
                </a:cxn>
                <a:cxn ang="0">
                  <a:pos x="connsiteX1" y="connsiteY1"/>
                </a:cxn>
                <a:cxn ang="0">
                  <a:pos x="connsiteX2" y="connsiteY2"/>
                </a:cxn>
                <a:cxn ang="0">
                  <a:pos x="connsiteX3" y="connsiteY3"/>
                </a:cxn>
              </a:cxnLst>
              <a:rect l="l" t="t" r="r" b="b"/>
              <a:pathLst>
                <a:path w="2545" h="33489">
                  <a:moveTo>
                    <a:pt x="0" y="0"/>
                  </a:moveTo>
                  <a:lnTo>
                    <a:pt x="2545" y="0"/>
                  </a:lnTo>
                  <a:lnTo>
                    <a:pt x="2545" y="33489"/>
                  </a:lnTo>
                  <a:lnTo>
                    <a:pt x="0" y="33489"/>
                  </a:lnTo>
                  <a:close/>
                </a:path>
              </a:pathLst>
            </a:custGeom>
            <a:solidFill>
              <a:srgbClr val="000000"/>
            </a:solidFill>
            <a:ln w="12700"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8ADC68C7-9794-4814-9F4F-E70DBCAA498A}"/>
                </a:ext>
              </a:extLst>
            </p:cNvPr>
            <p:cNvSpPr/>
            <p:nvPr/>
          </p:nvSpPr>
          <p:spPr>
            <a:xfrm>
              <a:off x="7618365" y="5637654"/>
              <a:ext cx="40193" cy="14735"/>
            </a:xfrm>
            <a:custGeom>
              <a:avLst/>
              <a:gdLst>
                <a:gd name="connsiteX0" fmla="*/ 5761 w 40193"/>
                <a:gd name="connsiteY0" fmla="*/ 9243 h 14735"/>
                <a:gd name="connsiteX1" fmla="*/ 4957 w 40193"/>
                <a:gd name="connsiteY1" fmla="*/ 14735 h 14735"/>
                <a:gd name="connsiteX2" fmla="*/ 32825 w 40193"/>
                <a:gd name="connsiteY2" fmla="*/ 14735 h 14735"/>
                <a:gd name="connsiteX3" fmla="*/ 32825 w 40193"/>
                <a:gd name="connsiteY3" fmla="*/ 7368 h 14735"/>
                <a:gd name="connsiteX4" fmla="*/ 40193 w 40193"/>
                <a:gd name="connsiteY4" fmla="*/ 0 h 14735"/>
                <a:gd name="connsiteX5" fmla="*/ 0 w 40193"/>
                <a:gd name="connsiteY5" fmla="*/ 0 h 14735"/>
                <a:gd name="connsiteX6" fmla="*/ 5922 w 40193"/>
                <a:gd name="connsiteY6" fmla="*/ 8579 h 14735"/>
                <a:gd name="connsiteX7" fmla="*/ 5761 w 40193"/>
                <a:gd name="connsiteY7" fmla="*/ 9243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93" h="14735">
                  <a:moveTo>
                    <a:pt x="5761" y="9243"/>
                  </a:moveTo>
                  <a:lnTo>
                    <a:pt x="4957" y="14735"/>
                  </a:lnTo>
                  <a:lnTo>
                    <a:pt x="32825" y="14735"/>
                  </a:lnTo>
                  <a:lnTo>
                    <a:pt x="32825" y="7368"/>
                  </a:lnTo>
                  <a:cubicBezTo>
                    <a:pt x="32825" y="3298"/>
                    <a:pt x="36120" y="0"/>
                    <a:pt x="40193" y="0"/>
                  </a:cubicBezTo>
                  <a:lnTo>
                    <a:pt x="0" y="0"/>
                  </a:lnTo>
                  <a:cubicBezTo>
                    <a:pt x="4006" y="735"/>
                    <a:pt x="6645" y="4576"/>
                    <a:pt x="5922" y="8579"/>
                  </a:cubicBezTo>
                  <a:cubicBezTo>
                    <a:pt x="5868" y="8802"/>
                    <a:pt x="5828" y="9023"/>
                    <a:pt x="5761" y="9243"/>
                  </a:cubicBezTo>
                  <a:close/>
                </a:path>
              </a:pathLst>
            </a:custGeom>
            <a:solidFill>
              <a:srgbClr val="000000"/>
            </a:solidFill>
            <a:ln w="12700"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5B894DAF-CED8-4E0F-AD2B-47CA649B0929}"/>
                </a:ext>
              </a:extLst>
            </p:cNvPr>
            <p:cNvSpPr/>
            <p:nvPr/>
          </p:nvSpPr>
          <p:spPr>
            <a:xfrm>
              <a:off x="8167137" y="4783948"/>
              <a:ext cx="14737" cy="185262"/>
            </a:xfrm>
            <a:custGeom>
              <a:avLst/>
              <a:gdLst>
                <a:gd name="connsiteX0" fmla="*/ 7369 w 14737"/>
                <a:gd name="connsiteY0" fmla="*/ 7368 h 185262"/>
                <a:gd name="connsiteX1" fmla="*/ 0 w 14737"/>
                <a:gd name="connsiteY1" fmla="*/ 7368 h 185262"/>
                <a:gd name="connsiteX2" fmla="*/ 0 w 14737"/>
                <a:gd name="connsiteY2" fmla="*/ 185262 h 185262"/>
                <a:gd name="connsiteX3" fmla="*/ 14737 w 14737"/>
                <a:gd name="connsiteY3" fmla="*/ 185262 h 185262"/>
                <a:gd name="connsiteX4" fmla="*/ 14737 w 14737"/>
                <a:gd name="connsiteY4" fmla="*/ 0 h 185262"/>
                <a:gd name="connsiteX5" fmla="*/ 7369 w 14737"/>
                <a:gd name="connsiteY5" fmla="*/ 7368 h 18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185262">
                  <a:moveTo>
                    <a:pt x="7369" y="7368"/>
                  </a:moveTo>
                  <a:lnTo>
                    <a:pt x="0" y="7368"/>
                  </a:lnTo>
                  <a:lnTo>
                    <a:pt x="0" y="185262"/>
                  </a:lnTo>
                  <a:lnTo>
                    <a:pt x="14737" y="185262"/>
                  </a:lnTo>
                  <a:lnTo>
                    <a:pt x="14737" y="0"/>
                  </a:lnTo>
                  <a:cubicBezTo>
                    <a:pt x="14737" y="4069"/>
                    <a:pt x="11441" y="7368"/>
                    <a:pt x="7369" y="7368"/>
                  </a:cubicBezTo>
                  <a:close/>
                </a:path>
              </a:pathLst>
            </a:custGeom>
            <a:solidFill>
              <a:srgbClr val="000000"/>
            </a:solidFill>
            <a:ln w="12700"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A6E2AE27-0306-4584-AA97-D0E1DB8B7AA4}"/>
                </a:ext>
              </a:extLst>
            </p:cNvPr>
            <p:cNvSpPr/>
            <p:nvPr/>
          </p:nvSpPr>
          <p:spPr>
            <a:xfrm>
              <a:off x="9332072" y="6518419"/>
              <a:ext cx="147375" cy="2545"/>
            </a:xfrm>
            <a:custGeom>
              <a:avLst/>
              <a:gdLst>
                <a:gd name="connsiteX0" fmla="*/ 147375 w 147375"/>
                <a:gd name="connsiteY0" fmla="*/ 2545 h 2545"/>
                <a:gd name="connsiteX1" fmla="*/ 147375 w 147375"/>
                <a:gd name="connsiteY1" fmla="*/ 1206 h 2545"/>
                <a:gd name="connsiteX2" fmla="*/ 147375 w 147375"/>
                <a:gd name="connsiteY2" fmla="*/ 0 h 2545"/>
                <a:gd name="connsiteX3" fmla="*/ 0 w 147375"/>
                <a:gd name="connsiteY3" fmla="*/ 0 h 2545"/>
                <a:gd name="connsiteX4" fmla="*/ 0 w 147375"/>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75" h="2545">
                  <a:moveTo>
                    <a:pt x="147375" y="2545"/>
                  </a:moveTo>
                  <a:cubicBezTo>
                    <a:pt x="147375" y="2545"/>
                    <a:pt x="147375" y="1742"/>
                    <a:pt x="147375" y="1206"/>
                  </a:cubicBezTo>
                  <a:lnTo>
                    <a:pt x="147375" y="0"/>
                  </a:lnTo>
                  <a:lnTo>
                    <a:pt x="0" y="0"/>
                  </a:lnTo>
                  <a:lnTo>
                    <a:pt x="0" y="2545"/>
                  </a:lnTo>
                  <a:close/>
                </a:path>
              </a:pathLst>
            </a:custGeom>
            <a:solidFill>
              <a:srgbClr val="000000"/>
            </a:solidFill>
            <a:ln w="12700"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E4F1CA75-CD41-40F8-B703-A8E4E3683059}"/>
                </a:ext>
              </a:extLst>
            </p:cNvPr>
            <p:cNvSpPr/>
            <p:nvPr/>
          </p:nvSpPr>
          <p:spPr>
            <a:xfrm>
              <a:off x="8916071" y="6519893"/>
              <a:ext cx="19292" cy="2679"/>
            </a:xfrm>
            <a:custGeom>
              <a:avLst/>
              <a:gdLst>
                <a:gd name="connsiteX0" fmla="*/ 0 w 19292"/>
                <a:gd name="connsiteY0" fmla="*/ 2009 h 2679"/>
                <a:gd name="connsiteX1" fmla="*/ 19293 w 19292"/>
                <a:gd name="connsiteY1" fmla="*/ 2679 h 2679"/>
                <a:gd name="connsiteX2" fmla="*/ 19293 w 19292"/>
                <a:gd name="connsiteY2" fmla="*/ 2679 h 2679"/>
                <a:gd name="connsiteX3" fmla="*/ 17953 w 19292"/>
                <a:gd name="connsiteY3" fmla="*/ 1340 h 2679"/>
                <a:gd name="connsiteX4" fmla="*/ 17953 w 19292"/>
                <a:gd name="connsiteY4" fmla="*/ 0 h 2679"/>
                <a:gd name="connsiteX5" fmla="*/ 268 w 19292"/>
                <a:gd name="connsiteY5" fmla="*/ 0 h 2679"/>
                <a:gd name="connsiteX6" fmla="*/ 268 w 19292"/>
                <a:gd name="connsiteY6" fmla="*/ 1072 h 2679"/>
                <a:gd name="connsiteX7" fmla="*/ 0 w 19292"/>
                <a:gd name="connsiteY7"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92" h="2679">
                  <a:moveTo>
                    <a:pt x="0" y="2009"/>
                  </a:moveTo>
                  <a:lnTo>
                    <a:pt x="19293" y="2679"/>
                  </a:lnTo>
                  <a:lnTo>
                    <a:pt x="19293" y="2679"/>
                  </a:lnTo>
                  <a:cubicBezTo>
                    <a:pt x="18556" y="2679"/>
                    <a:pt x="17953" y="2076"/>
                    <a:pt x="17953" y="1340"/>
                  </a:cubicBezTo>
                  <a:lnTo>
                    <a:pt x="17953" y="0"/>
                  </a:lnTo>
                  <a:lnTo>
                    <a:pt x="268" y="0"/>
                  </a:lnTo>
                  <a:lnTo>
                    <a:pt x="268" y="1072"/>
                  </a:lnTo>
                  <a:cubicBezTo>
                    <a:pt x="201" y="1393"/>
                    <a:pt x="107" y="1701"/>
                    <a:pt x="0" y="2009"/>
                  </a:cubicBezTo>
                  <a:close/>
                </a:path>
              </a:pathLst>
            </a:custGeom>
            <a:solidFill>
              <a:srgbClr val="000000"/>
            </a:solidFill>
            <a:ln w="12700"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137E0CAB-7CB2-4A7C-A9B7-D60AFA43B1F5}"/>
                </a:ext>
              </a:extLst>
            </p:cNvPr>
            <p:cNvSpPr/>
            <p:nvPr/>
          </p:nvSpPr>
          <p:spPr>
            <a:xfrm>
              <a:off x="8935096" y="6519893"/>
              <a:ext cx="382506" cy="2679"/>
            </a:xfrm>
            <a:custGeom>
              <a:avLst/>
              <a:gdLst>
                <a:gd name="connsiteX0" fmla="*/ 382507 w 382506"/>
                <a:gd name="connsiteY0" fmla="*/ 1340 h 2679"/>
                <a:gd name="connsiteX1" fmla="*/ 382507 w 382506"/>
                <a:gd name="connsiteY1" fmla="*/ 0 h 2679"/>
                <a:gd name="connsiteX2" fmla="*/ 1206 w 382506"/>
                <a:gd name="connsiteY2" fmla="*/ 0 h 2679"/>
                <a:gd name="connsiteX3" fmla="*/ 1206 w 382506"/>
                <a:gd name="connsiteY3" fmla="*/ 1340 h 2679"/>
                <a:gd name="connsiteX4" fmla="*/ 0 w 382506"/>
                <a:gd name="connsiteY4" fmla="*/ 2679 h 2679"/>
                <a:gd name="connsiteX5" fmla="*/ 382372 w 382506"/>
                <a:gd name="connsiteY5" fmla="*/ 2679 h 2679"/>
                <a:gd name="connsiteX6" fmla="*/ 382507 w 382506"/>
                <a:gd name="connsiteY6" fmla="*/ 134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06" h="2679">
                  <a:moveTo>
                    <a:pt x="382507" y="1340"/>
                  </a:moveTo>
                  <a:lnTo>
                    <a:pt x="382507" y="0"/>
                  </a:lnTo>
                  <a:lnTo>
                    <a:pt x="1206" y="0"/>
                  </a:lnTo>
                  <a:lnTo>
                    <a:pt x="1206" y="1340"/>
                  </a:lnTo>
                  <a:cubicBezTo>
                    <a:pt x="1206" y="2036"/>
                    <a:pt x="684" y="2612"/>
                    <a:pt x="0" y="2679"/>
                  </a:cubicBezTo>
                  <a:lnTo>
                    <a:pt x="382372" y="2679"/>
                  </a:lnTo>
                  <a:cubicBezTo>
                    <a:pt x="382372" y="2679"/>
                    <a:pt x="382507" y="1742"/>
                    <a:pt x="382507" y="1340"/>
                  </a:cubicBezTo>
                  <a:close/>
                </a:path>
              </a:pathLst>
            </a:custGeom>
            <a:solidFill>
              <a:srgbClr val="000000"/>
            </a:solidFill>
            <a:ln w="12700"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6847B44D-0663-41D7-9846-42CCD8663D9A}"/>
                </a:ext>
              </a:extLst>
            </p:cNvPr>
            <p:cNvSpPr/>
            <p:nvPr/>
          </p:nvSpPr>
          <p:spPr>
            <a:xfrm>
              <a:off x="7904675" y="4776530"/>
              <a:ext cx="277199" cy="14785"/>
            </a:xfrm>
            <a:custGeom>
              <a:avLst/>
              <a:gdLst>
                <a:gd name="connsiteX0" fmla="*/ 7369 w 277199"/>
                <a:gd name="connsiteY0" fmla="*/ 9294 h 14785"/>
                <a:gd name="connsiteX1" fmla="*/ 5895 w 277199"/>
                <a:gd name="connsiteY1" fmla="*/ 14786 h 14785"/>
                <a:gd name="connsiteX2" fmla="*/ 269831 w 277199"/>
                <a:gd name="connsiteY2" fmla="*/ 14786 h 14785"/>
                <a:gd name="connsiteX3" fmla="*/ 277200 w 277199"/>
                <a:gd name="connsiteY3" fmla="*/ 7418 h 14785"/>
                <a:gd name="connsiteX4" fmla="*/ 269831 w 277199"/>
                <a:gd name="connsiteY4" fmla="*/ 51 h 14785"/>
                <a:gd name="connsiteX5" fmla="*/ 0 w 277199"/>
                <a:gd name="connsiteY5" fmla="*/ 51 h 14785"/>
                <a:gd name="connsiteX6" fmla="*/ 7891 w 277199"/>
                <a:gd name="connsiteY6" fmla="*/ 6259 h 14785"/>
                <a:gd name="connsiteX7" fmla="*/ 7637 w 277199"/>
                <a:gd name="connsiteY7" fmla="*/ 9160 h 1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199" h="14785">
                  <a:moveTo>
                    <a:pt x="7369" y="9294"/>
                  </a:moveTo>
                  <a:lnTo>
                    <a:pt x="5895" y="14786"/>
                  </a:lnTo>
                  <a:lnTo>
                    <a:pt x="269831" y="14786"/>
                  </a:lnTo>
                  <a:cubicBezTo>
                    <a:pt x="273903" y="14786"/>
                    <a:pt x="277200" y="11487"/>
                    <a:pt x="277200" y="7418"/>
                  </a:cubicBezTo>
                  <a:cubicBezTo>
                    <a:pt x="277200" y="3349"/>
                    <a:pt x="273903" y="51"/>
                    <a:pt x="269831" y="51"/>
                  </a:cubicBezTo>
                  <a:lnTo>
                    <a:pt x="0" y="51"/>
                  </a:lnTo>
                  <a:cubicBezTo>
                    <a:pt x="3899" y="-414"/>
                    <a:pt x="7423" y="2366"/>
                    <a:pt x="7891" y="6259"/>
                  </a:cubicBezTo>
                  <a:cubicBezTo>
                    <a:pt x="8012" y="7233"/>
                    <a:pt x="7918" y="8221"/>
                    <a:pt x="7637" y="9160"/>
                  </a:cubicBezTo>
                  <a:close/>
                </a:path>
              </a:pathLst>
            </a:custGeom>
            <a:solidFill>
              <a:srgbClr val="000000"/>
            </a:solidFill>
            <a:ln w="12700" cap="flat">
              <a:noFill/>
              <a:prstDash val="solid"/>
              <a:miter/>
            </a:ln>
          </p:spPr>
          <p:txBody>
            <a:bodyPr rtlCol="0" anchor="ctr"/>
            <a:lstStyle/>
            <a:p>
              <a:endParaRPr lang="en-US"/>
            </a:p>
          </p:txBody>
        </p:sp>
        <p:sp>
          <p:nvSpPr>
            <p:cNvPr id="1047" name="Freeform: Shape 1046">
              <a:extLst>
                <a:ext uri="{FF2B5EF4-FFF2-40B4-BE49-F238E27FC236}">
                  <a16:creationId xmlns:a16="http://schemas.microsoft.com/office/drawing/2014/main" id="{57C125B0-755C-48C8-90DF-91DE1DEE2C74}"/>
                </a:ext>
              </a:extLst>
            </p:cNvPr>
            <p:cNvSpPr/>
            <p:nvPr/>
          </p:nvSpPr>
          <p:spPr>
            <a:xfrm>
              <a:off x="7891227" y="4776664"/>
              <a:ext cx="21124" cy="33673"/>
            </a:xfrm>
            <a:custGeom>
              <a:avLst/>
              <a:gdLst>
                <a:gd name="connsiteX0" fmla="*/ 6214 w 21124"/>
                <a:gd name="connsiteY0" fmla="*/ 28315 h 33673"/>
                <a:gd name="connsiteX1" fmla="*/ 12376 w 21124"/>
                <a:gd name="connsiteY1" fmla="*/ 32066 h 33673"/>
                <a:gd name="connsiteX2" fmla="*/ 12376 w 21124"/>
                <a:gd name="connsiteY2" fmla="*/ 7284 h 33673"/>
                <a:gd name="connsiteX3" fmla="*/ 13716 w 21124"/>
                <a:gd name="connsiteY3" fmla="*/ 5944 h 33673"/>
                <a:gd name="connsiteX4" fmla="*/ 15056 w 21124"/>
                <a:gd name="connsiteY4" fmla="*/ 7284 h 33673"/>
                <a:gd name="connsiteX5" fmla="*/ 15056 w 21124"/>
                <a:gd name="connsiteY5" fmla="*/ 30994 h 33673"/>
                <a:gd name="connsiteX6" fmla="*/ 19343 w 21124"/>
                <a:gd name="connsiteY6" fmla="*/ 14651 h 33673"/>
                <a:gd name="connsiteX7" fmla="*/ 20817 w 21124"/>
                <a:gd name="connsiteY7" fmla="*/ 9159 h 33673"/>
                <a:gd name="connsiteX8" fmla="*/ 16088 w 21124"/>
                <a:gd name="connsiteY8" fmla="*/ 305 h 33673"/>
                <a:gd name="connsiteX9" fmla="*/ 13180 w 21124"/>
                <a:gd name="connsiteY9" fmla="*/ 50 h 33673"/>
                <a:gd name="connsiteX10" fmla="*/ 11840 w 21124"/>
                <a:gd name="connsiteY10" fmla="*/ 50 h 33673"/>
                <a:gd name="connsiteX11" fmla="*/ 10501 w 21124"/>
                <a:gd name="connsiteY11" fmla="*/ 50 h 33673"/>
                <a:gd name="connsiteX12" fmla="*/ 9295 w 21124"/>
                <a:gd name="connsiteY12" fmla="*/ 854 h 33673"/>
                <a:gd name="connsiteX13" fmla="*/ 8223 w 21124"/>
                <a:gd name="connsiteY13" fmla="*/ 1791 h 33673"/>
                <a:gd name="connsiteX14" fmla="*/ 7553 w 21124"/>
                <a:gd name="connsiteY14" fmla="*/ 2863 h 33673"/>
                <a:gd name="connsiteX15" fmla="*/ 7553 w 21124"/>
                <a:gd name="connsiteY15" fmla="*/ 4337 h 33673"/>
                <a:gd name="connsiteX16" fmla="*/ 7553 w 21124"/>
                <a:gd name="connsiteY16" fmla="*/ 4337 h 33673"/>
                <a:gd name="connsiteX17" fmla="*/ 50 w 21124"/>
                <a:gd name="connsiteY17" fmla="*/ 32735 h 33673"/>
                <a:gd name="connsiteX18" fmla="*/ 50 w 21124"/>
                <a:gd name="connsiteY18" fmla="*/ 33673 h 33673"/>
                <a:gd name="connsiteX19" fmla="*/ 6214 w 21124"/>
                <a:gd name="connsiteY19" fmla="*/ 28315 h 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4" h="33673">
                  <a:moveTo>
                    <a:pt x="6214" y="28315"/>
                  </a:moveTo>
                  <a:cubicBezTo>
                    <a:pt x="8799" y="28351"/>
                    <a:pt x="11157" y="29787"/>
                    <a:pt x="12376" y="32066"/>
                  </a:cubicBezTo>
                  <a:lnTo>
                    <a:pt x="12376" y="7284"/>
                  </a:lnTo>
                  <a:cubicBezTo>
                    <a:pt x="12443" y="6571"/>
                    <a:pt x="13006" y="6006"/>
                    <a:pt x="13716" y="5944"/>
                  </a:cubicBezTo>
                  <a:cubicBezTo>
                    <a:pt x="14453" y="5944"/>
                    <a:pt x="15056" y="6544"/>
                    <a:pt x="15056" y="7284"/>
                  </a:cubicBezTo>
                  <a:lnTo>
                    <a:pt x="15056" y="30994"/>
                  </a:lnTo>
                  <a:lnTo>
                    <a:pt x="19343" y="14651"/>
                  </a:lnTo>
                  <a:lnTo>
                    <a:pt x="20817" y="9159"/>
                  </a:lnTo>
                  <a:cubicBezTo>
                    <a:pt x="21956" y="5407"/>
                    <a:pt x="19839" y="1443"/>
                    <a:pt x="16088" y="305"/>
                  </a:cubicBezTo>
                  <a:cubicBezTo>
                    <a:pt x="15136" y="21"/>
                    <a:pt x="14158" y="-66"/>
                    <a:pt x="13180" y="50"/>
                  </a:cubicBezTo>
                  <a:lnTo>
                    <a:pt x="11840" y="50"/>
                  </a:lnTo>
                  <a:lnTo>
                    <a:pt x="10501" y="50"/>
                  </a:lnTo>
                  <a:lnTo>
                    <a:pt x="9295" y="854"/>
                  </a:lnTo>
                  <a:lnTo>
                    <a:pt x="8223" y="1791"/>
                  </a:lnTo>
                  <a:cubicBezTo>
                    <a:pt x="8035" y="2167"/>
                    <a:pt x="7807" y="2525"/>
                    <a:pt x="7553" y="2863"/>
                  </a:cubicBezTo>
                  <a:cubicBezTo>
                    <a:pt x="7500" y="3353"/>
                    <a:pt x="7500" y="3847"/>
                    <a:pt x="7553" y="4337"/>
                  </a:cubicBezTo>
                  <a:lnTo>
                    <a:pt x="7553" y="4337"/>
                  </a:lnTo>
                  <a:lnTo>
                    <a:pt x="50" y="32735"/>
                  </a:lnTo>
                  <a:cubicBezTo>
                    <a:pt x="-17" y="33045"/>
                    <a:pt x="-17" y="33364"/>
                    <a:pt x="50" y="33673"/>
                  </a:cubicBezTo>
                  <a:cubicBezTo>
                    <a:pt x="841" y="30808"/>
                    <a:pt x="3266" y="28695"/>
                    <a:pt x="6214" y="28315"/>
                  </a:cubicBezTo>
                  <a:close/>
                </a:path>
              </a:pathLst>
            </a:custGeom>
            <a:solidFill>
              <a:srgbClr val="000000"/>
            </a:solidFill>
            <a:ln w="12700" cap="flat">
              <a:noFill/>
              <a:prstDash val="solid"/>
              <a:miter/>
            </a:ln>
          </p:spPr>
          <p:txBody>
            <a:bodyPr rtlCol="0" anchor="ctr"/>
            <a:lstStyle/>
            <a:p>
              <a:endParaRPr lang="en-US"/>
            </a:p>
          </p:txBody>
        </p:sp>
        <p:sp>
          <p:nvSpPr>
            <p:cNvPr id="1048" name="Freeform: Shape 1047">
              <a:extLst>
                <a:ext uri="{FF2B5EF4-FFF2-40B4-BE49-F238E27FC236}">
                  <a16:creationId xmlns:a16="http://schemas.microsoft.com/office/drawing/2014/main" id="{5438CCC7-2E92-4BC1-AEF3-3DFD774D54A8}"/>
                </a:ext>
              </a:extLst>
            </p:cNvPr>
            <p:cNvSpPr/>
            <p:nvPr/>
          </p:nvSpPr>
          <p:spPr>
            <a:xfrm>
              <a:off x="7903603" y="4782609"/>
              <a:ext cx="2679" cy="1025438"/>
            </a:xfrm>
            <a:custGeom>
              <a:avLst/>
              <a:gdLst>
                <a:gd name="connsiteX0" fmla="*/ 2680 w 2679"/>
                <a:gd name="connsiteY0" fmla="*/ 1025439 h 1025438"/>
                <a:gd name="connsiteX1" fmla="*/ 2680 w 2679"/>
                <a:gd name="connsiteY1" fmla="*/ 1340 h 1025438"/>
                <a:gd name="connsiteX2" fmla="*/ 1340 w 2679"/>
                <a:gd name="connsiteY2" fmla="*/ 0 h 1025438"/>
                <a:gd name="connsiteX3" fmla="*/ 0 w 2679"/>
                <a:gd name="connsiteY3" fmla="*/ 1340 h 1025438"/>
                <a:gd name="connsiteX4" fmla="*/ 0 w 2679"/>
                <a:gd name="connsiteY4" fmla="*/ 25854 h 1025438"/>
                <a:gd name="connsiteX5" fmla="*/ 1206 w 2679"/>
                <a:gd name="connsiteY5" fmla="*/ 29470 h 1025438"/>
                <a:gd name="connsiteX6" fmla="*/ 1206 w 2679"/>
                <a:gd name="connsiteY6" fmla="*/ 1025439 h 1025438"/>
                <a:gd name="connsiteX7" fmla="*/ 2680 w 2679"/>
                <a:gd name="connsiteY7" fmla="*/ 1025439 h 10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1025438">
                  <a:moveTo>
                    <a:pt x="2680" y="1025439"/>
                  </a:moveTo>
                  <a:lnTo>
                    <a:pt x="2680" y="1340"/>
                  </a:lnTo>
                  <a:cubicBezTo>
                    <a:pt x="2680" y="600"/>
                    <a:pt x="2077" y="0"/>
                    <a:pt x="1340" y="0"/>
                  </a:cubicBezTo>
                  <a:cubicBezTo>
                    <a:pt x="630" y="62"/>
                    <a:pt x="67" y="627"/>
                    <a:pt x="0" y="1340"/>
                  </a:cubicBezTo>
                  <a:lnTo>
                    <a:pt x="0" y="25854"/>
                  </a:lnTo>
                  <a:cubicBezTo>
                    <a:pt x="737" y="26920"/>
                    <a:pt x="1152" y="28175"/>
                    <a:pt x="1206" y="29470"/>
                  </a:cubicBezTo>
                  <a:lnTo>
                    <a:pt x="1206" y="1025439"/>
                  </a:lnTo>
                  <a:lnTo>
                    <a:pt x="2680" y="1025439"/>
                  </a:lnTo>
                  <a:close/>
                </a:path>
              </a:pathLst>
            </a:custGeom>
            <a:solidFill>
              <a:srgbClr val="000000"/>
            </a:solidFill>
            <a:ln w="12700" cap="flat">
              <a:noFill/>
              <a:prstDash val="solid"/>
              <a:miter/>
            </a:ln>
          </p:spPr>
          <p:txBody>
            <a:bodyPr rtlCol="0" anchor="ctr"/>
            <a:lstStyle/>
            <a:p>
              <a:endParaRPr lang="en-US"/>
            </a:p>
          </p:txBody>
        </p:sp>
        <p:sp>
          <p:nvSpPr>
            <p:cNvPr id="1049" name="Freeform: Shape 1048">
              <a:extLst>
                <a:ext uri="{FF2B5EF4-FFF2-40B4-BE49-F238E27FC236}">
                  <a16:creationId xmlns:a16="http://schemas.microsoft.com/office/drawing/2014/main" id="{758AA59E-E09D-45DA-8FE3-95CADD0BAAE9}"/>
                </a:ext>
              </a:extLst>
            </p:cNvPr>
            <p:cNvSpPr/>
            <p:nvPr/>
          </p:nvSpPr>
          <p:spPr>
            <a:xfrm>
              <a:off x="7890071" y="4804979"/>
              <a:ext cx="14603" cy="1003067"/>
            </a:xfrm>
            <a:custGeom>
              <a:avLst/>
              <a:gdLst>
                <a:gd name="connsiteX0" fmla="*/ 14604 w 14603"/>
                <a:gd name="connsiteY0" fmla="*/ 1003068 h 1003067"/>
                <a:gd name="connsiteX1" fmla="*/ 14604 w 14603"/>
                <a:gd name="connsiteY1" fmla="*/ 7368 h 1003067"/>
                <a:gd name="connsiteX2" fmla="*/ 13398 w 14603"/>
                <a:gd name="connsiteY2" fmla="*/ 3751 h 1003067"/>
                <a:gd name="connsiteX3" fmla="*/ 7235 w 14603"/>
                <a:gd name="connsiteY3" fmla="*/ 0 h 1003067"/>
                <a:gd name="connsiteX4" fmla="*/ 0 w 14603"/>
                <a:gd name="connsiteY4" fmla="*/ 6430 h 1003067"/>
                <a:gd name="connsiteX5" fmla="*/ 0 w 14603"/>
                <a:gd name="connsiteY5" fmla="*/ 7368 h 1003067"/>
                <a:gd name="connsiteX6" fmla="*/ 0 w 14603"/>
                <a:gd name="connsiteY6" fmla="*/ 1003068 h 1003067"/>
                <a:gd name="connsiteX7" fmla="*/ 14604 w 14603"/>
                <a:gd name="connsiteY7" fmla="*/ 1003068 h 100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1003067">
                  <a:moveTo>
                    <a:pt x="14604" y="1003068"/>
                  </a:moveTo>
                  <a:lnTo>
                    <a:pt x="14604" y="7368"/>
                  </a:lnTo>
                  <a:cubicBezTo>
                    <a:pt x="14550" y="6072"/>
                    <a:pt x="14135" y="4818"/>
                    <a:pt x="13398" y="3751"/>
                  </a:cubicBezTo>
                  <a:cubicBezTo>
                    <a:pt x="12179" y="1472"/>
                    <a:pt x="9821" y="36"/>
                    <a:pt x="7235" y="0"/>
                  </a:cubicBezTo>
                  <a:cubicBezTo>
                    <a:pt x="3551" y="37"/>
                    <a:pt x="469" y="2781"/>
                    <a:pt x="0" y="6430"/>
                  </a:cubicBezTo>
                  <a:cubicBezTo>
                    <a:pt x="0" y="6430"/>
                    <a:pt x="0" y="6430"/>
                    <a:pt x="0" y="7368"/>
                  </a:cubicBezTo>
                  <a:lnTo>
                    <a:pt x="0" y="1003068"/>
                  </a:lnTo>
                  <a:lnTo>
                    <a:pt x="14604" y="1003068"/>
                  </a:lnTo>
                  <a:close/>
                </a:path>
              </a:pathLst>
            </a:custGeom>
            <a:solidFill>
              <a:srgbClr val="000000"/>
            </a:solidFill>
            <a:ln w="12700" cap="flat">
              <a:noFill/>
              <a:prstDash val="solid"/>
              <a:miter/>
            </a:ln>
          </p:spPr>
          <p:txBody>
            <a:bodyPr rtlCol="0" anchor="ctr"/>
            <a:lstStyle/>
            <a:p>
              <a:endParaRPr lang="en-US"/>
            </a:p>
          </p:txBody>
        </p:sp>
        <p:sp>
          <p:nvSpPr>
            <p:cNvPr id="1050" name="Freeform: Shape 1049">
              <a:extLst>
                <a:ext uri="{FF2B5EF4-FFF2-40B4-BE49-F238E27FC236}">
                  <a16:creationId xmlns:a16="http://schemas.microsoft.com/office/drawing/2014/main" id="{C8214AA2-0210-42BF-8E14-C2AF21F1B5CA}"/>
                </a:ext>
              </a:extLst>
            </p:cNvPr>
            <p:cNvSpPr/>
            <p:nvPr/>
          </p:nvSpPr>
          <p:spPr>
            <a:xfrm>
              <a:off x="8934694" y="5446092"/>
              <a:ext cx="390276" cy="14873"/>
            </a:xfrm>
            <a:custGeom>
              <a:avLst/>
              <a:gdLst>
                <a:gd name="connsiteX0" fmla="*/ 4957 w 390276"/>
                <a:gd name="connsiteY0" fmla="*/ 13534 h 14873"/>
                <a:gd name="connsiteX1" fmla="*/ 3081 w 390276"/>
                <a:gd name="connsiteY1" fmla="*/ 14873 h 14873"/>
                <a:gd name="connsiteX2" fmla="*/ 382908 w 390276"/>
                <a:gd name="connsiteY2" fmla="*/ 14873 h 14873"/>
                <a:gd name="connsiteX3" fmla="*/ 382908 w 390276"/>
                <a:gd name="connsiteY3" fmla="*/ 7506 h 14873"/>
                <a:gd name="connsiteX4" fmla="*/ 390277 w 390276"/>
                <a:gd name="connsiteY4" fmla="*/ 138 h 14873"/>
                <a:gd name="connsiteX5" fmla="*/ 0 w 390276"/>
                <a:gd name="connsiteY5" fmla="*/ 138 h 14873"/>
                <a:gd name="connsiteX6" fmla="*/ 8494 w 390276"/>
                <a:gd name="connsiteY6" fmla="*/ 5835 h 14873"/>
                <a:gd name="connsiteX7" fmla="*/ 4957 w 390276"/>
                <a:gd name="connsiteY7" fmla="*/ 13534 h 1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276" h="14873">
                  <a:moveTo>
                    <a:pt x="4957" y="13534"/>
                  </a:moveTo>
                  <a:lnTo>
                    <a:pt x="3081" y="14873"/>
                  </a:lnTo>
                  <a:lnTo>
                    <a:pt x="382908" y="14873"/>
                  </a:lnTo>
                  <a:lnTo>
                    <a:pt x="382908" y="7506"/>
                  </a:lnTo>
                  <a:cubicBezTo>
                    <a:pt x="382908" y="3436"/>
                    <a:pt x="386204" y="138"/>
                    <a:pt x="390277" y="138"/>
                  </a:cubicBezTo>
                  <a:lnTo>
                    <a:pt x="0" y="138"/>
                  </a:lnTo>
                  <a:cubicBezTo>
                    <a:pt x="3925" y="-635"/>
                    <a:pt x="7730" y="1916"/>
                    <a:pt x="8494" y="5835"/>
                  </a:cubicBezTo>
                  <a:cubicBezTo>
                    <a:pt x="9097" y="8896"/>
                    <a:pt x="7677" y="12000"/>
                    <a:pt x="4957" y="13534"/>
                  </a:cubicBezTo>
                  <a:close/>
                </a:path>
              </a:pathLst>
            </a:custGeom>
            <a:solidFill>
              <a:srgbClr val="000000"/>
            </a:solidFill>
            <a:ln w="12700" cap="flat">
              <a:noFill/>
              <a:prstDash val="solid"/>
              <a:miter/>
            </a:ln>
          </p:spPr>
          <p:txBody>
            <a:bodyPr rtlCol="0" anchor="ctr"/>
            <a:lstStyle/>
            <a:p>
              <a:endParaRPr lang="en-US"/>
            </a:p>
          </p:txBody>
        </p:sp>
        <p:sp>
          <p:nvSpPr>
            <p:cNvPr id="1051" name="Freeform: Shape 1050">
              <a:extLst>
                <a:ext uri="{FF2B5EF4-FFF2-40B4-BE49-F238E27FC236}">
                  <a16:creationId xmlns:a16="http://schemas.microsoft.com/office/drawing/2014/main" id="{C68672FD-0C09-486C-9D20-DB87EA5A2302}"/>
                </a:ext>
              </a:extLst>
            </p:cNvPr>
            <p:cNvSpPr/>
            <p:nvPr/>
          </p:nvSpPr>
          <p:spPr>
            <a:xfrm>
              <a:off x="8905219" y="5446762"/>
              <a:ext cx="38111" cy="28803"/>
            </a:xfrm>
            <a:custGeom>
              <a:avLst/>
              <a:gdLst>
                <a:gd name="connsiteX0" fmla="*/ 11254 w 38111"/>
                <a:gd name="connsiteY0" fmla="*/ 24919 h 28803"/>
                <a:gd name="connsiteX1" fmla="*/ 11254 w 38111"/>
                <a:gd name="connsiteY1" fmla="*/ 28804 h 28803"/>
                <a:gd name="connsiteX2" fmla="*/ 28940 w 38111"/>
                <a:gd name="connsiteY2" fmla="*/ 16614 h 28803"/>
                <a:gd name="connsiteX3" fmla="*/ 28940 w 38111"/>
                <a:gd name="connsiteY3" fmla="*/ 6835 h 28803"/>
                <a:gd name="connsiteX4" fmla="*/ 29998 w 38111"/>
                <a:gd name="connsiteY4" fmla="*/ 5496 h 28803"/>
                <a:gd name="connsiteX5" fmla="*/ 30279 w 38111"/>
                <a:gd name="connsiteY5" fmla="*/ 5496 h 28803"/>
                <a:gd name="connsiteX6" fmla="*/ 31498 w 38111"/>
                <a:gd name="connsiteY6" fmla="*/ 6693 h 28803"/>
                <a:gd name="connsiteX7" fmla="*/ 31485 w 38111"/>
                <a:gd name="connsiteY7" fmla="*/ 6835 h 28803"/>
                <a:gd name="connsiteX8" fmla="*/ 31485 w 38111"/>
                <a:gd name="connsiteY8" fmla="*/ 14872 h 28803"/>
                <a:gd name="connsiteX9" fmla="*/ 32556 w 38111"/>
                <a:gd name="connsiteY9" fmla="*/ 14872 h 28803"/>
                <a:gd name="connsiteX10" fmla="*/ 34432 w 38111"/>
                <a:gd name="connsiteY10" fmla="*/ 13533 h 28803"/>
                <a:gd name="connsiteX11" fmla="*/ 37179 w 38111"/>
                <a:gd name="connsiteY11" fmla="*/ 3678 h 28803"/>
                <a:gd name="connsiteX12" fmla="*/ 29475 w 38111"/>
                <a:gd name="connsiteY12" fmla="*/ 137 h 28803"/>
                <a:gd name="connsiteX13" fmla="*/ 28136 w 38111"/>
                <a:gd name="connsiteY13" fmla="*/ 137 h 28803"/>
                <a:gd name="connsiteX14" fmla="*/ 26796 w 38111"/>
                <a:gd name="connsiteY14" fmla="*/ 137 h 28803"/>
                <a:gd name="connsiteX15" fmla="*/ 26796 w 38111"/>
                <a:gd name="connsiteY15" fmla="*/ 137 h 28803"/>
                <a:gd name="connsiteX16" fmla="*/ 0 w 38111"/>
                <a:gd name="connsiteY16" fmla="*/ 18355 h 28803"/>
                <a:gd name="connsiteX17" fmla="*/ 0 w 38111"/>
                <a:gd name="connsiteY17" fmla="*/ 18355 h 28803"/>
                <a:gd name="connsiteX18" fmla="*/ 4287 w 38111"/>
                <a:gd name="connsiteY18" fmla="*/ 18087 h 28803"/>
                <a:gd name="connsiteX19" fmla="*/ 11254 w 38111"/>
                <a:gd name="connsiteY19" fmla="*/ 24919 h 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11" h="28803">
                  <a:moveTo>
                    <a:pt x="11254" y="24919"/>
                  </a:moveTo>
                  <a:lnTo>
                    <a:pt x="11254" y="28804"/>
                  </a:lnTo>
                  <a:lnTo>
                    <a:pt x="28940" y="16614"/>
                  </a:lnTo>
                  <a:lnTo>
                    <a:pt x="28940" y="6835"/>
                  </a:lnTo>
                  <a:cubicBezTo>
                    <a:pt x="28859" y="6173"/>
                    <a:pt x="29328" y="5575"/>
                    <a:pt x="29998" y="5496"/>
                  </a:cubicBezTo>
                  <a:cubicBezTo>
                    <a:pt x="30092" y="5485"/>
                    <a:pt x="30185" y="5485"/>
                    <a:pt x="30279" y="5496"/>
                  </a:cubicBezTo>
                  <a:cubicBezTo>
                    <a:pt x="30949" y="5492"/>
                    <a:pt x="31485" y="6027"/>
                    <a:pt x="31498" y="6693"/>
                  </a:cubicBezTo>
                  <a:cubicBezTo>
                    <a:pt x="31498" y="6741"/>
                    <a:pt x="31485" y="6788"/>
                    <a:pt x="31485" y="6835"/>
                  </a:cubicBezTo>
                  <a:lnTo>
                    <a:pt x="31485" y="14872"/>
                  </a:lnTo>
                  <a:lnTo>
                    <a:pt x="32556" y="14872"/>
                  </a:lnTo>
                  <a:lnTo>
                    <a:pt x="34432" y="13533"/>
                  </a:lnTo>
                  <a:cubicBezTo>
                    <a:pt x="37916" y="11568"/>
                    <a:pt x="39135" y="7155"/>
                    <a:pt x="37179" y="3678"/>
                  </a:cubicBezTo>
                  <a:cubicBezTo>
                    <a:pt x="35638" y="961"/>
                    <a:pt x="32529" y="-467"/>
                    <a:pt x="29475" y="137"/>
                  </a:cubicBezTo>
                  <a:lnTo>
                    <a:pt x="28136" y="137"/>
                  </a:lnTo>
                  <a:lnTo>
                    <a:pt x="26796" y="137"/>
                  </a:lnTo>
                  <a:lnTo>
                    <a:pt x="26796" y="137"/>
                  </a:lnTo>
                  <a:lnTo>
                    <a:pt x="0" y="18355"/>
                  </a:lnTo>
                  <a:lnTo>
                    <a:pt x="0" y="18355"/>
                  </a:lnTo>
                  <a:cubicBezTo>
                    <a:pt x="1366" y="17834"/>
                    <a:pt x="2867" y="17740"/>
                    <a:pt x="4287" y="18087"/>
                  </a:cubicBezTo>
                  <a:cubicBezTo>
                    <a:pt x="7998" y="18280"/>
                    <a:pt x="10986" y="21210"/>
                    <a:pt x="11254" y="24919"/>
                  </a:cubicBezTo>
                  <a:close/>
                </a:path>
              </a:pathLst>
            </a:custGeom>
            <a:solidFill>
              <a:srgbClr val="000000"/>
            </a:solidFill>
            <a:ln w="12700" cap="flat">
              <a:noFill/>
              <a:prstDash val="solid"/>
              <a:miter/>
            </a:ln>
          </p:spPr>
          <p:txBody>
            <a:bodyPr rtlCol="0" anchor="ctr"/>
            <a:lstStyle/>
            <a:p>
              <a:endParaRPr lang="en-US"/>
            </a:p>
          </p:txBody>
        </p:sp>
        <p:sp>
          <p:nvSpPr>
            <p:cNvPr id="1052" name="Freeform: Shape 1051">
              <a:extLst>
                <a:ext uri="{FF2B5EF4-FFF2-40B4-BE49-F238E27FC236}">
                  <a16:creationId xmlns:a16="http://schemas.microsoft.com/office/drawing/2014/main" id="{366795A3-12C3-4845-B871-317F7C83175E}"/>
                </a:ext>
              </a:extLst>
            </p:cNvPr>
            <p:cNvSpPr/>
            <p:nvPr/>
          </p:nvSpPr>
          <p:spPr>
            <a:xfrm>
              <a:off x="8934148" y="5452249"/>
              <a:ext cx="2564" cy="1070322"/>
            </a:xfrm>
            <a:custGeom>
              <a:avLst/>
              <a:gdLst>
                <a:gd name="connsiteX0" fmla="*/ 10 w 2564"/>
                <a:gd name="connsiteY0" fmla="*/ 1068983 h 1070322"/>
                <a:gd name="connsiteX1" fmla="*/ 1350 w 2564"/>
                <a:gd name="connsiteY1" fmla="*/ 1070323 h 1070322"/>
                <a:gd name="connsiteX2" fmla="*/ 2556 w 2564"/>
                <a:gd name="connsiteY2" fmla="*/ 1068983 h 1070322"/>
                <a:gd name="connsiteX3" fmla="*/ 2556 w 2564"/>
                <a:gd name="connsiteY3" fmla="*/ 1348 h 1070322"/>
                <a:gd name="connsiteX4" fmla="*/ 1497 w 2564"/>
                <a:gd name="connsiteY4" fmla="*/ 17 h 1070322"/>
                <a:gd name="connsiteX5" fmla="*/ 1350 w 2564"/>
                <a:gd name="connsiteY5" fmla="*/ 9 h 1070322"/>
                <a:gd name="connsiteX6" fmla="*/ 10 w 2564"/>
                <a:gd name="connsiteY6" fmla="*/ 1063 h 1070322"/>
                <a:gd name="connsiteX7" fmla="*/ 10 w 2564"/>
                <a:gd name="connsiteY7" fmla="*/ 1348 h 1070322"/>
                <a:gd name="connsiteX8" fmla="*/ 10 w 2564"/>
                <a:gd name="connsiteY8" fmla="*/ 1068983 h 10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4" h="1070322">
                  <a:moveTo>
                    <a:pt x="10" y="1068983"/>
                  </a:moveTo>
                  <a:cubicBezTo>
                    <a:pt x="10" y="1069720"/>
                    <a:pt x="613" y="1070323"/>
                    <a:pt x="1350" y="1070323"/>
                  </a:cubicBezTo>
                  <a:cubicBezTo>
                    <a:pt x="2034" y="1070256"/>
                    <a:pt x="2556" y="1069680"/>
                    <a:pt x="2556" y="1068983"/>
                  </a:cubicBezTo>
                  <a:lnTo>
                    <a:pt x="2556" y="1348"/>
                  </a:lnTo>
                  <a:cubicBezTo>
                    <a:pt x="2636" y="686"/>
                    <a:pt x="2154" y="90"/>
                    <a:pt x="1497" y="17"/>
                  </a:cubicBezTo>
                  <a:cubicBezTo>
                    <a:pt x="1444" y="11"/>
                    <a:pt x="1403" y="9"/>
                    <a:pt x="1350" y="9"/>
                  </a:cubicBezTo>
                  <a:cubicBezTo>
                    <a:pt x="693" y="-70"/>
                    <a:pt x="91" y="402"/>
                    <a:pt x="10" y="1063"/>
                  </a:cubicBezTo>
                  <a:cubicBezTo>
                    <a:pt x="-3" y="1158"/>
                    <a:pt x="-3" y="1253"/>
                    <a:pt x="10" y="1348"/>
                  </a:cubicBezTo>
                  <a:lnTo>
                    <a:pt x="10" y="1068983"/>
                  </a:lnTo>
                  <a:close/>
                </a:path>
              </a:pathLst>
            </a:custGeom>
            <a:solidFill>
              <a:srgbClr val="000000"/>
            </a:solidFill>
            <a:ln w="12700" cap="flat">
              <a:noFill/>
              <a:prstDash val="solid"/>
              <a:miter/>
            </a:ln>
          </p:spPr>
          <p:txBody>
            <a:bodyPr rtlCol="0" anchor="ctr"/>
            <a:lstStyle/>
            <a:p>
              <a:endParaRPr lang="en-US"/>
            </a:p>
          </p:txBody>
        </p:sp>
        <p:sp>
          <p:nvSpPr>
            <p:cNvPr id="1053" name="Freeform: Shape 1052">
              <a:extLst>
                <a:ext uri="{FF2B5EF4-FFF2-40B4-BE49-F238E27FC236}">
                  <a16:creationId xmlns:a16="http://schemas.microsoft.com/office/drawing/2014/main" id="{DBF874A5-87E2-4969-83FA-B43E50F1A24D}"/>
                </a:ext>
              </a:extLst>
            </p:cNvPr>
            <p:cNvSpPr/>
            <p:nvPr/>
          </p:nvSpPr>
          <p:spPr>
            <a:xfrm>
              <a:off x="9332340" y="5755804"/>
              <a:ext cx="154743" cy="14735"/>
            </a:xfrm>
            <a:custGeom>
              <a:avLst/>
              <a:gdLst>
                <a:gd name="connsiteX0" fmla="*/ 0 w 154743"/>
                <a:gd name="connsiteY0" fmla="*/ 14735 h 14735"/>
                <a:gd name="connsiteX1" fmla="*/ 147375 w 154743"/>
                <a:gd name="connsiteY1" fmla="*/ 14735 h 14735"/>
                <a:gd name="connsiteX2" fmla="*/ 147375 w 154743"/>
                <a:gd name="connsiteY2" fmla="*/ 7368 h 14735"/>
                <a:gd name="connsiteX3" fmla="*/ 154744 w 154743"/>
                <a:gd name="connsiteY3" fmla="*/ 0 h 14735"/>
                <a:gd name="connsiteX4" fmla="*/ 0 w 154743"/>
                <a:gd name="connsiteY4" fmla="*/ 0 h 14735"/>
                <a:gd name="connsiteX5" fmla="*/ 0 w 154743"/>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43" h="14735">
                  <a:moveTo>
                    <a:pt x="0" y="14735"/>
                  </a:moveTo>
                  <a:lnTo>
                    <a:pt x="147375" y="14735"/>
                  </a:lnTo>
                  <a:lnTo>
                    <a:pt x="147375" y="7368"/>
                  </a:lnTo>
                  <a:cubicBezTo>
                    <a:pt x="147375" y="3298"/>
                    <a:pt x="150672" y="0"/>
                    <a:pt x="154744" y="0"/>
                  </a:cubicBezTo>
                  <a:lnTo>
                    <a:pt x="0" y="0"/>
                  </a:lnTo>
                  <a:lnTo>
                    <a:pt x="0" y="14735"/>
                  </a:lnTo>
                  <a:close/>
                </a:path>
              </a:pathLst>
            </a:custGeom>
            <a:solidFill>
              <a:srgbClr val="000000"/>
            </a:solidFill>
            <a:ln w="12700" cap="flat">
              <a:noFill/>
              <a:prstDash val="solid"/>
              <a:miter/>
            </a:ln>
          </p:spPr>
          <p:txBody>
            <a:bodyPr rtlCol="0" anchor="ctr"/>
            <a:lstStyle/>
            <a:p>
              <a:endParaRPr lang="en-US"/>
            </a:p>
          </p:txBody>
        </p:sp>
        <p:sp>
          <p:nvSpPr>
            <p:cNvPr id="1054" name="Freeform: Shape 1053">
              <a:extLst>
                <a:ext uri="{FF2B5EF4-FFF2-40B4-BE49-F238E27FC236}">
                  <a16:creationId xmlns:a16="http://schemas.microsoft.com/office/drawing/2014/main" id="{34C31F2E-776F-45C2-AB40-924E17356BBF}"/>
                </a:ext>
              </a:extLst>
            </p:cNvPr>
            <p:cNvSpPr/>
            <p:nvPr/>
          </p:nvSpPr>
          <p:spPr>
            <a:xfrm>
              <a:off x="8861677" y="5623187"/>
              <a:ext cx="25590" cy="24380"/>
            </a:xfrm>
            <a:custGeom>
              <a:avLst/>
              <a:gdLst>
                <a:gd name="connsiteX0" fmla="*/ 10584 w 25590"/>
                <a:gd name="connsiteY0" fmla="*/ 20227 h 24380"/>
                <a:gd name="connsiteX1" fmla="*/ 10584 w 25590"/>
                <a:gd name="connsiteY1" fmla="*/ 24380 h 24380"/>
                <a:gd name="connsiteX2" fmla="*/ 25590 w 25590"/>
                <a:gd name="connsiteY2" fmla="*/ 15673 h 24380"/>
                <a:gd name="connsiteX3" fmla="*/ 25590 w 25590"/>
                <a:gd name="connsiteY3" fmla="*/ 13396 h 24380"/>
                <a:gd name="connsiteX4" fmla="*/ 20016 w 25590"/>
                <a:gd name="connsiteY4" fmla="*/ 4813 h 24380"/>
                <a:gd name="connsiteX5" fmla="*/ 23580 w 25590"/>
                <a:gd name="connsiteY5" fmla="*/ 0 h 24380"/>
                <a:gd name="connsiteX6" fmla="*/ 23580 w 25590"/>
                <a:gd name="connsiteY6" fmla="*/ 0 h 24380"/>
                <a:gd name="connsiteX7" fmla="*/ 0 w 25590"/>
                <a:gd name="connsiteY7" fmla="*/ 13396 h 24380"/>
                <a:gd name="connsiteX8" fmla="*/ 0 w 25590"/>
                <a:gd name="connsiteY8" fmla="*/ 14065 h 24380"/>
                <a:gd name="connsiteX9" fmla="*/ 4287 w 25590"/>
                <a:gd name="connsiteY9" fmla="*/ 12458 h 24380"/>
                <a:gd name="connsiteX10" fmla="*/ 10584 w 25590"/>
                <a:gd name="connsiteY10" fmla="*/ 20227 h 2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90" h="24380">
                  <a:moveTo>
                    <a:pt x="10584" y="20227"/>
                  </a:moveTo>
                  <a:lnTo>
                    <a:pt x="10584" y="24380"/>
                  </a:lnTo>
                  <a:lnTo>
                    <a:pt x="25590" y="15673"/>
                  </a:lnTo>
                  <a:lnTo>
                    <a:pt x="25590" y="13396"/>
                  </a:lnTo>
                  <a:cubicBezTo>
                    <a:pt x="21677" y="12562"/>
                    <a:pt x="19186" y="8721"/>
                    <a:pt x="20016" y="4813"/>
                  </a:cubicBezTo>
                  <a:cubicBezTo>
                    <a:pt x="20458" y="2770"/>
                    <a:pt x="21758" y="1015"/>
                    <a:pt x="23580" y="0"/>
                  </a:cubicBezTo>
                  <a:lnTo>
                    <a:pt x="23580" y="0"/>
                  </a:lnTo>
                  <a:lnTo>
                    <a:pt x="0" y="13396"/>
                  </a:lnTo>
                  <a:lnTo>
                    <a:pt x="0" y="14065"/>
                  </a:lnTo>
                  <a:cubicBezTo>
                    <a:pt x="1219" y="13071"/>
                    <a:pt x="2720" y="12506"/>
                    <a:pt x="4287" y="12458"/>
                  </a:cubicBezTo>
                  <a:cubicBezTo>
                    <a:pt x="8132" y="12947"/>
                    <a:pt x="10906" y="16371"/>
                    <a:pt x="10584" y="20227"/>
                  </a:cubicBezTo>
                  <a:close/>
                </a:path>
              </a:pathLst>
            </a:custGeom>
            <a:solidFill>
              <a:srgbClr val="000000"/>
            </a:solidFill>
            <a:ln w="12700" cap="flat">
              <a:noFill/>
              <a:prstDash val="solid"/>
              <a:miter/>
            </a:ln>
          </p:spPr>
          <p:txBody>
            <a:bodyPr rtlCol="0" anchor="ctr"/>
            <a:lstStyle/>
            <a:p>
              <a:endParaRPr lang="en-US"/>
            </a:p>
          </p:txBody>
        </p:sp>
        <p:sp>
          <p:nvSpPr>
            <p:cNvPr id="1055" name="Freeform: Shape 1054">
              <a:extLst>
                <a:ext uri="{FF2B5EF4-FFF2-40B4-BE49-F238E27FC236}">
                  <a16:creationId xmlns:a16="http://schemas.microsoft.com/office/drawing/2014/main" id="{4F31AB60-62FE-4476-A4DA-F093D6DD0F9A}"/>
                </a:ext>
              </a:extLst>
            </p:cNvPr>
            <p:cNvSpPr/>
            <p:nvPr/>
          </p:nvSpPr>
          <p:spPr>
            <a:xfrm>
              <a:off x="8889812" y="5636850"/>
              <a:ext cx="803" cy="401"/>
            </a:xfrm>
            <a:custGeom>
              <a:avLst/>
              <a:gdLst>
                <a:gd name="connsiteX0" fmla="*/ 804 w 803"/>
                <a:gd name="connsiteY0" fmla="*/ 0 h 401"/>
                <a:gd name="connsiteX1" fmla="*/ 0 w 803"/>
                <a:gd name="connsiteY1" fmla="*/ 0 h 401"/>
                <a:gd name="connsiteX2" fmla="*/ 0 w 803"/>
                <a:gd name="connsiteY2" fmla="*/ 402 h 401"/>
                <a:gd name="connsiteX3" fmla="*/ 804 w 803"/>
                <a:gd name="connsiteY3" fmla="*/ 0 h 401"/>
              </a:gdLst>
              <a:ahLst/>
              <a:cxnLst>
                <a:cxn ang="0">
                  <a:pos x="connsiteX0" y="connsiteY0"/>
                </a:cxn>
                <a:cxn ang="0">
                  <a:pos x="connsiteX1" y="connsiteY1"/>
                </a:cxn>
                <a:cxn ang="0">
                  <a:pos x="connsiteX2" y="connsiteY2"/>
                </a:cxn>
                <a:cxn ang="0">
                  <a:pos x="connsiteX3" y="connsiteY3"/>
                </a:cxn>
              </a:cxnLst>
              <a:rect l="l" t="t" r="r" b="b"/>
              <a:pathLst>
                <a:path w="803" h="401">
                  <a:moveTo>
                    <a:pt x="804" y="0"/>
                  </a:moveTo>
                  <a:lnTo>
                    <a:pt x="0" y="0"/>
                  </a:lnTo>
                  <a:lnTo>
                    <a:pt x="0" y="402"/>
                  </a:lnTo>
                  <a:lnTo>
                    <a:pt x="804" y="0"/>
                  </a:lnTo>
                  <a:close/>
                </a:path>
              </a:pathLst>
            </a:custGeom>
            <a:solidFill>
              <a:srgbClr val="000000"/>
            </a:solidFill>
            <a:ln w="12700" cap="flat">
              <a:noFill/>
              <a:prstDash val="solid"/>
              <a:miter/>
            </a:ln>
          </p:spPr>
          <p:txBody>
            <a:bodyPr rtlCol="0" anchor="ctr"/>
            <a:lstStyle/>
            <a:p>
              <a:endParaRPr lang="en-US"/>
            </a:p>
          </p:txBody>
        </p:sp>
        <p:sp>
          <p:nvSpPr>
            <p:cNvPr id="1056" name="Freeform: Shape 1055">
              <a:extLst>
                <a:ext uri="{FF2B5EF4-FFF2-40B4-BE49-F238E27FC236}">
                  <a16:creationId xmlns:a16="http://schemas.microsoft.com/office/drawing/2014/main" id="{5B264374-A6A2-4135-AB75-0D1C2EC53A52}"/>
                </a:ext>
              </a:extLst>
            </p:cNvPr>
            <p:cNvSpPr/>
            <p:nvPr/>
          </p:nvSpPr>
          <p:spPr>
            <a:xfrm>
              <a:off x="8881190" y="5622115"/>
              <a:ext cx="20545" cy="14735"/>
            </a:xfrm>
            <a:custGeom>
              <a:avLst/>
              <a:gdLst>
                <a:gd name="connsiteX0" fmla="*/ 47 w 20545"/>
                <a:gd name="connsiteY0" fmla="*/ 7368 h 14735"/>
                <a:gd name="connsiteX1" fmla="*/ 6077 w 20545"/>
                <a:gd name="connsiteY1" fmla="*/ 14467 h 14735"/>
                <a:gd name="connsiteX2" fmla="*/ 6077 w 20545"/>
                <a:gd name="connsiteY2" fmla="*/ 7368 h 14735"/>
                <a:gd name="connsiteX3" fmla="*/ 7269 w 20545"/>
                <a:gd name="connsiteY3" fmla="*/ 6154 h 14735"/>
                <a:gd name="connsiteX4" fmla="*/ 7416 w 20545"/>
                <a:gd name="connsiteY4" fmla="*/ 6162 h 14735"/>
                <a:gd name="connsiteX5" fmla="*/ 8622 w 20545"/>
                <a:gd name="connsiteY5" fmla="*/ 7368 h 14735"/>
                <a:gd name="connsiteX6" fmla="*/ 8622 w 20545"/>
                <a:gd name="connsiteY6" fmla="*/ 14735 h 14735"/>
                <a:gd name="connsiteX7" fmla="*/ 20546 w 20545"/>
                <a:gd name="connsiteY7" fmla="*/ 14735 h 14735"/>
                <a:gd name="connsiteX8" fmla="*/ 20546 w 20545"/>
                <a:gd name="connsiteY8" fmla="*/ 0 h 14735"/>
                <a:gd name="connsiteX9" fmla="*/ 7148 w 20545"/>
                <a:gd name="connsiteY9" fmla="*/ 0 h 14735"/>
                <a:gd name="connsiteX10" fmla="*/ 5674 w 20545"/>
                <a:gd name="connsiteY10" fmla="*/ 0 h 14735"/>
                <a:gd name="connsiteX11" fmla="*/ 4335 w 20545"/>
                <a:gd name="connsiteY11" fmla="*/ 0 h 14735"/>
                <a:gd name="connsiteX12" fmla="*/ 47 w 20545"/>
                <a:gd name="connsiteY12"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5" h="14735">
                  <a:moveTo>
                    <a:pt x="47" y="7368"/>
                  </a:moveTo>
                  <a:cubicBezTo>
                    <a:pt x="7" y="10905"/>
                    <a:pt x="2579" y="13934"/>
                    <a:pt x="6077" y="14467"/>
                  </a:cubicBezTo>
                  <a:lnTo>
                    <a:pt x="6077" y="7368"/>
                  </a:lnTo>
                  <a:cubicBezTo>
                    <a:pt x="6077" y="6702"/>
                    <a:pt x="6612" y="6159"/>
                    <a:pt x="7269" y="6154"/>
                  </a:cubicBezTo>
                  <a:cubicBezTo>
                    <a:pt x="7322" y="6154"/>
                    <a:pt x="7376" y="6157"/>
                    <a:pt x="7416" y="6162"/>
                  </a:cubicBezTo>
                  <a:cubicBezTo>
                    <a:pt x="8086" y="6162"/>
                    <a:pt x="8622" y="6702"/>
                    <a:pt x="8622" y="7368"/>
                  </a:cubicBezTo>
                  <a:lnTo>
                    <a:pt x="8622" y="14735"/>
                  </a:lnTo>
                  <a:lnTo>
                    <a:pt x="20546" y="14735"/>
                  </a:lnTo>
                  <a:lnTo>
                    <a:pt x="20546" y="0"/>
                  </a:lnTo>
                  <a:lnTo>
                    <a:pt x="7148" y="0"/>
                  </a:lnTo>
                  <a:lnTo>
                    <a:pt x="5674" y="0"/>
                  </a:lnTo>
                  <a:lnTo>
                    <a:pt x="4335" y="0"/>
                  </a:lnTo>
                  <a:cubicBezTo>
                    <a:pt x="1427" y="1230"/>
                    <a:pt x="-315" y="4232"/>
                    <a:pt x="47" y="7368"/>
                  </a:cubicBezTo>
                  <a:close/>
                </a:path>
              </a:pathLst>
            </a:custGeom>
            <a:solidFill>
              <a:srgbClr val="000000"/>
            </a:solidFill>
            <a:ln w="12700" cap="flat">
              <a:no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F37CA759-78B2-4E33-A800-D52833FABB05}"/>
                </a:ext>
              </a:extLst>
            </p:cNvPr>
            <p:cNvSpPr/>
            <p:nvPr/>
          </p:nvSpPr>
          <p:spPr>
            <a:xfrm>
              <a:off x="8858059" y="5636046"/>
              <a:ext cx="14603" cy="874872"/>
            </a:xfrm>
            <a:custGeom>
              <a:avLst/>
              <a:gdLst>
                <a:gd name="connsiteX0" fmla="*/ 14202 w 14603"/>
                <a:gd name="connsiteY0" fmla="*/ 874872 h 874872"/>
                <a:gd name="connsiteX1" fmla="*/ 14202 w 14603"/>
                <a:gd name="connsiteY1" fmla="*/ 7369 h 874872"/>
                <a:gd name="connsiteX2" fmla="*/ 7101 w 14603"/>
                <a:gd name="connsiteY2" fmla="*/ 1 h 874872"/>
                <a:gd name="connsiteX3" fmla="*/ 6833 w 14603"/>
                <a:gd name="connsiteY3" fmla="*/ 1 h 874872"/>
                <a:gd name="connsiteX4" fmla="*/ 2546 w 14603"/>
                <a:gd name="connsiteY4" fmla="*/ 1609 h 874872"/>
                <a:gd name="connsiteX5" fmla="*/ 1340 w 14603"/>
                <a:gd name="connsiteY5" fmla="*/ 2546 h 874872"/>
                <a:gd name="connsiteX6" fmla="*/ 1340 w 14603"/>
                <a:gd name="connsiteY6" fmla="*/ 4020 h 874872"/>
                <a:gd name="connsiteX7" fmla="*/ 0 w 14603"/>
                <a:gd name="connsiteY7" fmla="*/ 7369 h 874872"/>
                <a:gd name="connsiteX8" fmla="*/ 0 w 14603"/>
                <a:gd name="connsiteY8" fmla="*/ 874872 h 874872"/>
                <a:gd name="connsiteX9" fmla="*/ 14604 w 14603"/>
                <a:gd name="connsiteY9" fmla="*/ 874872 h 87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03" h="874872">
                  <a:moveTo>
                    <a:pt x="14202" y="874872"/>
                  </a:moveTo>
                  <a:lnTo>
                    <a:pt x="14202" y="7369"/>
                  </a:lnTo>
                  <a:cubicBezTo>
                    <a:pt x="14283" y="3374"/>
                    <a:pt x="11093" y="76"/>
                    <a:pt x="7101" y="1"/>
                  </a:cubicBezTo>
                  <a:cubicBezTo>
                    <a:pt x="7007" y="0"/>
                    <a:pt x="6927" y="0"/>
                    <a:pt x="6833" y="1"/>
                  </a:cubicBezTo>
                  <a:cubicBezTo>
                    <a:pt x="5265" y="49"/>
                    <a:pt x="3752" y="615"/>
                    <a:pt x="2546" y="1609"/>
                  </a:cubicBezTo>
                  <a:lnTo>
                    <a:pt x="1340" y="2546"/>
                  </a:lnTo>
                  <a:cubicBezTo>
                    <a:pt x="1273" y="3035"/>
                    <a:pt x="1273" y="3531"/>
                    <a:pt x="1340" y="4020"/>
                  </a:cubicBezTo>
                  <a:cubicBezTo>
                    <a:pt x="0" y="6431"/>
                    <a:pt x="0" y="6431"/>
                    <a:pt x="0" y="7369"/>
                  </a:cubicBezTo>
                  <a:lnTo>
                    <a:pt x="0" y="874872"/>
                  </a:lnTo>
                  <a:lnTo>
                    <a:pt x="14604" y="874872"/>
                  </a:lnTo>
                  <a:close/>
                </a:path>
              </a:pathLst>
            </a:custGeom>
            <a:solidFill>
              <a:srgbClr val="000000"/>
            </a:solidFill>
            <a:ln w="12700" cap="flat">
              <a:no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8C36E0B9-D404-4FC4-BB7E-A177000F0259}"/>
                </a:ext>
              </a:extLst>
            </p:cNvPr>
            <p:cNvSpPr/>
            <p:nvPr/>
          </p:nvSpPr>
          <p:spPr>
            <a:xfrm>
              <a:off x="8887267" y="5628270"/>
              <a:ext cx="2545" cy="882648"/>
            </a:xfrm>
            <a:custGeom>
              <a:avLst/>
              <a:gdLst>
                <a:gd name="connsiteX0" fmla="*/ 1339 w 2545"/>
                <a:gd name="connsiteY0" fmla="*/ 882648 h 882648"/>
                <a:gd name="connsiteX1" fmla="*/ 2546 w 2545"/>
                <a:gd name="connsiteY1" fmla="*/ 882648 h 882648"/>
                <a:gd name="connsiteX2" fmla="*/ 2546 w 2545"/>
                <a:gd name="connsiteY2" fmla="*/ 1213 h 882648"/>
                <a:gd name="connsiteX3" fmla="*/ 1339 w 2545"/>
                <a:gd name="connsiteY3" fmla="*/ 8 h 882648"/>
                <a:gd name="connsiteX4" fmla="*/ 13 w 2545"/>
                <a:gd name="connsiteY4" fmla="*/ 1071 h 882648"/>
                <a:gd name="connsiteX5" fmla="*/ 0 w 2545"/>
                <a:gd name="connsiteY5" fmla="*/ 1213 h 882648"/>
                <a:gd name="connsiteX6" fmla="*/ 0 w 2545"/>
                <a:gd name="connsiteY6" fmla="*/ 882648 h 88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82648">
                  <a:moveTo>
                    <a:pt x="1339" y="882648"/>
                  </a:moveTo>
                  <a:lnTo>
                    <a:pt x="2546" y="882648"/>
                  </a:lnTo>
                  <a:lnTo>
                    <a:pt x="2546" y="1213"/>
                  </a:lnTo>
                  <a:cubicBezTo>
                    <a:pt x="2546" y="547"/>
                    <a:pt x="2009" y="8"/>
                    <a:pt x="1339" y="8"/>
                  </a:cubicBezTo>
                  <a:cubicBezTo>
                    <a:pt x="683" y="-66"/>
                    <a:pt x="80" y="409"/>
                    <a:pt x="13" y="1071"/>
                  </a:cubicBezTo>
                  <a:cubicBezTo>
                    <a:pt x="0" y="1119"/>
                    <a:pt x="0" y="1166"/>
                    <a:pt x="0" y="1213"/>
                  </a:cubicBezTo>
                  <a:lnTo>
                    <a:pt x="0" y="882648"/>
                  </a:lnTo>
                  <a:close/>
                </a:path>
              </a:pathLst>
            </a:custGeom>
            <a:solidFill>
              <a:srgbClr val="000000"/>
            </a:solidFill>
            <a:ln w="12700" cap="flat">
              <a:no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7D844CB6-04D0-4C6E-91B6-AF001F818BF7}"/>
                </a:ext>
              </a:extLst>
            </p:cNvPr>
            <p:cNvSpPr/>
            <p:nvPr/>
          </p:nvSpPr>
          <p:spPr>
            <a:xfrm>
              <a:off x="8740025" y="5630822"/>
              <a:ext cx="14738" cy="177224"/>
            </a:xfrm>
            <a:custGeom>
              <a:avLst/>
              <a:gdLst>
                <a:gd name="connsiteX0" fmla="*/ 7369 w 14738"/>
                <a:gd name="connsiteY0" fmla="*/ 7234 h 177224"/>
                <a:gd name="connsiteX1" fmla="*/ 0 w 14738"/>
                <a:gd name="connsiteY1" fmla="*/ 7234 h 177224"/>
                <a:gd name="connsiteX2" fmla="*/ 0 w 14738"/>
                <a:gd name="connsiteY2" fmla="*/ 177225 h 177224"/>
                <a:gd name="connsiteX3" fmla="*/ 14738 w 14738"/>
                <a:gd name="connsiteY3" fmla="*/ 177225 h 177224"/>
                <a:gd name="connsiteX4" fmla="*/ 14738 w 14738"/>
                <a:gd name="connsiteY4" fmla="*/ 0 h 177224"/>
                <a:gd name="connsiteX5" fmla="*/ 7503 w 14738"/>
                <a:gd name="connsiteY5" fmla="*/ 7235 h 177224"/>
                <a:gd name="connsiteX6" fmla="*/ 7369 w 14738"/>
                <a:gd name="connsiteY6" fmla="*/ 7234 h 17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77224">
                  <a:moveTo>
                    <a:pt x="7369" y="7234"/>
                  </a:moveTo>
                  <a:lnTo>
                    <a:pt x="0" y="7234"/>
                  </a:lnTo>
                  <a:lnTo>
                    <a:pt x="0" y="177225"/>
                  </a:lnTo>
                  <a:lnTo>
                    <a:pt x="14738" y="177225"/>
                  </a:lnTo>
                  <a:lnTo>
                    <a:pt x="14738" y="0"/>
                  </a:lnTo>
                  <a:cubicBezTo>
                    <a:pt x="14738" y="3995"/>
                    <a:pt x="11496" y="7234"/>
                    <a:pt x="7503" y="7235"/>
                  </a:cubicBezTo>
                  <a:cubicBezTo>
                    <a:pt x="7463" y="7235"/>
                    <a:pt x="7409" y="7235"/>
                    <a:pt x="7369" y="7234"/>
                  </a:cubicBezTo>
                  <a:close/>
                </a:path>
              </a:pathLst>
            </a:custGeom>
            <a:solidFill>
              <a:srgbClr val="000000"/>
            </a:solidFill>
            <a:ln w="12700" cap="flat">
              <a:no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EB2F46FA-13E4-46EF-BCC1-26D7D0DB9EAC}"/>
                </a:ext>
              </a:extLst>
            </p:cNvPr>
            <p:cNvSpPr/>
            <p:nvPr/>
          </p:nvSpPr>
          <p:spPr>
            <a:xfrm>
              <a:off x="8702511" y="6512391"/>
              <a:ext cx="26795" cy="5894"/>
            </a:xfrm>
            <a:custGeom>
              <a:avLst/>
              <a:gdLst>
                <a:gd name="connsiteX0" fmla="*/ 6833 w 26795"/>
                <a:gd name="connsiteY0" fmla="*/ 0 h 5894"/>
                <a:gd name="connsiteX1" fmla="*/ 0 w 26795"/>
                <a:gd name="connsiteY1" fmla="*/ 4957 h 5894"/>
                <a:gd name="connsiteX2" fmla="*/ 0 w 26795"/>
                <a:gd name="connsiteY2" fmla="*/ 4957 h 5894"/>
                <a:gd name="connsiteX3" fmla="*/ 26796 w 26795"/>
                <a:gd name="connsiteY3" fmla="*/ 5894 h 5894"/>
                <a:gd name="connsiteX4" fmla="*/ 26796 w 26795"/>
                <a:gd name="connsiteY4" fmla="*/ 0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5" h="5894">
                  <a:moveTo>
                    <a:pt x="6833" y="0"/>
                  </a:moveTo>
                  <a:cubicBezTo>
                    <a:pt x="5895" y="2974"/>
                    <a:pt x="3122" y="4983"/>
                    <a:pt x="0" y="4957"/>
                  </a:cubicBezTo>
                  <a:lnTo>
                    <a:pt x="0" y="4957"/>
                  </a:lnTo>
                  <a:lnTo>
                    <a:pt x="26796" y="5894"/>
                  </a:lnTo>
                  <a:lnTo>
                    <a:pt x="26796" y="0"/>
                  </a:lnTo>
                  <a:close/>
                </a:path>
              </a:pathLst>
            </a:custGeom>
            <a:solidFill>
              <a:srgbClr val="000000"/>
            </a:solidFill>
            <a:ln w="12700" cap="flat">
              <a:no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07D7ACA3-72B7-4044-BBD9-2ED1DF4C8587}"/>
                </a:ext>
              </a:extLst>
            </p:cNvPr>
            <p:cNvSpPr/>
            <p:nvPr/>
          </p:nvSpPr>
          <p:spPr>
            <a:xfrm>
              <a:off x="8702779" y="6502479"/>
              <a:ext cx="35637" cy="7233"/>
            </a:xfrm>
            <a:custGeom>
              <a:avLst/>
              <a:gdLst>
                <a:gd name="connsiteX0" fmla="*/ 7100 w 35637"/>
                <a:gd name="connsiteY0" fmla="*/ 7234 h 7233"/>
                <a:gd name="connsiteX1" fmla="*/ 27064 w 35637"/>
                <a:gd name="connsiteY1" fmla="*/ 7234 h 7233"/>
                <a:gd name="connsiteX2" fmla="*/ 34164 w 35637"/>
                <a:gd name="connsiteY2" fmla="*/ 1071 h 7233"/>
                <a:gd name="connsiteX3" fmla="*/ 35638 w 35637"/>
                <a:gd name="connsiteY3" fmla="*/ 1071 h 7233"/>
                <a:gd name="connsiteX4" fmla="*/ 34298 w 35637"/>
                <a:gd name="connsiteY4" fmla="*/ 1071 h 7233"/>
                <a:gd name="connsiteX5" fmla="*/ 0 w 35637"/>
                <a:gd name="connsiteY5" fmla="*/ 0 h 7233"/>
                <a:gd name="connsiteX6" fmla="*/ 0 w 35637"/>
                <a:gd name="connsiteY6" fmla="*/ 0 h 7233"/>
                <a:gd name="connsiteX7" fmla="*/ 7100 w 35637"/>
                <a:gd name="connsiteY7" fmla="*/ 7234 h 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37" h="7233">
                  <a:moveTo>
                    <a:pt x="7100" y="7234"/>
                  </a:moveTo>
                  <a:lnTo>
                    <a:pt x="27064" y="7234"/>
                  </a:lnTo>
                  <a:cubicBezTo>
                    <a:pt x="27639" y="3737"/>
                    <a:pt x="30627" y="1152"/>
                    <a:pt x="34164" y="1071"/>
                  </a:cubicBezTo>
                  <a:cubicBezTo>
                    <a:pt x="34660" y="1005"/>
                    <a:pt x="35155" y="1005"/>
                    <a:pt x="35638" y="1071"/>
                  </a:cubicBezTo>
                  <a:lnTo>
                    <a:pt x="34298" y="1071"/>
                  </a:lnTo>
                  <a:lnTo>
                    <a:pt x="0" y="0"/>
                  </a:lnTo>
                  <a:lnTo>
                    <a:pt x="0" y="0"/>
                  </a:lnTo>
                  <a:cubicBezTo>
                    <a:pt x="3939" y="67"/>
                    <a:pt x="7100" y="3295"/>
                    <a:pt x="7100" y="7234"/>
                  </a:cubicBezTo>
                  <a:close/>
                </a:path>
              </a:pathLst>
            </a:custGeom>
            <a:solidFill>
              <a:srgbClr val="000000"/>
            </a:solidFill>
            <a:ln w="12700" cap="flat">
              <a:no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92D4FE8C-25AA-4EBA-B3C0-A4940A141CDA}"/>
                </a:ext>
              </a:extLst>
            </p:cNvPr>
            <p:cNvSpPr/>
            <p:nvPr/>
          </p:nvSpPr>
          <p:spPr>
            <a:xfrm>
              <a:off x="0" y="4754880"/>
              <a:ext cx="13397" cy="13395"/>
            </a:xfrm>
            <a:custGeom>
              <a:avLst/>
              <a:gdLst/>
              <a:ahLst/>
              <a:cxnLst/>
              <a:rect l="l" t="t" r="r" b="b"/>
              <a:pathLst>
                <a:path w="13397" h="13395"/>
              </a:pathLst>
            </a:custGeom>
            <a:solidFill>
              <a:srgbClr val="000000"/>
            </a:solidFill>
            <a:ln w="12700" cap="flat">
              <a:no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B6EF4DDE-07B9-4388-AD7A-6C15272DCC24}"/>
                </a:ext>
              </a:extLst>
            </p:cNvPr>
            <p:cNvSpPr/>
            <p:nvPr/>
          </p:nvSpPr>
          <p:spPr>
            <a:xfrm>
              <a:off x="8709880" y="6509578"/>
              <a:ext cx="20230" cy="2545"/>
            </a:xfrm>
            <a:custGeom>
              <a:avLst/>
              <a:gdLst>
                <a:gd name="connsiteX0" fmla="*/ 0 w 20230"/>
                <a:gd name="connsiteY0" fmla="*/ 134 h 2545"/>
                <a:gd name="connsiteX1" fmla="*/ 0 w 20230"/>
                <a:gd name="connsiteY1" fmla="*/ 2545 h 2545"/>
                <a:gd name="connsiteX2" fmla="*/ 20231 w 20230"/>
                <a:gd name="connsiteY2" fmla="*/ 2545 h 2545"/>
                <a:gd name="connsiteX3" fmla="*/ 20231 w 20230"/>
                <a:gd name="connsiteY3" fmla="*/ 1206 h 2545"/>
                <a:gd name="connsiteX4" fmla="*/ 20231 w 20230"/>
                <a:gd name="connsiteY4" fmla="*/ 0 h 2545"/>
                <a:gd name="connsiteX5" fmla="*/ 0 w 20230"/>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30" h="2545">
                  <a:moveTo>
                    <a:pt x="0" y="134"/>
                  </a:moveTo>
                  <a:cubicBezTo>
                    <a:pt x="148" y="924"/>
                    <a:pt x="148" y="1755"/>
                    <a:pt x="0" y="2545"/>
                  </a:cubicBezTo>
                  <a:lnTo>
                    <a:pt x="20231" y="2545"/>
                  </a:lnTo>
                  <a:lnTo>
                    <a:pt x="20231" y="1206"/>
                  </a:lnTo>
                  <a:cubicBezTo>
                    <a:pt x="20164" y="804"/>
                    <a:pt x="20164" y="402"/>
                    <a:pt x="20231" y="0"/>
                  </a:cubicBezTo>
                  <a:lnTo>
                    <a:pt x="0" y="0"/>
                  </a:lnTo>
                  <a:close/>
                </a:path>
              </a:pathLst>
            </a:custGeom>
            <a:solidFill>
              <a:srgbClr val="000000"/>
            </a:solidFill>
            <a:ln w="12700" cap="flat">
              <a:no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AB859B5D-FBED-477B-A840-12EE9E0520E4}"/>
                </a:ext>
              </a:extLst>
            </p:cNvPr>
            <p:cNvSpPr/>
            <p:nvPr/>
          </p:nvSpPr>
          <p:spPr>
            <a:xfrm>
              <a:off x="4679969" y="6592363"/>
              <a:ext cx="2545" cy="261483"/>
            </a:xfrm>
            <a:custGeom>
              <a:avLst/>
              <a:gdLst>
                <a:gd name="connsiteX0" fmla="*/ 0 w 2545"/>
                <a:gd name="connsiteY0" fmla="*/ 0 h 261483"/>
                <a:gd name="connsiteX1" fmla="*/ 2546 w 2545"/>
                <a:gd name="connsiteY1" fmla="*/ 0 h 261483"/>
                <a:gd name="connsiteX2" fmla="*/ 2546 w 2545"/>
                <a:gd name="connsiteY2" fmla="*/ 261483 h 261483"/>
                <a:gd name="connsiteX3" fmla="*/ 0 w 2545"/>
                <a:gd name="connsiteY3" fmla="*/ 261483 h 261483"/>
              </a:gdLst>
              <a:ahLst/>
              <a:cxnLst>
                <a:cxn ang="0">
                  <a:pos x="connsiteX0" y="connsiteY0"/>
                </a:cxn>
                <a:cxn ang="0">
                  <a:pos x="connsiteX1" y="connsiteY1"/>
                </a:cxn>
                <a:cxn ang="0">
                  <a:pos x="connsiteX2" y="connsiteY2"/>
                </a:cxn>
                <a:cxn ang="0">
                  <a:pos x="connsiteX3" y="connsiteY3"/>
                </a:cxn>
              </a:cxnLst>
              <a:rect l="l" t="t" r="r" b="b"/>
              <a:pathLst>
                <a:path w="2545" h="261483">
                  <a:moveTo>
                    <a:pt x="0" y="0"/>
                  </a:moveTo>
                  <a:lnTo>
                    <a:pt x="2546" y="0"/>
                  </a:lnTo>
                  <a:lnTo>
                    <a:pt x="2546" y="261483"/>
                  </a:lnTo>
                  <a:lnTo>
                    <a:pt x="0" y="261483"/>
                  </a:lnTo>
                  <a:close/>
                </a:path>
              </a:pathLst>
            </a:custGeom>
            <a:solidFill>
              <a:srgbClr val="000000"/>
            </a:solidFill>
            <a:ln w="12700" cap="flat">
              <a:no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2C1BFE00-A0C6-4725-A8CB-4CD8A833A097}"/>
                </a:ext>
              </a:extLst>
            </p:cNvPr>
            <p:cNvSpPr/>
            <p:nvPr/>
          </p:nvSpPr>
          <p:spPr>
            <a:xfrm>
              <a:off x="6817983" y="6505827"/>
              <a:ext cx="69400" cy="14735"/>
            </a:xfrm>
            <a:custGeom>
              <a:avLst/>
              <a:gdLst>
                <a:gd name="connsiteX0" fmla="*/ 62032 w 69400"/>
                <a:gd name="connsiteY0" fmla="*/ 12324 h 14735"/>
                <a:gd name="connsiteX1" fmla="*/ 60424 w 69400"/>
                <a:gd name="connsiteY1" fmla="*/ 11386 h 14735"/>
                <a:gd name="connsiteX2" fmla="*/ 60424 w 69400"/>
                <a:gd name="connsiteY2" fmla="*/ 10449 h 14735"/>
                <a:gd name="connsiteX3" fmla="*/ 59620 w 69400"/>
                <a:gd name="connsiteY3" fmla="*/ 9109 h 14735"/>
                <a:gd name="connsiteX4" fmla="*/ 59620 w 69400"/>
                <a:gd name="connsiteY4" fmla="*/ 7903 h 14735"/>
                <a:gd name="connsiteX5" fmla="*/ 59620 w 69400"/>
                <a:gd name="connsiteY5" fmla="*/ 6564 h 14735"/>
                <a:gd name="connsiteX6" fmla="*/ 59620 w 69400"/>
                <a:gd name="connsiteY6" fmla="*/ 6564 h 14735"/>
                <a:gd name="connsiteX7" fmla="*/ 59620 w 69400"/>
                <a:gd name="connsiteY7" fmla="*/ 5358 h 14735"/>
                <a:gd name="connsiteX8" fmla="*/ 59620 w 69400"/>
                <a:gd name="connsiteY8" fmla="*/ 4019 h 14735"/>
                <a:gd name="connsiteX9" fmla="*/ 60424 w 69400"/>
                <a:gd name="connsiteY9" fmla="*/ 2813 h 14735"/>
                <a:gd name="connsiteX10" fmla="*/ 60424 w 69400"/>
                <a:gd name="connsiteY10" fmla="*/ 1607 h 14735"/>
                <a:gd name="connsiteX11" fmla="*/ 61629 w 69400"/>
                <a:gd name="connsiteY11" fmla="*/ 804 h 14735"/>
                <a:gd name="connsiteX12" fmla="*/ 62701 w 69400"/>
                <a:gd name="connsiteY12" fmla="*/ 0 h 14735"/>
                <a:gd name="connsiteX13" fmla="*/ 64175 w 69400"/>
                <a:gd name="connsiteY13" fmla="*/ 0 h 14735"/>
                <a:gd name="connsiteX14" fmla="*/ 65247 w 69400"/>
                <a:gd name="connsiteY14" fmla="*/ 0 h 14735"/>
                <a:gd name="connsiteX15" fmla="*/ 69400 w 69400"/>
                <a:gd name="connsiteY15" fmla="*/ 0 h 14735"/>
                <a:gd name="connsiteX16" fmla="*/ 0 w 69400"/>
                <a:gd name="connsiteY16" fmla="*/ 0 h 14735"/>
                <a:gd name="connsiteX17" fmla="*/ 7369 w 69400"/>
                <a:gd name="connsiteY17" fmla="*/ 7367 h 14735"/>
                <a:gd name="connsiteX18" fmla="*/ 7369 w 69400"/>
                <a:gd name="connsiteY18" fmla="*/ 14735 h 14735"/>
                <a:gd name="connsiteX19" fmla="*/ 64309 w 69400"/>
                <a:gd name="connsiteY19" fmla="*/ 14735 h 14735"/>
                <a:gd name="connsiteX20" fmla="*/ 63103 w 69400"/>
                <a:gd name="connsiteY20" fmla="*/ 14735 h 14735"/>
                <a:gd name="connsiteX21" fmla="*/ 62032 w 69400"/>
                <a:gd name="connsiteY21" fmla="*/ 1232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400" h="14735">
                  <a:moveTo>
                    <a:pt x="62032" y="12324"/>
                  </a:moveTo>
                  <a:lnTo>
                    <a:pt x="60424" y="11386"/>
                  </a:lnTo>
                  <a:lnTo>
                    <a:pt x="60424" y="10449"/>
                  </a:lnTo>
                  <a:cubicBezTo>
                    <a:pt x="60076" y="10047"/>
                    <a:pt x="59807" y="9605"/>
                    <a:pt x="59620" y="9109"/>
                  </a:cubicBezTo>
                  <a:cubicBezTo>
                    <a:pt x="59566" y="8707"/>
                    <a:pt x="59566" y="8305"/>
                    <a:pt x="59620" y="7903"/>
                  </a:cubicBezTo>
                  <a:cubicBezTo>
                    <a:pt x="59539" y="7461"/>
                    <a:pt x="59539" y="7006"/>
                    <a:pt x="59620" y="6564"/>
                  </a:cubicBezTo>
                  <a:lnTo>
                    <a:pt x="59620" y="6564"/>
                  </a:lnTo>
                  <a:cubicBezTo>
                    <a:pt x="59620" y="6564"/>
                    <a:pt x="59620" y="5760"/>
                    <a:pt x="59620" y="5358"/>
                  </a:cubicBezTo>
                  <a:cubicBezTo>
                    <a:pt x="59620" y="4956"/>
                    <a:pt x="59620" y="4420"/>
                    <a:pt x="59620" y="4019"/>
                  </a:cubicBezTo>
                  <a:cubicBezTo>
                    <a:pt x="59861" y="3590"/>
                    <a:pt x="60129" y="3188"/>
                    <a:pt x="60424" y="2813"/>
                  </a:cubicBezTo>
                  <a:cubicBezTo>
                    <a:pt x="60383" y="2411"/>
                    <a:pt x="60383" y="2009"/>
                    <a:pt x="60424" y="1607"/>
                  </a:cubicBezTo>
                  <a:cubicBezTo>
                    <a:pt x="60799" y="1299"/>
                    <a:pt x="61201" y="1018"/>
                    <a:pt x="61629" y="804"/>
                  </a:cubicBezTo>
                  <a:cubicBezTo>
                    <a:pt x="61898" y="429"/>
                    <a:pt x="62273" y="147"/>
                    <a:pt x="62701" y="0"/>
                  </a:cubicBezTo>
                  <a:lnTo>
                    <a:pt x="64175" y="0"/>
                  </a:lnTo>
                  <a:lnTo>
                    <a:pt x="65247" y="0"/>
                  </a:lnTo>
                  <a:lnTo>
                    <a:pt x="69400" y="0"/>
                  </a:lnTo>
                  <a:lnTo>
                    <a:pt x="0" y="0"/>
                  </a:lnTo>
                  <a:cubicBezTo>
                    <a:pt x="4073" y="0"/>
                    <a:pt x="7369" y="3295"/>
                    <a:pt x="7369" y="7367"/>
                  </a:cubicBezTo>
                  <a:lnTo>
                    <a:pt x="7369" y="14735"/>
                  </a:lnTo>
                  <a:lnTo>
                    <a:pt x="64309" y="14735"/>
                  </a:lnTo>
                  <a:lnTo>
                    <a:pt x="63103" y="14735"/>
                  </a:lnTo>
                  <a:cubicBezTo>
                    <a:pt x="63103" y="14735"/>
                    <a:pt x="62299" y="12458"/>
                    <a:pt x="62032" y="12324"/>
                  </a:cubicBezTo>
                  <a:close/>
                </a:path>
              </a:pathLst>
            </a:custGeom>
            <a:solidFill>
              <a:srgbClr val="000000"/>
            </a:solidFill>
            <a:ln w="12700" cap="flat">
              <a:no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B09CECE8-443A-4A81-9E72-409A8DD2F06C}"/>
                </a:ext>
              </a:extLst>
            </p:cNvPr>
            <p:cNvSpPr/>
            <p:nvPr/>
          </p:nvSpPr>
          <p:spPr>
            <a:xfrm>
              <a:off x="7612202" y="5877972"/>
              <a:ext cx="2545" cy="291891"/>
            </a:xfrm>
            <a:custGeom>
              <a:avLst/>
              <a:gdLst>
                <a:gd name="connsiteX0" fmla="*/ 1206 w 2545"/>
                <a:gd name="connsiteY0" fmla="*/ 291892 h 291891"/>
                <a:gd name="connsiteX1" fmla="*/ 2546 w 2545"/>
                <a:gd name="connsiteY1" fmla="*/ 291892 h 291891"/>
                <a:gd name="connsiteX2" fmla="*/ 2546 w 2545"/>
                <a:gd name="connsiteY2" fmla="*/ 0 h 291891"/>
                <a:gd name="connsiteX3" fmla="*/ 1206 w 2545"/>
                <a:gd name="connsiteY3" fmla="*/ 0 h 291891"/>
                <a:gd name="connsiteX4" fmla="*/ 0 w 2545"/>
                <a:gd name="connsiteY4" fmla="*/ 0 h 291891"/>
                <a:gd name="connsiteX5" fmla="*/ 0 w 2545"/>
                <a:gd name="connsiteY5" fmla="*/ 291624 h 29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91891">
                  <a:moveTo>
                    <a:pt x="1206" y="291892"/>
                  </a:moveTo>
                  <a:lnTo>
                    <a:pt x="2546" y="291892"/>
                  </a:lnTo>
                  <a:lnTo>
                    <a:pt x="2546" y="0"/>
                  </a:lnTo>
                  <a:lnTo>
                    <a:pt x="1206" y="0"/>
                  </a:lnTo>
                  <a:lnTo>
                    <a:pt x="0" y="0"/>
                  </a:lnTo>
                  <a:lnTo>
                    <a:pt x="0" y="291624"/>
                  </a:lnTo>
                  <a:close/>
                </a:path>
              </a:pathLst>
            </a:custGeom>
            <a:solidFill>
              <a:srgbClr val="000000"/>
            </a:solidFill>
            <a:ln w="12700" cap="flat">
              <a:noFill/>
              <a:prstDash val="solid"/>
              <a:miter/>
            </a:ln>
          </p:spPr>
          <p:txBody>
            <a:bodyPr rtlCol="0" anchor="ctr"/>
            <a:lstStyle/>
            <a:p>
              <a:endParaRPr lang="en-US"/>
            </a:p>
          </p:txBody>
        </p:sp>
        <p:sp>
          <p:nvSpPr>
            <p:cNvPr id="1067" name="Freeform: Shape 1066">
              <a:extLst>
                <a:ext uri="{FF2B5EF4-FFF2-40B4-BE49-F238E27FC236}">
                  <a16:creationId xmlns:a16="http://schemas.microsoft.com/office/drawing/2014/main" id="{FE530754-C283-424F-90CF-D6246EF79B18}"/>
                </a:ext>
              </a:extLst>
            </p:cNvPr>
            <p:cNvSpPr/>
            <p:nvPr/>
          </p:nvSpPr>
          <p:spPr>
            <a:xfrm>
              <a:off x="7607513" y="5637788"/>
              <a:ext cx="17167" cy="24915"/>
            </a:xfrm>
            <a:custGeom>
              <a:avLst/>
              <a:gdLst>
                <a:gd name="connsiteX0" fmla="*/ 5895 w 17167"/>
                <a:gd name="connsiteY0" fmla="*/ 17950 h 24915"/>
                <a:gd name="connsiteX1" fmla="*/ 8038 w 17167"/>
                <a:gd name="connsiteY1" fmla="*/ 17950 h 24915"/>
                <a:gd name="connsiteX2" fmla="*/ 8038 w 17167"/>
                <a:gd name="connsiteY2" fmla="*/ 7234 h 24915"/>
                <a:gd name="connsiteX3" fmla="*/ 9379 w 17167"/>
                <a:gd name="connsiteY3" fmla="*/ 5894 h 24915"/>
                <a:gd name="connsiteX4" fmla="*/ 10718 w 17167"/>
                <a:gd name="connsiteY4" fmla="*/ 7234 h 24915"/>
                <a:gd name="connsiteX5" fmla="*/ 10718 w 17167"/>
                <a:gd name="connsiteY5" fmla="*/ 19424 h 24915"/>
                <a:gd name="connsiteX6" fmla="*/ 13264 w 17167"/>
                <a:gd name="connsiteY6" fmla="*/ 24916 h 24915"/>
                <a:gd name="connsiteX7" fmla="*/ 13264 w 17167"/>
                <a:gd name="connsiteY7" fmla="*/ 24916 h 24915"/>
                <a:gd name="connsiteX8" fmla="*/ 15809 w 17167"/>
                <a:gd name="connsiteY8" fmla="*/ 14601 h 24915"/>
                <a:gd name="connsiteX9" fmla="*/ 17015 w 17167"/>
                <a:gd name="connsiteY9" fmla="*/ 8707 h 24915"/>
                <a:gd name="connsiteX10" fmla="*/ 11281 w 17167"/>
                <a:gd name="connsiteY10" fmla="*/ 5 h 24915"/>
                <a:gd name="connsiteX11" fmla="*/ 11254 w 17167"/>
                <a:gd name="connsiteY11" fmla="*/ 0 h 24915"/>
                <a:gd name="connsiteX12" fmla="*/ 8976 w 17167"/>
                <a:gd name="connsiteY12" fmla="*/ 0 h 24915"/>
                <a:gd name="connsiteX13" fmla="*/ 7637 w 17167"/>
                <a:gd name="connsiteY13" fmla="*/ 0 h 24915"/>
                <a:gd name="connsiteX14" fmla="*/ 6297 w 17167"/>
                <a:gd name="connsiteY14" fmla="*/ 670 h 24915"/>
                <a:gd name="connsiteX15" fmla="*/ 5225 w 17167"/>
                <a:gd name="connsiteY15" fmla="*/ 670 h 24915"/>
                <a:gd name="connsiteX16" fmla="*/ 4153 w 17167"/>
                <a:gd name="connsiteY16" fmla="*/ 1741 h 24915"/>
                <a:gd name="connsiteX17" fmla="*/ 3484 w 17167"/>
                <a:gd name="connsiteY17" fmla="*/ 2813 h 24915"/>
                <a:gd name="connsiteX18" fmla="*/ 3484 w 17167"/>
                <a:gd name="connsiteY18" fmla="*/ 4153 h 24915"/>
                <a:gd name="connsiteX19" fmla="*/ 3484 w 17167"/>
                <a:gd name="connsiteY19" fmla="*/ 4956 h 24915"/>
                <a:gd name="connsiteX20" fmla="*/ 0 w 17167"/>
                <a:gd name="connsiteY20" fmla="*/ 22505 h 24915"/>
                <a:gd name="connsiteX21" fmla="*/ 0 w 17167"/>
                <a:gd name="connsiteY21" fmla="*/ 23308 h 24915"/>
                <a:gd name="connsiteX22" fmla="*/ 5895 w 17167"/>
                <a:gd name="connsiteY22" fmla="*/ 17950 h 24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167" h="24915">
                  <a:moveTo>
                    <a:pt x="5895" y="17950"/>
                  </a:moveTo>
                  <a:cubicBezTo>
                    <a:pt x="6605" y="17875"/>
                    <a:pt x="7329" y="17875"/>
                    <a:pt x="8038" y="17950"/>
                  </a:cubicBezTo>
                  <a:lnTo>
                    <a:pt x="8038" y="7234"/>
                  </a:lnTo>
                  <a:cubicBezTo>
                    <a:pt x="8105" y="6521"/>
                    <a:pt x="8668" y="5956"/>
                    <a:pt x="9379" y="5894"/>
                  </a:cubicBezTo>
                  <a:cubicBezTo>
                    <a:pt x="10115" y="5894"/>
                    <a:pt x="10718" y="6494"/>
                    <a:pt x="10718" y="7234"/>
                  </a:cubicBezTo>
                  <a:lnTo>
                    <a:pt x="10718" y="19424"/>
                  </a:lnTo>
                  <a:cubicBezTo>
                    <a:pt x="12353" y="20771"/>
                    <a:pt x="13291" y="22793"/>
                    <a:pt x="13264" y="24916"/>
                  </a:cubicBezTo>
                  <a:lnTo>
                    <a:pt x="13264" y="24916"/>
                  </a:lnTo>
                  <a:lnTo>
                    <a:pt x="15809" y="14601"/>
                  </a:lnTo>
                  <a:lnTo>
                    <a:pt x="17015" y="8707"/>
                  </a:lnTo>
                  <a:cubicBezTo>
                    <a:pt x="17832" y="4722"/>
                    <a:pt x="15274" y="826"/>
                    <a:pt x="11281" y="5"/>
                  </a:cubicBezTo>
                  <a:cubicBezTo>
                    <a:pt x="11268" y="4"/>
                    <a:pt x="11268" y="1"/>
                    <a:pt x="11254" y="0"/>
                  </a:cubicBezTo>
                  <a:lnTo>
                    <a:pt x="8976" y="0"/>
                  </a:lnTo>
                  <a:lnTo>
                    <a:pt x="7637" y="0"/>
                  </a:lnTo>
                  <a:lnTo>
                    <a:pt x="6297" y="670"/>
                  </a:lnTo>
                  <a:lnTo>
                    <a:pt x="5225" y="670"/>
                  </a:lnTo>
                  <a:cubicBezTo>
                    <a:pt x="4837" y="993"/>
                    <a:pt x="4475" y="1352"/>
                    <a:pt x="4153" y="1741"/>
                  </a:cubicBezTo>
                  <a:cubicBezTo>
                    <a:pt x="3858" y="2045"/>
                    <a:pt x="3631" y="2411"/>
                    <a:pt x="3484" y="2813"/>
                  </a:cubicBezTo>
                  <a:lnTo>
                    <a:pt x="3484" y="4153"/>
                  </a:lnTo>
                  <a:cubicBezTo>
                    <a:pt x="3537" y="4418"/>
                    <a:pt x="3537" y="4691"/>
                    <a:pt x="3484" y="4956"/>
                  </a:cubicBezTo>
                  <a:lnTo>
                    <a:pt x="0" y="22505"/>
                  </a:lnTo>
                  <a:cubicBezTo>
                    <a:pt x="0" y="22505"/>
                    <a:pt x="0" y="22505"/>
                    <a:pt x="0" y="23308"/>
                  </a:cubicBezTo>
                  <a:cubicBezTo>
                    <a:pt x="750" y="20522"/>
                    <a:pt x="3054" y="18428"/>
                    <a:pt x="5895" y="17950"/>
                  </a:cubicBezTo>
                  <a:close/>
                </a:path>
              </a:pathLst>
            </a:custGeom>
            <a:solidFill>
              <a:srgbClr val="000000"/>
            </a:solidFill>
            <a:ln w="12700" cap="flat">
              <a:noFill/>
              <a:prstDash val="solid"/>
              <a:miter/>
            </a:ln>
          </p:spPr>
          <p:txBody>
            <a:bodyPr rtlCol="0" anchor="ctr"/>
            <a:lstStyle/>
            <a:p>
              <a:endParaRPr lang="en-US"/>
            </a:p>
          </p:txBody>
        </p:sp>
        <p:sp>
          <p:nvSpPr>
            <p:cNvPr id="1068" name="Freeform: Shape 1067">
              <a:extLst>
                <a:ext uri="{FF2B5EF4-FFF2-40B4-BE49-F238E27FC236}">
                  <a16:creationId xmlns:a16="http://schemas.microsoft.com/office/drawing/2014/main" id="{E0C14DF2-632E-4077-AF06-1F56B72E998D}"/>
                </a:ext>
              </a:extLst>
            </p:cNvPr>
            <p:cNvSpPr/>
            <p:nvPr/>
          </p:nvSpPr>
          <p:spPr>
            <a:xfrm>
              <a:off x="7615551" y="5644084"/>
              <a:ext cx="2679" cy="13529"/>
            </a:xfrm>
            <a:custGeom>
              <a:avLst/>
              <a:gdLst>
                <a:gd name="connsiteX0" fmla="*/ 1340 w 2679"/>
                <a:gd name="connsiteY0" fmla="*/ 0 h 13529"/>
                <a:gd name="connsiteX1" fmla="*/ 0 w 2679"/>
                <a:gd name="connsiteY1" fmla="*/ 1340 h 13529"/>
                <a:gd name="connsiteX2" fmla="*/ 0 w 2679"/>
                <a:gd name="connsiteY2" fmla="*/ 12056 h 13529"/>
                <a:gd name="connsiteX3" fmla="*/ 2680 w 2679"/>
                <a:gd name="connsiteY3" fmla="*/ 13530 h 13529"/>
                <a:gd name="connsiteX4" fmla="*/ 2680 w 2679"/>
                <a:gd name="connsiteY4" fmla="*/ 1340 h 13529"/>
                <a:gd name="connsiteX5" fmla="*/ 1340 w 2679"/>
                <a:gd name="connsiteY5" fmla="*/ 0 h 1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3529">
                  <a:moveTo>
                    <a:pt x="1340" y="0"/>
                  </a:moveTo>
                  <a:cubicBezTo>
                    <a:pt x="630" y="63"/>
                    <a:pt x="67" y="627"/>
                    <a:pt x="0" y="1340"/>
                  </a:cubicBezTo>
                  <a:lnTo>
                    <a:pt x="0" y="12056"/>
                  </a:lnTo>
                  <a:cubicBezTo>
                    <a:pt x="978" y="12383"/>
                    <a:pt x="1876" y="12881"/>
                    <a:pt x="2680" y="13530"/>
                  </a:cubicBezTo>
                  <a:lnTo>
                    <a:pt x="2680" y="1340"/>
                  </a:lnTo>
                  <a:cubicBezTo>
                    <a:pt x="2680" y="600"/>
                    <a:pt x="2077" y="0"/>
                    <a:pt x="1340" y="0"/>
                  </a:cubicBezTo>
                  <a:close/>
                </a:path>
              </a:pathLst>
            </a:custGeom>
            <a:solidFill>
              <a:srgbClr val="000000"/>
            </a:solidFill>
            <a:ln w="12700" cap="flat">
              <a:noFill/>
              <a:prstDash val="solid"/>
              <a:miter/>
            </a:ln>
          </p:spPr>
          <p:txBody>
            <a:bodyPr rtlCol="0" anchor="ctr"/>
            <a:lstStyle/>
            <a:p>
              <a:endParaRPr lang="en-US"/>
            </a:p>
          </p:txBody>
        </p:sp>
        <p:sp>
          <p:nvSpPr>
            <p:cNvPr id="1069" name="Freeform: Shape 1068">
              <a:extLst>
                <a:ext uri="{FF2B5EF4-FFF2-40B4-BE49-F238E27FC236}">
                  <a16:creationId xmlns:a16="http://schemas.microsoft.com/office/drawing/2014/main" id="{A1F90B95-75CA-402E-A643-FCA3011676E8}"/>
                </a:ext>
              </a:extLst>
            </p:cNvPr>
            <p:cNvSpPr/>
            <p:nvPr/>
          </p:nvSpPr>
          <p:spPr>
            <a:xfrm>
              <a:off x="4583103" y="5985941"/>
              <a:ext cx="14737" cy="592356"/>
            </a:xfrm>
            <a:custGeom>
              <a:avLst/>
              <a:gdLst>
                <a:gd name="connsiteX0" fmla="*/ 14470 w 14737"/>
                <a:gd name="connsiteY0" fmla="*/ 591687 h 592356"/>
                <a:gd name="connsiteX1" fmla="*/ 14470 w 14737"/>
                <a:gd name="connsiteY1" fmla="*/ 1340 h 592356"/>
                <a:gd name="connsiteX2" fmla="*/ 14470 w 14737"/>
                <a:gd name="connsiteY2" fmla="*/ 1340 h 592356"/>
                <a:gd name="connsiteX3" fmla="*/ 7369 w 14737"/>
                <a:gd name="connsiteY3" fmla="*/ 7368 h 592356"/>
                <a:gd name="connsiteX4" fmla="*/ 0 w 14737"/>
                <a:gd name="connsiteY4" fmla="*/ 0 h 592356"/>
                <a:gd name="connsiteX5" fmla="*/ 0 w 14737"/>
                <a:gd name="connsiteY5" fmla="*/ 592356 h 592356"/>
                <a:gd name="connsiteX6" fmla="*/ 14738 w 14737"/>
                <a:gd name="connsiteY6" fmla="*/ 592356 h 59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592356">
                  <a:moveTo>
                    <a:pt x="14470" y="591687"/>
                  </a:moveTo>
                  <a:lnTo>
                    <a:pt x="14470" y="1340"/>
                  </a:lnTo>
                  <a:lnTo>
                    <a:pt x="14470" y="1340"/>
                  </a:lnTo>
                  <a:cubicBezTo>
                    <a:pt x="13880" y="4808"/>
                    <a:pt x="10893" y="7352"/>
                    <a:pt x="7369" y="7368"/>
                  </a:cubicBezTo>
                  <a:cubicBezTo>
                    <a:pt x="3296" y="7368"/>
                    <a:pt x="0" y="4070"/>
                    <a:pt x="0" y="0"/>
                  </a:cubicBezTo>
                  <a:lnTo>
                    <a:pt x="0" y="592356"/>
                  </a:lnTo>
                  <a:lnTo>
                    <a:pt x="14738" y="592356"/>
                  </a:lnTo>
                  <a:close/>
                </a:path>
              </a:pathLst>
            </a:custGeom>
            <a:solidFill>
              <a:srgbClr val="000000"/>
            </a:solidFill>
            <a:ln w="12700" cap="flat">
              <a:noFill/>
              <a:prstDash val="solid"/>
              <a:miter/>
            </a:ln>
          </p:spPr>
          <p:txBody>
            <a:bodyPr rtlCol="0" anchor="ctr"/>
            <a:lstStyle/>
            <a:p>
              <a:endParaRPr lang="en-US"/>
            </a:p>
          </p:txBody>
        </p:sp>
        <p:sp>
          <p:nvSpPr>
            <p:cNvPr id="1070" name="Freeform: Shape 1069">
              <a:extLst>
                <a:ext uri="{FF2B5EF4-FFF2-40B4-BE49-F238E27FC236}">
                  <a16:creationId xmlns:a16="http://schemas.microsoft.com/office/drawing/2014/main" id="{11B53689-B3C6-4A33-884B-B453EEB66A55}"/>
                </a:ext>
              </a:extLst>
            </p:cNvPr>
            <p:cNvSpPr/>
            <p:nvPr/>
          </p:nvSpPr>
          <p:spPr>
            <a:xfrm>
              <a:off x="7077230" y="5677876"/>
              <a:ext cx="198019" cy="14700"/>
            </a:xfrm>
            <a:custGeom>
              <a:avLst/>
              <a:gdLst>
                <a:gd name="connsiteX0" fmla="*/ 7369 w 198019"/>
                <a:gd name="connsiteY0" fmla="*/ 7199 h 14700"/>
                <a:gd name="connsiteX1" fmla="*/ 7369 w 198019"/>
                <a:gd name="connsiteY1" fmla="*/ 14701 h 14700"/>
                <a:gd name="connsiteX2" fmla="*/ 191454 w 198019"/>
                <a:gd name="connsiteY2" fmla="*/ 14701 h 14700"/>
                <a:gd name="connsiteX3" fmla="*/ 190248 w 198019"/>
                <a:gd name="connsiteY3" fmla="*/ 8941 h 14700"/>
                <a:gd name="connsiteX4" fmla="*/ 195741 w 198019"/>
                <a:gd name="connsiteY4" fmla="*/ 99 h 14700"/>
                <a:gd name="connsiteX5" fmla="*/ 198019 w 198019"/>
                <a:gd name="connsiteY5" fmla="*/ 99 h 14700"/>
                <a:gd name="connsiteX6" fmla="*/ 0 w 198019"/>
                <a:gd name="connsiteY6" fmla="*/ 99 h 14700"/>
                <a:gd name="connsiteX7" fmla="*/ 7369 w 198019"/>
                <a:gd name="connsiteY7" fmla="*/ 7199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019" h="14700">
                  <a:moveTo>
                    <a:pt x="7369" y="7199"/>
                  </a:moveTo>
                  <a:lnTo>
                    <a:pt x="7369" y="14701"/>
                  </a:lnTo>
                  <a:lnTo>
                    <a:pt x="191454" y="14701"/>
                  </a:lnTo>
                  <a:lnTo>
                    <a:pt x="190248" y="8941"/>
                  </a:lnTo>
                  <a:cubicBezTo>
                    <a:pt x="189323" y="4983"/>
                    <a:pt x="191789" y="1028"/>
                    <a:pt x="195741" y="99"/>
                  </a:cubicBezTo>
                  <a:cubicBezTo>
                    <a:pt x="196492" y="-33"/>
                    <a:pt x="197269" y="-33"/>
                    <a:pt x="198019" y="99"/>
                  </a:cubicBezTo>
                  <a:lnTo>
                    <a:pt x="0" y="99"/>
                  </a:lnTo>
                  <a:cubicBezTo>
                    <a:pt x="3966" y="97"/>
                    <a:pt x="7221" y="3235"/>
                    <a:pt x="7369" y="7199"/>
                  </a:cubicBezTo>
                  <a:close/>
                </a:path>
              </a:pathLst>
            </a:custGeom>
            <a:solidFill>
              <a:srgbClr val="000000"/>
            </a:solidFill>
            <a:ln w="12700" cap="flat">
              <a:noFill/>
              <a:prstDash val="solid"/>
              <a:miter/>
            </a:ln>
          </p:spPr>
          <p:txBody>
            <a:bodyPr rtlCol="0" anchor="ctr"/>
            <a:lstStyle/>
            <a:p>
              <a:endParaRPr lang="en-US"/>
            </a:p>
          </p:txBody>
        </p:sp>
        <p:sp>
          <p:nvSpPr>
            <p:cNvPr id="1071" name="Freeform: Shape 1070">
              <a:extLst>
                <a:ext uri="{FF2B5EF4-FFF2-40B4-BE49-F238E27FC236}">
                  <a16:creationId xmlns:a16="http://schemas.microsoft.com/office/drawing/2014/main" id="{D09F3615-2790-422A-8975-8925D239714E}"/>
                </a:ext>
              </a:extLst>
            </p:cNvPr>
            <p:cNvSpPr/>
            <p:nvPr/>
          </p:nvSpPr>
          <p:spPr>
            <a:xfrm>
              <a:off x="7267456" y="5678813"/>
              <a:ext cx="15429" cy="14700"/>
            </a:xfrm>
            <a:custGeom>
              <a:avLst/>
              <a:gdLst>
                <a:gd name="connsiteX0" fmla="*/ 22 w 15429"/>
                <a:gd name="connsiteY0" fmla="*/ 7869 h 14700"/>
                <a:gd name="connsiteX1" fmla="*/ 1228 w 15429"/>
                <a:gd name="connsiteY1" fmla="*/ 13629 h 14700"/>
                <a:gd name="connsiteX2" fmla="*/ 1228 w 15429"/>
                <a:gd name="connsiteY2" fmla="*/ 14701 h 14700"/>
                <a:gd name="connsiteX3" fmla="*/ 1228 w 15429"/>
                <a:gd name="connsiteY3" fmla="*/ 13763 h 14700"/>
                <a:gd name="connsiteX4" fmla="*/ 5515 w 15429"/>
                <a:gd name="connsiteY4" fmla="*/ 7065 h 14700"/>
                <a:gd name="connsiteX5" fmla="*/ 5515 w 15429"/>
                <a:gd name="connsiteY5" fmla="*/ 6128 h 14700"/>
                <a:gd name="connsiteX6" fmla="*/ 6855 w 15429"/>
                <a:gd name="connsiteY6" fmla="*/ 4788 h 14700"/>
                <a:gd name="connsiteX7" fmla="*/ 8194 w 15429"/>
                <a:gd name="connsiteY7" fmla="*/ 6128 h 14700"/>
                <a:gd name="connsiteX8" fmla="*/ 8194 w 15429"/>
                <a:gd name="connsiteY8" fmla="*/ 6128 h 14700"/>
                <a:gd name="connsiteX9" fmla="*/ 8194 w 15429"/>
                <a:gd name="connsiteY9" fmla="*/ 6128 h 14700"/>
                <a:gd name="connsiteX10" fmla="*/ 15430 w 15429"/>
                <a:gd name="connsiteY10" fmla="*/ 12691 h 14700"/>
                <a:gd name="connsiteX11" fmla="*/ 15430 w 15429"/>
                <a:gd name="connsiteY11" fmla="*/ 11754 h 14700"/>
                <a:gd name="connsiteX12" fmla="*/ 13688 w 15429"/>
                <a:gd name="connsiteY12" fmla="*/ 4252 h 14700"/>
                <a:gd name="connsiteX13" fmla="*/ 13688 w 15429"/>
                <a:gd name="connsiteY13" fmla="*/ 4252 h 14700"/>
                <a:gd name="connsiteX14" fmla="*/ 13688 w 15429"/>
                <a:gd name="connsiteY14" fmla="*/ 2913 h 14700"/>
                <a:gd name="connsiteX15" fmla="*/ 12884 w 15429"/>
                <a:gd name="connsiteY15" fmla="*/ 1841 h 14700"/>
                <a:gd name="connsiteX16" fmla="*/ 11946 w 15429"/>
                <a:gd name="connsiteY16" fmla="*/ 903 h 14700"/>
                <a:gd name="connsiteX17" fmla="*/ 10740 w 15429"/>
                <a:gd name="connsiteY17" fmla="*/ 99 h 14700"/>
                <a:gd name="connsiteX18" fmla="*/ 9535 w 15429"/>
                <a:gd name="connsiteY18" fmla="*/ 99 h 14700"/>
                <a:gd name="connsiteX19" fmla="*/ 8060 w 15429"/>
                <a:gd name="connsiteY19" fmla="*/ 99 h 14700"/>
                <a:gd name="connsiteX20" fmla="*/ 5783 w 15429"/>
                <a:gd name="connsiteY20" fmla="*/ 99 h 14700"/>
                <a:gd name="connsiteX21" fmla="*/ 22 w 15429"/>
                <a:gd name="connsiteY21" fmla="*/ 7869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429" h="14700">
                  <a:moveTo>
                    <a:pt x="22" y="7869"/>
                  </a:moveTo>
                  <a:lnTo>
                    <a:pt x="1228" y="13629"/>
                  </a:lnTo>
                  <a:lnTo>
                    <a:pt x="1228" y="14701"/>
                  </a:lnTo>
                  <a:lnTo>
                    <a:pt x="1228" y="13763"/>
                  </a:lnTo>
                  <a:cubicBezTo>
                    <a:pt x="1254" y="10895"/>
                    <a:pt x="2929" y="8295"/>
                    <a:pt x="5515" y="7065"/>
                  </a:cubicBezTo>
                  <a:lnTo>
                    <a:pt x="5515" y="6128"/>
                  </a:lnTo>
                  <a:cubicBezTo>
                    <a:pt x="5582" y="5415"/>
                    <a:pt x="6144" y="4850"/>
                    <a:pt x="6855" y="4788"/>
                  </a:cubicBezTo>
                  <a:cubicBezTo>
                    <a:pt x="7592" y="4788"/>
                    <a:pt x="8194" y="5388"/>
                    <a:pt x="8194" y="6128"/>
                  </a:cubicBezTo>
                  <a:lnTo>
                    <a:pt x="8194" y="6128"/>
                  </a:lnTo>
                  <a:lnTo>
                    <a:pt x="8194" y="6128"/>
                  </a:lnTo>
                  <a:cubicBezTo>
                    <a:pt x="11946" y="6111"/>
                    <a:pt x="15081" y="8959"/>
                    <a:pt x="15430" y="12691"/>
                  </a:cubicBezTo>
                  <a:lnTo>
                    <a:pt x="15430" y="11754"/>
                  </a:lnTo>
                  <a:lnTo>
                    <a:pt x="13688" y="4252"/>
                  </a:lnTo>
                  <a:cubicBezTo>
                    <a:pt x="13688" y="4252"/>
                    <a:pt x="13688" y="4252"/>
                    <a:pt x="13688" y="4252"/>
                  </a:cubicBezTo>
                  <a:cubicBezTo>
                    <a:pt x="13741" y="3807"/>
                    <a:pt x="13741" y="3357"/>
                    <a:pt x="13688" y="2913"/>
                  </a:cubicBezTo>
                  <a:cubicBezTo>
                    <a:pt x="13540" y="2479"/>
                    <a:pt x="13259" y="2103"/>
                    <a:pt x="12884" y="1841"/>
                  </a:cubicBezTo>
                  <a:cubicBezTo>
                    <a:pt x="12643" y="1464"/>
                    <a:pt x="12321" y="1144"/>
                    <a:pt x="11946" y="903"/>
                  </a:cubicBezTo>
                  <a:cubicBezTo>
                    <a:pt x="11611" y="547"/>
                    <a:pt x="11195" y="272"/>
                    <a:pt x="10740" y="99"/>
                  </a:cubicBezTo>
                  <a:lnTo>
                    <a:pt x="9535" y="99"/>
                  </a:lnTo>
                  <a:lnTo>
                    <a:pt x="8060" y="99"/>
                  </a:lnTo>
                  <a:cubicBezTo>
                    <a:pt x="7310" y="-33"/>
                    <a:pt x="6534" y="-33"/>
                    <a:pt x="5783" y="99"/>
                  </a:cubicBezTo>
                  <a:cubicBezTo>
                    <a:pt x="2192" y="890"/>
                    <a:pt x="-259" y="4205"/>
                    <a:pt x="22" y="7869"/>
                  </a:cubicBezTo>
                  <a:close/>
                </a:path>
              </a:pathLst>
            </a:custGeom>
            <a:solidFill>
              <a:srgbClr val="000000"/>
            </a:solidFill>
            <a:ln w="12700" cap="flat">
              <a:noFill/>
              <a:prstDash val="solid"/>
              <a:miter/>
            </a:ln>
          </p:spPr>
          <p:txBody>
            <a:bodyPr rtlCol="0" anchor="ctr"/>
            <a:lstStyle/>
            <a:p>
              <a:endParaRPr lang="en-US"/>
            </a:p>
          </p:txBody>
        </p:sp>
        <p:sp>
          <p:nvSpPr>
            <p:cNvPr id="1072" name="Freeform: Shape 1071">
              <a:extLst>
                <a:ext uri="{FF2B5EF4-FFF2-40B4-BE49-F238E27FC236}">
                  <a16:creationId xmlns:a16="http://schemas.microsoft.com/office/drawing/2014/main" id="{6E90C71C-5831-4C16-A1A0-38B3D307269C}"/>
                </a:ext>
              </a:extLst>
            </p:cNvPr>
            <p:cNvSpPr/>
            <p:nvPr/>
          </p:nvSpPr>
          <p:spPr>
            <a:xfrm>
              <a:off x="7665525" y="5655738"/>
              <a:ext cx="161308" cy="14735"/>
            </a:xfrm>
            <a:custGeom>
              <a:avLst/>
              <a:gdLst>
                <a:gd name="connsiteX0" fmla="*/ 0 w 161308"/>
                <a:gd name="connsiteY0" fmla="*/ 14735 h 14735"/>
                <a:gd name="connsiteX1" fmla="*/ 153940 w 161308"/>
                <a:gd name="connsiteY1" fmla="*/ 14735 h 14735"/>
                <a:gd name="connsiteX2" fmla="*/ 153940 w 161308"/>
                <a:gd name="connsiteY2" fmla="*/ 7368 h 14735"/>
                <a:gd name="connsiteX3" fmla="*/ 161309 w 161308"/>
                <a:gd name="connsiteY3" fmla="*/ 0 h 14735"/>
                <a:gd name="connsiteX4" fmla="*/ 536 w 161308"/>
                <a:gd name="connsiteY4" fmla="*/ 0 h 14735"/>
                <a:gd name="connsiteX5" fmla="*/ 536 w 161308"/>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308" h="14735">
                  <a:moveTo>
                    <a:pt x="0" y="14735"/>
                  </a:moveTo>
                  <a:lnTo>
                    <a:pt x="153940" y="14735"/>
                  </a:lnTo>
                  <a:lnTo>
                    <a:pt x="153940" y="7368"/>
                  </a:lnTo>
                  <a:cubicBezTo>
                    <a:pt x="153940" y="3298"/>
                    <a:pt x="157236" y="0"/>
                    <a:pt x="161309" y="0"/>
                  </a:cubicBezTo>
                  <a:lnTo>
                    <a:pt x="536" y="0"/>
                  </a:lnTo>
                  <a:lnTo>
                    <a:pt x="536" y="14735"/>
                  </a:lnTo>
                  <a:close/>
                </a:path>
              </a:pathLst>
            </a:custGeom>
            <a:solidFill>
              <a:srgbClr val="000000"/>
            </a:solidFill>
            <a:ln w="12700" cap="flat">
              <a:noFill/>
              <a:prstDash val="solid"/>
              <a:miter/>
            </a:ln>
          </p:spPr>
          <p:txBody>
            <a:bodyPr rtlCol="0" anchor="ctr"/>
            <a:lstStyle/>
            <a:p>
              <a:endParaRPr lang="en-US"/>
            </a:p>
          </p:txBody>
        </p:sp>
        <p:sp>
          <p:nvSpPr>
            <p:cNvPr id="1073" name="Freeform: Shape 1072">
              <a:extLst>
                <a:ext uri="{FF2B5EF4-FFF2-40B4-BE49-F238E27FC236}">
                  <a16:creationId xmlns:a16="http://schemas.microsoft.com/office/drawing/2014/main" id="{19D4E166-E760-40D8-B863-9903AF8511A7}"/>
                </a:ext>
              </a:extLst>
            </p:cNvPr>
            <p:cNvSpPr/>
            <p:nvPr/>
          </p:nvSpPr>
          <p:spPr>
            <a:xfrm>
              <a:off x="7266674" y="5686012"/>
              <a:ext cx="4337" cy="149897"/>
            </a:xfrm>
            <a:custGeom>
              <a:avLst/>
              <a:gdLst>
                <a:gd name="connsiteX0" fmla="*/ 3215 w 4337"/>
                <a:gd name="connsiteY0" fmla="*/ 144137 h 149897"/>
                <a:gd name="connsiteX1" fmla="*/ 4287 w 4337"/>
                <a:gd name="connsiteY1" fmla="*/ 145075 h 149897"/>
                <a:gd name="connsiteX2" fmla="*/ 4287 w 4337"/>
                <a:gd name="connsiteY2" fmla="*/ 146147 h 149897"/>
                <a:gd name="connsiteX3" fmla="*/ 4287 w 4337"/>
                <a:gd name="connsiteY3" fmla="*/ 147486 h 149897"/>
                <a:gd name="connsiteX4" fmla="*/ 4287 w 4337"/>
                <a:gd name="connsiteY4" fmla="*/ 147486 h 149897"/>
                <a:gd name="connsiteX5" fmla="*/ 4287 w 4337"/>
                <a:gd name="connsiteY5" fmla="*/ 149897 h 149897"/>
                <a:gd name="connsiteX6" fmla="*/ 4287 w 4337"/>
                <a:gd name="connsiteY6" fmla="*/ 0 h 149897"/>
                <a:gd name="connsiteX7" fmla="*/ 0 w 4337"/>
                <a:gd name="connsiteY7" fmla="*/ 6698 h 149897"/>
                <a:gd name="connsiteX8" fmla="*/ 0 w 4337"/>
                <a:gd name="connsiteY8" fmla="*/ 143468 h 149897"/>
                <a:gd name="connsiteX9" fmla="*/ 3215 w 4337"/>
                <a:gd name="connsiteY9" fmla="*/ 144137 h 1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7" h="149897">
                  <a:moveTo>
                    <a:pt x="3215" y="144137"/>
                  </a:moveTo>
                  <a:lnTo>
                    <a:pt x="4287" y="145075"/>
                  </a:lnTo>
                  <a:cubicBezTo>
                    <a:pt x="4314" y="145431"/>
                    <a:pt x="4314" y="145790"/>
                    <a:pt x="4287" y="146147"/>
                  </a:cubicBezTo>
                  <a:cubicBezTo>
                    <a:pt x="4354" y="146590"/>
                    <a:pt x="4354" y="147043"/>
                    <a:pt x="4287" y="147486"/>
                  </a:cubicBezTo>
                  <a:lnTo>
                    <a:pt x="4287" y="147486"/>
                  </a:lnTo>
                  <a:lnTo>
                    <a:pt x="4287" y="149897"/>
                  </a:lnTo>
                  <a:lnTo>
                    <a:pt x="4287" y="0"/>
                  </a:lnTo>
                  <a:cubicBezTo>
                    <a:pt x="1702" y="1230"/>
                    <a:pt x="27" y="3830"/>
                    <a:pt x="0" y="6698"/>
                  </a:cubicBezTo>
                  <a:lnTo>
                    <a:pt x="0" y="143468"/>
                  </a:lnTo>
                  <a:cubicBezTo>
                    <a:pt x="0" y="143468"/>
                    <a:pt x="2814" y="144003"/>
                    <a:pt x="3215" y="144137"/>
                  </a:cubicBezTo>
                  <a:close/>
                </a:path>
              </a:pathLst>
            </a:custGeom>
            <a:solidFill>
              <a:srgbClr val="000000"/>
            </a:solidFill>
            <a:ln w="12700" cap="flat">
              <a:noFill/>
              <a:prstDash val="solid"/>
              <a:miter/>
            </a:ln>
          </p:spPr>
          <p:txBody>
            <a:bodyPr rtlCol="0" anchor="ctr"/>
            <a:lstStyle/>
            <a:p>
              <a:endParaRPr lang="en-US"/>
            </a:p>
          </p:txBody>
        </p:sp>
        <p:sp>
          <p:nvSpPr>
            <p:cNvPr id="1074" name="Freeform: Shape 1073">
              <a:extLst>
                <a:ext uri="{FF2B5EF4-FFF2-40B4-BE49-F238E27FC236}">
                  <a16:creationId xmlns:a16="http://schemas.microsoft.com/office/drawing/2014/main" id="{E07D65D2-5E51-4A3F-B1ED-5912D17589A2}"/>
                </a:ext>
              </a:extLst>
            </p:cNvPr>
            <p:cNvSpPr/>
            <p:nvPr/>
          </p:nvSpPr>
          <p:spPr>
            <a:xfrm>
              <a:off x="7276320" y="5685343"/>
              <a:ext cx="7101" cy="178162"/>
            </a:xfrm>
            <a:custGeom>
              <a:avLst/>
              <a:gdLst>
                <a:gd name="connsiteX0" fmla="*/ 0 w 7101"/>
                <a:gd name="connsiteY0" fmla="*/ 0 h 178162"/>
                <a:gd name="connsiteX1" fmla="*/ 0 w 7101"/>
                <a:gd name="connsiteY1" fmla="*/ 0 h 178162"/>
                <a:gd name="connsiteX2" fmla="*/ 0 w 7101"/>
                <a:gd name="connsiteY2" fmla="*/ 159810 h 178162"/>
                <a:gd name="connsiteX3" fmla="*/ 0 w 7101"/>
                <a:gd name="connsiteY3" fmla="*/ 162088 h 178162"/>
                <a:gd name="connsiteX4" fmla="*/ 0 w 7101"/>
                <a:gd name="connsiteY4" fmla="*/ 162088 h 178162"/>
                <a:gd name="connsiteX5" fmla="*/ 4824 w 7101"/>
                <a:gd name="connsiteY5" fmla="*/ 178162 h 178162"/>
                <a:gd name="connsiteX6" fmla="*/ 7101 w 7101"/>
                <a:gd name="connsiteY6" fmla="*/ 178162 h 178162"/>
                <a:gd name="connsiteX7" fmla="*/ 7101 w 7101"/>
                <a:gd name="connsiteY7" fmla="*/ 7234 h 178162"/>
                <a:gd name="connsiteX8" fmla="*/ 7101 w 7101"/>
                <a:gd name="connsiteY8" fmla="*/ 6430 h 178162"/>
                <a:gd name="connsiteX9" fmla="*/ 0 w 7101"/>
                <a:gd name="connsiteY9" fmla="*/ 0 h 17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01" h="178162">
                  <a:moveTo>
                    <a:pt x="0" y="0"/>
                  </a:moveTo>
                  <a:lnTo>
                    <a:pt x="0" y="0"/>
                  </a:lnTo>
                  <a:lnTo>
                    <a:pt x="0" y="159810"/>
                  </a:lnTo>
                  <a:lnTo>
                    <a:pt x="0" y="162088"/>
                  </a:lnTo>
                  <a:lnTo>
                    <a:pt x="0" y="162088"/>
                  </a:lnTo>
                  <a:lnTo>
                    <a:pt x="4824" y="178162"/>
                  </a:lnTo>
                  <a:lnTo>
                    <a:pt x="7101" y="178162"/>
                  </a:lnTo>
                  <a:lnTo>
                    <a:pt x="7101" y="7234"/>
                  </a:lnTo>
                  <a:cubicBezTo>
                    <a:pt x="7101" y="7234"/>
                    <a:pt x="7101" y="7234"/>
                    <a:pt x="7101" y="6430"/>
                  </a:cubicBezTo>
                  <a:cubicBezTo>
                    <a:pt x="6699" y="2802"/>
                    <a:pt x="3645" y="46"/>
                    <a:pt x="0" y="0"/>
                  </a:cubicBezTo>
                  <a:close/>
                </a:path>
              </a:pathLst>
            </a:custGeom>
            <a:solidFill>
              <a:srgbClr val="000000"/>
            </a:solidFill>
            <a:ln w="12700" cap="flat">
              <a:noFill/>
              <a:prstDash val="solid"/>
              <a:miter/>
            </a:ln>
          </p:spPr>
          <p:txBody>
            <a:bodyPr rtlCol="0" anchor="ctr"/>
            <a:lstStyle/>
            <a:p>
              <a:endParaRPr lang="en-US"/>
            </a:p>
          </p:txBody>
        </p:sp>
        <p:sp>
          <p:nvSpPr>
            <p:cNvPr id="1075" name="Freeform: Shape 1074">
              <a:extLst>
                <a:ext uri="{FF2B5EF4-FFF2-40B4-BE49-F238E27FC236}">
                  <a16:creationId xmlns:a16="http://schemas.microsoft.com/office/drawing/2014/main" id="{C36F3041-55B3-4873-A2C9-F1818608666C}"/>
                </a:ext>
              </a:extLst>
            </p:cNvPr>
            <p:cNvSpPr/>
            <p:nvPr/>
          </p:nvSpPr>
          <p:spPr>
            <a:xfrm>
              <a:off x="7606173" y="5656084"/>
              <a:ext cx="14604" cy="207823"/>
            </a:xfrm>
            <a:custGeom>
              <a:avLst/>
              <a:gdLst>
                <a:gd name="connsiteX0" fmla="*/ 9379 w 14604"/>
                <a:gd name="connsiteY0" fmla="*/ 207823 h 207823"/>
                <a:gd name="connsiteX1" fmla="*/ 9379 w 14604"/>
                <a:gd name="connsiteY1" fmla="*/ 201661 h 207823"/>
                <a:gd name="connsiteX2" fmla="*/ 10719 w 14604"/>
                <a:gd name="connsiteY2" fmla="*/ 200322 h 207823"/>
                <a:gd name="connsiteX3" fmla="*/ 14604 w 14604"/>
                <a:gd name="connsiteY3" fmla="*/ 200322 h 207823"/>
                <a:gd name="connsiteX4" fmla="*/ 14604 w 14604"/>
                <a:gd name="connsiteY4" fmla="*/ 7022 h 207823"/>
                <a:gd name="connsiteX5" fmla="*/ 12058 w 14604"/>
                <a:gd name="connsiteY5" fmla="*/ 1530 h 207823"/>
                <a:gd name="connsiteX6" fmla="*/ 9379 w 14604"/>
                <a:gd name="connsiteY6" fmla="*/ 56 h 207823"/>
                <a:gd name="connsiteX7" fmla="*/ 7235 w 14604"/>
                <a:gd name="connsiteY7" fmla="*/ 56 h 207823"/>
                <a:gd name="connsiteX8" fmla="*/ 0 w 14604"/>
                <a:gd name="connsiteY8" fmla="*/ 6754 h 207823"/>
                <a:gd name="connsiteX9" fmla="*/ 0 w 14604"/>
                <a:gd name="connsiteY9" fmla="*/ 6754 h 207823"/>
                <a:gd name="connsiteX10" fmla="*/ 0 w 14604"/>
                <a:gd name="connsiteY10" fmla="*/ 207689 h 207823"/>
                <a:gd name="connsiteX11" fmla="*/ 7369 w 14604"/>
                <a:gd name="connsiteY11" fmla="*/ 207689 h 207823"/>
                <a:gd name="connsiteX12" fmla="*/ 9379 w 14604"/>
                <a:gd name="connsiteY12" fmla="*/ 207823 h 20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4" h="207823">
                  <a:moveTo>
                    <a:pt x="9379" y="207823"/>
                  </a:moveTo>
                  <a:lnTo>
                    <a:pt x="9379" y="201661"/>
                  </a:lnTo>
                  <a:cubicBezTo>
                    <a:pt x="9446" y="200948"/>
                    <a:pt x="10008" y="200383"/>
                    <a:pt x="10719" y="200322"/>
                  </a:cubicBezTo>
                  <a:lnTo>
                    <a:pt x="14604" y="200322"/>
                  </a:lnTo>
                  <a:lnTo>
                    <a:pt x="14604" y="7022"/>
                  </a:lnTo>
                  <a:cubicBezTo>
                    <a:pt x="14631" y="4899"/>
                    <a:pt x="13693" y="2877"/>
                    <a:pt x="12058" y="1530"/>
                  </a:cubicBezTo>
                  <a:cubicBezTo>
                    <a:pt x="11254" y="881"/>
                    <a:pt x="10357" y="383"/>
                    <a:pt x="9379" y="56"/>
                  </a:cubicBezTo>
                  <a:cubicBezTo>
                    <a:pt x="8669" y="-19"/>
                    <a:pt x="7945" y="-19"/>
                    <a:pt x="7235" y="56"/>
                  </a:cubicBezTo>
                  <a:cubicBezTo>
                    <a:pt x="3470" y="110"/>
                    <a:pt x="348" y="2999"/>
                    <a:pt x="0" y="6754"/>
                  </a:cubicBezTo>
                  <a:cubicBezTo>
                    <a:pt x="0" y="6754"/>
                    <a:pt x="0" y="6754"/>
                    <a:pt x="0" y="6754"/>
                  </a:cubicBezTo>
                  <a:lnTo>
                    <a:pt x="0" y="207689"/>
                  </a:lnTo>
                  <a:lnTo>
                    <a:pt x="7369" y="207689"/>
                  </a:lnTo>
                  <a:cubicBezTo>
                    <a:pt x="8039" y="207668"/>
                    <a:pt x="8709" y="207712"/>
                    <a:pt x="9379" y="207823"/>
                  </a:cubicBezTo>
                  <a:close/>
                </a:path>
              </a:pathLst>
            </a:custGeom>
            <a:solidFill>
              <a:schemeClr val="accent5">
                <a:lumMod val="50000"/>
              </a:schemeClr>
            </a:solidFill>
            <a:ln w="12700" cap="flat">
              <a:noFill/>
              <a:prstDash val="solid"/>
              <a:miter/>
            </a:ln>
          </p:spPr>
          <p:txBody>
            <a:bodyPr rtlCol="0" anchor="ctr"/>
            <a:lstStyle/>
            <a:p>
              <a:endParaRPr lang="en-US"/>
            </a:p>
          </p:txBody>
        </p:sp>
        <p:sp>
          <p:nvSpPr>
            <p:cNvPr id="1076" name="Freeform: Shape 1075">
              <a:extLst>
                <a:ext uri="{FF2B5EF4-FFF2-40B4-BE49-F238E27FC236}">
                  <a16:creationId xmlns:a16="http://schemas.microsoft.com/office/drawing/2014/main" id="{3C618224-87D0-44C7-A552-67BA23A13981}"/>
                </a:ext>
              </a:extLst>
            </p:cNvPr>
            <p:cNvSpPr/>
            <p:nvPr/>
          </p:nvSpPr>
          <p:spPr>
            <a:xfrm>
              <a:off x="7618231" y="5859084"/>
              <a:ext cx="2546" cy="11788"/>
            </a:xfrm>
            <a:custGeom>
              <a:avLst/>
              <a:gdLst>
                <a:gd name="connsiteX0" fmla="*/ 0 w 2546"/>
                <a:gd name="connsiteY0" fmla="*/ 0 h 11788"/>
                <a:gd name="connsiteX1" fmla="*/ 0 w 2546"/>
                <a:gd name="connsiteY1" fmla="*/ 6296 h 11788"/>
                <a:gd name="connsiteX2" fmla="*/ 2546 w 2546"/>
                <a:gd name="connsiteY2" fmla="*/ 11788 h 11788"/>
                <a:gd name="connsiteX3" fmla="*/ 2546 w 2546"/>
                <a:gd name="connsiteY3" fmla="*/ 0 h 11788"/>
              </a:gdLst>
              <a:ahLst/>
              <a:cxnLst>
                <a:cxn ang="0">
                  <a:pos x="connsiteX0" y="connsiteY0"/>
                </a:cxn>
                <a:cxn ang="0">
                  <a:pos x="connsiteX1" y="connsiteY1"/>
                </a:cxn>
                <a:cxn ang="0">
                  <a:pos x="connsiteX2" y="connsiteY2"/>
                </a:cxn>
                <a:cxn ang="0">
                  <a:pos x="connsiteX3" y="connsiteY3"/>
                </a:cxn>
              </a:cxnLst>
              <a:rect l="l" t="t" r="r" b="b"/>
              <a:pathLst>
                <a:path w="2546" h="11788">
                  <a:moveTo>
                    <a:pt x="0" y="0"/>
                  </a:moveTo>
                  <a:lnTo>
                    <a:pt x="0" y="6296"/>
                  </a:lnTo>
                  <a:cubicBezTo>
                    <a:pt x="1635" y="7644"/>
                    <a:pt x="2573" y="9665"/>
                    <a:pt x="2546" y="11788"/>
                  </a:cubicBezTo>
                  <a:lnTo>
                    <a:pt x="2546" y="0"/>
                  </a:lnTo>
                  <a:close/>
                </a:path>
              </a:pathLst>
            </a:custGeom>
            <a:solidFill>
              <a:srgbClr val="000000"/>
            </a:solidFill>
            <a:ln w="12700" cap="flat">
              <a:noFill/>
              <a:prstDash val="solid"/>
              <a:miter/>
            </a:ln>
          </p:spPr>
          <p:txBody>
            <a:bodyPr rtlCol="0" anchor="ctr"/>
            <a:lstStyle/>
            <a:p>
              <a:endParaRPr lang="en-US"/>
            </a:p>
          </p:txBody>
        </p:sp>
        <p:sp>
          <p:nvSpPr>
            <p:cNvPr id="1077" name="Freeform: Shape 1076">
              <a:extLst>
                <a:ext uri="{FF2B5EF4-FFF2-40B4-BE49-F238E27FC236}">
                  <a16:creationId xmlns:a16="http://schemas.microsoft.com/office/drawing/2014/main" id="{30B020F6-B668-4E7F-9867-2D4BBEAEBA86}"/>
                </a:ext>
              </a:extLst>
            </p:cNvPr>
            <p:cNvSpPr/>
            <p:nvPr/>
          </p:nvSpPr>
          <p:spPr>
            <a:xfrm>
              <a:off x="7266808" y="5856673"/>
              <a:ext cx="1473" cy="7769"/>
            </a:xfrm>
            <a:custGeom>
              <a:avLst/>
              <a:gdLst>
                <a:gd name="connsiteX0" fmla="*/ 1474 w 1473"/>
                <a:gd name="connsiteY0" fmla="*/ 7100 h 7769"/>
                <a:gd name="connsiteX1" fmla="*/ 1474 w 1473"/>
                <a:gd name="connsiteY1" fmla="*/ 0 h 7769"/>
                <a:gd name="connsiteX2" fmla="*/ 0 w 1473"/>
                <a:gd name="connsiteY2" fmla="*/ 0 h 7769"/>
                <a:gd name="connsiteX3" fmla="*/ 0 w 1473"/>
                <a:gd name="connsiteY3" fmla="*/ 7770 h 7769"/>
              </a:gdLst>
              <a:ahLst/>
              <a:cxnLst>
                <a:cxn ang="0">
                  <a:pos x="connsiteX0" y="connsiteY0"/>
                </a:cxn>
                <a:cxn ang="0">
                  <a:pos x="connsiteX1" y="connsiteY1"/>
                </a:cxn>
                <a:cxn ang="0">
                  <a:pos x="connsiteX2" y="connsiteY2"/>
                </a:cxn>
                <a:cxn ang="0">
                  <a:pos x="connsiteX3" y="connsiteY3"/>
                </a:cxn>
              </a:cxnLst>
              <a:rect l="l" t="t" r="r" b="b"/>
              <a:pathLst>
                <a:path w="1473" h="7769">
                  <a:moveTo>
                    <a:pt x="1474" y="7100"/>
                  </a:moveTo>
                  <a:lnTo>
                    <a:pt x="1474" y="0"/>
                  </a:lnTo>
                  <a:cubicBezTo>
                    <a:pt x="991" y="138"/>
                    <a:pt x="482" y="138"/>
                    <a:pt x="0" y="0"/>
                  </a:cubicBezTo>
                  <a:lnTo>
                    <a:pt x="0" y="7770"/>
                  </a:lnTo>
                  <a:close/>
                </a:path>
              </a:pathLst>
            </a:custGeom>
            <a:solidFill>
              <a:srgbClr val="000000"/>
            </a:solidFill>
            <a:ln w="12700" cap="flat">
              <a:noFill/>
              <a:prstDash val="solid"/>
              <a:miter/>
            </a:ln>
          </p:spPr>
          <p:txBody>
            <a:bodyPr rtlCol="0" anchor="ctr"/>
            <a:lstStyle/>
            <a:p>
              <a:endParaRPr lang="en-US"/>
            </a:p>
          </p:txBody>
        </p:sp>
        <p:sp>
          <p:nvSpPr>
            <p:cNvPr id="1078" name="Freeform: Shape 1077">
              <a:extLst>
                <a:ext uri="{FF2B5EF4-FFF2-40B4-BE49-F238E27FC236}">
                  <a16:creationId xmlns:a16="http://schemas.microsoft.com/office/drawing/2014/main" id="{CBF7F628-7C3F-4342-B33E-526F278CD602}"/>
                </a:ext>
              </a:extLst>
            </p:cNvPr>
            <p:cNvSpPr/>
            <p:nvPr/>
          </p:nvSpPr>
          <p:spPr>
            <a:xfrm>
              <a:off x="7262521" y="5851717"/>
              <a:ext cx="1607" cy="5626"/>
            </a:xfrm>
            <a:custGeom>
              <a:avLst/>
              <a:gdLst>
                <a:gd name="connsiteX0" fmla="*/ 0 w 1607"/>
                <a:gd name="connsiteY0" fmla="*/ 0 h 5626"/>
                <a:gd name="connsiteX1" fmla="*/ 1608 w 1607"/>
                <a:gd name="connsiteY1" fmla="*/ 5626 h 5626"/>
                <a:gd name="connsiteX2" fmla="*/ 1608 w 1607"/>
                <a:gd name="connsiteY2" fmla="*/ 2813 h 5626"/>
                <a:gd name="connsiteX3" fmla="*/ 0 w 1607"/>
                <a:gd name="connsiteY3" fmla="*/ 0 h 5626"/>
              </a:gdLst>
              <a:ahLst/>
              <a:cxnLst>
                <a:cxn ang="0">
                  <a:pos x="connsiteX0" y="connsiteY0"/>
                </a:cxn>
                <a:cxn ang="0">
                  <a:pos x="connsiteX1" y="connsiteY1"/>
                </a:cxn>
                <a:cxn ang="0">
                  <a:pos x="connsiteX2" y="connsiteY2"/>
                </a:cxn>
                <a:cxn ang="0">
                  <a:pos x="connsiteX3" y="connsiteY3"/>
                </a:cxn>
              </a:cxnLst>
              <a:rect l="l" t="t" r="r" b="b"/>
              <a:pathLst>
                <a:path w="1607" h="5626">
                  <a:moveTo>
                    <a:pt x="0" y="0"/>
                  </a:moveTo>
                  <a:lnTo>
                    <a:pt x="1608" y="5626"/>
                  </a:lnTo>
                  <a:lnTo>
                    <a:pt x="1608" y="2813"/>
                  </a:lnTo>
                  <a:cubicBezTo>
                    <a:pt x="871" y="2007"/>
                    <a:pt x="321" y="1045"/>
                    <a:pt x="0" y="0"/>
                  </a:cubicBezTo>
                  <a:close/>
                </a:path>
              </a:pathLst>
            </a:custGeom>
            <a:solidFill>
              <a:srgbClr val="000000"/>
            </a:solidFill>
            <a:ln w="12700" cap="flat">
              <a:noFill/>
              <a:prstDash val="solid"/>
              <a:miter/>
            </a:ln>
          </p:spPr>
          <p:txBody>
            <a:bodyPr rtlCol="0" anchor="ctr"/>
            <a:lstStyle/>
            <a:p>
              <a:endParaRPr lang="en-US"/>
            </a:p>
          </p:txBody>
        </p:sp>
        <p:sp>
          <p:nvSpPr>
            <p:cNvPr id="1079" name="Freeform: Shape 1078">
              <a:extLst>
                <a:ext uri="{FF2B5EF4-FFF2-40B4-BE49-F238E27FC236}">
                  <a16:creationId xmlns:a16="http://schemas.microsoft.com/office/drawing/2014/main" id="{028354CF-D504-47D0-85EB-464245628F6D}"/>
                </a:ext>
              </a:extLst>
            </p:cNvPr>
            <p:cNvSpPr/>
            <p:nvPr/>
          </p:nvSpPr>
          <p:spPr>
            <a:xfrm>
              <a:off x="7275918" y="5847564"/>
              <a:ext cx="5492" cy="16074"/>
            </a:xfrm>
            <a:custGeom>
              <a:avLst/>
              <a:gdLst>
                <a:gd name="connsiteX0" fmla="*/ 0 w 5492"/>
                <a:gd name="connsiteY0" fmla="*/ 5760 h 16074"/>
                <a:gd name="connsiteX1" fmla="*/ 0 w 5492"/>
                <a:gd name="connsiteY1" fmla="*/ 16075 h 16074"/>
                <a:gd name="connsiteX2" fmla="*/ 5493 w 5492"/>
                <a:gd name="connsiteY2" fmla="*/ 16075 h 16074"/>
                <a:gd name="connsiteX3" fmla="*/ 670 w 5492"/>
                <a:gd name="connsiteY3" fmla="*/ 0 h 16074"/>
                <a:gd name="connsiteX4" fmla="*/ 0 w 5492"/>
                <a:gd name="connsiteY4" fmla="*/ 5760 h 16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2" h="16074">
                  <a:moveTo>
                    <a:pt x="0" y="5760"/>
                  </a:moveTo>
                  <a:lnTo>
                    <a:pt x="0" y="16075"/>
                  </a:lnTo>
                  <a:lnTo>
                    <a:pt x="5493" y="16075"/>
                  </a:lnTo>
                  <a:lnTo>
                    <a:pt x="670" y="0"/>
                  </a:lnTo>
                  <a:cubicBezTo>
                    <a:pt x="1259" y="1929"/>
                    <a:pt x="1018" y="4017"/>
                    <a:pt x="0" y="5760"/>
                  </a:cubicBezTo>
                  <a:close/>
                </a:path>
              </a:pathLst>
            </a:custGeom>
            <a:solidFill>
              <a:srgbClr val="000000"/>
            </a:solidFill>
            <a:ln w="12700" cap="flat">
              <a:noFill/>
              <a:prstDash val="solid"/>
              <a:miter/>
            </a:ln>
          </p:spPr>
          <p:txBody>
            <a:bodyPr rtlCol="0" anchor="ctr"/>
            <a:lstStyle/>
            <a:p>
              <a:endParaRPr lang="en-US"/>
            </a:p>
          </p:txBody>
        </p:sp>
        <p:sp>
          <p:nvSpPr>
            <p:cNvPr id="1080" name="Freeform: Shape 1079">
              <a:extLst>
                <a:ext uri="{FF2B5EF4-FFF2-40B4-BE49-F238E27FC236}">
                  <a16:creationId xmlns:a16="http://schemas.microsoft.com/office/drawing/2014/main" id="{481D14CE-3B88-4816-832D-9492AB22BBAD}"/>
                </a:ext>
              </a:extLst>
            </p:cNvPr>
            <p:cNvSpPr/>
            <p:nvPr/>
          </p:nvSpPr>
          <p:spPr>
            <a:xfrm>
              <a:off x="7270827" y="5855736"/>
              <a:ext cx="2411" cy="7769"/>
            </a:xfrm>
            <a:custGeom>
              <a:avLst/>
              <a:gdLst>
                <a:gd name="connsiteX0" fmla="*/ 2411 w 2411"/>
                <a:gd name="connsiteY0" fmla="*/ 7770 h 7769"/>
                <a:gd name="connsiteX1" fmla="*/ 2411 w 2411"/>
                <a:gd name="connsiteY1" fmla="*/ 0 h 7769"/>
                <a:gd name="connsiteX2" fmla="*/ 804 w 2411"/>
                <a:gd name="connsiteY2" fmla="*/ 804 h 7769"/>
                <a:gd name="connsiteX3" fmla="*/ 0 w 2411"/>
                <a:gd name="connsiteY3" fmla="*/ 804 h 7769"/>
                <a:gd name="connsiteX4" fmla="*/ 0 w 2411"/>
                <a:gd name="connsiteY4" fmla="*/ 7636 h 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769">
                  <a:moveTo>
                    <a:pt x="2411" y="7770"/>
                  </a:moveTo>
                  <a:lnTo>
                    <a:pt x="2411" y="0"/>
                  </a:lnTo>
                  <a:cubicBezTo>
                    <a:pt x="1929" y="372"/>
                    <a:pt x="1393" y="646"/>
                    <a:pt x="804" y="804"/>
                  </a:cubicBezTo>
                  <a:lnTo>
                    <a:pt x="0" y="804"/>
                  </a:lnTo>
                  <a:lnTo>
                    <a:pt x="0" y="7636"/>
                  </a:lnTo>
                  <a:close/>
                </a:path>
              </a:pathLst>
            </a:custGeom>
            <a:solidFill>
              <a:srgbClr val="000000"/>
            </a:solidFill>
            <a:ln w="12700" cap="flat">
              <a:noFill/>
              <a:prstDash val="solid"/>
              <a:miter/>
            </a:ln>
          </p:spPr>
          <p:txBody>
            <a:bodyPr rtlCol="0" anchor="ctr"/>
            <a:lstStyle/>
            <a:p>
              <a:endParaRPr lang="en-US"/>
            </a:p>
          </p:txBody>
        </p:sp>
        <p:sp>
          <p:nvSpPr>
            <p:cNvPr id="1081" name="Freeform: Shape 1080">
              <a:extLst>
                <a:ext uri="{FF2B5EF4-FFF2-40B4-BE49-F238E27FC236}">
                  <a16:creationId xmlns:a16="http://schemas.microsoft.com/office/drawing/2014/main" id="{F1149EAB-02F6-4A63-B663-C66CC2F2246D}"/>
                </a:ext>
              </a:extLst>
            </p:cNvPr>
            <p:cNvSpPr/>
            <p:nvPr/>
          </p:nvSpPr>
          <p:spPr>
            <a:xfrm>
              <a:off x="8470060" y="5586751"/>
              <a:ext cx="170821" cy="14735"/>
            </a:xfrm>
            <a:custGeom>
              <a:avLst/>
              <a:gdLst>
                <a:gd name="connsiteX0" fmla="*/ 1608 w 170821"/>
                <a:gd name="connsiteY0" fmla="*/ 804 h 14735"/>
                <a:gd name="connsiteX1" fmla="*/ 2813 w 170821"/>
                <a:gd name="connsiteY1" fmla="*/ 804 h 14735"/>
                <a:gd name="connsiteX2" fmla="*/ 3885 w 170821"/>
                <a:gd name="connsiteY2" fmla="*/ 1608 h 14735"/>
                <a:gd name="connsiteX3" fmla="*/ 5091 w 170821"/>
                <a:gd name="connsiteY3" fmla="*/ 2545 h 14735"/>
                <a:gd name="connsiteX4" fmla="*/ 5091 w 170821"/>
                <a:gd name="connsiteY4" fmla="*/ 2545 h 14735"/>
                <a:gd name="connsiteX5" fmla="*/ 5091 w 170821"/>
                <a:gd name="connsiteY5" fmla="*/ 3483 h 14735"/>
                <a:gd name="connsiteX6" fmla="*/ 5895 w 170821"/>
                <a:gd name="connsiteY6" fmla="*/ 4822 h 14735"/>
                <a:gd name="connsiteX7" fmla="*/ 5895 w 170821"/>
                <a:gd name="connsiteY7" fmla="*/ 6296 h 14735"/>
                <a:gd name="connsiteX8" fmla="*/ 5895 w 170821"/>
                <a:gd name="connsiteY8" fmla="*/ 7368 h 14735"/>
                <a:gd name="connsiteX9" fmla="*/ 5895 w 170821"/>
                <a:gd name="connsiteY9" fmla="*/ 14735 h 14735"/>
                <a:gd name="connsiteX10" fmla="*/ 158629 w 170821"/>
                <a:gd name="connsiteY10" fmla="*/ 14735 h 14735"/>
                <a:gd name="connsiteX11" fmla="*/ 163453 w 170821"/>
                <a:gd name="connsiteY11" fmla="*/ 11118 h 14735"/>
                <a:gd name="connsiteX12" fmla="*/ 163453 w 170821"/>
                <a:gd name="connsiteY12" fmla="*/ 7368 h 14735"/>
                <a:gd name="connsiteX13" fmla="*/ 170821 w 170821"/>
                <a:gd name="connsiteY13" fmla="*/ 0 h 14735"/>
                <a:gd name="connsiteX14" fmla="*/ 0 w 170821"/>
                <a:gd name="connsiteY14"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0821" h="14735">
                  <a:moveTo>
                    <a:pt x="1608" y="804"/>
                  </a:moveTo>
                  <a:lnTo>
                    <a:pt x="2813" y="804"/>
                  </a:lnTo>
                  <a:lnTo>
                    <a:pt x="3885" y="1608"/>
                  </a:lnTo>
                  <a:lnTo>
                    <a:pt x="5091" y="2545"/>
                  </a:lnTo>
                  <a:lnTo>
                    <a:pt x="5091" y="2545"/>
                  </a:lnTo>
                  <a:lnTo>
                    <a:pt x="5091" y="3483"/>
                  </a:lnTo>
                  <a:cubicBezTo>
                    <a:pt x="5440" y="3878"/>
                    <a:pt x="5707" y="4332"/>
                    <a:pt x="5895" y="4822"/>
                  </a:cubicBezTo>
                  <a:cubicBezTo>
                    <a:pt x="5962" y="5311"/>
                    <a:pt x="5962" y="5807"/>
                    <a:pt x="5895" y="6296"/>
                  </a:cubicBezTo>
                  <a:cubicBezTo>
                    <a:pt x="5948" y="6651"/>
                    <a:pt x="5948" y="7013"/>
                    <a:pt x="5895" y="7368"/>
                  </a:cubicBezTo>
                  <a:lnTo>
                    <a:pt x="5895" y="14735"/>
                  </a:lnTo>
                  <a:lnTo>
                    <a:pt x="158629" y="14735"/>
                  </a:lnTo>
                  <a:lnTo>
                    <a:pt x="163453" y="11118"/>
                  </a:lnTo>
                  <a:lnTo>
                    <a:pt x="163453" y="7368"/>
                  </a:lnTo>
                  <a:cubicBezTo>
                    <a:pt x="163453" y="3298"/>
                    <a:pt x="166748" y="0"/>
                    <a:pt x="170821" y="0"/>
                  </a:cubicBezTo>
                  <a:lnTo>
                    <a:pt x="0" y="0"/>
                  </a:lnTo>
                  <a:close/>
                </a:path>
              </a:pathLst>
            </a:custGeom>
            <a:solidFill>
              <a:srgbClr val="000000"/>
            </a:solidFill>
            <a:ln w="12700" cap="flat">
              <a:noFill/>
              <a:prstDash val="solid"/>
              <a:miter/>
            </a:ln>
          </p:spPr>
          <p:txBody>
            <a:bodyPr rtlCol="0" anchor="ctr"/>
            <a:lstStyle/>
            <a:p>
              <a:endParaRPr lang="en-US"/>
            </a:p>
          </p:txBody>
        </p:sp>
        <p:sp>
          <p:nvSpPr>
            <p:cNvPr id="1082" name="Freeform: Shape 1081">
              <a:extLst>
                <a:ext uri="{FF2B5EF4-FFF2-40B4-BE49-F238E27FC236}">
                  <a16:creationId xmlns:a16="http://schemas.microsoft.com/office/drawing/2014/main" id="{6422CB10-5A2C-419C-8E02-FD37208072E0}"/>
                </a:ext>
              </a:extLst>
            </p:cNvPr>
            <p:cNvSpPr/>
            <p:nvPr/>
          </p:nvSpPr>
          <p:spPr>
            <a:xfrm>
              <a:off x="8634317" y="5601620"/>
              <a:ext cx="401" cy="267"/>
            </a:xfrm>
            <a:custGeom>
              <a:avLst/>
              <a:gdLst>
                <a:gd name="connsiteX0" fmla="*/ 402 w 401"/>
                <a:gd name="connsiteY0" fmla="*/ 268 h 267"/>
                <a:gd name="connsiteX1" fmla="*/ 402 w 401"/>
                <a:gd name="connsiteY1" fmla="*/ 0 h 267"/>
                <a:gd name="connsiteX2" fmla="*/ 0 w 401"/>
                <a:gd name="connsiteY2" fmla="*/ 268 h 267"/>
                <a:gd name="connsiteX3" fmla="*/ 402 w 401"/>
                <a:gd name="connsiteY3" fmla="*/ 268 h 267"/>
              </a:gdLst>
              <a:ahLst/>
              <a:cxnLst>
                <a:cxn ang="0">
                  <a:pos x="connsiteX0" y="connsiteY0"/>
                </a:cxn>
                <a:cxn ang="0">
                  <a:pos x="connsiteX1" y="connsiteY1"/>
                </a:cxn>
                <a:cxn ang="0">
                  <a:pos x="connsiteX2" y="connsiteY2"/>
                </a:cxn>
                <a:cxn ang="0">
                  <a:pos x="connsiteX3" y="connsiteY3"/>
                </a:cxn>
              </a:cxnLst>
              <a:rect l="l" t="t" r="r" b="b"/>
              <a:pathLst>
                <a:path w="401" h="267">
                  <a:moveTo>
                    <a:pt x="402" y="268"/>
                  </a:moveTo>
                  <a:lnTo>
                    <a:pt x="402" y="0"/>
                  </a:lnTo>
                  <a:lnTo>
                    <a:pt x="0" y="268"/>
                  </a:lnTo>
                  <a:lnTo>
                    <a:pt x="402" y="268"/>
                  </a:lnTo>
                  <a:close/>
                </a:path>
              </a:pathLst>
            </a:custGeom>
            <a:solidFill>
              <a:srgbClr val="000000"/>
            </a:solidFill>
            <a:ln w="12700" cap="flat">
              <a:noFill/>
              <a:prstDash val="solid"/>
              <a:miter/>
            </a:ln>
          </p:spPr>
          <p:txBody>
            <a:bodyPr rtlCol="0" anchor="ctr"/>
            <a:lstStyle/>
            <a:p>
              <a:endParaRPr lang="en-US"/>
            </a:p>
          </p:txBody>
        </p:sp>
        <p:sp>
          <p:nvSpPr>
            <p:cNvPr id="1083" name="Freeform: Shape 1082">
              <a:extLst>
                <a:ext uri="{FF2B5EF4-FFF2-40B4-BE49-F238E27FC236}">
                  <a16:creationId xmlns:a16="http://schemas.microsoft.com/office/drawing/2014/main" id="{05297052-73B9-41F6-9CC4-4A0A434278B9}"/>
                </a:ext>
              </a:extLst>
            </p:cNvPr>
            <p:cNvSpPr/>
            <p:nvPr/>
          </p:nvSpPr>
          <p:spPr>
            <a:xfrm>
              <a:off x="8600823" y="5598271"/>
              <a:ext cx="33895" cy="25049"/>
            </a:xfrm>
            <a:custGeom>
              <a:avLst/>
              <a:gdLst>
                <a:gd name="connsiteX0" fmla="*/ 4421 w 33895"/>
                <a:gd name="connsiteY0" fmla="*/ 25050 h 25049"/>
                <a:gd name="connsiteX1" fmla="*/ 33494 w 33895"/>
                <a:gd name="connsiteY1" fmla="*/ 3617 h 25049"/>
                <a:gd name="connsiteX2" fmla="*/ 33896 w 33895"/>
                <a:gd name="connsiteY2" fmla="*/ 3349 h 25049"/>
                <a:gd name="connsiteX3" fmla="*/ 33896 w 33895"/>
                <a:gd name="connsiteY3" fmla="*/ 0 h 25049"/>
                <a:gd name="connsiteX4" fmla="*/ 29073 w 33895"/>
                <a:gd name="connsiteY4" fmla="*/ 3617 h 25049"/>
                <a:gd name="connsiteX5" fmla="*/ 0 w 33895"/>
                <a:gd name="connsiteY5" fmla="*/ 25050 h 25049"/>
                <a:gd name="connsiteX6" fmla="*/ 4421 w 33895"/>
                <a:gd name="connsiteY6" fmla="*/ 25050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5" h="25049">
                  <a:moveTo>
                    <a:pt x="4421" y="25050"/>
                  </a:moveTo>
                  <a:lnTo>
                    <a:pt x="33494" y="3617"/>
                  </a:lnTo>
                  <a:lnTo>
                    <a:pt x="33896" y="3349"/>
                  </a:lnTo>
                  <a:lnTo>
                    <a:pt x="33896" y="0"/>
                  </a:lnTo>
                  <a:lnTo>
                    <a:pt x="29073" y="3617"/>
                  </a:lnTo>
                  <a:lnTo>
                    <a:pt x="0" y="25050"/>
                  </a:lnTo>
                  <a:lnTo>
                    <a:pt x="4421" y="25050"/>
                  </a:lnTo>
                  <a:close/>
                </a:path>
              </a:pathLst>
            </a:custGeom>
            <a:solidFill>
              <a:srgbClr val="000000"/>
            </a:solidFill>
            <a:ln w="12700" cap="flat">
              <a:noFill/>
              <a:prstDash val="solid"/>
              <a:miter/>
            </a:ln>
          </p:spPr>
          <p:txBody>
            <a:bodyPr rtlCol="0" anchor="ctr"/>
            <a:lstStyle/>
            <a:p>
              <a:endParaRPr lang="en-US"/>
            </a:p>
          </p:txBody>
        </p:sp>
        <p:sp>
          <p:nvSpPr>
            <p:cNvPr id="1084" name="Freeform: Shape 1083">
              <a:extLst>
                <a:ext uri="{FF2B5EF4-FFF2-40B4-BE49-F238E27FC236}">
                  <a16:creationId xmlns:a16="http://schemas.microsoft.com/office/drawing/2014/main" id="{09DA7348-E52B-4866-8858-9ADC77CBE7ED}"/>
                </a:ext>
              </a:extLst>
            </p:cNvPr>
            <p:cNvSpPr/>
            <p:nvPr/>
          </p:nvSpPr>
          <p:spPr>
            <a:xfrm>
              <a:off x="8634719" y="5587152"/>
              <a:ext cx="14738" cy="36302"/>
            </a:xfrm>
            <a:custGeom>
              <a:avLst/>
              <a:gdLst>
                <a:gd name="connsiteX0" fmla="*/ 0 w 14738"/>
                <a:gd name="connsiteY0" fmla="*/ 7368 h 36302"/>
                <a:gd name="connsiteX1" fmla="*/ 0 w 14738"/>
                <a:gd name="connsiteY1" fmla="*/ 36302 h 36302"/>
                <a:gd name="connsiteX2" fmla="*/ 14738 w 14738"/>
                <a:gd name="connsiteY2" fmla="*/ 36302 h 36302"/>
                <a:gd name="connsiteX3" fmla="*/ 14738 w 14738"/>
                <a:gd name="connsiteY3" fmla="*/ 7368 h 36302"/>
                <a:gd name="connsiteX4" fmla="*/ 7369 w 14738"/>
                <a:gd name="connsiteY4" fmla="*/ 0 h 36302"/>
                <a:gd name="connsiteX5" fmla="*/ 0 w 14738"/>
                <a:gd name="connsiteY5" fmla="*/ 7368 h 3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6302">
                  <a:moveTo>
                    <a:pt x="0" y="7368"/>
                  </a:moveTo>
                  <a:lnTo>
                    <a:pt x="0" y="36302"/>
                  </a:lnTo>
                  <a:lnTo>
                    <a:pt x="14738" y="36302"/>
                  </a:ln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085" name="Freeform: Shape 1084">
              <a:extLst>
                <a:ext uri="{FF2B5EF4-FFF2-40B4-BE49-F238E27FC236}">
                  <a16:creationId xmlns:a16="http://schemas.microsoft.com/office/drawing/2014/main" id="{EEE4C04F-2326-4B3F-AF2C-14E5B6A62A67}"/>
                </a:ext>
              </a:extLst>
            </p:cNvPr>
            <p:cNvSpPr/>
            <p:nvPr/>
          </p:nvSpPr>
          <p:spPr>
            <a:xfrm>
              <a:off x="4739321" y="6592229"/>
              <a:ext cx="2679" cy="261483"/>
            </a:xfrm>
            <a:custGeom>
              <a:avLst/>
              <a:gdLst>
                <a:gd name="connsiteX0" fmla="*/ 1608 w 2679"/>
                <a:gd name="connsiteY0" fmla="*/ 134 h 261483"/>
                <a:gd name="connsiteX1" fmla="*/ 0 w 2679"/>
                <a:gd name="connsiteY1" fmla="*/ 134 h 261483"/>
                <a:gd name="connsiteX2" fmla="*/ 0 w 2679"/>
                <a:gd name="connsiteY2" fmla="*/ 261483 h 261483"/>
                <a:gd name="connsiteX3" fmla="*/ 2680 w 2679"/>
                <a:gd name="connsiteY3" fmla="*/ 261483 h 261483"/>
                <a:gd name="connsiteX4" fmla="*/ 2680 w 2679"/>
                <a:gd name="connsiteY4" fmla="*/ 0 h 26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61483">
                  <a:moveTo>
                    <a:pt x="1608" y="134"/>
                  </a:moveTo>
                  <a:lnTo>
                    <a:pt x="0" y="134"/>
                  </a:lnTo>
                  <a:lnTo>
                    <a:pt x="0" y="261483"/>
                  </a:lnTo>
                  <a:lnTo>
                    <a:pt x="2680" y="261483"/>
                  </a:lnTo>
                  <a:lnTo>
                    <a:pt x="2680" y="0"/>
                  </a:lnTo>
                  <a:close/>
                </a:path>
              </a:pathLst>
            </a:custGeom>
            <a:solidFill>
              <a:srgbClr val="000000"/>
            </a:solidFill>
            <a:ln w="12700" cap="flat">
              <a:noFill/>
              <a:prstDash val="solid"/>
              <a:miter/>
            </a:ln>
          </p:spPr>
          <p:txBody>
            <a:bodyPr rtlCol="0" anchor="ctr"/>
            <a:lstStyle/>
            <a:p>
              <a:endParaRPr lang="en-US"/>
            </a:p>
          </p:txBody>
        </p:sp>
        <p:sp>
          <p:nvSpPr>
            <p:cNvPr id="1086" name="Freeform: Shape 1085">
              <a:extLst>
                <a:ext uri="{FF2B5EF4-FFF2-40B4-BE49-F238E27FC236}">
                  <a16:creationId xmlns:a16="http://schemas.microsoft.com/office/drawing/2014/main" id="{F84BC535-D472-4B47-A54E-BCD6382B2DEF}"/>
                </a:ext>
              </a:extLst>
            </p:cNvPr>
            <p:cNvSpPr/>
            <p:nvPr/>
          </p:nvSpPr>
          <p:spPr>
            <a:xfrm>
              <a:off x="4740795" y="6575083"/>
              <a:ext cx="72481" cy="17548"/>
            </a:xfrm>
            <a:custGeom>
              <a:avLst/>
              <a:gdLst>
                <a:gd name="connsiteX0" fmla="*/ 70070 w 72481"/>
                <a:gd name="connsiteY0" fmla="*/ 12994 h 17548"/>
                <a:gd name="connsiteX1" fmla="*/ 68596 w 72481"/>
                <a:gd name="connsiteY1" fmla="*/ 12056 h 17548"/>
                <a:gd name="connsiteX2" fmla="*/ 67927 w 72481"/>
                <a:gd name="connsiteY2" fmla="*/ 11118 h 17548"/>
                <a:gd name="connsiteX3" fmla="*/ 66989 w 72481"/>
                <a:gd name="connsiteY3" fmla="*/ 9779 h 17548"/>
                <a:gd name="connsiteX4" fmla="*/ 66989 w 72481"/>
                <a:gd name="connsiteY4" fmla="*/ 8573 h 17548"/>
                <a:gd name="connsiteX5" fmla="*/ 66989 w 72481"/>
                <a:gd name="connsiteY5" fmla="*/ 7100 h 17548"/>
                <a:gd name="connsiteX6" fmla="*/ 66989 w 72481"/>
                <a:gd name="connsiteY6" fmla="*/ 7100 h 17548"/>
                <a:gd name="connsiteX7" fmla="*/ 66989 w 72481"/>
                <a:gd name="connsiteY7" fmla="*/ 0 h 17548"/>
                <a:gd name="connsiteX8" fmla="*/ 0 w 72481"/>
                <a:gd name="connsiteY8" fmla="*/ 2813 h 17548"/>
                <a:gd name="connsiteX9" fmla="*/ 0 w 72481"/>
                <a:gd name="connsiteY9" fmla="*/ 2813 h 17548"/>
                <a:gd name="connsiteX10" fmla="*/ 7369 w 72481"/>
                <a:gd name="connsiteY10" fmla="*/ 10181 h 17548"/>
                <a:gd name="connsiteX11" fmla="*/ 0 w 72481"/>
                <a:gd name="connsiteY11" fmla="*/ 17548 h 17548"/>
                <a:gd name="connsiteX12" fmla="*/ 1340 w 72481"/>
                <a:gd name="connsiteY12" fmla="*/ 17548 h 17548"/>
                <a:gd name="connsiteX13" fmla="*/ 72482 w 72481"/>
                <a:gd name="connsiteY13" fmla="*/ 14601 h 17548"/>
                <a:gd name="connsiteX14" fmla="*/ 72482 w 72481"/>
                <a:gd name="connsiteY14" fmla="*/ 14601 h 17548"/>
                <a:gd name="connsiteX15" fmla="*/ 71008 w 72481"/>
                <a:gd name="connsiteY15" fmla="*/ 14601 h 1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481" h="17548">
                  <a:moveTo>
                    <a:pt x="70070" y="12994"/>
                  </a:moveTo>
                  <a:cubicBezTo>
                    <a:pt x="69534" y="12766"/>
                    <a:pt x="69038" y="12445"/>
                    <a:pt x="68596" y="12056"/>
                  </a:cubicBezTo>
                  <a:lnTo>
                    <a:pt x="67927" y="11118"/>
                  </a:lnTo>
                  <a:cubicBezTo>
                    <a:pt x="67538" y="10730"/>
                    <a:pt x="67217" y="10274"/>
                    <a:pt x="66989" y="9779"/>
                  </a:cubicBezTo>
                  <a:cubicBezTo>
                    <a:pt x="66989" y="9779"/>
                    <a:pt x="66989" y="8975"/>
                    <a:pt x="66989" y="8573"/>
                  </a:cubicBezTo>
                  <a:cubicBezTo>
                    <a:pt x="66935" y="8078"/>
                    <a:pt x="66935" y="7595"/>
                    <a:pt x="66989" y="7100"/>
                  </a:cubicBezTo>
                  <a:lnTo>
                    <a:pt x="66989" y="7100"/>
                  </a:lnTo>
                  <a:lnTo>
                    <a:pt x="66989" y="0"/>
                  </a:lnTo>
                  <a:lnTo>
                    <a:pt x="0" y="2813"/>
                  </a:lnTo>
                  <a:lnTo>
                    <a:pt x="0" y="2813"/>
                  </a:lnTo>
                  <a:cubicBezTo>
                    <a:pt x="4073" y="2813"/>
                    <a:pt x="7369" y="6108"/>
                    <a:pt x="7369" y="10181"/>
                  </a:cubicBezTo>
                  <a:cubicBezTo>
                    <a:pt x="7369" y="14253"/>
                    <a:pt x="4073" y="17548"/>
                    <a:pt x="0" y="17548"/>
                  </a:cubicBezTo>
                  <a:lnTo>
                    <a:pt x="1340" y="17548"/>
                  </a:lnTo>
                  <a:lnTo>
                    <a:pt x="72482" y="14601"/>
                  </a:lnTo>
                  <a:lnTo>
                    <a:pt x="72482" y="14601"/>
                  </a:lnTo>
                  <a:lnTo>
                    <a:pt x="71008" y="14601"/>
                  </a:lnTo>
                  <a:close/>
                </a:path>
              </a:pathLst>
            </a:custGeom>
            <a:solidFill>
              <a:srgbClr val="000000"/>
            </a:solidFill>
            <a:ln w="12700" cap="flat">
              <a:noFill/>
              <a:prstDash val="solid"/>
              <a:miter/>
            </a:ln>
          </p:spPr>
          <p:txBody>
            <a:bodyPr rtlCol="0" anchor="ctr"/>
            <a:lstStyle/>
            <a:p>
              <a:endParaRPr lang="en-US"/>
            </a:p>
          </p:txBody>
        </p:sp>
        <p:sp>
          <p:nvSpPr>
            <p:cNvPr id="1087" name="Freeform: Shape 1086">
              <a:extLst>
                <a:ext uri="{FF2B5EF4-FFF2-40B4-BE49-F238E27FC236}">
                  <a16:creationId xmlns:a16="http://schemas.microsoft.com/office/drawing/2014/main" id="{03980D93-02D6-4BA5-B943-3EBDC1A8222E}"/>
                </a:ext>
              </a:extLst>
            </p:cNvPr>
            <p:cNvSpPr/>
            <p:nvPr/>
          </p:nvSpPr>
          <p:spPr>
            <a:xfrm>
              <a:off x="6714955" y="6580575"/>
              <a:ext cx="95659" cy="2545"/>
            </a:xfrm>
            <a:custGeom>
              <a:avLst/>
              <a:gdLst>
                <a:gd name="connsiteX0" fmla="*/ 0 w 95659"/>
                <a:gd name="connsiteY0" fmla="*/ 0 h 2545"/>
                <a:gd name="connsiteX1" fmla="*/ 0 w 95659"/>
                <a:gd name="connsiteY1" fmla="*/ 0 h 2545"/>
                <a:gd name="connsiteX2" fmla="*/ 0 w 95659"/>
                <a:gd name="connsiteY2" fmla="*/ 1340 h 2545"/>
                <a:gd name="connsiteX3" fmla="*/ 0 w 95659"/>
                <a:gd name="connsiteY3" fmla="*/ 2545 h 2545"/>
                <a:gd name="connsiteX4" fmla="*/ 95660 w 95659"/>
                <a:gd name="connsiteY4" fmla="*/ 2545 h 2545"/>
                <a:gd name="connsiteX5" fmla="*/ 95660 w 95659"/>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659" h="2545">
                  <a:moveTo>
                    <a:pt x="0" y="0"/>
                  </a:moveTo>
                  <a:lnTo>
                    <a:pt x="0" y="0"/>
                  </a:lnTo>
                  <a:lnTo>
                    <a:pt x="0" y="1340"/>
                  </a:lnTo>
                  <a:cubicBezTo>
                    <a:pt x="67" y="1742"/>
                    <a:pt x="67" y="2143"/>
                    <a:pt x="0" y="2545"/>
                  </a:cubicBezTo>
                  <a:lnTo>
                    <a:pt x="95660" y="2545"/>
                  </a:lnTo>
                  <a:lnTo>
                    <a:pt x="95660" y="0"/>
                  </a:lnTo>
                  <a:close/>
                </a:path>
              </a:pathLst>
            </a:custGeom>
            <a:solidFill>
              <a:srgbClr val="000000"/>
            </a:solidFill>
            <a:ln w="12700" cap="flat">
              <a:noFill/>
              <a:prstDash val="solid"/>
              <a:miter/>
            </a:ln>
          </p:spPr>
          <p:txBody>
            <a:bodyPr rtlCol="0" anchor="ctr"/>
            <a:lstStyle/>
            <a:p>
              <a:endParaRPr lang="en-US"/>
            </a:p>
          </p:txBody>
        </p:sp>
        <p:sp>
          <p:nvSpPr>
            <p:cNvPr id="1088" name="Freeform: Shape 1087">
              <a:extLst>
                <a:ext uri="{FF2B5EF4-FFF2-40B4-BE49-F238E27FC236}">
                  <a16:creationId xmlns:a16="http://schemas.microsoft.com/office/drawing/2014/main" id="{7D8AEDBB-711B-4783-BF25-4DB526AF94C1}"/>
                </a:ext>
              </a:extLst>
            </p:cNvPr>
            <p:cNvSpPr/>
            <p:nvPr/>
          </p:nvSpPr>
          <p:spPr>
            <a:xfrm>
              <a:off x="8475152" y="5589564"/>
              <a:ext cx="50" cy="1071"/>
            </a:xfrm>
            <a:custGeom>
              <a:avLst/>
              <a:gdLst>
                <a:gd name="connsiteX0" fmla="*/ 0 w 50"/>
                <a:gd name="connsiteY0" fmla="*/ 0 h 1071"/>
                <a:gd name="connsiteX1" fmla="*/ 0 w 50"/>
                <a:gd name="connsiteY1" fmla="*/ 1072 h 1071"/>
                <a:gd name="connsiteX2" fmla="*/ 0 w 50"/>
                <a:gd name="connsiteY2" fmla="*/ 134 h 1071"/>
              </a:gdLst>
              <a:ahLst/>
              <a:cxnLst>
                <a:cxn ang="0">
                  <a:pos x="connsiteX0" y="connsiteY0"/>
                </a:cxn>
                <a:cxn ang="0">
                  <a:pos x="connsiteX1" y="connsiteY1"/>
                </a:cxn>
                <a:cxn ang="0">
                  <a:pos x="connsiteX2" y="connsiteY2"/>
                </a:cxn>
              </a:cxnLst>
              <a:rect l="l" t="t" r="r" b="b"/>
              <a:pathLst>
                <a:path w="50" h="1071">
                  <a:moveTo>
                    <a:pt x="0" y="0"/>
                  </a:moveTo>
                  <a:cubicBezTo>
                    <a:pt x="67" y="354"/>
                    <a:pt x="67" y="718"/>
                    <a:pt x="0" y="1072"/>
                  </a:cubicBezTo>
                  <a:lnTo>
                    <a:pt x="0" y="134"/>
                  </a:lnTo>
                  <a:close/>
                </a:path>
              </a:pathLst>
            </a:custGeom>
            <a:solidFill>
              <a:srgbClr val="000000"/>
            </a:solidFill>
            <a:ln w="12700" cap="flat">
              <a:noFill/>
              <a:prstDash val="solid"/>
              <a:miter/>
            </a:ln>
          </p:spPr>
          <p:txBody>
            <a:bodyPr rtlCol="0" anchor="ctr"/>
            <a:lstStyle/>
            <a:p>
              <a:endParaRPr lang="en-US"/>
            </a:p>
          </p:txBody>
        </p:sp>
        <p:sp>
          <p:nvSpPr>
            <p:cNvPr id="1089" name="Freeform: Shape 1088">
              <a:extLst>
                <a:ext uri="{FF2B5EF4-FFF2-40B4-BE49-F238E27FC236}">
                  <a16:creationId xmlns:a16="http://schemas.microsoft.com/office/drawing/2014/main" id="{6D9C6469-D69B-41FD-BDDE-ACBB3F5A39B8}"/>
                </a:ext>
              </a:extLst>
            </p:cNvPr>
            <p:cNvSpPr/>
            <p:nvPr/>
          </p:nvSpPr>
          <p:spPr>
            <a:xfrm>
              <a:off x="8424776" y="5587956"/>
              <a:ext cx="41131" cy="35498"/>
            </a:xfrm>
            <a:custGeom>
              <a:avLst/>
              <a:gdLst>
                <a:gd name="connsiteX0" fmla="*/ 22776 w 41131"/>
                <a:gd name="connsiteY0" fmla="*/ 35498 h 35498"/>
                <a:gd name="connsiteX1" fmla="*/ 37648 w 41131"/>
                <a:gd name="connsiteY1" fmla="*/ 22103 h 35498"/>
                <a:gd name="connsiteX2" fmla="*/ 37648 w 41131"/>
                <a:gd name="connsiteY2" fmla="*/ 6028 h 35498"/>
                <a:gd name="connsiteX3" fmla="*/ 41131 w 41131"/>
                <a:gd name="connsiteY3" fmla="*/ 0 h 35498"/>
                <a:gd name="connsiteX4" fmla="*/ 40193 w 41131"/>
                <a:gd name="connsiteY4" fmla="*/ 0 h 35498"/>
                <a:gd name="connsiteX5" fmla="*/ 0 w 41131"/>
                <a:gd name="connsiteY5" fmla="*/ 34561 h 35498"/>
                <a:gd name="connsiteX6" fmla="*/ 22508 w 41131"/>
                <a:gd name="connsiteY6" fmla="*/ 34561 h 3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31" h="35498">
                  <a:moveTo>
                    <a:pt x="22776" y="35498"/>
                  </a:moveTo>
                  <a:lnTo>
                    <a:pt x="37648" y="22103"/>
                  </a:lnTo>
                  <a:lnTo>
                    <a:pt x="37648" y="6028"/>
                  </a:lnTo>
                  <a:cubicBezTo>
                    <a:pt x="37675" y="3549"/>
                    <a:pt x="39001" y="1263"/>
                    <a:pt x="41131" y="0"/>
                  </a:cubicBezTo>
                  <a:lnTo>
                    <a:pt x="40193" y="0"/>
                  </a:lnTo>
                  <a:lnTo>
                    <a:pt x="0" y="34561"/>
                  </a:lnTo>
                  <a:lnTo>
                    <a:pt x="22508" y="34561"/>
                  </a:lnTo>
                  <a:close/>
                </a:path>
              </a:pathLst>
            </a:custGeom>
            <a:solidFill>
              <a:srgbClr val="000000"/>
            </a:solidFill>
            <a:ln w="12700" cap="flat">
              <a:noFill/>
              <a:prstDash val="solid"/>
              <a:miter/>
            </a:ln>
          </p:spPr>
          <p:txBody>
            <a:bodyPr rtlCol="0" anchor="ctr"/>
            <a:lstStyle/>
            <a:p>
              <a:endParaRPr lang="en-US"/>
            </a:p>
          </p:txBody>
        </p:sp>
        <p:sp>
          <p:nvSpPr>
            <p:cNvPr id="1090" name="Freeform: Shape 1089">
              <a:extLst>
                <a:ext uri="{FF2B5EF4-FFF2-40B4-BE49-F238E27FC236}">
                  <a16:creationId xmlns:a16="http://schemas.microsoft.com/office/drawing/2014/main" id="{DFFB261E-BB66-4A81-80D5-107F3335D1F6}"/>
                </a:ext>
              </a:extLst>
            </p:cNvPr>
            <p:cNvSpPr/>
            <p:nvPr/>
          </p:nvSpPr>
          <p:spPr>
            <a:xfrm>
              <a:off x="7823351" y="5877303"/>
              <a:ext cx="2144" cy="13395"/>
            </a:xfrm>
            <a:custGeom>
              <a:avLst/>
              <a:gdLst>
                <a:gd name="connsiteX0" fmla="*/ 0 w 2144"/>
                <a:gd name="connsiteY0" fmla="*/ 0 h 13395"/>
                <a:gd name="connsiteX1" fmla="*/ 2144 w 2144"/>
                <a:gd name="connsiteY1" fmla="*/ 0 h 13395"/>
                <a:gd name="connsiteX2" fmla="*/ 2144 w 2144"/>
                <a:gd name="connsiteY2" fmla="*/ 0 h 13395"/>
              </a:gdLst>
              <a:ahLst/>
              <a:cxnLst>
                <a:cxn ang="0">
                  <a:pos x="connsiteX0" y="connsiteY0"/>
                </a:cxn>
                <a:cxn ang="0">
                  <a:pos x="connsiteX1" y="connsiteY1"/>
                </a:cxn>
                <a:cxn ang="0">
                  <a:pos x="connsiteX2" y="connsiteY2"/>
                </a:cxn>
              </a:cxnLst>
              <a:rect l="l" t="t" r="r" b="b"/>
              <a:pathLst>
                <a:path w="2144" h="13395">
                  <a:moveTo>
                    <a:pt x="0" y="0"/>
                  </a:moveTo>
                  <a:lnTo>
                    <a:pt x="2144" y="0"/>
                  </a:lnTo>
                  <a:lnTo>
                    <a:pt x="2144" y="0"/>
                  </a:lnTo>
                  <a:close/>
                </a:path>
              </a:pathLst>
            </a:custGeom>
            <a:solidFill>
              <a:srgbClr val="000000"/>
            </a:solidFill>
            <a:ln w="12700" cap="flat">
              <a:noFill/>
              <a:prstDash val="solid"/>
              <a:miter/>
            </a:ln>
          </p:spPr>
          <p:txBody>
            <a:bodyPr rtlCol="0" anchor="ctr"/>
            <a:lstStyle/>
            <a:p>
              <a:endParaRPr lang="en-US"/>
            </a:p>
          </p:txBody>
        </p:sp>
        <p:sp>
          <p:nvSpPr>
            <p:cNvPr id="1091" name="Freeform: Shape 1090">
              <a:extLst>
                <a:ext uri="{FF2B5EF4-FFF2-40B4-BE49-F238E27FC236}">
                  <a16:creationId xmlns:a16="http://schemas.microsoft.com/office/drawing/2014/main" id="{75ED0FF7-AE64-4A32-8823-B63426F56758}"/>
                </a:ext>
              </a:extLst>
            </p:cNvPr>
            <p:cNvSpPr/>
            <p:nvPr/>
          </p:nvSpPr>
          <p:spPr>
            <a:xfrm>
              <a:off x="7828040" y="5877437"/>
              <a:ext cx="2009" cy="13395"/>
            </a:xfrm>
            <a:custGeom>
              <a:avLst/>
              <a:gdLst>
                <a:gd name="connsiteX0" fmla="*/ 2009 w 2009"/>
                <a:gd name="connsiteY0" fmla="*/ 0 h 13395"/>
                <a:gd name="connsiteX1" fmla="*/ 0 w 2009"/>
                <a:gd name="connsiteY1" fmla="*/ 0 h 13395"/>
                <a:gd name="connsiteX2" fmla="*/ 0 w 2009"/>
                <a:gd name="connsiteY2" fmla="*/ 0 h 13395"/>
              </a:gdLst>
              <a:ahLst/>
              <a:cxnLst>
                <a:cxn ang="0">
                  <a:pos x="connsiteX0" y="connsiteY0"/>
                </a:cxn>
                <a:cxn ang="0">
                  <a:pos x="connsiteX1" y="connsiteY1"/>
                </a:cxn>
                <a:cxn ang="0">
                  <a:pos x="connsiteX2" y="connsiteY2"/>
                </a:cxn>
              </a:cxnLst>
              <a:rect l="l" t="t" r="r" b="b"/>
              <a:pathLst>
                <a:path w="2009" h="13395">
                  <a:moveTo>
                    <a:pt x="2009" y="0"/>
                  </a:moveTo>
                  <a:lnTo>
                    <a:pt x="0" y="0"/>
                  </a:lnTo>
                  <a:lnTo>
                    <a:pt x="0" y="0"/>
                  </a:lnTo>
                  <a:close/>
                </a:path>
              </a:pathLst>
            </a:custGeom>
            <a:solidFill>
              <a:srgbClr val="000000"/>
            </a:solidFill>
            <a:ln w="12700" cap="flat">
              <a:noFill/>
              <a:prstDash val="solid"/>
              <a:miter/>
            </a:ln>
          </p:spPr>
          <p:txBody>
            <a:bodyPr rtlCol="0" anchor="ctr"/>
            <a:lstStyle/>
            <a:p>
              <a:endParaRPr lang="en-US"/>
            </a:p>
          </p:txBody>
        </p:sp>
        <p:sp>
          <p:nvSpPr>
            <p:cNvPr id="1092" name="Freeform: Shape 1091">
              <a:extLst>
                <a:ext uri="{FF2B5EF4-FFF2-40B4-BE49-F238E27FC236}">
                  <a16:creationId xmlns:a16="http://schemas.microsoft.com/office/drawing/2014/main" id="{CE34B2E7-DE6B-4945-95FA-75458CEDCB64}"/>
                </a:ext>
              </a:extLst>
            </p:cNvPr>
            <p:cNvSpPr/>
            <p:nvPr/>
          </p:nvSpPr>
          <p:spPr>
            <a:xfrm>
              <a:off x="7819396" y="5655738"/>
              <a:ext cx="14672" cy="215938"/>
            </a:xfrm>
            <a:custGeom>
              <a:avLst/>
              <a:gdLst>
                <a:gd name="connsiteX0" fmla="*/ 70 w 14672"/>
                <a:gd name="connsiteY0" fmla="*/ 7368 h 215938"/>
                <a:gd name="connsiteX1" fmla="*/ 70 w 14672"/>
                <a:gd name="connsiteY1" fmla="*/ 215134 h 215938"/>
                <a:gd name="connsiteX2" fmla="*/ 70 w 14672"/>
                <a:gd name="connsiteY2" fmla="*/ 215938 h 215938"/>
                <a:gd name="connsiteX3" fmla="*/ 1008 w 14672"/>
                <a:gd name="connsiteY3" fmla="*/ 211250 h 215938"/>
                <a:gd name="connsiteX4" fmla="*/ 9180 w 14672"/>
                <a:gd name="connsiteY4" fmla="*/ 197854 h 215938"/>
                <a:gd name="connsiteX5" fmla="*/ 9180 w 14672"/>
                <a:gd name="connsiteY5" fmla="*/ 197854 h 215938"/>
                <a:gd name="connsiteX6" fmla="*/ 11860 w 14672"/>
                <a:gd name="connsiteY6" fmla="*/ 193433 h 215938"/>
                <a:gd name="connsiteX7" fmla="*/ 11860 w 14672"/>
                <a:gd name="connsiteY7" fmla="*/ 193433 h 215938"/>
                <a:gd name="connsiteX8" fmla="*/ 14673 w 14672"/>
                <a:gd name="connsiteY8" fmla="*/ 189013 h 215938"/>
                <a:gd name="connsiteX9" fmla="*/ 14673 w 14672"/>
                <a:gd name="connsiteY9" fmla="*/ 7368 h 215938"/>
                <a:gd name="connsiteX10" fmla="*/ 7304 w 14672"/>
                <a:gd name="connsiteY10" fmla="*/ 0 h 215938"/>
                <a:gd name="connsiteX11" fmla="*/ 70 w 14672"/>
                <a:gd name="connsiteY11" fmla="*/ 7368 h 21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72" h="215938">
                  <a:moveTo>
                    <a:pt x="70" y="7368"/>
                  </a:moveTo>
                  <a:lnTo>
                    <a:pt x="70" y="215134"/>
                  </a:lnTo>
                  <a:cubicBezTo>
                    <a:pt x="70" y="215134"/>
                    <a:pt x="70" y="215134"/>
                    <a:pt x="70" y="215938"/>
                  </a:cubicBezTo>
                  <a:cubicBezTo>
                    <a:pt x="-158" y="214315"/>
                    <a:pt x="177" y="212662"/>
                    <a:pt x="1008" y="211250"/>
                  </a:cubicBezTo>
                  <a:lnTo>
                    <a:pt x="9180" y="197854"/>
                  </a:lnTo>
                  <a:lnTo>
                    <a:pt x="9180" y="197854"/>
                  </a:lnTo>
                  <a:lnTo>
                    <a:pt x="11860" y="193433"/>
                  </a:lnTo>
                  <a:lnTo>
                    <a:pt x="11860" y="193433"/>
                  </a:lnTo>
                  <a:lnTo>
                    <a:pt x="14673" y="189013"/>
                  </a:lnTo>
                  <a:lnTo>
                    <a:pt x="14673" y="7368"/>
                  </a:lnTo>
                  <a:cubicBezTo>
                    <a:pt x="14673" y="3298"/>
                    <a:pt x="11377" y="0"/>
                    <a:pt x="7304" y="0"/>
                  </a:cubicBezTo>
                  <a:cubicBezTo>
                    <a:pt x="3285" y="74"/>
                    <a:pt x="70" y="3350"/>
                    <a:pt x="70" y="7368"/>
                  </a:cubicBezTo>
                  <a:close/>
                </a:path>
              </a:pathLst>
            </a:custGeom>
            <a:solidFill>
              <a:srgbClr val="000000"/>
            </a:solidFill>
            <a:ln w="12700" cap="flat">
              <a:noFill/>
              <a:prstDash val="solid"/>
              <a:miter/>
            </a:ln>
          </p:spPr>
          <p:txBody>
            <a:bodyPr rtlCol="0" anchor="ctr"/>
            <a:lstStyle/>
            <a:p>
              <a:endParaRPr lang="en-US"/>
            </a:p>
          </p:txBody>
        </p:sp>
        <p:sp>
          <p:nvSpPr>
            <p:cNvPr id="1093" name="Freeform: Shape 1092">
              <a:extLst>
                <a:ext uri="{FF2B5EF4-FFF2-40B4-BE49-F238E27FC236}">
                  <a16:creationId xmlns:a16="http://schemas.microsoft.com/office/drawing/2014/main" id="{0C7309F4-536B-4865-9D45-8D592A95A783}"/>
                </a:ext>
              </a:extLst>
            </p:cNvPr>
            <p:cNvSpPr/>
            <p:nvPr/>
          </p:nvSpPr>
          <p:spPr>
            <a:xfrm>
              <a:off x="7273239" y="5683065"/>
              <a:ext cx="2679" cy="162087"/>
            </a:xfrm>
            <a:custGeom>
              <a:avLst/>
              <a:gdLst>
                <a:gd name="connsiteX0" fmla="*/ 2680 w 2679"/>
                <a:gd name="connsiteY0" fmla="*/ 162088 h 162087"/>
                <a:gd name="connsiteX1" fmla="*/ 2680 w 2679"/>
                <a:gd name="connsiteY1" fmla="*/ 1340 h 162087"/>
                <a:gd name="connsiteX2" fmla="*/ 1339 w 2679"/>
                <a:gd name="connsiteY2" fmla="*/ 0 h 162087"/>
                <a:gd name="connsiteX3" fmla="*/ 0 w 2679"/>
                <a:gd name="connsiteY3" fmla="*/ 1340 h 162087"/>
                <a:gd name="connsiteX4" fmla="*/ 0 w 2679"/>
                <a:gd name="connsiteY4" fmla="*/ 153246 h 162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62087">
                  <a:moveTo>
                    <a:pt x="2680" y="162088"/>
                  </a:moveTo>
                  <a:lnTo>
                    <a:pt x="2680" y="1340"/>
                  </a:lnTo>
                  <a:cubicBezTo>
                    <a:pt x="2680" y="600"/>
                    <a:pt x="2077" y="0"/>
                    <a:pt x="1339" y="0"/>
                  </a:cubicBezTo>
                  <a:cubicBezTo>
                    <a:pt x="630" y="63"/>
                    <a:pt x="67" y="627"/>
                    <a:pt x="0" y="1340"/>
                  </a:cubicBezTo>
                  <a:lnTo>
                    <a:pt x="0" y="153246"/>
                  </a:lnTo>
                  <a:close/>
                </a:path>
              </a:pathLst>
            </a:custGeom>
            <a:solidFill>
              <a:srgbClr val="000000"/>
            </a:solidFill>
            <a:ln w="12700" cap="flat">
              <a:noFill/>
              <a:prstDash val="solid"/>
              <a:miter/>
            </a:ln>
          </p:spPr>
          <p:txBody>
            <a:bodyPr rtlCol="0" anchor="ctr"/>
            <a:lstStyle/>
            <a:p>
              <a:endParaRPr lang="en-US"/>
            </a:p>
          </p:txBody>
        </p:sp>
        <p:sp>
          <p:nvSpPr>
            <p:cNvPr id="1094" name="Freeform: Shape 1093">
              <a:extLst>
                <a:ext uri="{FF2B5EF4-FFF2-40B4-BE49-F238E27FC236}">
                  <a16:creationId xmlns:a16="http://schemas.microsoft.com/office/drawing/2014/main" id="{F4C277D1-5F0D-4643-A1AF-819263D66DA0}"/>
                </a:ext>
              </a:extLst>
            </p:cNvPr>
            <p:cNvSpPr/>
            <p:nvPr/>
          </p:nvSpPr>
          <p:spPr>
            <a:xfrm>
              <a:off x="7273641" y="5853324"/>
              <a:ext cx="2678" cy="10314"/>
            </a:xfrm>
            <a:custGeom>
              <a:avLst/>
              <a:gdLst>
                <a:gd name="connsiteX0" fmla="*/ 1339 w 2678"/>
                <a:gd name="connsiteY0" fmla="*/ 10181 h 10314"/>
                <a:gd name="connsiteX1" fmla="*/ 2679 w 2678"/>
                <a:gd name="connsiteY1" fmla="*/ 10181 h 10314"/>
                <a:gd name="connsiteX2" fmla="*/ 2679 w 2678"/>
                <a:gd name="connsiteY2" fmla="*/ 0 h 10314"/>
                <a:gd name="connsiteX3" fmla="*/ 0 w 2678"/>
                <a:gd name="connsiteY3" fmla="*/ 2545 h 10314"/>
                <a:gd name="connsiteX4" fmla="*/ 0 w 2678"/>
                <a:gd name="connsiteY4" fmla="*/ 10315 h 1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 h="10314">
                  <a:moveTo>
                    <a:pt x="1339" y="10181"/>
                  </a:moveTo>
                  <a:lnTo>
                    <a:pt x="2679" y="10181"/>
                  </a:lnTo>
                  <a:lnTo>
                    <a:pt x="2679" y="0"/>
                  </a:lnTo>
                  <a:cubicBezTo>
                    <a:pt x="2036" y="1074"/>
                    <a:pt x="1111" y="1953"/>
                    <a:pt x="0" y="2545"/>
                  </a:cubicBezTo>
                  <a:lnTo>
                    <a:pt x="0" y="10315"/>
                  </a:lnTo>
                  <a:close/>
                </a:path>
              </a:pathLst>
            </a:custGeom>
            <a:solidFill>
              <a:srgbClr val="000000"/>
            </a:solidFill>
            <a:ln w="12700" cap="flat">
              <a:noFill/>
              <a:prstDash val="solid"/>
              <a:miter/>
            </a:ln>
          </p:spPr>
          <p:txBody>
            <a:bodyPr rtlCol="0" anchor="ctr"/>
            <a:lstStyle/>
            <a:p>
              <a:endParaRPr lang="en-US"/>
            </a:p>
          </p:txBody>
        </p:sp>
        <p:sp>
          <p:nvSpPr>
            <p:cNvPr id="1095" name="Freeform: Shape 1094">
              <a:extLst>
                <a:ext uri="{FF2B5EF4-FFF2-40B4-BE49-F238E27FC236}">
                  <a16:creationId xmlns:a16="http://schemas.microsoft.com/office/drawing/2014/main" id="{1F7A13BC-7277-46EB-899C-EF74C7893C11}"/>
                </a:ext>
              </a:extLst>
            </p:cNvPr>
            <p:cNvSpPr/>
            <p:nvPr/>
          </p:nvSpPr>
          <p:spPr>
            <a:xfrm>
              <a:off x="7616891" y="5856405"/>
              <a:ext cx="33895" cy="2679"/>
            </a:xfrm>
            <a:custGeom>
              <a:avLst/>
              <a:gdLst>
                <a:gd name="connsiteX0" fmla="*/ 1339 w 33895"/>
                <a:gd name="connsiteY0" fmla="*/ 1340 h 2679"/>
                <a:gd name="connsiteX1" fmla="*/ 1339 w 33895"/>
                <a:gd name="connsiteY1" fmla="*/ 2679 h 2679"/>
                <a:gd name="connsiteX2" fmla="*/ 33896 w 33895"/>
                <a:gd name="connsiteY2" fmla="*/ 2679 h 2679"/>
                <a:gd name="connsiteX3" fmla="*/ 33896 w 33895"/>
                <a:gd name="connsiteY3" fmla="*/ 0 h 2679"/>
                <a:gd name="connsiteX4" fmla="*/ 0 w 33895"/>
                <a:gd name="connsiteY4" fmla="*/ 0 h 2679"/>
                <a:gd name="connsiteX5" fmla="*/ 1339 w 33895"/>
                <a:gd name="connsiteY5" fmla="*/ 134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95" h="2679">
                  <a:moveTo>
                    <a:pt x="1339" y="1340"/>
                  </a:moveTo>
                  <a:lnTo>
                    <a:pt x="1339" y="2679"/>
                  </a:lnTo>
                  <a:lnTo>
                    <a:pt x="33896" y="2679"/>
                  </a:lnTo>
                  <a:lnTo>
                    <a:pt x="33896" y="0"/>
                  </a:lnTo>
                  <a:lnTo>
                    <a:pt x="0" y="0"/>
                  </a:lnTo>
                  <a:cubicBezTo>
                    <a:pt x="737" y="0"/>
                    <a:pt x="1339" y="600"/>
                    <a:pt x="1339" y="1340"/>
                  </a:cubicBezTo>
                  <a:close/>
                </a:path>
              </a:pathLst>
            </a:custGeom>
            <a:solidFill>
              <a:srgbClr val="000000"/>
            </a:solidFill>
            <a:ln w="12700" cap="flat">
              <a:noFill/>
              <a:prstDash val="solid"/>
              <a:miter/>
            </a:ln>
          </p:spPr>
          <p:txBody>
            <a:bodyPr rtlCol="0" anchor="ctr"/>
            <a:lstStyle/>
            <a:p>
              <a:endParaRPr lang="en-US"/>
            </a:p>
          </p:txBody>
        </p:sp>
        <p:sp>
          <p:nvSpPr>
            <p:cNvPr id="1096" name="Freeform: Shape 1095">
              <a:extLst>
                <a:ext uri="{FF2B5EF4-FFF2-40B4-BE49-F238E27FC236}">
                  <a16:creationId xmlns:a16="http://schemas.microsoft.com/office/drawing/2014/main" id="{AF3A3B66-D492-46AC-9358-BF27DB3223A7}"/>
                </a:ext>
              </a:extLst>
            </p:cNvPr>
            <p:cNvSpPr/>
            <p:nvPr/>
          </p:nvSpPr>
          <p:spPr>
            <a:xfrm>
              <a:off x="7650787" y="5857745"/>
              <a:ext cx="14738" cy="312119"/>
            </a:xfrm>
            <a:custGeom>
              <a:avLst/>
              <a:gdLst>
                <a:gd name="connsiteX0" fmla="*/ 14738 w 14738"/>
                <a:gd name="connsiteY0" fmla="*/ 312119 h 312119"/>
                <a:gd name="connsiteX1" fmla="*/ 14738 w 14738"/>
                <a:gd name="connsiteY1" fmla="*/ 0 h 312119"/>
                <a:gd name="connsiteX2" fmla="*/ 7369 w 14738"/>
                <a:gd name="connsiteY2" fmla="*/ 7368 h 312119"/>
                <a:gd name="connsiteX3" fmla="*/ 0 w 14738"/>
                <a:gd name="connsiteY3" fmla="*/ 0 h 312119"/>
                <a:gd name="connsiteX4" fmla="*/ 0 w 14738"/>
                <a:gd name="connsiteY4" fmla="*/ 312119 h 312119"/>
                <a:gd name="connsiteX5" fmla="*/ 14738 w 14738"/>
                <a:gd name="connsiteY5" fmla="*/ 312119 h 31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12119">
                  <a:moveTo>
                    <a:pt x="14738" y="312119"/>
                  </a:moveTo>
                  <a:lnTo>
                    <a:pt x="14738" y="0"/>
                  </a:lnTo>
                  <a:cubicBezTo>
                    <a:pt x="14738" y="4070"/>
                    <a:pt x="11442" y="7368"/>
                    <a:pt x="7369" y="7368"/>
                  </a:cubicBezTo>
                  <a:cubicBezTo>
                    <a:pt x="3296" y="7368"/>
                    <a:pt x="0" y="4070"/>
                    <a:pt x="0" y="0"/>
                  </a:cubicBezTo>
                  <a:lnTo>
                    <a:pt x="0" y="312119"/>
                  </a:lnTo>
                  <a:lnTo>
                    <a:pt x="14738" y="312119"/>
                  </a:lnTo>
                  <a:close/>
                </a:path>
              </a:pathLst>
            </a:custGeom>
            <a:solidFill>
              <a:srgbClr val="000000"/>
            </a:solidFill>
            <a:ln w="12700" cap="flat">
              <a:noFill/>
              <a:prstDash val="solid"/>
              <a:miter/>
            </a:ln>
          </p:spPr>
          <p:txBody>
            <a:bodyPr rtlCol="0" anchor="ctr"/>
            <a:lstStyle/>
            <a:p>
              <a:endParaRPr lang="en-US"/>
            </a:p>
          </p:txBody>
        </p:sp>
        <p:sp>
          <p:nvSpPr>
            <p:cNvPr id="1097" name="Freeform: Shape 1096">
              <a:extLst>
                <a:ext uri="{FF2B5EF4-FFF2-40B4-BE49-F238E27FC236}">
                  <a16:creationId xmlns:a16="http://schemas.microsoft.com/office/drawing/2014/main" id="{94471D37-B5CF-46B9-9825-C49D74BB2B33}"/>
                </a:ext>
              </a:extLst>
            </p:cNvPr>
            <p:cNvSpPr/>
            <p:nvPr/>
          </p:nvSpPr>
          <p:spPr>
            <a:xfrm>
              <a:off x="4847173" y="6581915"/>
              <a:ext cx="7100" cy="1205"/>
            </a:xfrm>
            <a:custGeom>
              <a:avLst/>
              <a:gdLst>
                <a:gd name="connsiteX0" fmla="*/ 6431 w 7100"/>
                <a:gd name="connsiteY0" fmla="*/ 0 h 1205"/>
                <a:gd name="connsiteX1" fmla="*/ 0 w 7100"/>
                <a:gd name="connsiteY1" fmla="*/ 0 h 1205"/>
                <a:gd name="connsiteX2" fmla="*/ 0 w 7100"/>
                <a:gd name="connsiteY2" fmla="*/ 1206 h 1205"/>
                <a:gd name="connsiteX3" fmla="*/ 7101 w 7100"/>
                <a:gd name="connsiteY3" fmla="*/ 1206 h 1205"/>
                <a:gd name="connsiteX4" fmla="*/ 7101 w 7100"/>
                <a:gd name="connsiteY4" fmla="*/ 1206 h 1205"/>
                <a:gd name="connsiteX5" fmla="*/ 6431 w 7100"/>
                <a:gd name="connsiteY5" fmla="*/ 0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0" h="1205">
                  <a:moveTo>
                    <a:pt x="6431" y="0"/>
                  </a:moveTo>
                  <a:lnTo>
                    <a:pt x="0" y="0"/>
                  </a:lnTo>
                  <a:cubicBezTo>
                    <a:pt x="0" y="0"/>
                    <a:pt x="0" y="804"/>
                    <a:pt x="0" y="1206"/>
                  </a:cubicBezTo>
                  <a:lnTo>
                    <a:pt x="7101" y="1206"/>
                  </a:lnTo>
                  <a:lnTo>
                    <a:pt x="7101" y="1206"/>
                  </a:lnTo>
                  <a:cubicBezTo>
                    <a:pt x="7101" y="1206"/>
                    <a:pt x="6565" y="268"/>
                    <a:pt x="6431" y="0"/>
                  </a:cubicBezTo>
                  <a:close/>
                </a:path>
              </a:pathLst>
            </a:custGeom>
            <a:solidFill>
              <a:srgbClr val="000000"/>
            </a:solidFill>
            <a:ln w="12700" cap="flat">
              <a:noFill/>
              <a:prstDash val="solid"/>
              <a:miter/>
            </a:ln>
          </p:spPr>
          <p:txBody>
            <a:bodyPr rtlCol="0" anchor="ctr"/>
            <a:lstStyle/>
            <a:p>
              <a:endParaRPr lang="en-US"/>
            </a:p>
          </p:txBody>
        </p:sp>
        <p:sp>
          <p:nvSpPr>
            <p:cNvPr id="1098" name="Freeform: Shape 1097">
              <a:extLst>
                <a:ext uri="{FF2B5EF4-FFF2-40B4-BE49-F238E27FC236}">
                  <a16:creationId xmlns:a16="http://schemas.microsoft.com/office/drawing/2014/main" id="{EBB0B38A-55EE-4AC9-A8C8-CBBA7D22E30C}"/>
                </a:ext>
              </a:extLst>
            </p:cNvPr>
            <p:cNvSpPr/>
            <p:nvPr/>
          </p:nvSpPr>
          <p:spPr>
            <a:xfrm>
              <a:off x="5519875" y="6580575"/>
              <a:ext cx="76635" cy="2545"/>
            </a:xfrm>
            <a:custGeom>
              <a:avLst/>
              <a:gdLst>
                <a:gd name="connsiteX0" fmla="*/ 53591 w 76635"/>
                <a:gd name="connsiteY0" fmla="*/ 1340 h 2545"/>
                <a:gd name="connsiteX1" fmla="*/ 52372 w 76635"/>
                <a:gd name="connsiteY1" fmla="*/ 147 h 2545"/>
                <a:gd name="connsiteX2" fmla="*/ 52385 w 76635"/>
                <a:gd name="connsiteY2" fmla="*/ 0 h 2545"/>
                <a:gd name="connsiteX3" fmla="*/ 0 w 76635"/>
                <a:gd name="connsiteY3" fmla="*/ 0 h 2545"/>
                <a:gd name="connsiteX4" fmla="*/ 0 w 76635"/>
                <a:gd name="connsiteY4" fmla="*/ 2545 h 2545"/>
                <a:gd name="connsiteX5" fmla="*/ 76635 w 76635"/>
                <a:gd name="connsiteY5" fmla="*/ 2545 h 2545"/>
                <a:gd name="connsiteX6" fmla="*/ 75831 w 76635"/>
                <a:gd name="connsiteY6"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35" h="2545">
                  <a:moveTo>
                    <a:pt x="53591" y="1340"/>
                  </a:moveTo>
                  <a:cubicBezTo>
                    <a:pt x="52921" y="1340"/>
                    <a:pt x="52385" y="804"/>
                    <a:pt x="52372" y="147"/>
                  </a:cubicBezTo>
                  <a:cubicBezTo>
                    <a:pt x="52372" y="94"/>
                    <a:pt x="52385" y="54"/>
                    <a:pt x="52385" y="0"/>
                  </a:cubicBezTo>
                  <a:lnTo>
                    <a:pt x="0" y="0"/>
                  </a:lnTo>
                  <a:lnTo>
                    <a:pt x="0" y="2545"/>
                  </a:lnTo>
                  <a:lnTo>
                    <a:pt x="76635" y="2545"/>
                  </a:lnTo>
                  <a:lnTo>
                    <a:pt x="75831" y="1340"/>
                  </a:lnTo>
                  <a:close/>
                </a:path>
              </a:pathLst>
            </a:custGeom>
            <a:solidFill>
              <a:srgbClr val="000000"/>
            </a:solidFill>
            <a:ln w="12700" cap="flat">
              <a:noFill/>
              <a:prstDash val="solid"/>
              <a:miter/>
            </a:ln>
          </p:spPr>
          <p:txBody>
            <a:bodyPr rtlCol="0" anchor="ctr"/>
            <a:lstStyle/>
            <a:p>
              <a:endParaRPr lang="en-US"/>
            </a:p>
          </p:txBody>
        </p:sp>
        <p:sp>
          <p:nvSpPr>
            <p:cNvPr id="1099" name="Freeform: Shape 1098">
              <a:extLst>
                <a:ext uri="{FF2B5EF4-FFF2-40B4-BE49-F238E27FC236}">
                  <a16:creationId xmlns:a16="http://schemas.microsoft.com/office/drawing/2014/main" id="{70BA9A38-D5C2-49B6-BBE1-D16F621F6AFD}"/>
                </a:ext>
              </a:extLst>
            </p:cNvPr>
            <p:cNvSpPr/>
            <p:nvPr/>
          </p:nvSpPr>
          <p:spPr>
            <a:xfrm>
              <a:off x="7264128" y="5875829"/>
              <a:ext cx="2679" cy="627855"/>
            </a:xfrm>
            <a:custGeom>
              <a:avLst/>
              <a:gdLst>
                <a:gd name="connsiteX0" fmla="*/ 2680 w 2679"/>
                <a:gd name="connsiteY0" fmla="*/ 627855 h 627855"/>
                <a:gd name="connsiteX1" fmla="*/ 2680 w 2679"/>
                <a:gd name="connsiteY1" fmla="*/ 1875 h 627855"/>
                <a:gd name="connsiteX2" fmla="*/ 0 w 2679"/>
                <a:gd name="connsiteY2" fmla="*/ 0 h 627855"/>
                <a:gd name="connsiteX3" fmla="*/ 0 w 2679"/>
                <a:gd name="connsiteY3" fmla="*/ 627855 h 627855"/>
                <a:gd name="connsiteX4" fmla="*/ 2680 w 2679"/>
                <a:gd name="connsiteY4" fmla="*/ 627855 h 627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27855">
                  <a:moveTo>
                    <a:pt x="2680" y="627855"/>
                  </a:moveTo>
                  <a:lnTo>
                    <a:pt x="2680" y="1875"/>
                  </a:lnTo>
                  <a:cubicBezTo>
                    <a:pt x="1662" y="1455"/>
                    <a:pt x="750" y="814"/>
                    <a:pt x="0" y="0"/>
                  </a:cubicBezTo>
                  <a:lnTo>
                    <a:pt x="0" y="627855"/>
                  </a:lnTo>
                  <a:lnTo>
                    <a:pt x="2680" y="627855"/>
                  </a:lnTo>
                  <a:close/>
                </a:path>
              </a:pathLst>
            </a:custGeom>
            <a:solidFill>
              <a:srgbClr val="000000"/>
            </a:solidFill>
            <a:ln w="12700" cap="flat">
              <a:noFill/>
              <a:prstDash val="solid"/>
              <a:miter/>
            </a:ln>
          </p:spPr>
          <p:txBody>
            <a:bodyPr rtlCol="0" anchor="ctr"/>
            <a:lstStyle/>
            <a:p>
              <a:endParaRPr lang="en-US"/>
            </a:p>
          </p:txBody>
        </p:sp>
        <p:sp>
          <p:nvSpPr>
            <p:cNvPr id="1100" name="Freeform: Shape 1099">
              <a:extLst>
                <a:ext uri="{FF2B5EF4-FFF2-40B4-BE49-F238E27FC236}">
                  <a16:creationId xmlns:a16="http://schemas.microsoft.com/office/drawing/2014/main" id="{DD438809-0B65-4460-A792-8C7CCA42EB50}"/>
                </a:ext>
              </a:extLst>
            </p:cNvPr>
            <p:cNvSpPr/>
            <p:nvPr/>
          </p:nvSpPr>
          <p:spPr>
            <a:xfrm>
              <a:off x="7264128" y="5854530"/>
              <a:ext cx="2679" cy="11386"/>
            </a:xfrm>
            <a:custGeom>
              <a:avLst/>
              <a:gdLst>
                <a:gd name="connsiteX0" fmla="*/ 2680 w 2679"/>
                <a:gd name="connsiteY0" fmla="*/ 1742 h 11386"/>
                <a:gd name="connsiteX1" fmla="*/ 0 w 2679"/>
                <a:gd name="connsiteY1" fmla="*/ 0 h 11386"/>
                <a:gd name="connsiteX2" fmla="*/ 0 w 2679"/>
                <a:gd name="connsiteY2" fmla="*/ 11386 h 11386"/>
                <a:gd name="connsiteX3" fmla="*/ 2680 w 2679"/>
                <a:gd name="connsiteY3" fmla="*/ 9511 h 11386"/>
              </a:gdLst>
              <a:ahLst/>
              <a:cxnLst>
                <a:cxn ang="0">
                  <a:pos x="connsiteX0" y="connsiteY0"/>
                </a:cxn>
                <a:cxn ang="0">
                  <a:pos x="connsiteX1" y="connsiteY1"/>
                </a:cxn>
                <a:cxn ang="0">
                  <a:pos x="connsiteX2" y="connsiteY2"/>
                </a:cxn>
                <a:cxn ang="0">
                  <a:pos x="connsiteX3" y="connsiteY3"/>
                </a:cxn>
              </a:cxnLst>
              <a:rect l="l" t="t" r="r" b="b"/>
              <a:pathLst>
                <a:path w="2679" h="11386">
                  <a:moveTo>
                    <a:pt x="2680" y="1742"/>
                  </a:moveTo>
                  <a:cubicBezTo>
                    <a:pt x="1662" y="1372"/>
                    <a:pt x="750" y="777"/>
                    <a:pt x="0" y="0"/>
                  </a:cubicBezTo>
                  <a:lnTo>
                    <a:pt x="0" y="11386"/>
                  </a:lnTo>
                  <a:cubicBezTo>
                    <a:pt x="750" y="10572"/>
                    <a:pt x="1662" y="9932"/>
                    <a:pt x="2680" y="9511"/>
                  </a:cubicBezTo>
                  <a:close/>
                </a:path>
              </a:pathLst>
            </a:custGeom>
            <a:solidFill>
              <a:srgbClr val="000000"/>
            </a:solidFill>
            <a:ln w="12700" cap="flat">
              <a:noFill/>
              <a:prstDash val="solid"/>
              <a:miter/>
            </a:ln>
          </p:spPr>
          <p:txBody>
            <a:bodyPr rtlCol="0" anchor="ctr"/>
            <a:lstStyle/>
            <a:p>
              <a:endParaRPr lang="en-US"/>
            </a:p>
          </p:txBody>
        </p:sp>
        <p:sp>
          <p:nvSpPr>
            <p:cNvPr id="1101" name="Freeform: Shape 1100">
              <a:extLst>
                <a:ext uri="{FF2B5EF4-FFF2-40B4-BE49-F238E27FC236}">
                  <a16:creationId xmlns:a16="http://schemas.microsoft.com/office/drawing/2014/main" id="{93E07DF6-E32F-4B43-9833-0CF5EB78F3F3}"/>
                </a:ext>
              </a:extLst>
            </p:cNvPr>
            <p:cNvSpPr/>
            <p:nvPr/>
          </p:nvSpPr>
          <p:spPr>
            <a:xfrm>
              <a:off x="7268282" y="5856673"/>
              <a:ext cx="2545" cy="7099"/>
            </a:xfrm>
            <a:custGeom>
              <a:avLst/>
              <a:gdLst>
                <a:gd name="connsiteX0" fmla="*/ 1339 w 2545"/>
                <a:gd name="connsiteY0" fmla="*/ 6832 h 7099"/>
                <a:gd name="connsiteX1" fmla="*/ 2546 w 2545"/>
                <a:gd name="connsiteY1" fmla="*/ 6832 h 7099"/>
                <a:gd name="connsiteX2" fmla="*/ 2546 w 2545"/>
                <a:gd name="connsiteY2" fmla="*/ 0 h 7099"/>
                <a:gd name="connsiteX3" fmla="*/ 1339 w 2545"/>
                <a:gd name="connsiteY3" fmla="*/ 0 h 7099"/>
                <a:gd name="connsiteX4" fmla="*/ 0 w 2545"/>
                <a:gd name="connsiteY4" fmla="*/ 0 h 7099"/>
                <a:gd name="connsiteX5" fmla="*/ 0 w 2545"/>
                <a:gd name="connsiteY5" fmla="*/ 710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7099">
                  <a:moveTo>
                    <a:pt x="1339" y="6832"/>
                  </a:moveTo>
                  <a:lnTo>
                    <a:pt x="2546" y="6832"/>
                  </a:lnTo>
                  <a:lnTo>
                    <a:pt x="2546" y="0"/>
                  </a:lnTo>
                  <a:lnTo>
                    <a:pt x="1339" y="0"/>
                  </a:lnTo>
                  <a:lnTo>
                    <a:pt x="0" y="0"/>
                  </a:lnTo>
                  <a:lnTo>
                    <a:pt x="0" y="7100"/>
                  </a:lnTo>
                  <a:close/>
                </a:path>
              </a:pathLst>
            </a:custGeom>
            <a:solidFill>
              <a:srgbClr val="000000"/>
            </a:solidFill>
            <a:ln w="12700" cap="flat">
              <a:noFill/>
              <a:prstDash val="solid"/>
              <a:miter/>
            </a:ln>
          </p:spPr>
          <p:txBody>
            <a:bodyPr rtlCol="0" anchor="ctr"/>
            <a:lstStyle/>
            <a:p>
              <a:endParaRPr lang="en-US"/>
            </a:p>
          </p:txBody>
        </p:sp>
        <p:sp>
          <p:nvSpPr>
            <p:cNvPr id="1102" name="Freeform: Shape 1101">
              <a:extLst>
                <a:ext uri="{FF2B5EF4-FFF2-40B4-BE49-F238E27FC236}">
                  <a16:creationId xmlns:a16="http://schemas.microsoft.com/office/drawing/2014/main" id="{F71627C3-3AEF-4163-BE4C-B6648E21D1B4}"/>
                </a:ext>
              </a:extLst>
            </p:cNvPr>
            <p:cNvSpPr/>
            <p:nvPr/>
          </p:nvSpPr>
          <p:spPr>
            <a:xfrm>
              <a:off x="7268684" y="5829346"/>
              <a:ext cx="1205" cy="803"/>
            </a:xfrm>
            <a:custGeom>
              <a:avLst/>
              <a:gdLst>
                <a:gd name="connsiteX0" fmla="*/ 0 w 1205"/>
                <a:gd name="connsiteY0" fmla="*/ 0 h 803"/>
                <a:gd name="connsiteX1" fmla="*/ 1205 w 1205"/>
                <a:gd name="connsiteY1" fmla="*/ 804 h 803"/>
                <a:gd name="connsiteX2" fmla="*/ 267 w 1205"/>
                <a:gd name="connsiteY2" fmla="*/ 804 h 803"/>
              </a:gdLst>
              <a:ahLst/>
              <a:cxnLst>
                <a:cxn ang="0">
                  <a:pos x="connsiteX0" y="connsiteY0"/>
                </a:cxn>
                <a:cxn ang="0">
                  <a:pos x="connsiteX1" y="connsiteY1"/>
                </a:cxn>
                <a:cxn ang="0">
                  <a:pos x="connsiteX2" y="connsiteY2"/>
                </a:cxn>
              </a:cxnLst>
              <a:rect l="l" t="t" r="r" b="b"/>
              <a:pathLst>
                <a:path w="1205" h="803">
                  <a:moveTo>
                    <a:pt x="0" y="0"/>
                  </a:moveTo>
                  <a:lnTo>
                    <a:pt x="1205" y="804"/>
                  </a:lnTo>
                  <a:cubicBezTo>
                    <a:pt x="1205" y="804"/>
                    <a:pt x="1205" y="804"/>
                    <a:pt x="267" y="804"/>
                  </a:cubicBezTo>
                  <a:close/>
                </a:path>
              </a:pathLst>
            </a:custGeom>
            <a:solidFill>
              <a:srgbClr val="000000"/>
            </a:solidFill>
            <a:ln w="12700" cap="flat">
              <a:noFill/>
              <a:prstDash val="solid"/>
              <a:miter/>
            </a:ln>
          </p:spPr>
          <p:txBody>
            <a:bodyPr rtlCol="0" anchor="ctr"/>
            <a:lstStyle/>
            <a:p>
              <a:endParaRPr lang="en-US"/>
            </a:p>
          </p:txBody>
        </p:sp>
        <p:sp>
          <p:nvSpPr>
            <p:cNvPr id="1103" name="Freeform: Shape 1102">
              <a:extLst>
                <a:ext uri="{FF2B5EF4-FFF2-40B4-BE49-F238E27FC236}">
                  <a16:creationId xmlns:a16="http://schemas.microsoft.com/office/drawing/2014/main" id="{73202B0C-9683-4FC8-BA55-59F7A48C5C0A}"/>
                </a:ext>
              </a:extLst>
            </p:cNvPr>
            <p:cNvSpPr/>
            <p:nvPr/>
          </p:nvSpPr>
          <p:spPr>
            <a:xfrm>
              <a:off x="7259707" y="5833901"/>
              <a:ext cx="16536" cy="22876"/>
            </a:xfrm>
            <a:custGeom>
              <a:avLst/>
              <a:gdLst>
                <a:gd name="connsiteX0" fmla="*/ 12862 w 16536"/>
                <a:gd name="connsiteY0" fmla="*/ 0 h 22876"/>
                <a:gd name="connsiteX1" fmla="*/ 12862 w 16536"/>
                <a:gd name="connsiteY1" fmla="*/ 0 h 22876"/>
                <a:gd name="connsiteX2" fmla="*/ 12862 w 16536"/>
                <a:gd name="connsiteY2" fmla="*/ 2411 h 22876"/>
                <a:gd name="connsiteX3" fmla="*/ 5761 w 16536"/>
                <a:gd name="connsiteY3" fmla="*/ 9779 h 22876"/>
                <a:gd name="connsiteX4" fmla="*/ 5494 w 16536"/>
                <a:gd name="connsiteY4" fmla="*/ 9779 h 22876"/>
                <a:gd name="connsiteX5" fmla="*/ 0 w 16536"/>
                <a:gd name="connsiteY5" fmla="*/ 9779 h 22876"/>
                <a:gd name="connsiteX6" fmla="*/ 2546 w 16536"/>
                <a:gd name="connsiteY6" fmla="*/ 18218 h 22876"/>
                <a:gd name="connsiteX7" fmla="*/ 2546 w 16536"/>
                <a:gd name="connsiteY7" fmla="*/ 18218 h 22876"/>
                <a:gd name="connsiteX8" fmla="*/ 4153 w 16536"/>
                <a:gd name="connsiteY8" fmla="*/ 21031 h 22876"/>
                <a:gd name="connsiteX9" fmla="*/ 6833 w 16536"/>
                <a:gd name="connsiteY9" fmla="*/ 22773 h 22876"/>
                <a:gd name="connsiteX10" fmla="*/ 8307 w 16536"/>
                <a:gd name="connsiteY10" fmla="*/ 22773 h 22876"/>
                <a:gd name="connsiteX11" fmla="*/ 9647 w 16536"/>
                <a:gd name="connsiteY11" fmla="*/ 22773 h 22876"/>
                <a:gd name="connsiteX12" fmla="*/ 10852 w 16536"/>
                <a:gd name="connsiteY12" fmla="*/ 22773 h 22876"/>
                <a:gd name="connsiteX13" fmla="*/ 11656 w 16536"/>
                <a:gd name="connsiteY13" fmla="*/ 22773 h 22876"/>
                <a:gd name="connsiteX14" fmla="*/ 13264 w 16536"/>
                <a:gd name="connsiteY14" fmla="*/ 21969 h 22876"/>
                <a:gd name="connsiteX15" fmla="*/ 15943 w 16536"/>
                <a:gd name="connsiteY15" fmla="*/ 19424 h 22876"/>
                <a:gd name="connsiteX16" fmla="*/ 15943 w 16536"/>
                <a:gd name="connsiteY16" fmla="*/ 13664 h 22876"/>
                <a:gd name="connsiteX17" fmla="*/ 15943 w 16536"/>
                <a:gd name="connsiteY17" fmla="*/ 13664 h 22876"/>
                <a:gd name="connsiteX18" fmla="*/ 15943 w 16536"/>
                <a:gd name="connsiteY18" fmla="*/ 11386 h 22876"/>
                <a:gd name="connsiteX19" fmla="*/ 13264 w 16536"/>
                <a:gd name="connsiteY19" fmla="*/ 2545 h 2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536" h="22876">
                  <a:moveTo>
                    <a:pt x="12862" y="0"/>
                  </a:moveTo>
                  <a:lnTo>
                    <a:pt x="12862" y="0"/>
                  </a:lnTo>
                  <a:cubicBezTo>
                    <a:pt x="13049" y="793"/>
                    <a:pt x="13049" y="1618"/>
                    <a:pt x="12862" y="2411"/>
                  </a:cubicBezTo>
                  <a:cubicBezTo>
                    <a:pt x="12942" y="6406"/>
                    <a:pt x="9754" y="9704"/>
                    <a:pt x="5761" y="9779"/>
                  </a:cubicBezTo>
                  <a:cubicBezTo>
                    <a:pt x="5681" y="9780"/>
                    <a:pt x="5587" y="9780"/>
                    <a:pt x="5494" y="9779"/>
                  </a:cubicBezTo>
                  <a:lnTo>
                    <a:pt x="0" y="9779"/>
                  </a:lnTo>
                  <a:lnTo>
                    <a:pt x="2546" y="18218"/>
                  </a:lnTo>
                  <a:lnTo>
                    <a:pt x="2546" y="18218"/>
                  </a:lnTo>
                  <a:cubicBezTo>
                    <a:pt x="2867" y="19263"/>
                    <a:pt x="3416" y="20225"/>
                    <a:pt x="4153" y="21031"/>
                  </a:cubicBezTo>
                  <a:cubicBezTo>
                    <a:pt x="4904" y="21808"/>
                    <a:pt x="5815" y="22403"/>
                    <a:pt x="6833" y="22773"/>
                  </a:cubicBezTo>
                  <a:cubicBezTo>
                    <a:pt x="7315" y="22911"/>
                    <a:pt x="7824" y="22911"/>
                    <a:pt x="8307" y="22773"/>
                  </a:cubicBezTo>
                  <a:lnTo>
                    <a:pt x="9647" y="22773"/>
                  </a:lnTo>
                  <a:lnTo>
                    <a:pt x="10852" y="22773"/>
                  </a:lnTo>
                  <a:lnTo>
                    <a:pt x="11656" y="22773"/>
                  </a:lnTo>
                  <a:cubicBezTo>
                    <a:pt x="12246" y="22614"/>
                    <a:pt x="12782" y="22341"/>
                    <a:pt x="13264" y="21969"/>
                  </a:cubicBezTo>
                  <a:cubicBezTo>
                    <a:pt x="14376" y="21377"/>
                    <a:pt x="15301" y="20498"/>
                    <a:pt x="15943" y="19424"/>
                  </a:cubicBezTo>
                  <a:cubicBezTo>
                    <a:pt x="16734" y="17586"/>
                    <a:pt x="16734" y="15501"/>
                    <a:pt x="15943" y="13664"/>
                  </a:cubicBezTo>
                  <a:lnTo>
                    <a:pt x="15943" y="13664"/>
                  </a:lnTo>
                  <a:lnTo>
                    <a:pt x="15943" y="11386"/>
                  </a:lnTo>
                  <a:lnTo>
                    <a:pt x="13264" y="2545"/>
                  </a:lnTo>
                  <a:close/>
                </a:path>
              </a:pathLst>
            </a:custGeom>
            <a:solidFill>
              <a:srgbClr val="000000"/>
            </a:solidFill>
            <a:ln w="12700" cap="flat">
              <a:noFill/>
              <a:prstDash val="solid"/>
              <a:miter/>
            </a:ln>
          </p:spPr>
          <p:txBody>
            <a:bodyPr rtlCol="0" anchor="ctr"/>
            <a:lstStyle/>
            <a:p>
              <a:endParaRPr lang="en-US"/>
            </a:p>
          </p:txBody>
        </p:sp>
        <p:sp>
          <p:nvSpPr>
            <p:cNvPr id="1104" name="Freeform: Shape 1103">
              <a:extLst>
                <a:ext uri="{FF2B5EF4-FFF2-40B4-BE49-F238E27FC236}">
                  <a16:creationId xmlns:a16="http://schemas.microsoft.com/office/drawing/2014/main" id="{A844DF3D-08AD-4486-B5ED-AEFD5302A625}"/>
                </a:ext>
              </a:extLst>
            </p:cNvPr>
            <p:cNvSpPr/>
            <p:nvPr/>
          </p:nvSpPr>
          <p:spPr>
            <a:xfrm>
              <a:off x="6706380" y="6589014"/>
              <a:ext cx="2545" cy="264966"/>
            </a:xfrm>
            <a:custGeom>
              <a:avLst/>
              <a:gdLst>
                <a:gd name="connsiteX0" fmla="*/ 1206 w 2545"/>
                <a:gd name="connsiteY0" fmla="*/ 268 h 264966"/>
                <a:gd name="connsiteX1" fmla="*/ 0 w 2545"/>
                <a:gd name="connsiteY1" fmla="*/ 268 h 264966"/>
                <a:gd name="connsiteX2" fmla="*/ 0 w 2545"/>
                <a:gd name="connsiteY2" fmla="*/ 264966 h 264966"/>
                <a:gd name="connsiteX3" fmla="*/ 2546 w 2545"/>
                <a:gd name="connsiteY3" fmla="*/ 264966 h 264966"/>
                <a:gd name="connsiteX4" fmla="*/ 2546 w 2545"/>
                <a:gd name="connsiteY4" fmla="*/ 0 h 26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64966">
                  <a:moveTo>
                    <a:pt x="1206" y="268"/>
                  </a:moveTo>
                  <a:lnTo>
                    <a:pt x="0" y="268"/>
                  </a:lnTo>
                  <a:lnTo>
                    <a:pt x="0" y="264966"/>
                  </a:lnTo>
                  <a:lnTo>
                    <a:pt x="2546" y="264966"/>
                  </a:lnTo>
                  <a:lnTo>
                    <a:pt x="2546" y="0"/>
                  </a:lnTo>
                  <a:close/>
                </a:path>
              </a:pathLst>
            </a:custGeom>
            <a:solidFill>
              <a:srgbClr val="000000"/>
            </a:solidFill>
            <a:ln w="12700" cap="flat">
              <a:noFill/>
              <a:prstDash val="solid"/>
              <a:miter/>
            </a:ln>
          </p:spPr>
          <p:txBody>
            <a:bodyPr rtlCol="0" anchor="ctr"/>
            <a:lstStyle/>
            <a:p>
              <a:endParaRPr lang="en-US"/>
            </a:p>
          </p:txBody>
        </p:sp>
        <p:sp>
          <p:nvSpPr>
            <p:cNvPr id="1105" name="Freeform: Shape 1104">
              <a:extLst>
                <a:ext uri="{FF2B5EF4-FFF2-40B4-BE49-F238E27FC236}">
                  <a16:creationId xmlns:a16="http://schemas.microsoft.com/office/drawing/2014/main" id="{B78758C0-4C54-4154-B237-311E1A9AD2A8}"/>
                </a:ext>
              </a:extLst>
            </p:cNvPr>
            <p:cNvSpPr/>
            <p:nvPr/>
          </p:nvSpPr>
          <p:spPr>
            <a:xfrm>
              <a:off x="8086617" y="6300740"/>
              <a:ext cx="261658" cy="1205"/>
            </a:xfrm>
            <a:custGeom>
              <a:avLst/>
              <a:gdLst>
                <a:gd name="connsiteX0" fmla="*/ 0 w 261658"/>
                <a:gd name="connsiteY0" fmla="*/ 0 h 1205"/>
                <a:gd name="connsiteX1" fmla="*/ 261659 w 261658"/>
                <a:gd name="connsiteY1" fmla="*/ 0 h 1205"/>
                <a:gd name="connsiteX2" fmla="*/ 261659 w 261658"/>
                <a:gd name="connsiteY2" fmla="*/ 1206 h 1205"/>
                <a:gd name="connsiteX3" fmla="*/ 0 w 261658"/>
                <a:gd name="connsiteY3" fmla="*/ 1206 h 1205"/>
              </a:gdLst>
              <a:ahLst/>
              <a:cxnLst>
                <a:cxn ang="0">
                  <a:pos x="connsiteX0" y="connsiteY0"/>
                </a:cxn>
                <a:cxn ang="0">
                  <a:pos x="connsiteX1" y="connsiteY1"/>
                </a:cxn>
                <a:cxn ang="0">
                  <a:pos x="connsiteX2" y="connsiteY2"/>
                </a:cxn>
                <a:cxn ang="0">
                  <a:pos x="connsiteX3" y="connsiteY3"/>
                </a:cxn>
              </a:cxnLst>
              <a:rect l="l" t="t" r="r" b="b"/>
              <a:pathLst>
                <a:path w="261658" h="1205">
                  <a:moveTo>
                    <a:pt x="0" y="0"/>
                  </a:moveTo>
                  <a:lnTo>
                    <a:pt x="261659" y="0"/>
                  </a:lnTo>
                  <a:lnTo>
                    <a:pt x="261659" y="1206"/>
                  </a:lnTo>
                  <a:lnTo>
                    <a:pt x="0" y="1206"/>
                  </a:lnTo>
                  <a:close/>
                </a:path>
              </a:pathLst>
            </a:custGeom>
            <a:solidFill>
              <a:srgbClr val="000000"/>
            </a:solidFill>
            <a:ln w="12700" cap="flat">
              <a:noFill/>
              <a:prstDash val="solid"/>
              <a:miter/>
            </a:ln>
          </p:spPr>
          <p:txBody>
            <a:bodyPr rtlCol="0" anchor="ctr"/>
            <a:lstStyle/>
            <a:p>
              <a:endParaRPr lang="en-US"/>
            </a:p>
          </p:txBody>
        </p:sp>
        <p:sp>
          <p:nvSpPr>
            <p:cNvPr id="1106" name="Freeform: Shape 1105">
              <a:extLst>
                <a:ext uri="{FF2B5EF4-FFF2-40B4-BE49-F238E27FC236}">
                  <a16:creationId xmlns:a16="http://schemas.microsoft.com/office/drawing/2014/main" id="{6FCE6D22-11E4-4216-8EEF-A3A02ACF1BC7}"/>
                </a:ext>
              </a:extLst>
            </p:cNvPr>
            <p:cNvSpPr/>
            <p:nvPr/>
          </p:nvSpPr>
          <p:spPr>
            <a:xfrm>
              <a:off x="7615551" y="5876365"/>
              <a:ext cx="2679" cy="293499"/>
            </a:xfrm>
            <a:custGeom>
              <a:avLst/>
              <a:gdLst>
                <a:gd name="connsiteX0" fmla="*/ 1340 w 2679"/>
                <a:gd name="connsiteY0" fmla="*/ 293499 h 293499"/>
                <a:gd name="connsiteX1" fmla="*/ 2680 w 2679"/>
                <a:gd name="connsiteY1" fmla="*/ 293499 h 293499"/>
                <a:gd name="connsiteX2" fmla="*/ 2680 w 2679"/>
                <a:gd name="connsiteY2" fmla="*/ 0 h 293499"/>
                <a:gd name="connsiteX3" fmla="*/ 0 w 2679"/>
                <a:gd name="connsiteY3" fmla="*/ 1474 h 293499"/>
                <a:gd name="connsiteX4" fmla="*/ 0 w 2679"/>
                <a:gd name="connsiteY4" fmla="*/ 293499 h 29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93499">
                  <a:moveTo>
                    <a:pt x="1340" y="293499"/>
                  </a:moveTo>
                  <a:lnTo>
                    <a:pt x="2680" y="293499"/>
                  </a:lnTo>
                  <a:lnTo>
                    <a:pt x="2680" y="0"/>
                  </a:lnTo>
                  <a:cubicBezTo>
                    <a:pt x="1876" y="648"/>
                    <a:pt x="978" y="1147"/>
                    <a:pt x="0" y="1474"/>
                  </a:cubicBezTo>
                  <a:lnTo>
                    <a:pt x="0" y="293499"/>
                  </a:lnTo>
                  <a:close/>
                </a:path>
              </a:pathLst>
            </a:custGeom>
            <a:solidFill>
              <a:srgbClr val="000000"/>
            </a:solidFill>
            <a:ln w="12700" cap="flat">
              <a:noFill/>
              <a:prstDash val="solid"/>
              <a:miter/>
            </a:ln>
          </p:spPr>
          <p:txBody>
            <a:bodyPr rtlCol="0" anchor="ctr"/>
            <a:lstStyle/>
            <a:p>
              <a:endParaRPr lang="en-US"/>
            </a:p>
          </p:txBody>
        </p:sp>
        <p:sp>
          <p:nvSpPr>
            <p:cNvPr id="1107" name="Freeform: Shape 1106">
              <a:extLst>
                <a:ext uri="{FF2B5EF4-FFF2-40B4-BE49-F238E27FC236}">
                  <a16:creationId xmlns:a16="http://schemas.microsoft.com/office/drawing/2014/main" id="{64CCD123-F8DF-47CA-94B9-6C33AACDC52F}"/>
                </a:ext>
              </a:extLst>
            </p:cNvPr>
            <p:cNvSpPr/>
            <p:nvPr/>
          </p:nvSpPr>
          <p:spPr>
            <a:xfrm>
              <a:off x="7615551" y="5856405"/>
              <a:ext cx="2679" cy="8975"/>
            </a:xfrm>
            <a:custGeom>
              <a:avLst/>
              <a:gdLst>
                <a:gd name="connsiteX0" fmla="*/ 2680 w 2679"/>
                <a:gd name="connsiteY0" fmla="*/ 1340 h 8975"/>
                <a:gd name="connsiteX1" fmla="*/ 1340 w 2679"/>
                <a:gd name="connsiteY1" fmla="*/ 0 h 8975"/>
                <a:gd name="connsiteX2" fmla="*/ 0 w 2679"/>
                <a:gd name="connsiteY2" fmla="*/ 1340 h 8975"/>
                <a:gd name="connsiteX3" fmla="*/ 0 w 2679"/>
                <a:gd name="connsiteY3" fmla="*/ 7502 h 8975"/>
                <a:gd name="connsiteX4" fmla="*/ 2680 w 2679"/>
                <a:gd name="connsiteY4" fmla="*/ 8975 h 8975"/>
                <a:gd name="connsiteX5" fmla="*/ 2680 w 2679"/>
                <a:gd name="connsiteY5" fmla="*/ 1340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8975">
                  <a:moveTo>
                    <a:pt x="2680" y="1340"/>
                  </a:moveTo>
                  <a:cubicBezTo>
                    <a:pt x="2680" y="600"/>
                    <a:pt x="2077" y="0"/>
                    <a:pt x="1340" y="0"/>
                  </a:cubicBezTo>
                  <a:cubicBezTo>
                    <a:pt x="630" y="63"/>
                    <a:pt x="67" y="627"/>
                    <a:pt x="0" y="1340"/>
                  </a:cubicBezTo>
                  <a:lnTo>
                    <a:pt x="0" y="7502"/>
                  </a:lnTo>
                  <a:cubicBezTo>
                    <a:pt x="978" y="7828"/>
                    <a:pt x="1876" y="8327"/>
                    <a:pt x="2680" y="8975"/>
                  </a:cubicBezTo>
                  <a:lnTo>
                    <a:pt x="2680" y="1340"/>
                  </a:lnTo>
                  <a:close/>
                </a:path>
              </a:pathLst>
            </a:custGeom>
            <a:solidFill>
              <a:srgbClr val="000000"/>
            </a:solidFill>
            <a:ln w="12700" cap="flat">
              <a:noFill/>
              <a:prstDash val="solid"/>
              <a:miter/>
            </a:ln>
          </p:spPr>
          <p:txBody>
            <a:bodyPr rtlCol="0" anchor="ctr"/>
            <a:lstStyle/>
            <a:p>
              <a:endParaRPr lang="en-US"/>
            </a:p>
          </p:txBody>
        </p:sp>
        <p:sp>
          <p:nvSpPr>
            <p:cNvPr id="1108" name="Freeform: Shape 1107">
              <a:extLst>
                <a:ext uri="{FF2B5EF4-FFF2-40B4-BE49-F238E27FC236}">
                  <a16:creationId xmlns:a16="http://schemas.microsoft.com/office/drawing/2014/main" id="{6EFC68B0-6BC5-4C39-A25D-BF61F948D9B4}"/>
                </a:ext>
              </a:extLst>
            </p:cNvPr>
            <p:cNvSpPr/>
            <p:nvPr/>
          </p:nvSpPr>
          <p:spPr>
            <a:xfrm>
              <a:off x="7268282" y="5877972"/>
              <a:ext cx="2545" cy="625711"/>
            </a:xfrm>
            <a:custGeom>
              <a:avLst/>
              <a:gdLst>
                <a:gd name="connsiteX0" fmla="*/ 0 w 2545"/>
                <a:gd name="connsiteY0" fmla="*/ 0 h 625711"/>
                <a:gd name="connsiteX1" fmla="*/ 0 w 2545"/>
                <a:gd name="connsiteY1" fmla="*/ 625712 h 625711"/>
                <a:gd name="connsiteX2" fmla="*/ 2546 w 2545"/>
                <a:gd name="connsiteY2" fmla="*/ 625712 h 625711"/>
                <a:gd name="connsiteX3" fmla="*/ 2546 w 2545"/>
                <a:gd name="connsiteY3" fmla="*/ 268 h 625711"/>
                <a:gd name="connsiteX4" fmla="*/ 1339 w 2545"/>
                <a:gd name="connsiteY4" fmla="*/ 268 h 62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625711">
                  <a:moveTo>
                    <a:pt x="0" y="0"/>
                  </a:moveTo>
                  <a:lnTo>
                    <a:pt x="0" y="625712"/>
                  </a:lnTo>
                  <a:lnTo>
                    <a:pt x="2546" y="625712"/>
                  </a:lnTo>
                  <a:lnTo>
                    <a:pt x="2546" y="268"/>
                  </a:lnTo>
                  <a:lnTo>
                    <a:pt x="1339" y="268"/>
                  </a:lnTo>
                  <a:close/>
                </a:path>
              </a:pathLst>
            </a:custGeom>
            <a:solidFill>
              <a:srgbClr val="000000"/>
            </a:solidFill>
            <a:ln w="12700" cap="flat">
              <a:noFill/>
              <a:prstDash val="solid"/>
              <a:miter/>
            </a:ln>
          </p:spPr>
          <p:txBody>
            <a:bodyPr rtlCol="0" anchor="ctr"/>
            <a:lstStyle/>
            <a:p>
              <a:endParaRPr lang="en-US"/>
            </a:p>
          </p:txBody>
        </p:sp>
        <p:sp>
          <p:nvSpPr>
            <p:cNvPr id="1109" name="Freeform: Shape 1108">
              <a:extLst>
                <a:ext uri="{FF2B5EF4-FFF2-40B4-BE49-F238E27FC236}">
                  <a16:creationId xmlns:a16="http://schemas.microsoft.com/office/drawing/2014/main" id="{ED95AF2A-2E4E-4836-B475-0C7C0509BDA4}"/>
                </a:ext>
              </a:extLst>
            </p:cNvPr>
            <p:cNvSpPr/>
            <p:nvPr/>
          </p:nvSpPr>
          <p:spPr>
            <a:xfrm>
              <a:off x="5595438" y="6539852"/>
              <a:ext cx="14737" cy="36838"/>
            </a:xfrm>
            <a:custGeom>
              <a:avLst/>
              <a:gdLst>
                <a:gd name="connsiteX0" fmla="*/ 7369 w 14737"/>
                <a:gd name="connsiteY0" fmla="*/ 7234 h 36838"/>
                <a:gd name="connsiteX1" fmla="*/ 0 w 14737"/>
                <a:gd name="connsiteY1" fmla="*/ 7234 h 36838"/>
                <a:gd name="connsiteX2" fmla="*/ 0 w 14737"/>
                <a:gd name="connsiteY2" fmla="*/ 36838 h 36838"/>
                <a:gd name="connsiteX3" fmla="*/ 6967 w 14737"/>
                <a:gd name="connsiteY3" fmla="*/ 31748 h 36838"/>
                <a:gd name="connsiteX4" fmla="*/ 14737 w 14737"/>
                <a:gd name="connsiteY4" fmla="*/ 31748 h 36838"/>
                <a:gd name="connsiteX5" fmla="*/ 14737 w 14737"/>
                <a:gd name="connsiteY5" fmla="*/ 0 h 36838"/>
                <a:gd name="connsiteX6" fmla="*/ 7369 w 14737"/>
                <a:gd name="connsiteY6" fmla="*/ 7234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36838">
                  <a:moveTo>
                    <a:pt x="7369" y="7234"/>
                  </a:moveTo>
                  <a:lnTo>
                    <a:pt x="0" y="7234"/>
                  </a:lnTo>
                  <a:lnTo>
                    <a:pt x="0" y="36838"/>
                  </a:lnTo>
                  <a:cubicBezTo>
                    <a:pt x="1018" y="33837"/>
                    <a:pt x="3805" y="31801"/>
                    <a:pt x="6967" y="31748"/>
                  </a:cubicBezTo>
                  <a:lnTo>
                    <a:pt x="14737" y="31748"/>
                  </a:lnTo>
                  <a:lnTo>
                    <a:pt x="14737" y="0"/>
                  </a:lnTo>
                  <a:cubicBezTo>
                    <a:pt x="14670" y="4019"/>
                    <a:pt x="11388" y="7234"/>
                    <a:pt x="7369" y="7234"/>
                  </a:cubicBezTo>
                  <a:close/>
                </a:path>
              </a:pathLst>
            </a:custGeom>
            <a:solidFill>
              <a:srgbClr val="000000"/>
            </a:solidFill>
            <a:ln w="12700" cap="flat">
              <a:noFill/>
              <a:prstDash val="solid"/>
              <a:miter/>
            </a:ln>
          </p:spPr>
          <p:txBody>
            <a:bodyPr rtlCol="0" anchor="ctr"/>
            <a:lstStyle/>
            <a:p>
              <a:endParaRPr lang="en-US"/>
            </a:p>
          </p:txBody>
        </p:sp>
        <p:sp>
          <p:nvSpPr>
            <p:cNvPr id="1110" name="Freeform: Shape 1109">
              <a:extLst>
                <a:ext uri="{FF2B5EF4-FFF2-40B4-BE49-F238E27FC236}">
                  <a16:creationId xmlns:a16="http://schemas.microsoft.com/office/drawing/2014/main" id="{886771A7-0AD6-454C-B3A0-BE90A72F37ED}"/>
                </a:ext>
              </a:extLst>
            </p:cNvPr>
            <p:cNvSpPr/>
            <p:nvPr/>
          </p:nvSpPr>
          <p:spPr>
            <a:xfrm>
              <a:off x="7069861" y="5677707"/>
              <a:ext cx="14737" cy="150835"/>
            </a:xfrm>
            <a:custGeom>
              <a:avLst/>
              <a:gdLst>
                <a:gd name="connsiteX0" fmla="*/ 14737 w 14737"/>
                <a:gd name="connsiteY0" fmla="*/ 150835 h 150835"/>
                <a:gd name="connsiteX1" fmla="*/ 14737 w 14737"/>
                <a:gd name="connsiteY1" fmla="*/ 7368 h 150835"/>
                <a:gd name="connsiteX2" fmla="*/ 7369 w 14737"/>
                <a:gd name="connsiteY2" fmla="*/ 0 h 150835"/>
                <a:gd name="connsiteX3" fmla="*/ 0 w 14737"/>
                <a:gd name="connsiteY3" fmla="*/ 7368 h 150835"/>
                <a:gd name="connsiteX4" fmla="*/ 0 w 14737"/>
                <a:gd name="connsiteY4" fmla="*/ 150835 h 150835"/>
                <a:gd name="connsiteX5" fmla="*/ 14737 w 14737"/>
                <a:gd name="connsiteY5" fmla="*/ 150835 h 15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150835">
                  <a:moveTo>
                    <a:pt x="14737" y="150835"/>
                  </a:moveTo>
                  <a:lnTo>
                    <a:pt x="14737" y="7368"/>
                  </a:lnTo>
                  <a:cubicBezTo>
                    <a:pt x="14737" y="3298"/>
                    <a:pt x="11442" y="0"/>
                    <a:pt x="7369" y="0"/>
                  </a:cubicBezTo>
                  <a:cubicBezTo>
                    <a:pt x="3295" y="0"/>
                    <a:pt x="0" y="3298"/>
                    <a:pt x="0" y="7368"/>
                  </a:cubicBezTo>
                  <a:lnTo>
                    <a:pt x="0" y="150835"/>
                  </a:lnTo>
                  <a:lnTo>
                    <a:pt x="14737" y="150835"/>
                  </a:lnTo>
                  <a:close/>
                </a:path>
              </a:pathLst>
            </a:custGeom>
            <a:solidFill>
              <a:srgbClr val="000000"/>
            </a:solidFill>
            <a:ln w="12700" cap="flat">
              <a:noFill/>
              <a:prstDash val="solid"/>
              <a:miter/>
            </a:ln>
          </p:spPr>
          <p:txBody>
            <a:bodyPr rtlCol="0" anchor="ctr"/>
            <a:lstStyle/>
            <a:p>
              <a:endParaRPr lang="en-US"/>
            </a:p>
          </p:txBody>
        </p:sp>
        <p:sp>
          <p:nvSpPr>
            <p:cNvPr id="1111" name="Freeform: Shape 1110">
              <a:extLst>
                <a:ext uri="{FF2B5EF4-FFF2-40B4-BE49-F238E27FC236}">
                  <a16:creationId xmlns:a16="http://schemas.microsoft.com/office/drawing/2014/main" id="{82D90F0F-5068-48F3-8CA6-92393A004ECE}"/>
                </a:ext>
              </a:extLst>
            </p:cNvPr>
            <p:cNvSpPr/>
            <p:nvPr/>
          </p:nvSpPr>
          <p:spPr>
            <a:xfrm>
              <a:off x="9493917" y="6504756"/>
              <a:ext cx="46222" cy="14735"/>
            </a:xfrm>
            <a:custGeom>
              <a:avLst/>
              <a:gdLst>
                <a:gd name="connsiteX0" fmla="*/ 0 w 46222"/>
                <a:gd name="connsiteY0" fmla="*/ 8573 h 14735"/>
                <a:gd name="connsiteX1" fmla="*/ 0 w 46222"/>
                <a:gd name="connsiteY1" fmla="*/ 13530 h 14735"/>
                <a:gd name="connsiteX2" fmla="*/ 0 w 46222"/>
                <a:gd name="connsiteY2" fmla="*/ 14735 h 14735"/>
                <a:gd name="connsiteX3" fmla="*/ 46222 w 46222"/>
                <a:gd name="connsiteY3" fmla="*/ 14735 h 14735"/>
                <a:gd name="connsiteX4" fmla="*/ 46222 w 46222"/>
                <a:gd name="connsiteY4" fmla="*/ 0 h 14735"/>
                <a:gd name="connsiteX5" fmla="*/ 0 w 46222"/>
                <a:gd name="connsiteY5" fmla="*/ 0 h 14735"/>
                <a:gd name="connsiteX6" fmla="*/ 0 w 46222"/>
                <a:gd name="connsiteY6" fmla="*/ 7367 h 14735"/>
                <a:gd name="connsiteX7" fmla="*/ 0 w 46222"/>
                <a:gd name="connsiteY7" fmla="*/ 8573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22" h="14735">
                  <a:moveTo>
                    <a:pt x="0" y="8573"/>
                  </a:moveTo>
                  <a:lnTo>
                    <a:pt x="0" y="13530"/>
                  </a:lnTo>
                  <a:lnTo>
                    <a:pt x="0" y="14735"/>
                  </a:lnTo>
                  <a:lnTo>
                    <a:pt x="46222" y="14735"/>
                  </a:lnTo>
                  <a:lnTo>
                    <a:pt x="46222" y="0"/>
                  </a:lnTo>
                  <a:lnTo>
                    <a:pt x="0" y="0"/>
                  </a:lnTo>
                  <a:lnTo>
                    <a:pt x="0" y="7367"/>
                  </a:lnTo>
                  <a:lnTo>
                    <a:pt x="0" y="8573"/>
                  </a:lnTo>
                  <a:close/>
                </a:path>
              </a:pathLst>
            </a:custGeom>
            <a:solidFill>
              <a:srgbClr val="000000"/>
            </a:solidFill>
            <a:ln w="12700" cap="flat">
              <a:noFill/>
              <a:prstDash val="solid"/>
              <a:miter/>
            </a:ln>
          </p:spPr>
          <p:txBody>
            <a:bodyPr rtlCol="0" anchor="ctr"/>
            <a:lstStyle/>
            <a:p>
              <a:endParaRPr lang="en-US"/>
            </a:p>
          </p:txBody>
        </p:sp>
        <p:sp>
          <p:nvSpPr>
            <p:cNvPr id="1112" name="Freeform: Shape 1111">
              <a:extLst>
                <a:ext uri="{FF2B5EF4-FFF2-40B4-BE49-F238E27FC236}">
                  <a16:creationId xmlns:a16="http://schemas.microsoft.com/office/drawing/2014/main" id="{BE13D694-B2A8-42ED-87AB-82F8364154FC}"/>
                </a:ext>
              </a:extLst>
            </p:cNvPr>
            <p:cNvSpPr/>
            <p:nvPr/>
          </p:nvSpPr>
          <p:spPr>
            <a:xfrm>
              <a:off x="4947255" y="5923153"/>
              <a:ext cx="501879" cy="14296"/>
            </a:xfrm>
            <a:custGeom>
              <a:avLst/>
              <a:gdLst>
                <a:gd name="connsiteX0" fmla="*/ 7369 w 501879"/>
                <a:gd name="connsiteY0" fmla="*/ 6929 h 14296"/>
                <a:gd name="connsiteX1" fmla="*/ 7369 w 501879"/>
                <a:gd name="connsiteY1" fmla="*/ 14296 h 14296"/>
                <a:gd name="connsiteX2" fmla="*/ 499602 w 501879"/>
                <a:gd name="connsiteY2" fmla="*/ 14296 h 14296"/>
                <a:gd name="connsiteX3" fmla="*/ 498932 w 501879"/>
                <a:gd name="connsiteY3" fmla="*/ 14296 h 14296"/>
                <a:gd name="connsiteX4" fmla="*/ 493814 w 501879"/>
                <a:gd name="connsiteY4" fmla="*/ 5442 h 14296"/>
                <a:gd name="connsiteX5" fmla="*/ 493841 w 501879"/>
                <a:gd name="connsiteY5" fmla="*/ 5321 h 14296"/>
                <a:gd name="connsiteX6" fmla="*/ 501880 w 501879"/>
                <a:gd name="connsiteY6" fmla="*/ 97 h 14296"/>
                <a:gd name="connsiteX7" fmla="*/ 500942 w 501879"/>
                <a:gd name="connsiteY7" fmla="*/ 97 h 14296"/>
                <a:gd name="connsiteX8" fmla="*/ 0 w 501879"/>
                <a:gd name="connsiteY8" fmla="*/ 97 h 14296"/>
                <a:gd name="connsiteX9" fmla="*/ 7369 w 501879"/>
                <a:gd name="connsiteY9" fmla="*/ 6929 h 1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1879" h="14296">
                  <a:moveTo>
                    <a:pt x="7369" y="6929"/>
                  </a:moveTo>
                  <a:lnTo>
                    <a:pt x="7369" y="14296"/>
                  </a:lnTo>
                  <a:lnTo>
                    <a:pt x="499602" y="14296"/>
                  </a:lnTo>
                  <a:lnTo>
                    <a:pt x="498932" y="14296"/>
                  </a:lnTo>
                  <a:cubicBezTo>
                    <a:pt x="495074" y="13266"/>
                    <a:pt x="492783" y="9302"/>
                    <a:pt x="493814" y="5442"/>
                  </a:cubicBezTo>
                  <a:cubicBezTo>
                    <a:pt x="493814" y="5402"/>
                    <a:pt x="493828" y="5361"/>
                    <a:pt x="493841" y="5321"/>
                  </a:cubicBezTo>
                  <a:cubicBezTo>
                    <a:pt x="494766" y="1761"/>
                    <a:pt x="498249" y="-506"/>
                    <a:pt x="501880" y="97"/>
                  </a:cubicBezTo>
                  <a:lnTo>
                    <a:pt x="500942" y="97"/>
                  </a:lnTo>
                  <a:lnTo>
                    <a:pt x="0" y="97"/>
                  </a:lnTo>
                  <a:cubicBezTo>
                    <a:pt x="3872" y="86"/>
                    <a:pt x="7087" y="3071"/>
                    <a:pt x="7369" y="6929"/>
                  </a:cubicBezTo>
                  <a:close/>
                </a:path>
              </a:pathLst>
            </a:custGeom>
            <a:solidFill>
              <a:srgbClr val="000000"/>
            </a:solidFill>
            <a:ln w="12700" cap="flat">
              <a:noFill/>
              <a:prstDash val="solid"/>
              <a:miter/>
            </a:ln>
          </p:spPr>
          <p:txBody>
            <a:bodyPr rtlCol="0" anchor="ctr"/>
            <a:lstStyle/>
            <a:p>
              <a:endParaRPr lang="en-US"/>
            </a:p>
          </p:txBody>
        </p:sp>
        <p:sp>
          <p:nvSpPr>
            <p:cNvPr id="1113" name="Freeform: Shape 1112">
              <a:extLst>
                <a:ext uri="{FF2B5EF4-FFF2-40B4-BE49-F238E27FC236}">
                  <a16:creationId xmlns:a16="http://schemas.microsoft.com/office/drawing/2014/main" id="{D80D89CE-552F-4735-A8C6-0DDE3CF67EB7}"/>
                </a:ext>
              </a:extLst>
            </p:cNvPr>
            <p:cNvSpPr/>
            <p:nvPr/>
          </p:nvSpPr>
          <p:spPr>
            <a:xfrm>
              <a:off x="5440815" y="5922269"/>
              <a:ext cx="74102" cy="30585"/>
            </a:xfrm>
            <a:custGeom>
              <a:avLst/>
              <a:gdLst>
                <a:gd name="connsiteX0" fmla="*/ 281 w 74102"/>
                <a:gd name="connsiteY0" fmla="*/ 5937 h 30585"/>
                <a:gd name="connsiteX1" fmla="*/ 5251 w 74102"/>
                <a:gd name="connsiteY1" fmla="*/ 14879 h 30585"/>
                <a:gd name="connsiteX2" fmla="*/ 5372 w 74102"/>
                <a:gd name="connsiteY2" fmla="*/ 14912 h 30585"/>
                <a:gd name="connsiteX3" fmla="*/ 6042 w 74102"/>
                <a:gd name="connsiteY3" fmla="*/ 14912 h 30585"/>
                <a:gd name="connsiteX4" fmla="*/ 6042 w 74102"/>
                <a:gd name="connsiteY4" fmla="*/ 7545 h 30585"/>
                <a:gd name="connsiteX5" fmla="*/ 7381 w 74102"/>
                <a:gd name="connsiteY5" fmla="*/ 6205 h 30585"/>
                <a:gd name="connsiteX6" fmla="*/ 8587 w 74102"/>
                <a:gd name="connsiteY6" fmla="*/ 7545 h 30585"/>
                <a:gd name="connsiteX7" fmla="*/ 8587 w 74102"/>
                <a:gd name="connsiteY7" fmla="*/ 15582 h 30585"/>
                <a:gd name="connsiteX8" fmla="*/ 64322 w 74102"/>
                <a:gd name="connsiteY8" fmla="*/ 30585 h 30585"/>
                <a:gd name="connsiteX9" fmla="*/ 64322 w 74102"/>
                <a:gd name="connsiteY9" fmla="*/ 24825 h 30585"/>
                <a:gd name="connsiteX10" fmla="*/ 71691 w 74102"/>
                <a:gd name="connsiteY10" fmla="*/ 17457 h 30585"/>
                <a:gd name="connsiteX11" fmla="*/ 74102 w 74102"/>
                <a:gd name="connsiteY11" fmla="*/ 17457 h 30585"/>
                <a:gd name="connsiteX12" fmla="*/ 74102 w 74102"/>
                <a:gd name="connsiteY12" fmla="*/ 17457 h 30585"/>
                <a:gd name="connsiteX13" fmla="*/ 9793 w 74102"/>
                <a:gd name="connsiteY13" fmla="*/ 177 h 30585"/>
                <a:gd name="connsiteX14" fmla="*/ 8855 w 74102"/>
                <a:gd name="connsiteY14" fmla="*/ 177 h 30585"/>
                <a:gd name="connsiteX15" fmla="*/ 361 w 74102"/>
                <a:gd name="connsiteY15" fmla="*/ 5531 h 30585"/>
                <a:gd name="connsiteX16" fmla="*/ 281 w 74102"/>
                <a:gd name="connsiteY16" fmla="*/ 5937 h 3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102" h="30585">
                  <a:moveTo>
                    <a:pt x="281" y="5937"/>
                  </a:moveTo>
                  <a:cubicBezTo>
                    <a:pt x="-818" y="9779"/>
                    <a:pt x="1406" y="13782"/>
                    <a:pt x="5251" y="14879"/>
                  </a:cubicBezTo>
                  <a:cubicBezTo>
                    <a:pt x="5291" y="14891"/>
                    <a:pt x="5332" y="14902"/>
                    <a:pt x="5372" y="14912"/>
                  </a:cubicBezTo>
                  <a:lnTo>
                    <a:pt x="6042" y="14912"/>
                  </a:lnTo>
                  <a:lnTo>
                    <a:pt x="6042" y="7545"/>
                  </a:lnTo>
                  <a:cubicBezTo>
                    <a:pt x="6042" y="6805"/>
                    <a:pt x="6645" y="6205"/>
                    <a:pt x="7381" y="6205"/>
                  </a:cubicBezTo>
                  <a:cubicBezTo>
                    <a:pt x="8065" y="6275"/>
                    <a:pt x="8587" y="6855"/>
                    <a:pt x="8587" y="7545"/>
                  </a:cubicBezTo>
                  <a:lnTo>
                    <a:pt x="8587" y="15582"/>
                  </a:lnTo>
                  <a:lnTo>
                    <a:pt x="64322" y="30585"/>
                  </a:lnTo>
                  <a:lnTo>
                    <a:pt x="64322" y="24825"/>
                  </a:lnTo>
                  <a:cubicBezTo>
                    <a:pt x="64322" y="20756"/>
                    <a:pt x="67618" y="17457"/>
                    <a:pt x="71691" y="17457"/>
                  </a:cubicBezTo>
                  <a:cubicBezTo>
                    <a:pt x="72495" y="17330"/>
                    <a:pt x="73299" y="17330"/>
                    <a:pt x="74102" y="17457"/>
                  </a:cubicBezTo>
                  <a:lnTo>
                    <a:pt x="74102" y="17457"/>
                  </a:lnTo>
                  <a:lnTo>
                    <a:pt x="9793" y="177"/>
                  </a:lnTo>
                  <a:lnTo>
                    <a:pt x="8855" y="177"/>
                  </a:lnTo>
                  <a:cubicBezTo>
                    <a:pt x="5037" y="-690"/>
                    <a:pt x="1232" y="1708"/>
                    <a:pt x="361" y="5531"/>
                  </a:cubicBezTo>
                  <a:cubicBezTo>
                    <a:pt x="334" y="5667"/>
                    <a:pt x="308" y="5802"/>
                    <a:pt x="281" y="5937"/>
                  </a:cubicBezTo>
                  <a:close/>
                </a:path>
              </a:pathLst>
            </a:custGeom>
            <a:solidFill>
              <a:srgbClr val="000000"/>
            </a:solidFill>
            <a:ln w="12700" cap="flat">
              <a:noFill/>
              <a:prstDash val="solid"/>
              <a:miter/>
            </a:ln>
          </p:spPr>
          <p:txBody>
            <a:bodyPr rtlCol="0" anchor="ctr"/>
            <a:lstStyle/>
            <a:p>
              <a:endParaRPr lang="en-US"/>
            </a:p>
          </p:txBody>
        </p:sp>
        <p:sp>
          <p:nvSpPr>
            <p:cNvPr id="1114" name="Freeform: Shape 1113">
              <a:extLst>
                <a:ext uri="{FF2B5EF4-FFF2-40B4-BE49-F238E27FC236}">
                  <a16:creationId xmlns:a16="http://schemas.microsoft.com/office/drawing/2014/main" id="{C4049933-09D9-4724-902D-B62589313ACE}"/>
                </a:ext>
              </a:extLst>
            </p:cNvPr>
            <p:cNvSpPr/>
            <p:nvPr/>
          </p:nvSpPr>
          <p:spPr>
            <a:xfrm>
              <a:off x="5446857" y="5928742"/>
              <a:ext cx="2545" cy="924970"/>
            </a:xfrm>
            <a:custGeom>
              <a:avLst/>
              <a:gdLst>
                <a:gd name="connsiteX0" fmla="*/ 2546 w 2545"/>
                <a:gd name="connsiteY0" fmla="*/ 1340 h 924970"/>
                <a:gd name="connsiteX1" fmla="*/ 1340 w 2545"/>
                <a:gd name="connsiteY1" fmla="*/ 0 h 924970"/>
                <a:gd name="connsiteX2" fmla="*/ 0 w 2545"/>
                <a:gd name="connsiteY2" fmla="*/ 1340 h 924970"/>
                <a:gd name="connsiteX3" fmla="*/ 0 w 2545"/>
                <a:gd name="connsiteY3" fmla="*/ 8707 h 924970"/>
                <a:gd name="connsiteX4" fmla="*/ 0 w 2545"/>
                <a:gd name="connsiteY4" fmla="*/ 8707 h 924970"/>
                <a:gd name="connsiteX5" fmla="*/ 0 w 2545"/>
                <a:gd name="connsiteY5" fmla="*/ 924971 h 924970"/>
                <a:gd name="connsiteX6" fmla="*/ 2546 w 2545"/>
                <a:gd name="connsiteY6" fmla="*/ 924971 h 924970"/>
                <a:gd name="connsiteX7" fmla="*/ 2546 w 2545"/>
                <a:gd name="connsiteY7" fmla="*/ 1340 h 92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924970">
                  <a:moveTo>
                    <a:pt x="2546" y="1340"/>
                  </a:moveTo>
                  <a:cubicBezTo>
                    <a:pt x="2546" y="650"/>
                    <a:pt x="2023" y="70"/>
                    <a:pt x="1340" y="0"/>
                  </a:cubicBezTo>
                  <a:cubicBezTo>
                    <a:pt x="603" y="0"/>
                    <a:pt x="0" y="600"/>
                    <a:pt x="0" y="1340"/>
                  </a:cubicBezTo>
                  <a:lnTo>
                    <a:pt x="0" y="8707"/>
                  </a:lnTo>
                  <a:lnTo>
                    <a:pt x="0" y="8707"/>
                  </a:lnTo>
                  <a:lnTo>
                    <a:pt x="0" y="924971"/>
                  </a:lnTo>
                  <a:lnTo>
                    <a:pt x="2546" y="924971"/>
                  </a:lnTo>
                  <a:lnTo>
                    <a:pt x="2546" y="1340"/>
                  </a:lnTo>
                  <a:close/>
                </a:path>
              </a:pathLst>
            </a:custGeom>
            <a:solidFill>
              <a:srgbClr val="000000"/>
            </a:solidFill>
            <a:ln w="12700" cap="flat">
              <a:noFill/>
              <a:prstDash val="solid"/>
              <a:miter/>
            </a:ln>
          </p:spPr>
          <p:txBody>
            <a:bodyPr rtlCol="0" anchor="ctr"/>
            <a:lstStyle/>
            <a:p>
              <a:endParaRPr lang="en-US"/>
            </a:p>
          </p:txBody>
        </p:sp>
        <p:sp>
          <p:nvSpPr>
            <p:cNvPr id="1115" name="Freeform: Shape 1114">
              <a:extLst>
                <a:ext uri="{FF2B5EF4-FFF2-40B4-BE49-F238E27FC236}">
                  <a16:creationId xmlns:a16="http://schemas.microsoft.com/office/drawing/2014/main" id="{F2C220CF-F789-474C-A106-C097F6BE8879}"/>
                </a:ext>
              </a:extLst>
            </p:cNvPr>
            <p:cNvSpPr/>
            <p:nvPr/>
          </p:nvSpPr>
          <p:spPr>
            <a:xfrm>
              <a:off x="7824958" y="5877972"/>
              <a:ext cx="2595" cy="291891"/>
            </a:xfrm>
            <a:custGeom>
              <a:avLst/>
              <a:gdLst>
                <a:gd name="connsiteX0" fmla="*/ 2546 w 2595"/>
                <a:gd name="connsiteY0" fmla="*/ 291892 h 291891"/>
                <a:gd name="connsiteX1" fmla="*/ 2546 w 2595"/>
                <a:gd name="connsiteY1" fmla="*/ 288007 h 291891"/>
                <a:gd name="connsiteX2" fmla="*/ 2546 w 2595"/>
                <a:gd name="connsiteY2" fmla="*/ 288007 h 291891"/>
                <a:gd name="connsiteX3" fmla="*/ 2546 w 2595"/>
                <a:gd name="connsiteY3" fmla="*/ 286533 h 291891"/>
                <a:gd name="connsiteX4" fmla="*/ 2546 w 2595"/>
                <a:gd name="connsiteY4" fmla="*/ 285730 h 291891"/>
                <a:gd name="connsiteX5" fmla="*/ 2546 w 2595"/>
                <a:gd name="connsiteY5" fmla="*/ 0 h 291891"/>
                <a:gd name="connsiteX6" fmla="*/ 2546 w 2595"/>
                <a:gd name="connsiteY6" fmla="*/ 0 h 291891"/>
                <a:gd name="connsiteX7" fmla="*/ 1340 w 2595"/>
                <a:gd name="connsiteY7" fmla="*/ 0 h 291891"/>
                <a:gd name="connsiteX8" fmla="*/ 0 w 2595"/>
                <a:gd name="connsiteY8" fmla="*/ 0 h 291891"/>
                <a:gd name="connsiteX9" fmla="*/ 0 w 2595"/>
                <a:gd name="connsiteY9" fmla="*/ 0 h 291891"/>
                <a:gd name="connsiteX10" fmla="*/ 0 w 2595"/>
                <a:gd name="connsiteY10" fmla="*/ 291892 h 291891"/>
                <a:gd name="connsiteX11" fmla="*/ 2010 w 2595"/>
                <a:gd name="connsiteY11" fmla="*/ 291892 h 29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5" h="291891">
                  <a:moveTo>
                    <a:pt x="2546" y="291892"/>
                  </a:moveTo>
                  <a:lnTo>
                    <a:pt x="2546" y="288007"/>
                  </a:lnTo>
                  <a:cubicBezTo>
                    <a:pt x="2546" y="288007"/>
                    <a:pt x="2546" y="288007"/>
                    <a:pt x="2546" y="288007"/>
                  </a:cubicBezTo>
                  <a:cubicBezTo>
                    <a:pt x="2465" y="287525"/>
                    <a:pt x="2465" y="287016"/>
                    <a:pt x="2546" y="286533"/>
                  </a:cubicBezTo>
                  <a:cubicBezTo>
                    <a:pt x="2613" y="286265"/>
                    <a:pt x="2613" y="285998"/>
                    <a:pt x="2546" y="285730"/>
                  </a:cubicBezTo>
                  <a:lnTo>
                    <a:pt x="2546" y="0"/>
                  </a:lnTo>
                  <a:lnTo>
                    <a:pt x="2546" y="0"/>
                  </a:lnTo>
                  <a:lnTo>
                    <a:pt x="1340" y="0"/>
                  </a:lnTo>
                  <a:cubicBezTo>
                    <a:pt x="898" y="78"/>
                    <a:pt x="442" y="78"/>
                    <a:pt x="0" y="0"/>
                  </a:cubicBezTo>
                  <a:lnTo>
                    <a:pt x="0" y="0"/>
                  </a:lnTo>
                  <a:lnTo>
                    <a:pt x="0" y="291892"/>
                  </a:lnTo>
                  <a:lnTo>
                    <a:pt x="2010" y="291892"/>
                  </a:lnTo>
                  <a:close/>
                </a:path>
              </a:pathLst>
            </a:custGeom>
            <a:solidFill>
              <a:srgbClr val="000000"/>
            </a:solidFill>
            <a:ln w="12700" cap="flat">
              <a:noFill/>
              <a:prstDash val="solid"/>
              <a:miter/>
            </a:ln>
          </p:spPr>
          <p:txBody>
            <a:bodyPr rtlCol="0" anchor="ctr"/>
            <a:lstStyle/>
            <a:p>
              <a:endParaRPr lang="en-US"/>
            </a:p>
          </p:txBody>
        </p:sp>
        <p:sp>
          <p:nvSpPr>
            <p:cNvPr id="1116" name="Freeform: Shape 1115">
              <a:extLst>
                <a:ext uri="{FF2B5EF4-FFF2-40B4-BE49-F238E27FC236}">
                  <a16:creationId xmlns:a16="http://schemas.microsoft.com/office/drawing/2014/main" id="{1A6D32B1-0DE2-4218-9984-5043807A7C64}"/>
                </a:ext>
              </a:extLst>
            </p:cNvPr>
            <p:cNvSpPr/>
            <p:nvPr/>
          </p:nvSpPr>
          <p:spPr>
            <a:xfrm>
              <a:off x="7833667" y="5869667"/>
              <a:ext cx="2545" cy="288006"/>
            </a:xfrm>
            <a:custGeom>
              <a:avLst/>
              <a:gdLst>
                <a:gd name="connsiteX0" fmla="*/ 134 w 2545"/>
                <a:gd name="connsiteY0" fmla="*/ 287873 h 288006"/>
                <a:gd name="connsiteX1" fmla="*/ 1608 w 2545"/>
                <a:gd name="connsiteY1" fmla="*/ 287873 h 288006"/>
                <a:gd name="connsiteX2" fmla="*/ 2546 w 2545"/>
                <a:gd name="connsiteY2" fmla="*/ 287873 h 288006"/>
                <a:gd name="connsiteX3" fmla="*/ 2546 w 2545"/>
                <a:gd name="connsiteY3" fmla="*/ 0 h 288006"/>
                <a:gd name="connsiteX4" fmla="*/ 0 w 2545"/>
                <a:gd name="connsiteY4" fmla="*/ 4153 h 288006"/>
                <a:gd name="connsiteX5" fmla="*/ 0 w 2545"/>
                <a:gd name="connsiteY5" fmla="*/ 288007 h 28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006">
                  <a:moveTo>
                    <a:pt x="134" y="287873"/>
                  </a:moveTo>
                  <a:lnTo>
                    <a:pt x="1608" y="287873"/>
                  </a:lnTo>
                  <a:lnTo>
                    <a:pt x="2546" y="287873"/>
                  </a:lnTo>
                  <a:lnTo>
                    <a:pt x="2546" y="0"/>
                  </a:lnTo>
                  <a:lnTo>
                    <a:pt x="0" y="4153"/>
                  </a:lnTo>
                  <a:lnTo>
                    <a:pt x="0" y="288007"/>
                  </a:lnTo>
                  <a:close/>
                </a:path>
              </a:pathLst>
            </a:custGeom>
            <a:solidFill>
              <a:srgbClr val="000000"/>
            </a:solidFill>
            <a:ln w="12700" cap="flat">
              <a:noFill/>
              <a:prstDash val="solid"/>
              <a:miter/>
            </a:ln>
          </p:spPr>
          <p:txBody>
            <a:bodyPr rtlCol="0" anchor="ctr"/>
            <a:lstStyle/>
            <a:p>
              <a:endParaRPr lang="en-US"/>
            </a:p>
          </p:txBody>
        </p:sp>
        <p:sp>
          <p:nvSpPr>
            <p:cNvPr id="1117" name="Freeform: Shape 1116">
              <a:extLst>
                <a:ext uri="{FF2B5EF4-FFF2-40B4-BE49-F238E27FC236}">
                  <a16:creationId xmlns:a16="http://schemas.microsoft.com/office/drawing/2014/main" id="{017358A5-181F-4B4A-9090-04658C4182C5}"/>
                </a:ext>
              </a:extLst>
            </p:cNvPr>
            <p:cNvSpPr/>
            <p:nvPr/>
          </p:nvSpPr>
          <p:spPr>
            <a:xfrm>
              <a:off x="7859793" y="5827337"/>
              <a:ext cx="2678" cy="316941"/>
            </a:xfrm>
            <a:custGeom>
              <a:avLst/>
              <a:gdLst>
                <a:gd name="connsiteX0" fmla="*/ 536 w 2678"/>
                <a:gd name="connsiteY0" fmla="*/ 316540 h 316941"/>
                <a:gd name="connsiteX1" fmla="*/ 2679 w 2678"/>
                <a:gd name="connsiteY1" fmla="*/ 316540 h 316941"/>
                <a:gd name="connsiteX2" fmla="*/ 2679 w 2678"/>
                <a:gd name="connsiteY2" fmla="*/ 0 h 316941"/>
                <a:gd name="connsiteX3" fmla="*/ 0 w 2678"/>
                <a:gd name="connsiteY3" fmla="*/ 4153 h 316941"/>
                <a:gd name="connsiteX4" fmla="*/ 0 w 2678"/>
                <a:gd name="connsiteY4" fmla="*/ 316942 h 316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 h="316941">
                  <a:moveTo>
                    <a:pt x="536" y="316540"/>
                  </a:moveTo>
                  <a:lnTo>
                    <a:pt x="2679" y="316540"/>
                  </a:lnTo>
                  <a:lnTo>
                    <a:pt x="2679" y="0"/>
                  </a:lnTo>
                  <a:lnTo>
                    <a:pt x="0" y="4153"/>
                  </a:lnTo>
                  <a:lnTo>
                    <a:pt x="0" y="316942"/>
                  </a:lnTo>
                  <a:close/>
                </a:path>
              </a:pathLst>
            </a:custGeom>
            <a:solidFill>
              <a:srgbClr val="000000"/>
            </a:solidFill>
            <a:ln w="12700" cap="flat">
              <a:noFill/>
              <a:prstDash val="solid"/>
              <a:miter/>
            </a:ln>
          </p:spPr>
          <p:txBody>
            <a:bodyPr rtlCol="0" anchor="ctr"/>
            <a:lstStyle/>
            <a:p>
              <a:endParaRPr lang="en-US"/>
            </a:p>
          </p:txBody>
        </p:sp>
        <p:sp>
          <p:nvSpPr>
            <p:cNvPr id="1118" name="Freeform: Shape 1117">
              <a:extLst>
                <a:ext uri="{FF2B5EF4-FFF2-40B4-BE49-F238E27FC236}">
                  <a16:creationId xmlns:a16="http://schemas.microsoft.com/office/drawing/2014/main" id="{F12EF009-4FE8-491D-92FB-467903111FD6}"/>
                </a:ext>
              </a:extLst>
            </p:cNvPr>
            <p:cNvSpPr/>
            <p:nvPr/>
          </p:nvSpPr>
          <p:spPr>
            <a:xfrm>
              <a:off x="8701976" y="6143608"/>
              <a:ext cx="40997" cy="2545"/>
            </a:xfrm>
            <a:custGeom>
              <a:avLst/>
              <a:gdLst>
                <a:gd name="connsiteX0" fmla="*/ 0 w 40997"/>
                <a:gd name="connsiteY0" fmla="*/ 2545 h 2545"/>
                <a:gd name="connsiteX1" fmla="*/ 38853 w 40997"/>
                <a:gd name="connsiteY1" fmla="*/ 2545 h 2545"/>
                <a:gd name="connsiteX2" fmla="*/ 40997 w 40997"/>
                <a:gd name="connsiteY2" fmla="*/ 0 h 2545"/>
                <a:gd name="connsiteX3" fmla="*/ 0 w 40997"/>
                <a:gd name="connsiteY3" fmla="*/ 0 h 2545"/>
                <a:gd name="connsiteX4" fmla="*/ 0 w 40997"/>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97" h="2545">
                  <a:moveTo>
                    <a:pt x="0" y="2545"/>
                  </a:moveTo>
                  <a:lnTo>
                    <a:pt x="38853" y="2545"/>
                  </a:lnTo>
                  <a:cubicBezTo>
                    <a:pt x="39335" y="1527"/>
                    <a:pt x="40072" y="643"/>
                    <a:pt x="40997" y="0"/>
                  </a:cubicBezTo>
                  <a:lnTo>
                    <a:pt x="0" y="0"/>
                  </a:lnTo>
                  <a:lnTo>
                    <a:pt x="0" y="2545"/>
                  </a:lnTo>
                  <a:close/>
                </a:path>
              </a:pathLst>
            </a:custGeom>
            <a:solidFill>
              <a:srgbClr val="000000"/>
            </a:solidFill>
            <a:ln w="12700" cap="flat">
              <a:noFill/>
              <a:prstDash val="solid"/>
              <a:miter/>
            </a:ln>
          </p:spPr>
          <p:txBody>
            <a:bodyPr rtlCol="0" anchor="ctr"/>
            <a:lstStyle/>
            <a:p>
              <a:endParaRPr lang="en-US"/>
            </a:p>
          </p:txBody>
        </p:sp>
        <p:sp>
          <p:nvSpPr>
            <p:cNvPr id="1119" name="Freeform: Shape 1118">
              <a:extLst>
                <a:ext uri="{FF2B5EF4-FFF2-40B4-BE49-F238E27FC236}">
                  <a16:creationId xmlns:a16="http://schemas.microsoft.com/office/drawing/2014/main" id="{090930F9-80C3-467F-ABB7-9B7394341A52}"/>
                </a:ext>
              </a:extLst>
            </p:cNvPr>
            <p:cNvSpPr/>
            <p:nvPr/>
          </p:nvSpPr>
          <p:spPr>
            <a:xfrm>
              <a:off x="8751949" y="6143608"/>
              <a:ext cx="23311" cy="2545"/>
            </a:xfrm>
            <a:custGeom>
              <a:avLst/>
              <a:gdLst>
                <a:gd name="connsiteX0" fmla="*/ 2144 w 23311"/>
                <a:gd name="connsiteY0" fmla="*/ 2545 h 2545"/>
                <a:gd name="connsiteX1" fmla="*/ 12460 w 23311"/>
                <a:gd name="connsiteY1" fmla="*/ 2545 h 2545"/>
                <a:gd name="connsiteX2" fmla="*/ 23312 w 23311"/>
                <a:gd name="connsiteY2" fmla="*/ 0 h 2545"/>
                <a:gd name="connsiteX3" fmla="*/ 0 w 23311"/>
                <a:gd name="connsiteY3" fmla="*/ 0 h 2545"/>
                <a:gd name="connsiteX4" fmla="*/ 2144 w 23311"/>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11" h="2545">
                  <a:moveTo>
                    <a:pt x="2144" y="2545"/>
                  </a:moveTo>
                  <a:lnTo>
                    <a:pt x="12460" y="2545"/>
                  </a:lnTo>
                  <a:lnTo>
                    <a:pt x="23312" y="0"/>
                  </a:lnTo>
                  <a:lnTo>
                    <a:pt x="0" y="0"/>
                  </a:lnTo>
                  <a:cubicBezTo>
                    <a:pt x="885" y="683"/>
                    <a:pt x="1622" y="1554"/>
                    <a:pt x="2144" y="2545"/>
                  </a:cubicBezTo>
                  <a:close/>
                </a:path>
              </a:pathLst>
            </a:custGeom>
            <a:solidFill>
              <a:srgbClr val="000000"/>
            </a:solidFill>
            <a:ln w="12700" cap="flat">
              <a:noFill/>
              <a:prstDash val="solid"/>
              <a:miter/>
            </a:ln>
          </p:spPr>
          <p:txBody>
            <a:bodyPr rtlCol="0" anchor="ctr"/>
            <a:lstStyle/>
            <a:p>
              <a:endParaRPr lang="en-US"/>
            </a:p>
          </p:txBody>
        </p:sp>
        <p:sp>
          <p:nvSpPr>
            <p:cNvPr id="1120" name="Freeform: Shape 1119">
              <a:extLst>
                <a:ext uri="{FF2B5EF4-FFF2-40B4-BE49-F238E27FC236}">
                  <a16:creationId xmlns:a16="http://schemas.microsoft.com/office/drawing/2014/main" id="{635A98E4-B620-4E6F-BEDE-8EE0DDDD0378}"/>
                </a:ext>
              </a:extLst>
            </p:cNvPr>
            <p:cNvSpPr/>
            <p:nvPr/>
          </p:nvSpPr>
          <p:spPr>
            <a:xfrm>
              <a:off x="7860730" y="6143182"/>
              <a:ext cx="186497" cy="2703"/>
            </a:xfrm>
            <a:custGeom>
              <a:avLst/>
              <a:gdLst>
                <a:gd name="connsiteX0" fmla="*/ 1206 w 186497"/>
                <a:gd name="connsiteY0" fmla="*/ 2704 h 2703"/>
                <a:gd name="connsiteX1" fmla="*/ 1206 w 186497"/>
                <a:gd name="connsiteY1" fmla="*/ 2704 h 2703"/>
                <a:gd name="connsiteX2" fmla="*/ 186497 w 186497"/>
                <a:gd name="connsiteY2" fmla="*/ 2704 h 2703"/>
                <a:gd name="connsiteX3" fmla="*/ 186497 w 186497"/>
                <a:gd name="connsiteY3" fmla="*/ 159 h 2703"/>
                <a:gd name="connsiteX4" fmla="*/ 0 w 186497"/>
                <a:gd name="connsiteY4" fmla="*/ 159 h 2703"/>
                <a:gd name="connsiteX5" fmla="*/ 1675 w 186497"/>
                <a:gd name="connsiteY5" fmla="*/ 627 h 2703"/>
                <a:gd name="connsiteX6" fmla="*/ 1206 w 186497"/>
                <a:gd name="connsiteY6" fmla="*/ 2302 h 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497" h="2703">
                  <a:moveTo>
                    <a:pt x="1206" y="2704"/>
                  </a:moveTo>
                  <a:lnTo>
                    <a:pt x="1206" y="2704"/>
                  </a:lnTo>
                  <a:lnTo>
                    <a:pt x="186497" y="2704"/>
                  </a:lnTo>
                  <a:lnTo>
                    <a:pt x="186497" y="159"/>
                  </a:lnTo>
                  <a:lnTo>
                    <a:pt x="0" y="159"/>
                  </a:lnTo>
                  <a:cubicBezTo>
                    <a:pt x="590" y="-176"/>
                    <a:pt x="1340" y="38"/>
                    <a:pt x="1675" y="627"/>
                  </a:cubicBezTo>
                  <a:cubicBezTo>
                    <a:pt x="2010" y="1217"/>
                    <a:pt x="1796" y="1967"/>
                    <a:pt x="1206" y="2302"/>
                  </a:cubicBezTo>
                  <a:close/>
                </a:path>
              </a:pathLst>
            </a:custGeom>
            <a:solidFill>
              <a:srgbClr val="000000"/>
            </a:solidFill>
            <a:ln w="12700" cap="flat">
              <a:noFill/>
              <a:prstDash val="solid"/>
              <a:miter/>
            </a:ln>
          </p:spPr>
          <p:txBody>
            <a:bodyPr rtlCol="0" anchor="ctr"/>
            <a:lstStyle/>
            <a:p>
              <a:endParaRPr lang="en-US"/>
            </a:p>
          </p:txBody>
        </p:sp>
        <p:sp>
          <p:nvSpPr>
            <p:cNvPr id="1121" name="Freeform: Shape 1120">
              <a:extLst>
                <a:ext uri="{FF2B5EF4-FFF2-40B4-BE49-F238E27FC236}">
                  <a16:creationId xmlns:a16="http://schemas.microsoft.com/office/drawing/2014/main" id="{817AB2BF-B01B-445C-A5C8-9BFACCA84768}"/>
                </a:ext>
              </a:extLst>
            </p:cNvPr>
            <p:cNvSpPr/>
            <p:nvPr/>
          </p:nvSpPr>
          <p:spPr>
            <a:xfrm>
              <a:off x="8793750" y="5815415"/>
              <a:ext cx="14570" cy="330069"/>
            </a:xfrm>
            <a:custGeom>
              <a:avLst/>
              <a:gdLst>
                <a:gd name="connsiteX0" fmla="*/ 7369 w 14570"/>
                <a:gd name="connsiteY0" fmla="*/ 7368 h 330069"/>
                <a:gd name="connsiteX1" fmla="*/ 0 w 14570"/>
                <a:gd name="connsiteY1" fmla="*/ 7368 h 330069"/>
                <a:gd name="connsiteX2" fmla="*/ 0 w 14570"/>
                <a:gd name="connsiteY2" fmla="*/ 323639 h 330069"/>
                <a:gd name="connsiteX3" fmla="*/ 5628 w 14570"/>
                <a:gd name="connsiteY3" fmla="*/ 322300 h 330069"/>
                <a:gd name="connsiteX4" fmla="*/ 14470 w 14570"/>
                <a:gd name="connsiteY4" fmla="*/ 327792 h 330069"/>
                <a:gd name="connsiteX5" fmla="*/ 14470 w 14570"/>
                <a:gd name="connsiteY5" fmla="*/ 330069 h 330069"/>
                <a:gd name="connsiteX6" fmla="*/ 14470 w 14570"/>
                <a:gd name="connsiteY6" fmla="*/ 330069 h 330069"/>
                <a:gd name="connsiteX7" fmla="*/ 14470 w 14570"/>
                <a:gd name="connsiteY7" fmla="*/ 0 h 330069"/>
                <a:gd name="connsiteX8" fmla="*/ 7369 w 14570"/>
                <a:gd name="connsiteY8" fmla="*/ 7368 h 33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0" h="330069">
                  <a:moveTo>
                    <a:pt x="7369" y="7368"/>
                  </a:moveTo>
                  <a:lnTo>
                    <a:pt x="0" y="7368"/>
                  </a:lnTo>
                  <a:lnTo>
                    <a:pt x="0" y="323639"/>
                  </a:lnTo>
                  <a:lnTo>
                    <a:pt x="5628" y="322300"/>
                  </a:lnTo>
                  <a:cubicBezTo>
                    <a:pt x="9580" y="321376"/>
                    <a:pt x="13545" y="323840"/>
                    <a:pt x="14470" y="327792"/>
                  </a:cubicBezTo>
                  <a:cubicBezTo>
                    <a:pt x="14604" y="328542"/>
                    <a:pt x="14604" y="329319"/>
                    <a:pt x="14470" y="330069"/>
                  </a:cubicBezTo>
                  <a:cubicBezTo>
                    <a:pt x="14470" y="330069"/>
                    <a:pt x="14470" y="330069"/>
                    <a:pt x="14470" y="330069"/>
                  </a:cubicBezTo>
                  <a:lnTo>
                    <a:pt x="14470" y="0"/>
                  </a:lnTo>
                  <a:cubicBezTo>
                    <a:pt x="14470" y="3967"/>
                    <a:pt x="11335" y="7223"/>
                    <a:pt x="7369" y="7368"/>
                  </a:cubicBezTo>
                  <a:close/>
                </a:path>
              </a:pathLst>
            </a:custGeom>
            <a:solidFill>
              <a:srgbClr val="000000"/>
            </a:solidFill>
            <a:ln w="12700" cap="flat">
              <a:noFill/>
              <a:prstDash val="solid"/>
              <a:miter/>
            </a:ln>
          </p:spPr>
          <p:txBody>
            <a:bodyPr rtlCol="0" anchor="ctr"/>
            <a:lstStyle/>
            <a:p>
              <a:endParaRPr lang="en-US"/>
            </a:p>
          </p:txBody>
        </p:sp>
        <p:sp>
          <p:nvSpPr>
            <p:cNvPr id="1122" name="Freeform: Shape 1121">
              <a:extLst>
                <a:ext uri="{FF2B5EF4-FFF2-40B4-BE49-F238E27FC236}">
                  <a16:creationId xmlns:a16="http://schemas.microsoft.com/office/drawing/2014/main" id="{9A16F0B8-252C-46A9-BB21-DC35902AF61E}"/>
                </a:ext>
              </a:extLst>
            </p:cNvPr>
            <p:cNvSpPr/>
            <p:nvPr/>
          </p:nvSpPr>
          <p:spPr>
            <a:xfrm>
              <a:off x="7838892" y="6156334"/>
              <a:ext cx="5760" cy="2009"/>
            </a:xfrm>
            <a:custGeom>
              <a:avLst/>
              <a:gdLst>
                <a:gd name="connsiteX0" fmla="*/ 3483 w 5760"/>
                <a:gd name="connsiteY0" fmla="*/ 2009 h 2009"/>
                <a:gd name="connsiteX1" fmla="*/ 5761 w 5760"/>
                <a:gd name="connsiteY1" fmla="*/ 0 h 2009"/>
                <a:gd name="connsiteX2" fmla="*/ 0 w 5760"/>
                <a:gd name="connsiteY2" fmla="*/ 0 h 2009"/>
                <a:gd name="connsiteX3" fmla="*/ 0 w 5760"/>
                <a:gd name="connsiteY3" fmla="*/ 0 h 2009"/>
                <a:gd name="connsiteX4" fmla="*/ 3483 w 5760"/>
                <a:gd name="connsiteY4" fmla="*/ 2009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0" h="2009">
                  <a:moveTo>
                    <a:pt x="3483" y="2009"/>
                  </a:moveTo>
                  <a:lnTo>
                    <a:pt x="5761" y="0"/>
                  </a:lnTo>
                  <a:lnTo>
                    <a:pt x="0" y="0"/>
                  </a:lnTo>
                  <a:lnTo>
                    <a:pt x="0" y="0"/>
                  </a:lnTo>
                  <a:cubicBezTo>
                    <a:pt x="1326" y="321"/>
                    <a:pt x="2546" y="1018"/>
                    <a:pt x="3483" y="2009"/>
                  </a:cubicBezTo>
                  <a:close/>
                </a:path>
              </a:pathLst>
            </a:custGeom>
            <a:solidFill>
              <a:srgbClr val="000000"/>
            </a:solidFill>
            <a:ln w="12700" cap="flat">
              <a:noFill/>
              <a:prstDash val="solid"/>
              <a:miter/>
            </a:ln>
          </p:spPr>
          <p:txBody>
            <a:bodyPr rtlCol="0" anchor="ctr"/>
            <a:lstStyle/>
            <a:p>
              <a:endParaRPr lang="en-US"/>
            </a:p>
          </p:txBody>
        </p:sp>
        <p:sp>
          <p:nvSpPr>
            <p:cNvPr id="1123" name="Freeform: Shape 1122">
              <a:extLst>
                <a:ext uri="{FF2B5EF4-FFF2-40B4-BE49-F238E27FC236}">
                  <a16:creationId xmlns:a16="http://schemas.microsoft.com/office/drawing/2014/main" id="{C04DB0D2-54F5-4AEB-9CCC-B87AB6EEC32F}"/>
                </a:ext>
              </a:extLst>
            </p:cNvPr>
            <p:cNvSpPr/>
            <p:nvPr/>
          </p:nvSpPr>
          <p:spPr>
            <a:xfrm>
              <a:off x="7843983" y="6156334"/>
              <a:ext cx="202842" cy="8707"/>
            </a:xfrm>
            <a:custGeom>
              <a:avLst/>
              <a:gdLst>
                <a:gd name="connsiteX0" fmla="*/ 805 w 202842"/>
                <a:gd name="connsiteY0" fmla="*/ 8707 h 8707"/>
                <a:gd name="connsiteX1" fmla="*/ 202842 w 202842"/>
                <a:gd name="connsiteY1" fmla="*/ 8707 h 8707"/>
                <a:gd name="connsiteX2" fmla="*/ 202842 w 202842"/>
                <a:gd name="connsiteY2" fmla="*/ 0 h 8707"/>
                <a:gd name="connsiteX3" fmla="*/ 4958 w 202842"/>
                <a:gd name="connsiteY3" fmla="*/ 0 h 8707"/>
                <a:gd name="connsiteX4" fmla="*/ 0 w 202842"/>
                <a:gd name="connsiteY4" fmla="*/ 4019 h 8707"/>
                <a:gd name="connsiteX5" fmla="*/ 805 w 202842"/>
                <a:gd name="connsiteY5" fmla="*/ 8707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42" h="8707">
                  <a:moveTo>
                    <a:pt x="805" y="8707"/>
                  </a:moveTo>
                  <a:lnTo>
                    <a:pt x="202842" y="8707"/>
                  </a:lnTo>
                  <a:lnTo>
                    <a:pt x="202842" y="0"/>
                  </a:lnTo>
                  <a:lnTo>
                    <a:pt x="4958" y="0"/>
                  </a:lnTo>
                  <a:lnTo>
                    <a:pt x="0" y="4019"/>
                  </a:lnTo>
                  <a:cubicBezTo>
                    <a:pt x="791" y="5452"/>
                    <a:pt x="1072" y="7100"/>
                    <a:pt x="805" y="8707"/>
                  </a:cubicBezTo>
                  <a:close/>
                </a:path>
              </a:pathLst>
            </a:custGeom>
            <a:solidFill>
              <a:srgbClr val="000000"/>
            </a:solidFill>
            <a:ln w="12700" cap="flat">
              <a:noFill/>
              <a:prstDash val="solid"/>
              <a:miter/>
            </a:ln>
          </p:spPr>
          <p:txBody>
            <a:bodyPr rtlCol="0" anchor="ctr"/>
            <a:lstStyle/>
            <a:p>
              <a:endParaRPr lang="en-US"/>
            </a:p>
          </p:txBody>
        </p:sp>
        <p:sp>
          <p:nvSpPr>
            <p:cNvPr id="1124" name="Freeform: Shape 1123">
              <a:extLst>
                <a:ext uri="{FF2B5EF4-FFF2-40B4-BE49-F238E27FC236}">
                  <a16:creationId xmlns:a16="http://schemas.microsoft.com/office/drawing/2014/main" id="{A403D6A1-D6A1-4A31-A2A7-3FD18BA7588C}"/>
                </a:ext>
              </a:extLst>
            </p:cNvPr>
            <p:cNvSpPr/>
            <p:nvPr/>
          </p:nvSpPr>
          <p:spPr>
            <a:xfrm>
              <a:off x="7836347" y="5865246"/>
              <a:ext cx="2545" cy="291355"/>
            </a:xfrm>
            <a:custGeom>
              <a:avLst/>
              <a:gdLst>
                <a:gd name="connsiteX0" fmla="*/ 2546 w 2545"/>
                <a:gd name="connsiteY0" fmla="*/ 291356 h 291355"/>
                <a:gd name="connsiteX1" fmla="*/ 2546 w 2545"/>
                <a:gd name="connsiteY1" fmla="*/ 0 h 291355"/>
                <a:gd name="connsiteX2" fmla="*/ 0 w 2545"/>
                <a:gd name="connsiteY2" fmla="*/ 4153 h 291355"/>
                <a:gd name="connsiteX3" fmla="*/ 0 w 2545"/>
                <a:gd name="connsiteY3" fmla="*/ 291356 h 291355"/>
                <a:gd name="connsiteX4" fmla="*/ 2546 w 2545"/>
                <a:gd name="connsiteY4" fmla="*/ 291356 h 291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91355">
                  <a:moveTo>
                    <a:pt x="2546" y="291356"/>
                  </a:moveTo>
                  <a:lnTo>
                    <a:pt x="2546" y="0"/>
                  </a:lnTo>
                  <a:lnTo>
                    <a:pt x="0" y="4153"/>
                  </a:lnTo>
                  <a:lnTo>
                    <a:pt x="0" y="291356"/>
                  </a:lnTo>
                  <a:cubicBezTo>
                    <a:pt x="844" y="291222"/>
                    <a:pt x="1701" y="291222"/>
                    <a:pt x="2546" y="291356"/>
                  </a:cubicBezTo>
                  <a:close/>
                </a:path>
              </a:pathLst>
            </a:custGeom>
            <a:solidFill>
              <a:srgbClr val="000000"/>
            </a:solidFill>
            <a:ln w="12700" cap="flat">
              <a:noFill/>
              <a:prstDash val="solid"/>
              <a:miter/>
            </a:ln>
          </p:spPr>
          <p:txBody>
            <a:bodyPr rtlCol="0" anchor="ctr"/>
            <a:lstStyle/>
            <a:p>
              <a:endParaRPr lang="en-US"/>
            </a:p>
          </p:txBody>
        </p:sp>
        <p:sp>
          <p:nvSpPr>
            <p:cNvPr id="1125" name="Freeform: Shape 1124">
              <a:extLst>
                <a:ext uri="{FF2B5EF4-FFF2-40B4-BE49-F238E27FC236}">
                  <a16:creationId xmlns:a16="http://schemas.microsoft.com/office/drawing/2014/main" id="{26D8267B-9240-4604-B4DE-E0FB1F8C423F}"/>
                </a:ext>
              </a:extLst>
            </p:cNvPr>
            <p:cNvSpPr/>
            <p:nvPr/>
          </p:nvSpPr>
          <p:spPr>
            <a:xfrm>
              <a:off x="7817922" y="5854262"/>
              <a:ext cx="21640" cy="22428"/>
            </a:xfrm>
            <a:custGeom>
              <a:avLst/>
              <a:gdLst>
                <a:gd name="connsiteX0" fmla="*/ 2481 w 21640"/>
                <a:gd name="connsiteY0" fmla="*/ 20094 h 22428"/>
                <a:gd name="connsiteX1" fmla="*/ 3285 w 21640"/>
                <a:gd name="connsiteY1" fmla="*/ 21299 h 22428"/>
                <a:gd name="connsiteX2" fmla="*/ 4356 w 21640"/>
                <a:gd name="connsiteY2" fmla="*/ 22371 h 22428"/>
                <a:gd name="connsiteX3" fmla="*/ 4356 w 21640"/>
                <a:gd name="connsiteY3" fmla="*/ 22371 h 22428"/>
                <a:gd name="connsiteX4" fmla="*/ 4356 w 21640"/>
                <a:gd name="connsiteY4" fmla="*/ 22371 h 22428"/>
                <a:gd name="connsiteX5" fmla="*/ 6501 w 21640"/>
                <a:gd name="connsiteY5" fmla="*/ 22371 h 22428"/>
                <a:gd name="connsiteX6" fmla="*/ 7840 w 21640"/>
                <a:gd name="connsiteY6" fmla="*/ 22371 h 22428"/>
                <a:gd name="connsiteX7" fmla="*/ 9046 w 21640"/>
                <a:gd name="connsiteY7" fmla="*/ 22371 h 22428"/>
                <a:gd name="connsiteX8" fmla="*/ 11055 w 21640"/>
                <a:gd name="connsiteY8" fmla="*/ 22371 h 22428"/>
                <a:gd name="connsiteX9" fmla="*/ 11726 w 21640"/>
                <a:gd name="connsiteY9" fmla="*/ 22371 h 22428"/>
                <a:gd name="connsiteX10" fmla="*/ 13601 w 21640"/>
                <a:gd name="connsiteY10" fmla="*/ 20629 h 22428"/>
                <a:gd name="connsiteX11" fmla="*/ 13601 w 21640"/>
                <a:gd name="connsiteY11" fmla="*/ 20629 h 22428"/>
                <a:gd name="connsiteX12" fmla="*/ 14271 w 21640"/>
                <a:gd name="connsiteY12" fmla="*/ 19692 h 22428"/>
                <a:gd name="connsiteX13" fmla="*/ 16817 w 21640"/>
                <a:gd name="connsiteY13" fmla="*/ 15539 h 22428"/>
                <a:gd name="connsiteX14" fmla="*/ 16817 w 21640"/>
                <a:gd name="connsiteY14" fmla="*/ 15539 h 22428"/>
                <a:gd name="connsiteX15" fmla="*/ 19362 w 21640"/>
                <a:gd name="connsiteY15" fmla="*/ 11386 h 22428"/>
                <a:gd name="connsiteX16" fmla="*/ 21640 w 21640"/>
                <a:gd name="connsiteY16" fmla="*/ 7770 h 22428"/>
                <a:gd name="connsiteX17" fmla="*/ 15343 w 21640"/>
                <a:gd name="connsiteY17" fmla="*/ 11252 h 22428"/>
                <a:gd name="connsiteX18" fmla="*/ 11458 w 21640"/>
                <a:gd name="connsiteY18" fmla="*/ 10181 h 22428"/>
                <a:gd name="connsiteX19" fmla="*/ 9180 w 21640"/>
                <a:gd name="connsiteY19" fmla="*/ 0 h 22428"/>
                <a:gd name="connsiteX20" fmla="*/ 1007 w 21640"/>
                <a:gd name="connsiteY20" fmla="*/ 13396 h 22428"/>
                <a:gd name="connsiteX21" fmla="*/ 70 w 21640"/>
                <a:gd name="connsiteY21" fmla="*/ 18084 h 22428"/>
                <a:gd name="connsiteX22" fmla="*/ 70 w 21640"/>
                <a:gd name="connsiteY22" fmla="*/ 19558 h 2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640" h="22428">
                  <a:moveTo>
                    <a:pt x="2481" y="20094"/>
                  </a:moveTo>
                  <a:lnTo>
                    <a:pt x="3285" y="21299"/>
                  </a:lnTo>
                  <a:lnTo>
                    <a:pt x="4356" y="22371"/>
                  </a:lnTo>
                  <a:lnTo>
                    <a:pt x="4356" y="22371"/>
                  </a:lnTo>
                  <a:lnTo>
                    <a:pt x="4356" y="22371"/>
                  </a:lnTo>
                  <a:lnTo>
                    <a:pt x="6501" y="22371"/>
                  </a:lnTo>
                  <a:cubicBezTo>
                    <a:pt x="6943" y="22448"/>
                    <a:pt x="7398" y="22448"/>
                    <a:pt x="7840" y="22371"/>
                  </a:cubicBezTo>
                  <a:lnTo>
                    <a:pt x="9046" y="22371"/>
                  </a:lnTo>
                  <a:lnTo>
                    <a:pt x="11055" y="22371"/>
                  </a:lnTo>
                  <a:lnTo>
                    <a:pt x="11726" y="22371"/>
                  </a:lnTo>
                  <a:cubicBezTo>
                    <a:pt x="12449" y="21898"/>
                    <a:pt x="13078" y="21310"/>
                    <a:pt x="13601" y="20629"/>
                  </a:cubicBezTo>
                  <a:lnTo>
                    <a:pt x="13601" y="20629"/>
                  </a:lnTo>
                  <a:lnTo>
                    <a:pt x="14271" y="19692"/>
                  </a:lnTo>
                  <a:lnTo>
                    <a:pt x="16817" y="15539"/>
                  </a:lnTo>
                  <a:lnTo>
                    <a:pt x="16817" y="15539"/>
                  </a:lnTo>
                  <a:lnTo>
                    <a:pt x="19362" y="11386"/>
                  </a:lnTo>
                  <a:lnTo>
                    <a:pt x="21640" y="7770"/>
                  </a:lnTo>
                  <a:cubicBezTo>
                    <a:pt x="20314" y="9966"/>
                    <a:pt x="17915" y="11291"/>
                    <a:pt x="15343" y="11252"/>
                  </a:cubicBezTo>
                  <a:cubicBezTo>
                    <a:pt x="13976" y="11231"/>
                    <a:pt x="12637" y="10863"/>
                    <a:pt x="11458" y="10181"/>
                  </a:cubicBezTo>
                  <a:cubicBezTo>
                    <a:pt x="8081" y="7957"/>
                    <a:pt x="7063" y="3452"/>
                    <a:pt x="9180" y="0"/>
                  </a:cubicBezTo>
                  <a:lnTo>
                    <a:pt x="1007" y="13396"/>
                  </a:lnTo>
                  <a:cubicBezTo>
                    <a:pt x="177" y="14808"/>
                    <a:pt x="-158" y="16461"/>
                    <a:pt x="70" y="18084"/>
                  </a:cubicBezTo>
                  <a:cubicBezTo>
                    <a:pt x="3" y="18573"/>
                    <a:pt x="3" y="19069"/>
                    <a:pt x="70" y="19558"/>
                  </a:cubicBezTo>
                  <a:close/>
                </a:path>
              </a:pathLst>
            </a:custGeom>
            <a:solidFill>
              <a:srgbClr val="000000"/>
            </a:solidFill>
            <a:ln w="12700" cap="flat">
              <a:noFill/>
              <a:prstDash val="solid"/>
              <a:miter/>
            </a:ln>
          </p:spPr>
          <p:txBody>
            <a:bodyPr rtlCol="0" anchor="ctr"/>
            <a:lstStyle/>
            <a:p>
              <a:endParaRPr lang="en-US"/>
            </a:p>
          </p:txBody>
        </p:sp>
        <p:sp>
          <p:nvSpPr>
            <p:cNvPr id="1126" name="Freeform: Shape 1125">
              <a:extLst>
                <a:ext uri="{FF2B5EF4-FFF2-40B4-BE49-F238E27FC236}">
                  <a16:creationId xmlns:a16="http://schemas.microsoft.com/office/drawing/2014/main" id="{0879354F-F8C1-4025-A678-5184075850D3}"/>
                </a:ext>
              </a:extLst>
            </p:cNvPr>
            <p:cNvSpPr/>
            <p:nvPr/>
          </p:nvSpPr>
          <p:spPr>
            <a:xfrm>
              <a:off x="8754629" y="6137707"/>
              <a:ext cx="52351" cy="25325"/>
            </a:xfrm>
            <a:custGeom>
              <a:avLst/>
              <a:gdLst>
                <a:gd name="connsiteX0" fmla="*/ 44749 w 52351"/>
                <a:gd name="connsiteY0" fmla="*/ 8 h 25325"/>
                <a:gd name="connsiteX1" fmla="*/ 39121 w 52351"/>
                <a:gd name="connsiteY1" fmla="*/ 1347 h 25325"/>
                <a:gd name="connsiteX2" fmla="*/ 20632 w 52351"/>
                <a:gd name="connsiteY2" fmla="*/ 5902 h 25325"/>
                <a:gd name="connsiteX3" fmla="*/ 9780 w 52351"/>
                <a:gd name="connsiteY3" fmla="*/ 8447 h 25325"/>
                <a:gd name="connsiteX4" fmla="*/ 0 w 52351"/>
                <a:gd name="connsiteY4" fmla="*/ 10858 h 25325"/>
                <a:gd name="connsiteX5" fmla="*/ 0 w 52351"/>
                <a:gd name="connsiteY5" fmla="*/ 10858 h 25325"/>
                <a:gd name="connsiteX6" fmla="*/ 0 w 52351"/>
                <a:gd name="connsiteY6" fmla="*/ 25326 h 25325"/>
                <a:gd name="connsiteX7" fmla="*/ 48098 w 52351"/>
                <a:gd name="connsiteY7" fmla="*/ 13671 h 25325"/>
                <a:gd name="connsiteX8" fmla="*/ 48098 w 52351"/>
                <a:gd name="connsiteY8" fmla="*/ 13671 h 25325"/>
                <a:gd name="connsiteX9" fmla="*/ 49438 w 52351"/>
                <a:gd name="connsiteY9" fmla="*/ 13671 h 25325"/>
                <a:gd name="connsiteX10" fmla="*/ 50510 w 52351"/>
                <a:gd name="connsiteY10" fmla="*/ 12868 h 25325"/>
                <a:gd name="connsiteX11" fmla="*/ 51448 w 52351"/>
                <a:gd name="connsiteY11" fmla="*/ 11796 h 25325"/>
                <a:gd name="connsiteX12" fmla="*/ 52252 w 52351"/>
                <a:gd name="connsiteY12" fmla="*/ 10724 h 25325"/>
                <a:gd name="connsiteX13" fmla="*/ 52252 w 52351"/>
                <a:gd name="connsiteY13" fmla="*/ 9385 h 25325"/>
                <a:gd name="connsiteX14" fmla="*/ 52252 w 52351"/>
                <a:gd name="connsiteY14" fmla="*/ 7911 h 25325"/>
                <a:gd name="connsiteX15" fmla="*/ 52252 w 52351"/>
                <a:gd name="connsiteY15" fmla="*/ 5634 h 25325"/>
                <a:gd name="connsiteX16" fmla="*/ 44749 w 52351"/>
                <a:gd name="connsiteY16" fmla="*/ 8 h 2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1" h="25325">
                  <a:moveTo>
                    <a:pt x="44749" y="8"/>
                  </a:moveTo>
                  <a:lnTo>
                    <a:pt x="39121" y="1347"/>
                  </a:lnTo>
                  <a:lnTo>
                    <a:pt x="20632" y="5902"/>
                  </a:lnTo>
                  <a:lnTo>
                    <a:pt x="9780" y="8447"/>
                  </a:lnTo>
                  <a:lnTo>
                    <a:pt x="0" y="10858"/>
                  </a:lnTo>
                  <a:cubicBezTo>
                    <a:pt x="0" y="10858"/>
                    <a:pt x="0" y="10858"/>
                    <a:pt x="0" y="10858"/>
                  </a:cubicBezTo>
                  <a:lnTo>
                    <a:pt x="0" y="25326"/>
                  </a:lnTo>
                  <a:lnTo>
                    <a:pt x="48098" y="13671"/>
                  </a:lnTo>
                  <a:lnTo>
                    <a:pt x="48098" y="13671"/>
                  </a:lnTo>
                  <a:lnTo>
                    <a:pt x="49438" y="13671"/>
                  </a:lnTo>
                  <a:lnTo>
                    <a:pt x="50510" y="12868"/>
                  </a:lnTo>
                  <a:cubicBezTo>
                    <a:pt x="50884" y="12573"/>
                    <a:pt x="51207" y="12211"/>
                    <a:pt x="51448" y="11796"/>
                  </a:cubicBezTo>
                  <a:cubicBezTo>
                    <a:pt x="51796" y="11515"/>
                    <a:pt x="52077" y="11139"/>
                    <a:pt x="52252" y="10724"/>
                  </a:cubicBezTo>
                  <a:cubicBezTo>
                    <a:pt x="52278" y="10282"/>
                    <a:pt x="52278" y="9827"/>
                    <a:pt x="52252" y="9385"/>
                  </a:cubicBezTo>
                  <a:cubicBezTo>
                    <a:pt x="52318" y="8889"/>
                    <a:pt x="52318" y="8407"/>
                    <a:pt x="52252" y="7911"/>
                  </a:cubicBezTo>
                  <a:cubicBezTo>
                    <a:pt x="52385" y="7161"/>
                    <a:pt x="52385" y="6384"/>
                    <a:pt x="52252" y="5634"/>
                  </a:cubicBezTo>
                  <a:cubicBezTo>
                    <a:pt x="51421" y="2205"/>
                    <a:pt x="48272" y="-153"/>
                    <a:pt x="44749" y="8"/>
                  </a:cubicBezTo>
                  <a:close/>
                </a:path>
              </a:pathLst>
            </a:custGeom>
            <a:solidFill>
              <a:srgbClr val="000000"/>
            </a:solidFill>
            <a:ln w="12700" cap="flat">
              <a:noFill/>
              <a:prstDash val="solid"/>
              <a:miter/>
            </a:ln>
          </p:spPr>
          <p:txBody>
            <a:bodyPr rtlCol="0" anchor="ctr"/>
            <a:lstStyle/>
            <a:p>
              <a:endParaRPr lang="en-US"/>
            </a:p>
          </p:txBody>
        </p:sp>
        <p:sp>
          <p:nvSpPr>
            <p:cNvPr id="1127" name="Freeform: Shape 1126">
              <a:extLst>
                <a:ext uri="{FF2B5EF4-FFF2-40B4-BE49-F238E27FC236}">
                  <a16:creationId xmlns:a16="http://schemas.microsoft.com/office/drawing/2014/main" id="{21DD2903-B2E0-41B9-9B8E-29AC70EAEA78}"/>
                </a:ext>
              </a:extLst>
            </p:cNvPr>
            <p:cNvSpPr/>
            <p:nvPr/>
          </p:nvSpPr>
          <p:spPr>
            <a:xfrm>
              <a:off x="7830585" y="6156502"/>
              <a:ext cx="11790" cy="3985"/>
            </a:xfrm>
            <a:custGeom>
              <a:avLst/>
              <a:gdLst>
                <a:gd name="connsiteX0" fmla="*/ 9111 w 11790"/>
                <a:gd name="connsiteY0" fmla="*/ 3985 h 3985"/>
                <a:gd name="connsiteX1" fmla="*/ 11790 w 11790"/>
                <a:gd name="connsiteY1" fmla="*/ 1842 h 3985"/>
                <a:gd name="connsiteX2" fmla="*/ 8307 w 11790"/>
                <a:gd name="connsiteY2" fmla="*/ 100 h 3985"/>
                <a:gd name="connsiteX3" fmla="*/ 5762 w 11790"/>
                <a:gd name="connsiteY3" fmla="*/ 100 h 3985"/>
                <a:gd name="connsiteX4" fmla="*/ 5762 w 11790"/>
                <a:gd name="connsiteY4" fmla="*/ 100 h 3985"/>
                <a:gd name="connsiteX5" fmla="*/ 4824 w 11790"/>
                <a:gd name="connsiteY5" fmla="*/ 100 h 3985"/>
                <a:gd name="connsiteX6" fmla="*/ 3349 w 11790"/>
                <a:gd name="connsiteY6" fmla="*/ 100 h 3985"/>
                <a:gd name="connsiteX7" fmla="*/ 3349 w 11790"/>
                <a:gd name="connsiteY7" fmla="*/ 100 h 3985"/>
                <a:gd name="connsiteX8" fmla="*/ 2680 w 11790"/>
                <a:gd name="connsiteY8" fmla="*/ 100 h 3985"/>
                <a:gd name="connsiteX9" fmla="*/ 0 w 11790"/>
                <a:gd name="connsiteY9" fmla="*/ 2244 h 3985"/>
                <a:gd name="connsiteX10" fmla="*/ 0 w 11790"/>
                <a:gd name="connsiteY10" fmla="*/ 2244 h 3985"/>
                <a:gd name="connsiteX11" fmla="*/ 9647 w 11790"/>
                <a:gd name="connsiteY11" fmla="*/ 2244 h 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90" h="3985">
                  <a:moveTo>
                    <a:pt x="9111" y="3985"/>
                  </a:moveTo>
                  <a:lnTo>
                    <a:pt x="11790" y="1842"/>
                  </a:lnTo>
                  <a:cubicBezTo>
                    <a:pt x="10812" y="944"/>
                    <a:pt x="9607" y="342"/>
                    <a:pt x="8307" y="100"/>
                  </a:cubicBezTo>
                  <a:cubicBezTo>
                    <a:pt x="7463" y="-33"/>
                    <a:pt x="6606" y="-33"/>
                    <a:pt x="5762" y="100"/>
                  </a:cubicBezTo>
                  <a:lnTo>
                    <a:pt x="5762" y="100"/>
                  </a:lnTo>
                  <a:lnTo>
                    <a:pt x="4824" y="100"/>
                  </a:lnTo>
                  <a:lnTo>
                    <a:pt x="3349" y="100"/>
                  </a:lnTo>
                  <a:lnTo>
                    <a:pt x="3349" y="100"/>
                  </a:lnTo>
                  <a:lnTo>
                    <a:pt x="2680" y="100"/>
                  </a:lnTo>
                  <a:lnTo>
                    <a:pt x="0" y="2244"/>
                  </a:lnTo>
                  <a:lnTo>
                    <a:pt x="0" y="2244"/>
                  </a:lnTo>
                  <a:cubicBezTo>
                    <a:pt x="2720" y="-275"/>
                    <a:pt x="6927" y="-275"/>
                    <a:pt x="9647" y="2244"/>
                  </a:cubicBezTo>
                  <a:close/>
                </a:path>
              </a:pathLst>
            </a:custGeom>
            <a:solidFill>
              <a:srgbClr val="000000"/>
            </a:solidFill>
            <a:ln w="12700" cap="flat">
              <a:noFill/>
              <a:prstDash val="solid"/>
              <a:miter/>
            </a:ln>
          </p:spPr>
          <p:txBody>
            <a:bodyPr rtlCol="0" anchor="ctr"/>
            <a:lstStyle/>
            <a:p>
              <a:endParaRPr lang="en-US"/>
            </a:p>
          </p:txBody>
        </p:sp>
        <p:sp>
          <p:nvSpPr>
            <p:cNvPr id="1128" name="Freeform: Shape 1127">
              <a:extLst>
                <a:ext uri="{FF2B5EF4-FFF2-40B4-BE49-F238E27FC236}">
                  <a16:creationId xmlns:a16="http://schemas.microsoft.com/office/drawing/2014/main" id="{BEB8B2BA-F9B4-4FA5-AAC2-0C666B3FE3FB}"/>
                </a:ext>
              </a:extLst>
            </p:cNvPr>
            <p:cNvSpPr/>
            <p:nvPr/>
          </p:nvSpPr>
          <p:spPr>
            <a:xfrm>
              <a:off x="7841304" y="6160353"/>
              <a:ext cx="3581" cy="4688"/>
            </a:xfrm>
            <a:custGeom>
              <a:avLst/>
              <a:gdLst>
                <a:gd name="connsiteX0" fmla="*/ 3484 w 3581"/>
                <a:gd name="connsiteY0" fmla="*/ 4688 h 4688"/>
                <a:gd name="connsiteX1" fmla="*/ 2679 w 3581"/>
                <a:gd name="connsiteY1" fmla="*/ 0 h 4688"/>
                <a:gd name="connsiteX2" fmla="*/ 0 w 3581"/>
                <a:gd name="connsiteY2" fmla="*/ 2143 h 4688"/>
                <a:gd name="connsiteX3" fmla="*/ 804 w 3581"/>
                <a:gd name="connsiteY3" fmla="*/ 4688 h 4688"/>
              </a:gdLst>
              <a:ahLst/>
              <a:cxnLst>
                <a:cxn ang="0">
                  <a:pos x="connsiteX0" y="connsiteY0"/>
                </a:cxn>
                <a:cxn ang="0">
                  <a:pos x="connsiteX1" y="connsiteY1"/>
                </a:cxn>
                <a:cxn ang="0">
                  <a:pos x="connsiteX2" y="connsiteY2"/>
                </a:cxn>
                <a:cxn ang="0">
                  <a:pos x="connsiteX3" y="connsiteY3"/>
                </a:cxn>
              </a:cxnLst>
              <a:rect l="l" t="t" r="r" b="b"/>
              <a:pathLst>
                <a:path w="3581" h="4688">
                  <a:moveTo>
                    <a:pt x="3484" y="4688"/>
                  </a:moveTo>
                  <a:cubicBezTo>
                    <a:pt x="3751" y="3081"/>
                    <a:pt x="3470" y="1433"/>
                    <a:pt x="2679" y="0"/>
                  </a:cubicBezTo>
                  <a:lnTo>
                    <a:pt x="0" y="2143"/>
                  </a:lnTo>
                  <a:cubicBezTo>
                    <a:pt x="402" y="2947"/>
                    <a:pt x="683" y="3804"/>
                    <a:pt x="804" y="4688"/>
                  </a:cubicBezTo>
                  <a:close/>
                </a:path>
              </a:pathLst>
            </a:custGeom>
            <a:solidFill>
              <a:srgbClr val="000000"/>
            </a:solidFill>
            <a:ln w="12700" cap="flat">
              <a:noFill/>
              <a:prstDash val="solid"/>
              <a:miter/>
            </a:ln>
          </p:spPr>
          <p:txBody>
            <a:bodyPr rtlCol="0" anchor="ctr"/>
            <a:lstStyle/>
            <a:p>
              <a:endParaRPr lang="en-US"/>
            </a:p>
          </p:txBody>
        </p:sp>
        <p:sp>
          <p:nvSpPr>
            <p:cNvPr id="1129" name="Freeform: Shape 1128">
              <a:extLst>
                <a:ext uri="{FF2B5EF4-FFF2-40B4-BE49-F238E27FC236}">
                  <a16:creationId xmlns:a16="http://schemas.microsoft.com/office/drawing/2014/main" id="{7E0BCD32-1146-42BF-80D8-AEA8F12EEEBC}"/>
                </a:ext>
              </a:extLst>
            </p:cNvPr>
            <p:cNvSpPr/>
            <p:nvPr/>
          </p:nvSpPr>
          <p:spPr>
            <a:xfrm>
              <a:off x="7839696" y="6143852"/>
              <a:ext cx="22465" cy="18644"/>
            </a:xfrm>
            <a:custGeom>
              <a:avLst/>
              <a:gdLst>
                <a:gd name="connsiteX0" fmla="*/ 0 w 22465"/>
                <a:gd name="connsiteY0" fmla="*/ 16635 h 18644"/>
                <a:gd name="connsiteX1" fmla="*/ 1608 w 22465"/>
                <a:gd name="connsiteY1" fmla="*/ 18645 h 18644"/>
                <a:gd name="connsiteX2" fmla="*/ 4287 w 22465"/>
                <a:gd name="connsiteY2" fmla="*/ 16501 h 18644"/>
                <a:gd name="connsiteX3" fmla="*/ 9244 w 22465"/>
                <a:gd name="connsiteY3" fmla="*/ 12483 h 18644"/>
                <a:gd name="connsiteX4" fmla="*/ 21838 w 22465"/>
                <a:gd name="connsiteY4" fmla="*/ 2302 h 18644"/>
                <a:gd name="connsiteX5" fmla="*/ 21838 w 22465"/>
                <a:gd name="connsiteY5" fmla="*/ 2302 h 18644"/>
                <a:gd name="connsiteX6" fmla="*/ 22307 w 22465"/>
                <a:gd name="connsiteY6" fmla="*/ 627 h 18644"/>
                <a:gd name="connsiteX7" fmla="*/ 20632 w 22465"/>
                <a:gd name="connsiteY7" fmla="*/ 158 h 18644"/>
                <a:gd name="connsiteX8" fmla="*/ 20632 w 22465"/>
                <a:gd name="connsiteY8" fmla="*/ 158 h 18644"/>
                <a:gd name="connsiteX9" fmla="*/ 20632 w 22465"/>
                <a:gd name="connsiteY9" fmla="*/ 158 h 18644"/>
                <a:gd name="connsiteX10" fmla="*/ 5493 w 22465"/>
                <a:gd name="connsiteY10" fmla="*/ 12215 h 18644"/>
                <a:gd name="connsiteX11" fmla="*/ 3215 w 22465"/>
                <a:gd name="connsiteY11" fmla="*/ 14224 h 1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65" h="18644">
                  <a:moveTo>
                    <a:pt x="0" y="16635"/>
                  </a:moveTo>
                  <a:cubicBezTo>
                    <a:pt x="683" y="17184"/>
                    <a:pt x="1232" y="17868"/>
                    <a:pt x="1608" y="18645"/>
                  </a:cubicBezTo>
                  <a:lnTo>
                    <a:pt x="4287" y="16501"/>
                  </a:lnTo>
                  <a:lnTo>
                    <a:pt x="9244" y="12483"/>
                  </a:lnTo>
                  <a:lnTo>
                    <a:pt x="21838" y="2302"/>
                  </a:lnTo>
                  <a:lnTo>
                    <a:pt x="21838" y="2302"/>
                  </a:lnTo>
                  <a:cubicBezTo>
                    <a:pt x="22427" y="1967"/>
                    <a:pt x="22642" y="1217"/>
                    <a:pt x="22307" y="627"/>
                  </a:cubicBezTo>
                  <a:cubicBezTo>
                    <a:pt x="21972" y="38"/>
                    <a:pt x="21222" y="-176"/>
                    <a:pt x="20632" y="158"/>
                  </a:cubicBezTo>
                  <a:lnTo>
                    <a:pt x="20632" y="158"/>
                  </a:lnTo>
                  <a:lnTo>
                    <a:pt x="20632" y="158"/>
                  </a:lnTo>
                  <a:lnTo>
                    <a:pt x="5493" y="12215"/>
                  </a:lnTo>
                  <a:lnTo>
                    <a:pt x="3215" y="14224"/>
                  </a:lnTo>
                  <a:close/>
                </a:path>
              </a:pathLst>
            </a:custGeom>
            <a:solidFill>
              <a:srgbClr val="000000"/>
            </a:solidFill>
            <a:ln w="12700" cap="flat">
              <a:noFill/>
              <a:prstDash val="solid"/>
              <a:miter/>
            </a:ln>
          </p:spPr>
          <p:txBody>
            <a:bodyPr rtlCol="0" anchor="ctr"/>
            <a:lstStyle/>
            <a:p>
              <a:endParaRPr lang="en-US"/>
            </a:p>
          </p:txBody>
        </p:sp>
        <p:sp>
          <p:nvSpPr>
            <p:cNvPr id="1130" name="Freeform: Shape 1129">
              <a:extLst>
                <a:ext uri="{FF2B5EF4-FFF2-40B4-BE49-F238E27FC236}">
                  <a16:creationId xmlns:a16="http://schemas.microsoft.com/office/drawing/2014/main" id="{6BD8EC47-19E4-47CB-B8E0-AAFB207A48EB}"/>
                </a:ext>
              </a:extLst>
            </p:cNvPr>
            <p:cNvSpPr/>
            <p:nvPr/>
          </p:nvSpPr>
          <p:spPr>
            <a:xfrm>
              <a:off x="7831390" y="5810994"/>
              <a:ext cx="33895" cy="46215"/>
            </a:xfrm>
            <a:custGeom>
              <a:avLst/>
              <a:gdLst>
                <a:gd name="connsiteX0" fmla="*/ 0 w 33895"/>
                <a:gd name="connsiteY0" fmla="*/ 38446 h 46215"/>
                <a:gd name="connsiteX1" fmla="*/ 10182 w 33895"/>
                <a:gd name="connsiteY1" fmla="*/ 36168 h 46215"/>
                <a:gd name="connsiteX2" fmla="*/ 12460 w 33895"/>
                <a:gd name="connsiteY2" fmla="*/ 46215 h 46215"/>
                <a:gd name="connsiteX3" fmla="*/ 28403 w 33895"/>
                <a:gd name="connsiteY3" fmla="*/ 20495 h 46215"/>
                <a:gd name="connsiteX4" fmla="*/ 31082 w 33895"/>
                <a:gd name="connsiteY4" fmla="*/ 16343 h 46215"/>
                <a:gd name="connsiteX5" fmla="*/ 33896 w 33895"/>
                <a:gd name="connsiteY5" fmla="*/ 11788 h 46215"/>
                <a:gd name="connsiteX6" fmla="*/ 29743 w 33895"/>
                <a:gd name="connsiteY6" fmla="*/ 11788 h 46215"/>
                <a:gd name="connsiteX7" fmla="*/ 22374 w 33895"/>
                <a:gd name="connsiteY7" fmla="*/ 4421 h 46215"/>
                <a:gd name="connsiteX8" fmla="*/ 23982 w 33895"/>
                <a:gd name="connsiteY8" fmla="*/ 0 h 46215"/>
                <a:gd name="connsiteX9" fmla="*/ 23982 w 33895"/>
                <a:gd name="connsiteY9" fmla="*/ 0 h 46215"/>
                <a:gd name="connsiteX10" fmla="*/ 3349 w 33895"/>
                <a:gd name="connsiteY10" fmla="*/ 33489 h 46215"/>
                <a:gd name="connsiteX11" fmla="*/ 536 w 33895"/>
                <a:gd name="connsiteY11" fmla="*/ 37910 h 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95" h="46215">
                  <a:moveTo>
                    <a:pt x="0" y="38446"/>
                  </a:moveTo>
                  <a:cubicBezTo>
                    <a:pt x="2223" y="35065"/>
                    <a:pt x="6725" y="34057"/>
                    <a:pt x="10182" y="36168"/>
                  </a:cubicBezTo>
                  <a:cubicBezTo>
                    <a:pt x="13545" y="38342"/>
                    <a:pt x="14563" y="42803"/>
                    <a:pt x="12460" y="46215"/>
                  </a:cubicBezTo>
                  <a:lnTo>
                    <a:pt x="28403" y="20495"/>
                  </a:lnTo>
                  <a:lnTo>
                    <a:pt x="31082" y="16343"/>
                  </a:lnTo>
                  <a:lnTo>
                    <a:pt x="33896" y="11788"/>
                  </a:lnTo>
                  <a:lnTo>
                    <a:pt x="29743" y="11788"/>
                  </a:lnTo>
                  <a:cubicBezTo>
                    <a:pt x="25669" y="11788"/>
                    <a:pt x="22374" y="8490"/>
                    <a:pt x="22374" y="4421"/>
                  </a:cubicBezTo>
                  <a:cubicBezTo>
                    <a:pt x="22387" y="2808"/>
                    <a:pt x="22964" y="1248"/>
                    <a:pt x="23982" y="0"/>
                  </a:cubicBezTo>
                  <a:lnTo>
                    <a:pt x="23982" y="0"/>
                  </a:lnTo>
                  <a:lnTo>
                    <a:pt x="3349" y="33489"/>
                  </a:lnTo>
                  <a:lnTo>
                    <a:pt x="536" y="37910"/>
                  </a:lnTo>
                  <a:close/>
                </a:path>
              </a:pathLst>
            </a:custGeom>
            <a:solidFill>
              <a:srgbClr val="000000"/>
            </a:solidFill>
            <a:ln w="12700" cap="flat">
              <a:noFill/>
              <a:prstDash val="solid"/>
              <a:miter/>
            </a:ln>
          </p:spPr>
          <p:txBody>
            <a:bodyPr rtlCol="0" anchor="ctr"/>
            <a:lstStyle/>
            <a:p>
              <a:endParaRPr lang="en-US"/>
            </a:p>
          </p:txBody>
        </p:sp>
        <p:sp>
          <p:nvSpPr>
            <p:cNvPr id="1131" name="Freeform: Shape 1130">
              <a:extLst>
                <a:ext uri="{FF2B5EF4-FFF2-40B4-BE49-F238E27FC236}">
                  <a16:creationId xmlns:a16="http://schemas.microsoft.com/office/drawing/2014/main" id="{B18D1E73-C9DB-4DFF-8C15-84C5ED130288}"/>
                </a:ext>
              </a:extLst>
            </p:cNvPr>
            <p:cNvSpPr/>
            <p:nvPr/>
          </p:nvSpPr>
          <p:spPr>
            <a:xfrm>
              <a:off x="7827606" y="5846060"/>
              <a:ext cx="17338" cy="19053"/>
            </a:xfrm>
            <a:custGeom>
              <a:avLst/>
              <a:gdLst>
                <a:gd name="connsiteX0" fmla="*/ 3382 w 17338"/>
                <a:gd name="connsiteY0" fmla="*/ 17981 h 19053"/>
                <a:gd name="connsiteX1" fmla="*/ 7267 w 17338"/>
                <a:gd name="connsiteY1" fmla="*/ 19053 h 19053"/>
                <a:gd name="connsiteX2" fmla="*/ 13564 w 17338"/>
                <a:gd name="connsiteY2" fmla="*/ 15570 h 19053"/>
                <a:gd name="connsiteX3" fmla="*/ 13564 w 17338"/>
                <a:gd name="connsiteY3" fmla="*/ 15570 h 19053"/>
                <a:gd name="connsiteX4" fmla="*/ 16244 w 17338"/>
                <a:gd name="connsiteY4" fmla="*/ 11149 h 19053"/>
                <a:gd name="connsiteX5" fmla="*/ 16244 w 17338"/>
                <a:gd name="connsiteY5" fmla="*/ 11149 h 19053"/>
                <a:gd name="connsiteX6" fmla="*/ 13965 w 17338"/>
                <a:gd name="connsiteY6" fmla="*/ 1103 h 19053"/>
                <a:gd name="connsiteX7" fmla="*/ 3784 w 17338"/>
                <a:gd name="connsiteY7" fmla="*/ 3380 h 19053"/>
                <a:gd name="connsiteX8" fmla="*/ 1104 w 17338"/>
                <a:gd name="connsiteY8" fmla="*/ 7801 h 19053"/>
                <a:gd name="connsiteX9" fmla="*/ 1104 w 17338"/>
                <a:gd name="connsiteY9" fmla="*/ 7801 h 19053"/>
                <a:gd name="connsiteX10" fmla="*/ 3382 w 17338"/>
                <a:gd name="connsiteY10" fmla="*/ 17981 h 1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8" h="19053">
                  <a:moveTo>
                    <a:pt x="3382" y="17981"/>
                  </a:moveTo>
                  <a:cubicBezTo>
                    <a:pt x="4561" y="18663"/>
                    <a:pt x="5900" y="19031"/>
                    <a:pt x="7267" y="19053"/>
                  </a:cubicBezTo>
                  <a:cubicBezTo>
                    <a:pt x="9839" y="19092"/>
                    <a:pt x="12238" y="17767"/>
                    <a:pt x="13564" y="15570"/>
                  </a:cubicBezTo>
                  <a:lnTo>
                    <a:pt x="13564" y="15570"/>
                  </a:lnTo>
                  <a:lnTo>
                    <a:pt x="16244" y="11149"/>
                  </a:lnTo>
                  <a:lnTo>
                    <a:pt x="16244" y="11149"/>
                  </a:lnTo>
                  <a:cubicBezTo>
                    <a:pt x="18347" y="7738"/>
                    <a:pt x="17329" y="3277"/>
                    <a:pt x="13965" y="1103"/>
                  </a:cubicBezTo>
                  <a:cubicBezTo>
                    <a:pt x="10509" y="-1008"/>
                    <a:pt x="6007" y="-1"/>
                    <a:pt x="3784" y="3380"/>
                  </a:cubicBezTo>
                  <a:lnTo>
                    <a:pt x="1104" y="7801"/>
                  </a:lnTo>
                  <a:lnTo>
                    <a:pt x="1104" y="7801"/>
                  </a:lnTo>
                  <a:cubicBezTo>
                    <a:pt x="-1013" y="11253"/>
                    <a:pt x="5" y="15758"/>
                    <a:pt x="3382" y="17981"/>
                  </a:cubicBezTo>
                  <a:close/>
                </a:path>
              </a:pathLst>
            </a:custGeom>
            <a:solidFill>
              <a:srgbClr val="000000"/>
            </a:solidFill>
            <a:ln w="12700" cap="flat">
              <a:noFill/>
              <a:prstDash val="solid"/>
              <a:miter/>
            </a:ln>
          </p:spPr>
          <p:txBody>
            <a:bodyPr rtlCol="0" anchor="ctr"/>
            <a:lstStyle/>
            <a:p>
              <a:endParaRPr lang="en-US"/>
            </a:p>
          </p:txBody>
        </p:sp>
        <p:sp>
          <p:nvSpPr>
            <p:cNvPr id="1132" name="Freeform: Shape 1131">
              <a:extLst>
                <a:ext uri="{FF2B5EF4-FFF2-40B4-BE49-F238E27FC236}">
                  <a16:creationId xmlns:a16="http://schemas.microsoft.com/office/drawing/2014/main" id="{57F20AB0-E9FC-4B4E-8F8D-E8460ECBF809}"/>
                </a:ext>
              </a:extLst>
            </p:cNvPr>
            <p:cNvSpPr/>
            <p:nvPr/>
          </p:nvSpPr>
          <p:spPr>
            <a:xfrm>
              <a:off x="4847173" y="6581781"/>
              <a:ext cx="6430" cy="13395"/>
            </a:xfrm>
            <a:custGeom>
              <a:avLst/>
              <a:gdLst>
                <a:gd name="connsiteX0" fmla="*/ 0 w 6430"/>
                <a:gd name="connsiteY0" fmla="*/ 0 h 13395"/>
                <a:gd name="connsiteX1" fmla="*/ 6431 w 6430"/>
                <a:gd name="connsiteY1" fmla="*/ 0 h 13395"/>
                <a:gd name="connsiteX2" fmla="*/ 6431 w 6430"/>
                <a:gd name="connsiteY2" fmla="*/ 0 h 13395"/>
                <a:gd name="connsiteX3" fmla="*/ 6431 w 6430"/>
                <a:gd name="connsiteY3" fmla="*/ 0 h 13395"/>
              </a:gdLst>
              <a:ahLst/>
              <a:cxnLst>
                <a:cxn ang="0">
                  <a:pos x="connsiteX0" y="connsiteY0"/>
                </a:cxn>
                <a:cxn ang="0">
                  <a:pos x="connsiteX1" y="connsiteY1"/>
                </a:cxn>
                <a:cxn ang="0">
                  <a:pos x="connsiteX2" y="connsiteY2"/>
                </a:cxn>
                <a:cxn ang="0">
                  <a:pos x="connsiteX3" y="connsiteY3"/>
                </a:cxn>
              </a:cxnLst>
              <a:rect l="l" t="t" r="r" b="b"/>
              <a:pathLst>
                <a:path w="6430" h="13395">
                  <a:moveTo>
                    <a:pt x="0" y="0"/>
                  </a:moveTo>
                  <a:lnTo>
                    <a:pt x="6431" y="0"/>
                  </a:lnTo>
                  <a:lnTo>
                    <a:pt x="6431" y="0"/>
                  </a:lnTo>
                  <a:lnTo>
                    <a:pt x="6431" y="0"/>
                  </a:lnTo>
                  <a:close/>
                </a:path>
              </a:pathLst>
            </a:custGeom>
            <a:solidFill>
              <a:srgbClr val="000000"/>
            </a:solidFill>
            <a:ln w="12700" cap="flat">
              <a:noFill/>
              <a:prstDash val="solid"/>
              <a:miter/>
            </a:ln>
          </p:spPr>
          <p:txBody>
            <a:bodyPr rtlCol="0" anchor="ctr"/>
            <a:lstStyle/>
            <a:p>
              <a:endParaRPr lang="en-US"/>
            </a:p>
          </p:txBody>
        </p:sp>
        <p:sp>
          <p:nvSpPr>
            <p:cNvPr id="1133" name="Freeform: Shape 1132">
              <a:extLst>
                <a:ext uri="{FF2B5EF4-FFF2-40B4-BE49-F238E27FC236}">
                  <a16:creationId xmlns:a16="http://schemas.microsoft.com/office/drawing/2014/main" id="{4507F1AC-9F2C-4D85-9C19-A7BD211D518F}"/>
                </a:ext>
              </a:extLst>
            </p:cNvPr>
            <p:cNvSpPr/>
            <p:nvPr/>
          </p:nvSpPr>
          <p:spPr>
            <a:xfrm>
              <a:off x="5572260" y="6579905"/>
              <a:ext cx="23847" cy="2016"/>
            </a:xfrm>
            <a:custGeom>
              <a:avLst/>
              <a:gdLst>
                <a:gd name="connsiteX0" fmla="*/ 1206 w 23847"/>
                <a:gd name="connsiteY0" fmla="*/ 2009 h 2016"/>
                <a:gd name="connsiteX1" fmla="*/ 23848 w 23847"/>
                <a:gd name="connsiteY1" fmla="*/ 2009 h 2016"/>
                <a:gd name="connsiteX2" fmla="*/ 23848 w 23847"/>
                <a:gd name="connsiteY2" fmla="*/ 2009 h 2016"/>
                <a:gd name="connsiteX3" fmla="*/ 12996 w 23847"/>
                <a:gd name="connsiteY3" fmla="*/ 2009 h 2016"/>
                <a:gd name="connsiteX4" fmla="*/ 11656 w 23847"/>
                <a:gd name="connsiteY4" fmla="*/ 670 h 2016"/>
                <a:gd name="connsiteX5" fmla="*/ 11656 w 23847"/>
                <a:gd name="connsiteY5" fmla="*/ 0 h 2016"/>
                <a:gd name="connsiteX6" fmla="*/ 1206 w 23847"/>
                <a:gd name="connsiteY6" fmla="*/ 0 h 2016"/>
                <a:gd name="connsiteX7" fmla="*/ 0 w 23847"/>
                <a:gd name="connsiteY7" fmla="*/ 1339 h 2016"/>
                <a:gd name="connsiteX8" fmla="*/ 0 w 23847"/>
                <a:gd name="connsiteY8" fmla="*/ 1339 h 2016"/>
                <a:gd name="connsiteX9" fmla="*/ 1206 w 23847"/>
                <a:gd name="connsiteY9" fmla="*/ 2009 h 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7" h="2016">
                  <a:moveTo>
                    <a:pt x="1206" y="2009"/>
                  </a:moveTo>
                  <a:lnTo>
                    <a:pt x="23848" y="2009"/>
                  </a:lnTo>
                  <a:lnTo>
                    <a:pt x="23848" y="2009"/>
                  </a:lnTo>
                  <a:lnTo>
                    <a:pt x="12996" y="2009"/>
                  </a:lnTo>
                  <a:cubicBezTo>
                    <a:pt x="12259" y="2009"/>
                    <a:pt x="11656" y="1406"/>
                    <a:pt x="11656" y="670"/>
                  </a:cubicBezTo>
                  <a:cubicBezTo>
                    <a:pt x="11656" y="670"/>
                    <a:pt x="11656" y="670"/>
                    <a:pt x="11656" y="0"/>
                  </a:cubicBezTo>
                  <a:lnTo>
                    <a:pt x="1206" y="0"/>
                  </a:lnTo>
                  <a:cubicBezTo>
                    <a:pt x="523" y="67"/>
                    <a:pt x="0" y="643"/>
                    <a:pt x="0" y="1339"/>
                  </a:cubicBezTo>
                  <a:lnTo>
                    <a:pt x="0" y="1339"/>
                  </a:lnTo>
                  <a:cubicBezTo>
                    <a:pt x="228" y="1795"/>
                    <a:pt x="697" y="2063"/>
                    <a:pt x="1206" y="2009"/>
                  </a:cubicBezTo>
                  <a:close/>
                </a:path>
              </a:pathLst>
            </a:custGeom>
            <a:solidFill>
              <a:srgbClr val="000000"/>
            </a:solidFill>
            <a:ln w="12700" cap="flat">
              <a:noFill/>
              <a:prstDash val="solid"/>
              <a:miter/>
            </a:ln>
          </p:spPr>
          <p:txBody>
            <a:bodyPr rtlCol="0" anchor="ctr"/>
            <a:lstStyle/>
            <a:p>
              <a:endParaRPr lang="en-US"/>
            </a:p>
          </p:txBody>
        </p:sp>
        <p:sp>
          <p:nvSpPr>
            <p:cNvPr id="1134" name="Freeform: Shape 1133">
              <a:extLst>
                <a:ext uri="{FF2B5EF4-FFF2-40B4-BE49-F238E27FC236}">
                  <a16:creationId xmlns:a16="http://schemas.microsoft.com/office/drawing/2014/main" id="{B5CCA177-2EA8-4F32-91E6-49D99FA002B1}"/>
                </a:ext>
              </a:extLst>
            </p:cNvPr>
            <p:cNvSpPr/>
            <p:nvPr/>
          </p:nvSpPr>
          <p:spPr>
            <a:xfrm>
              <a:off x="6707586" y="5880114"/>
              <a:ext cx="343250" cy="14468"/>
            </a:xfrm>
            <a:custGeom>
              <a:avLst/>
              <a:gdLst>
                <a:gd name="connsiteX0" fmla="*/ 7369 w 343250"/>
                <a:gd name="connsiteY0" fmla="*/ 7101 h 14468"/>
                <a:gd name="connsiteX1" fmla="*/ 7369 w 343250"/>
                <a:gd name="connsiteY1" fmla="*/ 14469 h 14468"/>
                <a:gd name="connsiteX2" fmla="*/ 343251 w 343250"/>
                <a:gd name="connsiteY2" fmla="*/ 14469 h 14468"/>
                <a:gd name="connsiteX3" fmla="*/ 343251 w 343250"/>
                <a:gd name="connsiteY3" fmla="*/ 1 h 14468"/>
                <a:gd name="connsiteX4" fmla="*/ 0 w 343250"/>
                <a:gd name="connsiteY4" fmla="*/ 1 h 14468"/>
                <a:gd name="connsiteX5" fmla="*/ 7369 w 343250"/>
                <a:gd name="connsiteY5" fmla="*/ 7098 h 14468"/>
                <a:gd name="connsiteX6" fmla="*/ 7369 w 343250"/>
                <a:gd name="connsiteY6" fmla="*/ 7101 h 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250" h="14468">
                  <a:moveTo>
                    <a:pt x="7369" y="7101"/>
                  </a:moveTo>
                  <a:lnTo>
                    <a:pt x="7369" y="14469"/>
                  </a:lnTo>
                  <a:lnTo>
                    <a:pt x="343251" y="14469"/>
                  </a:lnTo>
                  <a:lnTo>
                    <a:pt x="343251" y="1"/>
                  </a:lnTo>
                  <a:lnTo>
                    <a:pt x="0" y="1"/>
                  </a:lnTo>
                  <a:cubicBezTo>
                    <a:pt x="3993" y="-74"/>
                    <a:pt x="7288" y="3104"/>
                    <a:pt x="7369" y="7098"/>
                  </a:cubicBezTo>
                  <a:cubicBezTo>
                    <a:pt x="7369" y="7100"/>
                    <a:pt x="7369" y="7100"/>
                    <a:pt x="7369" y="7101"/>
                  </a:cubicBezTo>
                  <a:close/>
                </a:path>
              </a:pathLst>
            </a:custGeom>
            <a:solidFill>
              <a:srgbClr val="000000"/>
            </a:solidFill>
            <a:ln w="12700" cap="flat">
              <a:noFill/>
              <a:prstDash val="solid"/>
              <a:miter/>
            </a:ln>
          </p:spPr>
          <p:txBody>
            <a:bodyPr rtlCol="0" anchor="ctr"/>
            <a:lstStyle/>
            <a:p>
              <a:endParaRPr lang="en-US"/>
            </a:p>
          </p:txBody>
        </p:sp>
        <p:sp>
          <p:nvSpPr>
            <p:cNvPr id="1135" name="Freeform: Shape 1134">
              <a:extLst>
                <a:ext uri="{FF2B5EF4-FFF2-40B4-BE49-F238E27FC236}">
                  <a16:creationId xmlns:a16="http://schemas.microsoft.com/office/drawing/2014/main" id="{D7FAFF8C-6493-47B4-9810-F1FD03A719DB}"/>
                </a:ext>
              </a:extLst>
            </p:cNvPr>
            <p:cNvSpPr/>
            <p:nvPr/>
          </p:nvSpPr>
          <p:spPr>
            <a:xfrm>
              <a:off x="4590204" y="5880148"/>
              <a:ext cx="225082" cy="14435"/>
            </a:xfrm>
            <a:custGeom>
              <a:avLst/>
              <a:gdLst>
                <a:gd name="connsiteX0" fmla="*/ 7369 w 225082"/>
                <a:gd name="connsiteY0" fmla="*/ 7068 h 14435"/>
                <a:gd name="connsiteX1" fmla="*/ 7369 w 225082"/>
                <a:gd name="connsiteY1" fmla="*/ 14435 h 14435"/>
                <a:gd name="connsiteX2" fmla="*/ 222671 w 225082"/>
                <a:gd name="connsiteY2" fmla="*/ 14435 h 14435"/>
                <a:gd name="connsiteX3" fmla="*/ 216709 w 225082"/>
                <a:gd name="connsiteY3" fmla="*/ 6063 h 14435"/>
                <a:gd name="connsiteX4" fmla="*/ 225083 w 225082"/>
                <a:gd name="connsiteY4" fmla="*/ 102 h 14435"/>
                <a:gd name="connsiteX5" fmla="*/ 0 w 225082"/>
                <a:gd name="connsiteY5" fmla="*/ 102 h 14435"/>
                <a:gd name="connsiteX6" fmla="*/ 7369 w 225082"/>
                <a:gd name="connsiteY6" fmla="*/ 7068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82" h="14435">
                  <a:moveTo>
                    <a:pt x="7369" y="7068"/>
                  </a:moveTo>
                  <a:lnTo>
                    <a:pt x="7369" y="14435"/>
                  </a:lnTo>
                  <a:lnTo>
                    <a:pt x="222671" y="14435"/>
                  </a:lnTo>
                  <a:cubicBezTo>
                    <a:pt x="218719" y="13769"/>
                    <a:pt x="216039" y="10021"/>
                    <a:pt x="216709" y="6063"/>
                  </a:cubicBezTo>
                  <a:cubicBezTo>
                    <a:pt x="217379" y="2104"/>
                    <a:pt x="221130" y="-564"/>
                    <a:pt x="225083" y="102"/>
                  </a:cubicBezTo>
                  <a:lnTo>
                    <a:pt x="0" y="102"/>
                  </a:lnTo>
                  <a:cubicBezTo>
                    <a:pt x="3939" y="26"/>
                    <a:pt x="7221" y="3125"/>
                    <a:pt x="7369" y="7068"/>
                  </a:cubicBezTo>
                  <a:close/>
                </a:path>
              </a:pathLst>
            </a:custGeom>
            <a:solidFill>
              <a:srgbClr val="000000"/>
            </a:solidFill>
            <a:ln w="12700" cap="flat">
              <a:noFill/>
              <a:prstDash val="solid"/>
              <a:miter/>
            </a:ln>
          </p:spPr>
          <p:txBody>
            <a:bodyPr rtlCol="0" anchor="ctr"/>
            <a:lstStyle/>
            <a:p>
              <a:endParaRPr lang="en-US"/>
            </a:p>
          </p:txBody>
        </p:sp>
        <p:sp>
          <p:nvSpPr>
            <p:cNvPr id="1136" name="Freeform: Shape 1135">
              <a:extLst>
                <a:ext uri="{FF2B5EF4-FFF2-40B4-BE49-F238E27FC236}">
                  <a16:creationId xmlns:a16="http://schemas.microsoft.com/office/drawing/2014/main" id="{D7976ADC-A7EB-4101-A56A-C8CB3D1F77CD}"/>
                </a:ext>
              </a:extLst>
            </p:cNvPr>
            <p:cNvSpPr/>
            <p:nvPr/>
          </p:nvSpPr>
          <p:spPr>
            <a:xfrm>
              <a:off x="4842216" y="5885474"/>
              <a:ext cx="4555" cy="1071"/>
            </a:xfrm>
            <a:custGeom>
              <a:avLst/>
              <a:gdLst>
                <a:gd name="connsiteX0" fmla="*/ 1339 w 4555"/>
                <a:gd name="connsiteY0" fmla="*/ 1072 h 1071"/>
                <a:gd name="connsiteX1" fmla="*/ 2411 w 4555"/>
                <a:gd name="connsiteY1" fmla="*/ 1072 h 1071"/>
                <a:gd name="connsiteX2" fmla="*/ 4555 w 4555"/>
                <a:gd name="connsiteY2" fmla="*/ 1072 h 1071"/>
                <a:gd name="connsiteX3" fmla="*/ 0 w 4555"/>
                <a:gd name="connsiteY3" fmla="*/ 0 h 1071"/>
              </a:gdLst>
              <a:ahLst/>
              <a:cxnLst>
                <a:cxn ang="0">
                  <a:pos x="connsiteX0" y="connsiteY0"/>
                </a:cxn>
                <a:cxn ang="0">
                  <a:pos x="connsiteX1" y="connsiteY1"/>
                </a:cxn>
                <a:cxn ang="0">
                  <a:pos x="connsiteX2" y="connsiteY2"/>
                </a:cxn>
                <a:cxn ang="0">
                  <a:pos x="connsiteX3" y="connsiteY3"/>
                </a:cxn>
              </a:cxnLst>
              <a:rect l="l" t="t" r="r" b="b"/>
              <a:pathLst>
                <a:path w="4555" h="1071">
                  <a:moveTo>
                    <a:pt x="1339" y="1072"/>
                  </a:moveTo>
                  <a:lnTo>
                    <a:pt x="2411" y="1072"/>
                  </a:lnTo>
                  <a:cubicBezTo>
                    <a:pt x="3122" y="931"/>
                    <a:pt x="3845" y="931"/>
                    <a:pt x="4555" y="1072"/>
                  </a:cubicBezTo>
                  <a:lnTo>
                    <a:pt x="0" y="0"/>
                  </a:lnTo>
                  <a:close/>
                </a:path>
              </a:pathLst>
            </a:custGeom>
            <a:solidFill>
              <a:srgbClr val="000000"/>
            </a:solidFill>
            <a:ln w="12700" cap="flat">
              <a:noFill/>
              <a:prstDash val="solid"/>
              <a:miter/>
            </a:ln>
          </p:spPr>
          <p:txBody>
            <a:bodyPr rtlCol="0" anchor="ctr"/>
            <a:lstStyle/>
            <a:p>
              <a:endParaRPr lang="en-US"/>
            </a:p>
          </p:txBody>
        </p:sp>
        <p:sp>
          <p:nvSpPr>
            <p:cNvPr id="1137" name="Freeform: Shape 1136">
              <a:extLst>
                <a:ext uri="{FF2B5EF4-FFF2-40B4-BE49-F238E27FC236}">
                  <a16:creationId xmlns:a16="http://schemas.microsoft.com/office/drawing/2014/main" id="{90F465C3-9837-42B6-807A-E39A22B24372}"/>
                </a:ext>
              </a:extLst>
            </p:cNvPr>
            <p:cNvSpPr/>
            <p:nvPr/>
          </p:nvSpPr>
          <p:spPr>
            <a:xfrm>
              <a:off x="4813143" y="5894985"/>
              <a:ext cx="2679" cy="83588"/>
            </a:xfrm>
            <a:custGeom>
              <a:avLst/>
              <a:gdLst>
                <a:gd name="connsiteX0" fmla="*/ 1340 w 2679"/>
                <a:gd name="connsiteY0" fmla="*/ 82919 h 83588"/>
                <a:gd name="connsiteX1" fmla="*/ 2680 w 2679"/>
                <a:gd name="connsiteY1" fmla="*/ 82919 h 83588"/>
                <a:gd name="connsiteX2" fmla="*/ 2680 w 2679"/>
                <a:gd name="connsiteY2" fmla="*/ 0 h 83588"/>
                <a:gd name="connsiteX3" fmla="*/ 0 w 2679"/>
                <a:gd name="connsiteY3" fmla="*/ 0 h 83588"/>
                <a:gd name="connsiteX4" fmla="*/ 0 w 2679"/>
                <a:gd name="connsiteY4" fmla="*/ 0 h 83588"/>
                <a:gd name="connsiteX5" fmla="*/ 0 w 2679"/>
                <a:gd name="connsiteY5" fmla="*/ 83589 h 8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83588">
                  <a:moveTo>
                    <a:pt x="1340" y="82919"/>
                  </a:moveTo>
                  <a:lnTo>
                    <a:pt x="2680" y="82919"/>
                  </a:lnTo>
                  <a:lnTo>
                    <a:pt x="2680" y="0"/>
                  </a:lnTo>
                  <a:lnTo>
                    <a:pt x="0" y="0"/>
                  </a:lnTo>
                  <a:lnTo>
                    <a:pt x="0" y="0"/>
                  </a:lnTo>
                  <a:lnTo>
                    <a:pt x="0" y="83589"/>
                  </a:lnTo>
                  <a:close/>
                </a:path>
              </a:pathLst>
            </a:custGeom>
            <a:solidFill>
              <a:srgbClr val="000000"/>
            </a:solidFill>
            <a:ln w="12700" cap="flat">
              <a:noFill/>
              <a:prstDash val="solid"/>
              <a:miter/>
            </a:ln>
          </p:spPr>
          <p:txBody>
            <a:bodyPr rtlCol="0" anchor="ctr"/>
            <a:lstStyle/>
            <a:p>
              <a:endParaRPr lang="en-US"/>
            </a:p>
          </p:txBody>
        </p:sp>
        <p:sp>
          <p:nvSpPr>
            <p:cNvPr id="1138" name="Freeform: Shape 1137">
              <a:extLst>
                <a:ext uri="{FF2B5EF4-FFF2-40B4-BE49-F238E27FC236}">
                  <a16:creationId xmlns:a16="http://schemas.microsoft.com/office/drawing/2014/main" id="{FEA3CCBF-BE98-4246-9A59-1AC683EC5728}"/>
                </a:ext>
              </a:extLst>
            </p:cNvPr>
            <p:cNvSpPr/>
            <p:nvPr/>
          </p:nvSpPr>
          <p:spPr>
            <a:xfrm>
              <a:off x="6240138" y="6571466"/>
              <a:ext cx="460212" cy="7099"/>
            </a:xfrm>
            <a:custGeom>
              <a:avLst/>
              <a:gdLst>
                <a:gd name="connsiteX0" fmla="*/ 0 w 460212"/>
                <a:gd name="connsiteY0" fmla="*/ 0 h 7099"/>
                <a:gd name="connsiteX1" fmla="*/ 460213 w 460212"/>
                <a:gd name="connsiteY1" fmla="*/ 0 h 7099"/>
                <a:gd name="connsiteX2" fmla="*/ 460213 w 460212"/>
                <a:gd name="connsiteY2" fmla="*/ 7100 h 7099"/>
                <a:gd name="connsiteX3" fmla="*/ 0 w 460212"/>
                <a:gd name="connsiteY3" fmla="*/ 7100 h 7099"/>
              </a:gdLst>
              <a:ahLst/>
              <a:cxnLst>
                <a:cxn ang="0">
                  <a:pos x="connsiteX0" y="connsiteY0"/>
                </a:cxn>
                <a:cxn ang="0">
                  <a:pos x="connsiteX1" y="connsiteY1"/>
                </a:cxn>
                <a:cxn ang="0">
                  <a:pos x="connsiteX2" y="connsiteY2"/>
                </a:cxn>
                <a:cxn ang="0">
                  <a:pos x="connsiteX3" y="connsiteY3"/>
                </a:cxn>
              </a:cxnLst>
              <a:rect l="l" t="t" r="r" b="b"/>
              <a:pathLst>
                <a:path w="460212" h="7099">
                  <a:moveTo>
                    <a:pt x="0" y="0"/>
                  </a:moveTo>
                  <a:lnTo>
                    <a:pt x="460213" y="0"/>
                  </a:lnTo>
                  <a:lnTo>
                    <a:pt x="460213" y="7100"/>
                  </a:lnTo>
                  <a:lnTo>
                    <a:pt x="0" y="7100"/>
                  </a:lnTo>
                  <a:close/>
                </a:path>
              </a:pathLst>
            </a:custGeom>
            <a:solidFill>
              <a:srgbClr val="000000"/>
            </a:solidFill>
            <a:ln w="12700" cap="flat">
              <a:noFill/>
              <a:prstDash val="solid"/>
              <a:miter/>
            </a:ln>
          </p:spPr>
          <p:txBody>
            <a:bodyPr rtlCol="0" anchor="ctr"/>
            <a:lstStyle/>
            <a:p>
              <a:endParaRPr lang="en-US"/>
            </a:p>
          </p:txBody>
        </p:sp>
        <p:sp>
          <p:nvSpPr>
            <p:cNvPr id="1139" name="Freeform: Shape 1138">
              <a:extLst>
                <a:ext uri="{FF2B5EF4-FFF2-40B4-BE49-F238E27FC236}">
                  <a16:creationId xmlns:a16="http://schemas.microsoft.com/office/drawing/2014/main" id="{5C261EEA-C8E8-4C71-B0C9-7BE5D5DC497D}"/>
                </a:ext>
              </a:extLst>
            </p:cNvPr>
            <p:cNvSpPr/>
            <p:nvPr/>
          </p:nvSpPr>
          <p:spPr>
            <a:xfrm>
              <a:off x="6240138" y="6581245"/>
              <a:ext cx="461686" cy="4956"/>
            </a:xfrm>
            <a:custGeom>
              <a:avLst/>
              <a:gdLst>
                <a:gd name="connsiteX0" fmla="*/ 460079 w 461686"/>
                <a:gd name="connsiteY0" fmla="*/ 0 h 4956"/>
                <a:gd name="connsiteX1" fmla="*/ 0 w 461686"/>
                <a:gd name="connsiteY1" fmla="*/ 0 h 4956"/>
                <a:gd name="connsiteX2" fmla="*/ 0 w 461686"/>
                <a:gd name="connsiteY2" fmla="*/ 4957 h 4956"/>
                <a:gd name="connsiteX3" fmla="*/ 461687 w 461686"/>
                <a:gd name="connsiteY3" fmla="*/ 4957 h 4956"/>
                <a:gd name="connsiteX4" fmla="*/ 460079 w 461686"/>
                <a:gd name="connsiteY4" fmla="*/ 670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686" h="4956">
                  <a:moveTo>
                    <a:pt x="460079" y="0"/>
                  </a:moveTo>
                  <a:lnTo>
                    <a:pt x="0" y="0"/>
                  </a:lnTo>
                  <a:lnTo>
                    <a:pt x="0" y="4957"/>
                  </a:lnTo>
                  <a:lnTo>
                    <a:pt x="461687" y="4957"/>
                  </a:lnTo>
                  <a:cubicBezTo>
                    <a:pt x="460695" y="3751"/>
                    <a:pt x="460132" y="2237"/>
                    <a:pt x="460079" y="670"/>
                  </a:cubicBezTo>
                  <a:close/>
                </a:path>
              </a:pathLst>
            </a:custGeom>
            <a:solidFill>
              <a:srgbClr val="000000"/>
            </a:solidFill>
            <a:ln w="12700" cap="flat">
              <a:noFill/>
              <a:prstDash val="solid"/>
              <a:miter/>
            </a:ln>
          </p:spPr>
          <p:txBody>
            <a:bodyPr rtlCol="0" anchor="ctr"/>
            <a:lstStyle/>
            <a:p>
              <a:endParaRPr lang="en-US"/>
            </a:p>
          </p:txBody>
        </p:sp>
        <p:sp>
          <p:nvSpPr>
            <p:cNvPr id="1140" name="Freeform: Shape 1139">
              <a:extLst>
                <a:ext uri="{FF2B5EF4-FFF2-40B4-BE49-F238E27FC236}">
                  <a16:creationId xmlns:a16="http://schemas.microsoft.com/office/drawing/2014/main" id="{03E05A86-EF36-418D-B665-DDAB17235302}"/>
                </a:ext>
              </a:extLst>
            </p:cNvPr>
            <p:cNvSpPr/>
            <p:nvPr/>
          </p:nvSpPr>
          <p:spPr>
            <a:xfrm>
              <a:off x="4883749" y="6570662"/>
              <a:ext cx="54663" cy="7099"/>
            </a:xfrm>
            <a:custGeom>
              <a:avLst/>
              <a:gdLst>
                <a:gd name="connsiteX0" fmla="*/ 4287 w 54663"/>
                <a:gd name="connsiteY0" fmla="*/ 1474 h 7099"/>
                <a:gd name="connsiteX1" fmla="*/ 4287 w 54663"/>
                <a:gd name="connsiteY1" fmla="*/ 1474 h 7099"/>
                <a:gd name="connsiteX2" fmla="*/ 6163 w 54663"/>
                <a:gd name="connsiteY2" fmla="*/ 2679 h 7099"/>
                <a:gd name="connsiteX3" fmla="*/ 6163 w 54663"/>
                <a:gd name="connsiteY3" fmla="*/ 2679 h 7099"/>
                <a:gd name="connsiteX4" fmla="*/ 7369 w 54663"/>
                <a:gd name="connsiteY4" fmla="*/ 4421 h 7099"/>
                <a:gd name="connsiteX5" fmla="*/ 7369 w 54663"/>
                <a:gd name="connsiteY5" fmla="*/ 5626 h 7099"/>
                <a:gd name="connsiteX6" fmla="*/ 7369 w 54663"/>
                <a:gd name="connsiteY6" fmla="*/ 7100 h 7099"/>
                <a:gd name="connsiteX7" fmla="*/ 54663 w 54663"/>
                <a:gd name="connsiteY7" fmla="*/ 7100 h 7099"/>
                <a:gd name="connsiteX8" fmla="*/ 54663 w 54663"/>
                <a:gd name="connsiteY8" fmla="*/ 0 h 7099"/>
                <a:gd name="connsiteX9" fmla="*/ 0 w 54663"/>
                <a:gd name="connsiteY9" fmla="*/ 0 h 7099"/>
                <a:gd name="connsiteX10" fmla="*/ 1072 w 54663"/>
                <a:gd name="connsiteY10" fmla="*/ 0 h 7099"/>
                <a:gd name="connsiteX11" fmla="*/ 4287 w 54663"/>
                <a:gd name="connsiteY11" fmla="*/ 1474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63" h="7099">
                  <a:moveTo>
                    <a:pt x="4287" y="1474"/>
                  </a:moveTo>
                  <a:lnTo>
                    <a:pt x="4287" y="1474"/>
                  </a:lnTo>
                  <a:cubicBezTo>
                    <a:pt x="4958" y="1795"/>
                    <a:pt x="5587" y="2197"/>
                    <a:pt x="6163" y="2679"/>
                  </a:cubicBezTo>
                  <a:cubicBezTo>
                    <a:pt x="6163" y="2679"/>
                    <a:pt x="6163" y="2679"/>
                    <a:pt x="6163" y="2679"/>
                  </a:cubicBezTo>
                  <a:cubicBezTo>
                    <a:pt x="6686" y="3175"/>
                    <a:pt x="7088" y="3764"/>
                    <a:pt x="7369" y="4421"/>
                  </a:cubicBezTo>
                  <a:cubicBezTo>
                    <a:pt x="7436" y="4822"/>
                    <a:pt x="7436" y="5224"/>
                    <a:pt x="7369" y="5626"/>
                  </a:cubicBezTo>
                  <a:cubicBezTo>
                    <a:pt x="7423" y="6122"/>
                    <a:pt x="7423" y="6604"/>
                    <a:pt x="7369" y="7100"/>
                  </a:cubicBezTo>
                  <a:lnTo>
                    <a:pt x="54663" y="7100"/>
                  </a:lnTo>
                  <a:lnTo>
                    <a:pt x="54663" y="0"/>
                  </a:lnTo>
                  <a:lnTo>
                    <a:pt x="0" y="0"/>
                  </a:lnTo>
                  <a:lnTo>
                    <a:pt x="1072" y="0"/>
                  </a:lnTo>
                  <a:cubicBezTo>
                    <a:pt x="2251" y="187"/>
                    <a:pt x="3363" y="697"/>
                    <a:pt x="4287" y="1474"/>
                  </a:cubicBezTo>
                  <a:close/>
                </a:path>
              </a:pathLst>
            </a:custGeom>
            <a:solidFill>
              <a:srgbClr val="000000"/>
            </a:solidFill>
            <a:ln w="12700" cap="flat">
              <a:noFill/>
              <a:prstDash val="solid"/>
              <a:miter/>
            </a:ln>
          </p:spPr>
          <p:txBody>
            <a:bodyPr rtlCol="0" anchor="ctr"/>
            <a:lstStyle/>
            <a:p>
              <a:endParaRPr lang="en-US"/>
            </a:p>
          </p:txBody>
        </p:sp>
        <p:sp>
          <p:nvSpPr>
            <p:cNvPr id="1141" name="Freeform: Shape 1140">
              <a:extLst>
                <a:ext uri="{FF2B5EF4-FFF2-40B4-BE49-F238E27FC236}">
                  <a16:creationId xmlns:a16="http://schemas.microsoft.com/office/drawing/2014/main" id="{55F754E7-0F2B-4C51-A0DC-D2420CF88512}"/>
                </a:ext>
              </a:extLst>
            </p:cNvPr>
            <p:cNvSpPr/>
            <p:nvPr/>
          </p:nvSpPr>
          <p:spPr>
            <a:xfrm>
              <a:off x="4885625" y="6580173"/>
              <a:ext cx="54394" cy="4996"/>
            </a:xfrm>
            <a:custGeom>
              <a:avLst/>
              <a:gdLst>
                <a:gd name="connsiteX0" fmla="*/ 6565 w 54394"/>
                <a:gd name="connsiteY0" fmla="*/ 1072 h 4996"/>
                <a:gd name="connsiteX1" fmla="*/ 6565 w 54394"/>
                <a:gd name="connsiteY1" fmla="*/ 1072 h 4996"/>
                <a:gd name="connsiteX2" fmla="*/ 5761 w 54394"/>
                <a:gd name="connsiteY2" fmla="*/ 2143 h 4996"/>
                <a:gd name="connsiteX3" fmla="*/ 5091 w 54394"/>
                <a:gd name="connsiteY3" fmla="*/ 3349 h 4996"/>
                <a:gd name="connsiteX4" fmla="*/ 3885 w 54394"/>
                <a:gd name="connsiteY4" fmla="*/ 4153 h 4996"/>
                <a:gd name="connsiteX5" fmla="*/ 2679 w 54394"/>
                <a:gd name="connsiteY5" fmla="*/ 4957 h 4996"/>
                <a:gd name="connsiteX6" fmla="*/ 1340 w 54394"/>
                <a:gd name="connsiteY6" fmla="*/ 4957 h 4996"/>
                <a:gd name="connsiteX7" fmla="*/ 0 w 54394"/>
                <a:gd name="connsiteY7" fmla="*/ 4957 h 4996"/>
                <a:gd name="connsiteX8" fmla="*/ 54395 w 54394"/>
                <a:gd name="connsiteY8" fmla="*/ 4957 h 4996"/>
                <a:gd name="connsiteX9" fmla="*/ 54395 w 54394"/>
                <a:gd name="connsiteY9" fmla="*/ 0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94" h="4996">
                  <a:moveTo>
                    <a:pt x="6565" y="1072"/>
                  </a:moveTo>
                  <a:lnTo>
                    <a:pt x="6565" y="1072"/>
                  </a:lnTo>
                  <a:cubicBezTo>
                    <a:pt x="6377" y="1487"/>
                    <a:pt x="6096" y="1849"/>
                    <a:pt x="5761" y="2143"/>
                  </a:cubicBezTo>
                  <a:cubicBezTo>
                    <a:pt x="5614" y="2585"/>
                    <a:pt x="5386" y="3001"/>
                    <a:pt x="5091" y="3349"/>
                  </a:cubicBezTo>
                  <a:cubicBezTo>
                    <a:pt x="4716" y="3657"/>
                    <a:pt x="4314" y="3938"/>
                    <a:pt x="3885" y="4153"/>
                  </a:cubicBezTo>
                  <a:cubicBezTo>
                    <a:pt x="3885" y="4153"/>
                    <a:pt x="3215" y="4822"/>
                    <a:pt x="2679" y="4957"/>
                  </a:cubicBezTo>
                  <a:cubicBezTo>
                    <a:pt x="2237" y="5010"/>
                    <a:pt x="1782" y="5010"/>
                    <a:pt x="1340" y="4957"/>
                  </a:cubicBezTo>
                  <a:lnTo>
                    <a:pt x="0" y="4957"/>
                  </a:lnTo>
                  <a:lnTo>
                    <a:pt x="54395" y="4957"/>
                  </a:lnTo>
                  <a:lnTo>
                    <a:pt x="54395" y="0"/>
                  </a:lnTo>
                  <a:close/>
                </a:path>
              </a:pathLst>
            </a:custGeom>
            <a:solidFill>
              <a:srgbClr val="000000"/>
            </a:solidFill>
            <a:ln w="12700" cap="flat">
              <a:noFill/>
              <a:prstDash val="solid"/>
              <a:miter/>
            </a:ln>
          </p:spPr>
          <p:txBody>
            <a:bodyPr rtlCol="0" anchor="ctr"/>
            <a:lstStyle/>
            <a:p>
              <a:endParaRPr lang="en-US"/>
            </a:p>
          </p:txBody>
        </p:sp>
        <p:sp>
          <p:nvSpPr>
            <p:cNvPr id="1142" name="Freeform: Shape 1141">
              <a:extLst>
                <a:ext uri="{FF2B5EF4-FFF2-40B4-BE49-F238E27FC236}">
                  <a16:creationId xmlns:a16="http://schemas.microsoft.com/office/drawing/2014/main" id="{2A013E4A-4339-4849-8A76-82E988363A80}"/>
                </a:ext>
              </a:extLst>
            </p:cNvPr>
            <p:cNvSpPr/>
            <p:nvPr/>
          </p:nvSpPr>
          <p:spPr>
            <a:xfrm>
              <a:off x="4847307" y="5982593"/>
              <a:ext cx="16613" cy="15271"/>
            </a:xfrm>
            <a:custGeom>
              <a:avLst/>
              <a:gdLst>
                <a:gd name="connsiteX0" fmla="*/ 4556 w 16613"/>
                <a:gd name="connsiteY0" fmla="*/ 8841 h 15271"/>
                <a:gd name="connsiteX1" fmla="*/ 4556 w 16613"/>
                <a:gd name="connsiteY1" fmla="*/ 8841 h 15271"/>
                <a:gd name="connsiteX2" fmla="*/ 4556 w 16613"/>
                <a:gd name="connsiteY2" fmla="*/ 9779 h 15271"/>
                <a:gd name="connsiteX3" fmla="*/ 4556 w 16613"/>
                <a:gd name="connsiteY3" fmla="*/ 10850 h 15271"/>
                <a:gd name="connsiteX4" fmla="*/ 3618 w 16613"/>
                <a:gd name="connsiteY4" fmla="*/ 12190 h 15271"/>
                <a:gd name="connsiteX5" fmla="*/ 3618 w 16613"/>
                <a:gd name="connsiteY5" fmla="*/ 12994 h 15271"/>
                <a:gd name="connsiteX6" fmla="*/ 2144 w 16613"/>
                <a:gd name="connsiteY6" fmla="*/ 13932 h 15271"/>
                <a:gd name="connsiteX7" fmla="*/ 1340 w 16613"/>
                <a:gd name="connsiteY7" fmla="*/ 13932 h 15271"/>
                <a:gd name="connsiteX8" fmla="*/ 0 w 16613"/>
                <a:gd name="connsiteY8" fmla="*/ 13932 h 15271"/>
                <a:gd name="connsiteX9" fmla="*/ 0 w 16613"/>
                <a:gd name="connsiteY9" fmla="*/ 13932 h 15271"/>
                <a:gd name="connsiteX10" fmla="*/ 7235 w 16613"/>
                <a:gd name="connsiteY10" fmla="*/ 15271 h 15271"/>
                <a:gd name="connsiteX11" fmla="*/ 7235 w 16613"/>
                <a:gd name="connsiteY11" fmla="*/ 9109 h 15271"/>
                <a:gd name="connsiteX12" fmla="*/ 14604 w 16613"/>
                <a:gd name="connsiteY12" fmla="*/ 1741 h 15271"/>
                <a:gd name="connsiteX13" fmla="*/ 16613 w 16613"/>
                <a:gd name="connsiteY13" fmla="*/ 1741 h 15271"/>
                <a:gd name="connsiteX14" fmla="*/ 15943 w 16613"/>
                <a:gd name="connsiteY14" fmla="*/ 1741 h 15271"/>
                <a:gd name="connsiteX15" fmla="*/ 6029 w 16613"/>
                <a:gd name="connsiteY15" fmla="*/ 0 h 15271"/>
                <a:gd name="connsiteX16" fmla="*/ 6029 w 16613"/>
                <a:gd name="connsiteY16" fmla="*/ 6162 h 15271"/>
                <a:gd name="connsiteX17" fmla="*/ 4556 w 16613"/>
                <a:gd name="connsiteY17" fmla="*/ 8841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613" h="15271">
                  <a:moveTo>
                    <a:pt x="4556" y="8841"/>
                  </a:moveTo>
                  <a:lnTo>
                    <a:pt x="4556" y="8841"/>
                  </a:lnTo>
                  <a:cubicBezTo>
                    <a:pt x="4556" y="8841"/>
                    <a:pt x="4556" y="8841"/>
                    <a:pt x="4556" y="9779"/>
                  </a:cubicBezTo>
                  <a:lnTo>
                    <a:pt x="4556" y="10850"/>
                  </a:lnTo>
                  <a:cubicBezTo>
                    <a:pt x="4274" y="11318"/>
                    <a:pt x="3966" y="11767"/>
                    <a:pt x="3618" y="12190"/>
                  </a:cubicBezTo>
                  <a:lnTo>
                    <a:pt x="3618" y="12994"/>
                  </a:lnTo>
                  <a:cubicBezTo>
                    <a:pt x="3175" y="13384"/>
                    <a:pt x="2680" y="13700"/>
                    <a:pt x="2144" y="13932"/>
                  </a:cubicBezTo>
                  <a:lnTo>
                    <a:pt x="1340" y="13932"/>
                  </a:lnTo>
                  <a:cubicBezTo>
                    <a:pt x="898" y="13990"/>
                    <a:pt x="442" y="13990"/>
                    <a:pt x="0" y="13932"/>
                  </a:cubicBezTo>
                  <a:lnTo>
                    <a:pt x="0" y="13932"/>
                  </a:lnTo>
                  <a:lnTo>
                    <a:pt x="7235" y="15271"/>
                  </a:lnTo>
                  <a:lnTo>
                    <a:pt x="7235" y="9109"/>
                  </a:lnTo>
                  <a:cubicBezTo>
                    <a:pt x="7235" y="5039"/>
                    <a:pt x="10531" y="1741"/>
                    <a:pt x="14604" y="1741"/>
                  </a:cubicBezTo>
                  <a:cubicBezTo>
                    <a:pt x="15274" y="1621"/>
                    <a:pt x="15943" y="1621"/>
                    <a:pt x="16613" y="1741"/>
                  </a:cubicBezTo>
                  <a:lnTo>
                    <a:pt x="15943" y="1741"/>
                  </a:lnTo>
                  <a:lnTo>
                    <a:pt x="6029" y="0"/>
                  </a:lnTo>
                  <a:lnTo>
                    <a:pt x="6029" y="6162"/>
                  </a:lnTo>
                  <a:cubicBezTo>
                    <a:pt x="6029" y="6162"/>
                    <a:pt x="4556" y="8707"/>
                    <a:pt x="4556" y="8841"/>
                  </a:cubicBezTo>
                  <a:close/>
                </a:path>
              </a:pathLst>
            </a:custGeom>
            <a:solidFill>
              <a:srgbClr val="000000"/>
            </a:solidFill>
            <a:ln w="12700" cap="flat">
              <a:noFill/>
              <a:prstDash val="solid"/>
              <a:miter/>
            </a:ln>
          </p:spPr>
          <p:txBody>
            <a:bodyPr rtlCol="0" anchor="ctr"/>
            <a:lstStyle/>
            <a:p>
              <a:endParaRPr lang="en-US"/>
            </a:p>
          </p:txBody>
        </p:sp>
        <p:sp>
          <p:nvSpPr>
            <p:cNvPr id="1143" name="Freeform: Shape 1142">
              <a:extLst>
                <a:ext uri="{FF2B5EF4-FFF2-40B4-BE49-F238E27FC236}">
                  <a16:creationId xmlns:a16="http://schemas.microsoft.com/office/drawing/2014/main" id="{9E4EAE85-9AD5-4244-BDB3-6ABF92C3F0A0}"/>
                </a:ext>
              </a:extLst>
            </p:cNvPr>
            <p:cNvSpPr/>
            <p:nvPr/>
          </p:nvSpPr>
          <p:spPr>
            <a:xfrm>
              <a:off x="4867940" y="6571466"/>
              <a:ext cx="18354" cy="803"/>
            </a:xfrm>
            <a:custGeom>
              <a:avLst/>
              <a:gdLst>
                <a:gd name="connsiteX0" fmla="*/ 17015 w 18354"/>
                <a:gd name="connsiteY0" fmla="*/ 0 h 803"/>
                <a:gd name="connsiteX1" fmla="*/ 18355 w 18354"/>
                <a:gd name="connsiteY1" fmla="*/ 0 h 803"/>
                <a:gd name="connsiteX2" fmla="*/ 17283 w 18354"/>
                <a:gd name="connsiteY2" fmla="*/ 0 h 803"/>
                <a:gd name="connsiteX3" fmla="*/ 0 w 18354"/>
                <a:gd name="connsiteY3" fmla="*/ 0 h 803"/>
                <a:gd name="connsiteX4" fmla="*/ 0 w 18354"/>
                <a:gd name="connsiteY4" fmla="*/ 804 h 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803">
                  <a:moveTo>
                    <a:pt x="17015" y="0"/>
                  </a:moveTo>
                  <a:lnTo>
                    <a:pt x="18355" y="0"/>
                  </a:lnTo>
                  <a:lnTo>
                    <a:pt x="17283" y="0"/>
                  </a:lnTo>
                  <a:lnTo>
                    <a:pt x="0" y="0"/>
                  </a:lnTo>
                  <a:lnTo>
                    <a:pt x="0" y="804"/>
                  </a:lnTo>
                  <a:close/>
                </a:path>
              </a:pathLst>
            </a:custGeom>
            <a:solidFill>
              <a:srgbClr val="000000"/>
            </a:solidFill>
            <a:ln w="12700" cap="flat">
              <a:noFill/>
              <a:prstDash val="solid"/>
              <a:miter/>
            </a:ln>
          </p:spPr>
          <p:txBody>
            <a:bodyPr rtlCol="0" anchor="ctr"/>
            <a:lstStyle/>
            <a:p>
              <a:endParaRPr lang="en-US"/>
            </a:p>
          </p:txBody>
        </p:sp>
        <p:sp>
          <p:nvSpPr>
            <p:cNvPr id="1144" name="Freeform: Shape 1143">
              <a:extLst>
                <a:ext uri="{FF2B5EF4-FFF2-40B4-BE49-F238E27FC236}">
                  <a16:creationId xmlns:a16="http://schemas.microsoft.com/office/drawing/2014/main" id="{608CE8FE-AA4D-4CD6-B1E3-5F50690A54C9}"/>
                </a:ext>
              </a:extLst>
            </p:cNvPr>
            <p:cNvSpPr/>
            <p:nvPr/>
          </p:nvSpPr>
          <p:spPr>
            <a:xfrm>
              <a:off x="4847173" y="6579504"/>
              <a:ext cx="6296" cy="2277"/>
            </a:xfrm>
            <a:custGeom>
              <a:avLst/>
              <a:gdLst>
                <a:gd name="connsiteX0" fmla="*/ 0 w 6296"/>
                <a:gd name="connsiteY0" fmla="*/ 2277 h 2277"/>
                <a:gd name="connsiteX1" fmla="*/ 6297 w 6296"/>
                <a:gd name="connsiteY1" fmla="*/ 2277 h 2277"/>
                <a:gd name="connsiteX2" fmla="*/ 6297 w 6296"/>
                <a:gd name="connsiteY2" fmla="*/ 938 h 2277"/>
                <a:gd name="connsiteX3" fmla="*/ 6297 w 6296"/>
                <a:gd name="connsiteY3" fmla="*/ 938 h 2277"/>
                <a:gd name="connsiteX4" fmla="*/ 6297 w 6296"/>
                <a:gd name="connsiteY4" fmla="*/ 0 h 2277"/>
                <a:gd name="connsiteX5" fmla="*/ 134 w 6296"/>
                <a:gd name="connsiteY5" fmla="*/ 0 h 2277"/>
                <a:gd name="connsiteX6" fmla="*/ 134 w 6296"/>
                <a:gd name="connsiteY6" fmla="*/ 1206 h 2277"/>
                <a:gd name="connsiteX7" fmla="*/ 0 w 6296"/>
                <a:gd name="connsiteY7" fmla="*/ 2277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6" h="2277">
                  <a:moveTo>
                    <a:pt x="0" y="2277"/>
                  </a:moveTo>
                  <a:lnTo>
                    <a:pt x="6297" y="2277"/>
                  </a:lnTo>
                  <a:cubicBezTo>
                    <a:pt x="6297" y="2277"/>
                    <a:pt x="6297" y="1474"/>
                    <a:pt x="6297" y="938"/>
                  </a:cubicBezTo>
                  <a:lnTo>
                    <a:pt x="6297" y="938"/>
                  </a:lnTo>
                  <a:lnTo>
                    <a:pt x="6297" y="0"/>
                  </a:lnTo>
                  <a:lnTo>
                    <a:pt x="134" y="0"/>
                  </a:lnTo>
                  <a:lnTo>
                    <a:pt x="134" y="1206"/>
                  </a:lnTo>
                  <a:cubicBezTo>
                    <a:pt x="134" y="1567"/>
                    <a:pt x="94" y="1929"/>
                    <a:pt x="0" y="2277"/>
                  </a:cubicBezTo>
                  <a:close/>
                </a:path>
              </a:pathLst>
            </a:custGeom>
            <a:solidFill>
              <a:srgbClr val="000000"/>
            </a:solidFill>
            <a:ln w="12700" cap="flat">
              <a:noFill/>
              <a:prstDash val="solid"/>
              <a:miter/>
            </a:ln>
          </p:spPr>
          <p:txBody>
            <a:bodyPr rtlCol="0" anchor="ctr"/>
            <a:lstStyle/>
            <a:p>
              <a:endParaRPr lang="en-US"/>
            </a:p>
          </p:txBody>
        </p:sp>
        <p:sp>
          <p:nvSpPr>
            <p:cNvPr id="1145" name="Freeform: Shape 1144">
              <a:extLst>
                <a:ext uri="{FF2B5EF4-FFF2-40B4-BE49-F238E27FC236}">
                  <a16:creationId xmlns:a16="http://schemas.microsoft.com/office/drawing/2014/main" id="{70AB402E-7B58-4781-B2B9-A02726B48EEC}"/>
                </a:ext>
              </a:extLst>
            </p:cNvPr>
            <p:cNvSpPr/>
            <p:nvPr/>
          </p:nvSpPr>
          <p:spPr>
            <a:xfrm>
              <a:off x="4843288" y="5997998"/>
              <a:ext cx="2679" cy="578558"/>
            </a:xfrm>
            <a:custGeom>
              <a:avLst/>
              <a:gdLst>
                <a:gd name="connsiteX0" fmla="*/ 0 w 2679"/>
                <a:gd name="connsiteY0" fmla="*/ 576282 h 578558"/>
                <a:gd name="connsiteX1" fmla="*/ 2680 w 2679"/>
                <a:gd name="connsiteY1" fmla="*/ 578559 h 578558"/>
                <a:gd name="connsiteX2" fmla="*/ 2680 w 2679"/>
                <a:gd name="connsiteY2" fmla="*/ 0 h 578558"/>
                <a:gd name="connsiteX3" fmla="*/ 1340 w 2679"/>
                <a:gd name="connsiteY3" fmla="*/ 0 h 578558"/>
                <a:gd name="connsiteX4" fmla="*/ 0 w 2679"/>
                <a:gd name="connsiteY4" fmla="*/ 0 h 57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578558">
                  <a:moveTo>
                    <a:pt x="0" y="576282"/>
                  </a:moveTo>
                  <a:cubicBezTo>
                    <a:pt x="1059" y="576817"/>
                    <a:pt x="1983" y="577594"/>
                    <a:pt x="2680" y="578559"/>
                  </a:cubicBezTo>
                  <a:lnTo>
                    <a:pt x="2680" y="0"/>
                  </a:lnTo>
                  <a:lnTo>
                    <a:pt x="1340" y="0"/>
                  </a:lnTo>
                  <a:lnTo>
                    <a:pt x="0" y="0"/>
                  </a:lnTo>
                  <a:close/>
                </a:path>
              </a:pathLst>
            </a:custGeom>
            <a:solidFill>
              <a:srgbClr val="000000"/>
            </a:solidFill>
            <a:ln w="12700" cap="flat">
              <a:noFill/>
              <a:prstDash val="solid"/>
              <a:miter/>
            </a:ln>
          </p:spPr>
          <p:txBody>
            <a:bodyPr rtlCol="0" anchor="ctr"/>
            <a:lstStyle/>
            <a:p>
              <a:endParaRPr lang="en-US"/>
            </a:p>
          </p:txBody>
        </p:sp>
        <p:sp>
          <p:nvSpPr>
            <p:cNvPr id="1146" name="Freeform: Shape 1145">
              <a:extLst>
                <a:ext uri="{FF2B5EF4-FFF2-40B4-BE49-F238E27FC236}">
                  <a16:creationId xmlns:a16="http://schemas.microsoft.com/office/drawing/2014/main" id="{83B85434-4CA0-4AF7-B674-F23D26374B55}"/>
                </a:ext>
              </a:extLst>
            </p:cNvPr>
            <p:cNvSpPr/>
            <p:nvPr/>
          </p:nvSpPr>
          <p:spPr>
            <a:xfrm>
              <a:off x="4597573" y="5983932"/>
              <a:ext cx="209540" cy="2679"/>
            </a:xfrm>
            <a:custGeom>
              <a:avLst/>
              <a:gdLst>
                <a:gd name="connsiteX0" fmla="*/ 209541 w 209540"/>
                <a:gd name="connsiteY0" fmla="*/ 1340 h 2679"/>
                <a:gd name="connsiteX1" fmla="*/ 209541 w 209540"/>
                <a:gd name="connsiteY1" fmla="*/ 0 h 2679"/>
                <a:gd name="connsiteX2" fmla="*/ 0 w 209540"/>
                <a:gd name="connsiteY2" fmla="*/ 0 h 2679"/>
                <a:gd name="connsiteX3" fmla="*/ 0 w 209540"/>
                <a:gd name="connsiteY3" fmla="*/ 1340 h 2679"/>
                <a:gd name="connsiteX4" fmla="*/ 0 w 209540"/>
                <a:gd name="connsiteY4" fmla="*/ 2679 h 2679"/>
                <a:gd name="connsiteX5" fmla="*/ 209541 w 209540"/>
                <a:gd name="connsiteY5" fmla="*/ 267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40" h="2679">
                  <a:moveTo>
                    <a:pt x="209541" y="1340"/>
                  </a:moveTo>
                  <a:cubicBezTo>
                    <a:pt x="209487" y="895"/>
                    <a:pt x="209487" y="445"/>
                    <a:pt x="209541" y="0"/>
                  </a:cubicBezTo>
                  <a:lnTo>
                    <a:pt x="0" y="0"/>
                  </a:lnTo>
                  <a:lnTo>
                    <a:pt x="0" y="1340"/>
                  </a:lnTo>
                  <a:cubicBezTo>
                    <a:pt x="80" y="1783"/>
                    <a:pt x="80" y="2236"/>
                    <a:pt x="0" y="2679"/>
                  </a:cubicBezTo>
                  <a:lnTo>
                    <a:pt x="209541" y="2679"/>
                  </a:lnTo>
                  <a:close/>
                </a:path>
              </a:pathLst>
            </a:custGeom>
            <a:solidFill>
              <a:srgbClr val="000000"/>
            </a:solidFill>
            <a:ln w="12700" cap="flat">
              <a:noFill/>
              <a:prstDash val="solid"/>
              <a:miter/>
            </a:ln>
          </p:spPr>
          <p:txBody>
            <a:bodyPr rtlCol="0" anchor="ctr"/>
            <a:lstStyle/>
            <a:p>
              <a:endParaRPr lang="en-US"/>
            </a:p>
          </p:txBody>
        </p:sp>
        <p:sp>
          <p:nvSpPr>
            <p:cNvPr id="1147" name="Freeform: Shape 1146">
              <a:extLst>
                <a:ext uri="{FF2B5EF4-FFF2-40B4-BE49-F238E27FC236}">
                  <a16:creationId xmlns:a16="http://schemas.microsoft.com/office/drawing/2014/main" id="{3A44E38A-EE0D-414B-9AF8-907BC9AC5FD9}"/>
                </a:ext>
              </a:extLst>
            </p:cNvPr>
            <p:cNvSpPr/>
            <p:nvPr/>
          </p:nvSpPr>
          <p:spPr>
            <a:xfrm>
              <a:off x="4844628" y="5997998"/>
              <a:ext cx="2679" cy="147"/>
            </a:xfrm>
            <a:custGeom>
              <a:avLst/>
              <a:gdLst>
                <a:gd name="connsiteX0" fmla="*/ 1340 w 2679"/>
                <a:gd name="connsiteY0" fmla="*/ 0 h 147"/>
                <a:gd name="connsiteX1" fmla="*/ 2679 w 2679"/>
                <a:gd name="connsiteY1" fmla="*/ 0 h 147"/>
                <a:gd name="connsiteX2" fmla="*/ 0 w 2679"/>
                <a:gd name="connsiteY2" fmla="*/ 0 h 147"/>
                <a:gd name="connsiteX3" fmla="*/ 0 w 2679"/>
                <a:gd name="connsiteY3" fmla="*/ 0 h 147"/>
              </a:gdLst>
              <a:ahLst/>
              <a:cxnLst>
                <a:cxn ang="0">
                  <a:pos x="connsiteX0" y="connsiteY0"/>
                </a:cxn>
                <a:cxn ang="0">
                  <a:pos x="connsiteX1" y="connsiteY1"/>
                </a:cxn>
                <a:cxn ang="0">
                  <a:pos x="connsiteX2" y="connsiteY2"/>
                </a:cxn>
                <a:cxn ang="0">
                  <a:pos x="connsiteX3" y="connsiteY3"/>
                </a:cxn>
              </a:cxnLst>
              <a:rect l="l" t="t" r="r" b="b"/>
              <a:pathLst>
                <a:path w="2679" h="147">
                  <a:moveTo>
                    <a:pt x="1340" y="0"/>
                  </a:moveTo>
                  <a:cubicBezTo>
                    <a:pt x="1782" y="59"/>
                    <a:pt x="2237" y="59"/>
                    <a:pt x="2679" y="0"/>
                  </a:cubicBezTo>
                  <a:cubicBezTo>
                    <a:pt x="1795" y="197"/>
                    <a:pt x="884" y="197"/>
                    <a:pt x="0" y="0"/>
                  </a:cubicBezTo>
                  <a:lnTo>
                    <a:pt x="0" y="0"/>
                  </a:lnTo>
                  <a:close/>
                </a:path>
              </a:pathLst>
            </a:custGeom>
            <a:solidFill>
              <a:srgbClr val="000000"/>
            </a:solidFill>
            <a:ln w="12700" cap="flat">
              <a:noFill/>
              <a:prstDash val="solid"/>
              <a:miter/>
            </a:ln>
          </p:spPr>
          <p:txBody>
            <a:bodyPr rtlCol="0" anchor="ctr"/>
            <a:lstStyle/>
            <a:p>
              <a:endParaRPr lang="en-US"/>
            </a:p>
          </p:txBody>
        </p:sp>
        <p:sp>
          <p:nvSpPr>
            <p:cNvPr id="1148" name="Freeform: Shape 1147">
              <a:extLst>
                <a:ext uri="{FF2B5EF4-FFF2-40B4-BE49-F238E27FC236}">
                  <a16:creationId xmlns:a16="http://schemas.microsoft.com/office/drawing/2014/main" id="{2BDDD2F3-2C20-4CF3-8220-743C0999D1CE}"/>
                </a:ext>
              </a:extLst>
            </p:cNvPr>
            <p:cNvSpPr/>
            <p:nvPr/>
          </p:nvSpPr>
          <p:spPr>
            <a:xfrm>
              <a:off x="4841278" y="5997194"/>
              <a:ext cx="3349" cy="937"/>
            </a:xfrm>
            <a:custGeom>
              <a:avLst/>
              <a:gdLst>
                <a:gd name="connsiteX0" fmla="*/ 2010 w 3349"/>
                <a:gd name="connsiteY0" fmla="*/ 938 h 937"/>
                <a:gd name="connsiteX1" fmla="*/ 3349 w 3349"/>
                <a:gd name="connsiteY1" fmla="*/ 938 h 937"/>
                <a:gd name="connsiteX2" fmla="*/ 0 w 3349"/>
                <a:gd name="connsiteY2" fmla="*/ 0 h 937"/>
                <a:gd name="connsiteX3" fmla="*/ 0 w 3349"/>
                <a:gd name="connsiteY3" fmla="*/ 0 h 937"/>
              </a:gdLst>
              <a:ahLst/>
              <a:cxnLst>
                <a:cxn ang="0">
                  <a:pos x="connsiteX0" y="connsiteY0"/>
                </a:cxn>
                <a:cxn ang="0">
                  <a:pos x="connsiteX1" y="connsiteY1"/>
                </a:cxn>
                <a:cxn ang="0">
                  <a:pos x="connsiteX2" y="connsiteY2"/>
                </a:cxn>
                <a:cxn ang="0">
                  <a:pos x="connsiteX3" y="connsiteY3"/>
                </a:cxn>
              </a:cxnLst>
              <a:rect l="l" t="t" r="r" b="b"/>
              <a:pathLst>
                <a:path w="3349" h="937">
                  <a:moveTo>
                    <a:pt x="2010" y="938"/>
                  </a:moveTo>
                  <a:lnTo>
                    <a:pt x="3349" y="938"/>
                  </a:lnTo>
                  <a:cubicBezTo>
                    <a:pt x="2170" y="896"/>
                    <a:pt x="1032" y="575"/>
                    <a:pt x="0" y="0"/>
                  </a:cubicBezTo>
                  <a:lnTo>
                    <a:pt x="0" y="0"/>
                  </a:lnTo>
                  <a:close/>
                </a:path>
              </a:pathLst>
            </a:custGeom>
            <a:solidFill>
              <a:srgbClr val="000000"/>
            </a:solidFill>
            <a:ln w="12700" cap="flat">
              <a:noFill/>
              <a:prstDash val="solid"/>
              <a:miter/>
            </a:ln>
          </p:spPr>
          <p:txBody>
            <a:bodyPr rtlCol="0" anchor="ctr"/>
            <a:lstStyle/>
            <a:p>
              <a:endParaRPr lang="en-US"/>
            </a:p>
          </p:txBody>
        </p:sp>
        <p:sp>
          <p:nvSpPr>
            <p:cNvPr id="1149" name="Freeform: Shape 1148">
              <a:extLst>
                <a:ext uri="{FF2B5EF4-FFF2-40B4-BE49-F238E27FC236}">
                  <a16:creationId xmlns:a16="http://schemas.microsoft.com/office/drawing/2014/main" id="{83DBC60C-E93A-4B51-84E2-B47C78A93F11}"/>
                </a:ext>
              </a:extLst>
            </p:cNvPr>
            <p:cNvSpPr/>
            <p:nvPr/>
          </p:nvSpPr>
          <p:spPr>
            <a:xfrm>
              <a:off x="4837929" y="5997194"/>
              <a:ext cx="803" cy="13395"/>
            </a:xfrm>
            <a:custGeom>
              <a:avLst/>
              <a:gdLst>
                <a:gd name="connsiteX0" fmla="*/ 804 w 803"/>
                <a:gd name="connsiteY0" fmla="*/ 0 h 13395"/>
                <a:gd name="connsiteX1" fmla="*/ 0 w 803"/>
                <a:gd name="connsiteY1" fmla="*/ 0 h 13395"/>
                <a:gd name="connsiteX2" fmla="*/ 804 w 803"/>
                <a:gd name="connsiteY2" fmla="*/ 0 h 13395"/>
              </a:gdLst>
              <a:ahLst/>
              <a:cxnLst>
                <a:cxn ang="0">
                  <a:pos x="connsiteX0" y="connsiteY0"/>
                </a:cxn>
                <a:cxn ang="0">
                  <a:pos x="connsiteX1" y="connsiteY1"/>
                </a:cxn>
                <a:cxn ang="0">
                  <a:pos x="connsiteX2" y="connsiteY2"/>
                </a:cxn>
              </a:cxnLst>
              <a:rect l="l" t="t" r="r" b="b"/>
              <a:pathLst>
                <a:path w="803" h="13395">
                  <a:moveTo>
                    <a:pt x="804" y="0"/>
                  </a:moveTo>
                  <a:lnTo>
                    <a:pt x="0" y="0"/>
                  </a:lnTo>
                  <a:lnTo>
                    <a:pt x="804" y="0"/>
                  </a:lnTo>
                  <a:close/>
                </a:path>
              </a:pathLst>
            </a:custGeom>
            <a:solidFill>
              <a:srgbClr val="000000"/>
            </a:solidFill>
            <a:ln w="12700" cap="flat">
              <a:noFill/>
              <a:prstDash val="solid"/>
              <a:miter/>
            </a:ln>
          </p:spPr>
          <p:txBody>
            <a:bodyPr rtlCol="0" anchor="ctr"/>
            <a:lstStyle/>
            <a:p>
              <a:endParaRPr lang="en-US"/>
            </a:p>
          </p:txBody>
        </p:sp>
        <p:sp>
          <p:nvSpPr>
            <p:cNvPr id="1150" name="Freeform: Shape 1149">
              <a:extLst>
                <a:ext uri="{FF2B5EF4-FFF2-40B4-BE49-F238E27FC236}">
                  <a16:creationId xmlns:a16="http://schemas.microsoft.com/office/drawing/2014/main" id="{6BD79E29-C6EE-477D-8F74-4865A902FCDE}"/>
                </a:ext>
              </a:extLst>
            </p:cNvPr>
            <p:cNvSpPr/>
            <p:nvPr/>
          </p:nvSpPr>
          <p:spPr>
            <a:xfrm>
              <a:off x="4833055" y="5991300"/>
              <a:ext cx="50" cy="937"/>
            </a:xfrm>
            <a:custGeom>
              <a:avLst/>
              <a:gdLst>
                <a:gd name="connsiteX0" fmla="*/ 50 w 50"/>
                <a:gd name="connsiteY0" fmla="*/ 938 h 937"/>
                <a:gd name="connsiteX1" fmla="*/ 50 w 50"/>
                <a:gd name="connsiteY1" fmla="*/ 0 h 937"/>
                <a:gd name="connsiteX2" fmla="*/ 50 w 50"/>
                <a:gd name="connsiteY2" fmla="*/ 0 h 937"/>
                <a:gd name="connsiteX3" fmla="*/ 50 w 50"/>
                <a:gd name="connsiteY3" fmla="*/ 938 h 937"/>
              </a:gdLst>
              <a:ahLst/>
              <a:cxnLst>
                <a:cxn ang="0">
                  <a:pos x="connsiteX0" y="connsiteY0"/>
                </a:cxn>
                <a:cxn ang="0">
                  <a:pos x="connsiteX1" y="connsiteY1"/>
                </a:cxn>
                <a:cxn ang="0">
                  <a:pos x="connsiteX2" y="connsiteY2"/>
                </a:cxn>
                <a:cxn ang="0">
                  <a:pos x="connsiteX3" y="connsiteY3"/>
                </a:cxn>
              </a:cxnLst>
              <a:rect l="l" t="t" r="r" b="b"/>
              <a:pathLst>
                <a:path w="50" h="937">
                  <a:moveTo>
                    <a:pt x="50" y="938"/>
                  </a:moveTo>
                  <a:cubicBezTo>
                    <a:pt x="-17" y="628"/>
                    <a:pt x="-17" y="309"/>
                    <a:pt x="50" y="0"/>
                  </a:cubicBezTo>
                  <a:lnTo>
                    <a:pt x="50" y="0"/>
                  </a:lnTo>
                  <a:cubicBezTo>
                    <a:pt x="-3" y="309"/>
                    <a:pt x="-3" y="628"/>
                    <a:pt x="50" y="938"/>
                  </a:cubicBezTo>
                  <a:close/>
                </a:path>
              </a:pathLst>
            </a:custGeom>
            <a:solidFill>
              <a:srgbClr val="000000"/>
            </a:solidFill>
            <a:ln w="12700" cap="flat">
              <a:noFill/>
              <a:prstDash val="solid"/>
              <a:miter/>
            </a:ln>
          </p:spPr>
          <p:txBody>
            <a:bodyPr rtlCol="0" anchor="ctr"/>
            <a:lstStyle/>
            <a:p>
              <a:endParaRPr lang="en-US"/>
            </a:p>
          </p:txBody>
        </p:sp>
        <p:sp>
          <p:nvSpPr>
            <p:cNvPr id="1151" name="Freeform: Shape 1150">
              <a:extLst>
                <a:ext uri="{FF2B5EF4-FFF2-40B4-BE49-F238E27FC236}">
                  <a16:creationId xmlns:a16="http://schemas.microsoft.com/office/drawing/2014/main" id="{E4E2A1AE-2622-4464-B668-F1AFFDB5133F}"/>
                </a:ext>
              </a:extLst>
            </p:cNvPr>
            <p:cNvSpPr/>
            <p:nvPr/>
          </p:nvSpPr>
          <p:spPr>
            <a:xfrm>
              <a:off x="4851863" y="5991434"/>
              <a:ext cx="49" cy="1607"/>
            </a:xfrm>
            <a:custGeom>
              <a:avLst/>
              <a:gdLst>
                <a:gd name="connsiteX0" fmla="*/ 0 w 49"/>
                <a:gd name="connsiteY0" fmla="*/ 0 h 1607"/>
                <a:gd name="connsiteX1" fmla="*/ 0 w 49"/>
                <a:gd name="connsiteY1" fmla="*/ 1608 h 1607"/>
                <a:gd name="connsiteX2" fmla="*/ 0 w 49"/>
                <a:gd name="connsiteY2" fmla="*/ 670 h 1607"/>
              </a:gdLst>
              <a:ahLst/>
              <a:cxnLst>
                <a:cxn ang="0">
                  <a:pos x="connsiteX0" y="connsiteY0"/>
                </a:cxn>
                <a:cxn ang="0">
                  <a:pos x="connsiteX1" y="connsiteY1"/>
                </a:cxn>
                <a:cxn ang="0">
                  <a:pos x="connsiteX2" y="connsiteY2"/>
                </a:cxn>
              </a:cxnLst>
              <a:rect l="l" t="t" r="r" b="b"/>
              <a:pathLst>
                <a:path w="49" h="1607">
                  <a:moveTo>
                    <a:pt x="0" y="0"/>
                  </a:moveTo>
                  <a:cubicBezTo>
                    <a:pt x="67" y="535"/>
                    <a:pt x="67" y="1073"/>
                    <a:pt x="0" y="1608"/>
                  </a:cubicBezTo>
                  <a:cubicBezTo>
                    <a:pt x="0" y="1608"/>
                    <a:pt x="0" y="1608"/>
                    <a:pt x="0" y="670"/>
                  </a:cubicBezTo>
                  <a:close/>
                </a:path>
              </a:pathLst>
            </a:custGeom>
            <a:solidFill>
              <a:srgbClr val="000000"/>
            </a:solidFill>
            <a:ln w="12700" cap="flat">
              <a:noFill/>
              <a:prstDash val="solid"/>
              <a:miter/>
            </a:ln>
          </p:spPr>
          <p:txBody>
            <a:bodyPr rtlCol="0" anchor="ctr"/>
            <a:lstStyle/>
            <a:p>
              <a:endParaRPr lang="en-US"/>
            </a:p>
          </p:txBody>
        </p:sp>
        <p:sp>
          <p:nvSpPr>
            <p:cNvPr id="1152" name="Freeform: Shape 1151">
              <a:extLst>
                <a:ext uri="{FF2B5EF4-FFF2-40B4-BE49-F238E27FC236}">
                  <a16:creationId xmlns:a16="http://schemas.microsoft.com/office/drawing/2014/main" id="{FE128035-579D-49B5-8493-5AEB45905BDE}"/>
                </a:ext>
              </a:extLst>
            </p:cNvPr>
            <p:cNvSpPr/>
            <p:nvPr/>
          </p:nvSpPr>
          <p:spPr>
            <a:xfrm>
              <a:off x="4582568" y="5879847"/>
              <a:ext cx="14797" cy="112797"/>
            </a:xfrm>
            <a:custGeom>
              <a:avLst/>
              <a:gdLst>
                <a:gd name="connsiteX0" fmla="*/ 7636 w 14797"/>
                <a:gd name="connsiteY0" fmla="*/ 112793 h 112797"/>
                <a:gd name="connsiteX1" fmla="*/ 14738 w 14797"/>
                <a:gd name="connsiteY1" fmla="*/ 106764 h 112797"/>
                <a:gd name="connsiteX2" fmla="*/ 14738 w 14797"/>
                <a:gd name="connsiteY2" fmla="*/ 105425 h 112797"/>
                <a:gd name="connsiteX3" fmla="*/ 14738 w 14797"/>
                <a:gd name="connsiteY3" fmla="*/ 7369 h 112797"/>
                <a:gd name="connsiteX4" fmla="*/ 7636 w 14797"/>
                <a:gd name="connsiteY4" fmla="*/ 1 h 112797"/>
                <a:gd name="connsiteX5" fmla="*/ 7369 w 14797"/>
                <a:gd name="connsiteY5" fmla="*/ 1 h 112797"/>
                <a:gd name="connsiteX6" fmla="*/ 0 w 14797"/>
                <a:gd name="connsiteY6" fmla="*/ 7369 h 112797"/>
                <a:gd name="connsiteX7" fmla="*/ 0 w 14797"/>
                <a:gd name="connsiteY7" fmla="*/ 105425 h 112797"/>
                <a:gd name="connsiteX8" fmla="*/ 7369 w 14797"/>
                <a:gd name="connsiteY8" fmla="*/ 112798 h 112797"/>
                <a:gd name="connsiteX9" fmla="*/ 7636 w 14797"/>
                <a:gd name="connsiteY9" fmla="*/ 112793 h 11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97" h="112797">
                  <a:moveTo>
                    <a:pt x="7636" y="112793"/>
                  </a:moveTo>
                  <a:cubicBezTo>
                    <a:pt x="11160" y="112777"/>
                    <a:pt x="14148" y="110233"/>
                    <a:pt x="14738" y="106764"/>
                  </a:cubicBezTo>
                  <a:cubicBezTo>
                    <a:pt x="14818" y="106321"/>
                    <a:pt x="14818" y="105868"/>
                    <a:pt x="14738" y="105425"/>
                  </a:cubicBezTo>
                  <a:lnTo>
                    <a:pt x="14738" y="7369"/>
                  </a:lnTo>
                  <a:cubicBezTo>
                    <a:pt x="14818" y="3374"/>
                    <a:pt x="11629" y="76"/>
                    <a:pt x="7636" y="1"/>
                  </a:cubicBezTo>
                  <a:cubicBezTo>
                    <a:pt x="7543" y="0"/>
                    <a:pt x="7462" y="0"/>
                    <a:pt x="7369" y="1"/>
                  </a:cubicBezTo>
                  <a:cubicBezTo>
                    <a:pt x="3296" y="1"/>
                    <a:pt x="0" y="3299"/>
                    <a:pt x="0" y="7369"/>
                  </a:cubicBezTo>
                  <a:lnTo>
                    <a:pt x="0" y="105425"/>
                  </a:lnTo>
                  <a:cubicBezTo>
                    <a:pt x="0" y="109495"/>
                    <a:pt x="3296" y="112795"/>
                    <a:pt x="7369" y="112798"/>
                  </a:cubicBezTo>
                  <a:cubicBezTo>
                    <a:pt x="7449" y="112798"/>
                    <a:pt x="7543" y="112795"/>
                    <a:pt x="7636" y="112793"/>
                  </a:cubicBezTo>
                  <a:close/>
                </a:path>
              </a:pathLst>
            </a:custGeom>
            <a:solidFill>
              <a:srgbClr val="000000"/>
            </a:solidFill>
            <a:ln w="12700" cap="flat">
              <a:noFill/>
              <a:prstDash val="solid"/>
              <a:miter/>
            </a:ln>
          </p:spPr>
          <p:txBody>
            <a:bodyPr rtlCol="0" anchor="ctr"/>
            <a:lstStyle/>
            <a:p>
              <a:endParaRPr lang="en-US"/>
            </a:p>
          </p:txBody>
        </p:sp>
        <p:sp>
          <p:nvSpPr>
            <p:cNvPr id="1153" name="Freeform: Shape 1152">
              <a:extLst>
                <a:ext uri="{FF2B5EF4-FFF2-40B4-BE49-F238E27FC236}">
                  <a16:creationId xmlns:a16="http://schemas.microsoft.com/office/drawing/2014/main" id="{F67E11CE-1024-4F15-A26F-64DB230B7346}"/>
                </a:ext>
              </a:extLst>
            </p:cNvPr>
            <p:cNvSpPr/>
            <p:nvPr/>
          </p:nvSpPr>
          <p:spPr>
            <a:xfrm>
              <a:off x="4821851" y="5988755"/>
              <a:ext cx="11120" cy="2545"/>
            </a:xfrm>
            <a:custGeom>
              <a:avLst/>
              <a:gdLst>
                <a:gd name="connsiteX0" fmla="*/ 0 w 11120"/>
                <a:gd name="connsiteY0" fmla="*/ 0 h 2545"/>
                <a:gd name="connsiteX1" fmla="*/ 0 w 11120"/>
                <a:gd name="connsiteY1" fmla="*/ 2545 h 2545"/>
                <a:gd name="connsiteX2" fmla="*/ 11120 w 11120"/>
                <a:gd name="connsiteY2" fmla="*/ 2545 h 2545"/>
                <a:gd name="connsiteX3" fmla="*/ 11120 w 11120"/>
                <a:gd name="connsiteY3" fmla="*/ 1206 h 2545"/>
                <a:gd name="connsiteX4" fmla="*/ 11120 w 11120"/>
                <a:gd name="connsiteY4" fmla="*/ 1206 h 2545"/>
                <a:gd name="connsiteX5" fmla="*/ 4153 w 11120"/>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 h="2545">
                  <a:moveTo>
                    <a:pt x="0" y="0"/>
                  </a:moveTo>
                  <a:lnTo>
                    <a:pt x="0" y="2545"/>
                  </a:lnTo>
                  <a:lnTo>
                    <a:pt x="11120" y="2545"/>
                  </a:lnTo>
                  <a:cubicBezTo>
                    <a:pt x="11040" y="2102"/>
                    <a:pt x="11040" y="1649"/>
                    <a:pt x="11120" y="1206"/>
                  </a:cubicBezTo>
                  <a:lnTo>
                    <a:pt x="11120" y="1206"/>
                  </a:lnTo>
                  <a:lnTo>
                    <a:pt x="4153" y="0"/>
                  </a:lnTo>
                  <a:close/>
                </a:path>
              </a:pathLst>
            </a:custGeom>
            <a:solidFill>
              <a:srgbClr val="000000"/>
            </a:solidFill>
            <a:ln w="12700" cap="flat">
              <a:noFill/>
              <a:prstDash val="solid"/>
              <a:miter/>
            </a:ln>
          </p:spPr>
          <p:txBody>
            <a:bodyPr rtlCol="0" anchor="ctr"/>
            <a:lstStyle/>
            <a:p>
              <a:endParaRPr lang="en-US"/>
            </a:p>
          </p:txBody>
        </p:sp>
        <p:sp>
          <p:nvSpPr>
            <p:cNvPr id="1154" name="Freeform: Shape 1153">
              <a:extLst>
                <a:ext uri="{FF2B5EF4-FFF2-40B4-BE49-F238E27FC236}">
                  <a16:creationId xmlns:a16="http://schemas.microsoft.com/office/drawing/2014/main" id="{9CCDA9CD-7679-4D6C-8BFB-4BEFE9177972}"/>
                </a:ext>
              </a:extLst>
            </p:cNvPr>
            <p:cNvSpPr/>
            <p:nvPr/>
          </p:nvSpPr>
          <p:spPr>
            <a:xfrm>
              <a:off x="4838733" y="5997060"/>
              <a:ext cx="2545" cy="576013"/>
            </a:xfrm>
            <a:custGeom>
              <a:avLst/>
              <a:gdLst>
                <a:gd name="connsiteX0" fmla="*/ 0 w 2545"/>
                <a:gd name="connsiteY0" fmla="*/ 0 h 576013"/>
                <a:gd name="connsiteX1" fmla="*/ 0 w 2545"/>
                <a:gd name="connsiteY1" fmla="*/ 0 h 576013"/>
                <a:gd name="connsiteX2" fmla="*/ 0 w 2545"/>
                <a:gd name="connsiteY2" fmla="*/ 576014 h 576013"/>
                <a:gd name="connsiteX3" fmla="*/ 938 w 2545"/>
                <a:gd name="connsiteY3" fmla="*/ 576014 h 576013"/>
                <a:gd name="connsiteX4" fmla="*/ 2546 w 2545"/>
                <a:gd name="connsiteY4" fmla="*/ 576014 h 576013"/>
                <a:gd name="connsiteX5" fmla="*/ 2546 w 2545"/>
                <a:gd name="connsiteY5" fmla="*/ 0 h 576013"/>
                <a:gd name="connsiteX6" fmla="*/ 1340 w 2545"/>
                <a:gd name="connsiteY6" fmla="*/ 0 h 57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576013">
                  <a:moveTo>
                    <a:pt x="0" y="0"/>
                  </a:moveTo>
                  <a:lnTo>
                    <a:pt x="0" y="0"/>
                  </a:lnTo>
                  <a:lnTo>
                    <a:pt x="0" y="576014"/>
                  </a:lnTo>
                  <a:lnTo>
                    <a:pt x="938" y="576014"/>
                  </a:lnTo>
                  <a:lnTo>
                    <a:pt x="2546" y="576014"/>
                  </a:lnTo>
                  <a:lnTo>
                    <a:pt x="2546" y="0"/>
                  </a:lnTo>
                  <a:lnTo>
                    <a:pt x="1340" y="0"/>
                  </a:lnTo>
                  <a:close/>
                </a:path>
              </a:pathLst>
            </a:custGeom>
            <a:solidFill>
              <a:srgbClr val="000000"/>
            </a:solidFill>
            <a:ln w="12700" cap="flat">
              <a:noFill/>
              <a:prstDash val="solid"/>
              <a:miter/>
            </a:ln>
          </p:spPr>
          <p:txBody>
            <a:bodyPr rtlCol="0" anchor="ctr"/>
            <a:lstStyle/>
            <a:p>
              <a:endParaRPr lang="en-US"/>
            </a:p>
          </p:txBody>
        </p:sp>
        <p:sp>
          <p:nvSpPr>
            <p:cNvPr id="1155" name="Freeform: Shape 1154">
              <a:extLst>
                <a:ext uri="{FF2B5EF4-FFF2-40B4-BE49-F238E27FC236}">
                  <a16:creationId xmlns:a16="http://schemas.microsoft.com/office/drawing/2014/main" id="{9A5D4271-2AFC-4CB3-9E18-DA5F77E14DAA}"/>
                </a:ext>
              </a:extLst>
            </p:cNvPr>
            <p:cNvSpPr/>
            <p:nvPr/>
          </p:nvSpPr>
          <p:spPr>
            <a:xfrm>
              <a:off x="4815956" y="6574159"/>
              <a:ext cx="31277" cy="15659"/>
            </a:xfrm>
            <a:custGeom>
              <a:avLst/>
              <a:gdLst>
                <a:gd name="connsiteX0" fmla="*/ 31217 w 31277"/>
                <a:gd name="connsiteY0" fmla="*/ 7622 h 15659"/>
                <a:gd name="connsiteX1" fmla="*/ 31217 w 31277"/>
                <a:gd name="connsiteY1" fmla="*/ 6283 h 15659"/>
                <a:gd name="connsiteX2" fmla="*/ 31217 w 31277"/>
                <a:gd name="connsiteY2" fmla="*/ 5077 h 15659"/>
                <a:gd name="connsiteX3" fmla="*/ 30145 w 31277"/>
                <a:gd name="connsiteY3" fmla="*/ 2398 h 15659"/>
                <a:gd name="connsiteX4" fmla="*/ 27466 w 31277"/>
                <a:gd name="connsiteY4" fmla="*/ 121 h 15659"/>
                <a:gd name="connsiteX5" fmla="*/ 25456 w 31277"/>
                <a:gd name="connsiteY5" fmla="*/ 121 h 15659"/>
                <a:gd name="connsiteX6" fmla="*/ 23848 w 31277"/>
                <a:gd name="connsiteY6" fmla="*/ 121 h 15659"/>
                <a:gd name="connsiteX7" fmla="*/ 22910 w 31277"/>
                <a:gd name="connsiteY7" fmla="*/ 121 h 15659"/>
                <a:gd name="connsiteX8" fmla="*/ 6029 w 31277"/>
                <a:gd name="connsiteY8" fmla="*/ 790 h 15659"/>
                <a:gd name="connsiteX9" fmla="*/ 6029 w 31277"/>
                <a:gd name="connsiteY9" fmla="*/ 8560 h 15659"/>
                <a:gd name="connsiteX10" fmla="*/ 0 w 31277"/>
                <a:gd name="connsiteY10" fmla="*/ 15659 h 15659"/>
                <a:gd name="connsiteX11" fmla="*/ 0 w 31277"/>
                <a:gd name="connsiteY11" fmla="*/ 15659 h 15659"/>
                <a:gd name="connsiteX12" fmla="*/ 24518 w 31277"/>
                <a:gd name="connsiteY12" fmla="*/ 14588 h 15659"/>
                <a:gd name="connsiteX13" fmla="*/ 31083 w 31277"/>
                <a:gd name="connsiteY13" fmla="*/ 9631 h 15659"/>
                <a:gd name="connsiteX14" fmla="*/ 31083 w 31277"/>
                <a:gd name="connsiteY14" fmla="*/ 8426 h 15659"/>
                <a:gd name="connsiteX15" fmla="*/ 28671 w 31277"/>
                <a:gd name="connsiteY15" fmla="*/ 7622 h 15659"/>
                <a:gd name="connsiteX16" fmla="*/ 24116 w 31277"/>
                <a:gd name="connsiteY16" fmla="*/ 7622 h 15659"/>
                <a:gd name="connsiteX17" fmla="*/ 22428 w 31277"/>
                <a:gd name="connsiteY17" fmla="*/ 6765 h 15659"/>
                <a:gd name="connsiteX18" fmla="*/ 23285 w 31277"/>
                <a:gd name="connsiteY18" fmla="*/ 5077 h 15659"/>
                <a:gd name="connsiteX19" fmla="*/ 24116 w 31277"/>
                <a:gd name="connsiteY19" fmla="*/ 5077 h 15659"/>
                <a:gd name="connsiteX20" fmla="*/ 28805 w 31277"/>
                <a:gd name="connsiteY20" fmla="*/ 5077 h 15659"/>
                <a:gd name="connsiteX21" fmla="*/ 30145 w 31277"/>
                <a:gd name="connsiteY21" fmla="*/ 6416 h 15659"/>
                <a:gd name="connsiteX22" fmla="*/ 28819 w 31277"/>
                <a:gd name="connsiteY22" fmla="*/ 7770 h 15659"/>
                <a:gd name="connsiteX23" fmla="*/ 28671 w 31277"/>
                <a:gd name="connsiteY23" fmla="*/ 7756 h 1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77" h="15659">
                  <a:moveTo>
                    <a:pt x="31217" y="7622"/>
                  </a:moveTo>
                  <a:cubicBezTo>
                    <a:pt x="31297" y="7180"/>
                    <a:pt x="31297" y="6725"/>
                    <a:pt x="31217" y="6283"/>
                  </a:cubicBezTo>
                  <a:lnTo>
                    <a:pt x="31217" y="5077"/>
                  </a:lnTo>
                  <a:cubicBezTo>
                    <a:pt x="31083" y="4112"/>
                    <a:pt x="30721" y="3188"/>
                    <a:pt x="30145" y="2398"/>
                  </a:cubicBezTo>
                  <a:cubicBezTo>
                    <a:pt x="29448" y="1433"/>
                    <a:pt x="28524" y="656"/>
                    <a:pt x="27466" y="121"/>
                  </a:cubicBezTo>
                  <a:cubicBezTo>
                    <a:pt x="26809" y="-40"/>
                    <a:pt x="26112" y="-40"/>
                    <a:pt x="25456" y="121"/>
                  </a:cubicBezTo>
                  <a:lnTo>
                    <a:pt x="23848" y="121"/>
                  </a:lnTo>
                  <a:lnTo>
                    <a:pt x="22910" y="121"/>
                  </a:lnTo>
                  <a:lnTo>
                    <a:pt x="6029" y="790"/>
                  </a:lnTo>
                  <a:lnTo>
                    <a:pt x="6029" y="8560"/>
                  </a:lnTo>
                  <a:cubicBezTo>
                    <a:pt x="5962" y="12056"/>
                    <a:pt x="3443" y="15030"/>
                    <a:pt x="0" y="15659"/>
                  </a:cubicBezTo>
                  <a:lnTo>
                    <a:pt x="0" y="15659"/>
                  </a:lnTo>
                  <a:lnTo>
                    <a:pt x="24518" y="14588"/>
                  </a:lnTo>
                  <a:cubicBezTo>
                    <a:pt x="27533" y="14494"/>
                    <a:pt x="30172" y="12511"/>
                    <a:pt x="31083" y="9631"/>
                  </a:cubicBezTo>
                  <a:cubicBezTo>
                    <a:pt x="31083" y="9631"/>
                    <a:pt x="31083" y="8828"/>
                    <a:pt x="31083" y="8426"/>
                  </a:cubicBezTo>
                  <a:close/>
                  <a:moveTo>
                    <a:pt x="28671" y="7622"/>
                  </a:moveTo>
                  <a:lnTo>
                    <a:pt x="24116" y="7622"/>
                  </a:lnTo>
                  <a:cubicBezTo>
                    <a:pt x="23419" y="7850"/>
                    <a:pt x="22656" y="7475"/>
                    <a:pt x="22428" y="6765"/>
                  </a:cubicBezTo>
                  <a:cubicBezTo>
                    <a:pt x="22200" y="6068"/>
                    <a:pt x="22575" y="5305"/>
                    <a:pt x="23285" y="5077"/>
                  </a:cubicBezTo>
                  <a:cubicBezTo>
                    <a:pt x="23553" y="4983"/>
                    <a:pt x="23848" y="4983"/>
                    <a:pt x="24116" y="5077"/>
                  </a:cubicBezTo>
                  <a:lnTo>
                    <a:pt x="28805" y="5077"/>
                  </a:lnTo>
                  <a:cubicBezTo>
                    <a:pt x="29515" y="5144"/>
                    <a:pt x="30078" y="5707"/>
                    <a:pt x="30145" y="6416"/>
                  </a:cubicBezTo>
                  <a:cubicBezTo>
                    <a:pt x="30145" y="7153"/>
                    <a:pt x="29555" y="7756"/>
                    <a:pt x="28819" y="7770"/>
                  </a:cubicBezTo>
                  <a:cubicBezTo>
                    <a:pt x="28765" y="7770"/>
                    <a:pt x="28711" y="7756"/>
                    <a:pt x="28671" y="7756"/>
                  </a:cubicBezTo>
                  <a:close/>
                </a:path>
              </a:pathLst>
            </a:custGeom>
            <a:solidFill>
              <a:srgbClr val="000000"/>
            </a:solidFill>
            <a:ln w="12700" cap="flat">
              <a:noFill/>
              <a:prstDash val="solid"/>
              <a:miter/>
            </a:ln>
          </p:spPr>
          <p:txBody>
            <a:bodyPr rtlCol="0" anchor="ctr"/>
            <a:lstStyle/>
            <a:p>
              <a:endParaRPr lang="en-US"/>
            </a:p>
          </p:txBody>
        </p:sp>
        <p:sp>
          <p:nvSpPr>
            <p:cNvPr id="1156" name="Freeform: Shape 1155">
              <a:extLst>
                <a:ext uri="{FF2B5EF4-FFF2-40B4-BE49-F238E27FC236}">
                  <a16:creationId xmlns:a16="http://schemas.microsoft.com/office/drawing/2014/main" id="{8F7D3BDF-7EEF-4E13-AA2F-F738B32C71FC}"/>
                </a:ext>
              </a:extLst>
            </p:cNvPr>
            <p:cNvSpPr/>
            <p:nvPr/>
          </p:nvSpPr>
          <p:spPr>
            <a:xfrm>
              <a:off x="4807466" y="6582049"/>
              <a:ext cx="49" cy="1607"/>
            </a:xfrm>
            <a:custGeom>
              <a:avLst/>
              <a:gdLst>
                <a:gd name="connsiteX0" fmla="*/ 50 w 49"/>
                <a:gd name="connsiteY0" fmla="*/ 1608 h 1607"/>
                <a:gd name="connsiteX1" fmla="*/ 50 w 49"/>
                <a:gd name="connsiteY1" fmla="*/ 0 h 1607"/>
                <a:gd name="connsiteX2" fmla="*/ 50 w 49"/>
                <a:gd name="connsiteY2" fmla="*/ 0 h 1607"/>
                <a:gd name="connsiteX3" fmla="*/ 50 w 49"/>
                <a:gd name="connsiteY3" fmla="*/ 1608 h 1607"/>
              </a:gdLst>
              <a:ahLst/>
              <a:cxnLst>
                <a:cxn ang="0">
                  <a:pos x="connsiteX0" y="connsiteY0"/>
                </a:cxn>
                <a:cxn ang="0">
                  <a:pos x="connsiteX1" y="connsiteY1"/>
                </a:cxn>
                <a:cxn ang="0">
                  <a:pos x="connsiteX2" y="connsiteY2"/>
                </a:cxn>
                <a:cxn ang="0">
                  <a:pos x="connsiteX3" y="connsiteY3"/>
                </a:cxn>
              </a:cxnLst>
              <a:rect l="l" t="t" r="r" b="b"/>
              <a:pathLst>
                <a:path w="49" h="1607">
                  <a:moveTo>
                    <a:pt x="50" y="1608"/>
                  </a:moveTo>
                  <a:cubicBezTo>
                    <a:pt x="-17" y="1072"/>
                    <a:pt x="-17" y="536"/>
                    <a:pt x="50" y="0"/>
                  </a:cubicBezTo>
                  <a:lnTo>
                    <a:pt x="50" y="0"/>
                  </a:lnTo>
                  <a:cubicBezTo>
                    <a:pt x="-17" y="536"/>
                    <a:pt x="-17" y="1072"/>
                    <a:pt x="50" y="1608"/>
                  </a:cubicBezTo>
                  <a:close/>
                </a:path>
              </a:pathLst>
            </a:custGeom>
            <a:solidFill>
              <a:srgbClr val="000000"/>
            </a:solidFill>
            <a:ln w="12700" cap="flat">
              <a:noFill/>
              <a:prstDash val="solid"/>
              <a:miter/>
            </a:ln>
          </p:spPr>
          <p:txBody>
            <a:bodyPr rtlCol="0" anchor="ctr"/>
            <a:lstStyle/>
            <a:p>
              <a:endParaRPr lang="en-US"/>
            </a:p>
          </p:txBody>
        </p:sp>
        <p:sp>
          <p:nvSpPr>
            <p:cNvPr id="1157" name="Freeform: Shape 1156">
              <a:extLst>
                <a:ext uri="{FF2B5EF4-FFF2-40B4-BE49-F238E27FC236}">
                  <a16:creationId xmlns:a16="http://schemas.microsoft.com/office/drawing/2014/main" id="{6F2DF9DD-E7D7-49C0-A603-8AAB9E6211C5}"/>
                </a:ext>
              </a:extLst>
            </p:cNvPr>
            <p:cNvSpPr/>
            <p:nvPr/>
          </p:nvSpPr>
          <p:spPr>
            <a:xfrm>
              <a:off x="4811669" y="6589014"/>
              <a:ext cx="1473" cy="13395"/>
            </a:xfrm>
            <a:custGeom>
              <a:avLst/>
              <a:gdLst>
                <a:gd name="connsiteX0" fmla="*/ 1474 w 1473"/>
                <a:gd name="connsiteY0" fmla="*/ 0 h 13395"/>
                <a:gd name="connsiteX1" fmla="*/ 1474 w 1473"/>
                <a:gd name="connsiteY1" fmla="*/ 0 h 13395"/>
                <a:gd name="connsiteX2" fmla="*/ 0 w 1473"/>
                <a:gd name="connsiteY2" fmla="*/ 0 h 13395"/>
              </a:gdLst>
              <a:ahLst/>
              <a:cxnLst>
                <a:cxn ang="0">
                  <a:pos x="connsiteX0" y="connsiteY0"/>
                </a:cxn>
                <a:cxn ang="0">
                  <a:pos x="connsiteX1" y="connsiteY1"/>
                </a:cxn>
                <a:cxn ang="0">
                  <a:pos x="connsiteX2" y="connsiteY2"/>
                </a:cxn>
              </a:cxnLst>
              <a:rect l="l" t="t" r="r" b="b"/>
              <a:pathLst>
                <a:path w="1473" h="13395">
                  <a:moveTo>
                    <a:pt x="1474" y="0"/>
                  </a:moveTo>
                  <a:lnTo>
                    <a:pt x="1474" y="0"/>
                  </a:lnTo>
                  <a:lnTo>
                    <a:pt x="0" y="0"/>
                  </a:lnTo>
                  <a:close/>
                </a:path>
              </a:pathLst>
            </a:custGeom>
            <a:solidFill>
              <a:srgbClr val="000000"/>
            </a:solidFill>
            <a:ln w="12700" cap="flat">
              <a:noFill/>
              <a:prstDash val="solid"/>
              <a:miter/>
            </a:ln>
          </p:spPr>
          <p:txBody>
            <a:bodyPr rtlCol="0" anchor="ctr"/>
            <a:lstStyle/>
            <a:p>
              <a:endParaRPr lang="en-US"/>
            </a:p>
          </p:txBody>
        </p:sp>
        <p:sp>
          <p:nvSpPr>
            <p:cNvPr id="1158" name="Freeform: Shape 1157">
              <a:extLst>
                <a:ext uri="{FF2B5EF4-FFF2-40B4-BE49-F238E27FC236}">
                  <a16:creationId xmlns:a16="http://schemas.microsoft.com/office/drawing/2014/main" id="{44254CA3-1AE2-473F-A813-002D17C54F35}"/>
                </a:ext>
              </a:extLst>
            </p:cNvPr>
            <p:cNvSpPr/>
            <p:nvPr/>
          </p:nvSpPr>
          <p:spPr>
            <a:xfrm>
              <a:off x="4821851" y="5985272"/>
              <a:ext cx="10852" cy="4688"/>
            </a:xfrm>
            <a:custGeom>
              <a:avLst/>
              <a:gdLst>
                <a:gd name="connsiteX0" fmla="*/ 3885 w 10852"/>
                <a:gd name="connsiteY0" fmla="*/ 3483 h 4688"/>
                <a:gd name="connsiteX1" fmla="*/ 10852 w 10852"/>
                <a:gd name="connsiteY1" fmla="*/ 4688 h 4688"/>
                <a:gd name="connsiteX2" fmla="*/ 10852 w 10852"/>
                <a:gd name="connsiteY2" fmla="*/ 2009 h 4688"/>
                <a:gd name="connsiteX3" fmla="*/ 0 w 10852"/>
                <a:gd name="connsiteY3" fmla="*/ 0 h 4688"/>
                <a:gd name="connsiteX4" fmla="*/ 0 w 10852"/>
                <a:gd name="connsiteY4" fmla="*/ 2679 h 4688"/>
                <a:gd name="connsiteX5" fmla="*/ 3885 w 10852"/>
                <a:gd name="connsiteY5" fmla="*/ 3483 h 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2" h="4688">
                  <a:moveTo>
                    <a:pt x="3885" y="3483"/>
                  </a:moveTo>
                  <a:lnTo>
                    <a:pt x="10852" y="4688"/>
                  </a:lnTo>
                  <a:lnTo>
                    <a:pt x="10852" y="2009"/>
                  </a:lnTo>
                  <a:lnTo>
                    <a:pt x="0" y="0"/>
                  </a:lnTo>
                  <a:lnTo>
                    <a:pt x="0" y="2679"/>
                  </a:lnTo>
                  <a:lnTo>
                    <a:pt x="3885" y="3483"/>
                  </a:lnTo>
                  <a:close/>
                </a:path>
              </a:pathLst>
            </a:custGeom>
            <a:solidFill>
              <a:srgbClr val="000000"/>
            </a:solidFill>
            <a:ln w="12700" cap="flat">
              <a:noFill/>
              <a:prstDash val="solid"/>
              <a:miter/>
            </a:ln>
          </p:spPr>
          <p:txBody>
            <a:bodyPr rtlCol="0" anchor="ctr"/>
            <a:lstStyle/>
            <a:p>
              <a:endParaRPr lang="en-US"/>
            </a:p>
          </p:txBody>
        </p:sp>
        <p:sp>
          <p:nvSpPr>
            <p:cNvPr id="1159" name="Freeform: Shape 1158">
              <a:extLst>
                <a:ext uri="{FF2B5EF4-FFF2-40B4-BE49-F238E27FC236}">
                  <a16:creationId xmlns:a16="http://schemas.microsoft.com/office/drawing/2014/main" id="{E5D4D381-E9F1-4D34-83B0-9CE205957EFE}"/>
                </a:ext>
              </a:extLst>
            </p:cNvPr>
            <p:cNvSpPr/>
            <p:nvPr/>
          </p:nvSpPr>
          <p:spPr>
            <a:xfrm>
              <a:off x="4838184" y="6579169"/>
              <a:ext cx="7649" cy="2681"/>
            </a:xfrm>
            <a:custGeom>
              <a:avLst/>
              <a:gdLst>
                <a:gd name="connsiteX0" fmla="*/ 6444 w 7649"/>
                <a:gd name="connsiteY0" fmla="*/ 66 h 2681"/>
                <a:gd name="connsiteX1" fmla="*/ 1755 w 7649"/>
                <a:gd name="connsiteY1" fmla="*/ 66 h 2681"/>
                <a:gd name="connsiteX2" fmla="*/ 66 w 7649"/>
                <a:gd name="connsiteY2" fmla="*/ 924 h 2681"/>
                <a:gd name="connsiteX3" fmla="*/ 924 w 7649"/>
                <a:gd name="connsiteY3" fmla="*/ 2612 h 2681"/>
                <a:gd name="connsiteX4" fmla="*/ 1755 w 7649"/>
                <a:gd name="connsiteY4" fmla="*/ 2612 h 2681"/>
                <a:gd name="connsiteX5" fmla="*/ 6310 w 7649"/>
                <a:gd name="connsiteY5" fmla="*/ 2612 h 2681"/>
                <a:gd name="connsiteX6" fmla="*/ 7650 w 7649"/>
                <a:gd name="connsiteY6" fmla="*/ 1272 h 2681"/>
                <a:gd name="connsiteX7" fmla="*/ 6444 w 7649"/>
                <a:gd name="connsiteY7" fmla="*/ 66 h 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49" h="2681">
                  <a:moveTo>
                    <a:pt x="6444" y="66"/>
                  </a:moveTo>
                  <a:lnTo>
                    <a:pt x="1755" y="66"/>
                  </a:lnTo>
                  <a:cubicBezTo>
                    <a:pt x="1058" y="-161"/>
                    <a:pt x="294" y="214"/>
                    <a:pt x="66" y="924"/>
                  </a:cubicBezTo>
                  <a:cubicBezTo>
                    <a:pt x="-161" y="1620"/>
                    <a:pt x="214" y="2384"/>
                    <a:pt x="924" y="2612"/>
                  </a:cubicBezTo>
                  <a:cubicBezTo>
                    <a:pt x="1192" y="2705"/>
                    <a:pt x="1487" y="2705"/>
                    <a:pt x="1755" y="2612"/>
                  </a:cubicBezTo>
                  <a:lnTo>
                    <a:pt x="6310" y="2612"/>
                  </a:lnTo>
                  <a:cubicBezTo>
                    <a:pt x="7047" y="2612"/>
                    <a:pt x="7650" y="2009"/>
                    <a:pt x="7650" y="1272"/>
                  </a:cubicBezTo>
                  <a:cubicBezTo>
                    <a:pt x="7543" y="656"/>
                    <a:pt x="7060" y="174"/>
                    <a:pt x="6444" y="66"/>
                  </a:cubicBezTo>
                  <a:close/>
                </a:path>
              </a:pathLst>
            </a:custGeom>
            <a:solidFill>
              <a:srgbClr val="000000"/>
            </a:solidFill>
            <a:ln w="12700" cap="flat">
              <a:noFill/>
              <a:prstDash val="solid"/>
              <a:miter/>
            </a:ln>
          </p:spPr>
          <p:txBody>
            <a:bodyPr rtlCol="0" anchor="ctr"/>
            <a:lstStyle/>
            <a:p>
              <a:endParaRPr lang="en-US"/>
            </a:p>
          </p:txBody>
        </p:sp>
        <p:sp>
          <p:nvSpPr>
            <p:cNvPr id="1160" name="Freeform: Shape 1159">
              <a:extLst>
                <a:ext uri="{FF2B5EF4-FFF2-40B4-BE49-F238E27FC236}">
                  <a16:creationId xmlns:a16="http://schemas.microsoft.com/office/drawing/2014/main" id="{B438BC12-5708-4DB0-9BA1-3A52F81166A1}"/>
                </a:ext>
              </a:extLst>
            </p:cNvPr>
            <p:cNvSpPr/>
            <p:nvPr/>
          </p:nvSpPr>
          <p:spPr>
            <a:xfrm>
              <a:off x="4807089" y="5880060"/>
              <a:ext cx="34859" cy="18005"/>
            </a:xfrm>
            <a:custGeom>
              <a:avLst/>
              <a:gdLst>
                <a:gd name="connsiteX0" fmla="*/ 159 w 34859"/>
                <a:gd name="connsiteY0" fmla="*/ 5548 h 18005"/>
                <a:gd name="connsiteX1" fmla="*/ 5786 w 34859"/>
                <a:gd name="connsiteY1" fmla="*/ 14255 h 18005"/>
                <a:gd name="connsiteX2" fmla="*/ 5786 w 34859"/>
                <a:gd name="connsiteY2" fmla="*/ 14255 h 18005"/>
                <a:gd name="connsiteX3" fmla="*/ 8466 w 34859"/>
                <a:gd name="connsiteY3" fmla="*/ 14255 h 18005"/>
                <a:gd name="connsiteX4" fmla="*/ 25347 w 34859"/>
                <a:gd name="connsiteY4" fmla="*/ 18006 h 18005"/>
                <a:gd name="connsiteX5" fmla="*/ 25347 w 34859"/>
                <a:gd name="connsiteY5" fmla="*/ 13451 h 18005"/>
                <a:gd name="connsiteX6" fmla="*/ 32715 w 34859"/>
                <a:gd name="connsiteY6" fmla="*/ 6083 h 18005"/>
                <a:gd name="connsiteX7" fmla="*/ 34859 w 34859"/>
                <a:gd name="connsiteY7" fmla="*/ 6083 h 18005"/>
                <a:gd name="connsiteX8" fmla="*/ 9002 w 34859"/>
                <a:gd name="connsiteY8" fmla="*/ 55 h 18005"/>
                <a:gd name="connsiteX9" fmla="*/ 8198 w 34859"/>
                <a:gd name="connsiteY9" fmla="*/ 55 h 18005"/>
                <a:gd name="connsiteX10" fmla="*/ 159 w 34859"/>
                <a:gd name="connsiteY10" fmla="*/ 5548 h 1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859" h="18005">
                  <a:moveTo>
                    <a:pt x="159" y="5548"/>
                  </a:moveTo>
                  <a:cubicBezTo>
                    <a:pt x="-672" y="9502"/>
                    <a:pt x="1834" y="13385"/>
                    <a:pt x="5786" y="14255"/>
                  </a:cubicBezTo>
                  <a:lnTo>
                    <a:pt x="5786" y="14255"/>
                  </a:lnTo>
                  <a:lnTo>
                    <a:pt x="8466" y="14255"/>
                  </a:lnTo>
                  <a:lnTo>
                    <a:pt x="25347" y="18006"/>
                  </a:lnTo>
                  <a:lnTo>
                    <a:pt x="25347" y="13451"/>
                  </a:lnTo>
                  <a:cubicBezTo>
                    <a:pt x="25347" y="9381"/>
                    <a:pt x="28643" y="6083"/>
                    <a:pt x="32715" y="6083"/>
                  </a:cubicBezTo>
                  <a:cubicBezTo>
                    <a:pt x="33426" y="6008"/>
                    <a:pt x="34149" y="6008"/>
                    <a:pt x="34859" y="6083"/>
                  </a:cubicBezTo>
                  <a:lnTo>
                    <a:pt x="9002" y="55"/>
                  </a:lnTo>
                  <a:lnTo>
                    <a:pt x="8198" y="55"/>
                  </a:lnTo>
                  <a:cubicBezTo>
                    <a:pt x="4513" y="-396"/>
                    <a:pt x="1070" y="1956"/>
                    <a:pt x="159" y="5548"/>
                  </a:cubicBezTo>
                  <a:close/>
                </a:path>
              </a:pathLst>
            </a:custGeom>
            <a:solidFill>
              <a:srgbClr val="000000"/>
            </a:solidFill>
            <a:ln w="12700" cap="flat">
              <a:noFill/>
              <a:prstDash val="solid"/>
              <a:miter/>
            </a:ln>
          </p:spPr>
          <p:txBody>
            <a:bodyPr rtlCol="0" anchor="ctr"/>
            <a:lstStyle/>
            <a:p>
              <a:endParaRPr lang="en-US"/>
            </a:p>
          </p:txBody>
        </p:sp>
        <p:sp>
          <p:nvSpPr>
            <p:cNvPr id="1161" name="Freeform: Shape 1160">
              <a:extLst>
                <a:ext uri="{FF2B5EF4-FFF2-40B4-BE49-F238E27FC236}">
                  <a16:creationId xmlns:a16="http://schemas.microsoft.com/office/drawing/2014/main" id="{919A6B5C-390A-4CBD-A3D6-2F5B608EEE66}"/>
                </a:ext>
              </a:extLst>
            </p:cNvPr>
            <p:cNvSpPr/>
            <p:nvPr/>
          </p:nvSpPr>
          <p:spPr>
            <a:xfrm>
              <a:off x="4843824" y="5886680"/>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endParaRPr lang="en-US"/>
            </a:p>
          </p:txBody>
        </p:sp>
        <p:sp>
          <p:nvSpPr>
            <p:cNvPr id="1162" name="Freeform: Shape 1161">
              <a:extLst>
                <a:ext uri="{FF2B5EF4-FFF2-40B4-BE49-F238E27FC236}">
                  <a16:creationId xmlns:a16="http://schemas.microsoft.com/office/drawing/2014/main" id="{39ED9B07-B89B-424F-84D8-C6E94BA9B252}"/>
                </a:ext>
              </a:extLst>
            </p:cNvPr>
            <p:cNvSpPr/>
            <p:nvPr/>
          </p:nvSpPr>
          <p:spPr>
            <a:xfrm>
              <a:off x="6240138" y="6578566"/>
              <a:ext cx="460212" cy="2679"/>
            </a:xfrm>
            <a:custGeom>
              <a:avLst/>
              <a:gdLst>
                <a:gd name="connsiteX0" fmla="*/ 0 w 460212"/>
                <a:gd name="connsiteY0" fmla="*/ 2009 h 2679"/>
                <a:gd name="connsiteX1" fmla="*/ 0 w 460212"/>
                <a:gd name="connsiteY1" fmla="*/ 2679 h 2679"/>
                <a:gd name="connsiteX2" fmla="*/ 460213 w 460212"/>
                <a:gd name="connsiteY2" fmla="*/ 2679 h 2679"/>
                <a:gd name="connsiteX3" fmla="*/ 460213 w 460212"/>
                <a:gd name="connsiteY3" fmla="*/ 2009 h 2679"/>
                <a:gd name="connsiteX4" fmla="*/ 460213 w 460212"/>
                <a:gd name="connsiteY4" fmla="*/ 1340 h 2679"/>
                <a:gd name="connsiteX5" fmla="*/ 460213 w 460212"/>
                <a:gd name="connsiteY5" fmla="*/ 268 h 2679"/>
                <a:gd name="connsiteX6" fmla="*/ 460213 w 460212"/>
                <a:gd name="connsiteY6" fmla="*/ 0 h 2679"/>
                <a:gd name="connsiteX7" fmla="*/ 0 w 460212"/>
                <a:gd name="connsiteY7" fmla="*/ 0 h 2679"/>
                <a:gd name="connsiteX8" fmla="*/ 0 w 460212"/>
                <a:gd name="connsiteY8" fmla="*/ 268 h 2679"/>
                <a:gd name="connsiteX9" fmla="*/ 0 w 460212"/>
                <a:gd name="connsiteY9" fmla="*/ 1340 h 2679"/>
                <a:gd name="connsiteX10" fmla="*/ 0 w 460212"/>
                <a:gd name="connsiteY10"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212" h="2679">
                  <a:moveTo>
                    <a:pt x="0" y="2009"/>
                  </a:moveTo>
                  <a:lnTo>
                    <a:pt x="0" y="2679"/>
                  </a:lnTo>
                  <a:lnTo>
                    <a:pt x="460213" y="2679"/>
                  </a:lnTo>
                  <a:lnTo>
                    <a:pt x="460213" y="2009"/>
                  </a:lnTo>
                  <a:lnTo>
                    <a:pt x="460213" y="1340"/>
                  </a:lnTo>
                  <a:lnTo>
                    <a:pt x="460213" y="268"/>
                  </a:lnTo>
                  <a:lnTo>
                    <a:pt x="460213" y="0"/>
                  </a:lnTo>
                  <a:lnTo>
                    <a:pt x="0" y="0"/>
                  </a:lnTo>
                  <a:lnTo>
                    <a:pt x="0" y="268"/>
                  </a:lnTo>
                  <a:lnTo>
                    <a:pt x="0" y="1340"/>
                  </a:lnTo>
                  <a:lnTo>
                    <a:pt x="0" y="2009"/>
                  </a:lnTo>
                  <a:close/>
                </a:path>
              </a:pathLst>
            </a:custGeom>
            <a:solidFill>
              <a:srgbClr val="000000"/>
            </a:solidFill>
            <a:ln w="12700" cap="flat">
              <a:noFill/>
              <a:prstDash val="solid"/>
              <a:miter/>
            </a:ln>
          </p:spPr>
          <p:txBody>
            <a:bodyPr rtlCol="0" anchor="ctr"/>
            <a:lstStyle/>
            <a:p>
              <a:endParaRPr lang="en-US"/>
            </a:p>
          </p:txBody>
        </p:sp>
        <p:sp>
          <p:nvSpPr>
            <p:cNvPr id="1163" name="Freeform: Shape 1162">
              <a:extLst>
                <a:ext uri="{FF2B5EF4-FFF2-40B4-BE49-F238E27FC236}">
                  <a16:creationId xmlns:a16="http://schemas.microsoft.com/office/drawing/2014/main" id="{DD310CDA-32DC-42B9-A43C-6A09F7B3EFCB}"/>
                </a:ext>
              </a:extLst>
            </p:cNvPr>
            <p:cNvSpPr/>
            <p:nvPr/>
          </p:nvSpPr>
          <p:spPr>
            <a:xfrm>
              <a:off x="5583797" y="6578834"/>
              <a:ext cx="11641" cy="2411"/>
            </a:xfrm>
            <a:custGeom>
              <a:avLst/>
              <a:gdLst>
                <a:gd name="connsiteX0" fmla="*/ 789 w 11641"/>
                <a:gd name="connsiteY0" fmla="*/ 2411 h 2411"/>
                <a:gd name="connsiteX1" fmla="*/ 11641 w 11641"/>
                <a:gd name="connsiteY1" fmla="*/ 2411 h 2411"/>
                <a:gd name="connsiteX2" fmla="*/ 11641 w 11641"/>
                <a:gd name="connsiteY2" fmla="*/ 0 h 2411"/>
                <a:gd name="connsiteX3" fmla="*/ 11641 w 11641"/>
                <a:gd name="connsiteY3" fmla="*/ 0 h 2411"/>
                <a:gd name="connsiteX4" fmla="*/ 1191 w 11641"/>
                <a:gd name="connsiteY4" fmla="*/ 0 h 2411"/>
                <a:gd name="connsiteX5" fmla="*/ 119 w 11641"/>
                <a:gd name="connsiteY5" fmla="*/ 670 h 2411"/>
                <a:gd name="connsiteX6" fmla="*/ 119 w 11641"/>
                <a:gd name="connsiteY6" fmla="*/ 1339 h 2411"/>
                <a:gd name="connsiteX7" fmla="*/ 789 w 11641"/>
                <a:gd name="connsiteY7" fmla="*/ 2411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1" h="2411">
                  <a:moveTo>
                    <a:pt x="789" y="2411"/>
                  </a:moveTo>
                  <a:lnTo>
                    <a:pt x="11641" y="2411"/>
                  </a:lnTo>
                  <a:cubicBezTo>
                    <a:pt x="11507" y="1607"/>
                    <a:pt x="11507" y="804"/>
                    <a:pt x="11641" y="0"/>
                  </a:cubicBezTo>
                  <a:lnTo>
                    <a:pt x="11641" y="0"/>
                  </a:lnTo>
                  <a:lnTo>
                    <a:pt x="1191" y="0"/>
                  </a:lnTo>
                  <a:cubicBezTo>
                    <a:pt x="1191" y="0"/>
                    <a:pt x="387" y="0"/>
                    <a:pt x="119" y="670"/>
                  </a:cubicBezTo>
                  <a:cubicBezTo>
                    <a:pt x="-149" y="1339"/>
                    <a:pt x="119" y="670"/>
                    <a:pt x="119" y="1339"/>
                  </a:cubicBezTo>
                  <a:cubicBezTo>
                    <a:pt x="146" y="1782"/>
                    <a:pt x="400" y="2183"/>
                    <a:pt x="789" y="2411"/>
                  </a:cubicBezTo>
                  <a:close/>
                </a:path>
              </a:pathLst>
            </a:custGeom>
            <a:solidFill>
              <a:srgbClr val="000000"/>
            </a:solidFill>
            <a:ln w="12700" cap="flat">
              <a:noFill/>
              <a:prstDash val="solid"/>
              <a:miter/>
            </a:ln>
          </p:spPr>
          <p:txBody>
            <a:bodyPr rtlCol="0" anchor="ctr"/>
            <a:lstStyle/>
            <a:p>
              <a:endParaRPr lang="en-US"/>
            </a:p>
          </p:txBody>
        </p:sp>
        <p:sp>
          <p:nvSpPr>
            <p:cNvPr id="1164" name="Freeform: Shape 1163">
              <a:extLst>
                <a:ext uri="{FF2B5EF4-FFF2-40B4-BE49-F238E27FC236}">
                  <a16:creationId xmlns:a16="http://schemas.microsoft.com/office/drawing/2014/main" id="{52A8E91C-11CE-4AF7-80F2-83B09855D95F}"/>
                </a:ext>
              </a:extLst>
            </p:cNvPr>
            <p:cNvSpPr/>
            <p:nvPr/>
          </p:nvSpPr>
          <p:spPr>
            <a:xfrm>
              <a:off x="4892592" y="6578566"/>
              <a:ext cx="47294" cy="2679"/>
            </a:xfrm>
            <a:custGeom>
              <a:avLst/>
              <a:gdLst>
                <a:gd name="connsiteX0" fmla="*/ 47294 w 47294"/>
                <a:gd name="connsiteY0" fmla="*/ 2679 h 2679"/>
                <a:gd name="connsiteX1" fmla="*/ 47294 w 47294"/>
                <a:gd name="connsiteY1" fmla="*/ 0 h 2679"/>
                <a:gd name="connsiteX2" fmla="*/ 0 w 47294"/>
                <a:gd name="connsiteY2" fmla="*/ 0 h 2679"/>
                <a:gd name="connsiteX3" fmla="*/ 0 w 47294"/>
                <a:gd name="connsiteY3" fmla="*/ 2679 h 2679"/>
              </a:gdLst>
              <a:ahLst/>
              <a:cxnLst>
                <a:cxn ang="0">
                  <a:pos x="connsiteX0" y="connsiteY0"/>
                </a:cxn>
                <a:cxn ang="0">
                  <a:pos x="connsiteX1" y="connsiteY1"/>
                </a:cxn>
                <a:cxn ang="0">
                  <a:pos x="connsiteX2" y="connsiteY2"/>
                </a:cxn>
                <a:cxn ang="0">
                  <a:pos x="connsiteX3" y="connsiteY3"/>
                </a:cxn>
              </a:cxnLst>
              <a:rect l="l" t="t" r="r" b="b"/>
              <a:pathLst>
                <a:path w="47294" h="2679">
                  <a:moveTo>
                    <a:pt x="47294" y="2679"/>
                  </a:moveTo>
                  <a:lnTo>
                    <a:pt x="47294" y="0"/>
                  </a:lnTo>
                  <a:lnTo>
                    <a:pt x="0" y="0"/>
                  </a:lnTo>
                  <a:cubicBezTo>
                    <a:pt x="134" y="884"/>
                    <a:pt x="134" y="1795"/>
                    <a:pt x="0" y="2679"/>
                  </a:cubicBezTo>
                  <a:close/>
                </a:path>
              </a:pathLst>
            </a:custGeom>
            <a:solidFill>
              <a:srgbClr val="000000"/>
            </a:solidFill>
            <a:ln w="12700" cap="flat">
              <a:noFill/>
              <a:prstDash val="solid"/>
              <a:miter/>
            </a:ln>
          </p:spPr>
          <p:txBody>
            <a:bodyPr rtlCol="0" anchor="ctr"/>
            <a:lstStyle/>
            <a:p>
              <a:endParaRPr lang="en-US"/>
            </a:p>
          </p:txBody>
        </p:sp>
        <p:sp>
          <p:nvSpPr>
            <p:cNvPr id="1165" name="Freeform: Shape 1164">
              <a:extLst>
                <a:ext uri="{FF2B5EF4-FFF2-40B4-BE49-F238E27FC236}">
                  <a16:creationId xmlns:a16="http://schemas.microsoft.com/office/drawing/2014/main" id="{EC1B88DF-AAB9-46CA-BFB6-40E14944589F}"/>
                </a:ext>
              </a:extLst>
            </p:cNvPr>
            <p:cNvSpPr/>
            <p:nvPr/>
          </p:nvSpPr>
          <p:spPr>
            <a:xfrm>
              <a:off x="4853872" y="6582853"/>
              <a:ext cx="937" cy="1473"/>
            </a:xfrm>
            <a:custGeom>
              <a:avLst/>
              <a:gdLst>
                <a:gd name="connsiteX0" fmla="*/ 134 w 937"/>
                <a:gd name="connsiteY0" fmla="*/ 268 h 1473"/>
                <a:gd name="connsiteX1" fmla="*/ 938 w 937"/>
                <a:gd name="connsiteY1" fmla="*/ 1474 h 1473"/>
                <a:gd name="connsiteX2" fmla="*/ 0 w 937"/>
                <a:gd name="connsiteY2" fmla="*/ 0 h 1473"/>
              </a:gdLst>
              <a:ahLst/>
              <a:cxnLst>
                <a:cxn ang="0">
                  <a:pos x="connsiteX0" y="connsiteY0"/>
                </a:cxn>
                <a:cxn ang="0">
                  <a:pos x="connsiteX1" y="connsiteY1"/>
                </a:cxn>
                <a:cxn ang="0">
                  <a:pos x="connsiteX2" y="connsiteY2"/>
                </a:cxn>
              </a:cxnLst>
              <a:rect l="l" t="t" r="r" b="b"/>
              <a:pathLst>
                <a:path w="937" h="1473">
                  <a:moveTo>
                    <a:pt x="134" y="268"/>
                  </a:moveTo>
                  <a:cubicBezTo>
                    <a:pt x="348" y="696"/>
                    <a:pt x="630" y="1098"/>
                    <a:pt x="938" y="1474"/>
                  </a:cubicBezTo>
                  <a:lnTo>
                    <a:pt x="0" y="0"/>
                  </a:lnTo>
                  <a:close/>
                </a:path>
              </a:pathLst>
            </a:custGeom>
            <a:solidFill>
              <a:srgbClr val="000000"/>
            </a:solidFill>
            <a:ln w="12700" cap="flat">
              <a:noFill/>
              <a:prstDash val="solid"/>
              <a:miter/>
            </a:ln>
          </p:spPr>
          <p:txBody>
            <a:bodyPr rtlCol="0" anchor="ctr"/>
            <a:lstStyle/>
            <a:p>
              <a:endParaRPr lang="en-US"/>
            </a:p>
          </p:txBody>
        </p:sp>
        <p:sp>
          <p:nvSpPr>
            <p:cNvPr id="1166" name="Freeform: Shape 1165">
              <a:extLst>
                <a:ext uri="{FF2B5EF4-FFF2-40B4-BE49-F238E27FC236}">
                  <a16:creationId xmlns:a16="http://schemas.microsoft.com/office/drawing/2014/main" id="{6C6FCEBA-C832-48B5-9BBD-61F9CB69E452}"/>
                </a:ext>
              </a:extLst>
            </p:cNvPr>
            <p:cNvSpPr/>
            <p:nvPr/>
          </p:nvSpPr>
          <p:spPr>
            <a:xfrm>
              <a:off x="4853410" y="6579905"/>
              <a:ext cx="60" cy="1607"/>
            </a:xfrm>
            <a:custGeom>
              <a:avLst/>
              <a:gdLst>
                <a:gd name="connsiteX0" fmla="*/ 60 w 60"/>
                <a:gd name="connsiteY0" fmla="*/ 1607 h 1607"/>
                <a:gd name="connsiteX1" fmla="*/ 60 w 60"/>
                <a:gd name="connsiteY1" fmla="*/ 1607 h 1607"/>
                <a:gd name="connsiteX2" fmla="*/ 60 w 60"/>
                <a:gd name="connsiteY2" fmla="*/ 0 h 1607"/>
                <a:gd name="connsiteX3" fmla="*/ 60 w 60"/>
                <a:gd name="connsiteY3" fmla="*/ 0 h 1607"/>
                <a:gd name="connsiteX4" fmla="*/ 60 w 60"/>
                <a:gd name="connsiteY4" fmla="*/ 1607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1607">
                  <a:moveTo>
                    <a:pt x="60" y="1607"/>
                  </a:moveTo>
                  <a:lnTo>
                    <a:pt x="60" y="1607"/>
                  </a:lnTo>
                  <a:cubicBezTo>
                    <a:pt x="-20" y="1072"/>
                    <a:pt x="-20" y="536"/>
                    <a:pt x="60" y="0"/>
                  </a:cubicBezTo>
                  <a:lnTo>
                    <a:pt x="60" y="0"/>
                  </a:lnTo>
                  <a:cubicBezTo>
                    <a:pt x="60" y="0"/>
                    <a:pt x="60" y="1206"/>
                    <a:pt x="60" y="1607"/>
                  </a:cubicBezTo>
                  <a:close/>
                </a:path>
              </a:pathLst>
            </a:custGeom>
            <a:solidFill>
              <a:srgbClr val="000000"/>
            </a:solidFill>
            <a:ln w="12700" cap="flat">
              <a:noFill/>
              <a:prstDash val="solid"/>
              <a:miter/>
            </a:ln>
          </p:spPr>
          <p:txBody>
            <a:bodyPr rtlCol="0" anchor="ctr"/>
            <a:lstStyle/>
            <a:p>
              <a:endParaRPr lang="en-US"/>
            </a:p>
          </p:txBody>
        </p:sp>
        <p:sp>
          <p:nvSpPr>
            <p:cNvPr id="1167" name="Freeform: Shape 1166">
              <a:extLst>
                <a:ext uri="{FF2B5EF4-FFF2-40B4-BE49-F238E27FC236}">
                  <a16:creationId xmlns:a16="http://schemas.microsoft.com/office/drawing/2014/main" id="{AA870920-31AB-45C3-B256-13B8865DFD7C}"/>
                </a:ext>
              </a:extLst>
            </p:cNvPr>
            <p:cNvSpPr/>
            <p:nvPr/>
          </p:nvSpPr>
          <p:spPr>
            <a:xfrm>
              <a:off x="4860571" y="6573951"/>
              <a:ext cx="31183" cy="13385"/>
            </a:xfrm>
            <a:custGeom>
              <a:avLst/>
              <a:gdLst>
                <a:gd name="connsiteX0" fmla="*/ 0 w 31183"/>
                <a:gd name="connsiteY0" fmla="*/ 13322 h 13385"/>
                <a:gd name="connsiteX1" fmla="*/ 0 w 31183"/>
                <a:gd name="connsiteY1" fmla="*/ 13322 h 13385"/>
                <a:gd name="connsiteX2" fmla="*/ 24518 w 31183"/>
                <a:gd name="connsiteY2" fmla="*/ 12250 h 13385"/>
                <a:gd name="connsiteX3" fmla="*/ 24518 w 31183"/>
                <a:gd name="connsiteY3" fmla="*/ 12250 h 13385"/>
                <a:gd name="connsiteX4" fmla="*/ 25858 w 31183"/>
                <a:gd name="connsiteY4" fmla="*/ 12250 h 13385"/>
                <a:gd name="connsiteX5" fmla="*/ 27197 w 31183"/>
                <a:gd name="connsiteY5" fmla="*/ 12250 h 13385"/>
                <a:gd name="connsiteX6" fmla="*/ 28403 w 31183"/>
                <a:gd name="connsiteY6" fmla="*/ 11446 h 13385"/>
                <a:gd name="connsiteX7" fmla="*/ 29609 w 31183"/>
                <a:gd name="connsiteY7" fmla="*/ 10643 h 13385"/>
                <a:gd name="connsiteX8" fmla="*/ 30279 w 31183"/>
                <a:gd name="connsiteY8" fmla="*/ 9437 h 13385"/>
                <a:gd name="connsiteX9" fmla="*/ 31082 w 31183"/>
                <a:gd name="connsiteY9" fmla="*/ 8365 h 13385"/>
                <a:gd name="connsiteX10" fmla="*/ 31082 w 31183"/>
                <a:gd name="connsiteY10" fmla="*/ 8365 h 13385"/>
                <a:gd name="connsiteX11" fmla="*/ 31082 w 31183"/>
                <a:gd name="connsiteY11" fmla="*/ 5686 h 13385"/>
                <a:gd name="connsiteX12" fmla="*/ 31082 w 31183"/>
                <a:gd name="connsiteY12" fmla="*/ 5686 h 13385"/>
                <a:gd name="connsiteX13" fmla="*/ 31082 w 31183"/>
                <a:gd name="connsiteY13" fmla="*/ 4213 h 13385"/>
                <a:gd name="connsiteX14" fmla="*/ 31082 w 31183"/>
                <a:gd name="connsiteY14" fmla="*/ 3007 h 13385"/>
                <a:gd name="connsiteX15" fmla="*/ 29877 w 31183"/>
                <a:gd name="connsiteY15" fmla="*/ 1266 h 13385"/>
                <a:gd name="connsiteX16" fmla="*/ 29877 w 31183"/>
                <a:gd name="connsiteY16" fmla="*/ 1266 h 13385"/>
                <a:gd name="connsiteX17" fmla="*/ 28001 w 31183"/>
                <a:gd name="connsiteY17" fmla="*/ 60 h 13385"/>
                <a:gd name="connsiteX18" fmla="*/ 28001 w 31183"/>
                <a:gd name="connsiteY18" fmla="*/ 60 h 13385"/>
                <a:gd name="connsiteX19" fmla="*/ 26259 w 31183"/>
                <a:gd name="connsiteY19" fmla="*/ 60 h 13385"/>
                <a:gd name="connsiteX20" fmla="*/ 24920 w 31183"/>
                <a:gd name="connsiteY20" fmla="*/ 60 h 13385"/>
                <a:gd name="connsiteX21" fmla="*/ 7905 w 31183"/>
                <a:gd name="connsiteY21" fmla="*/ 864 h 13385"/>
                <a:gd name="connsiteX22" fmla="*/ 7905 w 31183"/>
                <a:gd name="connsiteY22" fmla="*/ 8499 h 13385"/>
                <a:gd name="connsiteX23" fmla="*/ 0 w 31183"/>
                <a:gd name="connsiteY23" fmla="*/ 13322 h 1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83" h="13385">
                  <a:moveTo>
                    <a:pt x="0" y="13322"/>
                  </a:moveTo>
                  <a:lnTo>
                    <a:pt x="0" y="13322"/>
                  </a:lnTo>
                  <a:lnTo>
                    <a:pt x="24518" y="12250"/>
                  </a:lnTo>
                  <a:lnTo>
                    <a:pt x="24518" y="12250"/>
                  </a:lnTo>
                  <a:lnTo>
                    <a:pt x="25858" y="12250"/>
                  </a:lnTo>
                  <a:cubicBezTo>
                    <a:pt x="26300" y="12304"/>
                    <a:pt x="26755" y="12304"/>
                    <a:pt x="27197" y="12250"/>
                  </a:cubicBezTo>
                  <a:cubicBezTo>
                    <a:pt x="27197" y="12250"/>
                    <a:pt x="28001" y="12250"/>
                    <a:pt x="28403" y="11446"/>
                  </a:cubicBezTo>
                  <a:cubicBezTo>
                    <a:pt x="28832" y="11232"/>
                    <a:pt x="29234" y="10951"/>
                    <a:pt x="29609" y="10643"/>
                  </a:cubicBezTo>
                  <a:cubicBezTo>
                    <a:pt x="29904" y="10294"/>
                    <a:pt x="30131" y="9879"/>
                    <a:pt x="30279" y="9437"/>
                  </a:cubicBezTo>
                  <a:cubicBezTo>
                    <a:pt x="30614" y="9142"/>
                    <a:pt x="30895" y="8781"/>
                    <a:pt x="31082" y="8365"/>
                  </a:cubicBezTo>
                  <a:lnTo>
                    <a:pt x="31082" y="8365"/>
                  </a:lnTo>
                  <a:cubicBezTo>
                    <a:pt x="31217" y="7481"/>
                    <a:pt x="31217" y="6570"/>
                    <a:pt x="31082" y="5686"/>
                  </a:cubicBezTo>
                  <a:lnTo>
                    <a:pt x="31082" y="5686"/>
                  </a:lnTo>
                  <a:cubicBezTo>
                    <a:pt x="31136" y="5191"/>
                    <a:pt x="31136" y="4709"/>
                    <a:pt x="31082" y="4213"/>
                  </a:cubicBezTo>
                  <a:cubicBezTo>
                    <a:pt x="31150" y="3811"/>
                    <a:pt x="31150" y="3409"/>
                    <a:pt x="31082" y="3007"/>
                  </a:cubicBezTo>
                  <a:cubicBezTo>
                    <a:pt x="30801" y="2351"/>
                    <a:pt x="30399" y="1761"/>
                    <a:pt x="29877" y="1266"/>
                  </a:cubicBezTo>
                  <a:cubicBezTo>
                    <a:pt x="29877" y="1266"/>
                    <a:pt x="29877" y="1266"/>
                    <a:pt x="29877" y="1266"/>
                  </a:cubicBezTo>
                  <a:cubicBezTo>
                    <a:pt x="29301" y="784"/>
                    <a:pt x="28671" y="382"/>
                    <a:pt x="28001" y="60"/>
                  </a:cubicBezTo>
                  <a:lnTo>
                    <a:pt x="28001" y="60"/>
                  </a:lnTo>
                  <a:cubicBezTo>
                    <a:pt x="27425" y="-20"/>
                    <a:pt x="26836" y="-20"/>
                    <a:pt x="26259" y="60"/>
                  </a:cubicBezTo>
                  <a:lnTo>
                    <a:pt x="24920" y="60"/>
                  </a:lnTo>
                  <a:lnTo>
                    <a:pt x="7905" y="864"/>
                  </a:lnTo>
                  <a:lnTo>
                    <a:pt x="7905" y="8499"/>
                  </a:lnTo>
                  <a:cubicBezTo>
                    <a:pt x="6739" y="11768"/>
                    <a:pt x="3443" y="13777"/>
                    <a:pt x="0" y="13322"/>
                  </a:cubicBezTo>
                  <a:close/>
                </a:path>
              </a:pathLst>
            </a:custGeom>
            <a:solidFill>
              <a:srgbClr val="000000"/>
            </a:solidFill>
            <a:ln w="12700" cap="flat">
              <a:noFill/>
              <a:prstDash val="solid"/>
              <a:miter/>
            </a:ln>
          </p:spPr>
          <p:txBody>
            <a:bodyPr rtlCol="0" anchor="ctr"/>
            <a:lstStyle/>
            <a:p>
              <a:endParaRPr lang="en-US"/>
            </a:p>
          </p:txBody>
        </p:sp>
        <p:sp>
          <p:nvSpPr>
            <p:cNvPr id="1168" name="Freeform: Shape 1167">
              <a:extLst>
                <a:ext uri="{FF2B5EF4-FFF2-40B4-BE49-F238E27FC236}">
                  <a16:creationId xmlns:a16="http://schemas.microsoft.com/office/drawing/2014/main" id="{07CE9B93-0C79-44B0-B999-76064AE7E4B4}"/>
                </a:ext>
              </a:extLst>
            </p:cNvPr>
            <p:cNvSpPr/>
            <p:nvPr/>
          </p:nvSpPr>
          <p:spPr>
            <a:xfrm>
              <a:off x="8050174" y="6056671"/>
              <a:ext cx="16211" cy="16476"/>
            </a:xfrm>
            <a:custGeom>
              <a:avLst/>
              <a:gdLst>
                <a:gd name="connsiteX0" fmla="*/ 11389 w 16211"/>
                <a:gd name="connsiteY0" fmla="*/ 12592 h 16476"/>
                <a:gd name="connsiteX1" fmla="*/ 11389 w 16211"/>
                <a:gd name="connsiteY1" fmla="*/ 16477 h 16476"/>
                <a:gd name="connsiteX2" fmla="*/ 16212 w 16211"/>
                <a:gd name="connsiteY2" fmla="*/ 13262 h 16476"/>
                <a:gd name="connsiteX3" fmla="*/ 16212 w 16211"/>
                <a:gd name="connsiteY3" fmla="*/ 10984 h 16476"/>
                <a:gd name="connsiteX4" fmla="*/ 10182 w 16211"/>
                <a:gd name="connsiteY4" fmla="*/ 3885 h 16476"/>
                <a:gd name="connsiteX5" fmla="*/ 10182 w 16211"/>
                <a:gd name="connsiteY5" fmla="*/ 0 h 16476"/>
                <a:gd name="connsiteX6" fmla="*/ 0 w 16211"/>
                <a:gd name="connsiteY6" fmla="*/ 6832 h 16476"/>
                <a:gd name="connsiteX7" fmla="*/ 0 w 16211"/>
                <a:gd name="connsiteY7" fmla="*/ 6832 h 16476"/>
                <a:gd name="connsiteX8" fmla="*/ 4556 w 16211"/>
                <a:gd name="connsiteY8" fmla="*/ 5090 h 16476"/>
                <a:gd name="connsiteX9" fmla="*/ 11389 w 16211"/>
                <a:gd name="connsiteY9" fmla="*/ 12592 h 1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11" h="16476">
                  <a:moveTo>
                    <a:pt x="11389" y="12592"/>
                  </a:moveTo>
                  <a:lnTo>
                    <a:pt x="11389" y="16477"/>
                  </a:lnTo>
                  <a:lnTo>
                    <a:pt x="16212" y="13262"/>
                  </a:lnTo>
                  <a:lnTo>
                    <a:pt x="16212" y="10984"/>
                  </a:lnTo>
                  <a:cubicBezTo>
                    <a:pt x="12741" y="10398"/>
                    <a:pt x="10196" y="7402"/>
                    <a:pt x="10182" y="3885"/>
                  </a:cubicBezTo>
                  <a:lnTo>
                    <a:pt x="10182" y="0"/>
                  </a:lnTo>
                  <a:lnTo>
                    <a:pt x="0" y="6832"/>
                  </a:lnTo>
                  <a:cubicBezTo>
                    <a:pt x="0" y="6832"/>
                    <a:pt x="0" y="6832"/>
                    <a:pt x="0" y="6832"/>
                  </a:cubicBezTo>
                  <a:cubicBezTo>
                    <a:pt x="1259" y="5732"/>
                    <a:pt x="2881" y="5114"/>
                    <a:pt x="4556" y="5090"/>
                  </a:cubicBezTo>
                  <a:cubicBezTo>
                    <a:pt x="8495" y="5307"/>
                    <a:pt x="11536" y="8646"/>
                    <a:pt x="11389" y="12592"/>
                  </a:cubicBezTo>
                  <a:close/>
                </a:path>
              </a:pathLst>
            </a:custGeom>
            <a:solidFill>
              <a:srgbClr val="000000"/>
            </a:solidFill>
            <a:ln w="12700" cap="flat">
              <a:noFill/>
              <a:prstDash val="solid"/>
              <a:miter/>
            </a:ln>
          </p:spPr>
          <p:txBody>
            <a:bodyPr rtlCol="0" anchor="ctr"/>
            <a:lstStyle/>
            <a:p>
              <a:endParaRPr lang="en-US"/>
            </a:p>
          </p:txBody>
        </p:sp>
        <p:sp>
          <p:nvSpPr>
            <p:cNvPr id="1169" name="Freeform: Shape 1168">
              <a:extLst>
                <a:ext uri="{FF2B5EF4-FFF2-40B4-BE49-F238E27FC236}">
                  <a16:creationId xmlns:a16="http://schemas.microsoft.com/office/drawing/2014/main" id="{BD8E4B63-14B3-4A0E-8CCC-A00E7CC07189}"/>
                </a:ext>
              </a:extLst>
            </p:cNvPr>
            <p:cNvSpPr/>
            <p:nvPr/>
          </p:nvSpPr>
          <p:spPr>
            <a:xfrm>
              <a:off x="8068529" y="6066315"/>
              <a:ext cx="3215" cy="1473"/>
            </a:xfrm>
            <a:custGeom>
              <a:avLst/>
              <a:gdLst>
                <a:gd name="connsiteX0" fmla="*/ 3215 w 3215"/>
                <a:gd name="connsiteY0" fmla="*/ 0 h 1473"/>
                <a:gd name="connsiteX1" fmla="*/ 3215 w 3215"/>
                <a:gd name="connsiteY1" fmla="*/ 0 h 1473"/>
                <a:gd name="connsiteX2" fmla="*/ 0 w 3215"/>
                <a:gd name="connsiteY2" fmla="*/ 1474 h 1473"/>
                <a:gd name="connsiteX3" fmla="*/ 0 w 3215"/>
                <a:gd name="connsiteY3" fmla="*/ 1340 h 1473"/>
              </a:gdLst>
              <a:ahLst/>
              <a:cxnLst>
                <a:cxn ang="0">
                  <a:pos x="connsiteX0" y="connsiteY0"/>
                </a:cxn>
                <a:cxn ang="0">
                  <a:pos x="connsiteX1" y="connsiteY1"/>
                </a:cxn>
                <a:cxn ang="0">
                  <a:pos x="connsiteX2" y="connsiteY2"/>
                </a:cxn>
                <a:cxn ang="0">
                  <a:pos x="connsiteX3" y="connsiteY3"/>
                </a:cxn>
              </a:cxnLst>
              <a:rect l="l" t="t" r="r" b="b"/>
              <a:pathLst>
                <a:path w="3215" h="1473">
                  <a:moveTo>
                    <a:pt x="3215" y="0"/>
                  </a:moveTo>
                  <a:cubicBezTo>
                    <a:pt x="3215" y="0"/>
                    <a:pt x="3215" y="0"/>
                    <a:pt x="3215" y="0"/>
                  </a:cubicBezTo>
                  <a:cubicBezTo>
                    <a:pt x="2318" y="809"/>
                    <a:pt x="1192" y="1324"/>
                    <a:pt x="0" y="1474"/>
                  </a:cubicBezTo>
                  <a:lnTo>
                    <a:pt x="0" y="1340"/>
                  </a:lnTo>
                  <a:close/>
                </a:path>
              </a:pathLst>
            </a:custGeom>
            <a:solidFill>
              <a:srgbClr val="000000"/>
            </a:solidFill>
            <a:ln w="12700" cap="flat">
              <a:noFill/>
              <a:prstDash val="solid"/>
              <a:miter/>
            </a:ln>
          </p:spPr>
          <p:txBody>
            <a:bodyPr rtlCol="0" anchor="ctr"/>
            <a:lstStyle/>
            <a:p>
              <a:endParaRPr lang="en-US"/>
            </a:p>
          </p:txBody>
        </p:sp>
        <p:sp>
          <p:nvSpPr>
            <p:cNvPr id="1170" name="Freeform: Shape 1169">
              <a:extLst>
                <a:ext uri="{FF2B5EF4-FFF2-40B4-BE49-F238E27FC236}">
                  <a16:creationId xmlns:a16="http://schemas.microsoft.com/office/drawing/2014/main" id="{164CD494-2FF1-46FA-B7BE-3BB596808265}"/>
                </a:ext>
              </a:extLst>
            </p:cNvPr>
            <p:cNvSpPr/>
            <p:nvPr/>
          </p:nvSpPr>
          <p:spPr>
            <a:xfrm>
              <a:off x="8073486" y="6064574"/>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endParaRPr lang="en-US"/>
            </a:p>
          </p:txBody>
        </p:sp>
        <p:sp>
          <p:nvSpPr>
            <p:cNvPr id="1171" name="Freeform: Shape 1170">
              <a:extLst>
                <a:ext uri="{FF2B5EF4-FFF2-40B4-BE49-F238E27FC236}">
                  <a16:creationId xmlns:a16="http://schemas.microsoft.com/office/drawing/2014/main" id="{B99BADA5-9609-4ACB-8117-D9FE3A0ED2D8}"/>
                </a:ext>
              </a:extLst>
            </p:cNvPr>
            <p:cNvSpPr/>
            <p:nvPr/>
          </p:nvSpPr>
          <p:spPr>
            <a:xfrm>
              <a:off x="6887384" y="6504488"/>
              <a:ext cx="74223" cy="13395"/>
            </a:xfrm>
            <a:custGeom>
              <a:avLst/>
              <a:gdLst>
                <a:gd name="connsiteX0" fmla="*/ 1876 w 74223"/>
                <a:gd name="connsiteY0" fmla="*/ 0 h 13395"/>
                <a:gd name="connsiteX1" fmla="*/ 71142 w 74223"/>
                <a:gd name="connsiteY1" fmla="*/ 0 h 13395"/>
                <a:gd name="connsiteX2" fmla="*/ 72347 w 74223"/>
                <a:gd name="connsiteY2" fmla="*/ 0 h 13395"/>
                <a:gd name="connsiteX3" fmla="*/ 72347 w 74223"/>
                <a:gd name="connsiteY3" fmla="*/ 0 h 13395"/>
                <a:gd name="connsiteX4" fmla="*/ 74223 w 74223"/>
                <a:gd name="connsiteY4" fmla="*/ 0 h 13395"/>
                <a:gd name="connsiteX5" fmla="*/ 0 w 7422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223" h="13395">
                  <a:moveTo>
                    <a:pt x="1876" y="0"/>
                  </a:moveTo>
                  <a:lnTo>
                    <a:pt x="71142" y="0"/>
                  </a:lnTo>
                  <a:lnTo>
                    <a:pt x="72347" y="0"/>
                  </a:lnTo>
                  <a:lnTo>
                    <a:pt x="72347" y="0"/>
                  </a:lnTo>
                  <a:lnTo>
                    <a:pt x="74223" y="0"/>
                  </a:lnTo>
                  <a:lnTo>
                    <a:pt x="0" y="0"/>
                  </a:lnTo>
                  <a:close/>
                </a:path>
              </a:pathLst>
            </a:custGeom>
            <a:solidFill>
              <a:srgbClr val="000000"/>
            </a:solidFill>
            <a:ln w="12700" cap="flat">
              <a:noFill/>
              <a:prstDash val="solid"/>
              <a:miter/>
            </a:ln>
          </p:spPr>
          <p:txBody>
            <a:bodyPr rtlCol="0" anchor="ctr"/>
            <a:lstStyle/>
            <a:p>
              <a:endParaRPr lang="en-US"/>
            </a:p>
          </p:txBody>
        </p:sp>
        <p:sp>
          <p:nvSpPr>
            <p:cNvPr id="1172" name="Freeform: Shape 1171">
              <a:extLst>
                <a:ext uri="{FF2B5EF4-FFF2-40B4-BE49-F238E27FC236}">
                  <a16:creationId xmlns:a16="http://schemas.microsoft.com/office/drawing/2014/main" id="{C18C7573-D3B5-467D-A008-DD0044A9DF1D}"/>
                </a:ext>
              </a:extLst>
            </p:cNvPr>
            <p:cNvSpPr/>
            <p:nvPr/>
          </p:nvSpPr>
          <p:spPr>
            <a:xfrm>
              <a:off x="8354706" y="6177232"/>
              <a:ext cx="14787" cy="122972"/>
            </a:xfrm>
            <a:custGeom>
              <a:avLst/>
              <a:gdLst>
                <a:gd name="connsiteX0" fmla="*/ 6162 w 14787"/>
                <a:gd name="connsiteY0" fmla="*/ 114935 h 122972"/>
                <a:gd name="connsiteX1" fmla="*/ 14737 w 14787"/>
                <a:gd name="connsiteY1" fmla="*/ 120829 h 122972"/>
                <a:gd name="connsiteX2" fmla="*/ 14737 w 14787"/>
                <a:gd name="connsiteY2" fmla="*/ 122972 h 122972"/>
                <a:gd name="connsiteX3" fmla="*/ 14737 w 14787"/>
                <a:gd name="connsiteY3" fmla="*/ 122169 h 122972"/>
                <a:gd name="connsiteX4" fmla="*/ 14737 w 14787"/>
                <a:gd name="connsiteY4" fmla="*/ 0 h 122972"/>
                <a:gd name="connsiteX5" fmla="*/ 7369 w 14787"/>
                <a:gd name="connsiteY5" fmla="*/ 7234 h 122972"/>
                <a:gd name="connsiteX6" fmla="*/ 0 w 14787"/>
                <a:gd name="connsiteY6" fmla="*/ 7234 h 122972"/>
                <a:gd name="connsiteX7" fmla="*/ 0 w 14787"/>
                <a:gd name="connsiteY7" fmla="*/ 116140 h 12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87" h="122972">
                  <a:moveTo>
                    <a:pt x="6162" y="114935"/>
                  </a:moveTo>
                  <a:cubicBezTo>
                    <a:pt x="10155" y="114198"/>
                    <a:pt x="13987" y="116837"/>
                    <a:pt x="14737" y="120829"/>
                  </a:cubicBezTo>
                  <a:cubicBezTo>
                    <a:pt x="14804" y="121539"/>
                    <a:pt x="14804" y="122262"/>
                    <a:pt x="14737" y="122972"/>
                  </a:cubicBezTo>
                  <a:cubicBezTo>
                    <a:pt x="14737" y="122972"/>
                    <a:pt x="14737" y="122972"/>
                    <a:pt x="14737" y="122169"/>
                  </a:cubicBezTo>
                  <a:lnTo>
                    <a:pt x="14737" y="0"/>
                  </a:lnTo>
                  <a:cubicBezTo>
                    <a:pt x="14670" y="4019"/>
                    <a:pt x="11388" y="7234"/>
                    <a:pt x="7369" y="7234"/>
                  </a:cubicBezTo>
                  <a:lnTo>
                    <a:pt x="0" y="7234"/>
                  </a:lnTo>
                  <a:lnTo>
                    <a:pt x="0" y="116140"/>
                  </a:lnTo>
                  <a:close/>
                </a:path>
              </a:pathLst>
            </a:custGeom>
            <a:solidFill>
              <a:srgbClr val="000000"/>
            </a:solidFill>
            <a:ln w="12700" cap="flat">
              <a:noFill/>
              <a:prstDash val="solid"/>
              <a:miter/>
            </a:ln>
          </p:spPr>
          <p:txBody>
            <a:bodyPr rtlCol="0" anchor="ctr"/>
            <a:lstStyle/>
            <a:p>
              <a:endParaRPr lang="en-US"/>
            </a:p>
          </p:txBody>
        </p:sp>
        <p:sp>
          <p:nvSpPr>
            <p:cNvPr id="1173" name="Freeform: Shape 1172">
              <a:extLst>
                <a:ext uri="{FF2B5EF4-FFF2-40B4-BE49-F238E27FC236}">
                  <a16:creationId xmlns:a16="http://schemas.microsoft.com/office/drawing/2014/main" id="{D08BADA6-BE01-4C7D-9B99-028C2E9CAE51}"/>
                </a:ext>
              </a:extLst>
            </p:cNvPr>
            <p:cNvSpPr/>
            <p:nvPr/>
          </p:nvSpPr>
          <p:spPr>
            <a:xfrm>
              <a:off x="8086349" y="6298462"/>
              <a:ext cx="261925" cy="2277"/>
            </a:xfrm>
            <a:custGeom>
              <a:avLst/>
              <a:gdLst>
                <a:gd name="connsiteX0" fmla="*/ 268 w 261925"/>
                <a:gd name="connsiteY0" fmla="*/ 938 h 2277"/>
                <a:gd name="connsiteX1" fmla="*/ 268 w 261925"/>
                <a:gd name="connsiteY1" fmla="*/ 2277 h 2277"/>
                <a:gd name="connsiteX2" fmla="*/ 261926 w 261925"/>
                <a:gd name="connsiteY2" fmla="*/ 2277 h 2277"/>
                <a:gd name="connsiteX3" fmla="*/ 261926 w 261925"/>
                <a:gd name="connsiteY3" fmla="*/ 1473 h 2277"/>
                <a:gd name="connsiteX4" fmla="*/ 261926 w 261925"/>
                <a:gd name="connsiteY4" fmla="*/ 0 h 2277"/>
                <a:gd name="connsiteX5" fmla="*/ 261926 w 261925"/>
                <a:gd name="connsiteY5" fmla="*/ 0 h 2277"/>
                <a:gd name="connsiteX6" fmla="*/ 0 w 261925"/>
                <a:gd name="connsiteY6" fmla="*/ 0 h 2277"/>
                <a:gd name="connsiteX7" fmla="*/ 268 w 261925"/>
                <a:gd name="connsiteY7" fmla="*/ 938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25" h="2277">
                  <a:moveTo>
                    <a:pt x="268" y="938"/>
                  </a:moveTo>
                  <a:lnTo>
                    <a:pt x="268" y="2277"/>
                  </a:lnTo>
                  <a:lnTo>
                    <a:pt x="261926" y="2277"/>
                  </a:lnTo>
                  <a:cubicBezTo>
                    <a:pt x="261926" y="2277"/>
                    <a:pt x="261926" y="2277"/>
                    <a:pt x="261926" y="1473"/>
                  </a:cubicBezTo>
                  <a:cubicBezTo>
                    <a:pt x="261926" y="670"/>
                    <a:pt x="261926" y="536"/>
                    <a:pt x="261926" y="0"/>
                  </a:cubicBezTo>
                  <a:lnTo>
                    <a:pt x="261926" y="0"/>
                  </a:lnTo>
                  <a:lnTo>
                    <a:pt x="0" y="0"/>
                  </a:lnTo>
                  <a:cubicBezTo>
                    <a:pt x="134" y="295"/>
                    <a:pt x="214" y="616"/>
                    <a:pt x="268" y="938"/>
                  </a:cubicBezTo>
                  <a:close/>
                </a:path>
              </a:pathLst>
            </a:custGeom>
            <a:solidFill>
              <a:srgbClr val="000000"/>
            </a:solidFill>
            <a:ln w="12700" cap="flat">
              <a:noFill/>
              <a:prstDash val="solid"/>
              <a:miter/>
            </a:ln>
          </p:spPr>
          <p:txBody>
            <a:bodyPr rtlCol="0" anchor="ctr"/>
            <a:lstStyle/>
            <a:p>
              <a:endParaRPr lang="en-US"/>
            </a:p>
          </p:txBody>
        </p:sp>
        <p:sp>
          <p:nvSpPr>
            <p:cNvPr id="1174" name="Freeform: Shape 1173">
              <a:extLst>
                <a:ext uri="{FF2B5EF4-FFF2-40B4-BE49-F238E27FC236}">
                  <a16:creationId xmlns:a16="http://schemas.microsoft.com/office/drawing/2014/main" id="{274B857C-D999-4C6A-BD80-646A8EA093A9}"/>
                </a:ext>
              </a:extLst>
            </p:cNvPr>
            <p:cNvSpPr/>
            <p:nvPr/>
          </p:nvSpPr>
          <p:spPr>
            <a:xfrm>
              <a:off x="8354035" y="6292166"/>
              <a:ext cx="13180" cy="14601"/>
            </a:xfrm>
            <a:custGeom>
              <a:avLst/>
              <a:gdLst>
                <a:gd name="connsiteX0" fmla="*/ 6833 w 13180"/>
                <a:gd name="connsiteY0" fmla="*/ 0 h 14601"/>
                <a:gd name="connsiteX1" fmla="*/ 804 w 13180"/>
                <a:gd name="connsiteY1" fmla="*/ 1206 h 14601"/>
                <a:gd name="connsiteX2" fmla="*/ 804 w 13180"/>
                <a:gd name="connsiteY2" fmla="*/ 1206 h 14601"/>
                <a:gd name="connsiteX3" fmla="*/ 0 w 13180"/>
                <a:gd name="connsiteY3" fmla="*/ 1206 h 14601"/>
                <a:gd name="connsiteX4" fmla="*/ 2144 w 13180"/>
                <a:gd name="connsiteY4" fmla="*/ 1206 h 14601"/>
                <a:gd name="connsiteX5" fmla="*/ 9513 w 13180"/>
                <a:gd name="connsiteY5" fmla="*/ 8573 h 14601"/>
                <a:gd name="connsiteX6" fmla="*/ 9513 w 13180"/>
                <a:gd name="connsiteY6" fmla="*/ 14601 h 14601"/>
                <a:gd name="connsiteX7" fmla="*/ 9513 w 13180"/>
                <a:gd name="connsiteY7" fmla="*/ 14601 h 14601"/>
                <a:gd name="connsiteX8" fmla="*/ 9513 w 13180"/>
                <a:gd name="connsiteY8" fmla="*/ 14601 h 14601"/>
                <a:gd name="connsiteX9" fmla="*/ 10986 w 13180"/>
                <a:gd name="connsiteY9" fmla="*/ 14601 h 14601"/>
                <a:gd name="connsiteX10" fmla="*/ 12058 w 13180"/>
                <a:gd name="connsiteY10" fmla="*/ 13798 h 14601"/>
                <a:gd name="connsiteX11" fmla="*/ 13130 w 13180"/>
                <a:gd name="connsiteY11" fmla="*/ 12860 h 14601"/>
                <a:gd name="connsiteX12" fmla="*/ 13130 w 13180"/>
                <a:gd name="connsiteY12" fmla="*/ 11654 h 14601"/>
                <a:gd name="connsiteX13" fmla="*/ 13130 w 13180"/>
                <a:gd name="connsiteY13" fmla="*/ 10449 h 14601"/>
                <a:gd name="connsiteX14" fmla="*/ 13130 w 13180"/>
                <a:gd name="connsiteY14" fmla="*/ 8975 h 14601"/>
                <a:gd name="connsiteX15" fmla="*/ 13130 w 13180"/>
                <a:gd name="connsiteY15" fmla="*/ 6832 h 14601"/>
                <a:gd name="connsiteX16" fmla="*/ 6833 w 13180"/>
                <a:gd name="connsiteY1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80" h="14601">
                  <a:moveTo>
                    <a:pt x="6833" y="0"/>
                  </a:moveTo>
                  <a:lnTo>
                    <a:pt x="804" y="1206"/>
                  </a:lnTo>
                  <a:lnTo>
                    <a:pt x="804" y="1206"/>
                  </a:lnTo>
                  <a:lnTo>
                    <a:pt x="0" y="1206"/>
                  </a:lnTo>
                  <a:cubicBezTo>
                    <a:pt x="711" y="1058"/>
                    <a:pt x="1433" y="1058"/>
                    <a:pt x="2144" y="1206"/>
                  </a:cubicBezTo>
                  <a:cubicBezTo>
                    <a:pt x="6217" y="1206"/>
                    <a:pt x="9513" y="4501"/>
                    <a:pt x="9513" y="8573"/>
                  </a:cubicBezTo>
                  <a:lnTo>
                    <a:pt x="9513" y="14601"/>
                  </a:lnTo>
                  <a:lnTo>
                    <a:pt x="9513" y="14601"/>
                  </a:lnTo>
                  <a:lnTo>
                    <a:pt x="9513" y="14601"/>
                  </a:lnTo>
                  <a:lnTo>
                    <a:pt x="10986" y="14601"/>
                  </a:lnTo>
                  <a:lnTo>
                    <a:pt x="12058" y="13798"/>
                  </a:lnTo>
                  <a:lnTo>
                    <a:pt x="13130" y="12860"/>
                  </a:lnTo>
                  <a:cubicBezTo>
                    <a:pt x="13170" y="12458"/>
                    <a:pt x="13170" y="12056"/>
                    <a:pt x="13130" y="11654"/>
                  </a:cubicBezTo>
                  <a:cubicBezTo>
                    <a:pt x="13184" y="11252"/>
                    <a:pt x="13184" y="10850"/>
                    <a:pt x="13130" y="10449"/>
                  </a:cubicBezTo>
                  <a:cubicBezTo>
                    <a:pt x="13197" y="9953"/>
                    <a:pt x="13197" y="9471"/>
                    <a:pt x="13130" y="8975"/>
                  </a:cubicBezTo>
                  <a:cubicBezTo>
                    <a:pt x="13197" y="8265"/>
                    <a:pt x="13197" y="7542"/>
                    <a:pt x="13130" y="6832"/>
                  </a:cubicBezTo>
                  <a:cubicBezTo>
                    <a:pt x="12916" y="3349"/>
                    <a:pt x="10290" y="496"/>
                    <a:pt x="6833" y="0"/>
                  </a:cubicBezTo>
                  <a:close/>
                </a:path>
              </a:pathLst>
            </a:custGeom>
            <a:solidFill>
              <a:srgbClr val="000000"/>
            </a:solidFill>
            <a:ln w="12700" cap="flat">
              <a:noFill/>
              <a:prstDash val="solid"/>
              <a:miter/>
            </a:ln>
          </p:spPr>
          <p:txBody>
            <a:bodyPr rtlCol="0" anchor="ctr"/>
            <a:lstStyle/>
            <a:p>
              <a:endParaRPr lang="en-US"/>
            </a:p>
          </p:txBody>
        </p:sp>
        <p:sp>
          <p:nvSpPr>
            <p:cNvPr id="1175" name="Freeform: Shape 1174">
              <a:extLst>
                <a:ext uri="{FF2B5EF4-FFF2-40B4-BE49-F238E27FC236}">
                  <a16:creationId xmlns:a16="http://schemas.microsoft.com/office/drawing/2014/main" id="{56F80D25-8327-449E-BAE2-AEDF49AA8522}"/>
                </a:ext>
              </a:extLst>
            </p:cNvPr>
            <p:cNvSpPr/>
            <p:nvPr/>
          </p:nvSpPr>
          <p:spPr>
            <a:xfrm>
              <a:off x="7597330" y="6172945"/>
              <a:ext cx="1741" cy="2947"/>
            </a:xfrm>
            <a:custGeom>
              <a:avLst/>
              <a:gdLst>
                <a:gd name="connsiteX0" fmla="*/ 1742 w 1741"/>
                <a:gd name="connsiteY0" fmla="*/ 0 h 2947"/>
                <a:gd name="connsiteX1" fmla="*/ 1072 w 1741"/>
                <a:gd name="connsiteY1" fmla="*/ 938 h 2947"/>
                <a:gd name="connsiteX2" fmla="*/ 0 w 1741"/>
                <a:gd name="connsiteY2" fmla="*/ 2947 h 2947"/>
                <a:gd name="connsiteX3" fmla="*/ 0 w 1741"/>
                <a:gd name="connsiteY3" fmla="*/ 2947 h 2947"/>
                <a:gd name="connsiteX4" fmla="*/ 804 w 1741"/>
                <a:gd name="connsiteY4" fmla="*/ 1875 h 2947"/>
                <a:gd name="connsiteX5" fmla="*/ 1742 w 1741"/>
                <a:gd name="connsiteY5" fmla="*/ 0 h 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 h="2947">
                  <a:moveTo>
                    <a:pt x="1742" y="0"/>
                  </a:moveTo>
                  <a:cubicBezTo>
                    <a:pt x="1742" y="0"/>
                    <a:pt x="1742" y="0"/>
                    <a:pt x="1072" y="938"/>
                  </a:cubicBezTo>
                  <a:lnTo>
                    <a:pt x="0" y="2947"/>
                  </a:lnTo>
                  <a:cubicBezTo>
                    <a:pt x="0" y="2947"/>
                    <a:pt x="0" y="2947"/>
                    <a:pt x="0" y="2947"/>
                  </a:cubicBezTo>
                  <a:lnTo>
                    <a:pt x="804" y="1875"/>
                  </a:lnTo>
                  <a:cubicBezTo>
                    <a:pt x="1058" y="1219"/>
                    <a:pt x="1366" y="589"/>
                    <a:pt x="1742" y="0"/>
                  </a:cubicBezTo>
                  <a:close/>
                </a:path>
              </a:pathLst>
            </a:custGeom>
            <a:solidFill>
              <a:srgbClr val="000000"/>
            </a:solidFill>
            <a:ln w="12700" cap="flat">
              <a:noFill/>
              <a:prstDash val="solid"/>
              <a:miter/>
            </a:ln>
          </p:spPr>
          <p:txBody>
            <a:bodyPr rtlCol="0" anchor="ctr"/>
            <a:lstStyle/>
            <a:p>
              <a:endParaRPr lang="en-US"/>
            </a:p>
          </p:txBody>
        </p:sp>
        <p:sp>
          <p:nvSpPr>
            <p:cNvPr id="1176" name="Freeform: Shape 1175">
              <a:extLst>
                <a:ext uri="{FF2B5EF4-FFF2-40B4-BE49-F238E27FC236}">
                  <a16:creationId xmlns:a16="http://schemas.microsoft.com/office/drawing/2014/main" id="{831E0EDC-3D95-41C6-94AF-155BBDC77C56}"/>
                </a:ext>
              </a:extLst>
            </p:cNvPr>
            <p:cNvSpPr/>
            <p:nvPr/>
          </p:nvSpPr>
          <p:spPr>
            <a:xfrm>
              <a:off x="8060357" y="4973497"/>
              <a:ext cx="13129" cy="17012"/>
            </a:xfrm>
            <a:custGeom>
              <a:avLst/>
              <a:gdLst>
                <a:gd name="connsiteX0" fmla="*/ 7369 w 13129"/>
                <a:gd name="connsiteY0" fmla="*/ 12592 h 17012"/>
                <a:gd name="connsiteX1" fmla="*/ 13130 w 13129"/>
                <a:gd name="connsiteY1" fmla="*/ 15673 h 17012"/>
                <a:gd name="connsiteX2" fmla="*/ 13130 w 13129"/>
                <a:gd name="connsiteY2" fmla="*/ 10047 h 17012"/>
                <a:gd name="connsiteX3" fmla="*/ 7101 w 13129"/>
                <a:gd name="connsiteY3" fmla="*/ 2947 h 17012"/>
                <a:gd name="connsiteX4" fmla="*/ 7101 w 13129"/>
                <a:gd name="connsiteY4" fmla="*/ 0 h 17012"/>
                <a:gd name="connsiteX5" fmla="*/ 7101 w 13129"/>
                <a:gd name="connsiteY5" fmla="*/ 0 h 17012"/>
                <a:gd name="connsiteX6" fmla="*/ 0 w 13129"/>
                <a:gd name="connsiteY6" fmla="*/ 17013 h 17012"/>
                <a:gd name="connsiteX7" fmla="*/ 7369 w 13129"/>
                <a:gd name="connsiteY7" fmla="*/ 12592 h 1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9" h="17012">
                  <a:moveTo>
                    <a:pt x="7369" y="12592"/>
                  </a:moveTo>
                  <a:cubicBezTo>
                    <a:pt x="9660" y="12666"/>
                    <a:pt x="11790" y="13804"/>
                    <a:pt x="13130" y="15673"/>
                  </a:cubicBezTo>
                  <a:lnTo>
                    <a:pt x="13130" y="10047"/>
                  </a:lnTo>
                  <a:cubicBezTo>
                    <a:pt x="9687" y="9412"/>
                    <a:pt x="7168" y="6445"/>
                    <a:pt x="7101" y="2947"/>
                  </a:cubicBezTo>
                  <a:cubicBezTo>
                    <a:pt x="6900" y="1975"/>
                    <a:pt x="6900" y="973"/>
                    <a:pt x="7101" y="0"/>
                  </a:cubicBezTo>
                  <a:lnTo>
                    <a:pt x="7101" y="0"/>
                  </a:lnTo>
                  <a:lnTo>
                    <a:pt x="0" y="17013"/>
                  </a:lnTo>
                  <a:cubicBezTo>
                    <a:pt x="1286" y="14139"/>
                    <a:pt x="4233" y="12374"/>
                    <a:pt x="7369" y="12592"/>
                  </a:cubicBezTo>
                  <a:close/>
                </a:path>
              </a:pathLst>
            </a:custGeom>
            <a:solidFill>
              <a:srgbClr val="000000"/>
            </a:solidFill>
            <a:ln w="12700" cap="flat">
              <a:noFill/>
              <a:prstDash val="solid"/>
              <a:miter/>
            </a:ln>
          </p:spPr>
          <p:txBody>
            <a:bodyPr rtlCol="0" anchor="ctr"/>
            <a:lstStyle/>
            <a:p>
              <a:endParaRPr lang="en-US"/>
            </a:p>
          </p:txBody>
        </p:sp>
        <p:sp>
          <p:nvSpPr>
            <p:cNvPr id="1177" name="Freeform: Shape 1176">
              <a:extLst>
                <a:ext uri="{FF2B5EF4-FFF2-40B4-BE49-F238E27FC236}">
                  <a16:creationId xmlns:a16="http://schemas.microsoft.com/office/drawing/2014/main" id="{6889F570-55E9-48B5-8581-739A46C222C9}"/>
                </a:ext>
              </a:extLst>
            </p:cNvPr>
            <p:cNvSpPr/>
            <p:nvPr/>
          </p:nvSpPr>
          <p:spPr>
            <a:xfrm>
              <a:off x="8060892" y="4990643"/>
              <a:ext cx="0" cy="1581"/>
            </a:xfrm>
            <a:custGeom>
              <a:avLst/>
              <a:gdLst>
                <a:gd name="connsiteX0" fmla="*/ 0 w 0"/>
                <a:gd name="connsiteY0" fmla="*/ 0 h 1581"/>
                <a:gd name="connsiteX1" fmla="*/ 0 w 0"/>
                <a:gd name="connsiteY1" fmla="*/ 1474 h 1581"/>
                <a:gd name="connsiteX2" fmla="*/ 0 w 0"/>
                <a:gd name="connsiteY2" fmla="*/ 0 h 1581"/>
              </a:gdLst>
              <a:ahLst/>
              <a:cxnLst>
                <a:cxn ang="0">
                  <a:pos x="connsiteX0" y="connsiteY0"/>
                </a:cxn>
                <a:cxn ang="0">
                  <a:pos x="connsiteX1" y="connsiteY1"/>
                </a:cxn>
                <a:cxn ang="0">
                  <a:pos x="connsiteX2" y="connsiteY2"/>
                </a:cxn>
              </a:cxnLst>
              <a:rect l="l" t="t" r="r" b="b"/>
              <a:pathLst>
                <a:path h="1581">
                  <a:moveTo>
                    <a:pt x="0" y="0"/>
                  </a:moveTo>
                  <a:cubicBezTo>
                    <a:pt x="0" y="0"/>
                    <a:pt x="0" y="938"/>
                    <a:pt x="0" y="1474"/>
                  </a:cubicBezTo>
                  <a:cubicBezTo>
                    <a:pt x="0" y="2009"/>
                    <a:pt x="0" y="402"/>
                    <a:pt x="0" y="0"/>
                  </a:cubicBezTo>
                  <a:close/>
                </a:path>
              </a:pathLst>
            </a:custGeom>
            <a:solidFill>
              <a:srgbClr val="000000"/>
            </a:solidFill>
            <a:ln w="12700" cap="flat">
              <a:noFill/>
              <a:prstDash val="solid"/>
              <a:miter/>
            </a:ln>
          </p:spPr>
          <p:txBody>
            <a:bodyPr rtlCol="0" anchor="ctr"/>
            <a:lstStyle/>
            <a:p>
              <a:endParaRPr lang="en-US"/>
            </a:p>
          </p:txBody>
        </p:sp>
        <p:sp>
          <p:nvSpPr>
            <p:cNvPr id="1178" name="Freeform: Shape 1177">
              <a:extLst>
                <a:ext uri="{FF2B5EF4-FFF2-40B4-BE49-F238E27FC236}">
                  <a16:creationId xmlns:a16="http://schemas.microsoft.com/office/drawing/2014/main" id="{A16F446B-C898-4486-953D-9584C64AE957}"/>
                </a:ext>
              </a:extLst>
            </p:cNvPr>
            <p:cNvSpPr/>
            <p:nvPr/>
          </p:nvSpPr>
          <p:spPr>
            <a:xfrm>
              <a:off x="8076166" y="4983811"/>
              <a:ext cx="3617" cy="8707"/>
            </a:xfrm>
            <a:custGeom>
              <a:avLst/>
              <a:gdLst>
                <a:gd name="connsiteX0" fmla="*/ 3618 w 3617"/>
                <a:gd name="connsiteY0" fmla="*/ 0 h 8707"/>
                <a:gd name="connsiteX1" fmla="*/ 0 w 3617"/>
                <a:gd name="connsiteY1" fmla="*/ 0 h 8707"/>
                <a:gd name="connsiteX2" fmla="*/ 0 w 3617"/>
                <a:gd name="connsiteY2" fmla="*/ 8707 h 8707"/>
                <a:gd name="connsiteX3" fmla="*/ 3618 w 3617"/>
                <a:gd name="connsiteY3" fmla="*/ 0 h 8707"/>
              </a:gdLst>
              <a:ahLst/>
              <a:cxnLst>
                <a:cxn ang="0">
                  <a:pos x="connsiteX0" y="connsiteY0"/>
                </a:cxn>
                <a:cxn ang="0">
                  <a:pos x="connsiteX1" y="connsiteY1"/>
                </a:cxn>
                <a:cxn ang="0">
                  <a:pos x="connsiteX2" y="connsiteY2"/>
                </a:cxn>
                <a:cxn ang="0">
                  <a:pos x="connsiteX3" y="connsiteY3"/>
                </a:cxn>
              </a:cxnLst>
              <a:rect l="l" t="t" r="r" b="b"/>
              <a:pathLst>
                <a:path w="3617" h="8707">
                  <a:moveTo>
                    <a:pt x="3618" y="0"/>
                  </a:moveTo>
                  <a:lnTo>
                    <a:pt x="0" y="0"/>
                  </a:lnTo>
                  <a:lnTo>
                    <a:pt x="0" y="8707"/>
                  </a:lnTo>
                  <a:lnTo>
                    <a:pt x="3618" y="0"/>
                  </a:lnTo>
                  <a:close/>
                </a:path>
              </a:pathLst>
            </a:custGeom>
            <a:solidFill>
              <a:srgbClr val="000000"/>
            </a:solidFill>
            <a:ln w="12700" cap="flat">
              <a:noFill/>
              <a:prstDash val="solid"/>
              <a:miter/>
            </a:ln>
          </p:spPr>
          <p:txBody>
            <a:bodyPr rtlCol="0" anchor="ctr"/>
            <a:lstStyle/>
            <a:p>
              <a:endParaRPr lang="en-US"/>
            </a:p>
          </p:txBody>
        </p:sp>
        <p:sp>
          <p:nvSpPr>
            <p:cNvPr id="1179" name="Freeform: Shape 1178">
              <a:extLst>
                <a:ext uri="{FF2B5EF4-FFF2-40B4-BE49-F238E27FC236}">
                  <a16:creationId xmlns:a16="http://schemas.microsoft.com/office/drawing/2014/main" id="{77EB7D47-5763-4694-8E16-AFCA4A213C5D}"/>
                </a:ext>
              </a:extLst>
            </p:cNvPr>
            <p:cNvSpPr/>
            <p:nvPr/>
          </p:nvSpPr>
          <p:spPr>
            <a:xfrm>
              <a:off x="8073486" y="4983811"/>
              <a:ext cx="2679" cy="1186052"/>
            </a:xfrm>
            <a:custGeom>
              <a:avLst/>
              <a:gdLst>
                <a:gd name="connsiteX0" fmla="*/ 1608 w 2679"/>
                <a:gd name="connsiteY0" fmla="*/ 9645 h 1186052"/>
                <a:gd name="connsiteX1" fmla="*/ 1608 w 2679"/>
                <a:gd name="connsiteY1" fmla="*/ 1076342 h 1186052"/>
                <a:gd name="connsiteX2" fmla="*/ 0 w 2679"/>
                <a:gd name="connsiteY2" fmla="*/ 1080763 h 1186052"/>
                <a:gd name="connsiteX3" fmla="*/ 0 w 2679"/>
                <a:gd name="connsiteY3" fmla="*/ 1080763 h 1186052"/>
                <a:gd name="connsiteX4" fmla="*/ 0 w 2679"/>
                <a:gd name="connsiteY4" fmla="*/ 1186053 h 1186052"/>
                <a:gd name="connsiteX5" fmla="*/ 2680 w 2679"/>
                <a:gd name="connsiteY5" fmla="*/ 1186053 h 1186052"/>
                <a:gd name="connsiteX6" fmla="*/ 2680 w 2679"/>
                <a:gd name="connsiteY6" fmla="*/ 0 h 1186052"/>
                <a:gd name="connsiteX7" fmla="*/ 1340 w 2679"/>
                <a:gd name="connsiteY7" fmla="*/ 0 h 1186052"/>
                <a:gd name="connsiteX8" fmla="*/ 0 w 2679"/>
                <a:gd name="connsiteY8" fmla="*/ 0 h 1186052"/>
                <a:gd name="connsiteX9" fmla="*/ 0 w 2679"/>
                <a:gd name="connsiteY9" fmla="*/ 5626 h 1186052"/>
                <a:gd name="connsiteX10" fmla="*/ 1608 w 2679"/>
                <a:gd name="connsiteY10" fmla="*/ 9645 h 118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 h="1186052">
                  <a:moveTo>
                    <a:pt x="1608" y="9645"/>
                  </a:moveTo>
                  <a:lnTo>
                    <a:pt x="1608" y="1076342"/>
                  </a:lnTo>
                  <a:cubicBezTo>
                    <a:pt x="1595" y="1077955"/>
                    <a:pt x="1019" y="1079514"/>
                    <a:pt x="0" y="1080763"/>
                  </a:cubicBezTo>
                  <a:lnTo>
                    <a:pt x="0" y="1080763"/>
                  </a:lnTo>
                  <a:lnTo>
                    <a:pt x="0" y="1186053"/>
                  </a:lnTo>
                  <a:lnTo>
                    <a:pt x="2680" y="1186053"/>
                  </a:lnTo>
                  <a:lnTo>
                    <a:pt x="2680" y="0"/>
                  </a:lnTo>
                  <a:lnTo>
                    <a:pt x="1340" y="0"/>
                  </a:lnTo>
                  <a:lnTo>
                    <a:pt x="0" y="0"/>
                  </a:lnTo>
                  <a:lnTo>
                    <a:pt x="0" y="5626"/>
                  </a:lnTo>
                  <a:cubicBezTo>
                    <a:pt x="938" y="6766"/>
                    <a:pt x="1501" y="8170"/>
                    <a:pt x="1608" y="9645"/>
                  </a:cubicBezTo>
                  <a:close/>
                </a:path>
              </a:pathLst>
            </a:custGeom>
            <a:solidFill>
              <a:srgbClr val="000000"/>
            </a:solidFill>
            <a:ln w="12700" cap="flat">
              <a:noFill/>
              <a:prstDash val="solid"/>
              <a:miter/>
            </a:ln>
          </p:spPr>
          <p:txBody>
            <a:bodyPr rtlCol="0" anchor="ctr"/>
            <a:lstStyle/>
            <a:p>
              <a:endParaRPr lang="en-US"/>
            </a:p>
          </p:txBody>
        </p:sp>
        <p:sp>
          <p:nvSpPr>
            <p:cNvPr id="1180" name="Freeform: Shape 1179">
              <a:extLst>
                <a:ext uri="{FF2B5EF4-FFF2-40B4-BE49-F238E27FC236}">
                  <a16:creationId xmlns:a16="http://schemas.microsoft.com/office/drawing/2014/main" id="{FBDB3BB2-25C9-464A-8DD5-64D6FE007E68}"/>
                </a:ext>
              </a:extLst>
            </p:cNvPr>
            <p:cNvSpPr/>
            <p:nvPr/>
          </p:nvSpPr>
          <p:spPr>
            <a:xfrm>
              <a:off x="8066386" y="6067655"/>
              <a:ext cx="2679" cy="102610"/>
            </a:xfrm>
            <a:custGeom>
              <a:avLst/>
              <a:gdLst>
                <a:gd name="connsiteX0" fmla="*/ 1339 w 2679"/>
                <a:gd name="connsiteY0" fmla="*/ 102209 h 102610"/>
                <a:gd name="connsiteX1" fmla="*/ 2680 w 2679"/>
                <a:gd name="connsiteY1" fmla="*/ 102209 h 102610"/>
                <a:gd name="connsiteX2" fmla="*/ 2680 w 2679"/>
                <a:gd name="connsiteY2" fmla="*/ 0 h 102610"/>
                <a:gd name="connsiteX3" fmla="*/ 1339 w 2679"/>
                <a:gd name="connsiteY3" fmla="*/ 0 h 102610"/>
                <a:gd name="connsiteX4" fmla="*/ 0 w 2679"/>
                <a:gd name="connsiteY4" fmla="*/ 0 h 102610"/>
                <a:gd name="connsiteX5" fmla="*/ 0 w 2679"/>
                <a:gd name="connsiteY5" fmla="*/ 102611 h 10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02610">
                  <a:moveTo>
                    <a:pt x="1339" y="102209"/>
                  </a:moveTo>
                  <a:lnTo>
                    <a:pt x="2680" y="102209"/>
                  </a:lnTo>
                  <a:lnTo>
                    <a:pt x="2680" y="0"/>
                  </a:lnTo>
                  <a:lnTo>
                    <a:pt x="1339" y="0"/>
                  </a:lnTo>
                  <a:lnTo>
                    <a:pt x="0" y="0"/>
                  </a:lnTo>
                  <a:lnTo>
                    <a:pt x="0" y="102611"/>
                  </a:lnTo>
                  <a:close/>
                </a:path>
              </a:pathLst>
            </a:custGeom>
            <a:solidFill>
              <a:srgbClr val="000000"/>
            </a:solidFill>
            <a:ln w="12700" cap="flat">
              <a:noFill/>
              <a:prstDash val="solid"/>
              <a:miter/>
            </a:ln>
          </p:spPr>
          <p:txBody>
            <a:bodyPr rtlCol="0" anchor="ctr"/>
            <a:lstStyle/>
            <a:p>
              <a:endParaRPr lang="en-US"/>
            </a:p>
          </p:txBody>
        </p:sp>
        <p:sp>
          <p:nvSpPr>
            <p:cNvPr id="1181" name="Freeform: Shape 1180">
              <a:extLst>
                <a:ext uri="{FF2B5EF4-FFF2-40B4-BE49-F238E27FC236}">
                  <a16:creationId xmlns:a16="http://schemas.microsoft.com/office/drawing/2014/main" id="{4143C3A5-13AD-4D92-A4B9-66FAE32EF2DC}"/>
                </a:ext>
              </a:extLst>
            </p:cNvPr>
            <p:cNvSpPr/>
            <p:nvPr/>
          </p:nvSpPr>
          <p:spPr>
            <a:xfrm>
              <a:off x="6880819" y="6518687"/>
              <a:ext cx="2679" cy="150"/>
            </a:xfrm>
            <a:custGeom>
              <a:avLst/>
              <a:gdLst>
                <a:gd name="connsiteX0" fmla="*/ 0 w 2679"/>
                <a:gd name="connsiteY0" fmla="*/ 0 h 150"/>
                <a:gd name="connsiteX1" fmla="*/ 1205 w 2679"/>
                <a:gd name="connsiteY1" fmla="*/ 0 h 150"/>
                <a:gd name="connsiteX2" fmla="*/ 2680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1205" y="0"/>
                  </a:lnTo>
                  <a:lnTo>
                    <a:pt x="2680" y="0"/>
                  </a:lnTo>
                  <a:lnTo>
                    <a:pt x="2680" y="0"/>
                  </a:lnTo>
                  <a:cubicBezTo>
                    <a:pt x="1795" y="201"/>
                    <a:pt x="884" y="201"/>
                    <a:pt x="0" y="0"/>
                  </a:cubicBezTo>
                  <a:close/>
                </a:path>
              </a:pathLst>
            </a:custGeom>
            <a:solidFill>
              <a:srgbClr val="000000"/>
            </a:solidFill>
            <a:ln w="12700" cap="flat">
              <a:noFill/>
              <a:prstDash val="solid"/>
              <a:miter/>
            </a:ln>
          </p:spPr>
          <p:txBody>
            <a:bodyPr rtlCol="0" anchor="ctr"/>
            <a:lstStyle/>
            <a:p>
              <a:endParaRPr lang="en-US"/>
            </a:p>
          </p:txBody>
        </p:sp>
        <p:sp>
          <p:nvSpPr>
            <p:cNvPr id="1182" name="Freeform: Shape 1181">
              <a:extLst>
                <a:ext uri="{FF2B5EF4-FFF2-40B4-BE49-F238E27FC236}">
                  <a16:creationId xmlns:a16="http://schemas.microsoft.com/office/drawing/2014/main" id="{A6D2ED2D-D53B-42C8-8559-F0DB2CA6B022}"/>
                </a:ext>
              </a:extLst>
            </p:cNvPr>
            <p:cNvSpPr/>
            <p:nvPr/>
          </p:nvSpPr>
          <p:spPr>
            <a:xfrm>
              <a:off x="6876451" y="6512123"/>
              <a:ext cx="80" cy="1607"/>
            </a:xfrm>
            <a:custGeom>
              <a:avLst/>
              <a:gdLst>
                <a:gd name="connsiteX0" fmla="*/ 80 w 80"/>
                <a:gd name="connsiteY0" fmla="*/ 1608 h 1607"/>
                <a:gd name="connsiteX1" fmla="*/ 80 w 80"/>
                <a:gd name="connsiteY1" fmla="*/ 0 h 1607"/>
                <a:gd name="connsiteX2" fmla="*/ 80 w 80"/>
                <a:gd name="connsiteY2" fmla="*/ 0 h 1607"/>
                <a:gd name="connsiteX3" fmla="*/ 80 w 80"/>
                <a:gd name="connsiteY3" fmla="*/ 1608 h 1607"/>
              </a:gdLst>
              <a:ahLst/>
              <a:cxnLst>
                <a:cxn ang="0">
                  <a:pos x="connsiteX0" y="connsiteY0"/>
                </a:cxn>
                <a:cxn ang="0">
                  <a:pos x="connsiteX1" y="connsiteY1"/>
                </a:cxn>
                <a:cxn ang="0">
                  <a:pos x="connsiteX2" y="connsiteY2"/>
                </a:cxn>
                <a:cxn ang="0">
                  <a:pos x="connsiteX3" y="connsiteY3"/>
                </a:cxn>
              </a:cxnLst>
              <a:rect l="l" t="t" r="r" b="b"/>
              <a:pathLst>
                <a:path w="80" h="1607">
                  <a:moveTo>
                    <a:pt x="80" y="1608"/>
                  </a:moveTo>
                  <a:cubicBezTo>
                    <a:pt x="13" y="1072"/>
                    <a:pt x="13" y="536"/>
                    <a:pt x="80" y="0"/>
                  </a:cubicBezTo>
                  <a:lnTo>
                    <a:pt x="80" y="0"/>
                  </a:lnTo>
                  <a:cubicBezTo>
                    <a:pt x="-27" y="536"/>
                    <a:pt x="-27" y="1072"/>
                    <a:pt x="80" y="1608"/>
                  </a:cubicBezTo>
                  <a:close/>
                </a:path>
              </a:pathLst>
            </a:custGeom>
            <a:solidFill>
              <a:srgbClr val="000000"/>
            </a:solidFill>
            <a:ln w="12700" cap="flat">
              <a:noFill/>
              <a:prstDash val="solid"/>
              <a:miter/>
            </a:ln>
          </p:spPr>
          <p:txBody>
            <a:bodyPr rtlCol="0" anchor="ctr"/>
            <a:lstStyle/>
            <a:p>
              <a:endParaRPr lang="en-US"/>
            </a:p>
          </p:txBody>
        </p:sp>
        <p:sp>
          <p:nvSpPr>
            <p:cNvPr id="1183" name="Freeform: Shape 1182">
              <a:extLst>
                <a:ext uri="{FF2B5EF4-FFF2-40B4-BE49-F238E27FC236}">
                  <a16:creationId xmlns:a16="http://schemas.microsoft.com/office/drawing/2014/main" id="{7E06BC60-55E7-4E39-95A6-3736BBED762D}"/>
                </a:ext>
              </a:extLst>
            </p:cNvPr>
            <p:cNvSpPr/>
            <p:nvPr/>
          </p:nvSpPr>
          <p:spPr>
            <a:xfrm>
              <a:off x="6881890" y="6504220"/>
              <a:ext cx="7369" cy="13395"/>
            </a:xfrm>
            <a:custGeom>
              <a:avLst/>
              <a:gdLst>
                <a:gd name="connsiteX0" fmla="*/ 5225 w 7369"/>
                <a:gd name="connsiteY0" fmla="*/ 0 h 13395"/>
                <a:gd name="connsiteX1" fmla="*/ 1072 w 7369"/>
                <a:gd name="connsiteY1" fmla="*/ 0 h 13395"/>
                <a:gd name="connsiteX2" fmla="*/ 0 w 7369"/>
                <a:gd name="connsiteY2" fmla="*/ 0 h 13395"/>
                <a:gd name="connsiteX3" fmla="*/ 1608 w 7369"/>
                <a:gd name="connsiteY3" fmla="*/ 0 h 13395"/>
                <a:gd name="connsiteX4" fmla="*/ 7369 w 7369"/>
                <a:gd name="connsiteY4" fmla="*/ 0 h 13395"/>
                <a:gd name="connsiteX5" fmla="*/ 5494 w 7369"/>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9" h="13395">
                  <a:moveTo>
                    <a:pt x="5225" y="0"/>
                  </a:moveTo>
                  <a:lnTo>
                    <a:pt x="1072" y="0"/>
                  </a:lnTo>
                  <a:lnTo>
                    <a:pt x="0" y="0"/>
                  </a:lnTo>
                  <a:lnTo>
                    <a:pt x="1608" y="0"/>
                  </a:lnTo>
                  <a:lnTo>
                    <a:pt x="7369" y="0"/>
                  </a:lnTo>
                  <a:lnTo>
                    <a:pt x="5494" y="0"/>
                  </a:lnTo>
                  <a:close/>
                </a:path>
              </a:pathLst>
            </a:custGeom>
            <a:solidFill>
              <a:srgbClr val="000000"/>
            </a:solidFill>
            <a:ln w="12700" cap="flat">
              <a:noFill/>
              <a:prstDash val="solid"/>
              <a:miter/>
            </a:ln>
          </p:spPr>
          <p:txBody>
            <a:bodyPr rtlCol="0" anchor="ctr"/>
            <a:lstStyle/>
            <a:p>
              <a:endParaRPr lang="en-US"/>
            </a:p>
          </p:txBody>
        </p:sp>
        <p:sp>
          <p:nvSpPr>
            <p:cNvPr id="1184" name="Freeform: Shape 1183">
              <a:extLst>
                <a:ext uri="{FF2B5EF4-FFF2-40B4-BE49-F238E27FC236}">
                  <a16:creationId xmlns:a16="http://schemas.microsoft.com/office/drawing/2014/main" id="{AF5E6FDB-0BF9-4E5F-B5C9-939C3D3F34AB}"/>
                </a:ext>
              </a:extLst>
            </p:cNvPr>
            <p:cNvSpPr/>
            <p:nvPr/>
          </p:nvSpPr>
          <p:spPr>
            <a:xfrm>
              <a:off x="6876749" y="6505292"/>
              <a:ext cx="82445" cy="12742"/>
            </a:xfrm>
            <a:custGeom>
              <a:avLst/>
              <a:gdLst>
                <a:gd name="connsiteX0" fmla="*/ 75077 w 82445"/>
                <a:gd name="connsiteY0" fmla="*/ 2813 h 12742"/>
                <a:gd name="connsiteX1" fmla="*/ 75881 w 82445"/>
                <a:gd name="connsiteY1" fmla="*/ 1742 h 12742"/>
                <a:gd name="connsiteX2" fmla="*/ 76953 w 82445"/>
                <a:gd name="connsiteY2" fmla="*/ 804 h 12742"/>
                <a:gd name="connsiteX3" fmla="*/ 78159 w 82445"/>
                <a:gd name="connsiteY3" fmla="*/ 0 h 12742"/>
                <a:gd name="connsiteX4" fmla="*/ 79632 w 82445"/>
                <a:gd name="connsiteY4" fmla="*/ 0 h 12742"/>
                <a:gd name="connsiteX5" fmla="*/ 80704 w 82445"/>
                <a:gd name="connsiteY5" fmla="*/ 0 h 12742"/>
                <a:gd name="connsiteX6" fmla="*/ 80704 w 82445"/>
                <a:gd name="connsiteY6" fmla="*/ 0 h 12742"/>
                <a:gd name="connsiteX7" fmla="*/ 82446 w 82445"/>
                <a:gd name="connsiteY7" fmla="*/ 0 h 12742"/>
                <a:gd name="connsiteX8" fmla="*/ 81241 w 82445"/>
                <a:gd name="connsiteY8" fmla="*/ 0 h 12742"/>
                <a:gd name="connsiteX9" fmla="*/ 6213 w 82445"/>
                <a:gd name="connsiteY9" fmla="*/ 0 h 12742"/>
                <a:gd name="connsiteX10" fmla="*/ 4605 w 82445"/>
                <a:gd name="connsiteY10" fmla="*/ 0 h 12742"/>
                <a:gd name="connsiteX11" fmla="*/ 3132 w 82445"/>
                <a:gd name="connsiteY11" fmla="*/ 0 h 12742"/>
                <a:gd name="connsiteX12" fmla="*/ 2059 w 82445"/>
                <a:gd name="connsiteY12" fmla="*/ 804 h 12742"/>
                <a:gd name="connsiteX13" fmla="*/ 854 w 82445"/>
                <a:gd name="connsiteY13" fmla="*/ 1607 h 12742"/>
                <a:gd name="connsiteX14" fmla="*/ 854 w 82445"/>
                <a:gd name="connsiteY14" fmla="*/ 2813 h 12742"/>
                <a:gd name="connsiteX15" fmla="*/ 50 w 82445"/>
                <a:gd name="connsiteY15" fmla="*/ 4019 h 12742"/>
                <a:gd name="connsiteX16" fmla="*/ 50 w 82445"/>
                <a:gd name="connsiteY16" fmla="*/ 5358 h 12742"/>
                <a:gd name="connsiteX17" fmla="*/ 50 w 82445"/>
                <a:gd name="connsiteY17" fmla="*/ 6564 h 12742"/>
                <a:gd name="connsiteX18" fmla="*/ 50 w 82445"/>
                <a:gd name="connsiteY18" fmla="*/ 6564 h 12742"/>
                <a:gd name="connsiteX19" fmla="*/ 50 w 82445"/>
                <a:gd name="connsiteY19" fmla="*/ 8171 h 12742"/>
                <a:gd name="connsiteX20" fmla="*/ 50 w 82445"/>
                <a:gd name="connsiteY20" fmla="*/ 9377 h 12742"/>
                <a:gd name="connsiteX21" fmla="*/ 854 w 82445"/>
                <a:gd name="connsiteY21" fmla="*/ 10717 h 12742"/>
                <a:gd name="connsiteX22" fmla="*/ 854 w 82445"/>
                <a:gd name="connsiteY22" fmla="*/ 11654 h 12742"/>
                <a:gd name="connsiteX23" fmla="*/ 2462 w 82445"/>
                <a:gd name="connsiteY23" fmla="*/ 12592 h 12742"/>
                <a:gd name="connsiteX24" fmla="*/ 3266 w 82445"/>
                <a:gd name="connsiteY24" fmla="*/ 12592 h 12742"/>
                <a:gd name="connsiteX25" fmla="*/ 5945 w 82445"/>
                <a:gd name="connsiteY25" fmla="*/ 12592 h 12742"/>
                <a:gd name="connsiteX26" fmla="*/ 72933 w 82445"/>
                <a:gd name="connsiteY26" fmla="*/ 12592 h 12742"/>
                <a:gd name="connsiteX27" fmla="*/ 72933 w 82445"/>
                <a:gd name="connsiteY27" fmla="*/ 5358 h 12742"/>
                <a:gd name="connsiteX28" fmla="*/ 72933 w 82445"/>
                <a:gd name="connsiteY28" fmla="*/ 4153 h 12742"/>
                <a:gd name="connsiteX29" fmla="*/ 72933 w 82445"/>
                <a:gd name="connsiteY29" fmla="*/ 2679 h 12742"/>
                <a:gd name="connsiteX30" fmla="*/ 75077 w 82445"/>
                <a:gd name="connsiteY30" fmla="*/ 2813 h 1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2445" h="12742">
                  <a:moveTo>
                    <a:pt x="75077" y="2813"/>
                  </a:moveTo>
                  <a:lnTo>
                    <a:pt x="75881" y="1742"/>
                  </a:lnTo>
                  <a:lnTo>
                    <a:pt x="76953" y="804"/>
                  </a:lnTo>
                  <a:lnTo>
                    <a:pt x="78159" y="0"/>
                  </a:lnTo>
                  <a:lnTo>
                    <a:pt x="79632" y="0"/>
                  </a:lnTo>
                  <a:lnTo>
                    <a:pt x="80704" y="0"/>
                  </a:lnTo>
                  <a:lnTo>
                    <a:pt x="80704" y="0"/>
                  </a:lnTo>
                  <a:lnTo>
                    <a:pt x="82446" y="0"/>
                  </a:lnTo>
                  <a:lnTo>
                    <a:pt x="81241" y="0"/>
                  </a:lnTo>
                  <a:lnTo>
                    <a:pt x="6213" y="0"/>
                  </a:lnTo>
                  <a:lnTo>
                    <a:pt x="4605" y="0"/>
                  </a:lnTo>
                  <a:lnTo>
                    <a:pt x="3132" y="0"/>
                  </a:lnTo>
                  <a:cubicBezTo>
                    <a:pt x="2703" y="147"/>
                    <a:pt x="2328" y="429"/>
                    <a:pt x="2059" y="804"/>
                  </a:cubicBezTo>
                  <a:cubicBezTo>
                    <a:pt x="1631" y="1018"/>
                    <a:pt x="1229" y="1299"/>
                    <a:pt x="854" y="1607"/>
                  </a:cubicBezTo>
                  <a:cubicBezTo>
                    <a:pt x="813" y="2009"/>
                    <a:pt x="813" y="2411"/>
                    <a:pt x="854" y="2813"/>
                  </a:cubicBezTo>
                  <a:cubicBezTo>
                    <a:pt x="559" y="3188"/>
                    <a:pt x="291" y="3590"/>
                    <a:pt x="50" y="4019"/>
                  </a:cubicBezTo>
                  <a:cubicBezTo>
                    <a:pt x="50" y="4019"/>
                    <a:pt x="50" y="4956"/>
                    <a:pt x="50" y="5358"/>
                  </a:cubicBezTo>
                  <a:cubicBezTo>
                    <a:pt x="50" y="5760"/>
                    <a:pt x="50" y="6162"/>
                    <a:pt x="50" y="6564"/>
                  </a:cubicBezTo>
                  <a:lnTo>
                    <a:pt x="50" y="6564"/>
                  </a:lnTo>
                  <a:cubicBezTo>
                    <a:pt x="-17" y="7100"/>
                    <a:pt x="-17" y="7636"/>
                    <a:pt x="50" y="8171"/>
                  </a:cubicBezTo>
                  <a:cubicBezTo>
                    <a:pt x="-4" y="8573"/>
                    <a:pt x="-4" y="8975"/>
                    <a:pt x="50" y="9377"/>
                  </a:cubicBezTo>
                  <a:cubicBezTo>
                    <a:pt x="238" y="9873"/>
                    <a:pt x="506" y="10315"/>
                    <a:pt x="854" y="10717"/>
                  </a:cubicBezTo>
                  <a:lnTo>
                    <a:pt x="854" y="11654"/>
                  </a:lnTo>
                  <a:lnTo>
                    <a:pt x="2462" y="12592"/>
                  </a:lnTo>
                  <a:cubicBezTo>
                    <a:pt x="2462" y="12592"/>
                    <a:pt x="2462" y="12592"/>
                    <a:pt x="3266" y="12592"/>
                  </a:cubicBezTo>
                  <a:cubicBezTo>
                    <a:pt x="4150" y="12793"/>
                    <a:pt x="5061" y="12793"/>
                    <a:pt x="5945" y="12592"/>
                  </a:cubicBezTo>
                  <a:lnTo>
                    <a:pt x="72933" y="12592"/>
                  </a:lnTo>
                  <a:lnTo>
                    <a:pt x="72933" y="5358"/>
                  </a:lnTo>
                  <a:cubicBezTo>
                    <a:pt x="72933" y="5358"/>
                    <a:pt x="72933" y="4554"/>
                    <a:pt x="72933" y="4153"/>
                  </a:cubicBezTo>
                  <a:cubicBezTo>
                    <a:pt x="72933" y="3751"/>
                    <a:pt x="72933" y="3215"/>
                    <a:pt x="72933" y="2679"/>
                  </a:cubicBezTo>
                  <a:cubicBezTo>
                    <a:pt x="73630" y="2867"/>
                    <a:pt x="74354" y="2907"/>
                    <a:pt x="75077" y="2813"/>
                  </a:cubicBezTo>
                  <a:close/>
                </a:path>
              </a:pathLst>
            </a:custGeom>
            <a:solidFill>
              <a:srgbClr val="000000"/>
            </a:solidFill>
            <a:ln w="12700" cap="flat">
              <a:noFill/>
              <a:prstDash val="solid"/>
              <a:miter/>
            </a:ln>
          </p:spPr>
          <p:txBody>
            <a:bodyPr rtlCol="0" anchor="ctr"/>
            <a:lstStyle/>
            <a:p>
              <a:endParaRPr lang="en-US"/>
            </a:p>
          </p:txBody>
        </p:sp>
        <p:sp>
          <p:nvSpPr>
            <p:cNvPr id="1185" name="Freeform: Shape 1184">
              <a:extLst>
                <a:ext uri="{FF2B5EF4-FFF2-40B4-BE49-F238E27FC236}">
                  <a16:creationId xmlns:a16="http://schemas.microsoft.com/office/drawing/2014/main" id="{005435B9-8E76-4B3E-9836-4CE8E2E93E1D}"/>
                </a:ext>
              </a:extLst>
            </p:cNvPr>
            <p:cNvSpPr/>
            <p:nvPr/>
          </p:nvSpPr>
          <p:spPr>
            <a:xfrm>
              <a:off x="6950654" y="6510516"/>
              <a:ext cx="14838" cy="342929"/>
            </a:xfrm>
            <a:custGeom>
              <a:avLst/>
              <a:gdLst>
                <a:gd name="connsiteX0" fmla="*/ 12159 w 14838"/>
                <a:gd name="connsiteY0" fmla="*/ 8439 h 342929"/>
                <a:gd name="connsiteX1" fmla="*/ 11489 w 14838"/>
                <a:gd name="connsiteY1" fmla="*/ 8439 h 342929"/>
                <a:gd name="connsiteX2" fmla="*/ 10283 w 14838"/>
                <a:gd name="connsiteY2" fmla="*/ 8439 h 342929"/>
                <a:gd name="connsiteX3" fmla="*/ 8541 w 14838"/>
                <a:gd name="connsiteY3" fmla="*/ 8439 h 342929"/>
                <a:gd name="connsiteX4" fmla="*/ 7336 w 14838"/>
                <a:gd name="connsiteY4" fmla="*/ 8439 h 342929"/>
                <a:gd name="connsiteX5" fmla="*/ 101 w 14838"/>
                <a:gd name="connsiteY5" fmla="*/ 1742 h 342929"/>
                <a:gd name="connsiteX6" fmla="*/ 101 w 14838"/>
                <a:gd name="connsiteY6" fmla="*/ 0 h 342929"/>
                <a:gd name="connsiteX7" fmla="*/ 101 w 14838"/>
                <a:gd name="connsiteY7" fmla="*/ 1206 h 342929"/>
                <a:gd name="connsiteX8" fmla="*/ 101 w 14838"/>
                <a:gd name="connsiteY8" fmla="*/ 342929 h 342929"/>
                <a:gd name="connsiteX9" fmla="*/ 14839 w 14838"/>
                <a:gd name="connsiteY9" fmla="*/ 342929 h 342929"/>
                <a:gd name="connsiteX10" fmla="*/ 14839 w 14838"/>
                <a:gd name="connsiteY10" fmla="*/ 8037 h 34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38" h="342929">
                  <a:moveTo>
                    <a:pt x="12159" y="8439"/>
                  </a:moveTo>
                  <a:lnTo>
                    <a:pt x="11489" y="8439"/>
                  </a:lnTo>
                  <a:lnTo>
                    <a:pt x="10283" y="8439"/>
                  </a:lnTo>
                  <a:cubicBezTo>
                    <a:pt x="9707" y="8573"/>
                    <a:pt x="9118" y="8573"/>
                    <a:pt x="8541" y="8439"/>
                  </a:cubicBezTo>
                  <a:lnTo>
                    <a:pt x="7336" y="8439"/>
                  </a:lnTo>
                  <a:cubicBezTo>
                    <a:pt x="3544" y="8453"/>
                    <a:pt x="382" y="5533"/>
                    <a:pt x="101" y="1742"/>
                  </a:cubicBezTo>
                  <a:cubicBezTo>
                    <a:pt x="-34" y="1165"/>
                    <a:pt x="-34" y="576"/>
                    <a:pt x="101" y="0"/>
                  </a:cubicBezTo>
                  <a:cubicBezTo>
                    <a:pt x="101" y="0"/>
                    <a:pt x="101" y="0"/>
                    <a:pt x="101" y="1206"/>
                  </a:cubicBezTo>
                  <a:lnTo>
                    <a:pt x="101" y="342929"/>
                  </a:lnTo>
                  <a:lnTo>
                    <a:pt x="14839" y="342929"/>
                  </a:lnTo>
                  <a:lnTo>
                    <a:pt x="14839" y="8037"/>
                  </a:lnTo>
                  <a:close/>
                </a:path>
              </a:pathLst>
            </a:custGeom>
            <a:solidFill>
              <a:srgbClr val="000000"/>
            </a:solidFill>
            <a:ln w="12700" cap="flat">
              <a:noFill/>
              <a:prstDash val="solid"/>
              <a:miter/>
            </a:ln>
          </p:spPr>
          <p:txBody>
            <a:bodyPr rtlCol="0" anchor="ctr"/>
            <a:lstStyle/>
            <a:p>
              <a:endParaRPr lang="en-US"/>
            </a:p>
          </p:txBody>
        </p:sp>
        <p:sp>
          <p:nvSpPr>
            <p:cNvPr id="1186" name="Freeform: Shape 1185">
              <a:extLst>
                <a:ext uri="{FF2B5EF4-FFF2-40B4-BE49-F238E27FC236}">
                  <a16:creationId xmlns:a16="http://schemas.microsoft.com/office/drawing/2014/main" id="{454F520B-A598-4690-BAE7-037BAC778849}"/>
                </a:ext>
              </a:extLst>
            </p:cNvPr>
            <p:cNvSpPr/>
            <p:nvPr/>
          </p:nvSpPr>
          <p:spPr>
            <a:xfrm>
              <a:off x="7611264" y="6510650"/>
              <a:ext cx="460883" cy="2545"/>
            </a:xfrm>
            <a:custGeom>
              <a:avLst/>
              <a:gdLst>
                <a:gd name="connsiteX0" fmla="*/ 460615 w 460883"/>
                <a:gd name="connsiteY0" fmla="*/ 1206 h 2545"/>
                <a:gd name="connsiteX1" fmla="*/ 460615 w 460883"/>
                <a:gd name="connsiteY1" fmla="*/ 0 h 2545"/>
                <a:gd name="connsiteX2" fmla="*/ 0 w 460883"/>
                <a:gd name="connsiteY2" fmla="*/ 0 h 2545"/>
                <a:gd name="connsiteX3" fmla="*/ 0 w 460883"/>
                <a:gd name="connsiteY3" fmla="*/ 938 h 2545"/>
                <a:gd name="connsiteX4" fmla="*/ 0 w 460883"/>
                <a:gd name="connsiteY4" fmla="*/ 2545 h 2545"/>
                <a:gd name="connsiteX5" fmla="*/ 460883 w 460883"/>
                <a:gd name="connsiteY5" fmla="*/ 2545 h 2545"/>
                <a:gd name="connsiteX6" fmla="*/ 460615 w 460883"/>
                <a:gd name="connsiteY6"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83" h="2545">
                  <a:moveTo>
                    <a:pt x="460615" y="1206"/>
                  </a:moveTo>
                  <a:lnTo>
                    <a:pt x="460615" y="0"/>
                  </a:lnTo>
                  <a:lnTo>
                    <a:pt x="0" y="0"/>
                  </a:lnTo>
                  <a:lnTo>
                    <a:pt x="0" y="938"/>
                  </a:lnTo>
                  <a:cubicBezTo>
                    <a:pt x="54" y="1473"/>
                    <a:pt x="54" y="2009"/>
                    <a:pt x="0" y="2545"/>
                  </a:cubicBezTo>
                  <a:lnTo>
                    <a:pt x="460883" y="2545"/>
                  </a:lnTo>
                  <a:cubicBezTo>
                    <a:pt x="460883" y="2545"/>
                    <a:pt x="460615" y="1607"/>
                    <a:pt x="460615" y="1206"/>
                  </a:cubicBezTo>
                  <a:close/>
                </a:path>
              </a:pathLst>
            </a:custGeom>
            <a:solidFill>
              <a:srgbClr val="000000"/>
            </a:solidFill>
            <a:ln w="12700" cap="flat">
              <a:noFill/>
              <a:prstDash val="solid"/>
              <a:miter/>
            </a:ln>
          </p:spPr>
          <p:txBody>
            <a:bodyPr rtlCol="0" anchor="ctr"/>
            <a:lstStyle/>
            <a:p>
              <a:endParaRPr lang="en-US"/>
            </a:p>
          </p:txBody>
        </p:sp>
        <p:sp>
          <p:nvSpPr>
            <p:cNvPr id="1187" name="Freeform: Shape 1186">
              <a:extLst>
                <a:ext uri="{FF2B5EF4-FFF2-40B4-BE49-F238E27FC236}">
                  <a16:creationId xmlns:a16="http://schemas.microsoft.com/office/drawing/2014/main" id="{B4E6CB31-89D2-4B65-B68C-3AD13E71C936}"/>
                </a:ext>
              </a:extLst>
            </p:cNvPr>
            <p:cNvSpPr/>
            <p:nvPr/>
          </p:nvSpPr>
          <p:spPr>
            <a:xfrm>
              <a:off x="8073189" y="6515338"/>
              <a:ext cx="14633" cy="338776"/>
            </a:xfrm>
            <a:custGeom>
              <a:avLst/>
              <a:gdLst>
                <a:gd name="connsiteX0" fmla="*/ 8604 w 14633"/>
                <a:gd name="connsiteY0" fmla="*/ 3617 h 338776"/>
                <a:gd name="connsiteX1" fmla="*/ 6863 w 14633"/>
                <a:gd name="connsiteY1" fmla="*/ 3617 h 338776"/>
                <a:gd name="connsiteX2" fmla="*/ 5657 w 14633"/>
                <a:gd name="connsiteY2" fmla="*/ 3617 h 338776"/>
                <a:gd name="connsiteX3" fmla="*/ 4451 w 14633"/>
                <a:gd name="connsiteY3" fmla="*/ 3617 h 338776"/>
                <a:gd name="connsiteX4" fmla="*/ 2977 w 14633"/>
                <a:gd name="connsiteY4" fmla="*/ 3617 h 338776"/>
                <a:gd name="connsiteX5" fmla="*/ 1905 w 14633"/>
                <a:gd name="connsiteY5" fmla="*/ 2813 h 338776"/>
                <a:gd name="connsiteX6" fmla="*/ 834 w 14633"/>
                <a:gd name="connsiteY6" fmla="*/ 2009 h 338776"/>
                <a:gd name="connsiteX7" fmla="*/ 30 w 14633"/>
                <a:gd name="connsiteY7" fmla="*/ 804 h 338776"/>
                <a:gd name="connsiteX8" fmla="*/ 30 w 14633"/>
                <a:gd name="connsiteY8" fmla="*/ 0 h 338776"/>
                <a:gd name="connsiteX9" fmla="*/ 30 w 14633"/>
                <a:gd name="connsiteY9" fmla="*/ 338777 h 338776"/>
                <a:gd name="connsiteX10" fmla="*/ 14633 w 14633"/>
                <a:gd name="connsiteY10" fmla="*/ 338777 h 338776"/>
                <a:gd name="connsiteX11" fmla="*/ 14633 w 14633"/>
                <a:gd name="connsiteY11" fmla="*/ 3885 h 33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3" h="338776">
                  <a:moveTo>
                    <a:pt x="8604" y="3617"/>
                  </a:moveTo>
                  <a:lnTo>
                    <a:pt x="6863" y="3617"/>
                  </a:lnTo>
                  <a:lnTo>
                    <a:pt x="5657" y="3617"/>
                  </a:lnTo>
                  <a:lnTo>
                    <a:pt x="4451" y="3617"/>
                  </a:lnTo>
                  <a:lnTo>
                    <a:pt x="2977" y="3617"/>
                  </a:lnTo>
                  <a:lnTo>
                    <a:pt x="1905" y="2813"/>
                  </a:lnTo>
                  <a:lnTo>
                    <a:pt x="834" y="2009"/>
                  </a:lnTo>
                  <a:cubicBezTo>
                    <a:pt x="526" y="1634"/>
                    <a:pt x="244" y="1232"/>
                    <a:pt x="30" y="804"/>
                  </a:cubicBezTo>
                  <a:cubicBezTo>
                    <a:pt x="-10" y="536"/>
                    <a:pt x="-10" y="268"/>
                    <a:pt x="30" y="0"/>
                  </a:cubicBezTo>
                  <a:lnTo>
                    <a:pt x="30" y="338777"/>
                  </a:lnTo>
                  <a:lnTo>
                    <a:pt x="14633" y="338777"/>
                  </a:lnTo>
                  <a:lnTo>
                    <a:pt x="14633" y="3885"/>
                  </a:lnTo>
                  <a:close/>
                </a:path>
              </a:pathLst>
            </a:custGeom>
            <a:solidFill>
              <a:srgbClr val="000000"/>
            </a:solidFill>
            <a:ln w="12700" cap="flat">
              <a:noFill/>
              <a:prstDash val="solid"/>
              <a:miter/>
            </a:ln>
          </p:spPr>
          <p:txBody>
            <a:bodyPr rtlCol="0" anchor="ctr"/>
            <a:lstStyle/>
            <a:p>
              <a:endParaRPr lang="en-US"/>
            </a:p>
          </p:txBody>
        </p:sp>
        <p:sp>
          <p:nvSpPr>
            <p:cNvPr id="1188" name="Freeform: Shape 1187">
              <a:extLst>
                <a:ext uri="{FF2B5EF4-FFF2-40B4-BE49-F238E27FC236}">
                  <a16:creationId xmlns:a16="http://schemas.microsoft.com/office/drawing/2014/main" id="{2B12F2D9-6D93-4C2D-9C28-F1734418CD10}"/>
                </a:ext>
              </a:extLst>
            </p:cNvPr>
            <p:cNvSpPr/>
            <p:nvPr/>
          </p:nvSpPr>
          <p:spPr>
            <a:xfrm>
              <a:off x="6959731" y="6503818"/>
              <a:ext cx="7770" cy="2009"/>
            </a:xfrm>
            <a:custGeom>
              <a:avLst/>
              <a:gdLst>
                <a:gd name="connsiteX0" fmla="*/ 0 w 7770"/>
                <a:gd name="connsiteY0" fmla="*/ 938 h 2009"/>
                <a:gd name="connsiteX1" fmla="*/ 2948 w 7770"/>
                <a:gd name="connsiteY1" fmla="*/ 2009 h 2009"/>
                <a:gd name="connsiteX2" fmla="*/ 7771 w 7770"/>
                <a:gd name="connsiteY2" fmla="*/ 0 h 2009"/>
                <a:gd name="connsiteX3" fmla="*/ 7771 w 7770"/>
                <a:gd name="connsiteY3" fmla="*/ 0 h 2009"/>
                <a:gd name="connsiteX4" fmla="*/ 2412 w 7770"/>
                <a:gd name="connsiteY4" fmla="*/ 0 h 2009"/>
                <a:gd name="connsiteX5" fmla="*/ 2412 w 7770"/>
                <a:gd name="connsiteY5" fmla="*/ 0 h 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0" h="2009">
                  <a:moveTo>
                    <a:pt x="0" y="938"/>
                  </a:moveTo>
                  <a:cubicBezTo>
                    <a:pt x="1045" y="1085"/>
                    <a:pt x="2050" y="1460"/>
                    <a:pt x="2948" y="2009"/>
                  </a:cubicBezTo>
                  <a:cubicBezTo>
                    <a:pt x="4261" y="777"/>
                    <a:pt x="5976" y="67"/>
                    <a:pt x="7771" y="0"/>
                  </a:cubicBezTo>
                  <a:lnTo>
                    <a:pt x="7771" y="0"/>
                  </a:lnTo>
                  <a:lnTo>
                    <a:pt x="2412" y="0"/>
                  </a:lnTo>
                  <a:lnTo>
                    <a:pt x="2412" y="0"/>
                  </a:lnTo>
                  <a:close/>
                </a:path>
              </a:pathLst>
            </a:custGeom>
            <a:solidFill>
              <a:srgbClr val="000000"/>
            </a:solidFill>
            <a:ln w="12700" cap="flat">
              <a:noFill/>
              <a:prstDash val="solid"/>
              <a:miter/>
            </a:ln>
          </p:spPr>
          <p:txBody>
            <a:bodyPr rtlCol="0" anchor="ctr"/>
            <a:lstStyle/>
            <a:p>
              <a:endParaRPr lang="en-US"/>
            </a:p>
          </p:txBody>
        </p:sp>
        <p:sp>
          <p:nvSpPr>
            <p:cNvPr id="1189" name="Freeform: Shape 1188">
              <a:extLst>
                <a:ext uri="{FF2B5EF4-FFF2-40B4-BE49-F238E27FC236}">
                  <a16:creationId xmlns:a16="http://schemas.microsoft.com/office/drawing/2014/main" id="{C68151EC-35A6-48D0-A665-866560E4CA51}"/>
                </a:ext>
              </a:extLst>
            </p:cNvPr>
            <p:cNvSpPr/>
            <p:nvPr/>
          </p:nvSpPr>
          <p:spPr>
            <a:xfrm>
              <a:off x="6960937" y="6517080"/>
              <a:ext cx="7234" cy="1607"/>
            </a:xfrm>
            <a:custGeom>
              <a:avLst/>
              <a:gdLst>
                <a:gd name="connsiteX0" fmla="*/ 2814 w 7234"/>
                <a:gd name="connsiteY0" fmla="*/ 0 h 1607"/>
                <a:gd name="connsiteX1" fmla="*/ 0 w 7234"/>
                <a:gd name="connsiteY1" fmla="*/ 1607 h 1607"/>
                <a:gd name="connsiteX2" fmla="*/ 1206 w 7234"/>
                <a:gd name="connsiteY2" fmla="*/ 1607 h 1607"/>
                <a:gd name="connsiteX3" fmla="*/ 1876 w 7234"/>
                <a:gd name="connsiteY3" fmla="*/ 1607 h 1607"/>
                <a:gd name="connsiteX4" fmla="*/ 4421 w 7234"/>
                <a:gd name="connsiteY4" fmla="*/ 1607 h 1607"/>
                <a:gd name="connsiteX5" fmla="*/ 7234 w 7234"/>
                <a:gd name="connsiteY5" fmla="*/ 1607 h 1607"/>
                <a:gd name="connsiteX6" fmla="*/ 7234 w 7234"/>
                <a:gd name="connsiteY6" fmla="*/ 1607 h 1607"/>
                <a:gd name="connsiteX7" fmla="*/ 2814 w 7234"/>
                <a:gd name="connsiteY7" fmla="*/ 0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4" h="1607">
                  <a:moveTo>
                    <a:pt x="2814" y="0"/>
                  </a:moveTo>
                  <a:cubicBezTo>
                    <a:pt x="1969" y="697"/>
                    <a:pt x="1018" y="1232"/>
                    <a:pt x="0" y="1607"/>
                  </a:cubicBezTo>
                  <a:lnTo>
                    <a:pt x="1206" y="1607"/>
                  </a:lnTo>
                  <a:lnTo>
                    <a:pt x="1876" y="1607"/>
                  </a:lnTo>
                  <a:lnTo>
                    <a:pt x="4421" y="1607"/>
                  </a:lnTo>
                  <a:lnTo>
                    <a:pt x="7234" y="1607"/>
                  </a:lnTo>
                  <a:lnTo>
                    <a:pt x="7234" y="1607"/>
                  </a:lnTo>
                  <a:cubicBezTo>
                    <a:pt x="5614" y="1607"/>
                    <a:pt x="4046" y="1045"/>
                    <a:pt x="2814" y="0"/>
                  </a:cubicBezTo>
                  <a:close/>
                </a:path>
              </a:pathLst>
            </a:custGeom>
            <a:solidFill>
              <a:srgbClr val="000000"/>
            </a:solidFill>
            <a:ln w="12700" cap="flat">
              <a:noFill/>
              <a:prstDash val="solid"/>
              <a:miter/>
            </a:ln>
          </p:spPr>
          <p:txBody>
            <a:bodyPr rtlCol="0" anchor="ctr"/>
            <a:lstStyle/>
            <a:p>
              <a:endParaRPr lang="en-US"/>
            </a:p>
          </p:txBody>
        </p:sp>
        <p:sp>
          <p:nvSpPr>
            <p:cNvPr id="1190" name="Freeform: Shape 1189">
              <a:extLst>
                <a:ext uri="{FF2B5EF4-FFF2-40B4-BE49-F238E27FC236}">
                  <a16:creationId xmlns:a16="http://schemas.microsoft.com/office/drawing/2014/main" id="{2B943786-B0C7-4D4A-84D9-F09C73F23D6A}"/>
                </a:ext>
              </a:extLst>
            </p:cNvPr>
            <p:cNvSpPr/>
            <p:nvPr/>
          </p:nvSpPr>
          <p:spPr>
            <a:xfrm>
              <a:off x="6952262" y="6504756"/>
              <a:ext cx="13096" cy="14031"/>
            </a:xfrm>
            <a:custGeom>
              <a:avLst/>
              <a:gdLst>
                <a:gd name="connsiteX0" fmla="*/ 8140 w 13096"/>
                <a:gd name="connsiteY0" fmla="*/ 6296 h 14031"/>
                <a:gd name="connsiteX1" fmla="*/ 10417 w 13096"/>
                <a:gd name="connsiteY1" fmla="*/ 1072 h 14031"/>
                <a:gd name="connsiteX2" fmla="*/ 7469 w 13096"/>
                <a:gd name="connsiteY2" fmla="*/ 0 h 14031"/>
                <a:gd name="connsiteX3" fmla="*/ 7469 w 13096"/>
                <a:gd name="connsiteY3" fmla="*/ 0 h 14031"/>
                <a:gd name="connsiteX4" fmla="*/ 5728 w 13096"/>
                <a:gd name="connsiteY4" fmla="*/ 0 h 14031"/>
                <a:gd name="connsiteX5" fmla="*/ 5728 w 13096"/>
                <a:gd name="connsiteY5" fmla="*/ 0 h 14031"/>
                <a:gd name="connsiteX6" fmla="*/ 4656 w 13096"/>
                <a:gd name="connsiteY6" fmla="*/ 0 h 14031"/>
                <a:gd name="connsiteX7" fmla="*/ 3183 w 13096"/>
                <a:gd name="connsiteY7" fmla="*/ 0 h 14031"/>
                <a:gd name="connsiteX8" fmla="*/ 1976 w 13096"/>
                <a:gd name="connsiteY8" fmla="*/ 804 h 14031"/>
                <a:gd name="connsiteX9" fmla="*/ 904 w 13096"/>
                <a:gd name="connsiteY9" fmla="*/ 1741 h 14031"/>
                <a:gd name="connsiteX10" fmla="*/ 101 w 13096"/>
                <a:gd name="connsiteY10" fmla="*/ 2813 h 14031"/>
                <a:gd name="connsiteX11" fmla="*/ 101 w 13096"/>
                <a:gd name="connsiteY11" fmla="*/ 4019 h 14031"/>
                <a:gd name="connsiteX12" fmla="*/ 101 w 13096"/>
                <a:gd name="connsiteY12" fmla="*/ 5492 h 14031"/>
                <a:gd name="connsiteX13" fmla="*/ 101 w 13096"/>
                <a:gd name="connsiteY13" fmla="*/ 7234 h 14031"/>
                <a:gd name="connsiteX14" fmla="*/ 7336 w 13096"/>
                <a:gd name="connsiteY14" fmla="*/ 13931 h 14031"/>
                <a:gd name="connsiteX15" fmla="*/ 8541 w 13096"/>
                <a:gd name="connsiteY15" fmla="*/ 13931 h 14031"/>
                <a:gd name="connsiteX16" fmla="*/ 10283 w 13096"/>
                <a:gd name="connsiteY16" fmla="*/ 13931 h 14031"/>
                <a:gd name="connsiteX17" fmla="*/ 13097 w 13096"/>
                <a:gd name="connsiteY17" fmla="*/ 12324 h 14031"/>
                <a:gd name="connsiteX18" fmla="*/ 8140 w 13096"/>
                <a:gd name="connsiteY18" fmla="*/ 6296 h 1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96" h="14031">
                  <a:moveTo>
                    <a:pt x="8140" y="6296"/>
                  </a:moveTo>
                  <a:cubicBezTo>
                    <a:pt x="8180" y="4327"/>
                    <a:pt x="8997" y="2451"/>
                    <a:pt x="10417" y="1072"/>
                  </a:cubicBezTo>
                  <a:cubicBezTo>
                    <a:pt x="9519" y="522"/>
                    <a:pt x="8514" y="147"/>
                    <a:pt x="7469" y="0"/>
                  </a:cubicBezTo>
                  <a:lnTo>
                    <a:pt x="7469" y="0"/>
                  </a:lnTo>
                  <a:lnTo>
                    <a:pt x="5728" y="0"/>
                  </a:lnTo>
                  <a:lnTo>
                    <a:pt x="5728" y="0"/>
                  </a:lnTo>
                  <a:lnTo>
                    <a:pt x="4656" y="0"/>
                  </a:lnTo>
                  <a:lnTo>
                    <a:pt x="3183" y="0"/>
                  </a:lnTo>
                  <a:lnTo>
                    <a:pt x="1976" y="804"/>
                  </a:lnTo>
                  <a:lnTo>
                    <a:pt x="904" y="1741"/>
                  </a:lnTo>
                  <a:lnTo>
                    <a:pt x="101" y="2813"/>
                  </a:lnTo>
                  <a:cubicBezTo>
                    <a:pt x="141" y="3215"/>
                    <a:pt x="141" y="3617"/>
                    <a:pt x="101" y="4019"/>
                  </a:cubicBezTo>
                  <a:cubicBezTo>
                    <a:pt x="101" y="4019"/>
                    <a:pt x="101" y="4956"/>
                    <a:pt x="101" y="5492"/>
                  </a:cubicBezTo>
                  <a:cubicBezTo>
                    <a:pt x="-34" y="6068"/>
                    <a:pt x="-34" y="6658"/>
                    <a:pt x="101" y="7234"/>
                  </a:cubicBezTo>
                  <a:cubicBezTo>
                    <a:pt x="382" y="11025"/>
                    <a:pt x="3544" y="13945"/>
                    <a:pt x="7336" y="13931"/>
                  </a:cubicBezTo>
                  <a:lnTo>
                    <a:pt x="8541" y="13931"/>
                  </a:lnTo>
                  <a:cubicBezTo>
                    <a:pt x="9118" y="14065"/>
                    <a:pt x="9707" y="14065"/>
                    <a:pt x="10283" y="13931"/>
                  </a:cubicBezTo>
                  <a:cubicBezTo>
                    <a:pt x="11301" y="13556"/>
                    <a:pt x="12253" y="13021"/>
                    <a:pt x="13097" y="12324"/>
                  </a:cubicBezTo>
                  <a:cubicBezTo>
                    <a:pt x="10404" y="11453"/>
                    <a:pt x="8474" y="9096"/>
                    <a:pt x="8140" y="6296"/>
                  </a:cubicBezTo>
                  <a:close/>
                </a:path>
              </a:pathLst>
            </a:custGeom>
            <a:solidFill>
              <a:srgbClr val="000000"/>
            </a:solidFill>
            <a:ln w="12700" cap="flat">
              <a:noFill/>
              <a:prstDash val="solid"/>
              <a:miter/>
            </a:ln>
          </p:spPr>
          <p:txBody>
            <a:bodyPr rtlCol="0" anchor="ctr"/>
            <a:lstStyle/>
            <a:p>
              <a:endParaRPr lang="en-US"/>
            </a:p>
          </p:txBody>
        </p:sp>
        <p:sp>
          <p:nvSpPr>
            <p:cNvPr id="1191" name="Freeform: Shape 1190">
              <a:extLst>
                <a:ext uri="{FF2B5EF4-FFF2-40B4-BE49-F238E27FC236}">
                  <a16:creationId xmlns:a16="http://schemas.microsoft.com/office/drawing/2014/main" id="{DCA386DE-87A1-4125-8D02-09C3EAB2B4C9}"/>
                </a:ext>
              </a:extLst>
            </p:cNvPr>
            <p:cNvSpPr/>
            <p:nvPr/>
          </p:nvSpPr>
          <p:spPr>
            <a:xfrm>
              <a:off x="8072147" y="6513061"/>
              <a:ext cx="13397" cy="1547"/>
            </a:xfrm>
            <a:custGeom>
              <a:avLst/>
              <a:gdLst>
                <a:gd name="connsiteX0" fmla="*/ 0 w 13397"/>
                <a:gd name="connsiteY0" fmla="*/ 134 h 1547"/>
                <a:gd name="connsiteX1" fmla="*/ 0 w 13397"/>
                <a:gd name="connsiteY1" fmla="*/ 1474 h 1547"/>
                <a:gd name="connsiteX2" fmla="*/ 0 w 13397"/>
                <a:gd name="connsiteY2" fmla="*/ 0 h 1547"/>
              </a:gdLst>
              <a:ahLst/>
              <a:cxnLst>
                <a:cxn ang="0">
                  <a:pos x="connsiteX0" y="connsiteY0"/>
                </a:cxn>
                <a:cxn ang="0">
                  <a:pos x="connsiteX1" y="connsiteY1"/>
                </a:cxn>
                <a:cxn ang="0">
                  <a:pos x="connsiteX2" y="connsiteY2"/>
                </a:cxn>
              </a:cxnLst>
              <a:rect l="l" t="t" r="r" b="b"/>
              <a:pathLst>
                <a:path w="13397" h="1547">
                  <a:moveTo>
                    <a:pt x="0" y="134"/>
                  </a:moveTo>
                  <a:cubicBezTo>
                    <a:pt x="0" y="134"/>
                    <a:pt x="0" y="1072"/>
                    <a:pt x="0" y="1474"/>
                  </a:cubicBezTo>
                  <a:cubicBezTo>
                    <a:pt x="0" y="1875"/>
                    <a:pt x="0" y="536"/>
                    <a:pt x="0" y="0"/>
                  </a:cubicBezTo>
                  <a:close/>
                </a:path>
              </a:pathLst>
            </a:custGeom>
            <a:solidFill>
              <a:srgbClr val="000000"/>
            </a:solidFill>
            <a:ln w="12700" cap="flat">
              <a:noFill/>
              <a:prstDash val="solid"/>
              <a:miter/>
            </a:ln>
          </p:spPr>
          <p:txBody>
            <a:bodyPr rtlCol="0" anchor="ctr"/>
            <a:lstStyle/>
            <a:p>
              <a:endParaRPr lang="en-US"/>
            </a:p>
          </p:txBody>
        </p:sp>
        <p:sp>
          <p:nvSpPr>
            <p:cNvPr id="1192" name="Freeform: Shape 1191">
              <a:extLst>
                <a:ext uri="{FF2B5EF4-FFF2-40B4-BE49-F238E27FC236}">
                  <a16:creationId xmlns:a16="http://schemas.microsoft.com/office/drawing/2014/main" id="{4781F592-7762-409E-98E3-FFEEBFCCCDA2}"/>
                </a:ext>
              </a:extLst>
            </p:cNvPr>
            <p:cNvSpPr/>
            <p:nvPr/>
          </p:nvSpPr>
          <p:spPr>
            <a:xfrm>
              <a:off x="8077238" y="6519223"/>
              <a:ext cx="4153" cy="13395"/>
            </a:xfrm>
            <a:custGeom>
              <a:avLst/>
              <a:gdLst>
                <a:gd name="connsiteX0" fmla="*/ 1608 w 4153"/>
                <a:gd name="connsiteY0" fmla="*/ 0 h 13395"/>
                <a:gd name="connsiteX1" fmla="*/ 0 w 4153"/>
                <a:gd name="connsiteY1" fmla="*/ 0 h 13395"/>
                <a:gd name="connsiteX2" fmla="*/ 1205 w 4153"/>
                <a:gd name="connsiteY2" fmla="*/ 0 h 13395"/>
                <a:gd name="connsiteX3" fmla="*/ 2411 w 4153"/>
                <a:gd name="connsiteY3" fmla="*/ 0 h 13395"/>
                <a:gd name="connsiteX4" fmla="*/ 4153 w 4153"/>
                <a:gd name="connsiteY4" fmla="*/ 0 h 13395"/>
                <a:gd name="connsiteX5" fmla="*/ 3215 w 415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 h="13395">
                  <a:moveTo>
                    <a:pt x="1608" y="0"/>
                  </a:moveTo>
                  <a:lnTo>
                    <a:pt x="0" y="0"/>
                  </a:lnTo>
                  <a:lnTo>
                    <a:pt x="1205" y="0"/>
                  </a:lnTo>
                  <a:lnTo>
                    <a:pt x="2411" y="0"/>
                  </a:lnTo>
                  <a:lnTo>
                    <a:pt x="4153" y="0"/>
                  </a:lnTo>
                  <a:lnTo>
                    <a:pt x="3215" y="0"/>
                  </a:lnTo>
                  <a:close/>
                </a:path>
              </a:pathLst>
            </a:custGeom>
            <a:solidFill>
              <a:srgbClr val="000000"/>
            </a:solidFill>
            <a:ln w="12700" cap="flat">
              <a:noFill/>
              <a:prstDash val="solid"/>
              <a:miter/>
            </a:ln>
          </p:spPr>
          <p:txBody>
            <a:bodyPr rtlCol="0" anchor="ctr"/>
            <a:lstStyle/>
            <a:p>
              <a:endParaRPr lang="en-US"/>
            </a:p>
          </p:txBody>
        </p:sp>
        <p:sp>
          <p:nvSpPr>
            <p:cNvPr id="1193" name="Freeform: Shape 1192">
              <a:extLst>
                <a:ext uri="{FF2B5EF4-FFF2-40B4-BE49-F238E27FC236}">
                  <a16:creationId xmlns:a16="http://schemas.microsoft.com/office/drawing/2014/main" id="{4D34D9DA-CEFB-4186-9914-EFF213B03264}"/>
                </a:ext>
              </a:extLst>
            </p:cNvPr>
            <p:cNvSpPr/>
            <p:nvPr/>
          </p:nvSpPr>
          <p:spPr>
            <a:xfrm>
              <a:off x="6193380" y="6583790"/>
              <a:ext cx="14739" cy="269922"/>
            </a:xfrm>
            <a:custGeom>
              <a:avLst/>
              <a:gdLst>
                <a:gd name="connsiteX0" fmla="*/ 7369 w 14739"/>
                <a:gd name="connsiteY0" fmla="*/ 7368 h 269922"/>
                <a:gd name="connsiteX1" fmla="*/ 0 w 14739"/>
                <a:gd name="connsiteY1" fmla="*/ 7368 h 269922"/>
                <a:gd name="connsiteX2" fmla="*/ 0 w 14739"/>
                <a:gd name="connsiteY2" fmla="*/ 269923 h 269922"/>
                <a:gd name="connsiteX3" fmla="*/ 14738 w 14739"/>
                <a:gd name="connsiteY3" fmla="*/ 269923 h 269922"/>
                <a:gd name="connsiteX4" fmla="*/ 14738 w 14739"/>
                <a:gd name="connsiteY4" fmla="*/ 0 h 269922"/>
                <a:gd name="connsiteX5" fmla="*/ 7637 w 14739"/>
                <a:gd name="connsiteY5" fmla="*/ 7368 h 269922"/>
                <a:gd name="connsiteX6" fmla="*/ 7369 w 14739"/>
                <a:gd name="connsiteY6" fmla="*/ 7368 h 26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9" h="269922">
                  <a:moveTo>
                    <a:pt x="7369" y="7368"/>
                  </a:moveTo>
                  <a:lnTo>
                    <a:pt x="0" y="7368"/>
                  </a:lnTo>
                  <a:lnTo>
                    <a:pt x="0" y="269923"/>
                  </a:lnTo>
                  <a:lnTo>
                    <a:pt x="14738" y="269923"/>
                  </a:lnTo>
                  <a:lnTo>
                    <a:pt x="14738" y="0"/>
                  </a:lnTo>
                  <a:cubicBezTo>
                    <a:pt x="14818" y="3992"/>
                    <a:pt x="11629" y="7287"/>
                    <a:pt x="7637" y="7368"/>
                  </a:cubicBezTo>
                  <a:cubicBezTo>
                    <a:pt x="7543" y="7368"/>
                    <a:pt x="7463" y="7368"/>
                    <a:pt x="7369" y="7368"/>
                  </a:cubicBezTo>
                  <a:close/>
                </a:path>
              </a:pathLst>
            </a:custGeom>
            <a:solidFill>
              <a:srgbClr val="000000"/>
            </a:solidFill>
            <a:ln w="12700" cap="flat">
              <a:noFill/>
              <a:prstDash val="solid"/>
              <a:miter/>
            </a:ln>
          </p:spPr>
          <p:txBody>
            <a:bodyPr rtlCol="0" anchor="ctr"/>
            <a:lstStyle/>
            <a:p>
              <a:endParaRPr lang="en-US"/>
            </a:p>
          </p:txBody>
        </p:sp>
        <p:sp>
          <p:nvSpPr>
            <p:cNvPr id="1194" name="Freeform: Shape 1193">
              <a:extLst>
                <a:ext uri="{FF2B5EF4-FFF2-40B4-BE49-F238E27FC236}">
                  <a16:creationId xmlns:a16="http://schemas.microsoft.com/office/drawing/2014/main" id="{AE03E299-FABA-4F1D-A55B-640920902E46}"/>
                </a:ext>
              </a:extLst>
            </p:cNvPr>
            <p:cNvSpPr/>
            <p:nvPr/>
          </p:nvSpPr>
          <p:spPr>
            <a:xfrm>
              <a:off x="5837803" y="6576690"/>
              <a:ext cx="369676" cy="14767"/>
            </a:xfrm>
            <a:custGeom>
              <a:avLst/>
              <a:gdLst>
                <a:gd name="connsiteX0" fmla="*/ 361739 w 369676"/>
                <a:gd name="connsiteY0" fmla="*/ 0 h 14767"/>
                <a:gd name="connsiteX1" fmla="*/ 0 w 369676"/>
                <a:gd name="connsiteY1" fmla="*/ 0 h 14767"/>
                <a:gd name="connsiteX2" fmla="*/ 7369 w 369676"/>
                <a:gd name="connsiteY2" fmla="*/ 7368 h 14767"/>
                <a:gd name="connsiteX3" fmla="*/ 268 w 369676"/>
                <a:gd name="connsiteY3" fmla="*/ 14735 h 14767"/>
                <a:gd name="connsiteX4" fmla="*/ 0 w 369676"/>
                <a:gd name="connsiteY4" fmla="*/ 14735 h 14767"/>
                <a:gd name="connsiteX5" fmla="*/ 361739 w 369676"/>
                <a:gd name="connsiteY5" fmla="*/ 14735 h 14767"/>
                <a:gd name="connsiteX6" fmla="*/ 369644 w 369676"/>
                <a:gd name="connsiteY6" fmla="*/ 8171 h 14767"/>
                <a:gd name="connsiteX7" fmla="*/ 363079 w 369676"/>
                <a:gd name="connsiteY7" fmla="*/ 268 h 14767"/>
                <a:gd name="connsiteX8" fmla="*/ 361739 w 369676"/>
                <a:gd name="connsiteY8" fmla="*/ 268 h 1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676" h="14767">
                  <a:moveTo>
                    <a:pt x="361739" y="0"/>
                  </a:moveTo>
                  <a:lnTo>
                    <a:pt x="0" y="0"/>
                  </a:lnTo>
                  <a:cubicBezTo>
                    <a:pt x="4073" y="0"/>
                    <a:pt x="7369" y="3295"/>
                    <a:pt x="7369" y="7368"/>
                  </a:cubicBezTo>
                  <a:cubicBezTo>
                    <a:pt x="7449" y="11360"/>
                    <a:pt x="4260" y="14655"/>
                    <a:pt x="268" y="14735"/>
                  </a:cubicBezTo>
                  <a:cubicBezTo>
                    <a:pt x="174" y="14735"/>
                    <a:pt x="94" y="14735"/>
                    <a:pt x="0" y="14735"/>
                  </a:cubicBezTo>
                  <a:lnTo>
                    <a:pt x="361739" y="14735"/>
                  </a:lnTo>
                  <a:cubicBezTo>
                    <a:pt x="365732" y="15110"/>
                    <a:pt x="369269" y="12163"/>
                    <a:pt x="369644" y="8171"/>
                  </a:cubicBezTo>
                  <a:cubicBezTo>
                    <a:pt x="370019" y="4179"/>
                    <a:pt x="367071" y="643"/>
                    <a:pt x="363079" y="268"/>
                  </a:cubicBezTo>
                  <a:lnTo>
                    <a:pt x="361739" y="268"/>
                  </a:lnTo>
                  <a:close/>
                </a:path>
              </a:pathLst>
            </a:custGeom>
            <a:solidFill>
              <a:srgbClr val="000000"/>
            </a:solidFill>
            <a:ln w="12700" cap="flat">
              <a:noFill/>
              <a:prstDash val="solid"/>
              <a:miter/>
            </a:ln>
          </p:spPr>
          <p:txBody>
            <a:bodyPr rtlCol="0" anchor="ctr"/>
            <a:lstStyle/>
            <a:p>
              <a:endParaRPr lang="en-US"/>
            </a:p>
          </p:txBody>
        </p:sp>
        <p:sp>
          <p:nvSpPr>
            <p:cNvPr id="1195" name="Freeform: Shape 1194">
              <a:extLst>
                <a:ext uri="{FF2B5EF4-FFF2-40B4-BE49-F238E27FC236}">
                  <a16:creationId xmlns:a16="http://schemas.microsoft.com/office/drawing/2014/main" id="{4336B1D2-B181-4EB7-9F82-69AE59F68F41}"/>
                </a:ext>
              </a:extLst>
            </p:cNvPr>
            <p:cNvSpPr/>
            <p:nvPr/>
          </p:nvSpPr>
          <p:spPr>
            <a:xfrm>
              <a:off x="5803639" y="6576422"/>
              <a:ext cx="42202" cy="14736"/>
            </a:xfrm>
            <a:custGeom>
              <a:avLst/>
              <a:gdLst>
                <a:gd name="connsiteX0" fmla="*/ 0 w 42202"/>
                <a:gd name="connsiteY0" fmla="*/ 4153 h 14736"/>
                <a:gd name="connsiteX1" fmla="*/ 0 w 42202"/>
                <a:gd name="connsiteY1" fmla="*/ 14735 h 14736"/>
                <a:gd name="connsiteX2" fmla="*/ 34834 w 42202"/>
                <a:gd name="connsiteY2" fmla="*/ 14735 h 14736"/>
                <a:gd name="connsiteX3" fmla="*/ 42203 w 42202"/>
                <a:gd name="connsiteY3" fmla="*/ 7636 h 14736"/>
                <a:gd name="connsiteX4" fmla="*/ 42203 w 42202"/>
                <a:gd name="connsiteY4" fmla="*/ 7368 h 14736"/>
                <a:gd name="connsiteX5" fmla="*/ 34834 w 42202"/>
                <a:gd name="connsiteY5" fmla="*/ 0 h 14736"/>
                <a:gd name="connsiteX6" fmla="*/ 0 w 42202"/>
                <a:gd name="connsiteY6" fmla="*/ 0 h 14736"/>
                <a:gd name="connsiteX7" fmla="*/ 0 w 42202"/>
                <a:gd name="connsiteY7" fmla="*/ 4153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02" h="14736">
                  <a:moveTo>
                    <a:pt x="0" y="4153"/>
                  </a:moveTo>
                  <a:lnTo>
                    <a:pt x="0" y="14735"/>
                  </a:lnTo>
                  <a:lnTo>
                    <a:pt x="34834" y="14735"/>
                  </a:lnTo>
                  <a:cubicBezTo>
                    <a:pt x="38827" y="14816"/>
                    <a:pt x="42123" y="11628"/>
                    <a:pt x="42203" y="7636"/>
                  </a:cubicBezTo>
                  <a:cubicBezTo>
                    <a:pt x="42203" y="7542"/>
                    <a:pt x="42203" y="7461"/>
                    <a:pt x="42203" y="7368"/>
                  </a:cubicBezTo>
                  <a:cubicBezTo>
                    <a:pt x="42203" y="3295"/>
                    <a:pt x="38907" y="0"/>
                    <a:pt x="34834" y="0"/>
                  </a:cubicBezTo>
                  <a:lnTo>
                    <a:pt x="0" y="0"/>
                  </a:lnTo>
                  <a:lnTo>
                    <a:pt x="0" y="4153"/>
                  </a:lnTo>
                  <a:close/>
                </a:path>
              </a:pathLst>
            </a:custGeom>
            <a:solidFill>
              <a:srgbClr val="000000"/>
            </a:solidFill>
            <a:ln w="12700" cap="flat">
              <a:noFill/>
              <a:prstDash val="solid"/>
              <a:miter/>
            </a:ln>
          </p:spPr>
          <p:txBody>
            <a:bodyPr rtlCol="0" anchor="ctr"/>
            <a:lstStyle/>
            <a:p>
              <a:endParaRPr lang="en-US"/>
            </a:p>
          </p:txBody>
        </p:sp>
        <p:sp>
          <p:nvSpPr>
            <p:cNvPr id="1196" name="Freeform: Shape 1195">
              <a:extLst>
                <a:ext uri="{FF2B5EF4-FFF2-40B4-BE49-F238E27FC236}">
                  <a16:creationId xmlns:a16="http://schemas.microsoft.com/office/drawing/2014/main" id="{1F5C4BA6-DC28-4D04-83A5-C20CE9C87A2B}"/>
                </a:ext>
              </a:extLst>
            </p:cNvPr>
            <p:cNvSpPr/>
            <p:nvPr/>
          </p:nvSpPr>
          <p:spPr>
            <a:xfrm>
              <a:off x="8641552" y="5623387"/>
              <a:ext cx="114203" cy="14736"/>
            </a:xfrm>
            <a:custGeom>
              <a:avLst/>
              <a:gdLst>
                <a:gd name="connsiteX0" fmla="*/ 7905 w 114203"/>
                <a:gd name="connsiteY0" fmla="*/ 7435 h 14736"/>
                <a:gd name="connsiteX1" fmla="*/ 670 w 114203"/>
                <a:gd name="connsiteY1" fmla="*/ 14670 h 14736"/>
                <a:gd name="connsiteX2" fmla="*/ 536 w 114203"/>
                <a:gd name="connsiteY2" fmla="*/ 14669 h 14736"/>
                <a:gd name="connsiteX3" fmla="*/ 105843 w 114203"/>
                <a:gd name="connsiteY3" fmla="*/ 14669 h 14736"/>
                <a:gd name="connsiteX4" fmla="*/ 114135 w 114203"/>
                <a:gd name="connsiteY4" fmla="*/ 8359 h 14736"/>
                <a:gd name="connsiteX5" fmla="*/ 107825 w 114203"/>
                <a:gd name="connsiteY5" fmla="*/ 67 h 14736"/>
                <a:gd name="connsiteX6" fmla="*/ 105843 w 114203"/>
                <a:gd name="connsiteY6" fmla="*/ 67 h 14736"/>
                <a:gd name="connsiteX7" fmla="*/ 0 w 114203"/>
                <a:gd name="connsiteY7" fmla="*/ 67 h 14736"/>
                <a:gd name="connsiteX8" fmla="*/ 7878 w 114203"/>
                <a:gd name="connsiteY8" fmla="*/ 6598 h 14736"/>
                <a:gd name="connsiteX9" fmla="*/ 7905 w 114203"/>
                <a:gd name="connsiteY9" fmla="*/ 74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203" h="14736">
                  <a:moveTo>
                    <a:pt x="7905" y="7435"/>
                  </a:moveTo>
                  <a:cubicBezTo>
                    <a:pt x="7905" y="11430"/>
                    <a:pt x="4663" y="14669"/>
                    <a:pt x="670" y="14670"/>
                  </a:cubicBezTo>
                  <a:cubicBezTo>
                    <a:pt x="630" y="14670"/>
                    <a:pt x="577" y="14670"/>
                    <a:pt x="536" y="14669"/>
                  </a:cubicBezTo>
                  <a:lnTo>
                    <a:pt x="105843" y="14669"/>
                  </a:lnTo>
                  <a:cubicBezTo>
                    <a:pt x="109875" y="15217"/>
                    <a:pt x="113587" y="12391"/>
                    <a:pt x="114135" y="8359"/>
                  </a:cubicBezTo>
                  <a:cubicBezTo>
                    <a:pt x="114685" y="4327"/>
                    <a:pt x="111858" y="615"/>
                    <a:pt x="107825" y="67"/>
                  </a:cubicBezTo>
                  <a:cubicBezTo>
                    <a:pt x="107169" y="-22"/>
                    <a:pt x="106498" y="-22"/>
                    <a:pt x="105843" y="67"/>
                  </a:cubicBezTo>
                  <a:lnTo>
                    <a:pt x="0" y="67"/>
                  </a:lnTo>
                  <a:cubicBezTo>
                    <a:pt x="3979" y="-304"/>
                    <a:pt x="7503" y="2621"/>
                    <a:pt x="7878" y="6598"/>
                  </a:cubicBezTo>
                  <a:cubicBezTo>
                    <a:pt x="7905" y="6876"/>
                    <a:pt x="7918" y="7155"/>
                    <a:pt x="7905" y="7435"/>
                  </a:cubicBezTo>
                  <a:close/>
                </a:path>
              </a:pathLst>
            </a:custGeom>
            <a:solidFill>
              <a:srgbClr val="000000"/>
            </a:solidFill>
            <a:ln w="12700" cap="flat">
              <a:noFill/>
              <a:prstDash val="solid"/>
              <a:miter/>
            </a:ln>
          </p:spPr>
          <p:txBody>
            <a:bodyPr rtlCol="0" anchor="ctr"/>
            <a:lstStyle/>
            <a:p>
              <a:endParaRPr lang="en-US"/>
            </a:p>
          </p:txBody>
        </p:sp>
        <p:sp>
          <p:nvSpPr>
            <p:cNvPr id="1197" name="Freeform: Shape 1196">
              <a:extLst>
                <a:ext uri="{FF2B5EF4-FFF2-40B4-BE49-F238E27FC236}">
                  <a16:creationId xmlns:a16="http://schemas.microsoft.com/office/drawing/2014/main" id="{6B1BC6FA-DBB0-40D6-A259-3FC37077EAD7}"/>
                </a:ext>
              </a:extLst>
            </p:cNvPr>
            <p:cNvSpPr/>
            <p:nvPr/>
          </p:nvSpPr>
          <p:spPr>
            <a:xfrm>
              <a:off x="8687238" y="6018895"/>
              <a:ext cx="14738" cy="126053"/>
            </a:xfrm>
            <a:custGeom>
              <a:avLst/>
              <a:gdLst>
                <a:gd name="connsiteX0" fmla="*/ 0 w 14738"/>
                <a:gd name="connsiteY0" fmla="*/ 7368 h 126053"/>
                <a:gd name="connsiteX1" fmla="*/ 0 w 14738"/>
                <a:gd name="connsiteY1" fmla="*/ 126053 h 126053"/>
                <a:gd name="connsiteX2" fmla="*/ 7369 w 14738"/>
                <a:gd name="connsiteY2" fmla="*/ 118686 h 126053"/>
                <a:gd name="connsiteX3" fmla="*/ 14738 w 14738"/>
                <a:gd name="connsiteY3" fmla="*/ 125785 h 126053"/>
                <a:gd name="connsiteX4" fmla="*/ 14738 w 14738"/>
                <a:gd name="connsiteY4" fmla="*/ 126053 h 126053"/>
                <a:gd name="connsiteX5" fmla="*/ 14738 w 14738"/>
                <a:gd name="connsiteY5" fmla="*/ 7368 h 126053"/>
                <a:gd name="connsiteX6" fmla="*/ 7369 w 14738"/>
                <a:gd name="connsiteY6" fmla="*/ 0 h 126053"/>
                <a:gd name="connsiteX7" fmla="*/ 0 w 14738"/>
                <a:gd name="connsiteY7" fmla="*/ 7368 h 12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8" h="126053">
                  <a:moveTo>
                    <a:pt x="0" y="7368"/>
                  </a:moveTo>
                  <a:lnTo>
                    <a:pt x="0" y="126053"/>
                  </a:lnTo>
                  <a:cubicBezTo>
                    <a:pt x="0" y="121981"/>
                    <a:pt x="3296" y="118686"/>
                    <a:pt x="7369" y="118686"/>
                  </a:cubicBezTo>
                  <a:cubicBezTo>
                    <a:pt x="11362" y="118605"/>
                    <a:pt x="14658" y="121793"/>
                    <a:pt x="14738" y="125785"/>
                  </a:cubicBezTo>
                  <a:cubicBezTo>
                    <a:pt x="14738" y="125879"/>
                    <a:pt x="14738" y="125959"/>
                    <a:pt x="14738" y="126053"/>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198" name="Freeform: Shape 1197">
              <a:extLst>
                <a:ext uri="{FF2B5EF4-FFF2-40B4-BE49-F238E27FC236}">
                  <a16:creationId xmlns:a16="http://schemas.microsoft.com/office/drawing/2014/main" id="{073DD365-9ABF-4346-B69C-77F29E4D1290}"/>
                </a:ext>
              </a:extLst>
            </p:cNvPr>
            <p:cNvSpPr/>
            <p:nvPr/>
          </p:nvSpPr>
          <p:spPr>
            <a:xfrm>
              <a:off x="8687774" y="6137580"/>
              <a:ext cx="14738" cy="365031"/>
            </a:xfrm>
            <a:custGeom>
              <a:avLst/>
              <a:gdLst>
                <a:gd name="connsiteX0" fmla="*/ 7369 w 14738"/>
                <a:gd name="connsiteY0" fmla="*/ 0 h 365031"/>
                <a:gd name="connsiteX1" fmla="*/ 0 w 14738"/>
                <a:gd name="connsiteY1" fmla="*/ 7368 h 365031"/>
                <a:gd name="connsiteX2" fmla="*/ 0 w 14738"/>
                <a:gd name="connsiteY2" fmla="*/ 365032 h 365031"/>
                <a:gd name="connsiteX3" fmla="*/ 14737 w 14738"/>
                <a:gd name="connsiteY3" fmla="*/ 365032 h 365031"/>
                <a:gd name="connsiteX4" fmla="*/ 14737 w 14738"/>
                <a:gd name="connsiteY4" fmla="*/ 7368 h 365031"/>
                <a:gd name="connsiteX5" fmla="*/ 7637 w 14738"/>
                <a:gd name="connsiteY5" fmla="*/ 0 h 365031"/>
                <a:gd name="connsiteX6" fmla="*/ 7369 w 14738"/>
                <a:gd name="connsiteY6" fmla="*/ 0 h 365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65031">
                  <a:moveTo>
                    <a:pt x="7369" y="0"/>
                  </a:moveTo>
                  <a:cubicBezTo>
                    <a:pt x="3295" y="0"/>
                    <a:pt x="0" y="3295"/>
                    <a:pt x="0" y="7368"/>
                  </a:cubicBezTo>
                  <a:lnTo>
                    <a:pt x="0" y="365032"/>
                  </a:lnTo>
                  <a:lnTo>
                    <a:pt x="14737" y="365032"/>
                  </a:lnTo>
                  <a:lnTo>
                    <a:pt x="14737" y="7368"/>
                  </a:lnTo>
                  <a:cubicBezTo>
                    <a:pt x="14818" y="3376"/>
                    <a:pt x="11629" y="80"/>
                    <a:pt x="7637" y="0"/>
                  </a:cubicBezTo>
                  <a:cubicBezTo>
                    <a:pt x="7543" y="0"/>
                    <a:pt x="7463" y="0"/>
                    <a:pt x="7369" y="0"/>
                  </a:cubicBezTo>
                  <a:close/>
                </a:path>
              </a:pathLst>
            </a:custGeom>
            <a:solidFill>
              <a:srgbClr val="000000"/>
            </a:solidFill>
            <a:ln w="12700" cap="flat">
              <a:noFill/>
              <a:prstDash val="solid"/>
              <a:miter/>
            </a:ln>
          </p:spPr>
          <p:txBody>
            <a:bodyPr rtlCol="0" anchor="ctr"/>
            <a:lstStyle/>
            <a:p>
              <a:endParaRPr lang="en-US"/>
            </a:p>
          </p:txBody>
        </p:sp>
        <p:sp>
          <p:nvSpPr>
            <p:cNvPr id="1199" name="Freeform: Shape 1198">
              <a:extLst>
                <a:ext uri="{FF2B5EF4-FFF2-40B4-BE49-F238E27FC236}">
                  <a16:creationId xmlns:a16="http://schemas.microsoft.com/office/drawing/2014/main" id="{AE7D8E9B-7CF9-4D70-81DE-DF2BA75A5CF2}"/>
                </a:ext>
              </a:extLst>
            </p:cNvPr>
            <p:cNvSpPr/>
            <p:nvPr/>
          </p:nvSpPr>
          <p:spPr>
            <a:xfrm>
              <a:off x="5803371" y="6581915"/>
              <a:ext cx="30" cy="1875"/>
            </a:xfrm>
            <a:custGeom>
              <a:avLst/>
              <a:gdLst>
                <a:gd name="connsiteX0" fmla="*/ 0 w 30"/>
                <a:gd name="connsiteY0" fmla="*/ 938 h 1875"/>
                <a:gd name="connsiteX1" fmla="*/ 0 w 30"/>
                <a:gd name="connsiteY1" fmla="*/ 1875 h 1875"/>
                <a:gd name="connsiteX2" fmla="*/ 0 w 30"/>
                <a:gd name="connsiteY2" fmla="*/ 0 h 1875"/>
                <a:gd name="connsiteX3" fmla="*/ 0 w 30"/>
                <a:gd name="connsiteY3" fmla="*/ 938 h 1875"/>
              </a:gdLst>
              <a:ahLst/>
              <a:cxnLst>
                <a:cxn ang="0">
                  <a:pos x="connsiteX0" y="connsiteY0"/>
                </a:cxn>
                <a:cxn ang="0">
                  <a:pos x="connsiteX1" y="connsiteY1"/>
                </a:cxn>
                <a:cxn ang="0">
                  <a:pos x="connsiteX2" y="connsiteY2"/>
                </a:cxn>
                <a:cxn ang="0">
                  <a:pos x="connsiteX3" y="connsiteY3"/>
                </a:cxn>
              </a:cxnLst>
              <a:rect l="l" t="t" r="r" b="b"/>
              <a:pathLst>
                <a:path w="30" h="1875">
                  <a:moveTo>
                    <a:pt x="0" y="938"/>
                  </a:moveTo>
                  <a:cubicBezTo>
                    <a:pt x="40" y="1246"/>
                    <a:pt x="40" y="1567"/>
                    <a:pt x="0" y="1875"/>
                  </a:cubicBezTo>
                  <a:lnTo>
                    <a:pt x="0" y="0"/>
                  </a:lnTo>
                  <a:cubicBezTo>
                    <a:pt x="40" y="308"/>
                    <a:pt x="40" y="630"/>
                    <a:pt x="0" y="938"/>
                  </a:cubicBezTo>
                  <a:close/>
                </a:path>
              </a:pathLst>
            </a:custGeom>
            <a:solidFill>
              <a:srgbClr val="000000"/>
            </a:solidFill>
            <a:ln w="12700" cap="flat">
              <a:noFill/>
              <a:prstDash val="solid"/>
              <a:miter/>
            </a:ln>
          </p:spPr>
          <p:txBody>
            <a:bodyPr rtlCol="0" anchor="ctr"/>
            <a:lstStyle/>
            <a:p>
              <a:endParaRPr lang="en-US"/>
            </a:p>
          </p:txBody>
        </p:sp>
        <p:sp>
          <p:nvSpPr>
            <p:cNvPr id="1200" name="Freeform: Shape 1199">
              <a:extLst>
                <a:ext uri="{FF2B5EF4-FFF2-40B4-BE49-F238E27FC236}">
                  <a16:creationId xmlns:a16="http://schemas.microsoft.com/office/drawing/2014/main" id="{878B36D8-E6CB-4EA1-B33D-8E44EA295A4F}"/>
                </a:ext>
              </a:extLst>
            </p:cNvPr>
            <p:cNvSpPr/>
            <p:nvPr/>
          </p:nvSpPr>
          <p:spPr>
            <a:xfrm>
              <a:off x="8751815" y="6510918"/>
              <a:ext cx="113077" cy="14735"/>
            </a:xfrm>
            <a:custGeom>
              <a:avLst/>
              <a:gdLst>
                <a:gd name="connsiteX0" fmla="*/ 2948 w 113077"/>
                <a:gd name="connsiteY0" fmla="*/ 9109 h 14735"/>
                <a:gd name="connsiteX1" fmla="*/ 0 w 113077"/>
                <a:gd name="connsiteY1" fmla="*/ 14735 h 14735"/>
                <a:gd name="connsiteX2" fmla="*/ 113077 w 113077"/>
                <a:gd name="connsiteY2" fmla="*/ 14735 h 14735"/>
                <a:gd name="connsiteX3" fmla="*/ 105843 w 113077"/>
                <a:gd name="connsiteY3" fmla="*/ 7502 h 14735"/>
                <a:gd name="connsiteX4" fmla="*/ 105843 w 113077"/>
                <a:gd name="connsiteY4" fmla="*/ 7368 h 14735"/>
                <a:gd name="connsiteX5" fmla="*/ 113077 w 113077"/>
                <a:gd name="connsiteY5" fmla="*/ 0 h 14735"/>
                <a:gd name="connsiteX6" fmla="*/ 2948 w 113077"/>
                <a:gd name="connsiteY6" fmla="*/ 0 h 14735"/>
                <a:gd name="connsiteX7" fmla="*/ 2948 w 113077"/>
                <a:gd name="connsiteY7" fmla="*/ 9109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077" h="14735">
                  <a:moveTo>
                    <a:pt x="2948" y="9109"/>
                  </a:moveTo>
                  <a:cubicBezTo>
                    <a:pt x="2881" y="11333"/>
                    <a:pt x="1796" y="13409"/>
                    <a:pt x="0" y="14735"/>
                  </a:cubicBezTo>
                  <a:lnTo>
                    <a:pt x="113077" y="14735"/>
                  </a:lnTo>
                  <a:cubicBezTo>
                    <a:pt x="109085" y="14735"/>
                    <a:pt x="105843" y="11494"/>
                    <a:pt x="105843" y="7502"/>
                  </a:cubicBezTo>
                  <a:cubicBezTo>
                    <a:pt x="105843" y="7461"/>
                    <a:pt x="105843" y="7408"/>
                    <a:pt x="105843" y="7368"/>
                  </a:cubicBezTo>
                  <a:cubicBezTo>
                    <a:pt x="105843" y="3349"/>
                    <a:pt x="109058" y="67"/>
                    <a:pt x="113077" y="0"/>
                  </a:cubicBezTo>
                  <a:lnTo>
                    <a:pt x="2948" y="0"/>
                  </a:lnTo>
                  <a:lnTo>
                    <a:pt x="2948" y="9109"/>
                  </a:lnTo>
                  <a:close/>
                </a:path>
              </a:pathLst>
            </a:custGeom>
            <a:solidFill>
              <a:srgbClr val="000000"/>
            </a:solidFill>
            <a:ln w="12700" cap="flat">
              <a:noFill/>
              <a:prstDash val="solid"/>
              <a:miter/>
            </a:ln>
          </p:spPr>
          <p:txBody>
            <a:bodyPr rtlCol="0" anchor="ctr"/>
            <a:lstStyle/>
            <a:p>
              <a:endParaRPr lang="en-US"/>
            </a:p>
          </p:txBody>
        </p:sp>
        <p:sp>
          <p:nvSpPr>
            <p:cNvPr id="1201" name="Freeform: Shape 1200">
              <a:extLst>
                <a:ext uri="{FF2B5EF4-FFF2-40B4-BE49-F238E27FC236}">
                  <a16:creationId xmlns:a16="http://schemas.microsoft.com/office/drawing/2014/main" id="{C1A56B36-2A02-4532-853A-96BD9552BDBB}"/>
                </a:ext>
              </a:extLst>
            </p:cNvPr>
            <p:cNvSpPr/>
            <p:nvPr/>
          </p:nvSpPr>
          <p:spPr>
            <a:xfrm>
              <a:off x="9317603" y="6519625"/>
              <a:ext cx="14738" cy="8439"/>
            </a:xfrm>
            <a:custGeom>
              <a:avLst/>
              <a:gdLst>
                <a:gd name="connsiteX0" fmla="*/ 14737 w 14738"/>
                <a:gd name="connsiteY0" fmla="*/ 1339 h 8439"/>
                <a:gd name="connsiteX1" fmla="*/ 14737 w 14738"/>
                <a:gd name="connsiteY1" fmla="*/ 0 h 8439"/>
                <a:gd name="connsiteX2" fmla="*/ 7637 w 14738"/>
                <a:gd name="connsiteY2" fmla="*/ 7367 h 8439"/>
                <a:gd name="connsiteX3" fmla="*/ 7369 w 14738"/>
                <a:gd name="connsiteY3" fmla="*/ 7367 h 8439"/>
                <a:gd name="connsiteX4" fmla="*/ 0 w 14738"/>
                <a:gd name="connsiteY4" fmla="*/ 0 h 8439"/>
                <a:gd name="connsiteX5" fmla="*/ 0 w 14738"/>
                <a:gd name="connsiteY5" fmla="*/ 1607 h 8439"/>
                <a:gd name="connsiteX6" fmla="*/ 0 w 14738"/>
                <a:gd name="connsiteY6" fmla="*/ 2947 h 8439"/>
                <a:gd name="connsiteX7" fmla="*/ 0 w 14738"/>
                <a:gd name="connsiteY7" fmla="*/ 2947 h 8439"/>
                <a:gd name="connsiteX8" fmla="*/ 6966 w 14738"/>
                <a:gd name="connsiteY8" fmla="*/ 8439 h 8439"/>
                <a:gd name="connsiteX9" fmla="*/ 14067 w 14738"/>
                <a:gd name="connsiteY9" fmla="*/ 2947 h 8439"/>
                <a:gd name="connsiteX10" fmla="*/ 14067 w 14738"/>
                <a:gd name="connsiteY10" fmla="*/ 1072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 h="8439">
                  <a:moveTo>
                    <a:pt x="14737" y="1339"/>
                  </a:moveTo>
                  <a:lnTo>
                    <a:pt x="14737" y="0"/>
                  </a:lnTo>
                  <a:cubicBezTo>
                    <a:pt x="14817" y="3992"/>
                    <a:pt x="11629" y="7287"/>
                    <a:pt x="7637" y="7367"/>
                  </a:cubicBezTo>
                  <a:cubicBezTo>
                    <a:pt x="7543" y="7367"/>
                    <a:pt x="7463" y="7367"/>
                    <a:pt x="7369" y="7367"/>
                  </a:cubicBezTo>
                  <a:cubicBezTo>
                    <a:pt x="3295" y="7367"/>
                    <a:pt x="0" y="4072"/>
                    <a:pt x="0" y="0"/>
                  </a:cubicBezTo>
                  <a:lnTo>
                    <a:pt x="0" y="1607"/>
                  </a:lnTo>
                  <a:cubicBezTo>
                    <a:pt x="0" y="1607"/>
                    <a:pt x="0" y="2411"/>
                    <a:pt x="0" y="2947"/>
                  </a:cubicBezTo>
                  <a:cubicBezTo>
                    <a:pt x="0" y="3483"/>
                    <a:pt x="0" y="2947"/>
                    <a:pt x="0" y="2947"/>
                  </a:cubicBezTo>
                  <a:cubicBezTo>
                    <a:pt x="830" y="6122"/>
                    <a:pt x="3684" y="8372"/>
                    <a:pt x="6966" y="8439"/>
                  </a:cubicBezTo>
                  <a:cubicBezTo>
                    <a:pt x="10290" y="8386"/>
                    <a:pt x="13183" y="6149"/>
                    <a:pt x="14067" y="2947"/>
                  </a:cubicBezTo>
                  <a:cubicBezTo>
                    <a:pt x="14135" y="2317"/>
                    <a:pt x="14135" y="1701"/>
                    <a:pt x="14067" y="1072"/>
                  </a:cubicBezTo>
                  <a:close/>
                </a:path>
              </a:pathLst>
            </a:custGeom>
            <a:solidFill>
              <a:srgbClr val="000000"/>
            </a:solidFill>
            <a:ln w="12700" cap="flat">
              <a:noFill/>
              <a:prstDash val="solid"/>
              <a:miter/>
            </a:ln>
          </p:spPr>
          <p:txBody>
            <a:bodyPr rtlCol="0" anchor="ctr"/>
            <a:lstStyle/>
            <a:p>
              <a:endParaRPr lang="en-US"/>
            </a:p>
          </p:txBody>
        </p:sp>
        <p:sp>
          <p:nvSpPr>
            <p:cNvPr id="1202" name="Freeform: Shape 1201">
              <a:extLst>
                <a:ext uri="{FF2B5EF4-FFF2-40B4-BE49-F238E27FC236}">
                  <a16:creationId xmlns:a16="http://schemas.microsoft.com/office/drawing/2014/main" id="{3C32D7FD-189C-4491-827D-DE95F868AD20}"/>
                </a:ext>
              </a:extLst>
            </p:cNvPr>
            <p:cNvSpPr/>
            <p:nvPr/>
          </p:nvSpPr>
          <p:spPr>
            <a:xfrm>
              <a:off x="8904147" y="6518285"/>
              <a:ext cx="12326" cy="9377"/>
            </a:xfrm>
            <a:custGeom>
              <a:avLst/>
              <a:gdLst>
                <a:gd name="connsiteX0" fmla="*/ 12327 w 12326"/>
                <a:gd name="connsiteY0" fmla="*/ 2009 h 9377"/>
                <a:gd name="connsiteX1" fmla="*/ 12327 w 12326"/>
                <a:gd name="connsiteY1" fmla="*/ 0 h 9377"/>
                <a:gd name="connsiteX2" fmla="*/ 4957 w 12326"/>
                <a:gd name="connsiteY2" fmla="*/ 7368 h 9377"/>
                <a:gd name="connsiteX3" fmla="*/ 0 w 12326"/>
                <a:gd name="connsiteY3" fmla="*/ 7368 h 9377"/>
                <a:gd name="connsiteX4" fmla="*/ 4957 w 12326"/>
                <a:gd name="connsiteY4" fmla="*/ 9377 h 9377"/>
                <a:gd name="connsiteX5" fmla="*/ 11790 w 12326"/>
                <a:gd name="connsiteY5" fmla="*/ 4822 h 9377"/>
                <a:gd name="connsiteX6" fmla="*/ 11790 w 12326"/>
                <a:gd name="connsiteY6" fmla="*/ 3617 h 9377"/>
                <a:gd name="connsiteX7" fmla="*/ 12327 w 12326"/>
                <a:gd name="connsiteY7" fmla="*/ 2009 h 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6" h="9377">
                  <a:moveTo>
                    <a:pt x="12327" y="2009"/>
                  </a:moveTo>
                  <a:lnTo>
                    <a:pt x="12327" y="0"/>
                  </a:lnTo>
                  <a:cubicBezTo>
                    <a:pt x="12327" y="4072"/>
                    <a:pt x="9030" y="7368"/>
                    <a:pt x="4957" y="7368"/>
                  </a:cubicBezTo>
                  <a:lnTo>
                    <a:pt x="0" y="7368"/>
                  </a:lnTo>
                  <a:cubicBezTo>
                    <a:pt x="1313" y="8667"/>
                    <a:pt x="3108" y="9390"/>
                    <a:pt x="4957" y="9377"/>
                  </a:cubicBezTo>
                  <a:cubicBezTo>
                    <a:pt x="7932" y="9350"/>
                    <a:pt x="10625" y="7569"/>
                    <a:pt x="11790" y="4822"/>
                  </a:cubicBezTo>
                  <a:cubicBezTo>
                    <a:pt x="11857" y="4421"/>
                    <a:pt x="11857" y="4019"/>
                    <a:pt x="11790" y="3617"/>
                  </a:cubicBezTo>
                  <a:cubicBezTo>
                    <a:pt x="12031" y="3108"/>
                    <a:pt x="12205" y="2558"/>
                    <a:pt x="12327" y="2009"/>
                  </a:cubicBezTo>
                  <a:close/>
                </a:path>
              </a:pathLst>
            </a:custGeom>
            <a:solidFill>
              <a:srgbClr val="000000"/>
            </a:solidFill>
            <a:ln w="12700" cap="flat">
              <a:noFill/>
              <a:prstDash val="solid"/>
              <a:miter/>
            </a:ln>
          </p:spPr>
          <p:txBody>
            <a:bodyPr rtlCol="0" anchor="ctr"/>
            <a:lstStyle/>
            <a:p>
              <a:endParaRPr lang="en-US"/>
            </a:p>
          </p:txBody>
        </p:sp>
        <p:sp>
          <p:nvSpPr>
            <p:cNvPr id="1203" name="Freeform: Shape 1202">
              <a:extLst>
                <a:ext uri="{FF2B5EF4-FFF2-40B4-BE49-F238E27FC236}">
                  <a16:creationId xmlns:a16="http://schemas.microsoft.com/office/drawing/2014/main" id="{F24926D3-646F-4B41-BD94-1E87AA58C1D9}"/>
                </a:ext>
              </a:extLst>
            </p:cNvPr>
            <p:cNvSpPr/>
            <p:nvPr/>
          </p:nvSpPr>
          <p:spPr>
            <a:xfrm>
              <a:off x="9479179" y="6518285"/>
              <a:ext cx="14337" cy="8562"/>
            </a:xfrm>
            <a:custGeom>
              <a:avLst/>
              <a:gdLst>
                <a:gd name="connsiteX0" fmla="*/ 7369 w 14337"/>
                <a:gd name="connsiteY0" fmla="*/ 7368 h 8562"/>
                <a:gd name="connsiteX1" fmla="*/ 0 w 14337"/>
                <a:gd name="connsiteY1" fmla="*/ 0 h 8562"/>
                <a:gd name="connsiteX2" fmla="*/ 0 w 14337"/>
                <a:gd name="connsiteY2" fmla="*/ 0 h 8562"/>
                <a:gd name="connsiteX3" fmla="*/ 0 w 14337"/>
                <a:gd name="connsiteY3" fmla="*/ 1206 h 8562"/>
                <a:gd name="connsiteX4" fmla="*/ 0 w 14337"/>
                <a:gd name="connsiteY4" fmla="*/ 2545 h 8562"/>
                <a:gd name="connsiteX5" fmla="*/ 670 w 14337"/>
                <a:gd name="connsiteY5" fmla="*/ 4689 h 8562"/>
                <a:gd name="connsiteX6" fmla="*/ 10437 w 14337"/>
                <a:gd name="connsiteY6" fmla="*/ 7729 h 8562"/>
                <a:gd name="connsiteX7" fmla="*/ 11254 w 14337"/>
                <a:gd name="connsiteY7" fmla="*/ 7234 h 8562"/>
                <a:gd name="connsiteX8" fmla="*/ 13532 w 14337"/>
                <a:gd name="connsiteY8" fmla="*/ 4689 h 8562"/>
                <a:gd name="connsiteX9" fmla="*/ 14336 w 14337"/>
                <a:gd name="connsiteY9" fmla="*/ 2009 h 8562"/>
                <a:gd name="connsiteX10" fmla="*/ 14336 w 14337"/>
                <a:gd name="connsiteY10" fmla="*/ 1206 h 8562"/>
                <a:gd name="connsiteX11" fmla="*/ 14336 w 14337"/>
                <a:gd name="connsiteY11" fmla="*/ 1206 h 8562"/>
                <a:gd name="connsiteX12" fmla="*/ 14336 w 14337"/>
                <a:gd name="connsiteY12" fmla="*/ 0 h 8562"/>
                <a:gd name="connsiteX13" fmla="*/ 7369 w 14337"/>
                <a:gd name="connsiteY13" fmla="*/ 7368 h 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37" h="8562">
                  <a:moveTo>
                    <a:pt x="7369" y="7368"/>
                  </a:moveTo>
                  <a:cubicBezTo>
                    <a:pt x="3295" y="7368"/>
                    <a:pt x="0" y="4072"/>
                    <a:pt x="0" y="0"/>
                  </a:cubicBezTo>
                  <a:lnTo>
                    <a:pt x="0" y="0"/>
                  </a:lnTo>
                  <a:lnTo>
                    <a:pt x="0" y="1206"/>
                  </a:lnTo>
                  <a:cubicBezTo>
                    <a:pt x="0" y="1206"/>
                    <a:pt x="0" y="2143"/>
                    <a:pt x="0" y="2545"/>
                  </a:cubicBezTo>
                  <a:cubicBezTo>
                    <a:pt x="147" y="3282"/>
                    <a:pt x="361" y="4005"/>
                    <a:pt x="670" y="4689"/>
                  </a:cubicBezTo>
                  <a:cubicBezTo>
                    <a:pt x="2532" y="8225"/>
                    <a:pt x="6899" y="9591"/>
                    <a:pt x="10437" y="7729"/>
                  </a:cubicBezTo>
                  <a:cubicBezTo>
                    <a:pt x="10718" y="7582"/>
                    <a:pt x="10999" y="7421"/>
                    <a:pt x="11254" y="7234"/>
                  </a:cubicBezTo>
                  <a:cubicBezTo>
                    <a:pt x="12219" y="6591"/>
                    <a:pt x="12995" y="5706"/>
                    <a:pt x="13532" y="4689"/>
                  </a:cubicBezTo>
                  <a:cubicBezTo>
                    <a:pt x="14000" y="3871"/>
                    <a:pt x="14269" y="2947"/>
                    <a:pt x="14336" y="2009"/>
                  </a:cubicBezTo>
                  <a:cubicBezTo>
                    <a:pt x="14336" y="2009"/>
                    <a:pt x="14336" y="2009"/>
                    <a:pt x="14336" y="1206"/>
                  </a:cubicBezTo>
                  <a:lnTo>
                    <a:pt x="14336" y="1206"/>
                  </a:lnTo>
                  <a:lnTo>
                    <a:pt x="14336" y="0"/>
                  </a:lnTo>
                  <a:cubicBezTo>
                    <a:pt x="14416" y="3938"/>
                    <a:pt x="11308" y="7220"/>
                    <a:pt x="7369" y="7368"/>
                  </a:cubicBezTo>
                  <a:close/>
                </a:path>
              </a:pathLst>
            </a:custGeom>
            <a:solidFill>
              <a:srgbClr val="000000"/>
            </a:solidFill>
            <a:ln w="12700" cap="flat">
              <a:noFill/>
              <a:prstDash val="solid"/>
              <a:miter/>
            </a:ln>
          </p:spPr>
          <p:txBody>
            <a:bodyPr rtlCol="0" anchor="ctr"/>
            <a:lstStyle/>
            <a:p>
              <a:endParaRPr lang="en-US"/>
            </a:p>
          </p:txBody>
        </p:sp>
        <p:sp>
          <p:nvSpPr>
            <p:cNvPr id="1204" name="Freeform: Shape 1203">
              <a:extLst>
                <a:ext uri="{FF2B5EF4-FFF2-40B4-BE49-F238E27FC236}">
                  <a16:creationId xmlns:a16="http://schemas.microsoft.com/office/drawing/2014/main" id="{D6504F43-252E-42D1-ABFD-B78DC18E0292}"/>
                </a:ext>
              </a:extLst>
            </p:cNvPr>
            <p:cNvSpPr/>
            <p:nvPr/>
          </p:nvSpPr>
          <p:spPr>
            <a:xfrm>
              <a:off x="8744312" y="6518285"/>
              <a:ext cx="10452" cy="8975"/>
            </a:xfrm>
            <a:custGeom>
              <a:avLst/>
              <a:gdLst>
                <a:gd name="connsiteX0" fmla="*/ 3082 w 10452"/>
                <a:gd name="connsiteY0" fmla="*/ 8975 h 8975"/>
                <a:gd name="connsiteX1" fmla="*/ 10451 w 10452"/>
                <a:gd name="connsiteY1" fmla="*/ 1742 h 8975"/>
                <a:gd name="connsiteX2" fmla="*/ 10451 w 10452"/>
                <a:gd name="connsiteY2" fmla="*/ 0 h 8975"/>
                <a:gd name="connsiteX3" fmla="*/ 3349 w 10452"/>
                <a:gd name="connsiteY3" fmla="*/ 7368 h 8975"/>
                <a:gd name="connsiteX4" fmla="*/ 3082 w 10452"/>
                <a:gd name="connsiteY4" fmla="*/ 7368 h 8975"/>
                <a:gd name="connsiteX5" fmla="*/ 0 w 10452"/>
                <a:gd name="connsiteY5" fmla="*/ 6564 h 8975"/>
                <a:gd name="connsiteX6" fmla="*/ 0 w 10452"/>
                <a:gd name="connsiteY6" fmla="*/ 8305 h 8975"/>
                <a:gd name="connsiteX7" fmla="*/ 3082 w 10452"/>
                <a:gd name="connsiteY7" fmla="*/ 8975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 h="8975">
                  <a:moveTo>
                    <a:pt x="3082" y="8975"/>
                  </a:moveTo>
                  <a:cubicBezTo>
                    <a:pt x="7047" y="8841"/>
                    <a:pt x="10249" y="5693"/>
                    <a:pt x="10451" y="1742"/>
                  </a:cubicBezTo>
                  <a:lnTo>
                    <a:pt x="10451" y="0"/>
                  </a:lnTo>
                  <a:cubicBezTo>
                    <a:pt x="10531" y="3992"/>
                    <a:pt x="7342" y="7287"/>
                    <a:pt x="3349" y="7368"/>
                  </a:cubicBezTo>
                  <a:cubicBezTo>
                    <a:pt x="3269" y="7368"/>
                    <a:pt x="3175" y="7368"/>
                    <a:pt x="3082" y="7368"/>
                  </a:cubicBezTo>
                  <a:cubicBezTo>
                    <a:pt x="1996" y="7368"/>
                    <a:pt x="938" y="7100"/>
                    <a:pt x="0" y="6564"/>
                  </a:cubicBezTo>
                  <a:lnTo>
                    <a:pt x="0" y="8305"/>
                  </a:lnTo>
                  <a:cubicBezTo>
                    <a:pt x="965" y="8734"/>
                    <a:pt x="2023" y="8962"/>
                    <a:pt x="3082" y="8975"/>
                  </a:cubicBezTo>
                  <a:close/>
                </a:path>
              </a:pathLst>
            </a:custGeom>
            <a:solidFill>
              <a:srgbClr val="000000"/>
            </a:solidFill>
            <a:ln w="12700" cap="flat">
              <a:noFill/>
              <a:prstDash val="solid"/>
              <a:miter/>
            </a:ln>
          </p:spPr>
          <p:txBody>
            <a:bodyPr rtlCol="0" anchor="ctr"/>
            <a:lstStyle/>
            <a:p>
              <a:endParaRPr lang="en-US"/>
            </a:p>
          </p:txBody>
        </p:sp>
        <p:sp>
          <p:nvSpPr>
            <p:cNvPr id="1205" name="Freeform: Shape 1204">
              <a:extLst>
                <a:ext uri="{FF2B5EF4-FFF2-40B4-BE49-F238E27FC236}">
                  <a16:creationId xmlns:a16="http://schemas.microsoft.com/office/drawing/2014/main" id="{9647A7FC-8EDA-4833-85D1-329A5A1D5297}"/>
                </a:ext>
              </a:extLst>
            </p:cNvPr>
            <p:cNvSpPr/>
            <p:nvPr/>
          </p:nvSpPr>
          <p:spPr>
            <a:xfrm>
              <a:off x="8695143" y="6502880"/>
              <a:ext cx="14311" cy="14735"/>
            </a:xfrm>
            <a:custGeom>
              <a:avLst/>
              <a:gdLst>
                <a:gd name="connsiteX0" fmla="*/ 14202 w 14311"/>
                <a:gd name="connsiteY0" fmla="*/ 9511 h 14735"/>
                <a:gd name="connsiteX1" fmla="*/ 14202 w 14311"/>
                <a:gd name="connsiteY1" fmla="*/ 7100 h 14735"/>
                <a:gd name="connsiteX2" fmla="*/ 14202 w 14311"/>
                <a:gd name="connsiteY2" fmla="*/ 7100 h 14735"/>
                <a:gd name="connsiteX3" fmla="*/ 6967 w 14311"/>
                <a:gd name="connsiteY3" fmla="*/ 0 h 14735"/>
                <a:gd name="connsiteX4" fmla="*/ 0 w 14311"/>
                <a:gd name="connsiteY4" fmla="*/ 0 h 14735"/>
                <a:gd name="connsiteX5" fmla="*/ 7369 w 14311"/>
                <a:gd name="connsiteY5" fmla="*/ 7367 h 14735"/>
                <a:gd name="connsiteX6" fmla="*/ 268 w 14311"/>
                <a:gd name="connsiteY6" fmla="*/ 14735 h 14735"/>
                <a:gd name="connsiteX7" fmla="*/ 0 w 14311"/>
                <a:gd name="connsiteY7" fmla="*/ 14735 h 14735"/>
                <a:gd name="connsiteX8" fmla="*/ 7905 w 14311"/>
                <a:gd name="connsiteY8" fmla="*/ 14735 h 14735"/>
                <a:gd name="connsiteX9" fmla="*/ 14202 w 14311"/>
                <a:gd name="connsiteY9" fmla="*/ 9511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11" h="14735">
                  <a:moveTo>
                    <a:pt x="14202" y="9511"/>
                  </a:moveTo>
                  <a:cubicBezTo>
                    <a:pt x="14349" y="8721"/>
                    <a:pt x="14349" y="7890"/>
                    <a:pt x="14202" y="7100"/>
                  </a:cubicBezTo>
                  <a:lnTo>
                    <a:pt x="14202" y="7100"/>
                  </a:lnTo>
                  <a:cubicBezTo>
                    <a:pt x="14135" y="3161"/>
                    <a:pt x="10906" y="0"/>
                    <a:pt x="6967" y="0"/>
                  </a:cubicBezTo>
                  <a:lnTo>
                    <a:pt x="0" y="0"/>
                  </a:lnTo>
                  <a:cubicBezTo>
                    <a:pt x="4073" y="0"/>
                    <a:pt x="7369" y="3295"/>
                    <a:pt x="7369" y="7367"/>
                  </a:cubicBezTo>
                  <a:cubicBezTo>
                    <a:pt x="7450" y="11359"/>
                    <a:pt x="4260" y="14655"/>
                    <a:pt x="268" y="14735"/>
                  </a:cubicBezTo>
                  <a:cubicBezTo>
                    <a:pt x="174" y="14735"/>
                    <a:pt x="94" y="14735"/>
                    <a:pt x="0" y="14735"/>
                  </a:cubicBezTo>
                  <a:lnTo>
                    <a:pt x="7905" y="14735"/>
                  </a:lnTo>
                  <a:cubicBezTo>
                    <a:pt x="10892" y="14494"/>
                    <a:pt x="13425" y="12404"/>
                    <a:pt x="14202" y="9511"/>
                  </a:cubicBezTo>
                  <a:close/>
                </a:path>
              </a:pathLst>
            </a:custGeom>
            <a:solidFill>
              <a:srgbClr val="000000"/>
            </a:solidFill>
            <a:ln w="12700" cap="flat">
              <a:noFill/>
              <a:prstDash val="solid"/>
              <a:miter/>
            </a:ln>
          </p:spPr>
          <p:txBody>
            <a:bodyPr rtlCol="0" anchor="ctr"/>
            <a:lstStyle/>
            <a:p>
              <a:endParaRPr lang="en-US"/>
            </a:p>
          </p:txBody>
        </p:sp>
        <p:sp>
          <p:nvSpPr>
            <p:cNvPr id="1206" name="Freeform: Shape 1205">
              <a:extLst>
                <a:ext uri="{FF2B5EF4-FFF2-40B4-BE49-F238E27FC236}">
                  <a16:creationId xmlns:a16="http://schemas.microsoft.com/office/drawing/2014/main" id="{0CF1B0AE-514E-4E32-9560-49ABF476A4FC}"/>
                </a:ext>
              </a:extLst>
            </p:cNvPr>
            <p:cNvSpPr/>
            <p:nvPr/>
          </p:nvSpPr>
          <p:spPr>
            <a:xfrm>
              <a:off x="8363012" y="6502344"/>
              <a:ext cx="338964" cy="14735"/>
            </a:xfrm>
            <a:custGeom>
              <a:avLst/>
              <a:gdLst>
                <a:gd name="connsiteX0" fmla="*/ 338963 w 338964"/>
                <a:gd name="connsiteY0" fmla="*/ 7368 h 14735"/>
                <a:gd name="connsiteX1" fmla="*/ 331594 w 338964"/>
                <a:gd name="connsiteY1" fmla="*/ 0 h 14735"/>
                <a:gd name="connsiteX2" fmla="*/ 0 w 338964"/>
                <a:gd name="connsiteY2" fmla="*/ 0 h 14735"/>
                <a:gd name="connsiteX3" fmla="*/ 0 w 338964"/>
                <a:gd name="connsiteY3" fmla="*/ 14735 h 14735"/>
                <a:gd name="connsiteX4" fmla="*/ 332130 w 338964"/>
                <a:gd name="connsiteY4" fmla="*/ 14735 h 14735"/>
                <a:gd name="connsiteX5" fmla="*/ 338963 w 338964"/>
                <a:gd name="connsiteY5"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964" h="14735">
                  <a:moveTo>
                    <a:pt x="338963" y="7368"/>
                  </a:moveTo>
                  <a:cubicBezTo>
                    <a:pt x="338963" y="3295"/>
                    <a:pt x="335667" y="0"/>
                    <a:pt x="331594" y="0"/>
                  </a:cubicBezTo>
                  <a:lnTo>
                    <a:pt x="0" y="0"/>
                  </a:lnTo>
                  <a:lnTo>
                    <a:pt x="0" y="14735"/>
                  </a:lnTo>
                  <a:lnTo>
                    <a:pt x="332130" y="14735"/>
                  </a:lnTo>
                  <a:cubicBezTo>
                    <a:pt x="336015" y="14521"/>
                    <a:pt x="339043" y="11266"/>
                    <a:pt x="338963" y="7368"/>
                  </a:cubicBezTo>
                  <a:close/>
                </a:path>
              </a:pathLst>
            </a:custGeom>
            <a:solidFill>
              <a:srgbClr val="000000"/>
            </a:solidFill>
            <a:ln w="12700" cap="flat">
              <a:noFill/>
              <a:prstDash val="solid"/>
              <a:miter/>
            </a:ln>
          </p:spPr>
          <p:txBody>
            <a:bodyPr rtlCol="0" anchor="ctr"/>
            <a:lstStyle/>
            <a:p>
              <a:endParaRPr lang="en-US"/>
            </a:p>
          </p:txBody>
        </p:sp>
        <p:sp>
          <p:nvSpPr>
            <p:cNvPr id="1207" name="Freeform: Shape 1206">
              <a:extLst>
                <a:ext uri="{FF2B5EF4-FFF2-40B4-BE49-F238E27FC236}">
                  <a16:creationId xmlns:a16="http://schemas.microsoft.com/office/drawing/2014/main" id="{C51D29AD-75A9-42DD-B461-0294EF176B01}"/>
                </a:ext>
              </a:extLst>
            </p:cNvPr>
            <p:cNvSpPr/>
            <p:nvPr/>
          </p:nvSpPr>
          <p:spPr>
            <a:xfrm>
              <a:off x="7276320" y="5863505"/>
              <a:ext cx="344438" cy="14735"/>
            </a:xfrm>
            <a:custGeom>
              <a:avLst/>
              <a:gdLst>
                <a:gd name="connsiteX0" fmla="*/ 0 w 344438"/>
                <a:gd name="connsiteY0" fmla="*/ 0 h 14735"/>
                <a:gd name="connsiteX1" fmla="*/ 7369 w 344438"/>
                <a:gd name="connsiteY1" fmla="*/ 7368 h 14735"/>
                <a:gd name="connsiteX2" fmla="*/ 0 w 344438"/>
                <a:gd name="connsiteY2" fmla="*/ 14735 h 14735"/>
                <a:gd name="connsiteX3" fmla="*/ 337088 w 344438"/>
                <a:gd name="connsiteY3" fmla="*/ 14735 h 14735"/>
                <a:gd name="connsiteX4" fmla="*/ 338427 w 344438"/>
                <a:gd name="connsiteY4" fmla="*/ 14735 h 14735"/>
                <a:gd name="connsiteX5" fmla="*/ 339231 w 344438"/>
                <a:gd name="connsiteY5" fmla="*/ 14735 h 14735"/>
                <a:gd name="connsiteX6" fmla="*/ 341911 w 344438"/>
                <a:gd name="connsiteY6" fmla="*/ 13262 h 14735"/>
                <a:gd name="connsiteX7" fmla="*/ 342702 w 344438"/>
                <a:gd name="connsiteY7" fmla="*/ 3062 h 14735"/>
                <a:gd name="connsiteX8" fmla="*/ 341911 w 344438"/>
                <a:gd name="connsiteY8" fmla="*/ 2277 h 14735"/>
                <a:gd name="connsiteX9" fmla="*/ 339231 w 344438"/>
                <a:gd name="connsiteY9" fmla="*/ 804 h 14735"/>
                <a:gd name="connsiteX10" fmla="*/ 337088 w 344438"/>
                <a:gd name="connsiteY10" fmla="*/ 804 h 14735"/>
                <a:gd name="connsiteX11" fmla="*/ 0 w 344438"/>
                <a:gd name="connsiteY11" fmla="*/ 80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438" h="14735">
                  <a:moveTo>
                    <a:pt x="0" y="0"/>
                  </a:moveTo>
                  <a:cubicBezTo>
                    <a:pt x="4073" y="0"/>
                    <a:pt x="7369" y="3298"/>
                    <a:pt x="7369" y="7368"/>
                  </a:cubicBezTo>
                  <a:cubicBezTo>
                    <a:pt x="7369" y="11437"/>
                    <a:pt x="4073" y="14735"/>
                    <a:pt x="0" y="14735"/>
                  </a:cubicBezTo>
                  <a:lnTo>
                    <a:pt x="337088" y="14735"/>
                  </a:lnTo>
                  <a:lnTo>
                    <a:pt x="338427" y="14735"/>
                  </a:lnTo>
                  <a:lnTo>
                    <a:pt x="339231" y="14735"/>
                  </a:lnTo>
                  <a:cubicBezTo>
                    <a:pt x="340209" y="14408"/>
                    <a:pt x="341107" y="13910"/>
                    <a:pt x="341911" y="13262"/>
                  </a:cubicBezTo>
                  <a:cubicBezTo>
                    <a:pt x="344939" y="10662"/>
                    <a:pt x="345300" y="6095"/>
                    <a:pt x="342702" y="3062"/>
                  </a:cubicBezTo>
                  <a:cubicBezTo>
                    <a:pt x="342461" y="2781"/>
                    <a:pt x="342192" y="2518"/>
                    <a:pt x="341911" y="2277"/>
                  </a:cubicBezTo>
                  <a:cubicBezTo>
                    <a:pt x="341107" y="1629"/>
                    <a:pt x="340209" y="1131"/>
                    <a:pt x="339231" y="804"/>
                  </a:cubicBezTo>
                  <a:cubicBezTo>
                    <a:pt x="338521" y="729"/>
                    <a:pt x="337798" y="729"/>
                    <a:pt x="337088" y="804"/>
                  </a:cubicBezTo>
                  <a:lnTo>
                    <a:pt x="0" y="804"/>
                  </a:lnTo>
                  <a:close/>
                </a:path>
              </a:pathLst>
            </a:custGeom>
            <a:solidFill>
              <a:srgbClr val="000000"/>
            </a:solidFill>
            <a:ln w="12700" cap="flat">
              <a:noFill/>
              <a:prstDash val="solid"/>
              <a:miter/>
            </a:ln>
          </p:spPr>
          <p:txBody>
            <a:bodyPr rtlCol="0" anchor="ctr"/>
            <a:lstStyle/>
            <a:p>
              <a:endParaRPr lang="en-US"/>
            </a:p>
          </p:txBody>
        </p:sp>
        <p:sp>
          <p:nvSpPr>
            <p:cNvPr id="1208" name="Freeform: Shape 1207">
              <a:extLst>
                <a:ext uri="{FF2B5EF4-FFF2-40B4-BE49-F238E27FC236}">
                  <a16:creationId xmlns:a16="http://schemas.microsoft.com/office/drawing/2014/main" id="{A60F941E-EA30-4AD1-94CB-ABA981240E16}"/>
                </a:ext>
              </a:extLst>
            </p:cNvPr>
            <p:cNvSpPr/>
            <p:nvPr/>
          </p:nvSpPr>
          <p:spPr>
            <a:xfrm>
              <a:off x="4575065" y="6577628"/>
              <a:ext cx="15139" cy="14735"/>
            </a:xfrm>
            <a:custGeom>
              <a:avLst/>
              <a:gdLst>
                <a:gd name="connsiteX0" fmla="*/ 15139 w 15139"/>
                <a:gd name="connsiteY0" fmla="*/ 14735 h 14735"/>
                <a:gd name="connsiteX1" fmla="*/ 7771 w 15139"/>
                <a:gd name="connsiteY1" fmla="*/ 7367 h 14735"/>
                <a:gd name="connsiteX2" fmla="*/ 15139 w 15139"/>
                <a:gd name="connsiteY2" fmla="*/ 0 h 14735"/>
                <a:gd name="connsiteX3" fmla="*/ 0 w 15139"/>
                <a:gd name="connsiteY3" fmla="*/ 0 h 14735"/>
                <a:gd name="connsiteX4" fmla="*/ 0 w 15139"/>
                <a:gd name="connsiteY4" fmla="*/ 14735 h 14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9" h="14735">
                  <a:moveTo>
                    <a:pt x="15139" y="14735"/>
                  </a:moveTo>
                  <a:cubicBezTo>
                    <a:pt x="11066" y="14735"/>
                    <a:pt x="7771" y="11440"/>
                    <a:pt x="7771" y="7367"/>
                  </a:cubicBezTo>
                  <a:cubicBezTo>
                    <a:pt x="7771" y="3295"/>
                    <a:pt x="11066" y="0"/>
                    <a:pt x="15139" y="0"/>
                  </a:cubicBezTo>
                  <a:lnTo>
                    <a:pt x="0" y="0"/>
                  </a:lnTo>
                  <a:lnTo>
                    <a:pt x="0" y="14735"/>
                  </a:lnTo>
                  <a:close/>
                </a:path>
              </a:pathLst>
            </a:custGeom>
            <a:solidFill>
              <a:srgbClr val="000000"/>
            </a:solidFill>
            <a:ln w="12700" cap="flat">
              <a:noFill/>
              <a:prstDash val="solid"/>
              <a:miter/>
            </a:ln>
          </p:spPr>
          <p:txBody>
            <a:bodyPr rtlCol="0" anchor="ctr"/>
            <a:lstStyle/>
            <a:p>
              <a:endParaRPr lang="en-US"/>
            </a:p>
          </p:txBody>
        </p:sp>
        <p:sp>
          <p:nvSpPr>
            <p:cNvPr id="1209" name="Freeform: Shape 1208">
              <a:extLst>
                <a:ext uri="{FF2B5EF4-FFF2-40B4-BE49-F238E27FC236}">
                  <a16:creationId xmlns:a16="http://schemas.microsoft.com/office/drawing/2014/main" id="{4038FAF0-D2CF-477A-AB7F-42D91A10EF03}"/>
                </a:ext>
              </a:extLst>
            </p:cNvPr>
            <p:cNvSpPr/>
            <p:nvPr/>
          </p:nvSpPr>
          <p:spPr>
            <a:xfrm>
              <a:off x="4582836" y="6577628"/>
              <a:ext cx="165194" cy="14735"/>
            </a:xfrm>
            <a:custGeom>
              <a:avLst/>
              <a:gdLst>
                <a:gd name="connsiteX0" fmla="*/ 99813 w 165194"/>
                <a:gd name="connsiteY0" fmla="*/ 14735 h 14735"/>
                <a:gd name="connsiteX1" fmla="*/ 157826 w 165194"/>
                <a:gd name="connsiteY1" fmla="*/ 14735 h 14735"/>
                <a:gd name="connsiteX2" fmla="*/ 165195 w 165194"/>
                <a:gd name="connsiteY2" fmla="*/ 7367 h 14735"/>
                <a:gd name="connsiteX3" fmla="*/ 157826 w 165194"/>
                <a:gd name="connsiteY3" fmla="*/ 0 h 14735"/>
                <a:gd name="connsiteX4" fmla="*/ 7369 w 165194"/>
                <a:gd name="connsiteY4" fmla="*/ 0 h 14735"/>
                <a:gd name="connsiteX5" fmla="*/ 0 w 165194"/>
                <a:gd name="connsiteY5" fmla="*/ 7367 h 14735"/>
                <a:gd name="connsiteX6" fmla="*/ 7369 w 165194"/>
                <a:gd name="connsiteY6" fmla="*/ 14735 h 14735"/>
                <a:gd name="connsiteX7" fmla="*/ 99813 w 165194"/>
                <a:gd name="connsiteY7"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194" h="14735">
                  <a:moveTo>
                    <a:pt x="99813" y="14735"/>
                  </a:moveTo>
                  <a:lnTo>
                    <a:pt x="157826" y="14735"/>
                  </a:lnTo>
                  <a:cubicBezTo>
                    <a:pt x="161899" y="14735"/>
                    <a:pt x="165195" y="11440"/>
                    <a:pt x="165195" y="7367"/>
                  </a:cubicBezTo>
                  <a:cubicBezTo>
                    <a:pt x="165195" y="3295"/>
                    <a:pt x="161899" y="0"/>
                    <a:pt x="157826" y="0"/>
                  </a:cubicBezTo>
                  <a:lnTo>
                    <a:pt x="7369" y="0"/>
                  </a:lnTo>
                  <a:cubicBezTo>
                    <a:pt x="3296" y="0"/>
                    <a:pt x="0" y="3295"/>
                    <a:pt x="0" y="7367"/>
                  </a:cubicBezTo>
                  <a:cubicBezTo>
                    <a:pt x="0" y="11440"/>
                    <a:pt x="3296" y="14735"/>
                    <a:pt x="7369" y="14735"/>
                  </a:cubicBezTo>
                  <a:lnTo>
                    <a:pt x="99813" y="14735"/>
                  </a:lnTo>
                  <a:close/>
                </a:path>
              </a:pathLst>
            </a:custGeom>
            <a:solidFill>
              <a:srgbClr val="000000"/>
            </a:solidFill>
            <a:ln w="12700" cap="flat">
              <a:noFill/>
              <a:prstDash val="solid"/>
              <a:miter/>
            </a:ln>
          </p:spPr>
          <p:txBody>
            <a:bodyPr rtlCol="0" anchor="ctr"/>
            <a:lstStyle/>
            <a:p>
              <a:endParaRPr lang="en-US"/>
            </a:p>
          </p:txBody>
        </p:sp>
        <p:sp>
          <p:nvSpPr>
            <p:cNvPr id="1210" name="Freeform: Shape 1209">
              <a:extLst>
                <a:ext uri="{FF2B5EF4-FFF2-40B4-BE49-F238E27FC236}">
                  <a16:creationId xmlns:a16="http://schemas.microsoft.com/office/drawing/2014/main" id="{106982C8-8B68-477F-BDF5-006BF19BD93A}"/>
                </a:ext>
              </a:extLst>
            </p:cNvPr>
            <p:cNvSpPr/>
            <p:nvPr/>
          </p:nvSpPr>
          <p:spPr>
            <a:xfrm>
              <a:off x="8462424" y="5587822"/>
              <a:ext cx="14787" cy="36168"/>
            </a:xfrm>
            <a:custGeom>
              <a:avLst/>
              <a:gdLst>
                <a:gd name="connsiteX0" fmla="*/ 0 w 14787"/>
                <a:gd name="connsiteY0" fmla="*/ 22773 h 36168"/>
                <a:gd name="connsiteX1" fmla="*/ 0 w 14787"/>
                <a:gd name="connsiteY1" fmla="*/ 36168 h 36168"/>
                <a:gd name="connsiteX2" fmla="*/ 14737 w 14787"/>
                <a:gd name="connsiteY2" fmla="*/ 36168 h 36168"/>
                <a:gd name="connsiteX3" fmla="*/ 14737 w 14787"/>
                <a:gd name="connsiteY3" fmla="*/ 6698 h 36168"/>
                <a:gd name="connsiteX4" fmla="*/ 14737 w 14787"/>
                <a:gd name="connsiteY4" fmla="*/ 5626 h 36168"/>
                <a:gd name="connsiteX5" fmla="*/ 14737 w 14787"/>
                <a:gd name="connsiteY5" fmla="*/ 4153 h 36168"/>
                <a:gd name="connsiteX6" fmla="*/ 13933 w 14787"/>
                <a:gd name="connsiteY6" fmla="*/ 2813 h 36168"/>
                <a:gd name="connsiteX7" fmla="*/ 13933 w 14787"/>
                <a:gd name="connsiteY7" fmla="*/ 1741 h 36168"/>
                <a:gd name="connsiteX8" fmla="*/ 12728 w 14787"/>
                <a:gd name="connsiteY8" fmla="*/ 804 h 36168"/>
                <a:gd name="connsiteX9" fmla="*/ 11656 w 14787"/>
                <a:gd name="connsiteY9" fmla="*/ 0 h 36168"/>
                <a:gd name="connsiteX10" fmla="*/ 10450 w 14787"/>
                <a:gd name="connsiteY10" fmla="*/ 0 h 36168"/>
                <a:gd name="connsiteX11" fmla="*/ 8842 w 14787"/>
                <a:gd name="connsiteY11" fmla="*/ 0 h 36168"/>
                <a:gd name="connsiteX12" fmla="*/ 8842 w 14787"/>
                <a:gd name="connsiteY12" fmla="*/ 0 h 36168"/>
                <a:gd name="connsiteX13" fmla="*/ 7771 w 14787"/>
                <a:gd name="connsiteY13" fmla="*/ 0 h 36168"/>
                <a:gd name="connsiteX14" fmla="*/ 6297 w 14787"/>
                <a:gd name="connsiteY14" fmla="*/ 0 h 36168"/>
                <a:gd name="connsiteX15" fmla="*/ 4957 w 14787"/>
                <a:gd name="connsiteY15" fmla="*/ 804 h 36168"/>
                <a:gd name="connsiteX16" fmla="*/ 1474 w 14787"/>
                <a:gd name="connsiteY16" fmla="*/ 6832 h 3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 h="36168">
                  <a:moveTo>
                    <a:pt x="0" y="22773"/>
                  </a:moveTo>
                  <a:lnTo>
                    <a:pt x="0" y="36168"/>
                  </a:lnTo>
                  <a:lnTo>
                    <a:pt x="14737" y="36168"/>
                  </a:lnTo>
                  <a:lnTo>
                    <a:pt x="14737" y="6698"/>
                  </a:lnTo>
                  <a:cubicBezTo>
                    <a:pt x="14791" y="6343"/>
                    <a:pt x="14791" y="5981"/>
                    <a:pt x="14737" y="5626"/>
                  </a:cubicBezTo>
                  <a:cubicBezTo>
                    <a:pt x="14804" y="5137"/>
                    <a:pt x="14804" y="4642"/>
                    <a:pt x="14737" y="4153"/>
                  </a:cubicBezTo>
                  <a:cubicBezTo>
                    <a:pt x="14550" y="3662"/>
                    <a:pt x="14282" y="3208"/>
                    <a:pt x="13933" y="2813"/>
                  </a:cubicBezTo>
                  <a:cubicBezTo>
                    <a:pt x="14000" y="2459"/>
                    <a:pt x="14000" y="2095"/>
                    <a:pt x="13933" y="1741"/>
                  </a:cubicBezTo>
                  <a:lnTo>
                    <a:pt x="12728" y="804"/>
                  </a:lnTo>
                  <a:lnTo>
                    <a:pt x="11656" y="0"/>
                  </a:lnTo>
                  <a:lnTo>
                    <a:pt x="10450" y="0"/>
                  </a:lnTo>
                  <a:lnTo>
                    <a:pt x="8842" y="0"/>
                  </a:lnTo>
                  <a:lnTo>
                    <a:pt x="8842" y="0"/>
                  </a:lnTo>
                  <a:lnTo>
                    <a:pt x="7771" y="0"/>
                  </a:lnTo>
                  <a:lnTo>
                    <a:pt x="6297" y="0"/>
                  </a:lnTo>
                  <a:cubicBezTo>
                    <a:pt x="5788" y="137"/>
                    <a:pt x="5319" y="415"/>
                    <a:pt x="4957" y="804"/>
                  </a:cubicBezTo>
                  <a:cubicBezTo>
                    <a:pt x="2827" y="2067"/>
                    <a:pt x="1501" y="4352"/>
                    <a:pt x="1474" y="6832"/>
                  </a:cubicBezTo>
                  <a:close/>
                </a:path>
              </a:pathLst>
            </a:custGeom>
            <a:solidFill>
              <a:srgbClr val="000000"/>
            </a:solidFill>
            <a:ln w="12700" cap="flat">
              <a:noFill/>
              <a:prstDash val="solid"/>
              <a:miter/>
            </a:ln>
          </p:spPr>
          <p:txBody>
            <a:bodyPr rtlCol="0" anchor="ctr"/>
            <a:lstStyle/>
            <a:p>
              <a:endParaRPr lang="en-US"/>
            </a:p>
          </p:txBody>
        </p:sp>
        <p:sp>
          <p:nvSpPr>
            <p:cNvPr id="1211" name="Freeform: Shape 1210">
              <a:extLst>
                <a:ext uri="{FF2B5EF4-FFF2-40B4-BE49-F238E27FC236}">
                  <a16:creationId xmlns:a16="http://schemas.microsoft.com/office/drawing/2014/main" id="{66A98E16-07F1-4D5B-B885-5EF24CC4E28D}"/>
                </a:ext>
              </a:extLst>
            </p:cNvPr>
            <p:cNvSpPr/>
            <p:nvPr/>
          </p:nvSpPr>
          <p:spPr>
            <a:xfrm>
              <a:off x="7650787" y="5663106"/>
              <a:ext cx="14738" cy="202006"/>
            </a:xfrm>
            <a:custGeom>
              <a:avLst/>
              <a:gdLst>
                <a:gd name="connsiteX0" fmla="*/ 0 w 14738"/>
                <a:gd name="connsiteY0" fmla="*/ 194639 h 202006"/>
                <a:gd name="connsiteX1" fmla="*/ 7369 w 14738"/>
                <a:gd name="connsiteY1" fmla="*/ 202007 h 202006"/>
                <a:gd name="connsiteX2" fmla="*/ 14738 w 14738"/>
                <a:gd name="connsiteY2" fmla="*/ 194639 h 202006"/>
                <a:gd name="connsiteX3" fmla="*/ 14738 w 14738"/>
                <a:gd name="connsiteY3" fmla="*/ 0 h 202006"/>
                <a:gd name="connsiteX4" fmla="*/ 7369 w 14738"/>
                <a:gd name="connsiteY4" fmla="*/ 7368 h 202006"/>
                <a:gd name="connsiteX5" fmla="*/ 0 w 14738"/>
                <a:gd name="connsiteY5" fmla="*/ 0 h 202006"/>
                <a:gd name="connsiteX6" fmla="*/ 0 w 14738"/>
                <a:gd name="connsiteY6" fmla="*/ 194639 h 20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202006">
                  <a:moveTo>
                    <a:pt x="0" y="194639"/>
                  </a:moveTo>
                  <a:cubicBezTo>
                    <a:pt x="0" y="198709"/>
                    <a:pt x="3296" y="202007"/>
                    <a:pt x="7369" y="202007"/>
                  </a:cubicBezTo>
                  <a:cubicBezTo>
                    <a:pt x="11442" y="202007"/>
                    <a:pt x="14738" y="198709"/>
                    <a:pt x="14738" y="194639"/>
                  </a:cubicBezTo>
                  <a:lnTo>
                    <a:pt x="14738" y="0"/>
                  </a:lnTo>
                  <a:cubicBezTo>
                    <a:pt x="14738" y="4070"/>
                    <a:pt x="11442" y="7368"/>
                    <a:pt x="7369" y="7368"/>
                  </a:cubicBezTo>
                  <a:cubicBezTo>
                    <a:pt x="3296" y="7368"/>
                    <a:pt x="0" y="4070"/>
                    <a:pt x="0" y="0"/>
                  </a:cubicBezTo>
                  <a:lnTo>
                    <a:pt x="0" y="194639"/>
                  </a:lnTo>
                  <a:close/>
                </a:path>
              </a:pathLst>
            </a:custGeom>
            <a:solidFill>
              <a:srgbClr val="000000"/>
            </a:solidFill>
            <a:ln w="12700" cap="flat">
              <a:noFill/>
              <a:prstDash val="solid"/>
              <a:miter/>
            </a:ln>
          </p:spPr>
          <p:txBody>
            <a:bodyPr rtlCol="0" anchor="ctr"/>
            <a:lstStyle/>
            <a:p>
              <a:endParaRPr lang="en-US"/>
            </a:p>
          </p:txBody>
        </p:sp>
        <p:sp>
          <p:nvSpPr>
            <p:cNvPr id="1212" name="Freeform: Shape 1211">
              <a:extLst>
                <a:ext uri="{FF2B5EF4-FFF2-40B4-BE49-F238E27FC236}">
                  <a16:creationId xmlns:a16="http://schemas.microsoft.com/office/drawing/2014/main" id="{DF9FED7C-B540-4C6C-AC7B-D185B18A9A8F}"/>
                </a:ext>
              </a:extLst>
            </p:cNvPr>
            <p:cNvSpPr/>
            <p:nvPr/>
          </p:nvSpPr>
          <p:spPr>
            <a:xfrm>
              <a:off x="7650787" y="5638056"/>
              <a:ext cx="14738" cy="32417"/>
            </a:xfrm>
            <a:custGeom>
              <a:avLst/>
              <a:gdLst>
                <a:gd name="connsiteX0" fmla="*/ 0 w 14738"/>
                <a:gd name="connsiteY0" fmla="*/ 7368 h 32417"/>
                <a:gd name="connsiteX1" fmla="*/ 0 w 14738"/>
                <a:gd name="connsiteY1" fmla="*/ 25050 h 32417"/>
                <a:gd name="connsiteX2" fmla="*/ 7369 w 14738"/>
                <a:gd name="connsiteY2" fmla="*/ 32417 h 32417"/>
                <a:gd name="connsiteX3" fmla="*/ 14738 w 14738"/>
                <a:gd name="connsiteY3" fmla="*/ 25050 h 32417"/>
                <a:gd name="connsiteX4" fmla="*/ 14738 w 14738"/>
                <a:gd name="connsiteY4" fmla="*/ 7368 h 32417"/>
                <a:gd name="connsiteX5" fmla="*/ 7369 w 14738"/>
                <a:gd name="connsiteY5" fmla="*/ 0 h 32417"/>
                <a:gd name="connsiteX6" fmla="*/ 0 w 14738"/>
                <a:gd name="connsiteY6" fmla="*/ 7368 h 3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2417">
                  <a:moveTo>
                    <a:pt x="0" y="7368"/>
                  </a:moveTo>
                  <a:lnTo>
                    <a:pt x="0" y="25050"/>
                  </a:lnTo>
                  <a:cubicBezTo>
                    <a:pt x="0" y="29119"/>
                    <a:pt x="3296" y="32417"/>
                    <a:pt x="7369" y="32417"/>
                  </a:cubicBezTo>
                  <a:cubicBezTo>
                    <a:pt x="11442" y="32417"/>
                    <a:pt x="14738" y="29119"/>
                    <a:pt x="14738" y="25050"/>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213" name="Freeform: Shape 1212">
              <a:extLst>
                <a:ext uri="{FF2B5EF4-FFF2-40B4-BE49-F238E27FC236}">
                  <a16:creationId xmlns:a16="http://schemas.microsoft.com/office/drawing/2014/main" id="{D3185971-EB9B-4956-B9E1-AA8E8451765C}"/>
                </a:ext>
              </a:extLst>
            </p:cNvPr>
            <p:cNvSpPr/>
            <p:nvPr/>
          </p:nvSpPr>
          <p:spPr>
            <a:xfrm>
              <a:off x="7077230" y="5829346"/>
              <a:ext cx="195748" cy="14736"/>
            </a:xfrm>
            <a:custGeom>
              <a:avLst/>
              <a:gdLst>
                <a:gd name="connsiteX0" fmla="*/ 188238 w 195748"/>
                <a:gd name="connsiteY0" fmla="*/ 13932 h 14736"/>
                <a:gd name="connsiteX1" fmla="*/ 195608 w 195748"/>
                <a:gd name="connsiteY1" fmla="*/ 6834 h 14736"/>
                <a:gd name="connsiteX2" fmla="*/ 195608 w 195748"/>
                <a:gd name="connsiteY2" fmla="*/ 6564 h 14736"/>
                <a:gd name="connsiteX3" fmla="*/ 195608 w 195748"/>
                <a:gd name="connsiteY3" fmla="*/ 4153 h 14736"/>
                <a:gd name="connsiteX4" fmla="*/ 195608 w 195748"/>
                <a:gd name="connsiteY4" fmla="*/ 2813 h 14736"/>
                <a:gd name="connsiteX5" fmla="*/ 195608 w 195748"/>
                <a:gd name="connsiteY5" fmla="*/ 1741 h 14736"/>
                <a:gd name="connsiteX6" fmla="*/ 194536 w 195748"/>
                <a:gd name="connsiteY6" fmla="*/ 804 h 14736"/>
                <a:gd name="connsiteX7" fmla="*/ 193330 w 195748"/>
                <a:gd name="connsiteY7" fmla="*/ 0 h 14736"/>
                <a:gd name="connsiteX8" fmla="*/ 191990 w 195748"/>
                <a:gd name="connsiteY8" fmla="*/ 0 h 14736"/>
                <a:gd name="connsiteX9" fmla="*/ 190517 w 195748"/>
                <a:gd name="connsiteY9" fmla="*/ 0 h 14736"/>
                <a:gd name="connsiteX10" fmla="*/ 0 w 195748"/>
                <a:gd name="connsiteY10" fmla="*/ 0 h 14736"/>
                <a:gd name="connsiteX11" fmla="*/ 7369 w 195748"/>
                <a:gd name="connsiteY11" fmla="*/ 7368 h 14736"/>
                <a:gd name="connsiteX12" fmla="*/ 268 w 195748"/>
                <a:gd name="connsiteY12" fmla="*/ 14735 h 14736"/>
                <a:gd name="connsiteX13" fmla="*/ 0 w 195748"/>
                <a:gd name="connsiteY13" fmla="*/ 14735 h 14736"/>
                <a:gd name="connsiteX14" fmla="*/ 187569 w 195748"/>
                <a:gd name="connsiteY14" fmla="*/ 147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748" h="14736">
                  <a:moveTo>
                    <a:pt x="188238" y="13932"/>
                  </a:moveTo>
                  <a:cubicBezTo>
                    <a:pt x="192231" y="14007"/>
                    <a:pt x="195527" y="10829"/>
                    <a:pt x="195608" y="6834"/>
                  </a:cubicBezTo>
                  <a:cubicBezTo>
                    <a:pt x="195608" y="6745"/>
                    <a:pt x="195608" y="6654"/>
                    <a:pt x="195608" y="6564"/>
                  </a:cubicBezTo>
                  <a:cubicBezTo>
                    <a:pt x="195795" y="5771"/>
                    <a:pt x="195795" y="4946"/>
                    <a:pt x="195608" y="4153"/>
                  </a:cubicBezTo>
                  <a:cubicBezTo>
                    <a:pt x="195674" y="3709"/>
                    <a:pt x="195674" y="3257"/>
                    <a:pt x="195608" y="2813"/>
                  </a:cubicBezTo>
                  <a:cubicBezTo>
                    <a:pt x="195634" y="2457"/>
                    <a:pt x="195634" y="2098"/>
                    <a:pt x="195608" y="1741"/>
                  </a:cubicBezTo>
                  <a:lnTo>
                    <a:pt x="194536" y="804"/>
                  </a:lnTo>
                  <a:lnTo>
                    <a:pt x="193330" y="0"/>
                  </a:lnTo>
                  <a:lnTo>
                    <a:pt x="191990" y="0"/>
                  </a:lnTo>
                  <a:lnTo>
                    <a:pt x="190517" y="0"/>
                  </a:lnTo>
                  <a:lnTo>
                    <a:pt x="0" y="0"/>
                  </a:lnTo>
                  <a:cubicBezTo>
                    <a:pt x="4073" y="0"/>
                    <a:pt x="7369" y="3298"/>
                    <a:pt x="7369" y="7368"/>
                  </a:cubicBezTo>
                  <a:cubicBezTo>
                    <a:pt x="7450" y="11362"/>
                    <a:pt x="4260" y="14660"/>
                    <a:pt x="268" y="14735"/>
                  </a:cubicBezTo>
                  <a:cubicBezTo>
                    <a:pt x="174" y="14737"/>
                    <a:pt x="94" y="14737"/>
                    <a:pt x="0" y="14735"/>
                  </a:cubicBezTo>
                  <a:lnTo>
                    <a:pt x="187569" y="14735"/>
                  </a:lnTo>
                  <a:close/>
                </a:path>
              </a:pathLst>
            </a:custGeom>
            <a:solidFill>
              <a:srgbClr val="000000"/>
            </a:solidFill>
            <a:ln w="12700" cap="flat">
              <a:noFill/>
              <a:prstDash val="solid"/>
              <a:miter/>
            </a:ln>
          </p:spPr>
          <p:txBody>
            <a:bodyPr rtlCol="0" anchor="ctr"/>
            <a:lstStyle/>
            <a:p>
              <a:endParaRPr lang="en-US"/>
            </a:p>
          </p:txBody>
        </p:sp>
        <p:sp>
          <p:nvSpPr>
            <p:cNvPr id="1214" name="Freeform: Shape 1213">
              <a:extLst>
                <a:ext uri="{FF2B5EF4-FFF2-40B4-BE49-F238E27FC236}">
                  <a16:creationId xmlns:a16="http://schemas.microsoft.com/office/drawing/2014/main" id="{C281C1B8-BDE0-4D8B-8153-78EF1581CE19}"/>
                </a:ext>
              </a:extLst>
            </p:cNvPr>
            <p:cNvSpPr/>
            <p:nvPr/>
          </p:nvSpPr>
          <p:spPr>
            <a:xfrm>
              <a:off x="7058205" y="5828542"/>
              <a:ext cx="26393" cy="14736"/>
            </a:xfrm>
            <a:custGeom>
              <a:avLst/>
              <a:gdLst>
                <a:gd name="connsiteX0" fmla="*/ 7369 w 26393"/>
                <a:gd name="connsiteY0" fmla="*/ 7368 h 14736"/>
                <a:gd name="connsiteX1" fmla="*/ 7369 w 26393"/>
                <a:gd name="connsiteY1" fmla="*/ 14735 h 14736"/>
                <a:gd name="connsiteX2" fmla="*/ 19025 w 26393"/>
                <a:gd name="connsiteY2" fmla="*/ 14735 h 14736"/>
                <a:gd name="connsiteX3" fmla="*/ 26393 w 26393"/>
                <a:gd name="connsiteY3" fmla="*/ 7638 h 14736"/>
                <a:gd name="connsiteX4" fmla="*/ 26393 w 26393"/>
                <a:gd name="connsiteY4" fmla="*/ 7368 h 14736"/>
                <a:gd name="connsiteX5" fmla="*/ 19025 w 26393"/>
                <a:gd name="connsiteY5" fmla="*/ 0 h 14736"/>
                <a:gd name="connsiteX6" fmla="*/ 0 w 26393"/>
                <a:gd name="connsiteY6" fmla="*/ 0 h 14736"/>
                <a:gd name="connsiteX7" fmla="*/ 7369 w 26393"/>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93" h="14736">
                  <a:moveTo>
                    <a:pt x="7369" y="7368"/>
                  </a:moveTo>
                  <a:lnTo>
                    <a:pt x="7369" y="14735"/>
                  </a:lnTo>
                  <a:lnTo>
                    <a:pt x="19025" y="14735"/>
                  </a:lnTo>
                  <a:cubicBezTo>
                    <a:pt x="23018" y="14810"/>
                    <a:pt x="26313" y="11633"/>
                    <a:pt x="26393" y="7638"/>
                  </a:cubicBezTo>
                  <a:cubicBezTo>
                    <a:pt x="26393" y="7548"/>
                    <a:pt x="26393" y="7457"/>
                    <a:pt x="26393" y="7368"/>
                  </a:cubicBezTo>
                  <a:cubicBezTo>
                    <a:pt x="26393" y="3298"/>
                    <a:pt x="23098" y="0"/>
                    <a:pt x="19025" y="0"/>
                  </a:cubicBezTo>
                  <a:lnTo>
                    <a:pt x="0" y="0"/>
                  </a:lnTo>
                  <a:cubicBezTo>
                    <a:pt x="4073" y="0"/>
                    <a:pt x="7369" y="3298"/>
                    <a:pt x="7369" y="7368"/>
                  </a:cubicBezTo>
                  <a:close/>
                </a:path>
              </a:pathLst>
            </a:custGeom>
            <a:solidFill>
              <a:srgbClr val="000000"/>
            </a:solidFill>
            <a:ln w="12700" cap="flat">
              <a:noFill/>
              <a:prstDash val="solid"/>
              <a:miter/>
            </a:ln>
          </p:spPr>
          <p:txBody>
            <a:bodyPr rtlCol="0" anchor="ctr"/>
            <a:lstStyle/>
            <a:p>
              <a:endParaRPr lang="en-US"/>
            </a:p>
          </p:txBody>
        </p:sp>
        <p:sp>
          <p:nvSpPr>
            <p:cNvPr id="1215" name="Freeform: Shape 1214">
              <a:extLst>
                <a:ext uri="{FF2B5EF4-FFF2-40B4-BE49-F238E27FC236}">
                  <a16:creationId xmlns:a16="http://schemas.microsoft.com/office/drawing/2014/main" id="{AF97548F-BCCC-44D0-BC7B-89E4B9FCB7AD}"/>
                </a:ext>
              </a:extLst>
            </p:cNvPr>
            <p:cNvSpPr/>
            <p:nvPr/>
          </p:nvSpPr>
          <p:spPr>
            <a:xfrm>
              <a:off x="7050836" y="5828542"/>
              <a:ext cx="14737" cy="58940"/>
            </a:xfrm>
            <a:custGeom>
              <a:avLst/>
              <a:gdLst>
                <a:gd name="connsiteX0" fmla="*/ 7369 w 14737"/>
                <a:gd name="connsiteY0" fmla="*/ 51573 h 58940"/>
                <a:gd name="connsiteX1" fmla="*/ 14737 w 14737"/>
                <a:gd name="connsiteY1" fmla="*/ 58941 h 58940"/>
                <a:gd name="connsiteX2" fmla="*/ 14737 w 14737"/>
                <a:gd name="connsiteY2" fmla="*/ 7368 h 58940"/>
                <a:gd name="connsiteX3" fmla="*/ 7369 w 14737"/>
                <a:gd name="connsiteY3" fmla="*/ 0 h 58940"/>
                <a:gd name="connsiteX4" fmla="*/ 0 w 14737"/>
                <a:gd name="connsiteY4" fmla="*/ 7368 h 58940"/>
                <a:gd name="connsiteX5" fmla="*/ 0 w 14737"/>
                <a:gd name="connsiteY5" fmla="*/ 58673 h 58940"/>
                <a:gd name="connsiteX6" fmla="*/ 7369 w 14737"/>
                <a:gd name="connsiteY6" fmla="*/ 51573 h 5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58940">
                  <a:moveTo>
                    <a:pt x="7369" y="51573"/>
                  </a:moveTo>
                  <a:cubicBezTo>
                    <a:pt x="11442" y="51573"/>
                    <a:pt x="14737" y="54871"/>
                    <a:pt x="14737" y="58941"/>
                  </a:cubicBezTo>
                  <a:lnTo>
                    <a:pt x="14737" y="7368"/>
                  </a:lnTo>
                  <a:cubicBezTo>
                    <a:pt x="14737" y="3298"/>
                    <a:pt x="11442" y="0"/>
                    <a:pt x="7369" y="0"/>
                  </a:cubicBezTo>
                  <a:cubicBezTo>
                    <a:pt x="3295" y="0"/>
                    <a:pt x="0" y="3298"/>
                    <a:pt x="0" y="7368"/>
                  </a:cubicBezTo>
                  <a:lnTo>
                    <a:pt x="0" y="58673"/>
                  </a:lnTo>
                  <a:cubicBezTo>
                    <a:pt x="147" y="54709"/>
                    <a:pt x="3403" y="51571"/>
                    <a:pt x="7369" y="51573"/>
                  </a:cubicBezTo>
                  <a:close/>
                </a:path>
              </a:pathLst>
            </a:custGeom>
            <a:solidFill>
              <a:srgbClr val="000000"/>
            </a:solidFill>
            <a:ln w="12700" cap="flat">
              <a:noFill/>
              <a:prstDash val="solid"/>
              <a:miter/>
            </a:ln>
          </p:spPr>
          <p:txBody>
            <a:bodyPr rtlCol="0" anchor="ctr"/>
            <a:lstStyle/>
            <a:p>
              <a:endParaRPr lang="en-US"/>
            </a:p>
          </p:txBody>
        </p:sp>
        <p:sp>
          <p:nvSpPr>
            <p:cNvPr id="1216" name="Freeform: Shape 1215">
              <a:extLst>
                <a:ext uri="{FF2B5EF4-FFF2-40B4-BE49-F238E27FC236}">
                  <a16:creationId xmlns:a16="http://schemas.microsoft.com/office/drawing/2014/main" id="{0E56E94E-59C8-4EB9-ADC4-8AB482A0BCFA}"/>
                </a:ext>
              </a:extLst>
            </p:cNvPr>
            <p:cNvSpPr/>
            <p:nvPr/>
          </p:nvSpPr>
          <p:spPr>
            <a:xfrm>
              <a:off x="7050836" y="5880116"/>
              <a:ext cx="14737" cy="623568"/>
            </a:xfrm>
            <a:custGeom>
              <a:avLst/>
              <a:gdLst>
                <a:gd name="connsiteX0" fmla="*/ 7369 w 14737"/>
                <a:gd name="connsiteY0" fmla="*/ 623568 h 623568"/>
                <a:gd name="connsiteX1" fmla="*/ 14737 w 14737"/>
                <a:gd name="connsiteY1" fmla="*/ 623568 h 623568"/>
                <a:gd name="connsiteX2" fmla="*/ 14737 w 14737"/>
                <a:gd name="connsiteY2" fmla="*/ 7368 h 623568"/>
                <a:gd name="connsiteX3" fmla="*/ 7369 w 14737"/>
                <a:gd name="connsiteY3" fmla="*/ 0 h 623568"/>
                <a:gd name="connsiteX4" fmla="*/ 0 w 14737"/>
                <a:gd name="connsiteY4" fmla="*/ 7368 h 623568"/>
                <a:gd name="connsiteX5" fmla="*/ 0 w 14737"/>
                <a:gd name="connsiteY5" fmla="*/ 623568 h 62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623568">
                  <a:moveTo>
                    <a:pt x="7369" y="623568"/>
                  </a:moveTo>
                  <a:lnTo>
                    <a:pt x="14737" y="623568"/>
                  </a:lnTo>
                  <a:lnTo>
                    <a:pt x="14737" y="7368"/>
                  </a:lnTo>
                  <a:cubicBezTo>
                    <a:pt x="14737" y="3298"/>
                    <a:pt x="11442" y="0"/>
                    <a:pt x="7369" y="0"/>
                  </a:cubicBezTo>
                  <a:cubicBezTo>
                    <a:pt x="3295" y="0"/>
                    <a:pt x="0" y="3298"/>
                    <a:pt x="0" y="7368"/>
                  </a:cubicBezTo>
                  <a:lnTo>
                    <a:pt x="0" y="623568"/>
                  </a:lnTo>
                  <a:close/>
                </a:path>
              </a:pathLst>
            </a:custGeom>
            <a:solidFill>
              <a:srgbClr val="000000"/>
            </a:solidFill>
            <a:ln w="12700" cap="flat">
              <a:noFill/>
              <a:prstDash val="solid"/>
              <a:miter/>
            </a:ln>
          </p:spPr>
          <p:txBody>
            <a:bodyPr rtlCol="0" anchor="ctr"/>
            <a:lstStyle/>
            <a:p>
              <a:endParaRPr lang="en-US"/>
            </a:p>
          </p:txBody>
        </p:sp>
        <p:sp>
          <p:nvSpPr>
            <p:cNvPr id="1217" name="Freeform: Shape 1216">
              <a:extLst>
                <a:ext uri="{FF2B5EF4-FFF2-40B4-BE49-F238E27FC236}">
                  <a16:creationId xmlns:a16="http://schemas.microsoft.com/office/drawing/2014/main" id="{AFC43392-F56F-418C-A366-D67194783437}"/>
                </a:ext>
              </a:extLst>
            </p:cNvPr>
            <p:cNvSpPr/>
            <p:nvPr/>
          </p:nvSpPr>
          <p:spPr>
            <a:xfrm>
              <a:off x="8349212" y="6293262"/>
              <a:ext cx="14738" cy="215512"/>
            </a:xfrm>
            <a:custGeom>
              <a:avLst/>
              <a:gdLst>
                <a:gd name="connsiteX0" fmla="*/ 13800 w 14738"/>
                <a:gd name="connsiteY0" fmla="*/ 7478 h 215512"/>
                <a:gd name="connsiteX1" fmla="*/ 6431 w 14738"/>
                <a:gd name="connsiteY1" fmla="*/ 111 h 215512"/>
                <a:gd name="connsiteX2" fmla="*/ 4287 w 14738"/>
                <a:gd name="connsiteY2" fmla="*/ 111 h 215512"/>
                <a:gd name="connsiteX3" fmla="*/ 2948 w 14738"/>
                <a:gd name="connsiteY3" fmla="*/ 111 h 215512"/>
                <a:gd name="connsiteX4" fmla="*/ 1876 w 14738"/>
                <a:gd name="connsiteY4" fmla="*/ 914 h 215512"/>
                <a:gd name="connsiteX5" fmla="*/ 804 w 14738"/>
                <a:gd name="connsiteY5" fmla="*/ 1852 h 215512"/>
                <a:gd name="connsiteX6" fmla="*/ 0 w 14738"/>
                <a:gd name="connsiteY6" fmla="*/ 3058 h 215512"/>
                <a:gd name="connsiteX7" fmla="*/ 0 w 14738"/>
                <a:gd name="connsiteY7" fmla="*/ 3995 h 215512"/>
                <a:gd name="connsiteX8" fmla="*/ 0 w 14738"/>
                <a:gd name="connsiteY8" fmla="*/ 3995 h 215512"/>
                <a:gd name="connsiteX9" fmla="*/ 0 w 14738"/>
                <a:gd name="connsiteY9" fmla="*/ 5469 h 215512"/>
                <a:gd name="connsiteX10" fmla="*/ 0 w 14738"/>
                <a:gd name="connsiteY10" fmla="*/ 6273 h 215512"/>
                <a:gd name="connsiteX11" fmla="*/ 0 w 14738"/>
                <a:gd name="connsiteY11" fmla="*/ 6273 h 215512"/>
                <a:gd name="connsiteX12" fmla="*/ 0 w 14738"/>
                <a:gd name="connsiteY12" fmla="*/ 209753 h 215512"/>
                <a:gd name="connsiteX13" fmla="*/ 3081 w 14738"/>
                <a:gd name="connsiteY13" fmla="*/ 209753 h 215512"/>
                <a:gd name="connsiteX14" fmla="*/ 7369 w 14738"/>
                <a:gd name="connsiteY14" fmla="*/ 208145 h 215512"/>
                <a:gd name="connsiteX15" fmla="*/ 14738 w 14738"/>
                <a:gd name="connsiteY15" fmla="*/ 215513 h 215512"/>
                <a:gd name="connsiteX16" fmla="*/ 14738 w 14738"/>
                <a:gd name="connsiteY16" fmla="*/ 7478 h 21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38" h="215512">
                  <a:moveTo>
                    <a:pt x="13800" y="7478"/>
                  </a:moveTo>
                  <a:cubicBezTo>
                    <a:pt x="13800" y="3406"/>
                    <a:pt x="10504" y="111"/>
                    <a:pt x="6431" y="111"/>
                  </a:cubicBezTo>
                  <a:cubicBezTo>
                    <a:pt x="5721" y="-37"/>
                    <a:pt x="4997" y="-37"/>
                    <a:pt x="4287" y="111"/>
                  </a:cubicBezTo>
                  <a:lnTo>
                    <a:pt x="2948" y="111"/>
                  </a:lnTo>
                  <a:cubicBezTo>
                    <a:pt x="2533" y="298"/>
                    <a:pt x="2170" y="579"/>
                    <a:pt x="1876" y="914"/>
                  </a:cubicBezTo>
                  <a:lnTo>
                    <a:pt x="804" y="1852"/>
                  </a:lnTo>
                  <a:lnTo>
                    <a:pt x="0" y="3058"/>
                  </a:lnTo>
                  <a:lnTo>
                    <a:pt x="0" y="3995"/>
                  </a:lnTo>
                  <a:lnTo>
                    <a:pt x="0" y="3995"/>
                  </a:lnTo>
                  <a:cubicBezTo>
                    <a:pt x="0" y="3995"/>
                    <a:pt x="0" y="4933"/>
                    <a:pt x="0" y="5469"/>
                  </a:cubicBezTo>
                  <a:cubicBezTo>
                    <a:pt x="0" y="6005"/>
                    <a:pt x="0" y="5469"/>
                    <a:pt x="0" y="6273"/>
                  </a:cubicBezTo>
                  <a:lnTo>
                    <a:pt x="0" y="6273"/>
                  </a:lnTo>
                  <a:lnTo>
                    <a:pt x="0" y="209753"/>
                  </a:lnTo>
                  <a:lnTo>
                    <a:pt x="3081" y="209753"/>
                  </a:lnTo>
                  <a:cubicBezTo>
                    <a:pt x="4287" y="208761"/>
                    <a:pt x="5801" y="208199"/>
                    <a:pt x="7369" y="208145"/>
                  </a:cubicBezTo>
                  <a:cubicBezTo>
                    <a:pt x="11442" y="208145"/>
                    <a:pt x="14738" y="211441"/>
                    <a:pt x="14738" y="215513"/>
                  </a:cubicBezTo>
                  <a:lnTo>
                    <a:pt x="14738" y="7478"/>
                  </a:lnTo>
                  <a:close/>
                </a:path>
              </a:pathLst>
            </a:custGeom>
            <a:solidFill>
              <a:srgbClr val="000000"/>
            </a:solidFill>
            <a:ln w="12700" cap="flat">
              <a:noFill/>
              <a:prstDash val="solid"/>
              <a:miter/>
            </a:ln>
          </p:spPr>
          <p:txBody>
            <a:bodyPr rtlCol="0" anchor="ctr"/>
            <a:lstStyle/>
            <a:p>
              <a:endParaRPr lang="en-US"/>
            </a:p>
          </p:txBody>
        </p:sp>
        <p:sp>
          <p:nvSpPr>
            <p:cNvPr id="1218" name="Freeform: Shape 1217">
              <a:extLst>
                <a:ext uri="{FF2B5EF4-FFF2-40B4-BE49-F238E27FC236}">
                  <a16:creationId xmlns:a16="http://schemas.microsoft.com/office/drawing/2014/main" id="{FC42F2B8-CB27-4CA7-86BC-601FA8538929}"/>
                </a:ext>
              </a:extLst>
            </p:cNvPr>
            <p:cNvSpPr/>
            <p:nvPr/>
          </p:nvSpPr>
          <p:spPr>
            <a:xfrm>
              <a:off x="8345461" y="6518285"/>
              <a:ext cx="2947" cy="669"/>
            </a:xfrm>
            <a:custGeom>
              <a:avLst/>
              <a:gdLst>
                <a:gd name="connsiteX0" fmla="*/ 1339 w 2947"/>
                <a:gd name="connsiteY0" fmla="*/ 670 h 669"/>
                <a:gd name="connsiteX1" fmla="*/ 2947 w 2947"/>
                <a:gd name="connsiteY1" fmla="*/ 670 h 669"/>
                <a:gd name="connsiteX2" fmla="*/ 2947 w 2947"/>
                <a:gd name="connsiteY2" fmla="*/ 0 h 669"/>
                <a:gd name="connsiteX3" fmla="*/ 0 w 2947"/>
                <a:gd name="connsiteY3" fmla="*/ 670 h 669"/>
              </a:gdLst>
              <a:ahLst/>
              <a:cxnLst>
                <a:cxn ang="0">
                  <a:pos x="connsiteX0" y="connsiteY0"/>
                </a:cxn>
                <a:cxn ang="0">
                  <a:pos x="connsiteX1" y="connsiteY1"/>
                </a:cxn>
                <a:cxn ang="0">
                  <a:pos x="connsiteX2" y="connsiteY2"/>
                </a:cxn>
                <a:cxn ang="0">
                  <a:pos x="connsiteX3" y="connsiteY3"/>
                </a:cxn>
              </a:cxnLst>
              <a:rect l="l" t="t" r="r" b="b"/>
              <a:pathLst>
                <a:path w="2947" h="669">
                  <a:moveTo>
                    <a:pt x="1339" y="670"/>
                  </a:moveTo>
                  <a:lnTo>
                    <a:pt x="2947" y="670"/>
                  </a:lnTo>
                  <a:lnTo>
                    <a:pt x="2947" y="0"/>
                  </a:lnTo>
                  <a:cubicBezTo>
                    <a:pt x="2023" y="429"/>
                    <a:pt x="1018" y="656"/>
                    <a:pt x="0" y="670"/>
                  </a:cubicBezTo>
                  <a:close/>
                </a:path>
              </a:pathLst>
            </a:custGeom>
            <a:solidFill>
              <a:srgbClr val="000000"/>
            </a:solidFill>
            <a:ln w="12700" cap="flat">
              <a:noFill/>
              <a:prstDash val="solid"/>
              <a:miter/>
            </a:ln>
          </p:spPr>
          <p:txBody>
            <a:bodyPr rtlCol="0" anchor="ctr"/>
            <a:lstStyle/>
            <a:p>
              <a:endParaRPr lang="en-US"/>
            </a:p>
          </p:txBody>
        </p:sp>
        <p:sp>
          <p:nvSpPr>
            <p:cNvPr id="1219" name="Freeform: Shape 1218">
              <a:extLst>
                <a:ext uri="{FF2B5EF4-FFF2-40B4-BE49-F238E27FC236}">
                  <a16:creationId xmlns:a16="http://schemas.microsoft.com/office/drawing/2014/main" id="{5DC5D14C-9DD6-473E-B22F-462BA1778AF0}"/>
                </a:ext>
              </a:extLst>
            </p:cNvPr>
            <p:cNvSpPr/>
            <p:nvPr/>
          </p:nvSpPr>
          <p:spPr>
            <a:xfrm>
              <a:off x="8345327" y="6504220"/>
              <a:ext cx="6029" cy="1607"/>
            </a:xfrm>
            <a:custGeom>
              <a:avLst/>
              <a:gdLst>
                <a:gd name="connsiteX0" fmla="*/ 2947 w 6029"/>
                <a:gd name="connsiteY0" fmla="*/ 0 h 1607"/>
                <a:gd name="connsiteX1" fmla="*/ 0 w 6029"/>
                <a:gd name="connsiteY1" fmla="*/ 0 h 1607"/>
                <a:gd name="connsiteX2" fmla="*/ 4421 w 6029"/>
                <a:gd name="connsiteY2" fmla="*/ 1608 h 1607"/>
                <a:gd name="connsiteX3" fmla="*/ 6029 w 6029"/>
                <a:gd name="connsiteY3" fmla="*/ 0 h 1607"/>
              </a:gdLst>
              <a:ahLst/>
              <a:cxnLst>
                <a:cxn ang="0">
                  <a:pos x="connsiteX0" y="connsiteY0"/>
                </a:cxn>
                <a:cxn ang="0">
                  <a:pos x="connsiteX1" y="connsiteY1"/>
                </a:cxn>
                <a:cxn ang="0">
                  <a:pos x="connsiteX2" y="connsiteY2"/>
                </a:cxn>
                <a:cxn ang="0">
                  <a:pos x="connsiteX3" y="connsiteY3"/>
                </a:cxn>
              </a:cxnLst>
              <a:rect l="l" t="t" r="r" b="b"/>
              <a:pathLst>
                <a:path w="6029" h="1607">
                  <a:moveTo>
                    <a:pt x="2947" y="0"/>
                  </a:moveTo>
                  <a:lnTo>
                    <a:pt x="0" y="0"/>
                  </a:lnTo>
                  <a:cubicBezTo>
                    <a:pt x="1608" y="13"/>
                    <a:pt x="3175" y="589"/>
                    <a:pt x="4421" y="1608"/>
                  </a:cubicBezTo>
                  <a:cubicBezTo>
                    <a:pt x="4810" y="938"/>
                    <a:pt x="5373" y="389"/>
                    <a:pt x="6029" y="0"/>
                  </a:cubicBezTo>
                  <a:close/>
                </a:path>
              </a:pathLst>
            </a:custGeom>
            <a:solidFill>
              <a:srgbClr val="000000"/>
            </a:solidFill>
            <a:ln w="12700" cap="flat">
              <a:noFill/>
              <a:prstDash val="solid"/>
              <a:miter/>
            </a:ln>
          </p:spPr>
          <p:txBody>
            <a:bodyPr rtlCol="0" anchor="ctr"/>
            <a:lstStyle/>
            <a:p>
              <a:endParaRPr lang="en-US"/>
            </a:p>
          </p:txBody>
        </p:sp>
        <p:sp>
          <p:nvSpPr>
            <p:cNvPr id="1220" name="Freeform: Shape 1219">
              <a:extLst>
                <a:ext uri="{FF2B5EF4-FFF2-40B4-BE49-F238E27FC236}">
                  <a16:creationId xmlns:a16="http://schemas.microsoft.com/office/drawing/2014/main" id="{9F70EB4F-D053-4BD8-A006-10AD0C7A94B3}"/>
                </a:ext>
              </a:extLst>
            </p:cNvPr>
            <p:cNvSpPr/>
            <p:nvPr/>
          </p:nvSpPr>
          <p:spPr>
            <a:xfrm>
              <a:off x="8080856" y="6503952"/>
              <a:ext cx="268892" cy="14735"/>
            </a:xfrm>
            <a:custGeom>
              <a:avLst/>
              <a:gdLst>
                <a:gd name="connsiteX0" fmla="*/ 267419 w 268892"/>
                <a:gd name="connsiteY0" fmla="*/ 5760 h 14735"/>
                <a:gd name="connsiteX1" fmla="*/ 268892 w 268892"/>
                <a:gd name="connsiteY1" fmla="*/ 1607 h 14735"/>
                <a:gd name="connsiteX2" fmla="*/ 264472 w 268892"/>
                <a:gd name="connsiteY2" fmla="*/ 0 h 14735"/>
                <a:gd name="connsiteX3" fmla="*/ 5761 w 268892"/>
                <a:gd name="connsiteY3" fmla="*/ 0 h 14735"/>
                <a:gd name="connsiteX4" fmla="*/ 5761 w 268892"/>
                <a:gd name="connsiteY4" fmla="*/ 7635 h 14735"/>
                <a:gd name="connsiteX5" fmla="*/ 0 w 268892"/>
                <a:gd name="connsiteY5" fmla="*/ 14735 h 14735"/>
                <a:gd name="connsiteX6" fmla="*/ 264472 w 268892"/>
                <a:gd name="connsiteY6" fmla="*/ 14735 h 14735"/>
                <a:gd name="connsiteX7" fmla="*/ 267419 w 268892"/>
                <a:gd name="connsiteY7" fmla="*/ 14065 h 14735"/>
                <a:gd name="connsiteX8" fmla="*/ 267419 w 268892"/>
                <a:gd name="connsiteY8" fmla="*/ 576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92" h="14735">
                  <a:moveTo>
                    <a:pt x="267419" y="5760"/>
                  </a:moveTo>
                  <a:cubicBezTo>
                    <a:pt x="267473" y="4260"/>
                    <a:pt x="267995" y="2813"/>
                    <a:pt x="268892" y="1607"/>
                  </a:cubicBezTo>
                  <a:cubicBezTo>
                    <a:pt x="267647" y="589"/>
                    <a:pt x="266079" y="13"/>
                    <a:pt x="264472" y="0"/>
                  </a:cubicBezTo>
                  <a:lnTo>
                    <a:pt x="5761" y="0"/>
                  </a:lnTo>
                  <a:lnTo>
                    <a:pt x="5761" y="7635"/>
                  </a:lnTo>
                  <a:cubicBezTo>
                    <a:pt x="5774" y="11065"/>
                    <a:pt x="3363" y="14039"/>
                    <a:pt x="0" y="14735"/>
                  </a:cubicBezTo>
                  <a:lnTo>
                    <a:pt x="264472" y="14735"/>
                  </a:lnTo>
                  <a:cubicBezTo>
                    <a:pt x="265490" y="14722"/>
                    <a:pt x="266495" y="14494"/>
                    <a:pt x="267419" y="14065"/>
                  </a:cubicBezTo>
                  <a:lnTo>
                    <a:pt x="267419" y="5760"/>
                  </a:lnTo>
                  <a:close/>
                </a:path>
              </a:pathLst>
            </a:custGeom>
            <a:solidFill>
              <a:srgbClr val="000000"/>
            </a:solidFill>
            <a:ln w="12700" cap="flat">
              <a:noFill/>
              <a:prstDash val="solid"/>
              <a:miter/>
            </a:ln>
          </p:spPr>
          <p:txBody>
            <a:bodyPr rtlCol="0" anchor="ctr"/>
            <a:lstStyle/>
            <a:p>
              <a:endParaRPr lang="en-US"/>
            </a:p>
          </p:txBody>
        </p:sp>
        <p:sp>
          <p:nvSpPr>
            <p:cNvPr id="1221" name="Freeform: Shape 1220">
              <a:extLst>
                <a:ext uri="{FF2B5EF4-FFF2-40B4-BE49-F238E27FC236}">
                  <a16:creationId xmlns:a16="http://schemas.microsoft.com/office/drawing/2014/main" id="{D82B2B61-8FEE-4AE9-8BFA-C3D316401224}"/>
                </a:ext>
              </a:extLst>
            </p:cNvPr>
            <p:cNvSpPr/>
            <p:nvPr/>
          </p:nvSpPr>
          <p:spPr>
            <a:xfrm>
              <a:off x="8348274" y="6026262"/>
              <a:ext cx="14738" cy="143601"/>
            </a:xfrm>
            <a:custGeom>
              <a:avLst/>
              <a:gdLst>
                <a:gd name="connsiteX0" fmla="*/ 13934 w 14738"/>
                <a:gd name="connsiteY0" fmla="*/ 143601 h 143601"/>
                <a:gd name="connsiteX1" fmla="*/ 14738 w 14738"/>
                <a:gd name="connsiteY1" fmla="*/ 143601 h 143601"/>
                <a:gd name="connsiteX2" fmla="*/ 14738 w 14738"/>
                <a:gd name="connsiteY2" fmla="*/ 0 h 143601"/>
                <a:gd name="connsiteX3" fmla="*/ 7369 w 14738"/>
                <a:gd name="connsiteY3" fmla="*/ 7368 h 143601"/>
                <a:gd name="connsiteX4" fmla="*/ 0 w 14738"/>
                <a:gd name="connsiteY4" fmla="*/ 0 h 143601"/>
                <a:gd name="connsiteX5" fmla="*/ 0 w 14738"/>
                <a:gd name="connsiteY5" fmla="*/ 143601 h 143601"/>
                <a:gd name="connsiteX6" fmla="*/ 13398 w 14738"/>
                <a:gd name="connsiteY6" fmla="*/ 143601 h 14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43601">
                  <a:moveTo>
                    <a:pt x="13934" y="143601"/>
                  </a:moveTo>
                  <a:lnTo>
                    <a:pt x="14738" y="143601"/>
                  </a:lnTo>
                  <a:lnTo>
                    <a:pt x="14738" y="0"/>
                  </a:lnTo>
                  <a:cubicBezTo>
                    <a:pt x="14738" y="4070"/>
                    <a:pt x="11442" y="7368"/>
                    <a:pt x="7369" y="7368"/>
                  </a:cubicBezTo>
                  <a:cubicBezTo>
                    <a:pt x="3296" y="7368"/>
                    <a:pt x="0" y="4070"/>
                    <a:pt x="0" y="0"/>
                  </a:cubicBezTo>
                  <a:lnTo>
                    <a:pt x="0" y="143601"/>
                  </a:lnTo>
                  <a:lnTo>
                    <a:pt x="13398" y="143601"/>
                  </a:lnTo>
                  <a:close/>
                </a:path>
              </a:pathLst>
            </a:custGeom>
            <a:solidFill>
              <a:srgbClr val="000000"/>
            </a:solidFill>
            <a:ln w="12700" cap="flat">
              <a:noFill/>
              <a:prstDash val="solid"/>
              <a:miter/>
            </a:ln>
          </p:spPr>
          <p:txBody>
            <a:bodyPr rtlCol="0" anchor="ctr"/>
            <a:lstStyle/>
            <a:p>
              <a:endParaRPr lang="en-US"/>
            </a:p>
          </p:txBody>
        </p:sp>
        <p:sp>
          <p:nvSpPr>
            <p:cNvPr id="1222" name="Freeform: Shape 1221">
              <a:extLst>
                <a:ext uri="{FF2B5EF4-FFF2-40B4-BE49-F238E27FC236}">
                  <a16:creationId xmlns:a16="http://schemas.microsoft.com/office/drawing/2014/main" id="{B5A9E9A3-AF02-4001-8576-E0D1985A6D2A}"/>
                </a:ext>
              </a:extLst>
            </p:cNvPr>
            <p:cNvSpPr/>
            <p:nvPr/>
          </p:nvSpPr>
          <p:spPr>
            <a:xfrm>
              <a:off x="8174506" y="4969076"/>
              <a:ext cx="181539" cy="14735"/>
            </a:xfrm>
            <a:custGeom>
              <a:avLst/>
              <a:gdLst>
                <a:gd name="connsiteX0" fmla="*/ 7369 w 181539"/>
                <a:gd name="connsiteY0" fmla="*/ 7368 h 14735"/>
                <a:gd name="connsiteX1" fmla="*/ 0 w 181539"/>
                <a:gd name="connsiteY1" fmla="*/ 14735 h 14735"/>
                <a:gd name="connsiteX2" fmla="*/ 174171 w 181539"/>
                <a:gd name="connsiteY2" fmla="*/ 14735 h 14735"/>
                <a:gd name="connsiteX3" fmla="*/ 174171 w 181539"/>
                <a:gd name="connsiteY3" fmla="*/ 7368 h 14735"/>
                <a:gd name="connsiteX4" fmla="*/ 181539 w 181539"/>
                <a:gd name="connsiteY4" fmla="*/ 0 h 14735"/>
                <a:gd name="connsiteX5" fmla="*/ 0 w 181539"/>
                <a:gd name="connsiteY5" fmla="*/ 0 h 14735"/>
                <a:gd name="connsiteX6" fmla="*/ 7369 w 181539"/>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39" h="14735">
                  <a:moveTo>
                    <a:pt x="7369" y="7368"/>
                  </a:moveTo>
                  <a:cubicBezTo>
                    <a:pt x="7369" y="11437"/>
                    <a:pt x="4072" y="14735"/>
                    <a:pt x="0" y="14735"/>
                  </a:cubicBezTo>
                  <a:lnTo>
                    <a:pt x="174171" y="14735"/>
                  </a:lnTo>
                  <a:lnTo>
                    <a:pt x="174171" y="7368"/>
                  </a:lnTo>
                  <a:cubicBezTo>
                    <a:pt x="174171" y="3298"/>
                    <a:pt x="177466" y="0"/>
                    <a:pt x="181539" y="0"/>
                  </a:cubicBezTo>
                  <a:lnTo>
                    <a:pt x="0" y="0"/>
                  </a:lnTo>
                  <a:cubicBezTo>
                    <a:pt x="4072" y="0"/>
                    <a:pt x="7369" y="3298"/>
                    <a:pt x="7369" y="7368"/>
                  </a:cubicBezTo>
                  <a:close/>
                </a:path>
              </a:pathLst>
            </a:custGeom>
            <a:solidFill>
              <a:srgbClr val="000000"/>
            </a:solidFill>
            <a:ln w="12700" cap="flat">
              <a:noFill/>
              <a:prstDash val="solid"/>
              <a:miter/>
            </a:ln>
          </p:spPr>
          <p:txBody>
            <a:bodyPr rtlCol="0" anchor="ctr"/>
            <a:lstStyle/>
            <a:p>
              <a:endParaRPr lang="en-US"/>
            </a:p>
          </p:txBody>
        </p:sp>
        <p:sp>
          <p:nvSpPr>
            <p:cNvPr id="1223" name="Freeform: Shape 1222">
              <a:extLst>
                <a:ext uri="{FF2B5EF4-FFF2-40B4-BE49-F238E27FC236}">
                  <a16:creationId xmlns:a16="http://schemas.microsoft.com/office/drawing/2014/main" id="{B9EBB72D-D9EF-41F3-9456-08BAFA788324}"/>
                </a:ext>
              </a:extLst>
            </p:cNvPr>
            <p:cNvSpPr/>
            <p:nvPr/>
          </p:nvSpPr>
          <p:spPr>
            <a:xfrm>
              <a:off x="8067843" y="4968406"/>
              <a:ext cx="114567" cy="14735"/>
            </a:xfrm>
            <a:custGeom>
              <a:avLst/>
              <a:gdLst>
                <a:gd name="connsiteX0" fmla="*/ 6984 w 114567"/>
                <a:gd name="connsiteY0" fmla="*/ 804 h 14735"/>
                <a:gd name="connsiteX1" fmla="*/ 4170 w 114567"/>
                <a:gd name="connsiteY1" fmla="*/ 804 h 14735"/>
                <a:gd name="connsiteX2" fmla="*/ 2965 w 114567"/>
                <a:gd name="connsiteY2" fmla="*/ 1607 h 14735"/>
                <a:gd name="connsiteX3" fmla="*/ 1759 w 114567"/>
                <a:gd name="connsiteY3" fmla="*/ 2411 h 14735"/>
                <a:gd name="connsiteX4" fmla="*/ 151 w 114567"/>
                <a:gd name="connsiteY4" fmla="*/ 4689 h 14735"/>
                <a:gd name="connsiteX5" fmla="*/ 151 w 114567"/>
                <a:gd name="connsiteY5" fmla="*/ 7636 h 14735"/>
                <a:gd name="connsiteX6" fmla="*/ 6180 w 114567"/>
                <a:gd name="connsiteY6" fmla="*/ 14735 h 14735"/>
                <a:gd name="connsiteX7" fmla="*/ 7519 w 114567"/>
                <a:gd name="connsiteY7" fmla="*/ 14735 h 14735"/>
                <a:gd name="connsiteX8" fmla="*/ 107199 w 114567"/>
                <a:gd name="connsiteY8" fmla="*/ 14735 h 14735"/>
                <a:gd name="connsiteX9" fmla="*/ 114567 w 114567"/>
                <a:gd name="connsiteY9" fmla="*/ 7368 h 14735"/>
                <a:gd name="connsiteX10" fmla="*/ 107199 w 114567"/>
                <a:gd name="connsiteY10" fmla="*/ 0 h 14735"/>
                <a:gd name="connsiteX11" fmla="*/ 6984 w 114567"/>
                <a:gd name="connsiteY11"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67" h="14735">
                  <a:moveTo>
                    <a:pt x="6984" y="804"/>
                  </a:moveTo>
                  <a:cubicBezTo>
                    <a:pt x="6059" y="587"/>
                    <a:pt x="5095" y="587"/>
                    <a:pt x="4170" y="804"/>
                  </a:cubicBezTo>
                  <a:cubicBezTo>
                    <a:pt x="4170" y="804"/>
                    <a:pt x="3366" y="804"/>
                    <a:pt x="2965" y="1607"/>
                  </a:cubicBezTo>
                  <a:lnTo>
                    <a:pt x="1759" y="2411"/>
                  </a:lnTo>
                  <a:cubicBezTo>
                    <a:pt x="1102" y="3081"/>
                    <a:pt x="566" y="3849"/>
                    <a:pt x="151" y="4689"/>
                  </a:cubicBezTo>
                  <a:cubicBezTo>
                    <a:pt x="-50" y="5661"/>
                    <a:pt x="-50" y="6663"/>
                    <a:pt x="151" y="7636"/>
                  </a:cubicBezTo>
                  <a:cubicBezTo>
                    <a:pt x="218" y="11133"/>
                    <a:pt x="2737" y="14100"/>
                    <a:pt x="6180" y="14735"/>
                  </a:cubicBezTo>
                  <a:lnTo>
                    <a:pt x="7519" y="14735"/>
                  </a:lnTo>
                  <a:lnTo>
                    <a:pt x="107199" y="14735"/>
                  </a:lnTo>
                  <a:cubicBezTo>
                    <a:pt x="111272" y="14735"/>
                    <a:pt x="114567" y="11437"/>
                    <a:pt x="114567" y="7368"/>
                  </a:cubicBezTo>
                  <a:cubicBezTo>
                    <a:pt x="114567" y="3298"/>
                    <a:pt x="111272" y="0"/>
                    <a:pt x="107199" y="0"/>
                  </a:cubicBezTo>
                  <a:lnTo>
                    <a:pt x="6984" y="0"/>
                  </a:lnTo>
                  <a:close/>
                </a:path>
              </a:pathLst>
            </a:custGeom>
            <a:solidFill>
              <a:srgbClr val="000000"/>
            </a:solidFill>
            <a:ln w="12700" cap="flat">
              <a:noFill/>
              <a:prstDash val="solid"/>
              <a:miter/>
            </a:ln>
          </p:spPr>
          <p:txBody>
            <a:bodyPr rtlCol="0" anchor="ctr"/>
            <a:lstStyle/>
            <a:p>
              <a:endParaRPr lang="en-US"/>
            </a:p>
          </p:txBody>
        </p:sp>
        <p:sp>
          <p:nvSpPr>
            <p:cNvPr id="1224" name="Freeform: Shape 1223">
              <a:extLst>
                <a:ext uri="{FF2B5EF4-FFF2-40B4-BE49-F238E27FC236}">
                  <a16:creationId xmlns:a16="http://schemas.microsoft.com/office/drawing/2014/main" id="{57F77928-4A3A-4C80-995D-76465BA3F91D}"/>
                </a:ext>
              </a:extLst>
            </p:cNvPr>
            <p:cNvSpPr/>
            <p:nvPr/>
          </p:nvSpPr>
          <p:spPr>
            <a:xfrm>
              <a:off x="7904675" y="6165036"/>
              <a:ext cx="142149" cy="4827"/>
            </a:xfrm>
            <a:custGeom>
              <a:avLst/>
              <a:gdLst>
                <a:gd name="connsiteX0" fmla="*/ 7101 w 142149"/>
                <a:gd name="connsiteY0" fmla="*/ 4828 h 4827"/>
                <a:gd name="connsiteX1" fmla="*/ 142150 w 142149"/>
                <a:gd name="connsiteY1" fmla="*/ 4828 h 4827"/>
                <a:gd name="connsiteX2" fmla="*/ 142150 w 142149"/>
                <a:gd name="connsiteY2" fmla="*/ 5 h 4827"/>
                <a:gd name="connsiteX3" fmla="*/ 0 w 142149"/>
                <a:gd name="connsiteY3" fmla="*/ 5 h 4827"/>
                <a:gd name="connsiteX4" fmla="*/ 7101 w 142149"/>
                <a:gd name="connsiteY4" fmla="*/ 4828 h 4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49" h="4827">
                  <a:moveTo>
                    <a:pt x="7101" y="4828"/>
                  </a:moveTo>
                  <a:lnTo>
                    <a:pt x="142150" y="4828"/>
                  </a:lnTo>
                  <a:lnTo>
                    <a:pt x="142150" y="5"/>
                  </a:lnTo>
                  <a:lnTo>
                    <a:pt x="0" y="5"/>
                  </a:lnTo>
                  <a:cubicBezTo>
                    <a:pt x="3162" y="-115"/>
                    <a:pt x="6042" y="1840"/>
                    <a:pt x="7101" y="4828"/>
                  </a:cubicBezTo>
                  <a:close/>
                </a:path>
              </a:pathLst>
            </a:custGeom>
            <a:solidFill>
              <a:srgbClr val="000000"/>
            </a:solidFill>
            <a:ln w="12700" cap="flat">
              <a:noFill/>
              <a:prstDash val="solid"/>
              <a:miter/>
            </a:ln>
          </p:spPr>
          <p:txBody>
            <a:bodyPr rtlCol="0" anchor="ctr"/>
            <a:lstStyle/>
            <a:p>
              <a:endParaRPr lang="en-US"/>
            </a:p>
          </p:txBody>
        </p:sp>
        <p:sp>
          <p:nvSpPr>
            <p:cNvPr id="1225" name="Freeform: Shape 1224">
              <a:extLst>
                <a:ext uri="{FF2B5EF4-FFF2-40B4-BE49-F238E27FC236}">
                  <a16:creationId xmlns:a16="http://schemas.microsoft.com/office/drawing/2014/main" id="{23B35023-C6D8-4EE1-85BA-2E07EE3DEDEF}"/>
                </a:ext>
              </a:extLst>
            </p:cNvPr>
            <p:cNvSpPr/>
            <p:nvPr/>
          </p:nvSpPr>
          <p:spPr>
            <a:xfrm>
              <a:off x="7828248" y="6158598"/>
              <a:ext cx="13860" cy="10328"/>
            </a:xfrm>
            <a:custGeom>
              <a:avLst/>
              <a:gdLst>
                <a:gd name="connsiteX0" fmla="*/ 6625 w 13860"/>
                <a:gd name="connsiteY0" fmla="*/ 6443 h 10328"/>
                <a:gd name="connsiteX1" fmla="*/ 13860 w 13860"/>
                <a:gd name="connsiteY1" fmla="*/ 6443 h 10328"/>
                <a:gd name="connsiteX2" fmla="*/ 13056 w 13860"/>
                <a:gd name="connsiteY2" fmla="*/ 3898 h 10328"/>
                <a:gd name="connsiteX3" fmla="*/ 11449 w 13860"/>
                <a:gd name="connsiteY3" fmla="*/ 1889 h 10328"/>
                <a:gd name="connsiteX4" fmla="*/ 1802 w 13860"/>
                <a:gd name="connsiteY4" fmla="*/ 1889 h 10328"/>
                <a:gd name="connsiteX5" fmla="*/ 864 w 13860"/>
                <a:gd name="connsiteY5" fmla="*/ 3094 h 10328"/>
                <a:gd name="connsiteX6" fmla="*/ 60 w 13860"/>
                <a:gd name="connsiteY6" fmla="*/ 4166 h 10328"/>
                <a:gd name="connsiteX7" fmla="*/ 60 w 13860"/>
                <a:gd name="connsiteY7" fmla="*/ 4970 h 10328"/>
                <a:gd name="connsiteX8" fmla="*/ 60 w 13860"/>
                <a:gd name="connsiteY8" fmla="*/ 6443 h 10328"/>
                <a:gd name="connsiteX9" fmla="*/ 60 w 13860"/>
                <a:gd name="connsiteY9" fmla="*/ 6443 h 10328"/>
                <a:gd name="connsiteX10" fmla="*/ 60 w 13860"/>
                <a:gd name="connsiteY10" fmla="*/ 10328 h 10328"/>
                <a:gd name="connsiteX11" fmla="*/ 60 w 13860"/>
                <a:gd name="connsiteY11" fmla="*/ 10328 h 10328"/>
                <a:gd name="connsiteX12" fmla="*/ 6625 w 13860"/>
                <a:gd name="connsiteY12" fmla="*/ 6443 h 1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60" h="10328">
                  <a:moveTo>
                    <a:pt x="6625" y="6443"/>
                  </a:moveTo>
                  <a:lnTo>
                    <a:pt x="13860" y="6443"/>
                  </a:lnTo>
                  <a:cubicBezTo>
                    <a:pt x="13739" y="5559"/>
                    <a:pt x="13458" y="4702"/>
                    <a:pt x="13056" y="3898"/>
                  </a:cubicBezTo>
                  <a:cubicBezTo>
                    <a:pt x="12681" y="3121"/>
                    <a:pt x="12131" y="2438"/>
                    <a:pt x="11449" y="1889"/>
                  </a:cubicBezTo>
                  <a:cubicBezTo>
                    <a:pt x="8729" y="-630"/>
                    <a:pt x="4522" y="-630"/>
                    <a:pt x="1802" y="1889"/>
                  </a:cubicBezTo>
                  <a:lnTo>
                    <a:pt x="864" y="3094"/>
                  </a:lnTo>
                  <a:lnTo>
                    <a:pt x="60" y="4166"/>
                  </a:lnTo>
                  <a:cubicBezTo>
                    <a:pt x="127" y="4434"/>
                    <a:pt x="127" y="4702"/>
                    <a:pt x="60" y="4970"/>
                  </a:cubicBezTo>
                  <a:cubicBezTo>
                    <a:pt x="-20" y="5452"/>
                    <a:pt x="-20" y="5961"/>
                    <a:pt x="60" y="6443"/>
                  </a:cubicBezTo>
                  <a:cubicBezTo>
                    <a:pt x="60" y="6443"/>
                    <a:pt x="60" y="6443"/>
                    <a:pt x="60" y="6443"/>
                  </a:cubicBezTo>
                  <a:lnTo>
                    <a:pt x="60" y="10328"/>
                  </a:lnTo>
                  <a:lnTo>
                    <a:pt x="60" y="10328"/>
                  </a:lnTo>
                  <a:cubicBezTo>
                    <a:pt x="1359" y="7917"/>
                    <a:pt x="3879" y="6417"/>
                    <a:pt x="6625" y="6443"/>
                  </a:cubicBezTo>
                  <a:close/>
                </a:path>
              </a:pathLst>
            </a:custGeom>
            <a:solidFill>
              <a:srgbClr val="000000"/>
            </a:solidFill>
            <a:ln w="12700" cap="flat">
              <a:noFill/>
              <a:prstDash val="solid"/>
              <a:miter/>
            </a:ln>
          </p:spPr>
          <p:txBody>
            <a:bodyPr rtlCol="0" anchor="ctr"/>
            <a:lstStyle/>
            <a:p>
              <a:endParaRPr lang="en-US"/>
            </a:p>
          </p:txBody>
        </p:sp>
        <p:sp>
          <p:nvSpPr>
            <p:cNvPr id="1226" name="Freeform: Shape 1225">
              <a:extLst>
                <a:ext uri="{FF2B5EF4-FFF2-40B4-BE49-F238E27FC236}">
                  <a16:creationId xmlns:a16="http://schemas.microsoft.com/office/drawing/2014/main" id="{B2542536-6D78-47DB-941B-43537FDCAE7B}"/>
                </a:ext>
              </a:extLst>
            </p:cNvPr>
            <p:cNvSpPr/>
            <p:nvPr/>
          </p:nvSpPr>
          <p:spPr>
            <a:xfrm>
              <a:off x="8747394" y="5808047"/>
              <a:ext cx="60959" cy="14736"/>
            </a:xfrm>
            <a:custGeom>
              <a:avLst/>
              <a:gdLst>
                <a:gd name="connsiteX0" fmla="*/ 7369 w 60959"/>
                <a:gd name="connsiteY0" fmla="*/ 7368 h 14736"/>
                <a:gd name="connsiteX1" fmla="*/ 267 w 60959"/>
                <a:gd name="connsiteY1" fmla="*/ 14735 h 14736"/>
                <a:gd name="connsiteX2" fmla="*/ 0 w 60959"/>
                <a:gd name="connsiteY2" fmla="*/ 14735 h 14736"/>
                <a:gd name="connsiteX3" fmla="*/ 53591 w 60959"/>
                <a:gd name="connsiteY3" fmla="*/ 14735 h 14736"/>
                <a:gd name="connsiteX4" fmla="*/ 60960 w 60959"/>
                <a:gd name="connsiteY4" fmla="*/ 7368 h 14736"/>
                <a:gd name="connsiteX5" fmla="*/ 53591 w 60959"/>
                <a:gd name="connsiteY5" fmla="*/ 0 h 14736"/>
                <a:gd name="connsiteX6" fmla="*/ 0 w 60959"/>
                <a:gd name="connsiteY6" fmla="*/ 0 h 14736"/>
                <a:gd name="connsiteX7" fmla="*/ 7369 w 60959"/>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 h="14736">
                  <a:moveTo>
                    <a:pt x="7369" y="7368"/>
                  </a:moveTo>
                  <a:cubicBezTo>
                    <a:pt x="7449" y="11362"/>
                    <a:pt x="4260" y="14660"/>
                    <a:pt x="267" y="14735"/>
                  </a:cubicBezTo>
                  <a:cubicBezTo>
                    <a:pt x="187" y="14737"/>
                    <a:pt x="93" y="14737"/>
                    <a:pt x="0" y="14735"/>
                  </a:cubicBezTo>
                  <a:lnTo>
                    <a:pt x="53591" y="14735"/>
                  </a:lnTo>
                  <a:cubicBezTo>
                    <a:pt x="57663" y="14735"/>
                    <a:pt x="60960" y="11437"/>
                    <a:pt x="60960" y="7368"/>
                  </a:cubicBezTo>
                  <a:cubicBezTo>
                    <a:pt x="60960" y="3298"/>
                    <a:pt x="57663" y="0"/>
                    <a:pt x="53591" y="0"/>
                  </a:cubicBezTo>
                  <a:lnTo>
                    <a:pt x="0" y="0"/>
                  </a:lnTo>
                  <a:cubicBezTo>
                    <a:pt x="4072" y="0"/>
                    <a:pt x="7369" y="3298"/>
                    <a:pt x="7369" y="7368"/>
                  </a:cubicBezTo>
                  <a:close/>
                </a:path>
              </a:pathLst>
            </a:custGeom>
            <a:solidFill>
              <a:srgbClr val="000000"/>
            </a:solidFill>
            <a:ln w="12700" cap="flat">
              <a:noFill/>
              <a:prstDash val="solid"/>
              <a:miter/>
            </a:ln>
          </p:spPr>
          <p:txBody>
            <a:bodyPr rtlCol="0" anchor="ctr"/>
            <a:lstStyle/>
            <a:p>
              <a:endParaRPr lang="en-US"/>
            </a:p>
          </p:txBody>
        </p:sp>
        <p:sp>
          <p:nvSpPr>
            <p:cNvPr id="1227" name="Freeform: Shape 1226">
              <a:extLst>
                <a:ext uri="{FF2B5EF4-FFF2-40B4-BE49-F238E27FC236}">
                  <a16:creationId xmlns:a16="http://schemas.microsoft.com/office/drawing/2014/main" id="{FF434249-55EF-4F17-B129-27A9C18202C7}"/>
                </a:ext>
              </a:extLst>
            </p:cNvPr>
            <p:cNvSpPr/>
            <p:nvPr/>
          </p:nvSpPr>
          <p:spPr>
            <a:xfrm>
              <a:off x="8363012" y="5808047"/>
              <a:ext cx="391750" cy="14736"/>
            </a:xfrm>
            <a:custGeom>
              <a:avLst/>
              <a:gdLst>
                <a:gd name="connsiteX0" fmla="*/ 0 w 391750"/>
                <a:gd name="connsiteY0" fmla="*/ 7368 h 14736"/>
                <a:gd name="connsiteX1" fmla="*/ 0 w 391750"/>
                <a:gd name="connsiteY1" fmla="*/ 14735 h 14736"/>
                <a:gd name="connsiteX2" fmla="*/ 384382 w 391750"/>
                <a:gd name="connsiteY2" fmla="*/ 14735 h 14736"/>
                <a:gd name="connsiteX3" fmla="*/ 391750 w 391750"/>
                <a:gd name="connsiteY3" fmla="*/ 7638 h 14736"/>
                <a:gd name="connsiteX4" fmla="*/ 391750 w 391750"/>
                <a:gd name="connsiteY4" fmla="*/ 7368 h 14736"/>
                <a:gd name="connsiteX5" fmla="*/ 384382 w 391750"/>
                <a:gd name="connsiteY5" fmla="*/ 0 h 14736"/>
                <a:gd name="connsiteX6" fmla="*/ 0 w 391750"/>
                <a:gd name="connsiteY6" fmla="*/ 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750" h="14736">
                  <a:moveTo>
                    <a:pt x="0" y="7368"/>
                  </a:moveTo>
                  <a:lnTo>
                    <a:pt x="0" y="14735"/>
                  </a:lnTo>
                  <a:lnTo>
                    <a:pt x="384382" y="14735"/>
                  </a:lnTo>
                  <a:cubicBezTo>
                    <a:pt x="388374" y="14810"/>
                    <a:pt x="391669" y="11633"/>
                    <a:pt x="391750" y="7638"/>
                  </a:cubicBezTo>
                  <a:cubicBezTo>
                    <a:pt x="391750" y="7548"/>
                    <a:pt x="391750" y="7457"/>
                    <a:pt x="391750" y="7368"/>
                  </a:cubicBezTo>
                  <a:cubicBezTo>
                    <a:pt x="391750" y="3298"/>
                    <a:pt x="388454" y="0"/>
                    <a:pt x="384382" y="0"/>
                  </a:cubicBezTo>
                  <a:lnTo>
                    <a:pt x="0" y="0"/>
                  </a:lnTo>
                  <a:close/>
                </a:path>
              </a:pathLst>
            </a:custGeom>
            <a:solidFill>
              <a:srgbClr val="000000"/>
            </a:solidFill>
            <a:ln w="12700" cap="flat">
              <a:noFill/>
              <a:prstDash val="solid"/>
              <a:miter/>
            </a:ln>
          </p:spPr>
          <p:txBody>
            <a:bodyPr rtlCol="0" anchor="ctr"/>
            <a:lstStyle/>
            <a:p>
              <a:endParaRPr lang="en-US"/>
            </a:p>
          </p:txBody>
        </p:sp>
        <p:sp>
          <p:nvSpPr>
            <p:cNvPr id="1228" name="Freeform: Shape 1227">
              <a:extLst>
                <a:ext uri="{FF2B5EF4-FFF2-40B4-BE49-F238E27FC236}">
                  <a16:creationId xmlns:a16="http://schemas.microsoft.com/office/drawing/2014/main" id="{7DCC383B-81D0-448E-93A9-FBEB4AAA33A0}"/>
                </a:ext>
              </a:extLst>
            </p:cNvPr>
            <p:cNvSpPr/>
            <p:nvPr/>
          </p:nvSpPr>
          <p:spPr>
            <a:xfrm>
              <a:off x="7904675" y="5808047"/>
              <a:ext cx="155681" cy="14736"/>
            </a:xfrm>
            <a:custGeom>
              <a:avLst/>
              <a:gdLst>
                <a:gd name="connsiteX0" fmla="*/ 155682 w 155681"/>
                <a:gd name="connsiteY0" fmla="*/ 0 h 14736"/>
                <a:gd name="connsiteX1" fmla="*/ 0 w 155681"/>
                <a:gd name="connsiteY1" fmla="*/ 0 h 14736"/>
                <a:gd name="connsiteX2" fmla="*/ 7369 w 155681"/>
                <a:gd name="connsiteY2" fmla="*/ 7368 h 14736"/>
                <a:gd name="connsiteX3" fmla="*/ 268 w 155681"/>
                <a:gd name="connsiteY3" fmla="*/ 14735 h 14736"/>
                <a:gd name="connsiteX4" fmla="*/ 0 w 155681"/>
                <a:gd name="connsiteY4" fmla="*/ 14735 h 14736"/>
                <a:gd name="connsiteX5" fmla="*/ 155414 w 155681"/>
                <a:gd name="connsiteY5" fmla="*/ 14735 h 14736"/>
                <a:gd name="connsiteX6" fmla="*/ 155414 w 155681"/>
                <a:gd name="connsiteY6" fmla="*/ 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81" h="14736">
                  <a:moveTo>
                    <a:pt x="155682" y="0"/>
                  </a:moveTo>
                  <a:lnTo>
                    <a:pt x="0" y="0"/>
                  </a:lnTo>
                  <a:cubicBezTo>
                    <a:pt x="4073" y="0"/>
                    <a:pt x="7369" y="3298"/>
                    <a:pt x="7369" y="7368"/>
                  </a:cubicBezTo>
                  <a:cubicBezTo>
                    <a:pt x="7450" y="11362"/>
                    <a:pt x="4260" y="14660"/>
                    <a:pt x="268" y="14735"/>
                  </a:cubicBezTo>
                  <a:cubicBezTo>
                    <a:pt x="174" y="14737"/>
                    <a:pt x="94" y="14737"/>
                    <a:pt x="0" y="14735"/>
                  </a:cubicBezTo>
                  <a:lnTo>
                    <a:pt x="155414" y="14735"/>
                  </a:lnTo>
                  <a:lnTo>
                    <a:pt x="155414" y="0"/>
                  </a:lnTo>
                  <a:close/>
                </a:path>
              </a:pathLst>
            </a:custGeom>
            <a:solidFill>
              <a:srgbClr val="000000"/>
            </a:solidFill>
            <a:ln w="12700" cap="flat">
              <a:noFill/>
              <a:prstDash val="solid"/>
              <a:miter/>
            </a:ln>
          </p:spPr>
          <p:txBody>
            <a:bodyPr rtlCol="0" anchor="ctr"/>
            <a:lstStyle/>
            <a:p>
              <a:endParaRPr lang="en-US"/>
            </a:p>
          </p:txBody>
        </p:sp>
        <p:sp>
          <p:nvSpPr>
            <p:cNvPr id="1229" name="Freeform: Shape 1228">
              <a:extLst>
                <a:ext uri="{FF2B5EF4-FFF2-40B4-BE49-F238E27FC236}">
                  <a16:creationId xmlns:a16="http://schemas.microsoft.com/office/drawing/2014/main" id="{CBA54E8C-FB86-47EA-B73A-C0A61538347F}"/>
                </a:ext>
              </a:extLst>
            </p:cNvPr>
            <p:cNvSpPr/>
            <p:nvPr/>
          </p:nvSpPr>
          <p:spPr>
            <a:xfrm>
              <a:off x="6700217" y="6580575"/>
              <a:ext cx="14737" cy="8439"/>
            </a:xfrm>
            <a:custGeom>
              <a:avLst/>
              <a:gdLst>
                <a:gd name="connsiteX0" fmla="*/ 14738 w 14737"/>
                <a:gd name="connsiteY0" fmla="*/ 0 h 8439"/>
                <a:gd name="connsiteX1" fmla="*/ 7369 w 14737"/>
                <a:gd name="connsiteY1" fmla="*/ 7368 h 8439"/>
                <a:gd name="connsiteX2" fmla="*/ 0 w 14737"/>
                <a:gd name="connsiteY2" fmla="*/ 0 h 8439"/>
                <a:gd name="connsiteX3" fmla="*/ 0 w 14737"/>
                <a:gd name="connsiteY3" fmla="*/ 1340 h 8439"/>
                <a:gd name="connsiteX4" fmla="*/ 1608 w 14737"/>
                <a:gd name="connsiteY4" fmla="*/ 5626 h 8439"/>
                <a:gd name="connsiteX5" fmla="*/ 6163 w 14737"/>
                <a:gd name="connsiteY5" fmla="*/ 8439 h 8439"/>
                <a:gd name="connsiteX6" fmla="*/ 7369 w 14737"/>
                <a:gd name="connsiteY6" fmla="*/ 8439 h 8439"/>
                <a:gd name="connsiteX7" fmla="*/ 8708 w 14737"/>
                <a:gd name="connsiteY7" fmla="*/ 8439 h 8439"/>
                <a:gd name="connsiteX8" fmla="*/ 14469 w 14737"/>
                <a:gd name="connsiteY8" fmla="*/ 2545 h 8439"/>
                <a:gd name="connsiteX9" fmla="*/ 14469 w 14737"/>
                <a:gd name="connsiteY9" fmla="*/ 1340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37" h="8439">
                  <a:moveTo>
                    <a:pt x="14738" y="0"/>
                  </a:moveTo>
                  <a:cubicBezTo>
                    <a:pt x="14738" y="4072"/>
                    <a:pt x="11442" y="7368"/>
                    <a:pt x="7369" y="7368"/>
                  </a:cubicBezTo>
                  <a:cubicBezTo>
                    <a:pt x="3296" y="7368"/>
                    <a:pt x="0" y="4072"/>
                    <a:pt x="0" y="0"/>
                  </a:cubicBezTo>
                  <a:lnTo>
                    <a:pt x="0" y="1340"/>
                  </a:lnTo>
                  <a:cubicBezTo>
                    <a:pt x="54" y="2907"/>
                    <a:pt x="616" y="4421"/>
                    <a:pt x="1608" y="5626"/>
                  </a:cubicBezTo>
                  <a:cubicBezTo>
                    <a:pt x="2746" y="7073"/>
                    <a:pt x="4354" y="8064"/>
                    <a:pt x="6163" y="8439"/>
                  </a:cubicBezTo>
                  <a:lnTo>
                    <a:pt x="7369" y="8439"/>
                  </a:lnTo>
                  <a:lnTo>
                    <a:pt x="8708" y="8439"/>
                  </a:lnTo>
                  <a:cubicBezTo>
                    <a:pt x="11696" y="7904"/>
                    <a:pt x="14000" y="5533"/>
                    <a:pt x="14469" y="2545"/>
                  </a:cubicBezTo>
                  <a:cubicBezTo>
                    <a:pt x="14536" y="2143"/>
                    <a:pt x="14536" y="1742"/>
                    <a:pt x="14469" y="1340"/>
                  </a:cubicBezTo>
                  <a:close/>
                </a:path>
              </a:pathLst>
            </a:custGeom>
            <a:solidFill>
              <a:srgbClr val="000000"/>
            </a:solidFill>
            <a:ln w="12700" cap="flat">
              <a:noFill/>
              <a:prstDash val="solid"/>
              <a:miter/>
            </a:ln>
          </p:spPr>
          <p:txBody>
            <a:bodyPr rtlCol="0" anchor="ctr"/>
            <a:lstStyle/>
            <a:p>
              <a:endParaRPr lang="en-US"/>
            </a:p>
          </p:txBody>
        </p:sp>
        <p:sp>
          <p:nvSpPr>
            <p:cNvPr id="1230" name="Freeform: Shape 1229">
              <a:extLst>
                <a:ext uri="{FF2B5EF4-FFF2-40B4-BE49-F238E27FC236}">
                  <a16:creationId xmlns:a16="http://schemas.microsoft.com/office/drawing/2014/main" id="{01A3D6FE-AC9B-4BAB-958C-7CBDE1EA08A9}"/>
                </a:ext>
              </a:extLst>
            </p:cNvPr>
            <p:cNvSpPr/>
            <p:nvPr/>
          </p:nvSpPr>
          <p:spPr>
            <a:xfrm>
              <a:off x="4807342" y="5978172"/>
              <a:ext cx="14509" cy="11788"/>
            </a:xfrm>
            <a:custGeom>
              <a:avLst/>
              <a:gdLst>
                <a:gd name="connsiteX0" fmla="*/ 7141 w 14509"/>
                <a:gd name="connsiteY0" fmla="*/ 4421 h 11788"/>
                <a:gd name="connsiteX1" fmla="*/ 14510 w 14509"/>
                <a:gd name="connsiteY1" fmla="*/ 11788 h 11788"/>
                <a:gd name="connsiteX2" fmla="*/ 14510 w 14509"/>
                <a:gd name="connsiteY2" fmla="*/ 7100 h 11788"/>
                <a:gd name="connsiteX3" fmla="*/ 14510 w 14509"/>
                <a:gd name="connsiteY3" fmla="*/ 7100 h 11788"/>
                <a:gd name="connsiteX4" fmla="*/ 8481 w 14509"/>
                <a:gd name="connsiteY4" fmla="*/ 0 h 11788"/>
                <a:gd name="connsiteX5" fmla="*/ 7141 w 14509"/>
                <a:gd name="connsiteY5" fmla="*/ 0 h 11788"/>
                <a:gd name="connsiteX6" fmla="*/ 5801 w 14509"/>
                <a:gd name="connsiteY6" fmla="*/ 0 h 11788"/>
                <a:gd name="connsiteX7" fmla="*/ 40 w 14509"/>
                <a:gd name="connsiteY7" fmla="*/ 5760 h 11788"/>
                <a:gd name="connsiteX8" fmla="*/ 40 w 14509"/>
                <a:gd name="connsiteY8" fmla="*/ 7100 h 11788"/>
                <a:gd name="connsiteX9" fmla="*/ 40 w 14509"/>
                <a:gd name="connsiteY9" fmla="*/ 11788 h 11788"/>
                <a:gd name="connsiteX10" fmla="*/ 7141 w 14509"/>
                <a:gd name="connsiteY10" fmla="*/ 4421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9" h="11788">
                  <a:moveTo>
                    <a:pt x="7141" y="4421"/>
                  </a:moveTo>
                  <a:cubicBezTo>
                    <a:pt x="11214" y="4421"/>
                    <a:pt x="14510" y="7719"/>
                    <a:pt x="14510" y="11788"/>
                  </a:cubicBezTo>
                  <a:lnTo>
                    <a:pt x="14510" y="7100"/>
                  </a:lnTo>
                  <a:lnTo>
                    <a:pt x="14510" y="7100"/>
                  </a:lnTo>
                  <a:cubicBezTo>
                    <a:pt x="14443" y="3602"/>
                    <a:pt x="11924" y="635"/>
                    <a:pt x="8481" y="0"/>
                  </a:cubicBezTo>
                  <a:lnTo>
                    <a:pt x="7141" y="0"/>
                  </a:lnTo>
                  <a:lnTo>
                    <a:pt x="5801" y="0"/>
                  </a:lnTo>
                  <a:cubicBezTo>
                    <a:pt x="2867" y="518"/>
                    <a:pt x="563" y="2820"/>
                    <a:pt x="40" y="5760"/>
                  </a:cubicBezTo>
                  <a:cubicBezTo>
                    <a:pt x="-13" y="6205"/>
                    <a:pt x="-13" y="6655"/>
                    <a:pt x="40" y="7100"/>
                  </a:cubicBezTo>
                  <a:lnTo>
                    <a:pt x="40" y="11788"/>
                  </a:lnTo>
                  <a:cubicBezTo>
                    <a:pt x="40" y="7822"/>
                    <a:pt x="3175" y="4565"/>
                    <a:pt x="7141" y="4421"/>
                  </a:cubicBezTo>
                  <a:close/>
                </a:path>
              </a:pathLst>
            </a:custGeom>
            <a:solidFill>
              <a:srgbClr val="000000"/>
            </a:solidFill>
            <a:ln w="12700" cap="flat">
              <a:noFill/>
              <a:prstDash val="solid"/>
              <a:miter/>
            </a:ln>
          </p:spPr>
          <p:txBody>
            <a:bodyPr rtlCol="0" anchor="ctr"/>
            <a:lstStyle/>
            <a:p>
              <a:endParaRPr lang="en-US"/>
            </a:p>
          </p:txBody>
        </p:sp>
        <p:sp>
          <p:nvSpPr>
            <p:cNvPr id="1231" name="Freeform: Shape 1230">
              <a:extLst>
                <a:ext uri="{FF2B5EF4-FFF2-40B4-BE49-F238E27FC236}">
                  <a16:creationId xmlns:a16="http://schemas.microsoft.com/office/drawing/2014/main" id="{7FB78112-70F6-42E6-B00D-75FB7F4ABAC2}"/>
                </a:ext>
              </a:extLst>
            </p:cNvPr>
            <p:cNvSpPr/>
            <p:nvPr/>
          </p:nvSpPr>
          <p:spPr>
            <a:xfrm>
              <a:off x="4807064" y="5982593"/>
              <a:ext cx="14787" cy="605350"/>
            </a:xfrm>
            <a:custGeom>
              <a:avLst/>
              <a:gdLst>
                <a:gd name="connsiteX0" fmla="*/ 14788 w 14787"/>
                <a:gd name="connsiteY0" fmla="*/ 599322 h 605350"/>
                <a:gd name="connsiteX1" fmla="*/ 14788 w 14787"/>
                <a:gd name="connsiteY1" fmla="*/ 7368 h 605350"/>
                <a:gd name="connsiteX2" fmla="*/ 7419 w 14787"/>
                <a:gd name="connsiteY2" fmla="*/ 0 h 605350"/>
                <a:gd name="connsiteX3" fmla="*/ 50 w 14787"/>
                <a:gd name="connsiteY3" fmla="*/ 7368 h 605350"/>
                <a:gd name="connsiteX4" fmla="*/ 50 w 14787"/>
                <a:gd name="connsiteY4" fmla="*/ 599322 h 605350"/>
                <a:gd name="connsiteX5" fmla="*/ 50 w 14787"/>
                <a:gd name="connsiteY5" fmla="*/ 599322 h 605350"/>
                <a:gd name="connsiteX6" fmla="*/ 50 w 14787"/>
                <a:gd name="connsiteY6" fmla="*/ 600930 h 605350"/>
                <a:gd name="connsiteX7" fmla="*/ 50 w 14787"/>
                <a:gd name="connsiteY7" fmla="*/ 602135 h 605350"/>
                <a:gd name="connsiteX8" fmla="*/ 988 w 14787"/>
                <a:gd name="connsiteY8" fmla="*/ 603475 h 605350"/>
                <a:gd name="connsiteX9" fmla="*/ 1658 w 14787"/>
                <a:gd name="connsiteY9" fmla="*/ 604413 h 605350"/>
                <a:gd name="connsiteX10" fmla="*/ 3132 w 14787"/>
                <a:gd name="connsiteY10" fmla="*/ 605350 h 605350"/>
                <a:gd name="connsiteX11" fmla="*/ 3935 w 14787"/>
                <a:gd name="connsiteY11" fmla="*/ 605350 h 605350"/>
                <a:gd name="connsiteX12" fmla="*/ 5409 w 14787"/>
                <a:gd name="connsiteY12" fmla="*/ 605350 h 605350"/>
                <a:gd name="connsiteX13" fmla="*/ 5409 w 14787"/>
                <a:gd name="connsiteY13" fmla="*/ 598251 h 605350"/>
                <a:gd name="connsiteX14" fmla="*/ 6749 w 14787"/>
                <a:gd name="connsiteY14" fmla="*/ 596911 h 605350"/>
                <a:gd name="connsiteX15" fmla="*/ 8089 w 14787"/>
                <a:gd name="connsiteY15" fmla="*/ 598251 h 605350"/>
                <a:gd name="connsiteX16" fmla="*/ 8089 w 14787"/>
                <a:gd name="connsiteY16" fmla="*/ 605350 h 605350"/>
                <a:gd name="connsiteX17" fmla="*/ 14788 w 14787"/>
                <a:gd name="connsiteY17" fmla="*/ 599322 h 60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87" h="605350">
                  <a:moveTo>
                    <a:pt x="14788" y="599322"/>
                  </a:moveTo>
                  <a:lnTo>
                    <a:pt x="14788" y="7368"/>
                  </a:lnTo>
                  <a:cubicBezTo>
                    <a:pt x="14788" y="3298"/>
                    <a:pt x="11492" y="0"/>
                    <a:pt x="7419" y="0"/>
                  </a:cubicBezTo>
                  <a:cubicBezTo>
                    <a:pt x="3346" y="0"/>
                    <a:pt x="50" y="3298"/>
                    <a:pt x="50" y="7368"/>
                  </a:cubicBezTo>
                  <a:lnTo>
                    <a:pt x="50" y="599322"/>
                  </a:lnTo>
                  <a:lnTo>
                    <a:pt x="50" y="599322"/>
                  </a:lnTo>
                  <a:cubicBezTo>
                    <a:pt x="-17" y="599858"/>
                    <a:pt x="-17" y="600394"/>
                    <a:pt x="50" y="600930"/>
                  </a:cubicBezTo>
                  <a:cubicBezTo>
                    <a:pt x="50" y="600930"/>
                    <a:pt x="50" y="601734"/>
                    <a:pt x="50" y="602135"/>
                  </a:cubicBezTo>
                  <a:cubicBezTo>
                    <a:pt x="278" y="602631"/>
                    <a:pt x="600" y="603086"/>
                    <a:pt x="988" y="603475"/>
                  </a:cubicBezTo>
                  <a:lnTo>
                    <a:pt x="1658" y="604413"/>
                  </a:lnTo>
                  <a:cubicBezTo>
                    <a:pt x="2100" y="604801"/>
                    <a:pt x="2596" y="605123"/>
                    <a:pt x="3132" y="605350"/>
                  </a:cubicBezTo>
                  <a:lnTo>
                    <a:pt x="3935" y="605350"/>
                  </a:lnTo>
                  <a:lnTo>
                    <a:pt x="5409" y="605350"/>
                  </a:lnTo>
                  <a:lnTo>
                    <a:pt x="5409" y="598251"/>
                  </a:lnTo>
                  <a:cubicBezTo>
                    <a:pt x="5409" y="597514"/>
                    <a:pt x="6012" y="596911"/>
                    <a:pt x="6749" y="596911"/>
                  </a:cubicBezTo>
                  <a:cubicBezTo>
                    <a:pt x="7486" y="596911"/>
                    <a:pt x="8089" y="597514"/>
                    <a:pt x="8089" y="598251"/>
                  </a:cubicBezTo>
                  <a:lnTo>
                    <a:pt x="8089" y="605350"/>
                  </a:lnTo>
                  <a:cubicBezTo>
                    <a:pt x="11438" y="605096"/>
                    <a:pt x="14185" y="602618"/>
                    <a:pt x="14788" y="599322"/>
                  </a:cubicBezTo>
                  <a:close/>
                </a:path>
              </a:pathLst>
            </a:custGeom>
            <a:solidFill>
              <a:srgbClr val="000000"/>
            </a:solidFill>
            <a:ln w="12700" cap="flat">
              <a:noFill/>
              <a:prstDash val="solid"/>
              <a:miter/>
            </a:ln>
          </p:spPr>
          <p:txBody>
            <a:bodyPr rtlCol="0" anchor="ctr"/>
            <a:lstStyle/>
            <a:p>
              <a:endParaRPr lang="en-US"/>
            </a:p>
          </p:txBody>
        </p:sp>
        <p:sp>
          <p:nvSpPr>
            <p:cNvPr id="1232" name="Freeform: Shape 1231">
              <a:extLst>
                <a:ext uri="{FF2B5EF4-FFF2-40B4-BE49-F238E27FC236}">
                  <a16:creationId xmlns:a16="http://schemas.microsoft.com/office/drawing/2014/main" id="{0D1BB213-7333-4F10-A40A-A4A34685E1B8}"/>
                </a:ext>
              </a:extLst>
            </p:cNvPr>
            <p:cNvSpPr/>
            <p:nvPr/>
          </p:nvSpPr>
          <p:spPr>
            <a:xfrm>
              <a:off x="5602807" y="6571466"/>
              <a:ext cx="186365" cy="14735"/>
            </a:xfrm>
            <a:custGeom>
              <a:avLst/>
              <a:gdLst>
                <a:gd name="connsiteX0" fmla="*/ 7369 w 186365"/>
                <a:gd name="connsiteY0" fmla="*/ 7368 h 14735"/>
                <a:gd name="connsiteX1" fmla="*/ 268 w 186365"/>
                <a:gd name="connsiteY1" fmla="*/ 14735 h 14735"/>
                <a:gd name="connsiteX2" fmla="*/ 0 w 186365"/>
                <a:gd name="connsiteY2" fmla="*/ 14735 h 14735"/>
                <a:gd name="connsiteX3" fmla="*/ 186095 w 186365"/>
                <a:gd name="connsiteY3" fmla="*/ 14735 h 14735"/>
                <a:gd name="connsiteX4" fmla="*/ 186095 w 186365"/>
                <a:gd name="connsiteY4" fmla="*/ 12324 h 14735"/>
                <a:gd name="connsiteX5" fmla="*/ 186095 w 186365"/>
                <a:gd name="connsiteY5" fmla="*/ 10449 h 14735"/>
                <a:gd name="connsiteX6" fmla="*/ 186095 w 186365"/>
                <a:gd name="connsiteY6" fmla="*/ 0 h 14735"/>
                <a:gd name="connsiteX7" fmla="*/ 0 w 186365"/>
                <a:gd name="connsiteY7" fmla="*/ 0 h 14735"/>
                <a:gd name="connsiteX8" fmla="*/ 7369 w 186365"/>
                <a:gd name="connsiteY8"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65" h="14735">
                  <a:moveTo>
                    <a:pt x="7369" y="7368"/>
                  </a:moveTo>
                  <a:cubicBezTo>
                    <a:pt x="7449" y="11359"/>
                    <a:pt x="4260" y="14655"/>
                    <a:pt x="268" y="14735"/>
                  </a:cubicBezTo>
                  <a:cubicBezTo>
                    <a:pt x="174" y="14735"/>
                    <a:pt x="94" y="14735"/>
                    <a:pt x="0" y="14735"/>
                  </a:cubicBezTo>
                  <a:lnTo>
                    <a:pt x="186095" y="14735"/>
                  </a:lnTo>
                  <a:lnTo>
                    <a:pt x="186095" y="12324"/>
                  </a:lnTo>
                  <a:cubicBezTo>
                    <a:pt x="186456" y="11748"/>
                    <a:pt x="186456" y="11025"/>
                    <a:pt x="186095" y="10449"/>
                  </a:cubicBezTo>
                  <a:lnTo>
                    <a:pt x="186095" y="0"/>
                  </a:lnTo>
                  <a:lnTo>
                    <a:pt x="0" y="0"/>
                  </a:lnTo>
                  <a:cubicBezTo>
                    <a:pt x="4073" y="0"/>
                    <a:pt x="7369" y="3295"/>
                    <a:pt x="7369" y="7368"/>
                  </a:cubicBezTo>
                  <a:close/>
                </a:path>
              </a:pathLst>
            </a:custGeom>
            <a:solidFill>
              <a:srgbClr val="000000"/>
            </a:solidFill>
            <a:ln w="12700" cap="flat">
              <a:noFill/>
              <a:prstDash val="solid"/>
              <a:miter/>
            </a:ln>
          </p:spPr>
          <p:txBody>
            <a:bodyPr rtlCol="0" anchor="ctr"/>
            <a:lstStyle/>
            <a:p>
              <a:endParaRPr lang="en-US"/>
            </a:p>
          </p:txBody>
        </p:sp>
        <p:sp>
          <p:nvSpPr>
            <p:cNvPr id="1233" name="Freeform: Shape 1232">
              <a:extLst>
                <a:ext uri="{FF2B5EF4-FFF2-40B4-BE49-F238E27FC236}">
                  <a16:creationId xmlns:a16="http://schemas.microsoft.com/office/drawing/2014/main" id="{87B3BD00-07EB-4984-80F3-8B49EA274054}"/>
                </a:ext>
              </a:extLst>
            </p:cNvPr>
            <p:cNvSpPr/>
            <p:nvPr/>
          </p:nvSpPr>
          <p:spPr>
            <a:xfrm>
              <a:off x="5594718" y="6570796"/>
              <a:ext cx="14385" cy="14736"/>
            </a:xfrm>
            <a:custGeom>
              <a:avLst/>
              <a:gdLst>
                <a:gd name="connsiteX0" fmla="*/ 318 w 14385"/>
                <a:gd name="connsiteY0" fmla="*/ 8037 h 14736"/>
                <a:gd name="connsiteX1" fmla="*/ 318 w 14385"/>
                <a:gd name="connsiteY1" fmla="*/ 10449 h 14736"/>
                <a:gd name="connsiteX2" fmla="*/ 318 w 14385"/>
                <a:gd name="connsiteY2" fmla="*/ 10449 h 14736"/>
                <a:gd name="connsiteX3" fmla="*/ 1122 w 14385"/>
                <a:gd name="connsiteY3" fmla="*/ 11654 h 14736"/>
                <a:gd name="connsiteX4" fmla="*/ 7017 w 14385"/>
                <a:gd name="connsiteY4" fmla="*/ 14735 h 14736"/>
                <a:gd name="connsiteX5" fmla="*/ 7017 w 14385"/>
                <a:gd name="connsiteY5" fmla="*/ 14735 h 14736"/>
                <a:gd name="connsiteX6" fmla="*/ 14386 w 14385"/>
                <a:gd name="connsiteY6" fmla="*/ 7636 h 14736"/>
                <a:gd name="connsiteX7" fmla="*/ 14386 w 14385"/>
                <a:gd name="connsiteY7" fmla="*/ 7368 h 14736"/>
                <a:gd name="connsiteX8" fmla="*/ 7017 w 14385"/>
                <a:gd name="connsiteY8" fmla="*/ 0 h 14736"/>
                <a:gd name="connsiteX9" fmla="*/ 7017 w 14385"/>
                <a:gd name="connsiteY9" fmla="*/ 0 h 14736"/>
                <a:gd name="connsiteX10" fmla="*/ 50 w 14385"/>
                <a:gd name="connsiteY10" fmla="*/ 5090 h 14736"/>
                <a:gd name="connsiteX11" fmla="*/ 50 w 14385"/>
                <a:gd name="connsiteY11" fmla="*/ 710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5" h="14736">
                  <a:moveTo>
                    <a:pt x="318" y="8037"/>
                  </a:moveTo>
                  <a:cubicBezTo>
                    <a:pt x="184" y="8841"/>
                    <a:pt x="184" y="9645"/>
                    <a:pt x="318" y="10449"/>
                  </a:cubicBezTo>
                  <a:lnTo>
                    <a:pt x="318" y="10449"/>
                  </a:lnTo>
                  <a:lnTo>
                    <a:pt x="1122" y="11654"/>
                  </a:lnTo>
                  <a:cubicBezTo>
                    <a:pt x="2475" y="13583"/>
                    <a:pt x="4673" y="14722"/>
                    <a:pt x="7017" y="14735"/>
                  </a:cubicBezTo>
                  <a:lnTo>
                    <a:pt x="7017" y="14735"/>
                  </a:lnTo>
                  <a:cubicBezTo>
                    <a:pt x="11010" y="14816"/>
                    <a:pt x="14305" y="11627"/>
                    <a:pt x="14386" y="7636"/>
                  </a:cubicBezTo>
                  <a:cubicBezTo>
                    <a:pt x="14386" y="7542"/>
                    <a:pt x="14386" y="7461"/>
                    <a:pt x="14386" y="7368"/>
                  </a:cubicBezTo>
                  <a:cubicBezTo>
                    <a:pt x="14386" y="3295"/>
                    <a:pt x="11090" y="0"/>
                    <a:pt x="7017" y="0"/>
                  </a:cubicBezTo>
                  <a:lnTo>
                    <a:pt x="7017" y="0"/>
                  </a:lnTo>
                  <a:cubicBezTo>
                    <a:pt x="3855" y="54"/>
                    <a:pt x="1068" y="2090"/>
                    <a:pt x="50" y="5090"/>
                  </a:cubicBezTo>
                  <a:cubicBezTo>
                    <a:pt x="-17" y="5760"/>
                    <a:pt x="-17" y="6430"/>
                    <a:pt x="50" y="7100"/>
                  </a:cubicBezTo>
                  <a:close/>
                </a:path>
              </a:pathLst>
            </a:custGeom>
            <a:solidFill>
              <a:srgbClr val="000000"/>
            </a:solidFill>
            <a:ln w="12700" cap="flat">
              <a:noFill/>
              <a:prstDash val="solid"/>
              <a:miter/>
            </a:ln>
          </p:spPr>
          <p:txBody>
            <a:bodyPr rtlCol="0" anchor="ctr"/>
            <a:lstStyle/>
            <a:p>
              <a:endParaRPr lang="en-US"/>
            </a:p>
          </p:txBody>
        </p:sp>
        <p:sp>
          <p:nvSpPr>
            <p:cNvPr id="1234" name="Freeform: Shape 1233">
              <a:extLst>
                <a:ext uri="{FF2B5EF4-FFF2-40B4-BE49-F238E27FC236}">
                  <a16:creationId xmlns:a16="http://schemas.microsoft.com/office/drawing/2014/main" id="{76379737-E417-4974-B7EF-71B2E8E2AF16}"/>
                </a:ext>
              </a:extLst>
            </p:cNvPr>
            <p:cNvSpPr/>
            <p:nvPr/>
          </p:nvSpPr>
          <p:spPr>
            <a:xfrm>
              <a:off x="4832972" y="5886450"/>
              <a:ext cx="10852" cy="7463"/>
            </a:xfrm>
            <a:custGeom>
              <a:avLst/>
              <a:gdLst>
                <a:gd name="connsiteX0" fmla="*/ 7101 w 10852"/>
                <a:gd name="connsiteY0" fmla="*/ 96 h 7463"/>
                <a:gd name="connsiteX1" fmla="*/ 9378 w 10852"/>
                <a:gd name="connsiteY1" fmla="*/ 96 h 7463"/>
                <a:gd name="connsiteX2" fmla="*/ 10852 w 10852"/>
                <a:gd name="connsiteY2" fmla="*/ 96 h 7463"/>
                <a:gd name="connsiteX3" fmla="*/ 10852 w 10852"/>
                <a:gd name="connsiteY3" fmla="*/ 96 h 7463"/>
                <a:gd name="connsiteX4" fmla="*/ 9512 w 10852"/>
                <a:gd name="connsiteY4" fmla="*/ 96 h 7463"/>
                <a:gd name="connsiteX5" fmla="*/ 7369 w 10852"/>
                <a:gd name="connsiteY5" fmla="*/ 96 h 7463"/>
                <a:gd name="connsiteX6" fmla="*/ 0 w 10852"/>
                <a:gd name="connsiteY6" fmla="*/ 7463 h 7463"/>
                <a:gd name="connsiteX7" fmla="*/ 0 w 10852"/>
                <a:gd name="connsiteY7" fmla="*/ 7061 h 7463"/>
                <a:gd name="connsiteX8" fmla="*/ 7101 w 10852"/>
                <a:gd name="connsiteY8" fmla="*/ 96 h 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52" h="7463">
                  <a:moveTo>
                    <a:pt x="7101" y="96"/>
                  </a:moveTo>
                  <a:cubicBezTo>
                    <a:pt x="7851" y="-32"/>
                    <a:pt x="8628" y="-32"/>
                    <a:pt x="9378" y="96"/>
                  </a:cubicBezTo>
                  <a:lnTo>
                    <a:pt x="10852" y="96"/>
                  </a:lnTo>
                  <a:lnTo>
                    <a:pt x="10852" y="96"/>
                  </a:lnTo>
                  <a:lnTo>
                    <a:pt x="9512" y="96"/>
                  </a:lnTo>
                  <a:cubicBezTo>
                    <a:pt x="8802" y="20"/>
                    <a:pt x="8079" y="20"/>
                    <a:pt x="7369" y="96"/>
                  </a:cubicBezTo>
                  <a:cubicBezTo>
                    <a:pt x="3296" y="96"/>
                    <a:pt x="0" y="3393"/>
                    <a:pt x="0" y="7463"/>
                  </a:cubicBezTo>
                  <a:lnTo>
                    <a:pt x="0" y="7061"/>
                  </a:lnTo>
                  <a:cubicBezTo>
                    <a:pt x="147" y="3222"/>
                    <a:pt x="3255" y="164"/>
                    <a:pt x="7101" y="96"/>
                  </a:cubicBezTo>
                  <a:close/>
                </a:path>
              </a:pathLst>
            </a:custGeom>
            <a:solidFill>
              <a:srgbClr val="000000"/>
            </a:solidFill>
            <a:ln w="12700" cap="flat">
              <a:noFill/>
              <a:prstDash val="solid"/>
              <a:miter/>
            </a:ln>
          </p:spPr>
          <p:txBody>
            <a:bodyPr rtlCol="0" anchor="ctr"/>
            <a:lstStyle/>
            <a:p>
              <a:endParaRPr lang="en-US"/>
            </a:p>
          </p:txBody>
        </p:sp>
        <p:sp>
          <p:nvSpPr>
            <p:cNvPr id="1235" name="Freeform: Shape 1234">
              <a:extLst>
                <a:ext uri="{FF2B5EF4-FFF2-40B4-BE49-F238E27FC236}">
                  <a16:creationId xmlns:a16="http://schemas.microsoft.com/office/drawing/2014/main" id="{671EE226-6417-4328-9B55-436B4713E3A9}"/>
                </a:ext>
              </a:extLst>
            </p:cNvPr>
            <p:cNvSpPr/>
            <p:nvPr/>
          </p:nvSpPr>
          <p:spPr>
            <a:xfrm>
              <a:off x="4831766" y="5886584"/>
              <a:ext cx="9645" cy="109805"/>
            </a:xfrm>
            <a:custGeom>
              <a:avLst/>
              <a:gdLst>
                <a:gd name="connsiteX0" fmla="*/ 938 w 9645"/>
                <a:gd name="connsiteY0" fmla="*/ 103376 h 109805"/>
                <a:gd name="connsiteX1" fmla="*/ 938 w 9645"/>
                <a:gd name="connsiteY1" fmla="*/ 103376 h 109805"/>
                <a:gd name="connsiteX2" fmla="*/ 938 w 9645"/>
                <a:gd name="connsiteY2" fmla="*/ 104716 h 109805"/>
                <a:gd name="connsiteX3" fmla="*/ 938 w 9645"/>
                <a:gd name="connsiteY3" fmla="*/ 105653 h 109805"/>
                <a:gd name="connsiteX4" fmla="*/ 938 w 9645"/>
                <a:gd name="connsiteY4" fmla="*/ 106859 h 109805"/>
                <a:gd name="connsiteX5" fmla="*/ 1741 w 9645"/>
                <a:gd name="connsiteY5" fmla="*/ 108065 h 109805"/>
                <a:gd name="connsiteX6" fmla="*/ 2813 w 9645"/>
                <a:gd name="connsiteY6" fmla="*/ 109002 h 109805"/>
                <a:gd name="connsiteX7" fmla="*/ 3885 w 9645"/>
                <a:gd name="connsiteY7" fmla="*/ 109806 h 109805"/>
                <a:gd name="connsiteX8" fmla="*/ 5225 w 9645"/>
                <a:gd name="connsiteY8" fmla="*/ 109806 h 109805"/>
                <a:gd name="connsiteX9" fmla="*/ 6029 w 9645"/>
                <a:gd name="connsiteY9" fmla="*/ 109806 h 109805"/>
                <a:gd name="connsiteX10" fmla="*/ 7369 w 9645"/>
                <a:gd name="connsiteY10" fmla="*/ 109806 h 109805"/>
                <a:gd name="connsiteX11" fmla="*/ 8307 w 9645"/>
                <a:gd name="connsiteY11" fmla="*/ 109806 h 109805"/>
                <a:gd name="connsiteX12" fmla="*/ 4555 w 9645"/>
                <a:gd name="connsiteY12" fmla="*/ 103510 h 109805"/>
                <a:gd name="connsiteX13" fmla="*/ 4555 w 9645"/>
                <a:gd name="connsiteY13" fmla="*/ 6927 h 109805"/>
                <a:gd name="connsiteX14" fmla="*/ 9646 w 9645"/>
                <a:gd name="connsiteY14" fmla="*/ 95 h 109805"/>
                <a:gd name="connsiteX15" fmla="*/ 7369 w 9645"/>
                <a:gd name="connsiteY15" fmla="*/ 95 h 109805"/>
                <a:gd name="connsiteX16" fmla="*/ 0 w 9645"/>
                <a:gd name="connsiteY16" fmla="*/ 7194 h 109805"/>
                <a:gd name="connsiteX17" fmla="*/ 0 w 9645"/>
                <a:gd name="connsiteY17" fmla="*/ 7329 h 109805"/>
                <a:gd name="connsiteX18" fmla="*/ 0 w 9645"/>
                <a:gd name="connsiteY18" fmla="*/ 103376 h 10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45" h="109805">
                  <a:moveTo>
                    <a:pt x="938" y="103376"/>
                  </a:moveTo>
                  <a:lnTo>
                    <a:pt x="938" y="103376"/>
                  </a:lnTo>
                  <a:cubicBezTo>
                    <a:pt x="857" y="103819"/>
                    <a:pt x="857" y="104272"/>
                    <a:pt x="938" y="104716"/>
                  </a:cubicBezTo>
                  <a:cubicBezTo>
                    <a:pt x="870" y="105025"/>
                    <a:pt x="870" y="105344"/>
                    <a:pt x="938" y="105653"/>
                  </a:cubicBezTo>
                  <a:lnTo>
                    <a:pt x="938" y="106859"/>
                  </a:lnTo>
                  <a:lnTo>
                    <a:pt x="1741" y="108065"/>
                  </a:lnTo>
                  <a:cubicBezTo>
                    <a:pt x="2036" y="108445"/>
                    <a:pt x="2398" y="108764"/>
                    <a:pt x="2813" y="109002"/>
                  </a:cubicBezTo>
                  <a:lnTo>
                    <a:pt x="3885" y="109806"/>
                  </a:lnTo>
                  <a:lnTo>
                    <a:pt x="5225" y="109806"/>
                  </a:lnTo>
                  <a:lnTo>
                    <a:pt x="6029" y="109806"/>
                  </a:lnTo>
                  <a:lnTo>
                    <a:pt x="7369" y="109806"/>
                  </a:lnTo>
                  <a:lnTo>
                    <a:pt x="8307" y="109806"/>
                  </a:lnTo>
                  <a:cubicBezTo>
                    <a:pt x="6042" y="108503"/>
                    <a:pt x="4622" y="106118"/>
                    <a:pt x="4555" y="103510"/>
                  </a:cubicBezTo>
                  <a:lnTo>
                    <a:pt x="4555" y="6927"/>
                  </a:lnTo>
                  <a:cubicBezTo>
                    <a:pt x="4595" y="3786"/>
                    <a:pt x="6645" y="1026"/>
                    <a:pt x="9646" y="95"/>
                  </a:cubicBezTo>
                  <a:cubicBezTo>
                    <a:pt x="8896" y="-32"/>
                    <a:pt x="8119" y="-32"/>
                    <a:pt x="7369" y="95"/>
                  </a:cubicBezTo>
                  <a:cubicBezTo>
                    <a:pt x="3376" y="22"/>
                    <a:pt x="80" y="3199"/>
                    <a:pt x="0" y="7194"/>
                  </a:cubicBezTo>
                  <a:cubicBezTo>
                    <a:pt x="0" y="7239"/>
                    <a:pt x="0" y="7284"/>
                    <a:pt x="0" y="7329"/>
                  </a:cubicBezTo>
                  <a:lnTo>
                    <a:pt x="0" y="103376"/>
                  </a:lnTo>
                  <a:close/>
                </a:path>
              </a:pathLst>
            </a:custGeom>
            <a:solidFill>
              <a:srgbClr val="000000"/>
            </a:solidFill>
            <a:ln w="12700" cap="flat">
              <a:noFill/>
              <a:prstDash val="solid"/>
              <a:miter/>
            </a:ln>
          </p:spPr>
          <p:txBody>
            <a:bodyPr rtlCol="0" anchor="ctr"/>
            <a:lstStyle/>
            <a:p>
              <a:endParaRPr lang="en-US"/>
            </a:p>
          </p:txBody>
        </p:sp>
        <p:sp>
          <p:nvSpPr>
            <p:cNvPr id="1236" name="Freeform: Shape 1235">
              <a:extLst>
                <a:ext uri="{FF2B5EF4-FFF2-40B4-BE49-F238E27FC236}">
                  <a16:creationId xmlns:a16="http://schemas.microsoft.com/office/drawing/2014/main" id="{A91BD434-3C8F-4F75-A1EB-3B8717C5B67C}"/>
                </a:ext>
              </a:extLst>
            </p:cNvPr>
            <p:cNvSpPr/>
            <p:nvPr/>
          </p:nvSpPr>
          <p:spPr>
            <a:xfrm>
              <a:off x="4853202" y="5987994"/>
              <a:ext cx="14737" cy="590839"/>
            </a:xfrm>
            <a:custGeom>
              <a:avLst/>
              <a:gdLst>
                <a:gd name="connsiteX0" fmla="*/ 0 w 14737"/>
                <a:gd name="connsiteY0" fmla="*/ 5717 h 590839"/>
                <a:gd name="connsiteX1" fmla="*/ 0 w 14737"/>
                <a:gd name="connsiteY1" fmla="*/ 590839 h 590839"/>
                <a:gd name="connsiteX2" fmla="*/ 7369 w 14737"/>
                <a:gd name="connsiteY2" fmla="*/ 583472 h 590839"/>
                <a:gd name="connsiteX3" fmla="*/ 14738 w 14737"/>
                <a:gd name="connsiteY3" fmla="*/ 590839 h 590839"/>
                <a:gd name="connsiteX4" fmla="*/ 14738 w 14737"/>
                <a:gd name="connsiteY4" fmla="*/ 5717 h 590839"/>
                <a:gd name="connsiteX5" fmla="*/ 14738 w 14737"/>
                <a:gd name="connsiteY5" fmla="*/ 5717 h 590839"/>
                <a:gd name="connsiteX6" fmla="*/ 14738 w 14737"/>
                <a:gd name="connsiteY6" fmla="*/ 4243 h 590839"/>
                <a:gd name="connsiteX7" fmla="*/ 14738 w 14737"/>
                <a:gd name="connsiteY7" fmla="*/ 2903 h 590839"/>
                <a:gd name="connsiteX8" fmla="*/ 13934 w 14737"/>
                <a:gd name="connsiteY8" fmla="*/ 1832 h 590839"/>
                <a:gd name="connsiteX9" fmla="*/ 12862 w 14737"/>
                <a:gd name="connsiteY9" fmla="*/ 894 h 590839"/>
                <a:gd name="connsiteX10" fmla="*/ 11790 w 14737"/>
                <a:gd name="connsiteY10" fmla="*/ 90 h 590839"/>
                <a:gd name="connsiteX11" fmla="*/ 10317 w 14737"/>
                <a:gd name="connsiteY11" fmla="*/ 90 h 590839"/>
                <a:gd name="connsiteX12" fmla="*/ 8307 w 14737"/>
                <a:gd name="connsiteY12" fmla="*/ 90 h 590839"/>
                <a:gd name="connsiteX13" fmla="*/ 0 w 14737"/>
                <a:gd name="connsiteY13" fmla="*/ 5717 h 59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37" h="590839">
                  <a:moveTo>
                    <a:pt x="0" y="5717"/>
                  </a:moveTo>
                  <a:lnTo>
                    <a:pt x="0" y="590839"/>
                  </a:lnTo>
                  <a:cubicBezTo>
                    <a:pt x="0" y="586767"/>
                    <a:pt x="3296" y="583472"/>
                    <a:pt x="7369" y="583472"/>
                  </a:cubicBezTo>
                  <a:cubicBezTo>
                    <a:pt x="11442" y="583472"/>
                    <a:pt x="14738" y="586767"/>
                    <a:pt x="14738" y="590839"/>
                  </a:cubicBezTo>
                  <a:lnTo>
                    <a:pt x="14738" y="5717"/>
                  </a:lnTo>
                  <a:cubicBezTo>
                    <a:pt x="14738" y="5717"/>
                    <a:pt x="14738" y="5717"/>
                    <a:pt x="14738" y="5717"/>
                  </a:cubicBezTo>
                  <a:cubicBezTo>
                    <a:pt x="14738" y="5717"/>
                    <a:pt x="14738" y="4645"/>
                    <a:pt x="14738" y="4243"/>
                  </a:cubicBezTo>
                  <a:lnTo>
                    <a:pt x="14738" y="2903"/>
                  </a:lnTo>
                  <a:lnTo>
                    <a:pt x="13934" y="1832"/>
                  </a:lnTo>
                  <a:lnTo>
                    <a:pt x="12862" y="894"/>
                  </a:lnTo>
                  <a:cubicBezTo>
                    <a:pt x="12594" y="519"/>
                    <a:pt x="12219" y="236"/>
                    <a:pt x="11790" y="90"/>
                  </a:cubicBezTo>
                  <a:lnTo>
                    <a:pt x="10317" y="90"/>
                  </a:lnTo>
                  <a:cubicBezTo>
                    <a:pt x="9646" y="-30"/>
                    <a:pt x="8977" y="-30"/>
                    <a:pt x="8307" y="90"/>
                  </a:cubicBezTo>
                  <a:cubicBezTo>
                    <a:pt x="4489" y="-499"/>
                    <a:pt x="871" y="1955"/>
                    <a:pt x="0" y="5717"/>
                  </a:cubicBezTo>
                  <a:close/>
                </a:path>
              </a:pathLst>
            </a:custGeom>
            <a:solidFill>
              <a:srgbClr val="000000"/>
            </a:solidFill>
            <a:ln w="12700" cap="flat">
              <a:noFill/>
              <a:prstDash val="solid"/>
              <a:miter/>
            </a:ln>
          </p:spPr>
          <p:txBody>
            <a:bodyPr rtlCol="0" anchor="ctr"/>
            <a:lstStyle/>
            <a:p>
              <a:endParaRPr lang="en-US"/>
            </a:p>
          </p:txBody>
        </p:sp>
        <p:sp>
          <p:nvSpPr>
            <p:cNvPr id="1237" name="Freeform: Shape 1236">
              <a:extLst>
                <a:ext uri="{FF2B5EF4-FFF2-40B4-BE49-F238E27FC236}">
                  <a16:creationId xmlns:a16="http://schemas.microsoft.com/office/drawing/2014/main" id="{92470148-CC13-4FC5-9A05-624CE0DEACA2}"/>
                </a:ext>
              </a:extLst>
            </p:cNvPr>
            <p:cNvSpPr/>
            <p:nvPr/>
          </p:nvSpPr>
          <p:spPr>
            <a:xfrm>
              <a:off x="4852532" y="6569993"/>
              <a:ext cx="14737" cy="15967"/>
            </a:xfrm>
            <a:custGeom>
              <a:avLst/>
              <a:gdLst>
                <a:gd name="connsiteX0" fmla="*/ 670 w 14737"/>
                <a:gd name="connsiteY0" fmla="*/ 9913 h 15967"/>
                <a:gd name="connsiteX1" fmla="*/ 670 w 14737"/>
                <a:gd name="connsiteY1" fmla="*/ 9913 h 15967"/>
                <a:gd name="connsiteX2" fmla="*/ 670 w 14737"/>
                <a:gd name="connsiteY2" fmla="*/ 11520 h 15967"/>
                <a:gd name="connsiteX3" fmla="*/ 670 w 14737"/>
                <a:gd name="connsiteY3" fmla="*/ 11520 h 15967"/>
                <a:gd name="connsiteX4" fmla="*/ 670 w 14737"/>
                <a:gd name="connsiteY4" fmla="*/ 12458 h 15967"/>
                <a:gd name="connsiteX5" fmla="*/ 1608 w 14737"/>
                <a:gd name="connsiteY5" fmla="*/ 13931 h 15967"/>
                <a:gd name="connsiteX6" fmla="*/ 2277 w 14737"/>
                <a:gd name="connsiteY6" fmla="*/ 14735 h 15967"/>
                <a:gd name="connsiteX7" fmla="*/ 3751 w 14737"/>
                <a:gd name="connsiteY7" fmla="*/ 15807 h 15967"/>
                <a:gd name="connsiteX8" fmla="*/ 4555 w 14737"/>
                <a:gd name="connsiteY8" fmla="*/ 15807 h 15967"/>
                <a:gd name="connsiteX9" fmla="*/ 7369 w 14737"/>
                <a:gd name="connsiteY9" fmla="*/ 15807 h 15967"/>
                <a:gd name="connsiteX10" fmla="*/ 14738 w 14737"/>
                <a:gd name="connsiteY10" fmla="*/ 8439 h 15967"/>
                <a:gd name="connsiteX11" fmla="*/ 14738 w 14737"/>
                <a:gd name="connsiteY11" fmla="*/ 7368 h 15967"/>
                <a:gd name="connsiteX12" fmla="*/ 7369 w 14737"/>
                <a:gd name="connsiteY12" fmla="*/ 0 h 15967"/>
                <a:gd name="connsiteX13" fmla="*/ 0 w 14737"/>
                <a:gd name="connsiteY13" fmla="*/ 7368 h 15967"/>
                <a:gd name="connsiteX14" fmla="*/ 0 w 14737"/>
                <a:gd name="connsiteY14" fmla="*/ 7368 h 1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37" h="15967">
                  <a:moveTo>
                    <a:pt x="670" y="9913"/>
                  </a:moveTo>
                  <a:lnTo>
                    <a:pt x="670" y="9913"/>
                  </a:lnTo>
                  <a:cubicBezTo>
                    <a:pt x="590" y="10449"/>
                    <a:pt x="590" y="10985"/>
                    <a:pt x="670" y="11520"/>
                  </a:cubicBezTo>
                  <a:lnTo>
                    <a:pt x="670" y="11520"/>
                  </a:lnTo>
                  <a:cubicBezTo>
                    <a:pt x="670" y="11520"/>
                    <a:pt x="670" y="12190"/>
                    <a:pt x="670" y="12458"/>
                  </a:cubicBezTo>
                  <a:lnTo>
                    <a:pt x="1608" y="13931"/>
                  </a:lnTo>
                  <a:lnTo>
                    <a:pt x="2277" y="14735"/>
                  </a:lnTo>
                  <a:cubicBezTo>
                    <a:pt x="2680" y="15204"/>
                    <a:pt x="3175" y="15579"/>
                    <a:pt x="3751" y="15807"/>
                  </a:cubicBezTo>
                  <a:lnTo>
                    <a:pt x="4555" y="15807"/>
                  </a:lnTo>
                  <a:cubicBezTo>
                    <a:pt x="5480" y="16021"/>
                    <a:pt x="6444" y="16021"/>
                    <a:pt x="7369" y="15807"/>
                  </a:cubicBezTo>
                  <a:cubicBezTo>
                    <a:pt x="11442" y="15807"/>
                    <a:pt x="14738" y="12512"/>
                    <a:pt x="14738" y="8439"/>
                  </a:cubicBezTo>
                  <a:lnTo>
                    <a:pt x="14738" y="7368"/>
                  </a:lnTo>
                  <a:cubicBezTo>
                    <a:pt x="14738" y="3295"/>
                    <a:pt x="11442" y="0"/>
                    <a:pt x="7369" y="0"/>
                  </a:cubicBezTo>
                  <a:cubicBezTo>
                    <a:pt x="3296" y="0"/>
                    <a:pt x="0" y="3295"/>
                    <a:pt x="0" y="7368"/>
                  </a:cubicBezTo>
                  <a:lnTo>
                    <a:pt x="0" y="7368"/>
                  </a:lnTo>
                  <a:close/>
                </a:path>
              </a:pathLst>
            </a:custGeom>
            <a:solidFill>
              <a:srgbClr val="000000"/>
            </a:solidFill>
            <a:ln w="12700" cap="flat">
              <a:noFill/>
              <a:prstDash val="solid"/>
              <a:miter/>
            </a:ln>
          </p:spPr>
          <p:txBody>
            <a:bodyPr rtlCol="0" anchor="ctr"/>
            <a:lstStyle/>
            <a:p>
              <a:endParaRPr lang="en-US"/>
            </a:p>
          </p:txBody>
        </p:sp>
        <p:sp>
          <p:nvSpPr>
            <p:cNvPr id="1238" name="Freeform: Shape 1237">
              <a:extLst>
                <a:ext uri="{FF2B5EF4-FFF2-40B4-BE49-F238E27FC236}">
                  <a16:creationId xmlns:a16="http://schemas.microsoft.com/office/drawing/2014/main" id="{A7473F66-0C89-4618-8A79-63DD0D89AB81}"/>
                </a:ext>
              </a:extLst>
            </p:cNvPr>
            <p:cNvSpPr/>
            <p:nvPr/>
          </p:nvSpPr>
          <p:spPr>
            <a:xfrm>
              <a:off x="8355643" y="6169930"/>
              <a:ext cx="13934" cy="14739"/>
            </a:xfrm>
            <a:custGeom>
              <a:avLst/>
              <a:gdLst>
                <a:gd name="connsiteX0" fmla="*/ 13934 w 13934"/>
                <a:gd name="connsiteY0" fmla="*/ 7302 h 14739"/>
                <a:gd name="connsiteX1" fmla="*/ 7369 w 13934"/>
                <a:gd name="connsiteY1" fmla="*/ 68 h 14739"/>
                <a:gd name="connsiteX2" fmla="*/ 0 w 13934"/>
                <a:gd name="connsiteY2" fmla="*/ 68 h 14739"/>
                <a:gd name="connsiteX3" fmla="*/ 8293 w 13934"/>
                <a:gd name="connsiteY3" fmla="*/ 6378 h 14739"/>
                <a:gd name="connsiteX4" fmla="*/ 1983 w 13934"/>
                <a:gd name="connsiteY4" fmla="*/ 14670 h 14739"/>
                <a:gd name="connsiteX5" fmla="*/ 0 w 13934"/>
                <a:gd name="connsiteY5" fmla="*/ 14670 h 14739"/>
                <a:gd name="connsiteX6" fmla="*/ 6566 w 13934"/>
                <a:gd name="connsiteY6" fmla="*/ 14670 h 14739"/>
                <a:gd name="connsiteX7" fmla="*/ 13934 w 13934"/>
                <a:gd name="connsiteY7" fmla="*/ 7302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4" h="14739">
                  <a:moveTo>
                    <a:pt x="13934" y="7302"/>
                  </a:moveTo>
                  <a:cubicBezTo>
                    <a:pt x="13947" y="3551"/>
                    <a:pt x="11107" y="417"/>
                    <a:pt x="7369" y="68"/>
                  </a:cubicBezTo>
                  <a:lnTo>
                    <a:pt x="0" y="68"/>
                  </a:lnTo>
                  <a:cubicBezTo>
                    <a:pt x="4033" y="-481"/>
                    <a:pt x="7744" y="2345"/>
                    <a:pt x="8293" y="6378"/>
                  </a:cubicBezTo>
                  <a:cubicBezTo>
                    <a:pt x="8843" y="10410"/>
                    <a:pt x="6016" y="14120"/>
                    <a:pt x="1983" y="14670"/>
                  </a:cubicBezTo>
                  <a:cubicBezTo>
                    <a:pt x="1326" y="14763"/>
                    <a:pt x="657" y="14763"/>
                    <a:pt x="0" y="14670"/>
                  </a:cubicBezTo>
                  <a:lnTo>
                    <a:pt x="6566" y="14670"/>
                  </a:lnTo>
                  <a:cubicBezTo>
                    <a:pt x="10638" y="14670"/>
                    <a:pt x="13934" y="11374"/>
                    <a:pt x="13934" y="7302"/>
                  </a:cubicBezTo>
                  <a:close/>
                </a:path>
              </a:pathLst>
            </a:custGeom>
            <a:solidFill>
              <a:srgbClr val="000000"/>
            </a:solidFill>
            <a:ln w="12700" cap="flat">
              <a:noFill/>
              <a:prstDash val="solid"/>
              <a:miter/>
            </a:ln>
          </p:spPr>
          <p:txBody>
            <a:bodyPr rtlCol="0" anchor="ctr"/>
            <a:lstStyle/>
            <a:p>
              <a:endParaRPr lang="en-US"/>
            </a:p>
          </p:txBody>
        </p:sp>
        <p:sp>
          <p:nvSpPr>
            <p:cNvPr id="1239" name="Freeform: Shape 1238">
              <a:extLst>
                <a:ext uri="{FF2B5EF4-FFF2-40B4-BE49-F238E27FC236}">
                  <a16:creationId xmlns:a16="http://schemas.microsoft.com/office/drawing/2014/main" id="{A1EBDD8D-D025-4777-88A8-F21BF3564877}"/>
                </a:ext>
              </a:extLst>
            </p:cNvPr>
            <p:cNvSpPr/>
            <p:nvPr/>
          </p:nvSpPr>
          <p:spPr>
            <a:xfrm>
              <a:off x="8071849" y="6511855"/>
              <a:ext cx="14768" cy="7367"/>
            </a:xfrm>
            <a:custGeom>
              <a:avLst/>
              <a:gdLst>
                <a:gd name="connsiteX0" fmla="*/ 9007 w 14768"/>
                <a:gd name="connsiteY0" fmla="*/ 7100 h 7367"/>
                <a:gd name="connsiteX1" fmla="*/ 14768 w 14768"/>
                <a:gd name="connsiteY1" fmla="*/ 0 h 7367"/>
                <a:gd name="connsiteX2" fmla="*/ 14768 w 14768"/>
                <a:gd name="connsiteY2" fmla="*/ 0 h 7367"/>
                <a:gd name="connsiteX3" fmla="*/ 7399 w 14768"/>
                <a:gd name="connsiteY3" fmla="*/ 7368 h 7367"/>
                <a:gd name="connsiteX4" fmla="*/ 30 w 14768"/>
                <a:gd name="connsiteY4" fmla="*/ 0 h 7367"/>
                <a:gd name="connsiteX5" fmla="*/ 30 w 14768"/>
                <a:gd name="connsiteY5" fmla="*/ 0 h 7367"/>
                <a:gd name="connsiteX6" fmla="*/ 30 w 14768"/>
                <a:gd name="connsiteY6" fmla="*/ 1206 h 7367"/>
                <a:gd name="connsiteX7" fmla="*/ 30 w 14768"/>
                <a:gd name="connsiteY7" fmla="*/ 2679 h 7367"/>
                <a:gd name="connsiteX8" fmla="*/ 30 w 14768"/>
                <a:gd name="connsiteY8" fmla="*/ 2679 h 7367"/>
                <a:gd name="connsiteX9" fmla="*/ 30 w 14768"/>
                <a:gd name="connsiteY9" fmla="*/ 3483 h 7367"/>
                <a:gd name="connsiteX10" fmla="*/ 834 w 14768"/>
                <a:gd name="connsiteY10" fmla="*/ 4688 h 7367"/>
                <a:gd name="connsiteX11" fmla="*/ 1906 w 14768"/>
                <a:gd name="connsiteY11" fmla="*/ 5492 h 7367"/>
                <a:gd name="connsiteX12" fmla="*/ 2978 w 14768"/>
                <a:gd name="connsiteY12" fmla="*/ 6296 h 7367"/>
                <a:gd name="connsiteX13" fmla="*/ 4452 w 14768"/>
                <a:gd name="connsiteY13" fmla="*/ 6296 h 7367"/>
                <a:gd name="connsiteX14" fmla="*/ 6059 w 14768"/>
                <a:gd name="connsiteY14" fmla="*/ 6296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68" h="7367">
                  <a:moveTo>
                    <a:pt x="9007" y="7100"/>
                  </a:moveTo>
                  <a:cubicBezTo>
                    <a:pt x="12370" y="6403"/>
                    <a:pt x="14781" y="3429"/>
                    <a:pt x="14768" y="0"/>
                  </a:cubicBezTo>
                  <a:lnTo>
                    <a:pt x="14768" y="0"/>
                  </a:lnTo>
                  <a:cubicBezTo>
                    <a:pt x="14768" y="4072"/>
                    <a:pt x="11472" y="7368"/>
                    <a:pt x="7399" y="7368"/>
                  </a:cubicBezTo>
                  <a:cubicBezTo>
                    <a:pt x="3326" y="7368"/>
                    <a:pt x="30" y="4072"/>
                    <a:pt x="30" y="0"/>
                  </a:cubicBezTo>
                  <a:lnTo>
                    <a:pt x="30" y="0"/>
                  </a:lnTo>
                  <a:cubicBezTo>
                    <a:pt x="30" y="0"/>
                    <a:pt x="30" y="804"/>
                    <a:pt x="30" y="1206"/>
                  </a:cubicBezTo>
                  <a:cubicBezTo>
                    <a:pt x="30" y="1607"/>
                    <a:pt x="30" y="2143"/>
                    <a:pt x="30" y="2679"/>
                  </a:cubicBezTo>
                  <a:lnTo>
                    <a:pt x="30" y="2679"/>
                  </a:lnTo>
                  <a:cubicBezTo>
                    <a:pt x="-10" y="2947"/>
                    <a:pt x="-10" y="3215"/>
                    <a:pt x="30" y="3483"/>
                  </a:cubicBezTo>
                  <a:cubicBezTo>
                    <a:pt x="244" y="3911"/>
                    <a:pt x="526" y="4313"/>
                    <a:pt x="834" y="4688"/>
                  </a:cubicBezTo>
                  <a:lnTo>
                    <a:pt x="1906" y="5492"/>
                  </a:lnTo>
                  <a:lnTo>
                    <a:pt x="2978" y="6296"/>
                  </a:lnTo>
                  <a:lnTo>
                    <a:pt x="4452" y="6296"/>
                  </a:lnTo>
                  <a:lnTo>
                    <a:pt x="6059" y="6296"/>
                  </a:lnTo>
                  <a:close/>
                </a:path>
              </a:pathLst>
            </a:custGeom>
            <a:solidFill>
              <a:srgbClr val="000000"/>
            </a:solidFill>
            <a:ln w="12700" cap="flat">
              <a:noFill/>
              <a:prstDash val="solid"/>
              <a:miter/>
            </a:ln>
          </p:spPr>
          <p:txBody>
            <a:bodyPr rtlCol="0" anchor="ctr"/>
            <a:lstStyle/>
            <a:p>
              <a:endParaRPr lang="en-US"/>
            </a:p>
          </p:txBody>
        </p:sp>
        <p:sp>
          <p:nvSpPr>
            <p:cNvPr id="1240" name="Freeform: Shape 1239">
              <a:extLst>
                <a:ext uri="{FF2B5EF4-FFF2-40B4-BE49-F238E27FC236}">
                  <a16:creationId xmlns:a16="http://schemas.microsoft.com/office/drawing/2014/main" id="{C139B269-2BD3-4CE4-92AF-F4F240231E1C}"/>
                </a:ext>
              </a:extLst>
            </p:cNvPr>
            <p:cNvSpPr/>
            <p:nvPr/>
          </p:nvSpPr>
          <p:spPr>
            <a:xfrm>
              <a:off x="8060843" y="4986089"/>
              <a:ext cx="14251" cy="829325"/>
            </a:xfrm>
            <a:custGeom>
              <a:avLst/>
              <a:gdLst>
                <a:gd name="connsiteX0" fmla="*/ 6883 w 14251"/>
                <a:gd name="connsiteY0" fmla="*/ 821958 h 829325"/>
                <a:gd name="connsiteX1" fmla="*/ 14251 w 14251"/>
                <a:gd name="connsiteY1" fmla="*/ 829326 h 829325"/>
                <a:gd name="connsiteX2" fmla="*/ 14251 w 14251"/>
                <a:gd name="connsiteY2" fmla="*/ 7368 h 829325"/>
                <a:gd name="connsiteX3" fmla="*/ 12644 w 14251"/>
                <a:gd name="connsiteY3" fmla="*/ 3081 h 829325"/>
                <a:gd name="connsiteX4" fmla="*/ 6883 w 14251"/>
                <a:gd name="connsiteY4" fmla="*/ 0 h 829325"/>
                <a:gd name="connsiteX5" fmla="*/ 50 w 14251"/>
                <a:gd name="connsiteY5" fmla="*/ 4555 h 829325"/>
                <a:gd name="connsiteX6" fmla="*/ 50 w 14251"/>
                <a:gd name="connsiteY6" fmla="*/ 4555 h 829325"/>
                <a:gd name="connsiteX7" fmla="*/ 50 w 14251"/>
                <a:gd name="connsiteY7" fmla="*/ 6028 h 829325"/>
                <a:gd name="connsiteX8" fmla="*/ 50 w 14251"/>
                <a:gd name="connsiteY8" fmla="*/ 7368 h 829325"/>
                <a:gd name="connsiteX9" fmla="*/ 50 w 14251"/>
                <a:gd name="connsiteY9" fmla="*/ 7368 h 829325"/>
                <a:gd name="connsiteX10" fmla="*/ 50 w 14251"/>
                <a:gd name="connsiteY10" fmla="*/ 829326 h 829325"/>
                <a:gd name="connsiteX11" fmla="*/ 6883 w 14251"/>
                <a:gd name="connsiteY11" fmla="*/ 821958 h 82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51" h="829325">
                  <a:moveTo>
                    <a:pt x="6883" y="821958"/>
                  </a:moveTo>
                  <a:cubicBezTo>
                    <a:pt x="10956" y="821958"/>
                    <a:pt x="14251" y="825256"/>
                    <a:pt x="14251" y="829326"/>
                  </a:cubicBezTo>
                  <a:lnTo>
                    <a:pt x="14251" y="7368"/>
                  </a:lnTo>
                  <a:cubicBezTo>
                    <a:pt x="14198" y="5800"/>
                    <a:pt x="13636" y="4293"/>
                    <a:pt x="12644" y="3081"/>
                  </a:cubicBezTo>
                  <a:cubicBezTo>
                    <a:pt x="11304" y="1212"/>
                    <a:pt x="9174" y="74"/>
                    <a:pt x="6883" y="0"/>
                  </a:cubicBezTo>
                  <a:cubicBezTo>
                    <a:pt x="3909" y="27"/>
                    <a:pt x="1216" y="1814"/>
                    <a:pt x="50" y="4555"/>
                  </a:cubicBezTo>
                  <a:lnTo>
                    <a:pt x="50" y="4555"/>
                  </a:lnTo>
                  <a:cubicBezTo>
                    <a:pt x="50" y="4555"/>
                    <a:pt x="50" y="5492"/>
                    <a:pt x="50" y="6028"/>
                  </a:cubicBezTo>
                  <a:cubicBezTo>
                    <a:pt x="-17" y="6473"/>
                    <a:pt x="-17" y="6923"/>
                    <a:pt x="50" y="7368"/>
                  </a:cubicBezTo>
                  <a:lnTo>
                    <a:pt x="50" y="7368"/>
                  </a:lnTo>
                  <a:lnTo>
                    <a:pt x="50" y="829326"/>
                  </a:lnTo>
                  <a:cubicBezTo>
                    <a:pt x="37" y="825457"/>
                    <a:pt x="3025" y="822240"/>
                    <a:pt x="6883" y="821958"/>
                  </a:cubicBezTo>
                  <a:close/>
                </a:path>
              </a:pathLst>
            </a:custGeom>
            <a:solidFill>
              <a:srgbClr val="000000"/>
            </a:solidFill>
            <a:ln w="12700" cap="flat">
              <a:noFill/>
              <a:prstDash val="solid"/>
              <a:miter/>
            </a:ln>
          </p:spPr>
          <p:txBody>
            <a:bodyPr rtlCol="0" anchor="ctr"/>
            <a:lstStyle/>
            <a:p>
              <a:endParaRPr lang="en-US"/>
            </a:p>
          </p:txBody>
        </p:sp>
        <p:sp>
          <p:nvSpPr>
            <p:cNvPr id="1241" name="Freeform: Shape 1240">
              <a:extLst>
                <a:ext uri="{FF2B5EF4-FFF2-40B4-BE49-F238E27FC236}">
                  <a16:creationId xmlns:a16="http://schemas.microsoft.com/office/drawing/2014/main" id="{44ADD875-47E9-4AD1-85C3-512E2F2E1FA2}"/>
                </a:ext>
              </a:extLst>
            </p:cNvPr>
            <p:cNvSpPr/>
            <p:nvPr/>
          </p:nvSpPr>
          <p:spPr>
            <a:xfrm>
              <a:off x="8060215" y="5808047"/>
              <a:ext cx="14746" cy="259608"/>
            </a:xfrm>
            <a:custGeom>
              <a:avLst/>
              <a:gdLst>
                <a:gd name="connsiteX0" fmla="*/ 6171 w 14746"/>
                <a:gd name="connsiteY0" fmla="*/ 259608 h 259608"/>
                <a:gd name="connsiteX1" fmla="*/ 7511 w 14746"/>
                <a:gd name="connsiteY1" fmla="*/ 259608 h 259608"/>
                <a:gd name="connsiteX2" fmla="*/ 8851 w 14746"/>
                <a:gd name="connsiteY2" fmla="*/ 259608 h 259608"/>
                <a:gd name="connsiteX3" fmla="*/ 12066 w 14746"/>
                <a:gd name="connsiteY3" fmla="*/ 258135 h 259608"/>
                <a:gd name="connsiteX4" fmla="*/ 13138 w 14746"/>
                <a:gd name="connsiteY4" fmla="*/ 257063 h 259608"/>
                <a:gd name="connsiteX5" fmla="*/ 13138 w 14746"/>
                <a:gd name="connsiteY5" fmla="*/ 257063 h 259608"/>
                <a:gd name="connsiteX6" fmla="*/ 14746 w 14746"/>
                <a:gd name="connsiteY6" fmla="*/ 252642 h 259608"/>
                <a:gd name="connsiteX7" fmla="*/ 14746 w 14746"/>
                <a:gd name="connsiteY7" fmla="*/ 7368 h 259608"/>
                <a:gd name="connsiteX8" fmla="*/ 7377 w 14746"/>
                <a:gd name="connsiteY8" fmla="*/ 0 h 259608"/>
                <a:gd name="connsiteX9" fmla="*/ 8 w 14746"/>
                <a:gd name="connsiteY9" fmla="*/ 7368 h 259608"/>
                <a:gd name="connsiteX10" fmla="*/ 8 w 14746"/>
                <a:gd name="connsiteY10" fmla="*/ 252106 h 259608"/>
                <a:gd name="connsiteX11" fmla="*/ 6171 w 14746"/>
                <a:gd name="connsiteY11" fmla="*/ 259608 h 25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46" h="259608">
                  <a:moveTo>
                    <a:pt x="6171" y="259608"/>
                  </a:moveTo>
                  <a:lnTo>
                    <a:pt x="7511" y="259608"/>
                  </a:lnTo>
                  <a:lnTo>
                    <a:pt x="8851" y="259608"/>
                  </a:lnTo>
                  <a:cubicBezTo>
                    <a:pt x="10043" y="259458"/>
                    <a:pt x="11168" y="258944"/>
                    <a:pt x="12066" y="258135"/>
                  </a:cubicBezTo>
                  <a:cubicBezTo>
                    <a:pt x="12495" y="257848"/>
                    <a:pt x="12856" y="257485"/>
                    <a:pt x="13138" y="257063"/>
                  </a:cubicBezTo>
                  <a:lnTo>
                    <a:pt x="13138" y="257063"/>
                  </a:lnTo>
                  <a:cubicBezTo>
                    <a:pt x="14156" y="255814"/>
                    <a:pt x="14732" y="254255"/>
                    <a:pt x="14746" y="252642"/>
                  </a:cubicBezTo>
                  <a:lnTo>
                    <a:pt x="14746" y="7368"/>
                  </a:lnTo>
                  <a:cubicBezTo>
                    <a:pt x="14746" y="3298"/>
                    <a:pt x="11450" y="0"/>
                    <a:pt x="7377" y="0"/>
                  </a:cubicBezTo>
                  <a:cubicBezTo>
                    <a:pt x="3304" y="0"/>
                    <a:pt x="8" y="3298"/>
                    <a:pt x="8" y="7368"/>
                  </a:cubicBezTo>
                  <a:lnTo>
                    <a:pt x="8" y="252106"/>
                  </a:lnTo>
                  <a:cubicBezTo>
                    <a:pt x="-166" y="255818"/>
                    <a:pt x="2501" y="259061"/>
                    <a:pt x="6171" y="259608"/>
                  </a:cubicBezTo>
                  <a:close/>
                </a:path>
              </a:pathLst>
            </a:custGeom>
            <a:solidFill>
              <a:srgbClr val="000000"/>
            </a:solidFill>
            <a:ln w="12700" cap="flat">
              <a:noFill/>
              <a:prstDash val="solid"/>
              <a:miter/>
            </a:ln>
          </p:spPr>
          <p:txBody>
            <a:bodyPr rtlCol="0" anchor="ctr"/>
            <a:lstStyle/>
            <a:p>
              <a:endParaRPr lang="en-US"/>
            </a:p>
          </p:txBody>
        </p:sp>
        <p:sp>
          <p:nvSpPr>
            <p:cNvPr id="1242" name="Freeform: Shape 1241">
              <a:extLst>
                <a:ext uri="{FF2B5EF4-FFF2-40B4-BE49-F238E27FC236}">
                  <a16:creationId xmlns:a16="http://schemas.microsoft.com/office/drawing/2014/main" id="{63DA42B8-168A-4833-9DD2-43CDD7492A28}"/>
                </a:ext>
              </a:extLst>
            </p:cNvPr>
            <p:cNvSpPr/>
            <p:nvPr/>
          </p:nvSpPr>
          <p:spPr>
            <a:xfrm>
              <a:off x="7596795" y="6175088"/>
              <a:ext cx="14468" cy="335963"/>
            </a:xfrm>
            <a:custGeom>
              <a:avLst/>
              <a:gdLst>
                <a:gd name="connsiteX0" fmla="*/ 14469 w 14468"/>
                <a:gd name="connsiteY0" fmla="*/ 335964 h 335963"/>
                <a:gd name="connsiteX1" fmla="*/ 14469 w 14468"/>
                <a:gd name="connsiteY1" fmla="*/ 9377 h 335963"/>
                <a:gd name="connsiteX2" fmla="*/ 8172 w 14468"/>
                <a:gd name="connsiteY2" fmla="*/ 9377 h 335963"/>
                <a:gd name="connsiteX3" fmla="*/ 804 w 14468"/>
                <a:gd name="connsiteY3" fmla="*/ 2143 h 335963"/>
                <a:gd name="connsiteX4" fmla="*/ 804 w 14468"/>
                <a:gd name="connsiteY4" fmla="*/ 0 h 335963"/>
                <a:gd name="connsiteX5" fmla="*/ 0 w 14468"/>
                <a:gd name="connsiteY5" fmla="*/ 1072 h 335963"/>
                <a:gd name="connsiteX6" fmla="*/ 0 w 14468"/>
                <a:gd name="connsiteY6" fmla="*/ 2545 h 335963"/>
                <a:gd name="connsiteX7" fmla="*/ 0 w 14468"/>
                <a:gd name="connsiteY7" fmla="*/ 3885 h 335963"/>
                <a:gd name="connsiteX8" fmla="*/ 0 w 14468"/>
                <a:gd name="connsiteY8" fmla="*/ 328596 h 335963"/>
                <a:gd name="connsiteX9" fmla="*/ 7369 w 14468"/>
                <a:gd name="connsiteY9" fmla="*/ 328596 h 335963"/>
                <a:gd name="connsiteX10" fmla="*/ 14469 w 14468"/>
                <a:gd name="connsiteY10" fmla="*/ 335964 h 33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68" h="335963">
                  <a:moveTo>
                    <a:pt x="14469" y="335964"/>
                  </a:moveTo>
                  <a:lnTo>
                    <a:pt x="14469" y="9377"/>
                  </a:lnTo>
                  <a:lnTo>
                    <a:pt x="8172" y="9377"/>
                  </a:lnTo>
                  <a:cubicBezTo>
                    <a:pt x="4153" y="9377"/>
                    <a:pt x="871" y="6162"/>
                    <a:pt x="804" y="2143"/>
                  </a:cubicBezTo>
                  <a:cubicBezTo>
                    <a:pt x="723" y="1433"/>
                    <a:pt x="723" y="710"/>
                    <a:pt x="804" y="0"/>
                  </a:cubicBezTo>
                  <a:lnTo>
                    <a:pt x="0" y="1072"/>
                  </a:lnTo>
                  <a:lnTo>
                    <a:pt x="0" y="2545"/>
                  </a:lnTo>
                  <a:cubicBezTo>
                    <a:pt x="0" y="2545"/>
                    <a:pt x="0" y="3483"/>
                    <a:pt x="0" y="3885"/>
                  </a:cubicBezTo>
                  <a:lnTo>
                    <a:pt x="0" y="328596"/>
                  </a:lnTo>
                  <a:lnTo>
                    <a:pt x="7369" y="328596"/>
                  </a:lnTo>
                  <a:cubicBezTo>
                    <a:pt x="11335" y="328743"/>
                    <a:pt x="14469" y="331998"/>
                    <a:pt x="14469" y="335964"/>
                  </a:cubicBezTo>
                  <a:close/>
                </a:path>
              </a:pathLst>
            </a:custGeom>
            <a:solidFill>
              <a:srgbClr val="000000"/>
            </a:solidFill>
            <a:ln w="12700" cap="flat">
              <a:noFill/>
              <a:prstDash val="solid"/>
              <a:miter/>
            </a:ln>
          </p:spPr>
          <p:txBody>
            <a:bodyPr rtlCol="0" anchor="ctr"/>
            <a:lstStyle/>
            <a:p>
              <a:endParaRPr lang="en-US"/>
            </a:p>
          </p:txBody>
        </p:sp>
        <p:sp>
          <p:nvSpPr>
            <p:cNvPr id="1243" name="Freeform: Shape 1242">
              <a:extLst>
                <a:ext uri="{FF2B5EF4-FFF2-40B4-BE49-F238E27FC236}">
                  <a16:creationId xmlns:a16="http://schemas.microsoft.com/office/drawing/2014/main" id="{2AE6F295-BE55-40D7-AEE0-C922ED2549C8}"/>
                </a:ext>
              </a:extLst>
            </p:cNvPr>
            <p:cNvSpPr/>
            <p:nvPr/>
          </p:nvSpPr>
          <p:spPr>
            <a:xfrm>
              <a:off x="7611264" y="6511052"/>
              <a:ext cx="100" cy="2679"/>
            </a:xfrm>
            <a:custGeom>
              <a:avLst/>
              <a:gdLst>
                <a:gd name="connsiteX0" fmla="*/ 0 w 100"/>
                <a:gd name="connsiteY0" fmla="*/ 0 h 2679"/>
                <a:gd name="connsiteX1" fmla="*/ 0 w 100"/>
                <a:gd name="connsiteY1" fmla="*/ 2679 h 2679"/>
                <a:gd name="connsiteX2" fmla="*/ 0 w 100"/>
                <a:gd name="connsiteY2" fmla="*/ 2679 h 2679"/>
                <a:gd name="connsiteX3" fmla="*/ 0 w 100"/>
                <a:gd name="connsiteY3" fmla="*/ 1071 h 2679"/>
              </a:gdLst>
              <a:ahLst/>
              <a:cxnLst>
                <a:cxn ang="0">
                  <a:pos x="connsiteX0" y="connsiteY0"/>
                </a:cxn>
                <a:cxn ang="0">
                  <a:pos x="connsiteX1" y="connsiteY1"/>
                </a:cxn>
                <a:cxn ang="0">
                  <a:pos x="connsiteX2" y="connsiteY2"/>
                </a:cxn>
                <a:cxn ang="0">
                  <a:pos x="connsiteX3" y="connsiteY3"/>
                </a:cxn>
              </a:cxnLst>
              <a:rect l="l" t="t" r="r" b="b"/>
              <a:pathLst>
                <a:path w="100" h="2679">
                  <a:moveTo>
                    <a:pt x="0" y="0"/>
                  </a:moveTo>
                  <a:cubicBezTo>
                    <a:pt x="134" y="884"/>
                    <a:pt x="134" y="1795"/>
                    <a:pt x="0" y="2679"/>
                  </a:cubicBezTo>
                  <a:cubicBezTo>
                    <a:pt x="0" y="2679"/>
                    <a:pt x="0" y="2679"/>
                    <a:pt x="0" y="2679"/>
                  </a:cubicBezTo>
                  <a:cubicBezTo>
                    <a:pt x="54" y="2143"/>
                    <a:pt x="54" y="1607"/>
                    <a:pt x="0" y="1071"/>
                  </a:cubicBezTo>
                  <a:close/>
                </a:path>
              </a:pathLst>
            </a:custGeom>
            <a:solidFill>
              <a:srgbClr val="000000"/>
            </a:solidFill>
            <a:ln w="12700" cap="flat">
              <a:noFill/>
              <a:prstDash val="solid"/>
              <a:miter/>
            </a:ln>
          </p:spPr>
          <p:txBody>
            <a:bodyPr rtlCol="0" anchor="ctr"/>
            <a:lstStyle/>
            <a:p>
              <a:endParaRPr lang="en-US"/>
            </a:p>
          </p:txBody>
        </p:sp>
        <p:sp>
          <p:nvSpPr>
            <p:cNvPr id="1244" name="Freeform: Shape 1243">
              <a:extLst>
                <a:ext uri="{FF2B5EF4-FFF2-40B4-BE49-F238E27FC236}">
                  <a16:creationId xmlns:a16="http://schemas.microsoft.com/office/drawing/2014/main" id="{43A88CED-6013-4B44-BFE8-298DD0F95D93}"/>
                </a:ext>
              </a:extLst>
            </p:cNvPr>
            <p:cNvSpPr/>
            <p:nvPr/>
          </p:nvSpPr>
          <p:spPr>
            <a:xfrm>
              <a:off x="7601618" y="6513731"/>
              <a:ext cx="8842" cy="4788"/>
            </a:xfrm>
            <a:custGeom>
              <a:avLst/>
              <a:gdLst>
                <a:gd name="connsiteX0" fmla="*/ 2277 w 8842"/>
                <a:gd name="connsiteY0" fmla="*/ 4688 h 4788"/>
                <a:gd name="connsiteX1" fmla="*/ 0 w 8842"/>
                <a:gd name="connsiteY1" fmla="*/ 4688 h 4788"/>
                <a:gd name="connsiteX2" fmla="*/ 2277 w 8842"/>
                <a:gd name="connsiteY2" fmla="*/ 4688 h 4788"/>
                <a:gd name="connsiteX3" fmla="*/ 8842 w 8842"/>
                <a:gd name="connsiteY3" fmla="*/ 0 h 4788"/>
                <a:gd name="connsiteX4" fmla="*/ 2277 w 8842"/>
                <a:gd name="connsiteY4" fmla="*/ 4688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2277" y="4688"/>
                  </a:moveTo>
                  <a:lnTo>
                    <a:pt x="0" y="4688"/>
                  </a:lnTo>
                  <a:cubicBezTo>
                    <a:pt x="750" y="4822"/>
                    <a:pt x="1528" y="4822"/>
                    <a:pt x="2277" y="4688"/>
                  </a:cubicBezTo>
                  <a:cubicBezTo>
                    <a:pt x="5225" y="4635"/>
                    <a:pt x="7838" y="2773"/>
                    <a:pt x="8842" y="0"/>
                  </a:cubicBezTo>
                  <a:cubicBezTo>
                    <a:pt x="7811" y="2746"/>
                    <a:pt x="5211" y="4608"/>
                    <a:pt x="2277" y="4688"/>
                  </a:cubicBezTo>
                  <a:close/>
                </a:path>
              </a:pathLst>
            </a:custGeom>
            <a:solidFill>
              <a:srgbClr val="000000"/>
            </a:solidFill>
            <a:ln w="12700" cap="flat">
              <a:noFill/>
              <a:prstDash val="solid"/>
              <a:miter/>
            </a:ln>
          </p:spPr>
          <p:txBody>
            <a:bodyPr rtlCol="0" anchor="ctr"/>
            <a:lstStyle/>
            <a:p>
              <a:endParaRPr lang="en-US"/>
            </a:p>
          </p:txBody>
        </p:sp>
        <p:sp>
          <p:nvSpPr>
            <p:cNvPr id="1245" name="Freeform: Shape 1244">
              <a:extLst>
                <a:ext uri="{FF2B5EF4-FFF2-40B4-BE49-F238E27FC236}">
                  <a16:creationId xmlns:a16="http://schemas.microsoft.com/office/drawing/2014/main" id="{C8E723A7-BA1B-4C43-8ABE-949A6A765D5B}"/>
                </a:ext>
              </a:extLst>
            </p:cNvPr>
            <p:cNvSpPr/>
            <p:nvPr/>
          </p:nvSpPr>
          <p:spPr>
            <a:xfrm>
              <a:off x="8363012" y="5623455"/>
              <a:ext cx="65381" cy="14601"/>
            </a:xfrm>
            <a:custGeom>
              <a:avLst/>
              <a:gdLst>
                <a:gd name="connsiteX0" fmla="*/ 0 w 65381"/>
                <a:gd name="connsiteY0" fmla="*/ 14601 h 14601"/>
                <a:gd name="connsiteX1" fmla="*/ 65381 w 65381"/>
                <a:gd name="connsiteY1" fmla="*/ 14601 h 14601"/>
                <a:gd name="connsiteX2" fmla="*/ 59071 w 65381"/>
                <a:gd name="connsiteY2" fmla="*/ 6309 h 14601"/>
                <a:gd name="connsiteX3" fmla="*/ 65381 w 65381"/>
                <a:gd name="connsiteY3" fmla="*/ 0 h 14601"/>
                <a:gd name="connsiteX4" fmla="*/ 0 w 65381"/>
                <a:gd name="connsiteY4" fmla="*/ 0 h 14601"/>
                <a:gd name="connsiteX5" fmla="*/ 0 w 65381"/>
                <a:gd name="connsiteY5"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81" h="14601">
                  <a:moveTo>
                    <a:pt x="0" y="14601"/>
                  </a:moveTo>
                  <a:lnTo>
                    <a:pt x="65381" y="14601"/>
                  </a:lnTo>
                  <a:cubicBezTo>
                    <a:pt x="61348" y="14053"/>
                    <a:pt x="58521" y="10341"/>
                    <a:pt x="59071" y="6309"/>
                  </a:cubicBezTo>
                  <a:cubicBezTo>
                    <a:pt x="59512" y="3027"/>
                    <a:pt x="62098" y="446"/>
                    <a:pt x="65381" y="0"/>
                  </a:cubicBezTo>
                  <a:lnTo>
                    <a:pt x="0" y="0"/>
                  </a:lnTo>
                  <a:lnTo>
                    <a:pt x="0" y="14601"/>
                  </a:lnTo>
                  <a:close/>
                </a:path>
              </a:pathLst>
            </a:custGeom>
            <a:solidFill>
              <a:srgbClr val="000000"/>
            </a:solidFill>
            <a:ln w="12700" cap="flat">
              <a:noFill/>
              <a:prstDash val="solid"/>
              <a:miter/>
            </a:ln>
          </p:spPr>
          <p:txBody>
            <a:bodyPr rtlCol="0" anchor="ctr"/>
            <a:lstStyle/>
            <a:p>
              <a:endParaRPr lang="en-US"/>
            </a:p>
          </p:txBody>
        </p:sp>
        <p:sp>
          <p:nvSpPr>
            <p:cNvPr id="1246" name="Freeform: Shape 1245">
              <a:extLst>
                <a:ext uri="{FF2B5EF4-FFF2-40B4-BE49-F238E27FC236}">
                  <a16:creationId xmlns:a16="http://schemas.microsoft.com/office/drawing/2014/main" id="{716010E8-C909-462B-B49D-4C0BEE1F8061}"/>
                </a:ext>
              </a:extLst>
            </p:cNvPr>
            <p:cNvSpPr/>
            <p:nvPr/>
          </p:nvSpPr>
          <p:spPr>
            <a:xfrm>
              <a:off x="5803639" y="6580575"/>
              <a:ext cx="30" cy="2277"/>
            </a:xfrm>
            <a:custGeom>
              <a:avLst/>
              <a:gdLst>
                <a:gd name="connsiteX0" fmla="*/ 0 w 30"/>
                <a:gd name="connsiteY0" fmla="*/ 0 h 2277"/>
                <a:gd name="connsiteX1" fmla="*/ 0 w 30"/>
                <a:gd name="connsiteY1" fmla="*/ 1608 h 2277"/>
                <a:gd name="connsiteX2" fmla="*/ 0 w 30"/>
                <a:gd name="connsiteY2" fmla="*/ 2277 h 2277"/>
                <a:gd name="connsiteX3" fmla="*/ 0 w 30"/>
                <a:gd name="connsiteY3" fmla="*/ 1340 h 2277"/>
              </a:gdLst>
              <a:ahLst/>
              <a:cxnLst>
                <a:cxn ang="0">
                  <a:pos x="connsiteX0" y="connsiteY0"/>
                </a:cxn>
                <a:cxn ang="0">
                  <a:pos x="connsiteX1" y="connsiteY1"/>
                </a:cxn>
                <a:cxn ang="0">
                  <a:pos x="connsiteX2" y="connsiteY2"/>
                </a:cxn>
                <a:cxn ang="0">
                  <a:pos x="connsiteX3" y="connsiteY3"/>
                </a:cxn>
              </a:cxnLst>
              <a:rect l="l" t="t" r="r" b="b"/>
              <a:pathLst>
                <a:path w="30" h="2277">
                  <a:moveTo>
                    <a:pt x="0" y="0"/>
                  </a:moveTo>
                  <a:cubicBezTo>
                    <a:pt x="0" y="0"/>
                    <a:pt x="0" y="1072"/>
                    <a:pt x="0" y="1608"/>
                  </a:cubicBezTo>
                  <a:lnTo>
                    <a:pt x="0" y="2277"/>
                  </a:lnTo>
                  <a:cubicBezTo>
                    <a:pt x="40" y="1969"/>
                    <a:pt x="40" y="1648"/>
                    <a:pt x="0" y="1340"/>
                  </a:cubicBezTo>
                  <a:close/>
                </a:path>
              </a:pathLst>
            </a:custGeom>
            <a:solidFill>
              <a:srgbClr val="000000"/>
            </a:solidFill>
            <a:ln w="12700" cap="flat">
              <a:noFill/>
              <a:prstDash val="solid"/>
              <a:miter/>
            </a:ln>
          </p:spPr>
          <p:txBody>
            <a:bodyPr rtlCol="0" anchor="ctr"/>
            <a:lstStyle/>
            <a:p>
              <a:endParaRPr lang="en-US"/>
            </a:p>
          </p:txBody>
        </p:sp>
        <p:sp>
          <p:nvSpPr>
            <p:cNvPr id="1247" name="Freeform: Shape 1246">
              <a:extLst>
                <a:ext uri="{FF2B5EF4-FFF2-40B4-BE49-F238E27FC236}">
                  <a16:creationId xmlns:a16="http://schemas.microsoft.com/office/drawing/2014/main" id="{BE9FC673-385D-4427-B2DD-C8C1CDC8D7D4}"/>
                </a:ext>
              </a:extLst>
            </p:cNvPr>
            <p:cNvSpPr/>
            <p:nvPr/>
          </p:nvSpPr>
          <p:spPr>
            <a:xfrm>
              <a:off x="5788871" y="6580575"/>
              <a:ext cx="30" cy="2277"/>
            </a:xfrm>
            <a:custGeom>
              <a:avLst/>
              <a:gdLst>
                <a:gd name="connsiteX0" fmla="*/ 30 w 30"/>
                <a:gd name="connsiteY0" fmla="*/ 0 h 2277"/>
                <a:gd name="connsiteX1" fmla="*/ 30 w 30"/>
                <a:gd name="connsiteY1" fmla="*/ 1340 h 2277"/>
                <a:gd name="connsiteX2" fmla="*/ 30 w 30"/>
                <a:gd name="connsiteY2" fmla="*/ 2277 h 2277"/>
                <a:gd name="connsiteX3" fmla="*/ 30 w 30"/>
                <a:gd name="connsiteY3" fmla="*/ 1608 h 2277"/>
                <a:gd name="connsiteX4" fmla="*/ 30 w 30"/>
                <a:gd name="connsiteY4" fmla="*/ 0 h 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 h="2277">
                  <a:moveTo>
                    <a:pt x="30" y="0"/>
                  </a:moveTo>
                  <a:lnTo>
                    <a:pt x="30" y="1340"/>
                  </a:lnTo>
                  <a:cubicBezTo>
                    <a:pt x="-10" y="1648"/>
                    <a:pt x="-10" y="1969"/>
                    <a:pt x="30" y="2277"/>
                  </a:cubicBezTo>
                  <a:lnTo>
                    <a:pt x="30" y="1608"/>
                  </a:lnTo>
                  <a:cubicBezTo>
                    <a:pt x="30" y="1608"/>
                    <a:pt x="30" y="536"/>
                    <a:pt x="30" y="0"/>
                  </a:cubicBezTo>
                  <a:close/>
                </a:path>
              </a:pathLst>
            </a:custGeom>
            <a:solidFill>
              <a:srgbClr val="000000"/>
            </a:solidFill>
            <a:ln w="12700" cap="flat">
              <a:noFill/>
              <a:prstDash val="solid"/>
              <a:miter/>
            </a:ln>
          </p:spPr>
          <p:txBody>
            <a:bodyPr rtlCol="0" anchor="ctr"/>
            <a:lstStyle/>
            <a:p>
              <a:endParaRPr lang="en-US"/>
            </a:p>
          </p:txBody>
        </p:sp>
        <p:sp>
          <p:nvSpPr>
            <p:cNvPr id="1248" name="Freeform: Shape 1247">
              <a:extLst>
                <a:ext uri="{FF2B5EF4-FFF2-40B4-BE49-F238E27FC236}">
                  <a16:creationId xmlns:a16="http://schemas.microsoft.com/office/drawing/2014/main" id="{BFC628F8-EF96-4BAD-8D90-5449A8E94042}"/>
                </a:ext>
              </a:extLst>
            </p:cNvPr>
            <p:cNvSpPr/>
            <p:nvPr/>
          </p:nvSpPr>
          <p:spPr>
            <a:xfrm>
              <a:off x="8888338" y="6510918"/>
              <a:ext cx="21168" cy="14755"/>
            </a:xfrm>
            <a:custGeom>
              <a:avLst/>
              <a:gdLst>
                <a:gd name="connsiteX0" fmla="*/ 13398 w 21168"/>
                <a:gd name="connsiteY0" fmla="*/ 7368 h 14755"/>
                <a:gd name="connsiteX1" fmla="*/ 13398 w 21168"/>
                <a:gd name="connsiteY1" fmla="*/ 0 h 14755"/>
                <a:gd name="connsiteX2" fmla="*/ 0 w 21168"/>
                <a:gd name="connsiteY2" fmla="*/ 0 h 14755"/>
                <a:gd name="connsiteX3" fmla="*/ 7369 w 21168"/>
                <a:gd name="connsiteY3" fmla="*/ 7368 h 14755"/>
                <a:gd name="connsiteX4" fmla="*/ 0 w 21168"/>
                <a:gd name="connsiteY4" fmla="*/ 14735 h 14755"/>
                <a:gd name="connsiteX5" fmla="*/ 21169 w 21168"/>
                <a:gd name="connsiteY5" fmla="*/ 14735 h 14755"/>
                <a:gd name="connsiteX6" fmla="*/ 13412 w 21168"/>
                <a:gd name="connsiteY6" fmla="*/ 8064 h 14755"/>
                <a:gd name="connsiteX7" fmla="*/ 13398 w 21168"/>
                <a:gd name="connsiteY7" fmla="*/ 7368 h 1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68" h="14755">
                  <a:moveTo>
                    <a:pt x="13398" y="7368"/>
                  </a:moveTo>
                  <a:lnTo>
                    <a:pt x="13398" y="0"/>
                  </a:lnTo>
                  <a:lnTo>
                    <a:pt x="0" y="0"/>
                  </a:lnTo>
                  <a:cubicBezTo>
                    <a:pt x="4073" y="0"/>
                    <a:pt x="7369" y="3295"/>
                    <a:pt x="7369" y="7368"/>
                  </a:cubicBezTo>
                  <a:cubicBezTo>
                    <a:pt x="7369" y="11440"/>
                    <a:pt x="4073" y="14735"/>
                    <a:pt x="0" y="14735"/>
                  </a:cubicBezTo>
                  <a:lnTo>
                    <a:pt x="21169" y="14735"/>
                  </a:lnTo>
                  <a:cubicBezTo>
                    <a:pt x="17190" y="15030"/>
                    <a:pt x="13719" y="12043"/>
                    <a:pt x="13412" y="8064"/>
                  </a:cubicBezTo>
                  <a:cubicBezTo>
                    <a:pt x="13398" y="7823"/>
                    <a:pt x="13398" y="7595"/>
                    <a:pt x="13398" y="7368"/>
                  </a:cubicBezTo>
                  <a:close/>
                </a:path>
              </a:pathLst>
            </a:custGeom>
            <a:solidFill>
              <a:srgbClr val="000000"/>
            </a:solidFill>
            <a:ln w="12700" cap="flat">
              <a:noFill/>
              <a:prstDash val="solid"/>
              <a:miter/>
            </a:ln>
          </p:spPr>
          <p:txBody>
            <a:bodyPr rtlCol="0" anchor="ctr"/>
            <a:lstStyle/>
            <a:p>
              <a:endParaRPr lang="en-US"/>
            </a:p>
          </p:txBody>
        </p:sp>
        <p:sp>
          <p:nvSpPr>
            <p:cNvPr id="1249" name="Freeform: Shape 1248">
              <a:extLst>
                <a:ext uri="{FF2B5EF4-FFF2-40B4-BE49-F238E27FC236}">
                  <a16:creationId xmlns:a16="http://schemas.microsoft.com/office/drawing/2014/main" id="{E04D187F-91FE-4C8D-9A77-8FC4092C42C4}"/>
                </a:ext>
              </a:extLst>
            </p:cNvPr>
            <p:cNvSpPr/>
            <p:nvPr/>
          </p:nvSpPr>
          <p:spPr>
            <a:xfrm>
              <a:off x="8857790" y="6510918"/>
              <a:ext cx="38318" cy="14735"/>
            </a:xfrm>
            <a:custGeom>
              <a:avLst/>
              <a:gdLst>
                <a:gd name="connsiteX0" fmla="*/ 38318 w 38318"/>
                <a:gd name="connsiteY0" fmla="*/ 7368 h 14735"/>
                <a:gd name="connsiteX1" fmla="*/ 30950 w 38318"/>
                <a:gd name="connsiteY1" fmla="*/ 0 h 14735"/>
                <a:gd name="connsiteX2" fmla="*/ 7236 w 38318"/>
                <a:gd name="connsiteY2" fmla="*/ 0 h 14735"/>
                <a:gd name="connsiteX3" fmla="*/ 1 w 38318"/>
                <a:gd name="connsiteY3" fmla="*/ 7368 h 14735"/>
                <a:gd name="connsiteX4" fmla="*/ 7101 w 38318"/>
                <a:gd name="connsiteY4" fmla="*/ 14735 h 14735"/>
                <a:gd name="connsiteX5" fmla="*/ 7236 w 38318"/>
                <a:gd name="connsiteY5" fmla="*/ 14735 h 14735"/>
                <a:gd name="connsiteX6" fmla="*/ 30950 w 38318"/>
                <a:gd name="connsiteY6" fmla="*/ 14735 h 14735"/>
                <a:gd name="connsiteX7" fmla="*/ 38318 w 38318"/>
                <a:gd name="connsiteY7"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18" h="14735">
                  <a:moveTo>
                    <a:pt x="38318" y="7368"/>
                  </a:moveTo>
                  <a:cubicBezTo>
                    <a:pt x="38318" y="3295"/>
                    <a:pt x="35023" y="0"/>
                    <a:pt x="30950" y="0"/>
                  </a:cubicBezTo>
                  <a:lnTo>
                    <a:pt x="7236" y="0"/>
                  </a:lnTo>
                  <a:cubicBezTo>
                    <a:pt x="3216" y="67"/>
                    <a:pt x="1" y="3349"/>
                    <a:pt x="1" y="7368"/>
                  </a:cubicBezTo>
                  <a:cubicBezTo>
                    <a:pt x="-66" y="11360"/>
                    <a:pt x="3109" y="14655"/>
                    <a:pt x="7101" y="14735"/>
                  </a:cubicBezTo>
                  <a:cubicBezTo>
                    <a:pt x="7141" y="14735"/>
                    <a:pt x="7195" y="14735"/>
                    <a:pt x="7236" y="14735"/>
                  </a:cubicBezTo>
                  <a:lnTo>
                    <a:pt x="30950" y="14735"/>
                  </a:lnTo>
                  <a:cubicBezTo>
                    <a:pt x="35023" y="14735"/>
                    <a:pt x="38318" y="11440"/>
                    <a:pt x="38318" y="7368"/>
                  </a:cubicBezTo>
                  <a:close/>
                </a:path>
              </a:pathLst>
            </a:custGeom>
            <a:solidFill>
              <a:srgbClr val="000000"/>
            </a:solidFill>
            <a:ln w="12700" cap="flat">
              <a:noFill/>
              <a:prstDash val="solid"/>
              <a:miter/>
            </a:ln>
          </p:spPr>
          <p:txBody>
            <a:bodyPr rtlCol="0" anchor="ctr"/>
            <a:lstStyle/>
            <a:p>
              <a:endParaRPr lang="en-US"/>
            </a:p>
          </p:txBody>
        </p:sp>
        <p:sp>
          <p:nvSpPr>
            <p:cNvPr id="1250" name="Freeform: Shape 1249">
              <a:extLst>
                <a:ext uri="{FF2B5EF4-FFF2-40B4-BE49-F238E27FC236}">
                  <a16:creationId xmlns:a16="http://schemas.microsoft.com/office/drawing/2014/main" id="{81A3AC19-CE1E-4511-B73A-DC2D9A5634A6}"/>
                </a:ext>
              </a:extLst>
            </p:cNvPr>
            <p:cNvSpPr/>
            <p:nvPr/>
          </p:nvSpPr>
          <p:spPr>
            <a:xfrm>
              <a:off x="9317468" y="5763171"/>
              <a:ext cx="14737" cy="763822"/>
            </a:xfrm>
            <a:custGeom>
              <a:avLst/>
              <a:gdLst>
                <a:gd name="connsiteX0" fmla="*/ 7369 w 14737"/>
                <a:gd name="connsiteY0" fmla="*/ 763821 h 763822"/>
                <a:gd name="connsiteX1" fmla="*/ 14737 w 14737"/>
                <a:gd name="connsiteY1" fmla="*/ 756721 h 763822"/>
                <a:gd name="connsiteX2" fmla="*/ 14737 w 14737"/>
                <a:gd name="connsiteY2" fmla="*/ 756454 h 763822"/>
                <a:gd name="connsiteX3" fmla="*/ 14737 w 14737"/>
                <a:gd name="connsiteY3" fmla="*/ 0 h 763822"/>
                <a:gd name="connsiteX4" fmla="*/ 7369 w 14737"/>
                <a:gd name="connsiteY4" fmla="*/ 7368 h 763822"/>
                <a:gd name="connsiteX5" fmla="*/ 0 w 14737"/>
                <a:gd name="connsiteY5" fmla="*/ 0 h 763822"/>
                <a:gd name="connsiteX6" fmla="*/ 0 w 14737"/>
                <a:gd name="connsiteY6" fmla="*/ 756454 h 763822"/>
                <a:gd name="connsiteX7" fmla="*/ 7369 w 14737"/>
                <a:gd name="connsiteY7" fmla="*/ 763821 h 76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63822">
                  <a:moveTo>
                    <a:pt x="7369" y="763821"/>
                  </a:moveTo>
                  <a:cubicBezTo>
                    <a:pt x="11361" y="763902"/>
                    <a:pt x="14657" y="760713"/>
                    <a:pt x="14737" y="756721"/>
                  </a:cubicBezTo>
                  <a:cubicBezTo>
                    <a:pt x="14737" y="756628"/>
                    <a:pt x="14737" y="756547"/>
                    <a:pt x="14737" y="756454"/>
                  </a:cubicBezTo>
                  <a:lnTo>
                    <a:pt x="14737" y="0"/>
                  </a:lnTo>
                  <a:cubicBezTo>
                    <a:pt x="14737" y="4070"/>
                    <a:pt x="11442" y="7368"/>
                    <a:pt x="7369" y="7368"/>
                  </a:cubicBezTo>
                  <a:cubicBezTo>
                    <a:pt x="3295" y="7368"/>
                    <a:pt x="0" y="4070"/>
                    <a:pt x="0" y="0"/>
                  </a:cubicBezTo>
                  <a:lnTo>
                    <a:pt x="0" y="756454"/>
                  </a:lnTo>
                  <a:cubicBezTo>
                    <a:pt x="0" y="760526"/>
                    <a:pt x="3295" y="763821"/>
                    <a:pt x="7369" y="763821"/>
                  </a:cubicBezTo>
                  <a:close/>
                </a:path>
              </a:pathLst>
            </a:custGeom>
            <a:solidFill>
              <a:srgbClr val="000000"/>
            </a:solidFill>
            <a:ln w="12700" cap="flat">
              <a:noFill/>
              <a:prstDash val="solid"/>
              <a:miter/>
            </a:ln>
          </p:spPr>
          <p:txBody>
            <a:bodyPr rtlCol="0" anchor="ctr"/>
            <a:lstStyle/>
            <a:p>
              <a:endParaRPr lang="en-US"/>
            </a:p>
          </p:txBody>
        </p:sp>
        <p:sp>
          <p:nvSpPr>
            <p:cNvPr id="1251" name="Freeform: Shape 1250">
              <a:extLst>
                <a:ext uri="{FF2B5EF4-FFF2-40B4-BE49-F238E27FC236}">
                  <a16:creationId xmlns:a16="http://schemas.microsoft.com/office/drawing/2014/main" id="{AC3383DE-A01F-41B6-BBD8-FEBFAFC720BC}"/>
                </a:ext>
              </a:extLst>
            </p:cNvPr>
            <p:cNvSpPr/>
            <p:nvPr/>
          </p:nvSpPr>
          <p:spPr>
            <a:xfrm>
              <a:off x="9317603" y="5446229"/>
              <a:ext cx="14738" cy="324310"/>
            </a:xfrm>
            <a:custGeom>
              <a:avLst/>
              <a:gdLst>
                <a:gd name="connsiteX0" fmla="*/ 0 w 14738"/>
                <a:gd name="connsiteY0" fmla="*/ 7369 h 324310"/>
                <a:gd name="connsiteX1" fmla="*/ 0 w 14738"/>
                <a:gd name="connsiteY1" fmla="*/ 316942 h 324310"/>
                <a:gd name="connsiteX2" fmla="*/ 7369 w 14738"/>
                <a:gd name="connsiteY2" fmla="*/ 324310 h 324310"/>
                <a:gd name="connsiteX3" fmla="*/ 14737 w 14738"/>
                <a:gd name="connsiteY3" fmla="*/ 316942 h 324310"/>
                <a:gd name="connsiteX4" fmla="*/ 14737 w 14738"/>
                <a:gd name="connsiteY4" fmla="*/ 7369 h 324310"/>
                <a:gd name="connsiteX5" fmla="*/ 7637 w 14738"/>
                <a:gd name="connsiteY5" fmla="*/ 1 h 324310"/>
                <a:gd name="connsiteX6" fmla="*/ 7369 w 14738"/>
                <a:gd name="connsiteY6" fmla="*/ 1 h 324310"/>
                <a:gd name="connsiteX7" fmla="*/ 0 w 14738"/>
                <a:gd name="connsiteY7" fmla="*/ 7369 h 3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8" h="324310">
                  <a:moveTo>
                    <a:pt x="0" y="7369"/>
                  </a:moveTo>
                  <a:lnTo>
                    <a:pt x="0" y="316942"/>
                  </a:lnTo>
                  <a:cubicBezTo>
                    <a:pt x="0" y="321012"/>
                    <a:pt x="3295" y="324310"/>
                    <a:pt x="7369" y="324310"/>
                  </a:cubicBezTo>
                  <a:cubicBezTo>
                    <a:pt x="11442" y="324310"/>
                    <a:pt x="14737" y="321012"/>
                    <a:pt x="14737" y="316942"/>
                  </a:cubicBezTo>
                  <a:lnTo>
                    <a:pt x="14737" y="7369"/>
                  </a:lnTo>
                  <a:cubicBezTo>
                    <a:pt x="14817" y="3374"/>
                    <a:pt x="11629" y="76"/>
                    <a:pt x="7637" y="1"/>
                  </a:cubicBezTo>
                  <a:cubicBezTo>
                    <a:pt x="7543" y="0"/>
                    <a:pt x="7463" y="0"/>
                    <a:pt x="7369" y="1"/>
                  </a:cubicBezTo>
                  <a:cubicBezTo>
                    <a:pt x="3295" y="1"/>
                    <a:pt x="0" y="3299"/>
                    <a:pt x="0" y="7369"/>
                  </a:cubicBezTo>
                  <a:close/>
                </a:path>
              </a:pathLst>
            </a:custGeom>
            <a:solidFill>
              <a:srgbClr val="000000"/>
            </a:solidFill>
            <a:ln w="12700" cap="flat">
              <a:noFill/>
              <a:prstDash val="solid"/>
              <a:miter/>
            </a:ln>
          </p:spPr>
          <p:txBody>
            <a:bodyPr rtlCol="0" anchor="ctr"/>
            <a:lstStyle/>
            <a:p>
              <a:endParaRPr lang="en-US"/>
            </a:p>
          </p:txBody>
        </p:sp>
        <p:sp>
          <p:nvSpPr>
            <p:cNvPr id="1252" name="Freeform: Shape 1251">
              <a:extLst>
                <a:ext uri="{FF2B5EF4-FFF2-40B4-BE49-F238E27FC236}">
                  <a16:creationId xmlns:a16="http://schemas.microsoft.com/office/drawing/2014/main" id="{34FC71BB-E97F-46C3-8297-7FE602BB6766}"/>
                </a:ext>
              </a:extLst>
            </p:cNvPr>
            <p:cNvSpPr/>
            <p:nvPr/>
          </p:nvSpPr>
          <p:spPr>
            <a:xfrm>
              <a:off x="8901734" y="5629483"/>
              <a:ext cx="14739" cy="896170"/>
            </a:xfrm>
            <a:custGeom>
              <a:avLst/>
              <a:gdLst>
                <a:gd name="connsiteX0" fmla="*/ 1 w 14739"/>
                <a:gd name="connsiteY0" fmla="*/ 888803 h 896170"/>
                <a:gd name="connsiteX1" fmla="*/ 7103 w 14739"/>
                <a:gd name="connsiteY1" fmla="*/ 896170 h 896170"/>
                <a:gd name="connsiteX2" fmla="*/ 7370 w 14739"/>
                <a:gd name="connsiteY2" fmla="*/ 896170 h 896170"/>
                <a:gd name="connsiteX3" fmla="*/ 14739 w 14739"/>
                <a:gd name="connsiteY3" fmla="*/ 888803 h 896170"/>
                <a:gd name="connsiteX4" fmla="*/ 14739 w 14739"/>
                <a:gd name="connsiteY4" fmla="*/ 0 h 896170"/>
                <a:gd name="connsiteX5" fmla="*/ 7370 w 14739"/>
                <a:gd name="connsiteY5" fmla="*/ 7368 h 896170"/>
                <a:gd name="connsiteX6" fmla="*/ 1 w 14739"/>
                <a:gd name="connsiteY6" fmla="*/ 271 h 896170"/>
                <a:gd name="connsiteX7" fmla="*/ 1 w 14739"/>
                <a:gd name="connsiteY7" fmla="*/ 0 h 896170"/>
                <a:gd name="connsiteX8" fmla="*/ 1 w 14739"/>
                <a:gd name="connsiteY8" fmla="*/ 888803 h 8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96170">
                  <a:moveTo>
                    <a:pt x="1" y="888803"/>
                  </a:moveTo>
                  <a:cubicBezTo>
                    <a:pt x="-79" y="892795"/>
                    <a:pt x="3110" y="896090"/>
                    <a:pt x="7103" y="896170"/>
                  </a:cubicBezTo>
                  <a:cubicBezTo>
                    <a:pt x="7183" y="896170"/>
                    <a:pt x="7277" y="896170"/>
                    <a:pt x="7370" y="896170"/>
                  </a:cubicBezTo>
                  <a:cubicBezTo>
                    <a:pt x="11443" y="896170"/>
                    <a:pt x="14739" y="892875"/>
                    <a:pt x="14739" y="888803"/>
                  </a:cubicBezTo>
                  <a:lnTo>
                    <a:pt x="14739" y="0"/>
                  </a:lnTo>
                  <a:cubicBezTo>
                    <a:pt x="14739" y="4070"/>
                    <a:pt x="11443" y="7368"/>
                    <a:pt x="7370" y="7368"/>
                  </a:cubicBezTo>
                  <a:cubicBezTo>
                    <a:pt x="3378" y="7443"/>
                    <a:pt x="82" y="4265"/>
                    <a:pt x="1" y="271"/>
                  </a:cubicBezTo>
                  <a:cubicBezTo>
                    <a:pt x="1" y="181"/>
                    <a:pt x="1" y="90"/>
                    <a:pt x="1" y="0"/>
                  </a:cubicBezTo>
                  <a:lnTo>
                    <a:pt x="1" y="888803"/>
                  </a:lnTo>
                  <a:close/>
                </a:path>
              </a:pathLst>
            </a:custGeom>
            <a:solidFill>
              <a:srgbClr val="000000"/>
            </a:solidFill>
            <a:ln w="12700" cap="flat">
              <a:noFill/>
              <a:prstDash val="solid"/>
              <a:miter/>
            </a:ln>
          </p:spPr>
          <p:txBody>
            <a:bodyPr rtlCol="0" anchor="ctr"/>
            <a:lstStyle/>
            <a:p>
              <a:endParaRPr lang="en-US"/>
            </a:p>
          </p:txBody>
        </p:sp>
        <p:sp>
          <p:nvSpPr>
            <p:cNvPr id="1253" name="Freeform: Shape 1252">
              <a:extLst>
                <a:ext uri="{FF2B5EF4-FFF2-40B4-BE49-F238E27FC236}">
                  <a16:creationId xmlns:a16="http://schemas.microsoft.com/office/drawing/2014/main" id="{20D43350-C685-413F-814A-A47342FCDF54}"/>
                </a:ext>
              </a:extLst>
            </p:cNvPr>
            <p:cNvSpPr/>
            <p:nvPr/>
          </p:nvSpPr>
          <p:spPr>
            <a:xfrm>
              <a:off x="8903695" y="5464850"/>
              <a:ext cx="13179" cy="172000"/>
            </a:xfrm>
            <a:custGeom>
              <a:avLst/>
              <a:gdLst>
                <a:gd name="connsiteX0" fmla="*/ 5811 w 13179"/>
                <a:gd name="connsiteY0" fmla="*/ 172000 h 172000"/>
                <a:gd name="connsiteX1" fmla="*/ 13180 w 13179"/>
                <a:gd name="connsiteY1" fmla="*/ 164633 h 172000"/>
                <a:gd name="connsiteX2" fmla="*/ 13180 w 13179"/>
                <a:gd name="connsiteY2" fmla="*/ 6832 h 172000"/>
                <a:gd name="connsiteX3" fmla="*/ 5811 w 13179"/>
                <a:gd name="connsiteY3" fmla="*/ 0 h 172000"/>
                <a:gd name="connsiteX4" fmla="*/ 1122 w 13179"/>
                <a:gd name="connsiteY4" fmla="*/ 1741 h 172000"/>
                <a:gd name="connsiteX5" fmla="*/ 50 w 13179"/>
                <a:gd name="connsiteY5" fmla="*/ 2813 h 172000"/>
                <a:gd name="connsiteX6" fmla="*/ 50 w 13179"/>
                <a:gd name="connsiteY6" fmla="*/ 4019 h 172000"/>
                <a:gd name="connsiteX7" fmla="*/ 50 w 13179"/>
                <a:gd name="connsiteY7" fmla="*/ 5224 h 172000"/>
                <a:gd name="connsiteX8" fmla="*/ 50 w 13179"/>
                <a:gd name="connsiteY8" fmla="*/ 6698 h 172000"/>
                <a:gd name="connsiteX9" fmla="*/ 50 w 13179"/>
                <a:gd name="connsiteY9" fmla="*/ 6698 h 172000"/>
                <a:gd name="connsiteX10" fmla="*/ 50 w 13179"/>
                <a:gd name="connsiteY10" fmla="*/ 164633 h 172000"/>
                <a:gd name="connsiteX11" fmla="*/ 5811 w 13179"/>
                <a:gd name="connsiteY11" fmla="*/ 172000 h 1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79" h="172000">
                  <a:moveTo>
                    <a:pt x="5811" y="172000"/>
                  </a:moveTo>
                  <a:cubicBezTo>
                    <a:pt x="9884" y="172000"/>
                    <a:pt x="13180" y="168702"/>
                    <a:pt x="13180" y="164633"/>
                  </a:cubicBezTo>
                  <a:lnTo>
                    <a:pt x="13180" y="6832"/>
                  </a:lnTo>
                  <a:cubicBezTo>
                    <a:pt x="12899" y="2974"/>
                    <a:pt x="9683" y="-11"/>
                    <a:pt x="5811" y="0"/>
                  </a:cubicBezTo>
                  <a:cubicBezTo>
                    <a:pt x="4096" y="4"/>
                    <a:pt x="2422" y="622"/>
                    <a:pt x="1122" y="1741"/>
                  </a:cubicBezTo>
                  <a:lnTo>
                    <a:pt x="50" y="2813"/>
                  </a:lnTo>
                  <a:cubicBezTo>
                    <a:pt x="10" y="3214"/>
                    <a:pt x="10" y="3618"/>
                    <a:pt x="50" y="4019"/>
                  </a:cubicBezTo>
                  <a:cubicBezTo>
                    <a:pt x="-4" y="4419"/>
                    <a:pt x="-4" y="4824"/>
                    <a:pt x="50" y="5224"/>
                  </a:cubicBezTo>
                  <a:cubicBezTo>
                    <a:pt x="-17" y="5713"/>
                    <a:pt x="-17" y="6209"/>
                    <a:pt x="50" y="6698"/>
                  </a:cubicBezTo>
                  <a:cubicBezTo>
                    <a:pt x="50" y="6698"/>
                    <a:pt x="50" y="6698"/>
                    <a:pt x="50" y="6698"/>
                  </a:cubicBezTo>
                  <a:lnTo>
                    <a:pt x="50" y="164633"/>
                  </a:lnTo>
                  <a:cubicBezTo>
                    <a:pt x="-84" y="168167"/>
                    <a:pt x="2355" y="171282"/>
                    <a:pt x="5811" y="172000"/>
                  </a:cubicBezTo>
                  <a:close/>
                </a:path>
              </a:pathLst>
            </a:custGeom>
            <a:solidFill>
              <a:srgbClr val="000000"/>
            </a:solidFill>
            <a:ln w="12700" cap="flat">
              <a:noFill/>
              <a:prstDash val="solid"/>
              <a:miter/>
            </a:ln>
          </p:spPr>
          <p:txBody>
            <a:bodyPr rtlCol="0" anchor="ctr"/>
            <a:lstStyle/>
            <a:p>
              <a:endParaRPr lang="en-US"/>
            </a:p>
          </p:txBody>
        </p:sp>
        <p:sp>
          <p:nvSpPr>
            <p:cNvPr id="1254" name="Freeform: Shape 1253">
              <a:extLst>
                <a:ext uri="{FF2B5EF4-FFF2-40B4-BE49-F238E27FC236}">
                  <a16:creationId xmlns:a16="http://schemas.microsoft.com/office/drawing/2014/main" id="{357EC8B3-ABE7-406A-97B9-C68947726FAB}"/>
                </a:ext>
              </a:extLst>
            </p:cNvPr>
            <p:cNvSpPr/>
            <p:nvPr/>
          </p:nvSpPr>
          <p:spPr>
            <a:xfrm>
              <a:off x="9479179" y="6513329"/>
              <a:ext cx="14738" cy="12325"/>
            </a:xfrm>
            <a:custGeom>
              <a:avLst/>
              <a:gdLst>
                <a:gd name="connsiteX0" fmla="*/ 7369 w 14738"/>
                <a:gd name="connsiteY0" fmla="*/ 7368 h 12325"/>
                <a:gd name="connsiteX1" fmla="*/ 0 w 14738"/>
                <a:gd name="connsiteY1" fmla="*/ 0 h 12325"/>
                <a:gd name="connsiteX2" fmla="*/ 0 w 14738"/>
                <a:gd name="connsiteY2" fmla="*/ 4956 h 12325"/>
                <a:gd name="connsiteX3" fmla="*/ 7369 w 14738"/>
                <a:gd name="connsiteY3" fmla="*/ 12324 h 12325"/>
                <a:gd name="connsiteX4" fmla="*/ 14737 w 14738"/>
                <a:gd name="connsiteY4" fmla="*/ 5224 h 12325"/>
                <a:gd name="connsiteX5" fmla="*/ 14737 w 14738"/>
                <a:gd name="connsiteY5" fmla="*/ 4956 h 12325"/>
                <a:gd name="connsiteX6" fmla="*/ 14737 w 14738"/>
                <a:gd name="connsiteY6" fmla="*/ 0 h 12325"/>
                <a:gd name="connsiteX7" fmla="*/ 7637 w 14738"/>
                <a:gd name="connsiteY7" fmla="*/ 7368 h 12325"/>
                <a:gd name="connsiteX8" fmla="*/ 7369 w 14738"/>
                <a:gd name="connsiteY8" fmla="*/ 7368 h 1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2325">
                  <a:moveTo>
                    <a:pt x="7369" y="7368"/>
                  </a:moveTo>
                  <a:cubicBezTo>
                    <a:pt x="3295" y="7368"/>
                    <a:pt x="0" y="4072"/>
                    <a:pt x="0" y="0"/>
                  </a:cubicBezTo>
                  <a:lnTo>
                    <a:pt x="0" y="4956"/>
                  </a:lnTo>
                  <a:cubicBezTo>
                    <a:pt x="0" y="9029"/>
                    <a:pt x="3295" y="12324"/>
                    <a:pt x="7369" y="12324"/>
                  </a:cubicBezTo>
                  <a:cubicBezTo>
                    <a:pt x="11361" y="12404"/>
                    <a:pt x="14657" y="9216"/>
                    <a:pt x="14737" y="5224"/>
                  </a:cubicBezTo>
                  <a:cubicBezTo>
                    <a:pt x="14737" y="5130"/>
                    <a:pt x="14737" y="5050"/>
                    <a:pt x="14737" y="4956"/>
                  </a:cubicBezTo>
                  <a:lnTo>
                    <a:pt x="14737" y="0"/>
                  </a:lnTo>
                  <a:cubicBezTo>
                    <a:pt x="14817" y="3992"/>
                    <a:pt x="11629" y="7287"/>
                    <a:pt x="7637" y="7368"/>
                  </a:cubicBezTo>
                  <a:cubicBezTo>
                    <a:pt x="7543" y="7368"/>
                    <a:pt x="7463" y="7368"/>
                    <a:pt x="7369" y="7368"/>
                  </a:cubicBezTo>
                  <a:close/>
                </a:path>
              </a:pathLst>
            </a:custGeom>
            <a:solidFill>
              <a:srgbClr val="000000"/>
            </a:solidFill>
            <a:ln w="12700" cap="flat">
              <a:noFill/>
              <a:prstDash val="solid"/>
              <a:miter/>
            </a:ln>
          </p:spPr>
          <p:txBody>
            <a:bodyPr rtlCol="0" anchor="ctr"/>
            <a:lstStyle/>
            <a:p>
              <a:endParaRPr lang="en-US"/>
            </a:p>
          </p:txBody>
        </p:sp>
        <p:sp>
          <p:nvSpPr>
            <p:cNvPr id="1255" name="Freeform: Shape 1254">
              <a:extLst>
                <a:ext uri="{FF2B5EF4-FFF2-40B4-BE49-F238E27FC236}">
                  <a16:creationId xmlns:a16="http://schemas.microsoft.com/office/drawing/2014/main" id="{D33DD028-1385-4E9C-8569-E1ECD2A22C61}"/>
                </a:ext>
              </a:extLst>
            </p:cNvPr>
            <p:cNvSpPr/>
            <p:nvPr/>
          </p:nvSpPr>
          <p:spPr>
            <a:xfrm>
              <a:off x="8730110" y="6522036"/>
              <a:ext cx="14738" cy="331944"/>
            </a:xfrm>
            <a:custGeom>
              <a:avLst/>
              <a:gdLst>
                <a:gd name="connsiteX0" fmla="*/ 14202 w 14738"/>
                <a:gd name="connsiteY0" fmla="*/ 2813 h 331944"/>
                <a:gd name="connsiteX1" fmla="*/ 14202 w 14738"/>
                <a:gd name="connsiteY1" fmla="*/ 2813 h 331944"/>
                <a:gd name="connsiteX2" fmla="*/ 7369 w 14738"/>
                <a:gd name="connsiteY2" fmla="*/ 7368 h 331944"/>
                <a:gd name="connsiteX3" fmla="*/ 0 w 14738"/>
                <a:gd name="connsiteY3" fmla="*/ 0 h 331944"/>
                <a:gd name="connsiteX4" fmla="*/ 0 w 14738"/>
                <a:gd name="connsiteY4" fmla="*/ 331945 h 331944"/>
                <a:gd name="connsiteX5" fmla="*/ 14738 w 14738"/>
                <a:gd name="connsiteY5" fmla="*/ 331945 h 331944"/>
                <a:gd name="connsiteX6" fmla="*/ 14738 w 14738"/>
                <a:gd name="connsiteY6" fmla="*/ 2813 h 33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31944">
                  <a:moveTo>
                    <a:pt x="14202" y="2813"/>
                  </a:moveTo>
                  <a:lnTo>
                    <a:pt x="14202" y="2813"/>
                  </a:lnTo>
                  <a:cubicBezTo>
                    <a:pt x="13036" y="5559"/>
                    <a:pt x="10344" y="7341"/>
                    <a:pt x="7369" y="7368"/>
                  </a:cubicBezTo>
                  <a:cubicBezTo>
                    <a:pt x="3296" y="7368"/>
                    <a:pt x="0" y="4072"/>
                    <a:pt x="0" y="0"/>
                  </a:cubicBezTo>
                  <a:lnTo>
                    <a:pt x="0" y="331945"/>
                  </a:lnTo>
                  <a:lnTo>
                    <a:pt x="14738" y="331945"/>
                  </a:lnTo>
                  <a:lnTo>
                    <a:pt x="14738" y="2813"/>
                  </a:lnTo>
                  <a:close/>
                </a:path>
              </a:pathLst>
            </a:custGeom>
            <a:solidFill>
              <a:srgbClr val="000000"/>
            </a:solidFill>
            <a:ln w="12700" cap="flat">
              <a:noFill/>
              <a:prstDash val="solid"/>
              <a:miter/>
            </a:ln>
          </p:spPr>
          <p:txBody>
            <a:bodyPr rtlCol="0" anchor="ctr"/>
            <a:lstStyle/>
            <a:p>
              <a:endParaRPr lang="en-US"/>
            </a:p>
          </p:txBody>
        </p:sp>
        <p:sp>
          <p:nvSpPr>
            <p:cNvPr id="1256" name="Freeform: Shape 1255">
              <a:extLst>
                <a:ext uri="{FF2B5EF4-FFF2-40B4-BE49-F238E27FC236}">
                  <a16:creationId xmlns:a16="http://schemas.microsoft.com/office/drawing/2014/main" id="{10B5BC09-CFA3-44C0-B70A-B52EE8ADBF5C}"/>
                </a:ext>
              </a:extLst>
            </p:cNvPr>
            <p:cNvSpPr/>
            <p:nvPr/>
          </p:nvSpPr>
          <p:spPr>
            <a:xfrm>
              <a:off x="8740025" y="6157674"/>
              <a:ext cx="14742" cy="367712"/>
            </a:xfrm>
            <a:custGeom>
              <a:avLst/>
              <a:gdLst>
                <a:gd name="connsiteX0" fmla="*/ 7369 w 14742"/>
                <a:gd name="connsiteY0" fmla="*/ 7636 h 367712"/>
                <a:gd name="connsiteX1" fmla="*/ 0 w 14742"/>
                <a:gd name="connsiteY1" fmla="*/ 268 h 367712"/>
                <a:gd name="connsiteX2" fmla="*/ 0 w 14742"/>
                <a:gd name="connsiteY2" fmla="*/ 346814 h 367712"/>
                <a:gd name="connsiteX3" fmla="*/ 0 w 14742"/>
                <a:gd name="connsiteY3" fmla="*/ 346814 h 367712"/>
                <a:gd name="connsiteX4" fmla="*/ 4287 w 14742"/>
                <a:gd name="connsiteY4" fmla="*/ 353378 h 367712"/>
                <a:gd name="connsiteX5" fmla="*/ 4287 w 14742"/>
                <a:gd name="connsiteY5" fmla="*/ 364094 h 367712"/>
                <a:gd name="connsiteX6" fmla="*/ 4287 w 14742"/>
                <a:gd name="connsiteY6" fmla="*/ 366907 h 367712"/>
                <a:gd name="connsiteX7" fmla="*/ 4287 w 14742"/>
                <a:gd name="connsiteY7" fmla="*/ 366907 h 367712"/>
                <a:gd name="connsiteX8" fmla="*/ 7369 w 14742"/>
                <a:gd name="connsiteY8" fmla="*/ 367711 h 367712"/>
                <a:gd name="connsiteX9" fmla="*/ 14738 w 14742"/>
                <a:gd name="connsiteY9" fmla="*/ 360611 h 367712"/>
                <a:gd name="connsiteX10" fmla="*/ 14738 w 14742"/>
                <a:gd name="connsiteY10" fmla="*/ 360343 h 367712"/>
                <a:gd name="connsiteX11" fmla="*/ 14738 w 14742"/>
                <a:gd name="connsiteY11" fmla="*/ 0 h 367712"/>
                <a:gd name="connsiteX12" fmla="*/ 7637 w 14742"/>
                <a:gd name="connsiteY12" fmla="*/ 7636 h 367712"/>
                <a:gd name="connsiteX13" fmla="*/ 7369 w 14742"/>
                <a:gd name="connsiteY13" fmla="*/ 7636 h 3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42" h="367712">
                  <a:moveTo>
                    <a:pt x="7369" y="7636"/>
                  </a:moveTo>
                  <a:cubicBezTo>
                    <a:pt x="3296" y="7636"/>
                    <a:pt x="0" y="4340"/>
                    <a:pt x="0" y="268"/>
                  </a:cubicBezTo>
                  <a:lnTo>
                    <a:pt x="0" y="346814"/>
                  </a:lnTo>
                  <a:lnTo>
                    <a:pt x="0" y="346814"/>
                  </a:lnTo>
                  <a:cubicBezTo>
                    <a:pt x="2573" y="347993"/>
                    <a:pt x="4234" y="350551"/>
                    <a:pt x="4287" y="353378"/>
                  </a:cubicBezTo>
                  <a:lnTo>
                    <a:pt x="4287" y="364094"/>
                  </a:lnTo>
                  <a:cubicBezTo>
                    <a:pt x="4408" y="365032"/>
                    <a:pt x="4408" y="365970"/>
                    <a:pt x="4287" y="366907"/>
                  </a:cubicBezTo>
                  <a:lnTo>
                    <a:pt x="4287" y="366907"/>
                  </a:lnTo>
                  <a:cubicBezTo>
                    <a:pt x="5225" y="367443"/>
                    <a:pt x="6283" y="367725"/>
                    <a:pt x="7369" y="367711"/>
                  </a:cubicBezTo>
                  <a:cubicBezTo>
                    <a:pt x="11362" y="367791"/>
                    <a:pt x="14657" y="364603"/>
                    <a:pt x="14738" y="360611"/>
                  </a:cubicBezTo>
                  <a:cubicBezTo>
                    <a:pt x="14738" y="360518"/>
                    <a:pt x="14738" y="360437"/>
                    <a:pt x="14738" y="360343"/>
                  </a:cubicBezTo>
                  <a:lnTo>
                    <a:pt x="14738" y="0"/>
                  </a:lnTo>
                  <a:cubicBezTo>
                    <a:pt x="14885" y="4072"/>
                    <a:pt x="11710" y="7488"/>
                    <a:pt x="7637" y="7636"/>
                  </a:cubicBezTo>
                  <a:cubicBezTo>
                    <a:pt x="7557" y="7636"/>
                    <a:pt x="7463" y="7636"/>
                    <a:pt x="7369" y="7636"/>
                  </a:cubicBezTo>
                  <a:close/>
                </a:path>
              </a:pathLst>
            </a:custGeom>
            <a:solidFill>
              <a:srgbClr val="000000"/>
            </a:solidFill>
            <a:ln w="12700" cap="flat">
              <a:noFill/>
              <a:prstDash val="solid"/>
              <a:miter/>
            </a:ln>
          </p:spPr>
          <p:txBody>
            <a:bodyPr rtlCol="0" anchor="ctr"/>
            <a:lstStyle/>
            <a:p>
              <a:endParaRPr lang="en-US"/>
            </a:p>
          </p:txBody>
        </p:sp>
        <p:sp>
          <p:nvSpPr>
            <p:cNvPr id="1257" name="Freeform: Shape 1256">
              <a:extLst>
                <a:ext uri="{FF2B5EF4-FFF2-40B4-BE49-F238E27FC236}">
                  <a16:creationId xmlns:a16="http://schemas.microsoft.com/office/drawing/2014/main" id="{797B22E7-E316-4B97-BAA8-A223C46CC8A0}"/>
                </a:ext>
              </a:extLst>
            </p:cNvPr>
            <p:cNvSpPr/>
            <p:nvPr/>
          </p:nvSpPr>
          <p:spPr>
            <a:xfrm>
              <a:off x="8348274" y="6511587"/>
              <a:ext cx="14738" cy="342125"/>
            </a:xfrm>
            <a:custGeom>
              <a:avLst/>
              <a:gdLst>
                <a:gd name="connsiteX0" fmla="*/ 14738 w 14738"/>
                <a:gd name="connsiteY0" fmla="*/ 0 h 342125"/>
                <a:gd name="connsiteX1" fmla="*/ 7369 w 14738"/>
                <a:gd name="connsiteY1" fmla="*/ 7368 h 342125"/>
                <a:gd name="connsiteX2" fmla="*/ 0 w 14738"/>
                <a:gd name="connsiteY2" fmla="*/ 0 h 342125"/>
                <a:gd name="connsiteX3" fmla="*/ 0 w 14738"/>
                <a:gd name="connsiteY3" fmla="*/ 342125 h 342125"/>
                <a:gd name="connsiteX4" fmla="*/ 14738 w 14738"/>
                <a:gd name="connsiteY4" fmla="*/ 342125 h 342125"/>
                <a:gd name="connsiteX5" fmla="*/ 14738 w 14738"/>
                <a:gd name="connsiteY5" fmla="*/ 0 h 34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42125">
                  <a:moveTo>
                    <a:pt x="14738" y="0"/>
                  </a:moveTo>
                  <a:cubicBezTo>
                    <a:pt x="14738" y="4072"/>
                    <a:pt x="11442" y="7368"/>
                    <a:pt x="7369" y="7368"/>
                  </a:cubicBezTo>
                  <a:cubicBezTo>
                    <a:pt x="3296" y="7368"/>
                    <a:pt x="0" y="4072"/>
                    <a:pt x="0" y="0"/>
                  </a:cubicBezTo>
                  <a:lnTo>
                    <a:pt x="0" y="342125"/>
                  </a:lnTo>
                  <a:lnTo>
                    <a:pt x="14738" y="342125"/>
                  </a:lnTo>
                  <a:lnTo>
                    <a:pt x="14738" y="0"/>
                  </a:lnTo>
                  <a:close/>
                </a:path>
              </a:pathLst>
            </a:custGeom>
            <a:solidFill>
              <a:srgbClr val="000000"/>
            </a:solidFill>
            <a:ln w="12700" cap="flat">
              <a:noFill/>
              <a:prstDash val="solid"/>
              <a:miter/>
            </a:ln>
          </p:spPr>
          <p:txBody>
            <a:bodyPr rtlCol="0" anchor="ctr"/>
            <a:lstStyle/>
            <a:p>
              <a:endParaRPr lang="en-US"/>
            </a:p>
          </p:txBody>
        </p:sp>
        <p:sp>
          <p:nvSpPr>
            <p:cNvPr id="1258" name="Freeform: Shape 1257">
              <a:extLst>
                <a:ext uri="{FF2B5EF4-FFF2-40B4-BE49-F238E27FC236}">
                  <a16:creationId xmlns:a16="http://schemas.microsoft.com/office/drawing/2014/main" id="{409467FB-BBB6-4382-96EB-F8820AC932A6}"/>
                </a:ext>
              </a:extLst>
            </p:cNvPr>
            <p:cNvSpPr/>
            <p:nvPr/>
          </p:nvSpPr>
          <p:spPr>
            <a:xfrm>
              <a:off x="7275918" y="5863505"/>
              <a:ext cx="7368" cy="14735"/>
            </a:xfrm>
            <a:custGeom>
              <a:avLst/>
              <a:gdLst>
                <a:gd name="connsiteX0" fmla="*/ 7369 w 7368"/>
                <a:gd name="connsiteY0" fmla="*/ 7368 h 14735"/>
                <a:gd name="connsiteX1" fmla="*/ 0 w 7368"/>
                <a:gd name="connsiteY1" fmla="*/ 14735 h 14735"/>
                <a:gd name="connsiteX2" fmla="*/ 0 w 7368"/>
                <a:gd name="connsiteY2" fmla="*/ 14735 h 14735"/>
                <a:gd name="connsiteX3" fmla="*/ 7369 w 7368"/>
                <a:gd name="connsiteY3" fmla="*/ 7368 h 14735"/>
                <a:gd name="connsiteX4" fmla="*/ 0 w 7368"/>
                <a:gd name="connsiteY4" fmla="*/ 0 h 14735"/>
                <a:gd name="connsiteX5" fmla="*/ 0 w 7368"/>
                <a:gd name="connsiteY5" fmla="*/ 0 h 14735"/>
                <a:gd name="connsiteX6" fmla="*/ 7369 w 736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8" h="14735">
                  <a:moveTo>
                    <a:pt x="7369" y="7368"/>
                  </a:moveTo>
                  <a:cubicBezTo>
                    <a:pt x="7369" y="11437"/>
                    <a:pt x="4073" y="14735"/>
                    <a:pt x="0" y="14735"/>
                  </a:cubicBezTo>
                  <a:lnTo>
                    <a:pt x="0" y="14735"/>
                  </a:lnTo>
                  <a:cubicBezTo>
                    <a:pt x="4073" y="14735"/>
                    <a:pt x="7369" y="11437"/>
                    <a:pt x="7369" y="7368"/>
                  </a:cubicBezTo>
                  <a:cubicBezTo>
                    <a:pt x="7369" y="3298"/>
                    <a:pt x="4073" y="0"/>
                    <a:pt x="0" y="0"/>
                  </a:cubicBezTo>
                  <a:lnTo>
                    <a:pt x="0" y="0"/>
                  </a:lnTo>
                  <a:cubicBezTo>
                    <a:pt x="4073" y="0"/>
                    <a:pt x="7369" y="3298"/>
                    <a:pt x="7369" y="7368"/>
                  </a:cubicBezTo>
                  <a:close/>
                </a:path>
              </a:pathLst>
            </a:custGeom>
            <a:solidFill>
              <a:srgbClr val="000000"/>
            </a:solidFill>
            <a:ln w="12700" cap="flat">
              <a:noFill/>
              <a:prstDash val="solid"/>
              <a:miter/>
            </a:ln>
          </p:spPr>
          <p:txBody>
            <a:bodyPr rtlCol="0" anchor="ctr"/>
            <a:lstStyle/>
            <a:p>
              <a:endParaRPr lang="en-US"/>
            </a:p>
          </p:txBody>
        </p:sp>
        <p:sp>
          <p:nvSpPr>
            <p:cNvPr id="1259" name="Freeform: Shape 1258">
              <a:extLst>
                <a:ext uri="{FF2B5EF4-FFF2-40B4-BE49-F238E27FC236}">
                  <a16:creationId xmlns:a16="http://schemas.microsoft.com/office/drawing/2014/main" id="{9BA6695F-ECF5-4EB5-ADAB-3DC5F8FE1933}"/>
                </a:ext>
              </a:extLst>
            </p:cNvPr>
            <p:cNvSpPr/>
            <p:nvPr/>
          </p:nvSpPr>
          <p:spPr>
            <a:xfrm>
              <a:off x="8348274" y="6511052"/>
              <a:ext cx="14738" cy="7367"/>
            </a:xfrm>
            <a:custGeom>
              <a:avLst/>
              <a:gdLst>
                <a:gd name="connsiteX0" fmla="*/ 7369 w 14738"/>
                <a:gd name="connsiteY0" fmla="*/ 7367 h 7367"/>
                <a:gd name="connsiteX1" fmla="*/ 0 w 14738"/>
                <a:gd name="connsiteY1" fmla="*/ 0 h 7367"/>
                <a:gd name="connsiteX2" fmla="*/ 0 w 14738"/>
                <a:gd name="connsiteY2" fmla="*/ 0 h 7367"/>
                <a:gd name="connsiteX3" fmla="*/ 7369 w 14738"/>
                <a:gd name="connsiteY3" fmla="*/ 7367 h 7367"/>
                <a:gd name="connsiteX4" fmla="*/ 14738 w 14738"/>
                <a:gd name="connsiteY4" fmla="*/ 0 h 7367"/>
                <a:gd name="connsiteX5" fmla="*/ 14738 w 14738"/>
                <a:gd name="connsiteY5" fmla="*/ 0 h 7367"/>
                <a:gd name="connsiteX6" fmla="*/ 7369 w 14738"/>
                <a:gd name="connsiteY6" fmla="*/ 7367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7367">
                  <a:moveTo>
                    <a:pt x="7369" y="7367"/>
                  </a:moveTo>
                  <a:cubicBezTo>
                    <a:pt x="3296" y="7367"/>
                    <a:pt x="0" y="4072"/>
                    <a:pt x="0" y="0"/>
                  </a:cubicBezTo>
                  <a:lnTo>
                    <a:pt x="0" y="0"/>
                  </a:lnTo>
                  <a:cubicBezTo>
                    <a:pt x="0" y="4072"/>
                    <a:pt x="3296" y="7367"/>
                    <a:pt x="7369" y="7367"/>
                  </a:cubicBezTo>
                  <a:cubicBezTo>
                    <a:pt x="11442" y="7367"/>
                    <a:pt x="14738" y="4072"/>
                    <a:pt x="14738" y="0"/>
                  </a:cubicBezTo>
                  <a:lnTo>
                    <a:pt x="14738" y="0"/>
                  </a:lnTo>
                  <a:cubicBezTo>
                    <a:pt x="14738" y="4072"/>
                    <a:pt x="11442" y="7367"/>
                    <a:pt x="7369" y="7367"/>
                  </a:cubicBezTo>
                  <a:close/>
                </a:path>
              </a:pathLst>
            </a:custGeom>
            <a:solidFill>
              <a:srgbClr val="000000"/>
            </a:solidFill>
            <a:ln w="12700" cap="flat">
              <a:noFill/>
              <a:prstDash val="solid"/>
              <a:miter/>
            </a:ln>
          </p:spPr>
          <p:txBody>
            <a:bodyPr rtlCol="0" anchor="ctr"/>
            <a:lstStyle/>
            <a:p>
              <a:endParaRPr lang="en-US"/>
            </a:p>
          </p:txBody>
        </p:sp>
        <p:sp>
          <p:nvSpPr>
            <p:cNvPr id="1260" name="Freeform: Shape 1259">
              <a:extLst>
                <a:ext uri="{FF2B5EF4-FFF2-40B4-BE49-F238E27FC236}">
                  <a16:creationId xmlns:a16="http://schemas.microsoft.com/office/drawing/2014/main" id="{58CC07E7-624E-4FF5-8F7A-DEBA3E886A09}"/>
                </a:ext>
              </a:extLst>
            </p:cNvPr>
            <p:cNvSpPr/>
            <p:nvPr/>
          </p:nvSpPr>
          <p:spPr>
            <a:xfrm>
              <a:off x="8348274" y="6502612"/>
              <a:ext cx="14738" cy="15806"/>
            </a:xfrm>
            <a:custGeom>
              <a:avLst/>
              <a:gdLst>
                <a:gd name="connsiteX0" fmla="*/ 7369 w 14738"/>
                <a:gd name="connsiteY0" fmla="*/ 0 h 15806"/>
                <a:gd name="connsiteX1" fmla="*/ 3082 w 14738"/>
                <a:gd name="connsiteY1" fmla="*/ 1607 h 15806"/>
                <a:gd name="connsiteX2" fmla="*/ 1474 w 14738"/>
                <a:gd name="connsiteY2" fmla="*/ 3215 h 15806"/>
                <a:gd name="connsiteX3" fmla="*/ 0 w 14738"/>
                <a:gd name="connsiteY3" fmla="*/ 7368 h 15806"/>
                <a:gd name="connsiteX4" fmla="*/ 0 w 14738"/>
                <a:gd name="connsiteY4" fmla="*/ 8439 h 15806"/>
                <a:gd name="connsiteX5" fmla="*/ 7369 w 14738"/>
                <a:gd name="connsiteY5" fmla="*/ 15807 h 15806"/>
                <a:gd name="connsiteX6" fmla="*/ 14738 w 14738"/>
                <a:gd name="connsiteY6" fmla="*/ 8439 h 15806"/>
                <a:gd name="connsiteX7" fmla="*/ 14738 w 14738"/>
                <a:gd name="connsiteY7" fmla="*/ 7100 h 15806"/>
                <a:gd name="connsiteX8" fmla="*/ 7369 w 14738"/>
                <a:gd name="connsiteY8" fmla="*/ 0 h 1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5806">
                  <a:moveTo>
                    <a:pt x="7369" y="0"/>
                  </a:moveTo>
                  <a:cubicBezTo>
                    <a:pt x="5802" y="54"/>
                    <a:pt x="4287" y="616"/>
                    <a:pt x="3082" y="1607"/>
                  </a:cubicBezTo>
                  <a:cubicBezTo>
                    <a:pt x="2411" y="1996"/>
                    <a:pt x="1863" y="2545"/>
                    <a:pt x="1474" y="3215"/>
                  </a:cubicBezTo>
                  <a:cubicBezTo>
                    <a:pt x="577" y="4421"/>
                    <a:pt x="54" y="5867"/>
                    <a:pt x="0" y="7368"/>
                  </a:cubicBezTo>
                  <a:lnTo>
                    <a:pt x="0" y="8439"/>
                  </a:lnTo>
                  <a:cubicBezTo>
                    <a:pt x="0" y="12512"/>
                    <a:pt x="3296" y="15807"/>
                    <a:pt x="7369" y="15807"/>
                  </a:cubicBezTo>
                  <a:cubicBezTo>
                    <a:pt x="11442" y="15807"/>
                    <a:pt x="14738" y="12512"/>
                    <a:pt x="14738" y="8439"/>
                  </a:cubicBezTo>
                  <a:lnTo>
                    <a:pt x="14738" y="7100"/>
                  </a:lnTo>
                  <a:cubicBezTo>
                    <a:pt x="14590" y="3134"/>
                    <a:pt x="11335" y="0"/>
                    <a:pt x="7369" y="0"/>
                  </a:cubicBezTo>
                  <a:close/>
                </a:path>
              </a:pathLst>
            </a:custGeom>
            <a:solidFill>
              <a:srgbClr val="000000"/>
            </a:solidFill>
            <a:ln w="12700" cap="flat">
              <a:noFill/>
              <a:prstDash val="solid"/>
              <a:miter/>
            </a:ln>
          </p:spPr>
          <p:txBody>
            <a:bodyPr rtlCol="0" anchor="ctr"/>
            <a:lstStyle/>
            <a:p>
              <a:endParaRPr lang="en-US"/>
            </a:p>
          </p:txBody>
        </p:sp>
        <p:sp>
          <p:nvSpPr>
            <p:cNvPr id="1261" name="Freeform: Shape 1260">
              <a:extLst>
                <a:ext uri="{FF2B5EF4-FFF2-40B4-BE49-F238E27FC236}">
                  <a16:creationId xmlns:a16="http://schemas.microsoft.com/office/drawing/2014/main" id="{F3166246-3C02-46E9-99A3-EF56C3D620CC}"/>
                </a:ext>
              </a:extLst>
            </p:cNvPr>
            <p:cNvSpPr/>
            <p:nvPr/>
          </p:nvSpPr>
          <p:spPr>
            <a:xfrm>
              <a:off x="8046825" y="6165979"/>
              <a:ext cx="1340" cy="3884"/>
            </a:xfrm>
            <a:custGeom>
              <a:avLst/>
              <a:gdLst>
                <a:gd name="connsiteX0" fmla="*/ 0 w 1340"/>
                <a:gd name="connsiteY0" fmla="*/ 3885 h 3884"/>
                <a:gd name="connsiteX1" fmla="*/ 1340 w 1340"/>
                <a:gd name="connsiteY1" fmla="*/ 3885 h 3884"/>
                <a:gd name="connsiteX2" fmla="*/ 0 w 1340"/>
                <a:gd name="connsiteY2" fmla="*/ 0 h 3884"/>
              </a:gdLst>
              <a:ahLst/>
              <a:cxnLst>
                <a:cxn ang="0">
                  <a:pos x="connsiteX0" y="connsiteY0"/>
                </a:cxn>
                <a:cxn ang="0">
                  <a:pos x="connsiteX1" y="connsiteY1"/>
                </a:cxn>
                <a:cxn ang="0">
                  <a:pos x="connsiteX2" y="connsiteY2"/>
                </a:cxn>
              </a:cxnLst>
              <a:rect l="l" t="t" r="r" b="b"/>
              <a:pathLst>
                <a:path w="1340" h="3884">
                  <a:moveTo>
                    <a:pt x="0" y="3885"/>
                  </a:moveTo>
                  <a:lnTo>
                    <a:pt x="1340" y="3885"/>
                  </a:lnTo>
                  <a:cubicBezTo>
                    <a:pt x="509" y="2760"/>
                    <a:pt x="40" y="1407"/>
                    <a:pt x="0" y="0"/>
                  </a:cubicBezTo>
                  <a:close/>
                </a:path>
              </a:pathLst>
            </a:custGeom>
            <a:solidFill>
              <a:srgbClr val="000000"/>
            </a:solidFill>
            <a:ln w="12700" cap="flat">
              <a:noFill/>
              <a:prstDash val="solid"/>
              <a:miter/>
            </a:ln>
          </p:spPr>
          <p:txBody>
            <a:bodyPr rtlCol="0" anchor="ctr"/>
            <a:lstStyle/>
            <a:p>
              <a:endParaRPr lang="en-US"/>
            </a:p>
          </p:txBody>
        </p:sp>
        <p:sp>
          <p:nvSpPr>
            <p:cNvPr id="1262" name="Freeform: Shape 1261">
              <a:extLst>
                <a:ext uri="{FF2B5EF4-FFF2-40B4-BE49-F238E27FC236}">
                  <a16:creationId xmlns:a16="http://schemas.microsoft.com/office/drawing/2014/main" id="{8EC9C39F-2B9D-4A8D-8CBF-537AEB09416E}"/>
                </a:ext>
              </a:extLst>
            </p:cNvPr>
            <p:cNvSpPr/>
            <p:nvPr/>
          </p:nvSpPr>
          <p:spPr>
            <a:xfrm>
              <a:off x="8060357" y="6165979"/>
              <a:ext cx="1206" cy="3884"/>
            </a:xfrm>
            <a:custGeom>
              <a:avLst/>
              <a:gdLst>
                <a:gd name="connsiteX0" fmla="*/ 1206 w 1206"/>
                <a:gd name="connsiteY0" fmla="*/ 3885 h 3884"/>
                <a:gd name="connsiteX1" fmla="*/ 1206 w 1206"/>
                <a:gd name="connsiteY1" fmla="*/ 0 h 3884"/>
                <a:gd name="connsiteX2" fmla="*/ 0 w 1206"/>
                <a:gd name="connsiteY2" fmla="*/ 3885 h 3884"/>
              </a:gdLst>
              <a:ahLst/>
              <a:cxnLst>
                <a:cxn ang="0">
                  <a:pos x="connsiteX0" y="connsiteY0"/>
                </a:cxn>
                <a:cxn ang="0">
                  <a:pos x="connsiteX1" y="connsiteY1"/>
                </a:cxn>
                <a:cxn ang="0">
                  <a:pos x="connsiteX2" y="connsiteY2"/>
                </a:cxn>
              </a:cxnLst>
              <a:rect l="l" t="t" r="r" b="b"/>
              <a:pathLst>
                <a:path w="1206" h="3884">
                  <a:moveTo>
                    <a:pt x="1206" y="3885"/>
                  </a:moveTo>
                  <a:lnTo>
                    <a:pt x="1206" y="0"/>
                  </a:lnTo>
                  <a:cubicBezTo>
                    <a:pt x="1152" y="1380"/>
                    <a:pt x="737" y="2719"/>
                    <a:pt x="0" y="3885"/>
                  </a:cubicBezTo>
                  <a:close/>
                </a:path>
              </a:pathLst>
            </a:custGeom>
            <a:solidFill>
              <a:srgbClr val="000000"/>
            </a:solidFill>
            <a:ln w="12700" cap="flat">
              <a:noFill/>
              <a:prstDash val="solid"/>
              <a:miter/>
            </a:ln>
          </p:spPr>
          <p:txBody>
            <a:bodyPr rtlCol="0" anchor="ctr"/>
            <a:lstStyle/>
            <a:p>
              <a:endParaRPr lang="en-US"/>
            </a:p>
          </p:txBody>
        </p:sp>
        <p:sp>
          <p:nvSpPr>
            <p:cNvPr id="1263" name="Freeform: Shape 1262">
              <a:extLst>
                <a:ext uri="{FF2B5EF4-FFF2-40B4-BE49-F238E27FC236}">
                  <a16:creationId xmlns:a16="http://schemas.microsoft.com/office/drawing/2014/main" id="{4D43B1D5-6FDC-47AA-97D2-3DB6C571D139}"/>
                </a:ext>
              </a:extLst>
            </p:cNvPr>
            <p:cNvSpPr/>
            <p:nvPr/>
          </p:nvSpPr>
          <p:spPr>
            <a:xfrm>
              <a:off x="8348274" y="5815415"/>
              <a:ext cx="14738" cy="218215"/>
            </a:xfrm>
            <a:custGeom>
              <a:avLst/>
              <a:gdLst>
                <a:gd name="connsiteX0" fmla="*/ 7369 w 14738"/>
                <a:gd name="connsiteY0" fmla="*/ 218215 h 218215"/>
                <a:gd name="connsiteX1" fmla="*/ 14738 w 14738"/>
                <a:gd name="connsiteY1" fmla="*/ 210848 h 218215"/>
                <a:gd name="connsiteX2" fmla="*/ 14738 w 14738"/>
                <a:gd name="connsiteY2" fmla="*/ 0 h 218215"/>
                <a:gd name="connsiteX3" fmla="*/ 7369 w 14738"/>
                <a:gd name="connsiteY3" fmla="*/ 7368 h 218215"/>
                <a:gd name="connsiteX4" fmla="*/ 0 w 14738"/>
                <a:gd name="connsiteY4" fmla="*/ 0 h 218215"/>
                <a:gd name="connsiteX5" fmla="*/ 0 w 14738"/>
                <a:gd name="connsiteY5" fmla="*/ 210848 h 218215"/>
                <a:gd name="connsiteX6" fmla="*/ 7369 w 14738"/>
                <a:gd name="connsiteY6" fmla="*/ 218215 h 2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218215">
                  <a:moveTo>
                    <a:pt x="7369" y="218215"/>
                  </a:moveTo>
                  <a:cubicBezTo>
                    <a:pt x="11442" y="218215"/>
                    <a:pt x="14738" y="214917"/>
                    <a:pt x="14738" y="210848"/>
                  </a:cubicBezTo>
                  <a:lnTo>
                    <a:pt x="14738" y="0"/>
                  </a:lnTo>
                  <a:cubicBezTo>
                    <a:pt x="14738" y="4070"/>
                    <a:pt x="11442" y="7368"/>
                    <a:pt x="7369" y="7368"/>
                  </a:cubicBezTo>
                  <a:cubicBezTo>
                    <a:pt x="3296" y="7368"/>
                    <a:pt x="0" y="4070"/>
                    <a:pt x="0" y="0"/>
                  </a:cubicBezTo>
                  <a:lnTo>
                    <a:pt x="0" y="210848"/>
                  </a:lnTo>
                  <a:cubicBezTo>
                    <a:pt x="0" y="214917"/>
                    <a:pt x="3296" y="218215"/>
                    <a:pt x="7369" y="218215"/>
                  </a:cubicBezTo>
                  <a:close/>
                </a:path>
              </a:pathLst>
            </a:custGeom>
            <a:solidFill>
              <a:srgbClr val="000000"/>
            </a:solidFill>
            <a:ln w="12700" cap="flat">
              <a:noFill/>
              <a:prstDash val="solid"/>
              <a:miter/>
            </a:ln>
          </p:spPr>
          <p:txBody>
            <a:bodyPr rtlCol="0" anchor="ctr"/>
            <a:lstStyle/>
            <a:p>
              <a:endParaRPr lang="en-US"/>
            </a:p>
          </p:txBody>
        </p:sp>
        <p:sp>
          <p:nvSpPr>
            <p:cNvPr id="1264" name="Freeform: Shape 1263">
              <a:extLst>
                <a:ext uri="{FF2B5EF4-FFF2-40B4-BE49-F238E27FC236}">
                  <a16:creationId xmlns:a16="http://schemas.microsoft.com/office/drawing/2014/main" id="{0FA1F168-FF1D-41BB-9C4C-321A7485146B}"/>
                </a:ext>
              </a:extLst>
            </p:cNvPr>
            <p:cNvSpPr/>
            <p:nvPr/>
          </p:nvSpPr>
          <p:spPr>
            <a:xfrm>
              <a:off x="7897842" y="6165042"/>
              <a:ext cx="14335" cy="4822"/>
            </a:xfrm>
            <a:custGeom>
              <a:avLst/>
              <a:gdLst>
                <a:gd name="connsiteX0" fmla="*/ 6833 w 14335"/>
                <a:gd name="connsiteY0" fmla="*/ 4822 h 4822"/>
                <a:gd name="connsiteX1" fmla="*/ 14336 w 14335"/>
                <a:gd name="connsiteY1" fmla="*/ 4822 h 4822"/>
                <a:gd name="connsiteX2" fmla="*/ 7503 w 14335"/>
                <a:gd name="connsiteY2" fmla="*/ 0 h 4822"/>
                <a:gd name="connsiteX3" fmla="*/ 0 w 14335"/>
                <a:gd name="connsiteY3" fmla="*/ 0 h 4822"/>
                <a:gd name="connsiteX4" fmla="*/ 6833 w 14335"/>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 h="4822">
                  <a:moveTo>
                    <a:pt x="6833" y="4822"/>
                  </a:moveTo>
                  <a:lnTo>
                    <a:pt x="14336" y="4822"/>
                  </a:lnTo>
                  <a:cubicBezTo>
                    <a:pt x="13318" y="1929"/>
                    <a:pt x="10571" y="0"/>
                    <a:pt x="7503" y="0"/>
                  </a:cubicBezTo>
                  <a:lnTo>
                    <a:pt x="0" y="0"/>
                  </a:lnTo>
                  <a:cubicBezTo>
                    <a:pt x="3055" y="40"/>
                    <a:pt x="5775" y="1956"/>
                    <a:pt x="6833" y="4822"/>
                  </a:cubicBezTo>
                  <a:close/>
                </a:path>
              </a:pathLst>
            </a:custGeom>
            <a:solidFill>
              <a:srgbClr val="000000"/>
            </a:solidFill>
            <a:ln w="12700" cap="flat">
              <a:noFill/>
              <a:prstDash val="solid"/>
              <a:miter/>
            </a:ln>
          </p:spPr>
          <p:txBody>
            <a:bodyPr rtlCol="0" anchor="ctr"/>
            <a:lstStyle/>
            <a:p>
              <a:endParaRPr lang="en-US"/>
            </a:p>
          </p:txBody>
        </p:sp>
        <p:sp>
          <p:nvSpPr>
            <p:cNvPr id="1265" name="Freeform: Shape 1264">
              <a:extLst>
                <a:ext uri="{FF2B5EF4-FFF2-40B4-BE49-F238E27FC236}">
                  <a16:creationId xmlns:a16="http://schemas.microsoft.com/office/drawing/2014/main" id="{9F0F7DBD-3DD7-4416-A700-30D25816F494}"/>
                </a:ext>
              </a:extLst>
            </p:cNvPr>
            <p:cNvSpPr/>
            <p:nvPr/>
          </p:nvSpPr>
          <p:spPr>
            <a:xfrm>
              <a:off x="7828442" y="6165042"/>
              <a:ext cx="76233" cy="4822"/>
            </a:xfrm>
            <a:custGeom>
              <a:avLst/>
              <a:gdLst>
                <a:gd name="connsiteX0" fmla="*/ 76233 w 76233"/>
                <a:gd name="connsiteY0" fmla="*/ 4822 h 4822"/>
                <a:gd name="connsiteX1" fmla="*/ 69400 w 76233"/>
                <a:gd name="connsiteY1" fmla="*/ 0 h 4822"/>
                <a:gd name="connsiteX2" fmla="*/ 6833 w 76233"/>
                <a:gd name="connsiteY2" fmla="*/ 0 h 4822"/>
                <a:gd name="connsiteX3" fmla="*/ 0 w 76233"/>
                <a:gd name="connsiteY3" fmla="*/ 4822 h 4822"/>
                <a:gd name="connsiteX4" fmla="*/ 76233 w 76233"/>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3" h="4822">
                  <a:moveTo>
                    <a:pt x="76233" y="4822"/>
                  </a:moveTo>
                  <a:cubicBezTo>
                    <a:pt x="75175" y="1956"/>
                    <a:pt x="72455" y="40"/>
                    <a:pt x="69400" y="0"/>
                  </a:cubicBezTo>
                  <a:lnTo>
                    <a:pt x="6833" y="0"/>
                  </a:lnTo>
                  <a:cubicBezTo>
                    <a:pt x="3778" y="40"/>
                    <a:pt x="1058" y="1956"/>
                    <a:pt x="0" y="4822"/>
                  </a:cubicBezTo>
                  <a:lnTo>
                    <a:pt x="76233" y="4822"/>
                  </a:lnTo>
                  <a:close/>
                </a:path>
              </a:pathLst>
            </a:custGeom>
            <a:solidFill>
              <a:srgbClr val="000000"/>
            </a:solidFill>
            <a:ln w="12700" cap="flat">
              <a:noFill/>
              <a:prstDash val="solid"/>
              <a:miter/>
            </a:ln>
          </p:spPr>
          <p:txBody>
            <a:bodyPr rtlCol="0" anchor="ctr"/>
            <a:lstStyle/>
            <a:p>
              <a:endParaRPr lang="en-US"/>
            </a:p>
          </p:txBody>
        </p:sp>
        <p:sp>
          <p:nvSpPr>
            <p:cNvPr id="1266" name="Freeform: Shape 1265">
              <a:extLst>
                <a:ext uri="{FF2B5EF4-FFF2-40B4-BE49-F238E27FC236}">
                  <a16:creationId xmlns:a16="http://schemas.microsoft.com/office/drawing/2014/main" id="{FECE6D8E-6CC2-492B-A391-E95B61250453}"/>
                </a:ext>
              </a:extLst>
            </p:cNvPr>
            <p:cNvSpPr/>
            <p:nvPr/>
          </p:nvSpPr>
          <p:spPr>
            <a:xfrm>
              <a:off x="7897441" y="5808047"/>
              <a:ext cx="14871" cy="14746"/>
            </a:xfrm>
            <a:custGeom>
              <a:avLst/>
              <a:gdLst>
                <a:gd name="connsiteX0" fmla="*/ 14871 w 14871"/>
                <a:gd name="connsiteY0" fmla="*/ 7368 h 14746"/>
                <a:gd name="connsiteX1" fmla="*/ 7503 w 14871"/>
                <a:gd name="connsiteY1" fmla="*/ 0 h 14746"/>
                <a:gd name="connsiteX2" fmla="*/ 0 w 14871"/>
                <a:gd name="connsiteY2" fmla="*/ 0 h 14746"/>
                <a:gd name="connsiteX3" fmla="*/ 7369 w 14871"/>
                <a:gd name="connsiteY3" fmla="*/ 7368 h 14746"/>
                <a:gd name="connsiteX4" fmla="*/ 0 w 14871"/>
                <a:gd name="connsiteY4" fmla="*/ 14735 h 14746"/>
                <a:gd name="connsiteX5" fmla="*/ 7234 w 14871"/>
                <a:gd name="connsiteY5" fmla="*/ 14735 h 14746"/>
                <a:gd name="connsiteX6" fmla="*/ 14857 w 14871"/>
                <a:gd name="connsiteY6" fmla="*/ 7917 h 14746"/>
                <a:gd name="connsiteX7" fmla="*/ 14871 w 14871"/>
                <a:gd name="connsiteY7" fmla="*/ 7368 h 1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71" h="14746">
                  <a:moveTo>
                    <a:pt x="14871" y="7368"/>
                  </a:moveTo>
                  <a:cubicBezTo>
                    <a:pt x="14871" y="3298"/>
                    <a:pt x="11575" y="0"/>
                    <a:pt x="7503" y="0"/>
                  </a:cubicBezTo>
                  <a:lnTo>
                    <a:pt x="0" y="0"/>
                  </a:lnTo>
                  <a:cubicBezTo>
                    <a:pt x="4072" y="0"/>
                    <a:pt x="7369" y="3298"/>
                    <a:pt x="7369" y="7368"/>
                  </a:cubicBezTo>
                  <a:cubicBezTo>
                    <a:pt x="7369" y="11437"/>
                    <a:pt x="4072" y="14735"/>
                    <a:pt x="0" y="14735"/>
                  </a:cubicBezTo>
                  <a:lnTo>
                    <a:pt x="7234" y="14735"/>
                  </a:lnTo>
                  <a:cubicBezTo>
                    <a:pt x="11227" y="14958"/>
                    <a:pt x="14643" y="11905"/>
                    <a:pt x="14857" y="7917"/>
                  </a:cubicBezTo>
                  <a:cubicBezTo>
                    <a:pt x="14871" y="7733"/>
                    <a:pt x="14871" y="7551"/>
                    <a:pt x="14871" y="7368"/>
                  </a:cubicBezTo>
                  <a:close/>
                </a:path>
              </a:pathLst>
            </a:custGeom>
            <a:solidFill>
              <a:srgbClr val="000000"/>
            </a:solidFill>
            <a:ln w="12700" cap="flat">
              <a:noFill/>
              <a:prstDash val="solid"/>
              <a:miter/>
            </a:ln>
          </p:spPr>
          <p:txBody>
            <a:bodyPr rtlCol="0" anchor="ctr"/>
            <a:lstStyle/>
            <a:p>
              <a:endParaRPr lang="en-US"/>
            </a:p>
          </p:txBody>
        </p:sp>
        <p:sp>
          <p:nvSpPr>
            <p:cNvPr id="1267" name="Freeform: Shape 1266">
              <a:extLst>
                <a:ext uri="{FF2B5EF4-FFF2-40B4-BE49-F238E27FC236}">
                  <a16:creationId xmlns:a16="http://schemas.microsoft.com/office/drawing/2014/main" id="{4AD447F0-4FDD-4B0C-A772-E33697C014FF}"/>
                </a:ext>
              </a:extLst>
            </p:cNvPr>
            <p:cNvSpPr/>
            <p:nvPr/>
          </p:nvSpPr>
          <p:spPr>
            <a:xfrm>
              <a:off x="7853685" y="5808047"/>
              <a:ext cx="51124" cy="14735"/>
            </a:xfrm>
            <a:custGeom>
              <a:avLst/>
              <a:gdLst>
                <a:gd name="connsiteX0" fmla="*/ 7447 w 51124"/>
                <a:gd name="connsiteY0" fmla="*/ 14735 h 14735"/>
                <a:gd name="connsiteX1" fmla="*/ 43756 w 51124"/>
                <a:gd name="connsiteY1" fmla="*/ 14735 h 14735"/>
                <a:gd name="connsiteX2" fmla="*/ 51124 w 51124"/>
                <a:gd name="connsiteY2" fmla="*/ 7368 h 14735"/>
                <a:gd name="connsiteX3" fmla="*/ 43756 w 51124"/>
                <a:gd name="connsiteY3" fmla="*/ 0 h 14735"/>
                <a:gd name="connsiteX4" fmla="*/ 7447 w 51124"/>
                <a:gd name="connsiteY4" fmla="*/ 0 h 14735"/>
                <a:gd name="connsiteX5" fmla="*/ 6643 w 51124"/>
                <a:gd name="connsiteY5" fmla="*/ 0 h 14735"/>
                <a:gd name="connsiteX6" fmla="*/ 5170 w 51124"/>
                <a:gd name="connsiteY6" fmla="*/ 0 h 14735"/>
                <a:gd name="connsiteX7" fmla="*/ 3964 w 51124"/>
                <a:gd name="connsiteY7" fmla="*/ 0 h 14735"/>
                <a:gd name="connsiteX8" fmla="*/ 2758 w 51124"/>
                <a:gd name="connsiteY8" fmla="*/ 804 h 14735"/>
                <a:gd name="connsiteX9" fmla="*/ 1686 w 51124"/>
                <a:gd name="connsiteY9" fmla="*/ 1875 h 14735"/>
                <a:gd name="connsiteX10" fmla="*/ 79 w 51124"/>
                <a:gd name="connsiteY10" fmla="*/ 6296 h 14735"/>
                <a:gd name="connsiteX11" fmla="*/ 6295 w 51124"/>
                <a:gd name="connsiteY11" fmla="*/ 14658 h 14735"/>
                <a:gd name="connsiteX12" fmla="*/ 7447 w 51124"/>
                <a:gd name="connsiteY12"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124" h="14735">
                  <a:moveTo>
                    <a:pt x="7447" y="14735"/>
                  </a:moveTo>
                  <a:lnTo>
                    <a:pt x="43756" y="14735"/>
                  </a:lnTo>
                  <a:cubicBezTo>
                    <a:pt x="47828" y="14735"/>
                    <a:pt x="51124" y="11437"/>
                    <a:pt x="51124" y="7368"/>
                  </a:cubicBezTo>
                  <a:cubicBezTo>
                    <a:pt x="51124" y="3298"/>
                    <a:pt x="47828" y="0"/>
                    <a:pt x="43756" y="0"/>
                  </a:cubicBezTo>
                  <a:lnTo>
                    <a:pt x="7447" y="0"/>
                  </a:lnTo>
                  <a:lnTo>
                    <a:pt x="6643" y="0"/>
                  </a:lnTo>
                  <a:lnTo>
                    <a:pt x="5170" y="0"/>
                  </a:lnTo>
                  <a:lnTo>
                    <a:pt x="3964" y="0"/>
                  </a:lnTo>
                  <a:lnTo>
                    <a:pt x="2758" y="804"/>
                  </a:lnTo>
                  <a:cubicBezTo>
                    <a:pt x="2369" y="1127"/>
                    <a:pt x="2008" y="1486"/>
                    <a:pt x="1686" y="1875"/>
                  </a:cubicBezTo>
                  <a:cubicBezTo>
                    <a:pt x="668" y="3124"/>
                    <a:pt x="92" y="4683"/>
                    <a:pt x="79" y="6296"/>
                  </a:cubicBezTo>
                  <a:cubicBezTo>
                    <a:pt x="-511" y="10321"/>
                    <a:pt x="2276" y="14065"/>
                    <a:pt x="6295" y="14658"/>
                  </a:cubicBezTo>
                  <a:cubicBezTo>
                    <a:pt x="6684" y="14714"/>
                    <a:pt x="7059" y="14739"/>
                    <a:pt x="7447" y="14735"/>
                  </a:cubicBezTo>
                  <a:close/>
                </a:path>
              </a:pathLst>
            </a:custGeom>
            <a:solidFill>
              <a:srgbClr val="000000"/>
            </a:solidFill>
            <a:ln w="12700" cap="flat">
              <a:noFill/>
              <a:prstDash val="solid"/>
              <a:miter/>
            </a:ln>
          </p:spPr>
          <p:txBody>
            <a:bodyPr rtlCol="0" anchor="ctr"/>
            <a:lstStyle/>
            <a:p>
              <a:endParaRPr lang="en-US"/>
            </a:p>
          </p:txBody>
        </p:sp>
        <p:sp>
          <p:nvSpPr>
            <p:cNvPr id="1268" name="Freeform: Shape 1267">
              <a:extLst>
                <a:ext uri="{FF2B5EF4-FFF2-40B4-BE49-F238E27FC236}">
                  <a16:creationId xmlns:a16="http://schemas.microsoft.com/office/drawing/2014/main" id="{57696833-3C26-4595-BE86-0DB343BDBA86}"/>
                </a:ext>
              </a:extLst>
            </p:cNvPr>
            <p:cNvSpPr/>
            <p:nvPr/>
          </p:nvSpPr>
          <p:spPr>
            <a:xfrm>
              <a:off x="6700217" y="6580575"/>
              <a:ext cx="14739" cy="7367"/>
            </a:xfrm>
            <a:custGeom>
              <a:avLst/>
              <a:gdLst>
                <a:gd name="connsiteX0" fmla="*/ 7369 w 14739"/>
                <a:gd name="connsiteY0" fmla="*/ 7368 h 7367"/>
                <a:gd name="connsiteX1" fmla="*/ 14738 w 14739"/>
                <a:gd name="connsiteY1" fmla="*/ 0 h 7367"/>
                <a:gd name="connsiteX2" fmla="*/ 14738 w 14739"/>
                <a:gd name="connsiteY2" fmla="*/ 0 h 7367"/>
                <a:gd name="connsiteX3" fmla="*/ 14738 w 14739"/>
                <a:gd name="connsiteY3" fmla="*/ 0 h 7367"/>
                <a:gd name="connsiteX4" fmla="*/ 7637 w 14739"/>
                <a:gd name="connsiteY4" fmla="*/ 7368 h 7367"/>
                <a:gd name="connsiteX5" fmla="*/ 7369 w 14739"/>
                <a:gd name="connsiteY5" fmla="*/ 7368 h 7367"/>
                <a:gd name="connsiteX6" fmla="*/ 0 w 14739"/>
                <a:gd name="connsiteY6" fmla="*/ 0 h 7367"/>
                <a:gd name="connsiteX7" fmla="*/ 0 w 14739"/>
                <a:gd name="connsiteY7" fmla="*/ 0 h 7367"/>
                <a:gd name="connsiteX8" fmla="*/ 7369 w 14739"/>
                <a:gd name="connsiteY8" fmla="*/ 7368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7367">
                  <a:moveTo>
                    <a:pt x="7369" y="7368"/>
                  </a:moveTo>
                  <a:cubicBezTo>
                    <a:pt x="11442" y="7368"/>
                    <a:pt x="14738" y="4072"/>
                    <a:pt x="14738" y="0"/>
                  </a:cubicBezTo>
                  <a:lnTo>
                    <a:pt x="14738" y="0"/>
                  </a:lnTo>
                  <a:lnTo>
                    <a:pt x="14738" y="0"/>
                  </a:lnTo>
                  <a:cubicBezTo>
                    <a:pt x="14818" y="3992"/>
                    <a:pt x="11629" y="7287"/>
                    <a:pt x="7637" y="7368"/>
                  </a:cubicBezTo>
                  <a:cubicBezTo>
                    <a:pt x="7543" y="7368"/>
                    <a:pt x="7463" y="7368"/>
                    <a:pt x="7369" y="7368"/>
                  </a:cubicBezTo>
                  <a:cubicBezTo>
                    <a:pt x="3296" y="7368"/>
                    <a:pt x="0" y="4072"/>
                    <a:pt x="0" y="0"/>
                  </a:cubicBezTo>
                  <a:lnTo>
                    <a:pt x="0" y="0"/>
                  </a:lnTo>
                  <a:cubicBezTo>
                    <a:pt x="0" y="4072"/>
                    <a:pt x="3296" y="7368"/>
                    <a:pt x="7369" y="7368"/>
                  </a:cubicBezTo>
                  <a:close/>
                </a:path>
              </a:pathLst>
            </a:custGeom>
            <a:solidFill>
              <a:srgbClr val="000000"/>
            </a:solidFill>
            <a:ln w="12700" cap="flat">
              <a:noFill/>
              <a:prstDash val="solid"/>
              <a:miter/>
            </a:ln>
          </p:spPr>
          <p:txBody>
            <a:bodyPr rtlCol="0" anchor="ctr"/>
            <a:lstStyle/>
            <a:p>
              <a:endParaRPr lang="en-US"/>
            </a:p>
          </p:txBody>
        </p:sp>
        <p:sp>
          <p:nvSpPr>
            <p:cNvPr id="1269" name="Freeform: Shape 1268">
              <a:extLst>
                <a:ext uri="{FF2B5EF4-FFF2-40B4-BE49-F238E27FC236}">
                  <a16:creationId xmlns:a16="http://schemas.microsoft.com/office/drawing/2014/main" id="{CBB0EA08-E940-41AB-9C0F-2AD67B455321}"/>
                </a:ext>
              </a:extLst>
            </p:cNvPr>
            <p:cNvSpPr/>
            <p:nvPr/>
          </p:nvSpPr>
          <p:spPr>
            <a:xfrm>
              <a:off x="8071879" y="6300740"/>
              <a:ext cx="14738" cy="218215"/>
            </a:xfrm>
            <a:custGeom>
              <a:avLst/>
              <a:gdLst>
                <a:gd name="connsiteX0" fmla="*/ 14738 w 14738"/>
                <a:gd name="connsiteY0" fmla="*/ 0 h 218215"/>
                <a:gd name="connsiteX1" fmla="*/ 14738 w 14738"/>
                <a:gd name="connsiteY1" fmla="*/ 0 h 218215"/>
                <a:gd name="connsiteX2" fmla="*/ 7503 w 14738"/>
                <a:gd name="connsiteY2" fmla="*/ 7234 h 218215"/>
                <a:gd name="connsiteX3" fmla="*/ 7369 w 14738"/>
                <a:gd name="connsiteY3" fmla="*/ 7234 h 218215"/>
                <a:gd name="connsiteX4" fmla="*/ 0 w 14738"/>
                <a:gd name="connsiteY4" fmla="*/ 0 h 218215"/>
                <a:gd name="connsiteX5" fmla="*/ 0 w 14738"/>
                <a:gd name="connsiteY5" fmla="*/ 210848 h 218215"/>
                <a:gd name="connsiteX6" fmla="*/ 7369 w 14738"/>
                <a:gd name="connsiteY6" fmla="*/ 218215 h 218215"/>
                <a:gd name="connsiteX7" fmla="*/ 14738 w 14738"/>
                <a:gd name="connsiteY7" fmla="*/ 210848 h 218215"/>
                <a:gd name="connsiteX8" fmla="*/ 14738 w 14738"/>
                <a:gd name="connsiteY8" fmla="*/ 0 h 2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218215">
                  <a:moveTo>
                    <a:pt x="14738" y="0"/>
                  </a:moveTo>
                  <a:lnTo>
                    <a:pt x="14738" y="0"/>
                  </a:lnTo>
                  <a:cubicBezTo>
                    <a:pt x="14738" y="3992"/>
                    <a:pt x="11496" y="7234"/>
                    <a:pt x="7503" y="7234"/>
                  </a:cubicBezTo>
                  <a:cubicBezTo>
                    <a:pt x="7463" y="7234"/>
                    <a:pt x="7409" y="7234"/>
                    <a:pt x="7369" y="7234"/>
                  </a:cubicBezTo>
                  <a:cubicBezTo>
                    <a:pt x="3349" y="7234"/>
                    <a:pt x="67" y="4019"/>
                    <a:pt x="0" y="0"/>
                  </a:cubicBezTo>
                  <a:lnTo>
                    <a:pt x="0" y="210848"/>
                  </a:lnTo>
                  <a:cubicBezTo>
                    <a:pt x="0" y="214920"/>
                    <a:pt x="3296" y="218215"/>
                    <a:pt x="7369" y="218215"/>
                  </a:cubicBezTo>
                  <a:cubicBezTo>
                    <a:pt x="11442" y="218215"/>
                    <a:pt x="14738" y="214920"/>
                    <a:pt x="14738" y="210848"/>
                  </a:cubicBezTo>
                  <a:lnTo>
                    <a:pt x="14738" y="0"/>
                  </a:lnTo>
                  <a:close/>
                </a:path>
              </a:pathLst>
            </a:custGeom>
            <a:solidFill>
              <a:srgbClr val="000000"/>
            </a:solidFill>
            <a:ln w="12700" cap="flat">
              <a:noFill/>
              <a:prstDash val="solid"/>
              <a:miter/>
            </a:ln>
          </p:spPr>
          <p:txBody>
            <a:bodyPr rtlCol="0" anchor="ctr"/>
            <a:lstStyle/>
            <a:p>
              <a:endParaRPr lang="en-US"/>
            </a:p>
          </p:txBody>
        </p:sp>
        <p:sp>
          <p:nvSpPr>
            <p:cNvPr id="1270" name="Freeform: Shape 1269">
              <a:extLst>
                <a:ext uri="{FF2B5EF4-FFF2-40B4-BE49-F238E27FC236}">
                  <a16:creationId xmlns:a16="http://schemas.microsoft.com/office/drawing/2014/main" id="{E76AB401-B32B-43CB-B3DA-35035A4390B2}"/>
                </a:ext>
              </a:extLst>
            </p:cNvPr>
            <p:cNvSpPr/>
            <p:nvPr/>
          </p:nvSpPr>
          <p:spPr>
            <a:xfrm>
              <a:off x="8071879" y="6292032"/>
              <a:ext cx="14738" cy="15942"/>
            </a:xfrm>
            <a:custGeom>
              <a:avLst/>
              <a:gdLst>
                <a:gd name="connsiteX0" fmla="*/ 14470 w 14738"/>
                <a:gd name="connsiteY0" fmla="*/ 6162 h 15942"/>
                <a:gd name="connsiteX1" fmla="*/ 7369 w 14738"/>
                <a:gd name="connsiteY1" fmla="*/ 0 h 15942"/>
                <a:gd name="connsiteX2" fmla="*/ 0 w 14738"/>
                <a:gd name="connsiteY2" fmla="*/ 7368 h 15942"/>
                <a:gd name="connsiteX3" fmla="*/ 0 w 14738"/>
                <a:gd name="connsiteY3" fmla="*/ 8707 h 15942"/>
                <a:gd name="connsiteX4" fmla="*/ 7369 w 14738"/>
                <a:gd name="connsiteY4" fmla="*/ 15941 h 15942"/>
                <a:gd name="connsiteX5" fmla="*/ 14738 w 14738"/>
                <a:gd name="connsiteY5" fmla="*/ 8841 h 15942"/>
                <a:gd name="connsiteX6" fmla="*/ 14738 w 14738"/>
                <a:gd name="connsiteY6" fmla="*/ 8707 h 15942"/>
                <a:gd name="connsiteX7" fmla="*/ 14738 w 14738"/>
                <a:gd name="connsiteY7" fmla="*/ 7368 h 15942"/>
                <a:gd name="connsiteX8" fmla="*/ 14470 w 14738"/>
                <a:gd name="connsiteY8" fmla="*/ 6162 h 1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5942">
                  <a:moveTo>
                    <a:pt x="14470" y="6162"/>
                  </a:moveTo>
                  <a:cubicBezTo>
                    <a:pt x="13947" y="2639"/>
                    <a:pt x="10933" y="27"/>
                    <a:pt x="7369" y="0"/>
                  </a:cubicBezTo>
                  <a:cubicBezTo>
                    <a:pt x="3296" y="0"/>
                    <a:pt x="0" y="3295"/>
                    <a:pt x="0" y="7368"/>
                  </a:cubicBezTo>
                  <a:lnTo>
                    <a:pt x="0" y="8707"/>
                  </a:lnTo>
                  <a:cubicBezTo>
                    <a:pt x="67" y="12726"/>
                    <a:pt x="3349" y="15941"/>
                    <a:pt x="7369" y="15941"/>
                  </a:cubicBezTo>
                  <a:cubicBezTo>
                    <a:pt x="11362" y="16021"/>
                    <a:pt x="14657" y="12833"/>
                    <a:pt x="14738" y="8841"/>
                  </a:cubicBezTo>
                  <a:cubicBezTo>
                    <a:pt x="14738" y="8801"/>
                    <a:pt x="14738" y="8747"/>
                    <a:pt x="14738" y="8707"/>
                  </a:cubicBezTo>
                  <a:lnTo>
                    <a:pt x="14738" y="7368"/>
                  </a:lnTo>
                  <a:cubicBezTo>
                    <a:pt x="14711" y="6952"/>
                    <a:pt x="14617" y="6550"/>
                    <a:pt x="14470" y="6162"/>
                  </a:cubicBezTo>
                  <a:close/>
                </a:path>
              </a:pathLst>
            </a:custGeom>
            <a:solidFill>
              <a:srgbClr val="000000"/>
            </a:solidFill>
            <a:ln w="12700" cap="flat">
              <a:noFill/>
              <a:prstDash val="solid"/>
              <a:miter/>
            </a:ln>
          </p:spPr>
          <p:txBody>
            <a:bodyPr rtlCol="0" anchor="ctr"/>
            <a:lstStyle/>
            <a:p>
              <a:endParaRPr lang="en-US"/>
            </a:p>
          </p:txBody>
        </p:sp>
        <p:sp>
          <p:nvSpPr>
            <p:cNvPr id="1271" name="Freeform: Shape 1270">
              <a:extLst>
                <a:ext uri="{FF2B5EF4-FFF2-40B4-BE49-F238E27FC236}">
                  <a16:creationId xmlns:a16="http://schemas.microsoft.com/office/drawing/2014/main" id="{F38187C5-0652-4BA5-AEAB-3A8863995891}"/>
                </a:ext>
              </a:extLst>
            </p:cNvPr>
            <p:cNvSpPr/>
            <p:nvPr/>
          </p:nvSpPr>
          <p:spPr>
            <a:xfrm>
              <a:off x="7269621" y="6503684"/>
              <a:ext cx="340939" cy="14735"/>
            </a:xfrm>
            <a:custGeom>
              <a:avLst/>
              <a:gdLst>
                <a:gd name="connsiteX0" fmla="*/ 334274 w 340939"/>
                <a:gd name="connsiteY0" fmla="*/ 0 h 14735"/>
                <a:gd name="connsiteX1" fmla="*/ 0 w 340939"/>
                <a:gd name="connsiteY1" fmla="*/ 0 h 14735"/>
                <a:gd name="connsiteX2" fmla="*/ 7369 w 340939"/>
                <a:gd name="connsiteY2" fmla="*/ 7368 h 14735"/>
                <a:gd name="connsiteX3" fmla="*/ 0 w 340939"/>
                <a:gd name="connsiteY3" fmla="*/ 14735 h 14735"/>
                <a:gd name="connsiteX4" fmla="*/ 334274 w 340939"/>
                <a:gd name="connsiteY4" fmla="*/ 14735 h 14735"/>
                <a:gd name="connsiteX5" fmla="*/ 340839 w 340939"/>
                <a:gd name="connsiteY5" fmla="*/ 10582 h 14735"/>
                <a:gd name="connsiteX6" fmla="*/ 340839 w 340939"/>
                <a:gd name="connsiteY6" fmla="*/ 10582 h 14735"/>
                <a:gd name="connsiteX7" fmla="*/ 340839 w 340939"/>
                <a:gd name="connsiteY7" fmla="*/ 7903 h 14735"/>
                <a:gd name="connsiteX8" fmla="*/ 334274 w 340939"/>
                <a:gd name="connsiteY8"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939" h="14735">
                  <a:moveTo>
                    <a:pt x="334274" y="0"/>
                  </a:moveTo>
                  <a:lnTo>
                    <a:pt x="0" y="0"/>
                  </a:lnTo>
                  <a:cubicBezTo>
                    <a:pt x="4073" y="0"/>
                    <a:pt x="7369" y="3295"/>
                    <a:pt x="7369" y="7368"/>
                  </a:cubicBezTo>
                  <a:cubicBezTo>
                    <a:pt x="7369" y="11440"/>
                    <a:pt x="4073" y="14735"/>
                    <a:pt x="0" y="14735"/>
                  </a:cubicBezTo>
                  <a:lnTo>
                    <a:pt x="334274" y="14735"/>
                  </a:lnTo>
                  <a:cubicBezTo>
                    <a:pt x="337088" y="14749"/>
                    <a:pt x="339647" y="13128"/>
                    <a:pt x="340839" y="10582"/>
                  </a:cubicBezTo>
                  <a:lnTo>
                    <a:pt x="340839" y="10582"/>
                  </a:lnTo>
                  <a:cubicBezTo>
                    <a:pt x="340973" y="9698"/>
                    <a:pt x="340973" y="8787"/>
                    <a:pt x="340839" y="7903"/>
                  </a:cubicBezTo>
                  <a:cubicBezTo>
                    <a:pt x="341147" y="3925"/>
                    <a:pt x="338240" y="429"/>
                    <a:pt x="334274" y="0"/>
                  </a:cubicBezTo>
                  <a:close/>
                </a:path>
              </a:pathLst>
            </a:custGeom>
            <a:solidFill>
              <a:srgbClr val="000000"/>
            </a:solidFill>
            <a:ln w="12700" cap="flat">
              <a:noFill/>
              <a:prstDash val="solid"/>
              <a:miter/>
            </a:ln>
          </p:spPr>
          <p:txBody>
            <a:bodyPr rtlCol="0" anchor="ctr"/>
            <a:lstStyle/>
            <a:p>
              <a:endParaRPr lang="en-US"/>
            </a:p>
          </p:txBody>
        </p:sp>
        <p:sp>
          <p:nvSpPr>
            <p:cNvPr id="1272" name="Freeform: Shape 1271">
              <a:extLst>
                <a:ext uri="{FF2B5EF4-FFF2-40B4-BE49-F238E27FC236}">
                  <a16:creationId xmlns:a16="http://schemas.microsoft.com/office/drawing/2014/main" id="{7FA5C19A-8A7C-4A5D-BD8C-23F16075BA33}"/>
                </a:ext>
              </a:extLst>
            </p:cNvPr>
            <p:cNvSpPr/>
            <p:nvPr/>
          </p:nvSpPr>
          <p:spPr>
            <a:xfrm>
              <a:off x="7265468" y="6503684"/>
              <a:ext cx="11522" cy="14735"/>
            </a:xfrm>
            <a:custGeom>
              <a:avLst/>
              <a:gdLst>
                <a:gd name="connsiteX0" fmla="*/ 11523 w 11522"/>
                <a:gd name="connsiteY0" fmla="*/ 7368 h 14735"/>
                <a:gd name="connsiteX1" fmla="*/ 4153 w 11522"/>
                <a:gd name="connsiteY1" fmla="*/ 0 h 14735"/>
                <a:gd name="connsiteX2" fmla="*/ 0 w 11522"/>
                <a:gd name="connsiteY2" fmla="*/ 0 h 14735"/>
                <a:gd name="connsiteX3" fmla="*/ 7369 w 11522"/>
                <a:gd name="connsiteY3" fmla="*/ 7368 h 14735"/>
                <a:gd name="connsiteX4" fmla="*/ 268 w 11522"/>
                <a:gd name="connsiteY4" fmla="*/ 14735 h 14735"/>
                <a:gd name="connsiteX5" fmla="*/ 0 w 11522"/>
                <a:gd name="connsiteY5" fmla="*/ 14735 h 14735"/>
                <a:gd name="connsiteX6" fmla="*/ 4153 w 11522"/>
                <a:gd name="connsiteY6" fmla="*/ 14735 h 14735"/>
                <a:gd name="connsiteX7" fmla="*/ 11523 w 11522"/>
                <a:gd name="connsiteY7"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22" h="14735">
                  <a:moveTo>
                    <a:pt x="11523" y="7368"/>
                  </a:moveTo>
                  <a:cubicBezTo>
                    <a:pt x="11523" y="3295"/>
                    <a:pt x="8226" y="0"/>
                    <a:pt x="4153" y="0"/>
                  </a:cubicBezTo>
                  <a:lnTo>
                    <a:pt x="0" y="0"/>
                  </a:lnTo>
                  <a:cubicBezTo>
                    <a:pt x="4073" y="0"/>
                    <a:pt x="7369" y="3295"/>
                    <a:pt x="7369" y="7368"/>
                  </a:cubicBezTo>
                  <a:cubicBezTo>
                    <a:pt x="7450" y="11359"/>
                    <a:pt x="4260" y="14655"/>
                    <a:pt x="268" y="14735"/>
                  </a:cubicBezTo>
                  <a:cubicBezTo>
                    <a:pt x="174" y="14735"/>
                    <a:pt x="94" y="14735"/>
                    <a:pt x="0" y="14735"/>
                  </a:cubicBezTo>
                  <a:lnTo>
                    <a:pt x="4153" y="14735"/>
                  </a:lnTo>
                  <a:cubicBezTo>
                    <a:pt x="8226" y="14735"/>
                    <a:pt x="11523" y="11440"/>
                    <a:pt x="11523" y="7368"/>
                  </a:cubicBezTo>
                  <a:close/>
                </a:path>
              </a:pathLst>
            </a:custGeom>
            <a:solidFill>
              <a:srgbClr val="000000"/>
            </a:solidFill>
            <a:ln w="12700" cap="flat">
              <a:noFill/>
              <a:prstDash val="solid"/>
              <a:miter/>
            </a:ln>
          </p:spPr>
          <p:txBody>
            <a:bodyPr rtlCol="0" anchor="ctr"/>
            <a:lstStyle/>
            <a:p>
              <a:endParaRPr lang="en-US"/>
            </a:p>
          </p:txBody>
        </p:sp>
        <p:sp>
          <p:nvSpPr>
            <p:cNvPr id="1273" name="Freeform: Shape 1272">
              <a:extLst>
                <a:ext uri="{FF2B5EF4-FFF2-40B4-BE49-F238E27FC236}">
                  <a16:creationId xmlns:a16="http://schemas.microsoft.com/office/drawing/2014/main" id="{2EA9153A-93A1-4B3E-80F6-48AA7A173AF8}"/>
                </a:ext>
              </a:extLst>
            </p:cNvPr>
            <p:cNvSpPr/>
            <p:nvPr/>
          </p:nvSpPr>
          <p:spPr>
            <a:xfrm>
              <a:off x="7058205" y="6503684"/>
              <a:ext cx="214632" cy="14736"/>
            </a:xfrm>
            <a:custGeom>
              <a:avLst/>
              <a:gdLst>
                <a:gd name="connsiteX0" fmla="*/ 214632 w 214632"/>
                <a:gd name="connsiteY0" fmla="*/ 7368 h 14736"/>
                <a:gd name="connsiteX1" fmla="*/ 207263 w 214632"/>
                <a:gd name="connsiteY1" fmla="*/ 0 h 14736"/>
                <a:gd name="connsiteX2" fmla="*/ 0 w 214632"/>
                <a:gd name="connsiteY2" fmla="*/ 0 h 14736"/>
                <a:gd name="connsiteX3" fmla="*/ 7369 w 214632"/>
                <a:gd name="connsiteY3" fmla="*/ 7368 h 14736"/>
                <a:gd name="connsiteX4" fmla="*/ 0 w 214632"/>
                <a:gd name="connsiteY4" fmla="*/ 14735 h 14736"/>
                <a:gd name="connsiteX5" fmla="*/ 207263 w 214632"/>
                <a:gd name="connsiteY5" fmla="*/ 14735 h 14736"/>
                <a:gd name="connsiteX6" fmla="*/ 214632 w 214632"/>
                <a:gd name="connsiteY6" fmla="*/ 7635 h 14736"/>
                <a:gd name="connsiteX7" fmla="*/ 214632 w 214632"/>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32" h="14736">
                  <a:moveTo>
                    <a:pt x="214632" y="7368"/>
                  </a:moveTo>
                  <a:cubicBezTo>
                    <a:pt x="214632" y="3295"/>
                    <a:pt x="211336" y="0"/>
                    <a:pt x="207263" y="0"/>
                  </a:cubicBezTo>
                  <a:lnTo>
                    <a:pt x="0" y="0"/>
                  </a:lnTo>
                  <a:cubicBezTo>
                    <a:pt x="4073" y="0"/>
                    <a:pt x="7369" y="3295"/>
                    <a:pt x="7369" y="7368"/>
                  </a:cubicBezTo>
                  <a:cubicBezTo>
                    <a:pt x="7369" y="11440"/>
                    <a:pt x="4073" y="14735"/>
                    <a:pt x="0" y="14735"/>
                  </a:cubicBezTo>
                  <a:lnTo>
                    <a:pt x="207263" y="14735"/>
                  </a:lnTo>
                  <a:cubicBezTo>
                    <a:pt x="211256" y="14816"/>
                    <a:pt x="214551" y="11627"/>
                    <a:pt x="214632" y="7635"/>
                  </a:cubicBezTo>
                  <a:cubicBezTo>
                    <a:pt x="214632" y="7542"/>
                    <a:pt x="214632" y="7461"/>
                    <a:pt x="214632" y="7368"/>
                  </a:cubicBezTo>
                  <a:close/>
                </a:path>
              </a:pathLst>
            </a:custGeom>
            <a:solidFill>
              <a:srgbClr val="000000"/>
            </a:solidFill>
            <a:ln w="12700" cap="flat">
              <a:noFill/>
              <a:prstDash val="solid"/>
              <a:miter/>
            </a:ln>
          </p:spPr>
          <p:txBody>
            <a:bodyPr rtlCol="0" anchor="ctr"/>
            <a:lstStyle/>
            <a:p>
              <a:endParaRPr lang="en-US"/>
            </a:p>
          </p:txBody>
        </p:sp>
        <p:sp>
          <p:nvSpPr>
            <p:cNvPr id="1274" name="Freeform: Shape 1273">
              <a:extLst>
                <a:ext uri="{FF2B5EF4-FFF2-40B4-BE49-F238E27FC236}">
                  <a16:creationId xmlns:a16="http://schemas.microsoft.com/office/drawing/2014/main" id="{2E7CF808-D86E-4782-B9A4-1D0E4D3660E9}"/>
                </a:ext>
              </a:extLst>
            </p:cNvPr>
            <p:cNvSpPr/>
            <p:nvPr/>
          </p:nvSpPr>
          <p:spPr>
            <a:xfrm>
              <a:off x="6960401" y="6503684"/>
              <a:ext cx="105172" cy="14601"/>
            </a:xfrm>
            <a:custGeom>
              <a:avLst/>
              <a:gdLst>
                <a:gd name="connsiteX0" fmla="*/ 105172 w 105172"/>
                <a:gd name="connsiteY0" fmla="*/ 7368 h 14601"/>
                <a:gd name="connsiteX1" fmla="*/ 97803 w 105172"/>
                <a:gd name="connsiteY1" fmla="*/ 0 h 14601"/>
                <a:gd name="connsiteX2" fmla="*/ 7100 w 105172"/>
                <a:gd name="connsiteY2" fmla="*/ 0 h 14601"/>
                <a:gd name="connsiteX3" fmla="*/ 0 w 105172"/>
                <a:gd name="connsiteY3" fmla="*/ 7234 h 14601"/>
                <a:gd name="connsiteX4" fmla="*/ 3349 w 105172"/>
                <a:gd name="connsiteY4" fmla="*/ 13262 h 14601"/>
                <a:gd name="connsiteX5" fmla="*/ 7369 w 105172"/>
                <a:gd name="connsiteY5" fmla="*/ 14601 h 14601"/>
                <a:gd name="connsiteX6" fmla="*/ 97803 w 105172"/>
                <a:gd name="connsiteY6" fmla="*/ 14601 h 14601"/>
                <a:gd name="connsiteX7" fmla="*/ 105172 w 105172"/>
                <a:gd name="connsiteY7"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172" h="14601">
                  <a:moveTo>
                    <a:pt x="105172" y="7368"/>
                  </a:moveTo>
                  <a:cubicBezTo>
                    <a:pt x="105172" y="3295"/>
                    <a:pt x="101877" y="0"/>
                    <a:pt x="97803" y="0"/>
                  </a:cubicBezTo>
                  <a:lnTo>
                    <a:pt x="7100" y="0"/>
                  </a:lnTo>
                  <a:cubicBezTo>
                    <a:pt x="3188" y="147"/>
                    <a:pt x="67" y="3322"/>
                    <a:pt x="0" y="7234"/>
                  </a:cubicBezTo>
                  <a:cubicBezTo>
                    <a:pt x="26" y="9685"/>
                    <a:pt x="1286" y="11949"/>
                    <a:pt x="3349" y="13262"/>
                  </a:cubicBezTo>
                  <a:cubicBezTo>
                    <a:pt x="4515" y="14119"/>
                    <a:pt x="5921" y="14588"/>
                    <a:pt x="7369" y="14601"/>
                  </a:cubicBezTo>
                  <a:lnTo>
                    <a:pt x="97803" y="14601"/>
                  </a:lnTo>
                  <a:cubicBezTo>
                    <a:pt x="101823" y="14601"/>
                    <a:pt x="105105" y="11386"/>
                    <a:pt x="105172" y="7368"/>
                  </a:cubicBezTo>
                  <a:close/>
                </a:path>
              </a:pathLst>
            </a:custGeom>
            <a:solidFill>
              <a:srgbClr val="000000"/>
            </a:solidFill>
            <a:ln w="12700" cap="flat">
              <a:noFill/>
              <a:prstDash val="solid"/>
              <a:miter/>
            </a:ln>
          </p:spPr>
          <p:txBody>
            <a:bodyPr rtlCol="0" anchor="ctr"/>
            <a:lstStyle/>
            <a:p>
              <a:endParaRPr lang="en-US"/>
            </a:p>
          </p:txBody>
        </p:sp>
        <p:sp>
          <p:nvSpPr>
            <p:cNvPr id="1275" name="Freeform: Shape 1274">
              <a:extLst>
                <a:ext uri="{FF2B5EF4-FFF2-40B4-BE49-F238E27FC236}">
                  <a16:creationId xmlns:a16="http://schemas.microsoft.com/office/drawing/2014/main" id="{04A8C7F8-EDB1-4E92-94E4-E41DEE650AC5}"/>
                </a:ext>
              </a:extLst>
            </p:cNvPr>
            <p:cNvSpPr/>
            <p:nvPr/>
          </p:nvSpPr>
          <p:spPr>
            <a:xfrm>
              <a:off x="8594257" y="5623387"/>
              <a:ext cx="55656" cy="14737"/>
            </a:xfrm>
            <a:custGeom>
              <a:avLst/>
              <a:gdLst>
                <a:gd name="connsiteX0" fmla="*/ 7101 w 55656"/>
                <a:gd name="connsiteY0" fmla="*/ 68 h 14737"/>
                <a:gd name="connsiteX1" fmla="*/ 0 w 55656"/>
                <a:gd name="connsiteY1" fmla="*/ 68 h 14737"/>
                <a:gd name="connsiteX2" fmla="*/ 8293 w 55656"/>
                <a:gd name="connsiteY2" fmla="*/ 6377 h 14737"/>
                <a:gd name="connsiteX3" fmla="*/ 1983 w 55656"/>
                <a:gd name="connsiteY3" fmla="*/ 14669 h 14737"/>
                <a:gd name="connsiteX4" fmla="*/ 0 w 55656"/>
                <a:gd name="connsiteY4" fmla="*/ 14669 h 14737"/>
                <a:gd name="connsiteX5" fmla="*/ 47294 w 55656"/>
                <a:gd name="connsiteY5" fmla="*/ 14669 h 14737"/>
                <a:gd name="connsiteX6" fmla="*/ 55588 w 55656"/>
                <a:gd name="connsiteY6" fmla="*/ 8360 h 14737"/>
                <a:gd name="connsiteX7" fmla="*/ 49277 w 55656"/>
                <a:gd name="connsiteY7" fmla="*/ 68 h 14737"/>
                <a:gd name="connsiteX8" fmla="*/ 47294 w 55656"/>
                <a:gd name="connsiteY8" fmla="*/ 68 h 14737"/>
                <a:gd name="connsiteX9" fmla="*/ 7101 w 55656"/>
                <a:gd name="connsiteY9" fmla="*/ 68 h 1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56" h="14737">
                  <a:moveTo>
                    <a:pt x="7101" y="68"/>
                  </a:moveTo>
                  <a:lnTo>
                    <a:pt x="0" y="68"/>
                  </a:lnTo>
                  <a:cubicBezTo>
                    <a:pt x="4033" y="-480"/>
                    <a:pt x="7744" y="2345"/>
                    <a:pt x="8293" y="6377"/>
                  </a:cubicBezTo>
                  <a:cubicBezTo>
                    <a:pt x="8843" y="10409"/>
                    <a:pt x="6016" y="14121"/>
                    <a:pt x="1983" y="14669"/>
                  </a:cubicBezTo>
                  <a:cubicBezTo>
                    <a:pt x="1326" y="14759"/>
                    <a:pt x="657" y="14759"/>
                    <a:pt x="0" y="14669"/>
                  </a:cubicBezTo>
                  <a:lnTo>
                    <a:pt x="47294" y="14669"/>
                  </a:lnTo>
                  <a:cubicBezTo>
                    <a:pt x="51328" y="15217"/>
                    <a:pt x="55038" y="12392"/>
                    <a:pt x="55588" y="8360"/>
                  </a:cubicBezTo>
                  <a:cubicBezTo>
                    <a:pt x="56137" y="4328"/>
                    <a:pt x="53310" y="616"/>
                    <a:pt x="49277" y="68"/>
                  </a:cubicBezTo>
                  <a:cubicBezTo>
                    <a:pt x="48621" y="-22"/>
                    <a:pt x="47951" y="-22"/>
                    <a:pt x="47294" y="68"/>
                  </a:cubicBezTo>
                  <a:lnTo>
                    <a:pt x="7101" y="68"/>
                  </a:lnTo>
                  <a:close/>
                </a:path>
              </a:pathLst>
            </a:custGeom>
            <a:solidFill>
              <a:srgbClr val="000000"/>
            </a:solidFill>
            <a:ln w="12700" cap="flat">
              <a:noFill/>
              <a:prstDash val="solid"/>
              <a:miter/>
            </a:ln>
          </p:spPr>
          <p:txBody>
            <a:bodyPr rtlCol="0" anchor="ctr"/>
            <a:lstStyle/>
            <a:p>
              <a:endParaRPr lang="en-US"/>
            </a:p>
          </p:txBody>
        </p:sp>
        <p:sp>
          <p:nvSpPr>
            <p:cNvPr id="1276" name="Freeform: Shape 1275">
              <a:extLst>
                <a:ext uri="{FF2B5EF4-FFF2-40B4-BE49-F238E27FC236}">
                  <a16:creationId xmlns:a16="http://schemas.microsoft.com/office/drawing/2014/main" id="{707450DE-5D81-4D27-A31C-F09DE04CE147}"/>
                </a:ext>
              </a:extLst>
            </p:cNvPr>
            <p:cNvSpPr/>
            <p:nvPr/>
          </p:nvSpPr>
          <p:spPr>
            <a:xfrm>
              <a:off x="10004505" y="5921508"/>
              <a:ext cx="14738" cy="550695"/>
            </a:xfrm>
            <a:custGeom>
              <a:avLst/>
              <a:gdLst>
                <a:gd name="connsiteX0" fmla="*/ 0 w 14738"/>
                <a:gd name="connsiteY0" fmla="*/ 7368 h 550695"/>
                <a:gd name="connsiteX1" fmla="*/ 0 w 14738"/>
                <a:gd name="connsiteY1" fmla="*/ 550696 h 550695"/>
                <a:gd name="connsiteX2" fmla="*/ 14738 w 14738"/>
                <a:gd name="connsiteY2" fmla="*/ 550696 h 550695"/>
                <a:gd name="connsiteX3" fmla="*/ 14738 w 14738"/>
                <a:gd name="connsiteY3" fmla="*/ 7368 h 550695"/>
                <a:gd name="connsiteX4" fmla="*/ 7369 w 14738"/>
                <a:gd name="connsiteY4" fmla="*/ 0 h 550695"/>
                <a:gd name="connsiteX5" fmla="*/ 0 w 14738"/>
                <a:gd name="connsiteY5" fmla="*/ 7368 h 5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550695">
                  <a:moveTo>
                    <a:pt x="0" y="7368"/>
                  </a:moveTo>
                  <a:lnTo>
                    <a:pt x="0" y="550696"/>
                  </a:lnTo>
                  <a:lnTo>
                    <a:pt x="14738" y="550696"/>
                  </a:ln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277" name="Freeform: Shape 1276">
              <a:extLst>
                <a:ext uri="{FF2B5EF4-FFF2-40B4-BE49-F238E27FC236}">
                  <a16:creationId xmlns:a16="http://schemas.microsoft.com/office/drawing/2014/main" id="{C8399541-A4B1-48C9-AC21-02FD2C8D5925}"/>
                </a:ext>
              </a:extLst>
            </p:cNvPr>
            <p:cNvSpPr/>
            <p:nvPr/>
          </p:nvSpPr>
          <p:spPr>
            <a:xfrm>
              <a:off x="5803639" y="6579905"/>
              <a:ext cx="50" cy="2009"/>
            </a:xfrm>
            <a:custGeom>
              <a:avLst/>
              <a:gdLst>
                <a:gd name="connsiteX0" fmla="*/ 0 w 50"/>
                <a:gd name="connsiteY0" fmla="*/ 0 h 2009"/>
                <a:gd name="connsiteX1" fmla="*/ 0 w 50"/>
                <a:gd name="connsiteY1" fmla="*/ 2009 h 2009"/>
                <a:gd name="connsiteX2" fmla="*/ 0 w 50"/>
                <a:gd name="connsiteY2" fmla="*/ 2009 h 2009"/>
                <a:gd name="connsiteX3" fmla="*/ 0 w 50"/>
                <a:gd name="connsiteY3" fmla="*/ 402 h 2009"/>
              </a:gdLst>
              <a:ahLst/>
              <a:cxnLst>
                <a:cxn ang="0">
                  <a:pos x="connsiteX0" y="connsiteY0"/>
                </a:cxn>
                <a:cxn ang="0">
                  <a:pos x="connsiteX1" y="connsiteY1"/>
                </a:cxn>
                <a:cxn ang="0">
                  <a:pos x="connsiteX2" y="connsiteY2"/>
                </a:cxn>
                <a:cxn ang="0">
                  <a:pos x="connsiteX3" y="connsiteY3"/>
                </a:cxn>
              </a:cxnLst>
              <a:rect l="l" t="t" r="r" b="b"/>
              <a:pathLst>
                <a:path w="50" h="2009">
                  <a:moveTo>
                    <a:pt x="0" y="0"/>
                  </a:moveTo>
                  <a:cubicBezTo>
                    <a:pt x="67" y="670"/>
                    <a:pt x="67" y="1339"/>
                    <a:pt x="0" y="2009"/>
                  </a:cubicBezTo>
                  <a:lnTo>
                    <a:pt x="0" y="2009"/>
                  </a:lnTo>
                  <a:cubicBezTo>
                    <a:pt x="0" y="2009"/>
                    <a:pt x="0" y="938"/>
                    <a:pt x="0" y="402"/>
                  </a:cubicBezTo>
                  <a:close/>
                </a:path>
              </a:pathLst>
            </a:custGeom>
            <a:solidFill>
              <a:srgbClr val="000000"/>
            </a:solidFill>
            <a:ln w="12700" cap="flat">
              <a:noFill/>
              <a:prstDash val="solid"/>
              <a:miter/>
            </a:ln>
          </p:spPr>
          <p:txBody>
            <a:bodyPr rtlCol="0" anchor="ctr"/>
            <a:lstStyle/>
            <a:p>
              <a:endParaRPr lang="en-US"/>
            </a:p>
          </p:txBody>
        </p:sp>
        <p:sp>
          <p:nvSpPr>
            <p:cNvPr id="1278" name="Freeform: Shape 1277">
              <a:extLst>
                <a:ext uri="{FF2B5EF4-FFF2-40B4-BE49-F238E27FC236}">
                  <a16:creationId xmlns:a16="http://schemas.microsoft.com/office/drawing/2014/main" id="{1CB33517-2ACF-4B4D-94F7-9E7101847E18}"/>
                </a:ext>
              </a:extLst>
            </p:cNvPr>
            <p:cNvSpPr/>
            <p:nvPr/>
          </p:nvSpPr>
          <p:spPr>
            <a:xfrm>
              <a:off x="5789253" y="6579905"/>
              <a:ext cx="49" cy="2009"/>
            </a:xfrm>
            <a:custGeom>
              <a:avLst/>
              <a:gdLst>
                <a:gd name="connsiteX0" fmla="*/ 50 w 49"/>
                <a:gd name="connsiteY0" fmla="*/ 2009 h 2009"/>
                <a:gd name="connsiteX1" fmla="*/ 50 w 49"/>
                <a:gd name="connsiteY1" fmla="*/ 0 h 2009"/>
                <a:gd name="connsiteX2" fmla="*/ 50 w 49"/>
                <a:gd name="connsiteY2" fmla="*/ 0 h 2009"/>
                <a:gd name="connsiteX3" fmla="*/ 50 w 49"/>
                <a:gd name="connsiteY3" fmla="*/ 1607 h 2009"/>
              </a:gdLst>
              <a:ahLst/>
              <a:cxnLst>
                <a:cxn ang="0">
                  <a:pos x="connsiteX0" y="connsiteY0"/>
                </a:cxn>
                <a:cxn ang="0">
                  <a:pos x="connsiteX1" y="connsiteY1"/>
                </a:cxn>
                <a:cxn ang="0">
                  <a:pos x="connsiteX2" y="connsiteY2"/>
                </a:cxn>
                <a:cxn ang="0">
                  <a:pos x="connsiteX3" y="connsiteY3"/>
                </a:cxn>
              </a:cxnLst>
              <a:rect l="l" t="t" r="r" b="b"/>
              <a:pathLst>
                <a:path w="49" h="2009">
                  <a:moveTo>
                    <a:pt x="50" y="2009"/>
                  </a:moveTo>
                  <a:cubicBezTo>
                    <a:pt x="-17" y="1339"/>
                    <a:pt x="-17" y="670"/>
                    <a:pt x="50" y="0"/>
                  </a:cubicBezTo>
                  <a:lnTo>
                    <a:pt x="50" y="0"/>
                  </a:lnTo>
                  <a:cubicBezTo>
                    <a:pt x="50" y="0"/>
                    <a:pt x="50" y="1072"/>
                    <a:pt x="50" y="1607"/>
                  </a:cubicBezTo>
                  <a:close/>
                </a:path>
              </a:pathLst>
            </a:custGeom>
            <a:solidFill>
              <a:srgbClr val="000000"/>
            </a:solidFill>
            <a:ln w="12700" cap="flat">
              <a:noFill/>
              <a:prstDash val="solid"/>
              <a:miter/>
            </a:ln>
          </p:spPr>
          <p:txBody>
            <a:bodyPr rtlCol="0" anchor="ctr"/>
            <a:lstStyle/>
            <a:p>
              <a:endParaRPr lang="en-US"/>
            </a:p>
          </p:txBody>
        </p:sp>
        <p:sp>
          <p:nvSpPr>
            <p:cNvPr id="1279" name="Freeform: Shape 1278">
              <a:extLst>
                <a:ext uri="{FF2B5EF4-FFF2-40B4-BE49-F238E27FC236}">
                  <a16:creationId xmlns:a16="http://schemas.microsoft.com/office/drawing/2014/main" id="{E834D03E-5B57-4BE7-B602-E7F98DF05F59}"/>
                </a:ext>
              </a:extLst>
            </p:cNvPr>
            <p:cNvSpPr/>
            <p:nvPr/>
          </p:nvSpPr>
          <p:spPr>
            <a:xfrm>
              <a:off x="6225400" y="6581915"/>
              <a:ext cx="14737" cy="271798"/>
            </a:xfrm>
            <a:custGeom>
              <a:avLst/>
              <a:gdLst>
                <a:gd name="connsiteX0" fmla="*/ 14738 w 14737"/>
                <a:gd name="connsiteY0" fmla="*/ 0 h 271798"/>
                <a:gd name="connsiteX1" fmla="*/ 7369 w 14737"/>
                <a:gd name="connsiteY1" fmla="*/ 7368 h 271798"/>
                <a:gd name="connsiteX2" fmla="*/ 0 w 14737"/>
                <a:gd name="connsiteY2" fmla="*/ 0 h 271798"/>
                <a:gd name="connsiteX3" fmla="*/ 0 w 14737"/>
                <a:gd name="connsiteY3" fmla="*/ 271798 h 271798"/>
                <a:gd name="connsiteX4" fmla="*/ 14738 w 14737"/>
                <a:gd name="connsiteY4" fmla="*/ 271798 h 271798"/>
                <a:gd name="connsiteX5" fmla="*/ 14738 w 14737"/>
                <a:gd name="connsiteY5" fmla="*/ 0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14738" y="0"/>
                  </a:moveTo>
                  <a:cubicBezTo>
                    <a:pt x="14738" y="4072"/>
                    <a:pt x="11442" y="7368"/>
                    <a:pt x="7369" y="7368"/>
                  </a:cubicBezTo>
                  <a:cubicBezTo>
                    <a:pt x="3296" y="7368"/>
                    <a:pt x="0" y="4072"/>
                    <a:pt x="0" y="0"/>
                  </a:cubicBezTo>
                  <a:lnTo>
                    <a:pt x="0" y="271798"/>
                  </a:lnTo>
                  <a:lnTo>
                    <a:pt x="14738" y="271798"/>
                  </a:lnTo>
                  <a:lnTo>
                    <a:pt x="14738" y="0"/>
                  </a:lnTo>
                  <a:close/>
                </a:path>
              </a:pathLst>
            </a:custGeom>
            <a:solidFill>
              <a:srgbClr val="000000"/>
            </a:solidFill>
            <a:ln w="12700" cap="flat">
              <a:noFill/>
              <a:prstDash val="solid"/>
              <a:miter/>
            </a:ln>
          </p:spPr>
          <p:txBody>
            <a:bodyPr rtlCol="0" anchor="ctr"/>
            <a:lstStyle/>
            <a:p>
              <a:endParaRPr lang="en-US"/>
            </a:p>
          </p:txBody>
        </p:sp>
        <p:sp>
          <p:nvSpPr>
            <p:cNvPr id="1280" name="Freeform: Shape 1279">
              <a:extLst>
                <a:ext uri="{FF2B5EF4-FFF2-40B4-BE49-F238E27FC236}">
                  <a16:creationId xmlns:a16="http://schemas.microsoft.com/office/drawing/2014/main" id="{63C306C1-00C9-48FD-A38E-3C82F2706787}"/>
                </a:ext>
              </a:extLst>
            </p:cNvPr>
            <p:cNvSpPr/>
            <p:nvPr/>
          </p:nvSpPr>
          <p:spPr>
            <a:xfrm>
              <a:off x="9479179" y="6512123"/>
              <a:ext cx="14737" cy="8574"/>
            </a:xfrm>
            <a:custGeom>
              <a:avLst/>
              <a:gdLst>
                <a:gd name="connsiteX0" fmla="*/ 7369 w 14737"/>
                <a:gd name="connsiteY0" fmla="*/ 8573 h 8574"/>
                <a:gd name="connsiteX1" fmla="*/ 14737 w 14737"/>
                <a:gd name="connsiteY1" fmla="*/ 1474 h 8574"/>
                <a:gd name="connsiteX2" fmla="*/ 14737 w 14737"/>
                <a:gd name="connsiteY2" fmla="*/ 1206 h 8574"/>
                <a:gd name="connsiteX3" fmla="*/ 14737 w 14737"/>
                <a:gd name="connsiteY3" fmla="*/ 0 h 8574"/>
                <a:gd name="connsiteX4" fmla="*/ 7369 w 14737"/>
                <a:gd name="connsiteY4" fmla="*/ 7368 h 8574"/>
                <a:gd name="connsiteX5" fmla="*/ 0 w 14737"/>
                <a:gd name="connsiteY5" fmla="*/ 0 h 8574"/>
                <a:gd name="connsiteX6" fmla="*/ 0 w 14737"/>
                <a:gd name="connsiteY6" fmla="*/ 1206 h 8574"/>
                <a:gd name="connsiteX7" fmla="*/ 7369 w 14737"/>
                <a:gd name="connsiteY7" fmla="*/ 8573 h 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8574">
                  <a:moveTo>
                    <a:pt x="7369" y="8573"/>
                  </a:moveTo>
                  <a:cubicBezTo>
                    <a:pt x="11361" y="8654"/>
                    <a:pt x="14657" y="5465"/>
                    <a:pt x="14737" y="1474"/>
                  </a:cubicBezTo>
                  <a:cubicBezTo>
                    <a:pt x="14737" y="1380"/>
                    <a:pt x="14737" y="1299"/>
                    <a:pt x="14737" y="1206"/>
                  </a:cubicBezTo>
                  <a:lnTo>
                    <a:pt x="14737" y="0"/>
                  </a:lnTo>
                  <a:cubicBezTo>
                    <a:pt x="14737" y="4072"/>
                    <a:pt x="11442" y="7368"/>
                    <a:pt x="7369" y="7368"/>
                  </a:cubicBezTo>
                  <a:cubicBezTo>
                    <a:pt x="3295" y="7368"/>
                    <a:pt x="0" y="4072"/>
                    <a:pt x="0" y="0"/>
                  </a:cubicBezTo>
                  <a:lnTo>
                    <a:pt x="0" y="1206"/>
                  </a:lnTo>
                  <a:cubicBezTo>
                    <a:pt x="0" y="5278"/>
                    <a:pt x="3295" y="8573"/>
                    <a:pt x="7369" y="8573"/>
                  </a:cubicBezTo>
                  <a:close/>
                </a:path>
              </a:pathLst>
            </a:custGeom>
            <a:solidFill>
              <a:srgbClr val="000000"/>
            </a:solidFill>
            <a:ln w="12700" cap="flat">
              <a:noFill/>
              <a:prstDash val="solid"/>
              <a:miter/>
            </a:ln>
          </p:spPr>
          <p:txBody>
            <a:bodyPr rtlCol="0" anchor="ctr"/>
            <a:lstStyle/>
            <a:p>
              <a:endParaRPr lang="en-US"/>
            </a:p>
          </p:txBody>
        </p:sp>
        <p:sp>
          <p:nvSpPr>
            <p:cNvPr id="1281" name="Freeform: Shape 1280">
              <a:extLst>
                <a:ext uri="{FF2B5EF4-FFF2-40B4-BE49-F238E27FC236}">
                  <a16:creationId xmlns:a16="http://schemas.microsoft.com/office/drawing/2014/main" id="{7829EDF2-EE53-4CFC-9DCB-C0EA120700A6}"/>
                </a:ext>
              </a:extLst>
            </p:cNvPr>
            <p:cNvSpPr/>
            <p:nvPr/>
          </p:nvSpPr>
          <p:spPr>
            <a:xfrm>
              <a:off x="9479179" y="5755804"/>
              <a:ext cx="14737" cy="763687"/>
            </a:xfrm>
            <a:custGeom>
              <a:avLst/>
              <a:gdLst>
                <a:gd name="connsiteX0" fmla="*/ 0 w 14737"/>
                <a:gd name="connsiteY0" fmla="*/ 7368 h 763687"/>
                <a:gd name="connsiteX1" fmla="*/ 0 w 14737"/>
                <a:gd name="connsiteY1" fmla="*/ 756319 h 763687"/>
                <a:gd name="connsiteX2" fmla="*/ 7369 w 14737"/>
                <a:gd name="connsiteY2" fmla="*/ 763687 h 763687"/>
                <a:gd name="connsiteX3" fmla="*/ 14737 w 14737"/>
                <a:gd name="connsiteY3" fmla="*/ 756319 h 763687"/>
                <a:gd name="connsiteX4" fmla="*/ 14737 w 14737"/>
                <a:gd name="connsiteY4" fmla="*/ 7368 h 763687"/>
                <a:gd name="connsiteX5" fmla="*/ 7369 w 14737"/>
                <a:gd name="connsiteY5" fmla="*/ 0 h 763687"/>
                <a:gd name="connsiteX6" fmla="*/ 0 w 14737"/>
                <a:gd name="connsiteY6" fmla="*/ 7368 h 76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763687">
                  <a:moveTo>
                    <a:pt x="0" y="7368"/>
                  </a:moveTo>
                  <a:lnTo>
                    <a:pt x="0" y="756319"/>
                  </a:lnTo>
                  <a:cubicBezTo>
                    <a:pt x="0" y="760392"/>
                    <a:pt x="3295" y="763687"/>
                    <a:pt x="7369" y="763687"/>
                  </a:cubicBezTo>
                  <a:cubicBezTo>
                    <a:pt x="11442" y="763687"/>
                    <a:pt x="14737" y="760392"/>
                    <a:pt x="14737" y="756319"/>
                  </a:cubicBezTo>
                  <a:lnTo>
                    <a:pt x="14737" y="7368"/>
                  </a:lnTo>
                  <a:cubicBezTo>
                    <a:pt x="14737" y="3298"/>
                    <a:pt x="11442" y="0"/>
                    <a:pt x="7369" y="0"/>
                  </a:cubicBezTo>
                  <a:cubicBezTo>
                    <a:pt x="3295"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282" name="Freeform: Shape 1281">
              <a:extLst>
                <a:ext uri="{FF2B5EF4-FFF2-40B4-BE49-F238E27FC236}">
                  <a16:creationId xmlns:a16="http://schemas.microsoft.com/office/drawing/2014/main" id="{126EF01B-83B0-42C4-8189-925FA929A48B}"/>
                </a:ext>
              </a:extLst>
            </p:cNvPr>
            <p:cNvSpPr/>
            <p:nvPr/>
          </p:nvSpPr>
          <p:spPr>
            <a:xfrm>
              <a:off x="8729575" y="6520027"/>
              <a:ext cx="14291" cy="9108"/>
            </a:xfrm>
            <a:custGeom>
              <a:avLst/>
              <a:gdLst>
                <a:gd name="connsiteX0" fmla="*/ 7369 w 14291"/>
                <a:gd name="connsiteY0" fmla="*/ 7234 h 9108"/>
                <a:gd name="connsiteX1" fmla="*/ 0 w 14291"/>
                <a:gd name="connsiteY1" fmla="*/ 134 h 9108"/>
                <a:gd name="connsiteX2" fmla="*/ 0 w 14291"/>
                <a:gd name="connsiteY2" fmla="*/ 0 h 9108"/>
                <a:gd name="connsiteX3" fmla="*/ 0 w 14291"/>
                <a:gd name="connsiteY3" fmla="*/ 1741 h 9108"/>
                <a:gd name="connsiteX4" fmla="*/ 7369 w 14291"/>
                <a:gd name="connsiteY4" fmla="*/ 9109 h 9108"/>
                <a:gd name="connsiteX5" fmla="*/ 14202 w 14291"/>
                <a:gd name="connsiteY5" fmla="*/ 4554 h 9108"/>
                <a:gd name="connsiteX6" fmla="*/ 14202 w 14291"/>
                <a:gd name="connsiteY6" fmla="*/ 1741 h 9108"/>
                <a:gd name="connsiteX7" fmla="*/ 14202 w 14291"/>
                <a:gd name="connsiteY7" fmla="*/ 0 h 9108"/>
                <a:gd name="connsiteX8" fmla="*/ 7369 w 14291"/>
                <a:gd name="connsiteY8" fmla="*/ 7234 h 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1" h="9108">
                  <a:moveTo>
                    <a:pt x="7369" y="7234"/>
                  </a:moveTo>
                  <a:cubicBezTo>
                    <a:pt x="3376" y="7314"/>
                    <a:pt x="80" y="4126"/>
                    <a:pt x="0" y="134"/>
                  </a:cubicBezTo>
                  <a:cubicBezTo>
                    <a:pt x="0" y="94"/>
                    <a:pt x="0" y="40"/>
                    <a:pt x="0" y="0"/>
                  </a:cubicBezTo>
                  <a:lnTo>
                    <a:pt x="0" y="1741"/>
                  </a:lnTo>
                  <a:cubicBezTo>
                    <a:pt x="0" y="5814"/>
                    <a:pt x="3295" y="9109"/>
                    <a:pt x="7369" y="9109"/>
                  </a:cubicBezTo>
                  <a:cubicBezTo>
                    <a:pt x="10343" y="9082"/>
                    <a:pt x="13036" y="7301"/>
                    <a:pt x="14202" y="4554"/>
                  </a:cubicBezTo>
                  <a:cubicBezTo>
                    <a:pt x="14322" y="3617"/>
                    <a:pt x="14322" y="2679"/>
                    <a:pt x="14202" y="1741"/>
                  </a:cubicBezTo>
                  <a:lnTo>
                    <a:pt x="14202" y="0"/>
                  </a:lnTo>
                  <a:cubicBezTo>
                    <a:pt x="14148" y="3818"/>
                    <a:pt x="11174" y="6952"/>
                    <a:pt x="7369" y="7234"/>
                  </a:cubicBezTo>
                  <a:close/>
                </a:path>
              </a:pathLst>
            </a:custGeom>
            <a:solidFill>
              <a:srgbClr val="000000"/>
            </a:solidFill>
            <a:ln w="12700" cap="flat">
              <a:noFill/>
              <a:prstDash val="solid"/>
              <a:miter/>
            </a:ln>
          </p:spPr>
          <p:txBody>
            <a:bodyPr rtlCol="0" anchor="ctr"/>
            <a:lstStyle/>
            <a:p>
              <a:endParaRPr lang="en-US"/>
            </a:p>
          </p:txBody>
        </p:sp>
        <p:sp>
          <p:nvSpPr>
            <p:cNvPr id="1283" name="Freeform: Shape 1282">
              <a:extLst>
                <a:ext uri="{FF2B5EF4-FFF2-40B4-BE49-F238E27FC236}">
                  <a16:creationId xmlns:a16="http://schemas.microsoft.com/office/drawing/2014/main" id="{5723C34A-1853-4AC3-82BE-9B8455322498}"/>
                </a:ext>
              </a:extLst>
            </p:cNvPr>
            <p:cNvSpPr/>
            <p:nvPr/>
          </p:nvSpPr>
          <p:spPr>
            <a:xfrm>
              <a:off x="8729793" y="6504046"/>
              <a:ext cx="14787" cy="23616"/>
            </a:xfrm>
            <a:custGeom>
              <a:avLst/>
              <a:gdLst>
                <a:gd name="connsiteX0" fmla="*/ 8624 w 14787"/>
                <a:gd name="connsiteY0" fmla="*/ 40 h 23616"/>
                <a:gd name="connsiteX1" fmla="*/ 7151 w 14787"/>
                <a:gd name="connsiteY1" fmla="*/ 40 h 23616"/>
                <a:gd name="connsiteX2" fmla="*/ 50 w 14787"/>
                <a:gd name="connsiteY2" fmla="*/ 6202 h 23616"/>
                <a:gd name="connsiteX3" fmla="*/ 50 w 14787"/>
                <a:gd name="connsiteY3" fmla="*/ 7408 h 23616"/>
                <a:gd name="connsiteX4" fmla="*/ 50 w 14787"/>
                <a:gd name="connsiteY4" fmla="*/ 16383 h 23616"/>
                <a:gd name="connsiteX5" fmla="*/ 7285 w 14787"/>
                <a:gd name="connsiteY5" fmla="*/ 23616 h 23616"/>
                <a:gd name="connsiteX6" fmla="*/ 7419 w 14787"/>
                <a:gd name="connsiteY6" fmla="*/ 23616 h 23616"/>
                <a:gd name="connsiteX7" fmla="*/ 14787 w 14787"/>
                <a:gd name="connsiteY7" fmla="*/ 16383 h 23616"/>
                <a:gd name="connsiteX8" fmla="*/ 14787 w 14787"/>
                <a:gd name="connsiteY8" fmla="*/ 7408 h 23616"/>
                <a:gd name="connsiteX9" fmla="*/ 10500 w 14787"/>
                <a:gd name="connsiteY9" fmla="*/ 844 h 23616"/>
                <a:gd name="connsiteX10" fmla="*/ 10500 w 14787"/>
                <a:gd name="connsiteY10" fmla="*/ 844 h 2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87" h="23616">
                  <a:moveTo>
                    <a:pt x="8624" y="40"/>
                  </a:moveTo>
                  <a:cubicBezTo>
                    <a:pt x="8129" y="-13"/>
                    <a:pt x="7633" y="-13"/>
                    <a:pt x="7151" y="40"/>
                  </a:cubicBezTo>
                  <a:cubicBezTo>
                    <a:pt x="3614" y="120"/>
                    <a:pt x="626" y="2706"/>
                    <a:pt x="50" y="6202"/>
                  </a:cubicBezTo>
                  <a:cubicBezTo>
                    <a:pt x="-17" y="6604"/>
                    <a:pt x="-17" y="7006"/>
                    <a:pt x="50" y="7408"/>
                  </a:cubicBezTo>
                  <a:lnTo>
                    <a:pt x="50" y="16383"/>
                  </a:lnTo>
                  <a:cubicBezTo>
                    <a:pt x="50" y="20375"/>
                    <a:pt x="3292" y="23616"/>
                    <a:pt x="7285" y="23616"/>
                  </a:cubicBezTo>
                  <a:cubicBezTo>
                    <a:pt x="7325" y="23616"/>
                    <a:pt x="7379" y="23616"/>
                    <a:pt x="7419" y="23616"/>
                  </a:cubicBezTo>
                  <a:cubicBezTo>
                    <a:pt x="11438" y="23616"/>
                    <a:pt x="14720" y="20402"/>
                    <a:pt x="14787" y="16383"/>
                  </a:cubicBezTo>
                  <a:lnTo>
                    <a:pt x="14787" y="7408"/>
                  </a:lnTo>
                  <a:cubicBezTo>
                    <a:pt x="14734" y="4581"/>
                    <a:pt x="13073" y="2023"/>
                    <a:pt x="10500" y="844"/>
                  </a:cubicBezTo>
                  <a:lnTo>
                    <a:pt x="10500" y="844"/>
                  </a:lnTo>
                  <a:close/>
                </a:path>
              </a:pathLst>
            </a:custGeom>
            <a:solidFill>
              <a:srgbClr val="000000"/>
            </a:solidFill>
            <a:ln w="12700" cap="flat">
              <a:noFill/>
              <a:prstDash val="solid"/>
              <a:miter/>
            </a:ln>
          </p:spPr>
          <p:txBody>
            <a:bodyPr rtlCol="0" anchor="ctr"/>
            <a:lstStyle/>
            <a:p>
              <a:endParaRPr lang="en-US"/>
            </a:p>
          </p:txBody>
        </p:sp>
        <p:sp>
          <p:nvSpPr>
            <p:cNvPr id="1284" name="Freeform: Shape 1283">
              <a:extLst>
                <a:ext uri="{FF2B5EF4-FFF2-40B4-BE49-F238E27FC236}">
                  <a16:creationId xmlns:a16="http://schemas.microsoft.com/office/drawing/2014/main" id="{76CC908A-6814-4763-A624-5207373942C4}"/>
                </a:ext>
              </a:extLst>
            </p:cNvPr>
            <p:cNvSpPr/>
            <p:nvPr/>
          </p:nvSpPr>
          <p:spPr>
            <a:xfrm>
              <a:off x="9596235" y="5941506"/>
              <a:ext cx="14777" cy="537395"/>
            </a:xfrm>
            <a:custGeom>
              <a:avLst/>
              <a:gdLst>
                <a:gd name="connsiteX0" fmla="*/ 13840 w 14777"/>
                <a:gd name="connsiteY0" fmla="*/ 13223 h 537395"/>
                <a:gd name="connsiteX1" fmla="*/ 13840 w 14777"/>
                <a:gd name="connsiteY1" fmla="*/ 7463 h 537395"/>
                <a:gd name="connsiteX2" fmla="*/ 6739 w 14777"/>
                <a:gd name="connsiteY2" fmla="*/ 95 h 537395"/>
                <a:gd name="connsiteX3" fmla="*/ 6471 w 14777"/>
                <a:gd name="connsiteY3" fmla="*/ 95 h 537395"/>
                <a:gd name="connsiteX4" fmla="*/ 4194 w 14777"/>
                <a:gd name="connsiteY4" fmla="*/ 95 h 537395"/>
                <a:gd name="connsiteX5" fmla="*/ 2853 w 14777"/>
                <a:gd name="connsiteY5" fmla="*/ 95 h 537395"/>
                <a:gd name="connsiteX6" fmla="*/ 1782 w 14777"/>
                <a:gd name="connsiteY6" fmla="*/ 899 h 537395"/>
                <a:gd name="connsiteX7" fmla="*/ 844 w 14777"/>
                <a:gd name="connsiteY7" fmla="*/ 1837 h 537395"/>
                <a:gd name="connsiteX8" fmla="*/ 40 w 14777"/>
                <a:gd name="connsiteY8" fmla="*/ 3042 h 537395"/>
                <a:gd name="connsiteX9" fmla="*/ 40 w 14777"/>
                <a:gd name="connsiteY9" fmla="*/ 4248 h 537395"/>
                <a:gd name="connsiteX10" fmla="*/ 40 w 14777"/>
                <a:gd name="connsiteY10" fmla="*/ 5722 h 537395"/>
                <a:gd name="connsiteX11" fmla="*/ 40 w 14777"/>
                <a:gd name="connsiteY11" fmla="*/ 5722 h 537395"/>
                <a:gd name="connsiteX12" fmla="*/ 40 w 14777"/>
                <a:gd name="connsiteY12" fmla="*/ 537396 h 537395"/>
                <a:gd name="connsiteX13" fmla="*/ 14778 w 14777"/>
                <a:gd name="connsiteY13" fmla="*/ 537396 h 53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7" h="537395">
                  <a:moveTo>
                    <a:pt x="13840" y="13223"/>
                  </a:moveTo>
                  <a:lnTo>
                    <a:pt x="13840" y="7463"/>
                  </a:lnTo>
                  <a:cubicBezTo>
                    <a:pt x="13921" y="3468"/>
                    <a:pt x="10732" y="170"/>
                    <a:pt x="6739" y="95"/>
                  </a:cubicBezTo>
                  <a:cubicBezTo>
                    <a:pt x="6645" y="94"/>
                    <a:pt x="6565" y="94"/>
                    <a:pt x="6471" y="95"/>
                  </a:cubicBezTo>
                  <a:cubicBezTo>
                    <a:pt x="5721" y="-32"/>
                    <a:pt x="4944" y="-32"/>
                    <a:pt x="4194" y="95"/>
                  </a:cubicBezTo>
                  <a:lnTo>
                    <a:pt x="2853" y="95"/>
                  </a:lnTo>
                  <a:cubicBezTo>
                    <a:pt x="2439" y="286"/>
                    <a:pt x="2077" y="559"/>
                    <a:pt x="1782" y="899"/>
                  </a:cubicBezTo>
                  <a:cubicBezTo>
                    <a:pt x="1407" y="1140"/>
                    <a:pt x="1086" y="1461"/>
                    <a:pt x="844" y="1837"/>
                  </a:cubicBezTo>
                  <a:lnTo>
                    <a:pt x="40" y="3042"/>
                  </a:lnTo>
                  <a:cubicBezTo>
                    <a:pt x="-13" y="3443"/>
                    <a:pt x="-13" y="3848"/>
                    <a:pt x="40" y="4248"/>
                  </a:cubicBezTo>
                  <a:cubicBezTo>
                    <a:pt x="40" y="4248"/>
                    <a:pt x="40" y="5320"/>
                    <a:pt x="40" y="5722"/>
                  </a:cubicBezTo>
                  <a:cubicBezTo>
                    <a:pt x="40" y="6124"/>
                    <a:pt x="40" y="5722"/>
                    <a:pt x="40" y="5722"/>
                  </a:cubicBezTo>
                  <a:lnTo>
                    <a:pt x="40" y="537396"/>
                  </a:lnTo>
                  <a:lnTo>
                    <a:pt x="14778" y="537396"/>
                  </a:lnTo>
                  <a:close/>
                </a:path>
              </a:pathLst>
            </a:custGeom>
            <a:solidFill>
              <a:srgbClr val="000000"/>
            </a:solidFill>
            <a:ln w="12700" cap="flat">
              <a:noFill/>
              <a:prstDash val="solid"/>
              <a:miter/>
            </a:ln>
          </p:spPr>
          <p:txBody>
            <a:bodyPr rtlCol="0" anchor="ctr"/>
            <a:lstStyle/>
            <a:p>
              <a:endParaRPr lang="en-US"/>
            </a:p>
          </p:txBody>
        </p:sp>
        <p:sp>
          <p:nvSpPr>
            <p:cNvPr id="1285" name="Freeform: Shape 1284">
              <a:extLst>
                <a:ext uri="{FF2B5EF4-FFF2-40B4-BE49-F238E27FC236}">
                  <a16:creationId xmlns:a16="http://schemas.microsoft.com/office/drawing/2014/main" id="{A8605FF4-0740-425D-B10D-C86F378BEE5C}"/>
                </a:ext>
              </a:extLst>
            </p:cNvPr>
            <p:cNvSpPr/>
            <p:nvPr/>
          </p:nvSpPr>
          <p:spPr>
            <a:xfrm>
              <a:off x="7274578" y="5863505"/>
              <a:ext cx="8708" cy="14735"/>
            </a:xfrm>
            <a:custGeom>
              <a:avLst/>
              <a:gdLst>
                <a:gd name="connsiteX0" fmla="*/ 7369 w 8708"/>
                <a:gd name="connsiteY0" fmla="*/ 7368 h 14735"/>
                <a:gd name="connsiteX1" fmla="*/ 0 w 8708"/>
                <a:gd name="connsiteY1" fmla="*/ 14735 h 14735"/>
                <a:gd name="connsiteX2" fmla="*/ 1340 w 8708"/>
                <a:gd name="connsiteY2" fmla="*/ 14735 h 14735"/>
                <a:gd name="connsiteX3" fmla="*/ 8709 w 8708"/>
                <a:gd name="connsiteY3" fmla="*/ 7368 h 14735"/>
                <a:gd name="connsiteX4" fmla="*/ 1340 w 8708"/>
                <a:gd name="connsiteY4" fmla="*/ 0 h 14735"/>
                <a:gd name="connsiteX5" fmla="*/ 402 w 8708"/>
                <a:gd name="connsiteY5" fmla="*/ 0 h 14735"/>
                <a:gd name="connsiteX6" fmla="*/ 7369 w 870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 h="14735">
                  <a:moveTo>
                    <a:pt x="7369" y="7368"/>
                  </a:moveTo>
                  <a:cubicBezTo>
                    <a:pt x="7369" y="11437"/>
                    <a:pt x="4073" y="14735"/>
                    <a:pt x="0" y="14735"/>
                  </a:cubicBezTo>
                  <a:lnTo>
                    <a:pt x="1340" y="14735"/>
                  </a:lnTo>
                  <a:cubicBezTo>
                    <a:pt x="5413" y="14735"/>
                    <a:pt x="8709" y="11437"/>
                    <a:pt x="8709" y="7368"/>
                  </a:cubicBezTo>
                  <a:cubicBezTo>
                    <a:pt x="8709" y="3298"/>
                    <a:pt x="5413" y="0"/>
                    <a:pt x="1340" y="0"/>
                  </a:cubicBezTo>
                  <a:lnTo>
                    <a:pt x="402" y="0"/>
                  </a:lnTo>
                  <a:cubicBezTo>
                    <a:pt x="4314" y="214"/>
                    <a:pt x="7369" y="3451"/>
                    <a:pt x="7369" y="7368"/>
                  </a:cubicBezTo>
                  <a:close/>
                </a:path>
              </a:pathLst>
            </a:custGeom>
            <a:solidFill>
              <a:srgbClr val="000000"/>
            </a:solidFill>
            <a:ln w="12700" cap="flat">
              <a:noFill/>
              <a:prstDash val="solid"/>
              <a:miter/>
            </a:ln>
          </p:spPr>
          <p:txBody>
            <a:bodyPr rtlCol="0" anchor="ctr"/>
            <a:lstStyle/>
            <a:p>
              <a:endParaRPr lang="en-US"/>
            </a:p>
          </p:txBody>
        </p:sp>
        <p:sp>
          <p:nvSpPr>
            <p:cNvPr id="1286" name="Freeform: Shape 1285">
              <a:extLst>
                <a:ext uri="{FF2B5EF4-FFF2-40B4-BE49-F238E27FC236}">
                  <a16:creationId xmlns:a16="http://schemas.microsoft.com/office/drawing/2014/main" id="{0DDB3252-DD3F-4D81-AD15-229252682566}"/>
                </a:ext>
              </a:extLst>
            </p:cNvPr>
            <p:cNvSpPr/>
            <p:nvPr/>
          </p:nvSpPr>
          <p:spPr>
            <a:xfrm>
              <a:off x="7262661" y="5863237"/>
              <a:ext cx="19687" cy="14735"/>
            </a:xfrm>
            <a:custGeom>
              <a:avLst/>
              <a:gdLst>
                <a:gd name="connsiteX0" fmla="*/ 5620 w 19687"/>
                <a:gd name="connsiteY0" fmla="*/ 14735 h 14735"/>
                <a:gd name="connsiteX1" fmla="*/ 6960 w 19687"/>
                <a:gd name="connsiteY1" fmla="*/ 14735 h 14735"/>
                <a:gd name="connsiteX2" fmla="*/ 12319 w 19687"/>
                <a:gd name="connsiteY2" fmla="*/ 14735 h 14735"/>
                <a:gd name="connsiteX3" fmla="*/ 19688 w 19687"/>
                <a:gd name="connsiteY3" fmla="*/ 7368 h 14735"/>
                <a:gd name="connsiteX4" fmla="*/ 12319 w 19687"/>
                <a:gd name="connsiteY4" fmla="*/ 0 h 14735"/>
                <a:gd name="connsiteX5" fmla="*/ 7362 w 19687"/>
                <a:gd name="connsiteY5" fmla="*/ 0 h 14735"/>
                <a:gd name="connsiteX6" fmla="*/ 6023 w 19687"/>
                <a:gd name="connsiteY6" fmla="*/ 0 h 14735"/>
                <a:gd name="connsiteX7" fmla="*/ 4548 w 19687"/>
                <a:gd name="connsiteY7" fmla="*/ 0 h 14735"/>
                <a:gd name="connsiteX8" fmla="*/ 1869 w 19687"/>
                <a:gd name="connsiteY8" fmla="*/ 1875 h 14735"/>
                <a:gd name="connsiteX9" fmla="*/ 1869 w 19687"/>
                <a:gd name="connsiteY9" fmla="*/ 11788 h 14735"/>
                <a:gd name="connsiteX10" fmla="*/ 4548 w 19687"/>
                <a:gd name="connsiteY10" fmla="*/ 1366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87" h="14735">
                  <a:moveTo>
                    <a:pt x="5620" y="14735"/>
                  </a:moveTo>
                  <a:lnTo>
                    <a:pt x="6960" y="14735"/>
                  </a:lnTo>
                  <a:lnTo>
                    <a:pt x="12319" y="14735"/>
                  </a:lnTo>
                  <a:cubicBezTo>
                    <a:pt x="16393" y="14735"/>
                    <a:pt x="19688" y="11437"/>
                    <a:pt x="19688" y="7368"/>
                  </a:cubicBezTo>
                  <a:cubicBezTo>
                    <a:pt x="19688" y="3298"/>
                    <a:pt x="16393" y="0"/>
                    <a:pt x="12319" y="0"/>
                  </a:cubicBezTo>
                  <a:lnTo>
                    <a:pt x="7362" y="0"/>
                  </a:lnTo>
                  <a:lnTo>
                    <a:pt x="6023" y="0"/>
                  </a:lnTo>
                  <a:lnTo>
                    <a:pt x="4548" y="0"/>
                  </a:lnTo>
                  <a:cubicBezTo>
                    <a:pt x="3530" y="421"/>
                    <a:pt x="2619" y="1061"/>
                    <a:pt x="1869" y="1875"/>
                  </a:cubicBezTo>
                  <a:cubicBezTo>
                    <a:pt x="-623" y="4709"/>
                    <a:pt x="-623" y="8955"/>
                    <a:pt x="1869" y="11788"/>
                  </a:cubicBezTo>
                  <a:cubicBezTo>
                    <a:pt x="2619" y="12603"/>
                    <a:pt x="3530" y="13243"/>
                    <a:pt x="4548" y="13664"/>
                  </a:cubicBezTo>
                  <a:close/>
                </a:path>
              </a:pathLst>
            </a:custGeom>
            <a:solidFill>
              <a:srgbClr val="000000"/>
            </a:solidFill>
            <a:ln w="12700" cap="flat">
              <a:noFill/>
              <a:prstDash val="solid"/>
              <a:miter/>
            </a:ln>
          </p:spPr>
          <p:txBody>
            <a:bodyPr rtlCol="0" anchor="ctr"/>
            <a:lstStyle/>
            <a:p>
              <a:endParaRPr lang="en-US"/>
            </a:p>
          </p:txBody>
        </p:sp>
        <p:sp>
          <p:nvSpPr>
            <p:cNvPr id="1287" name="Freeform: Shape 1286">
              <a:extLst>
                <a:ext uri="{FF2B5EF4-FFF2-40B4-BE49-F238E27FC236}">
                  <a16:creationId xmlns:a16="http://schemas.microsoft.com/office/drawing/2014/main" id="{AFCA2BC2-5CC8-4A5C-9353-B83AF82FAE6C}"/>
                </a:ext>
              </a:extLst>
            </p:cNvPr>
            <p:cNvSpPr/>
            <p:nvPr/>
          </p:nvSpPr>
          <p:spPr>
            <a:xfrm>
              <a:off x="8048507" y="6061894"/>
              <a:ext cx="13057" cy="83054"/>
            </a:xfrm>
            <a:custGeom>
              <a:avLst/>
              <a:gdLst>
                <a:gd name="connsiteX0" fmla="*/ 5687 w 13057"/>
                <a:gd name="connsiteY0" fmla="*/ 75687 h 83054"/>
                <a:gd name="connsiteX1" fmla="*/ 13056 w 13057"/>
                <a:gd name="connsiteY1" fmla="*/ 82786 h 83054"/>
                <a:gd name="connsiteX2" fmla="*/ 13056 w 13057"/>
                <a:gd name="connsiteY2" fmla="*/ 83054 h 83054"/>
                <a:gd name="connsiteX3" fmla="*/ 13056 w 13057"/>
                <a:gd name="connsiteY3" fmla="*/ 7369 h 83054"/>
                <a:gd name="connsiteX4" fmla="*/ 5955 w 13057"/>
                <a:gd name="connsiteY4" fmla="*/ 1 h 83054"/>
                <a:gd name="connsiteX5" fmla="*/ 5687 w 13057"/>
                <a:gd name="connsiteY5" fmla="*/ 1 h 83054"/>
                <a:gd name="connsiteX6" fmla="*/ 1132 w 13057"/>
                <a:gd name="connsiteY6" fmla="*/ 1742 h 83054"/>
                <a:gd name="connsiteX7" fmla="*/ 60 w 13057"/>
                <a:gd name="connsiteY7" fmla="*/ 2814 h 83054"/>
                <a:gd name="connsiteX8" fmla="*/ 60 w 13057"/>
                <a:gd name="connsiteY8" fmla="*/ 3886 h 83054"/>
                <a:gd name="connsiteX9" fmla="*/ 60 w 13057"/>
                <a:gd name="connsiteY9" fmla="*/ 5225 h 83054"/>
                <a:gd name="connsiteX10" fmla="*/ 60 w 13057"/>
                <a:gd name="connsiteY10" fmla="*/ 6699 h 83054"/>
                <a:gd name="connsiteX11" fmla="*/ 60 w 13057"/>
                <a:gd name="connsiteY11" fmla="*/ 7369 h 83054"/>
                <a:gd name="connsiteX12" fmla="*/ 60 w 13057"/>
                <a:gd name="connsiteY12" fmla="*/ 83054 h 83054"/>
                <a:gd name="connsiteX13" fmla="*/ 5687 w 13057"/>
                <a:gd name="connsiteY13" fmla="*/ 75687 h 8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57" h="83054">
                  <a:moveTo>
                    <a:pt x="5687" y="75687"/>
                  </a:moveTo>
                  <a:cubicBezTo>
                    <a:pt x="9680" y="75606"/>
                    <a:pt x="12975" y="78794"/>
                    <a:pt x="13056" y="82786"/>
                  </a:cubicBezTo>
                  <a:cubicBezTo>
                    <a:pt x="13056" y="82880"/>
                    <a:pt x="13056" y="82960"/>
                    <a:pt x="13056" y="83054"/>
                  </a:cubicBezTo>
                  <a:lnTo>
                    <a:pt x="13056" y="7369"/>
                  </a:lnTo>
                  <a:cubicBezTo>
                    <a:pt x="13136" y="3374"/>
                    <a:pt x="9948" y="76"/>
                    <a:pt x="5955" y="1"/>
                  </a:cubicBezTo>
                  <a:cubicBezTo>
                    <a:pt x="5875" y="0"/>
                    <a:pt x="5781" y="0"/>
                    <a:pt x="5687" y="1"/>
                  </a:cubicBezTo>
                  <a:cubicBezTo>
                    <a:pt x="4012" y="25"/>
                    <a:pt x="2391" y="643"/>
                    <a:pt x="1132" y="1742"/>
                  </a:cubicBezTo>
                  <a:cubicBezTo>
                    <a:pt x="744" y="2065"/>
                    <a:pt x="381" y="2424"/>
                    <a:pt x="60" y="2814"/>
                  </a:cubicBezTo>
                  <a:cubicBezTo>
                    <a:pt x="-7" y="3168"/>
                    <a:pt x="-7" y="3532"/>
                    <a:pt x="60" y="3886"/>
                  </a:cubicBezTo>
                  <a:cubicBezTo>
                    <a:pt x="-20" y="4329"/>
                    <a:pt x="-20" y="4782"/>
                    <a:pt x="60" y="5225"/>
                  </a:cubicBezTo>
                  <a:lnTo>
                    <a:pt x="60" y="6699"/>
                  </a:lnTo>
                  <a:cubicBezTo>
                    <a:pt x="47" y="6923"/>
                    <a:pt x="47" y="7145"/>
                    <a:pt x="60" y="7369"/>
                  </a:cubicBezTo>
                  <a:lnTo>
                    <a:pt x="60" y="83054"/>
                  </a:lnTo>
                  <a:cubicBezTo>
                    <a:pt x="-34" y="79585"/>
                    <a:pt x="2311" y="76504"/>
                    <a:pt x="5687" y="75687"/>
                  </a:cubicBezTo>
                  <a:close/>
                </a:path>
              </a:pathLst>
            </a:custGeom>
            <a:solidFill>
              <a:srgbClr val="000000"/>
            </a:solidFill>
            <a:ln w="12700" cap="flat">
              <a:noFill/>
              <a:prstDash val="solid"/>
              <a:miter/>
            </a:ln>
          </p:spPr>
          <p:txBody>
            <a:bodyPr rtlCol="0" anchor="ctr"/>
            <a:lstStyle/>
            <a:p>
              <a:endParaRPr lang="en-US"/>
            </a:p>
          </p:txBody>
        </p:sp>
        <p:sp>
          <p:nvSpPr>
            <p:cNvPr id="1288" name="Freeform: Shape 1287">
              <a:extLst>
                <a:ext uri="{FF2B5EF4-FFF2-40B4-BE49-F238E27FC236}">
                  <a16:creationId xmlns:a16="http://schemas.microsoft.com/office/drawing/2014/main" id="{B83BD38D-3119-4B86-9622-96CFA9842CD0}"/>
                </a:ext>
              </a:extLst>
            </p:cNvPr>
            <p:cNvSpPr/>
            <p:nvPr/>
          </p:nvSpPr>
          <p:spPr>
            <a:xfrm>
              <a:off x="8348274" y="4969076"/>
              <a:ext cx="14738" cy="661746"/>
            </a:xfrm>
            <a:custGeom>
              <a:avLst/>
              <a:gdLst>
                <a:gd name="connsiteX0" fmla="*/ 0 w 14738"/>
                <a:gd name="connsiteY0" fmla="*/ 7368 h 661746"/>
                <a:gd name="connsiteX1" fmla="*/ 0 w 14738"/>
                <a:gd name="connsiteY1" fmla="*/ 661746 h 661746"/>
                <a:gd name="connsiteX2" fmla="*/ 7369 w 14738"/>
                <a:gd name="connsiteY2" fmla="*/ 654378 h 661746"/>
                <a:gd name="connsiteX3" fmla="*/ 14738 w 14738"/>
                <a:gd name="connsiteY3" fmla="*/ 661746 h 661746"/>
                <a:gd name="connsiteX4" fmla="*/ 14738 w 14738"/>
                <a:gd name="connsiteY4" fmla="*/ 7368 h 661746"/>
                <a:gd name="connsiteX5" fmla="*/ 7369 w 14738"/>
                <a:gd name="connsiteY5" fmla="*/ 0 h 661746"/>
                <a:gd name="connsiteX6" fmla="*/ 0 w 14738"/>
                <a:gd name="connsiteY6" fmla="*/ 7368 h 6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661746">
                  <a:moveTo>
                    <a:pt x="0" y="7368"/>
                  </a:moveTo>
                  <a:lnTo>
                    <a:pt x="0" y="661746"/>
                  </a:lnTo>
                  <a:cubicBezTo>
                    <a:pt x="0" y="657676"/>
                    <a:pt x="3296" y="654378"/>
                    <a:pt x="7369" y="654378"/>
                  </a:cubicBezTo>
                  <a:cubicBezTo>
                    <a:pt x="11442" y="654378"/>
                    <a:pt x="14738" y="657676"/>
                    <a:pt x="14738" y="661746"/>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289" name="Freeform: Shape 1288">
              <a:extLst>
                <a:ext uri="{FF2B5EF4-FFF2-40B4-BE49-F238E27FC236}">
                  <a16:creationId xmlns:a16="http://schemas.microsoft.com/office/drawing/2014/main" id="{612C42CB-75CB-4DCA-8EC9-247381175C87}"/>
                </a:ext>
              </a:extLst>
            </p:cNvPr>
            <p:cNvSpPr/>
            <p:nvPr/>
          </p:nvSpPr>
          <p:spPr>
            <a:xfrm>
              <a:off x="8348274" y="5623455"/>
              <a:ext cx="14738" cy="199327"/>
            </a:xfrm>
            <a:custGeom>
              <a:avLst/>
              <a:gdLst>
                <a:gd name="connsiteX0" fmla="*/ 7369 w 14738"/>
                <a:gd name="connsiteY0" fmla="*/ 199328 h 199327"/>
                <a:gd name="connsiteX1" fmla="*/ 14738 w 14738"/>
                <a:gd name="connsiteY1" fmla="*/ 191960 h 199327"/>
                <a:gd name="connsiteX2" fmla="*/ 14738 w 14738"/>
                <a:gd name="connsiteY2" fmla="*/ 7368 h 199327"/>
                <a:gd name="connsiteX3" fmla="*/ 7369 w 14738"/>
                <a:gd name="connsiteY3" fmla="*/ 0 h 199327"/>
                <a:gd name="connsiteX4" fmla="*/ 0 w 14738"/>
                <a:gd name="connsiteY4" fmla="*/ 7368 h 199327"/>
                <a:gd name="connsiteX5" fmla="*/ 0 w 14738"/>
                <a:gd name="connsiteY5" fmla="*/ 191960 h 199327"/>
                <a:gd name="connsiteX6" fmla="*/ 7369 w 14738"/>
                <a:gd name="connsiteY6" fmla="*/ 199328 h 19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99327">
                  <a:moveTo>
                    <a:pt x="7369" y="199328"/>
                  </a:moveTo>
                  <a:cubicBezTo>
                    <a:pt x="11442" y="199328"/>
                    <a:pt x="14738" y="196030"/>
                    <a:pt x="14738" y="191960"/>
                  </a:cubicBezTo>
                  <a:lnTo>
                    <a:pt x="14738" y="7368"/>
                  </a:lnTo>
                  <a:cubicBezTo>
                    <a:pt x="14738" y="3298"/>
                    <a:pt x="11442" y="0"/>
                    <a:pt x="7369" y="0"/>
                  </a:cubicBezTo>
                  <a:cubicBezTo>
                    <a:pt x="3296" y="0"/>
                    <a:pt x="0" y="3298"/>
                    <a:pt x="0" y="7368"/>
                  </a:cubicBezTo>
                  <a:lnTo>
                    <a:pt x="0" y="191960"/>
                  </a:lnTo>
                  <a:cubicBezTo>
                    <a:pt x="0" y="196030"/>
                    <a:pt x="3296" y="199328"/>
                    <a:pt x="7369" y="199328"/>
                  </a:cubicBezTo>
                  <a:close/>
                </a:path>
              </a:pathLst>
            </a:custGeom>
            <a:solidFill>
              <a:srgbClr val="000000"/>
            </a:solidFill>
            <a:ln w="12700" cap="flat">
              <a:noFill/>
              <a:prstDash val="solid"/>
              <a:miter/>
            </a:ln>
          </p:spPr>
          <p:txBody>
            <a:bodyPr rtlCol="0" anchor="ctr"/>
            <a:lstStyle/>
            <a:p>
              <a:endParaRPr lang="en-US"/>
            </a:p>
          </p:txBody>
        </p:sp>
        <p:sp>
          <p:nvSpPr>
            <p:cNvPr id="1290" name="Freeform: Shape 1289">
              <a:extLst>
                <a:ext uri="{FF2B5EF4-FFF2-40B4-BE49-F238E27FC236}">
                  <a16:creationId xmlns:a16="http://schemas.microsoft.com/office/drawing/2014/main" id="{D424F0D7-D72A-44A3-8535-FA890565F175}"/>
                </a:ext>
              </a:extLst>
            </p:cNvPr>
            <p:cNvSpPr/>
            <p:nvPr/>
          </p:nvSpPr>
          <p:spPr>
            <a:xfrm>
              <a:off x="5505137" y="6581915"/>
              <a:ext cx="14737" cy="271798"/>
            </a:xfrm>
            <a:custGeom>
              <a:avLst/>
              <a:gdLst>
                <a:gd name="connsiteX0" fmla="*/ 14738 w 14737"/>
                <a:gd name="connsiteY0" fmla="*/ 0 h 271798"/>
                <a:gd name="connsiteX1" fmla="*/ 7369 w 14737"/>
                <a:gd name="connsiteY1" fmla="*/ 7368 h 271798"/>
                <a:gd name="connsiteX2" fmla="*/ 0 w 14737"/>
                <a:gd name="connsiteY2" fmla="*/ 0 h 271798"/>
                <a:gd name="connsiteX3" fmla="*/ 0 w 14737"/>
                <a:gd name="connsiteY3" fmla="*/ 271798 h 271798"/>
                <a:gd name="connsiteX4" fmla="*/ 14738 w 14737"/>
                <a:gd name="connsiteY4" fmla="*/ 271798 h 271798"/>
                <a:gd name="connsiteX5" fmla="*/ 14738 w 14737"/>
                <a:gd name="connsiteY5" fmla="*/ 0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14738" y="0"/>
                  </a:moveTo>
                  <a:cubicBezTo>
                    <a:pt x="14738" y="4072"/>
                    <a:pt x="11442" y="7368"/>
                    <a:pt x="7369" y="7368"/>
                  </a:cubicBezTo>
                  <a:cubicBezTo>
                    <a:pt x="3296" y="7368"/>
                    <a:pt x="0" y="4072"/>
                    <a:pt x="0" y="0"/>
                  </a:cubicBezTo>
                  <a:lnTo>
                    <a:pt x="0" y="271798"/>
                  </a:lnTo>
                  <a:lnTo>
                    <a:pt x="14738" y="271798"/>
                  </a:lnTo>
                  <a:lnTo>
                    <a:pt x="14738" y="0"/>
                  </a:lnTo>
                  <a:close/>
                </a:path>
              </a:pathLst>
            </a:custGeom>
            <a:solidFill>
              <a:srgbClr val="000000"/>
            </a:solidFill>
            <a:ln w="12700" cap="flat">
              <a:noFill/>
              <a:prstDash val="solid"/>
              <a:miter/>
            </a:ln>
          </p:spPr>
          <p:txBody>
            <a:bodyPr rtlCol="0" anchor="ctr"/>
            <a:lstStyle/>
            <a:p>
              <a:endParaRPr lang="en-US"/>
            </a:p>
          </p:txBody>
        </p:sp>
        <p:sp>
          <p:nvSpPr>
            <p:cNvPr id="1291" name="Freeform: Shape 1290">
              <a:extLst>
                <a:ext uri="{FF2B5EF4-FFF2-40B4-BE49-F238E27FC236}">
                  <a16:creationId xmlns:a16="http://schemas.microsoft.com/office/drawing/2014/main" id="{6A1CAE9A-3CF3-4844-9CF9-68DC16EFF6AD}"/>
                </a:ext>
              </a:extLst>
            </p:cNvPr>
            <p:cNvSpPr/>
            <p:nvPr/>
          </p:nvSpPr>
          <p:spPr>
            <a:xfrm>
              <a:off x="6700217" y="6578834"/>
              <a:ext cx="14739" cy="8440"/>
            </a:xfrm>
            <a:custGeom>
              <a:avLst/>
              <a:gdLst>
                <a:gd name="connsiteX0" fmla="*/ 7369 w 14739"/>
                <a:gd name="connsiteY0" fmla="*/ 8439 h 8440"/>
                <a:gd name="connsiteX1" fmla="*/ 14738 w 14739"/>
                <a:gd name="connsiteY1" fmla="*/ 1339 h 8440"/>
                <a:gd name="connsiteX2" fmla="*/ 14738 w 14739"/>
                <a:gd name="connsiteY2" fmla="*/ 1072 h 8440"/>
                <a:gd name="connsiteX3" fmla="*/ 14738 w 14739"/>
                <a:gd name="connsiteY3" fmla="*/ 0 h 8440"/>
                <a:gd name="connsiteX4" fmla="*/ 7637 w 14739"/>
                <a:gd name="connsiteY4" fmla="*/ 7368 h 8440"/>
                <a:gd name="connsiteX5" fmla="*/ 7369 w 14739"/>
                <a:gd name="connsiteY5" fmla="*/ 7368 h 8440"/>
                <a:gd name="connsiteX6" fmla="*/ 0 w 14739"/>
                <a:gd name="connsiteY6" fmla="*/ 0 h 8440"/>
                <a:gd name="connsiteX7" fmla="*/ 0 w 14739"/>
                <a:gd name="connsiteY7" fmla="*/ 1072 h 8440"/>
                <a:gd name="connsiteX8" fmla="*/ 7369 w 14739"/>
                <a:gd name="connsiteY8" fmla="*/ 8439 h 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440">
                  <a:moveTo>
                    <a:pt x="7369" y="8439"/>
                  </a:moveTo>
                  <a:cubicBezTo>
                    <a:pt x="11361" y="8520"/>
                    <a:pt x="14657" y="5331"/>
                    <a:pt x="14738" y="1339"/>
                  </a:cubicBezTo>
                  <a:cubicBezTo>
                    <a:pt x="14738" y="1246"/>
                    <a:pt x="14738" y="1165"/>
                    <a:pt x="14738" y="1072"/>
                  </a:cubicBezTo>
                  <a:lnTo>
                    <a:pt x="14738" y="0"/>
                  </a:lnTo>
                  <a:cubicBezTo>
                    <a:pt x="14818" y="3992"/>
                    <a:pt x="11629" y="7287"/>
                    <a:pt x="7637" y="7368"/>
                  </a:cubicBezTo>
                  <a:cubicBezTo>
                    <a:pt x="7543" y="7368"/>
                    <a:pt x="7463" y="7368"/>
                    <a:pt x="7369" y="7368"/>
                  </a:cubicBezTo>
                  <a:cubicBezTo>
                    <a:pt x="3296" y="7368"/>
                    <a:pt x="0" y="4072"/>
                    <a:pt x="0" y="0"/>
                  </a:cubicBezTo>
                  <a:lnTo>
                    <a:pt x="0" y="1072"/>
                  </a:lnTo>
                  <a:cubicBezTo>
                    <a:pt x="0" y="5144"/>
                    <a:pt x="3296" y="8439"/>
                    <a:pt x="7369" y="8439"/>
                  </a:cubicBezTo>
                  <a:close/>
                </a:path>
              </a:pathLst>
            </a:custGeom>
            <a:solidFill>
              <a:srgbClr val="000000"/>
            </a:solidFill>
            <a:ln w="12700" cap="flat">
              <a:noFill/>
              <a:prstDash val="solid"/>
              <a:miter/>
            </a:ln>
          </p:spPr>
          <p:txBody>
            <a:bodyPr rtlCol="0" anchor="ctr"/>
            <a:lstStyle/>
            <a:p>
              <a:endParaRPr lang="en-US"/>
            </a:p>
          </p:txBody>
        </p:sp>
        <p:sp>
          <p:nvSpPr>
            <p:cNvPr id="1292" name="Freeform: Shape 1291">
              <a:extLst>
                <a:ext uri="{FF2B5EF4-FFF2-40B4-BE49-F238E27FC236}">
                  <a16:creationId xmlns:a16="http://schemas.microsoft.com/office/drawing/2014/main" id="{26D35F84-820D-43AB-9BB7-3C7BFB0F316A}"/>
                </a:ext>
              </a:extLst>
            </p:cNvPr>
            <p:cNvSpPr/>
            <p:nvPr/>
          </p:nvSpPr>
          <p:spPr>
            <a:xfrm>
              <a:off x="8074827" y="6169794"/>
              <a:ext cx="289713" cy="14739"/>
            </a:xfrm>
            <a:custGeom>
              <a:avLst/>
              <a:gdLst>
                <a:gd name="connsiteX0" fmla="*/ 7369 w 289713"/>
                <a:gd name="connsiteY0" fmla="*/ 7438 h 14739"/>
                <a:gd name="connsiteX1" fmla="*/ 0 w 289713"/>
                <a:gd name="connsiteY1" fmla="*/ 14672 h 14739"/>
                <a:gd name="connsiteX2" fmla="*/ 281353 w 289713"/>
                <a:gd name="connsiteY2" fmla="*/ 14672 h 14739"/>
                <a:gd name="connsiteX3" fmla="*/ 289646 w 289713"/>
                <a:gd name="connsiteY3" fmla="*/ 8362 h 14739"/>
                <a:gd name="connsiteX4" fmla="*/ 283336 w 289713"/>
                <a:gd name="connsiteY4" fmla="*/ 70 h 14739"/>
                <a:gd name="connsiteX5" fmla="*/ 281353 w 289713"/>
                <a:gd name="connsiteY5" fmla="*/ 70 h 14739"/>
                <a:gd name="connsiteX6" fmla="*/ 0 w 289713"/>
                <a:gd name="connsiteY6" fmla="*/ 70 h 14739"/>
                <a:gd name="connsiteX7" fmla="*/ 7369 w 289713"/>
                <a:gd name="connsiteY7"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13" h="14739">
                  <a:moveTo>
                    <a:pt x="7369" y="7438"/>
                  </a:moveTo>
                  <a:cubicBezTo>
                    <a:pt x="7302" y="11457"/>
                    <a:pt x="4019" y="14672"/>
                    <a:pt x="0" y="14672"/>
                  </a:cubicBezTo>
                  <a:lnTo>
                    <a:pt x="281353" y="14672"/>
                  </a:lnTo>
                  <a:cubicBezTo>
                    <a:pt x="285385" y="15221"/>
                    <a:pt x="289097" y="12394"/>
                    <a:pt x="289646" y="8362"/>
                  </a:cubicBezTo>
                  <a:cubicBezTo>
                    <a:pt x="290195" y="4330"/>
                    <a:pt x="287368" y="620"/>
                    <a:pt x="283336" y="70"/>
                  </a:cubicBezTo>
                  <a:cubicBezTo>
                    <a:pt x="282679" y="-23"/>
                    <a:pt x="282010" y="-23"/>
                    <a:pt x="281353" y="70"/>
                  </a:cubicBezTo>
                  <a:lnTo>
                    <a:pt x="0" y="70"/>
                  </a:lnTo>
                  <a:cubicBezTo>
                    <a:pt x="4073" y="70"/>
                    <a:pt x="7369" y="3366"/>
                    <a:pt x="7369" y="7438"/>
                  </a:cubicBezTo>
                  <a:close/>
                </a:path>
              </a:pathLst>
            </a:custGeom>
            <a:solidFill>
              <a:srgbClr val="000000"/>
            </a:solidFill>
            <a:ln w="12700" cap="flat">
              <a:noFill/>
              <a:prstDash val="solid"/>
              <a:miter/>
            </a:ln>
          </p:spPr>
          <p:txBody>
            <a:bodyPr rtlCol="0" anchor="ctr"/>
            <a:lstStyle/>
            <a:p>
              <a:endParaRPr lang="en-US"/>
            </a:p>
          </p:txBody>
        </p:sp>
        <p:sp>
          <p:nvSpPr>
            <p:cNvPr id="1293" name="Freeform: Shape 1292">
              <a:extLst>
                <a:ext uri="{FF2B5EF4-FFF2-40B4-BE49-F238E27FC236}">
                  <a16:creationId xmlns:a16="http://schemas.microsoft.com/office/drawing/2014/main" id="{A2F73ECB-7B38-40F2-A2EC-E2ACB8C22EEF}"/>
                </a:ext>
              </a:extLst>
            </p:cNvPr>
            <p:cNvSpPr/>
            <p:nvPr/>
          </p:nvSpPr>
          <p:spPr>
            <a:xfrm>
              <a:off x="7897172" y="6183390"/>
              <a:ext cx="7502" cy="1075"/>
            </a:xfrm>
            <a:custGeom>
              <a:avLst/>
              <a:gdLst>
                <a:gd name="connsiteX0" fmla="*/ 268 w 7502"/>
                <a:gd name="connsiteY0" fmla="*/ 1075 h 1075"/>
                <a:gd name="connsiteX1" fmla="*/ 7503 w 7502"/>
                <a:gd name="connsiteY1" fmla="*/ 1075 h 1075"/>
                <a:gd name="connsiteX2" fmla="*/ 0 w 7502"/>
                <a:gd name="connsiteY2" fmla="*/ 1075 h 1075"/>
              </a:gdLst>
              <a:ahLst/>
              <a:cxnLst>
                <a:cxn ang="0">
                  <a:pos x="connsiteX0" y="connsiteY0"/>
                </a:cxn>
                <a:cxn ang="0">
                  <a:pos x="connsiteX1" y="connsiteY1"/>
                </a:cxn>
                <a:cxn ang="0">
                  <a:pos x="connsiteX2" y="connsiteY2"/>
                </a:cxn>
              </a:cxnLst>
              <a:rect l="l" t="t" r="r" b="b"/>
              <a:pathLst>
                <a:path w="7502" h="1075">
                  <a:moveTo>
                    <a:pt x="268" y="1075"/>
                  </a:moveTo>
                  <a:lnTo>
                    <a:pt x="7503" y="1075"/>
                  </a:lnTo>
                  <a:cubicBezTo>
                    <a:pt x="5211" y="-358"/>
                    <a:pt x="2291" y="-358"/>
                    <a:pt x="0" y="1075"/>
                  </a:cubicBezTo>
                  <a:close/>
                </a:path>
              </a:pathLst>
            </a:custGeom>
            <a:solidFill>
              <a:srgbClr val="000000"/>
            </a:solidFill>
            <a:ln w="12700" cap="flat">
              <a:noFill/>
              <a:prstDash val="solid"/>
              <a:miter/>
            </a:ln>
          </p:spPr>
          <p:txBody>
            <a:bodyPr rtlCol="0" anchor="ctr"/>
            <a:lstStyle/>
            <a:p>
              <a:endParaRPr lang="en-US"/>
            </a:p>
          </p:txBody>
        </p:sp>
        <p:sp>
          <p:nvSpPr>
            <p:cNvPr id="1294" name="Freeform: Shape 1293">
              <a:extLst>
                <a:ext uri="{FF2B5EF4-FFF2-40B4-BE49-F238E27FC236}">
                  <a16:creationId xmlns:a16="http://schemas.microsoft.com/office/drawing/2014/main" id="{B2EE8931-D57C-4A6C-AF3E-D3C29C0952B6}"/>
                </a:ext>
              </a:extLst>
            </p:cNvPr>
            <p:cNvSpPr/>
            <p:nvPr/>
          </p:nvSpPr>
          <p:spPr>
            <a:xfrm>
              <a:off x="7897441" y="6169864"/>
              <a:ext cx="7502" cy="1205"/>
            </a:xfrm>
            <a:custGeom>
              <a:avLst/>
              <a:gdLst>
                <a:gd name="connsiteX0" fmla="*/ 0 w 7502"/>
                <a:gd name="connsiteY0" fmla="*/ 0 h 1205"/>
                <a:gd name="connsiteX1" fmla="*/ 7503 w 7502"/>
                <a:gd name="connsiteY1" fmla="*/ 0 h 1205"/>
                <a:gd name="connsiteX2" fmla="*/ 0 w 7502"/>
                <a:gd name="connsiteY2" fmla="*/ 0 h 1205"/>
              </a:gdLst>
              <a:ahLst/>
              <a:cxnLst>
                <a:cxn ang="0">
                  <a:pos x="connsiteX0" y="connsiteY0"/>
                </a:cxn>
                <a:cxn ang="0">
                  <a:pos x="connsiteX1" y="connsiteY1"/>
                </a:cxn>
                <a:cxn ang="0">
                  <a:pos x="connsiteX2" y="connsiteY2"/>
                </a:cxn>
              </a:cxnLst>
              <a:rect l="l" t="t" r="r" b="b"/>
              <a:pathLst>
                <a:path w="7502" h="1205">
                  <a:moveTo>
                    <a:pt x="0" y="0"/>
                  </a:moveTo>
                  <a:cubicBezTo>
                    <a:pt x="2237" y="1608"/>
                    <a:pt x="5265" y="1608"/>
                    <a:pt x="7503" y="0"/>
                  </a:cubicBezTo>
                  <a:lnTo>
                    <a:pt x="0" y="0"/>
                  </a:lnTo>
                  <a:close/>
                </a:path>
              </a:pathLst>
            </a:custGeom>
            <a:solidFill>
              <a:srgbClr val="000000"/>
            </a:solidFill>
            <a:ln w="12700" cap="flat">
              <a:noFill/>
              <a:prstDash val="solid"/>
              <a:miter/>
            </a:ln>
          </p:spPr>
          <p:txBody>
            <a:bodyPr rtlCol="0" anchor="ctr"/>
            <a:lstStyle/>
            <a:p>
              <a:endParaRPr lang="en-US"/>
            </a:p>
          </p:txBody>
        </p:sp>
        <p:sp>
          <p:nvSpPr>
            <p:cNvPr id="1295" name="Freeform: Shape 1294">
              <a:extLst>
                <a:ext uri="{FF2B5EF4-FFF2-40B4-BE49-F238E27FC236}">
                  <a16:creationId xmlns:a16="http://schemas.microsoft.com/office/drawing/2014/main" id="{F2AC262F-153F-4437-8657-E27D66EC041E}"/>
                </a:ext>
              </a:extLst>
            </p:cNvPr>
            <p:cNvSpPr/>
            <p:nvPr/>
          </p:nvSpPr>
          <p:spPr>
            <a:xfrm>
              <a:off x="5790211" y="6581915"/>
              <a:ext cx="14767" cy="271798"/>
            </a:xfrm>
            <a:custGeom>
              <a:avLst/>
              <a:gdLst>
                <a:gd name="connsiteX0" fmla="*/ 13428 w 14767"/>
                <a:gd name="connsiteY0" fmla="*/ 1875 h 271798"/>
                <a:gd name="connsiteX1" fmla="*/ 13428 w 14767"/>
                <a:gd name="connsiteY1" fmla="*/ 938 h 271798"/>
                <a:gd name="connsiteX2" fmla="*/ 13428 w 14767"/>
                <a:gd name="connsiteY2" fmla="*/ 0 h 271798"/>
                <a:gd name="connsiteX3" fmla="*/ 3996 w 14767"/>
                <a:gd name="connsiteY3" fmla="*/ 3965 h 271798"/>
                <a:gd name="connsiteX4" fmla="*/ 30 w 14767"/>
                <a:gd name="connsiteY4" fmla="*/ 0 h 271798"/>
                <a:gd name="connsiteX5" fmla="*/ 30 w 14767"/>
                <a:gd name="connsiteY5" fmla="*/ 938 h 271798"/>
                <a:gd name="connsiteX6" fmla="*/ 30 w 14767"/>
                <a:gd name="connsiteY6" fmla="*/ 1875 h 271798"/>
                <a:gd name="connsiteX7" fmla="*/ 30 w 14767"/>
                <a:gd name="connsiteY7" fmla="*/ 271798 h 271798"/>
                <a:gd name="connsiteX8" fmla="*/ 14768 w 14767"/>
                <a:gd name="connsiteY8" fmla="*/ 271798 h 271798"/>
                <a:gd name="connsiteX9" fmla="*/ 14768 w 14767"/>
                <a:gd name="connsiteY9" fmla="*/ 1875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67" h="271798">
                  <a:moveTo>
                    <a:pt x="13428" y="1875"/>
                  </a:moveTo>
                  <a:cubicBezTo>
                    <a:pt x="13468" y="1567"/>
                    <a:pt x="13468" y="1246"/>
                    <a:pt x="13428" y="938"/>
                  </a:cubicBezTo>
                  <a:lnTo>
                    <a:pt x="13428" y="0"/>
                  </a:lnTo>
                  <a:cubicBezTo>
                    <a:pt x="11914" y="3697"/>
                    <a:pt x="7694" y="5479"/>
                    <a:pt x="3996" y="3965"/>
                  </a:cubicBezTo>
                  <a:cubicBezTo>
                    <a:pt x="2201" y="3228"/>
                    <a:pt x="767" y="1795"/>
                    <a:pt x="30" y="0"/>
                  </a:cubicBezTo>
                  <a:lnTo>
                    <a:pt x="30" y="938"/>
                  </a:lnTo>
                  <a:cubicBezTo>
                    <a:pt x="-10" y="1246"/>
                    <a:pt x="-10" y="1567"/>
                    <a:pt x="30" y="1875"/>
                  </a:cubicBezTo>
                  <a:lnTo>
                    <a:pt x="30" y="271798"/>
                  </a:lnTo>
                  <a:lnTo>
                    <a:pt x="14768" y="271798"/>
                  </a:lnTo>
                  <a:lnTo>
                    <a:pt x="14768" y="1875"/>
                  </a:lnTo>
                  <a:close/>
                </a:path>
              </a:pathLst>
            </a:custGeom>
            <a:solidFill>
              <a:srgbClr val="000000"/>
            </a:solidFill>
            <a:ln w="12700" cap="flat">
              <a:noFill/>
              <a:prstDash val="solid"/>
              <a:miter/>
            </a:ln>
          </p:spPr>
          <p:txBody>
            <a:bodyPr rtlCol="0" anchor="ctr"/>
            <a:lstStyle/>
            <a:p>
              <a:endParaRPr lang="en-US"/>
            </a:p>
          </p:txBody>
        </p:sp>
        <p:sp>
          <p:nvSpPr>
            <p:cNvPr id="1296" name="Freeform: Shape 1295">
              <a:extLst>
                <a:ext uri="{FF2B5EF4-FFF2-40B4-BE49-F238E27FC236}">
                  <a16:creationId xmlns:a16="http://schemas.microsoft.com/office/drawing/2014/main" id="{C85D722E-C367-421A-91FC-AF2BDD56E138}"/>
                </a:ext>
              </a:extLst>
            </p:cNvPr>
            <p:cNvSpPr/>
            <p:nvPr/>
          </p:nvSpPr>
          <p:spPr>
            <a:xfrm>
              <a:off x="8469792" y="5623387"/>
              <a:ext cx="132290" cy="14736"/>
            </a:xfrm>
            <a:custGeom>
              <a:avLst/>
              <a:gdLst>
                <a:gd name="connsiteX0" fmla="*/ 7369 w 132290"/>
                <a:gd name="connsiteY0" fmla="*/ 7435 h 14736"/>
                <a:gd name="connsiteX1" fmla="*/ 0 w 132290"/>
                <a:gd name="connsiteY1" fmla="*/ 14669 h 14736"/>
                <a:gd name="connsiteX2" fmla="*/ 123929 w 132290"/>
                <a:gd name="connsiteY2" fmla="*/ 14669 h 14736"/>
                <a:gd name="connsiteX3" fmla="*/ 132223 w 132290"/>
                <a:gd name="connsiteY3" fmla="*/ 8359 h 14736"/>
                <a:gd name="connsiteX4" fmla="*/ 125912 w 132290"/>
                <a:gd name="connsiteY4" fmla="*/ 67 h 14736"/>
                <a:gd name="connsiteX5" fmla="*/ 123929 w 132290"/>
                <a:gd name="connsiteY5" fmla="*/ 67 h 14736"/>
                <a:gd name="connsiteX6" fmla="*/ 0 w 132290"/>
                <a:gd name="connsiteY6" fmla="*/ 67 h 14736"/>
                <a:gd name="connsiteX7" fmla="*/ 7369 w 132290"/>
                <a:gd name="connsiteY7" fmla="*/ 74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90" h="14736">
                  <a:moveTo>
                    <a:pt x="7369" y="7435"/>
                  </a:moveTo>
                  <a:cubicBezTo>
                    <a:pt x="7302" y="11451"/>
                    <a:pt x="4019" y="14669"/>
                    <a:pt x="0" y="14669"/>
                  </a:cubicBezTo>
                  <a:lnTo>
                    <a:pt x="123929" y="14669"/>
                  </a:lnTo>
                  <a:cubicBezTo>
                    <a:pt x="127962" y="15217"/>
                    <a:pt x="131673" y="12391"/>
                    <a:pt x="132223" y="8359"/>
                  </a:cubicBezTo>
                  <a:cubicBezTo>
                    <a:pt x="132772" y="4327"/>
                    <a:pt x="129945" y="615"/>
                    <a:pt x="125912" y="67"/>
                  </a:cubicBezTo>
                  <a:cubicBezTo>
                    <a:pt x="125256" y="-22"/>
                    <a:pt x="124586" y="-22"/>
                    <a:pt x="123929" y="67"/>
                  </a:cubicBezTo>
                  <a:lnTo>
                    <a:pt x="0" y="67"/>
                  </a:lnTo>
                  <a:cubicBezTo>
                    <a:pt x="4073" y="67"/>
                    <a:pt x="7369" y="3365"/>
                    <a:pt x="7369" y="7435"/>
                  </a:cubicBezTo>
                  <a:close/>
                </a:path>
              </a:pathLst>
            </a:custGeom>
            <a:solidFill>
              <a:srgbClr val="000000"/>
            </a:solidFill>
            <a:ln w="12700" cap="flat">
              <a:noFill/>
              <a:prstDash val="solid"/>
              <a:miter/>
            </a:ln>
          </p:spPr>
          <p:txBody>
            <a:bodyPr rtlCol="0" anchor="ctr"/>
            <a:lstStyle/>
            <a:p>
              <a:endParaRPr lang="en-US"/>
            </a:p>
          </p:txBody>
        </p:sp>
        <p:sp>
          <p:nvSpPr>
            <p:cNvPr id="1297" name="Freeform: Shape 1296">
              <a:extLst>
                <a:ext uri="{FF2B5EF4-FFF2-40B4-BE49-F238E27FC236}">
                  <a16:creationId xmlns:a16="http://schemas.microsoft.com/office/drawing/2014/main" id="{23244BED-1BA8-4762-9B01-8CF1864A24EF}"/>
                </a:ext>
              </a:extLst>
            </p:cNvPr>
            <p:cNvSpPr/>
            <p:nvPr/>
          </p:nvSpPr>
          <p:spPr>
            <a:xfrm>
              <a:off x="8422015" y="5623455"/>
              <a:ext cx="55145" cy="14601"/>
            </a:xfrm>
            <a:custGeom>
              <a:avLst/>
              <a:gdLst>
                <a:gd name="connsiteX0" fmla="*/ 55146 w 55145"/>
                <a:gd name="connsiteY0" fmla="*/ 7368 h 14601"/>
                <a:gd name="connsiteX1" fmla="*/ 47777 w 55145"/>
                <a:gd name="connsiteY1" fmla="*/ 0 h 14601"/>
                <a:gd name="connsiteX2" fmla="*/ 6379 w 55145"/>
                <a:gd name="connsiteY2" fmla="*/ 0 h 14601"/>
                <a:gd name="connsiteX3" fmla="*/ 68 w 55145"/>
                <a:gd name="connsiteY3" fmla="*/ 8292 h 14601"/>
                <a:gd name="connsiteX4" fmla="*/ 6379 w 55145"/>
                <a:gd name="connsiteY4" fmla="*/ 14601 h 14601"/>
                <a:gd name="connsiteX5" fmla="*/ 47777 w 55145"/>
                <a:gd name="connsiteY5" fmla="*/ 14601 h 14601"/>
                <a:gd name="connsiteX6" fmla="*/ 55146 w 55145"/>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45" h="14601">
                  <a:moveTo>
                    <a:pt x="55146" y="7368"/>
                  </a:moveTo>
                  <a:cubicBezTo>
                    <a:pt x="55146" y="3298"/>
                    <a:pt x="51850" y="0"/>
                    <a:pt x="47777" y="0"/>
                  </a:cubicBezTo>
                  <a:lnTo>
                    <a:pt x="6379" y="0"/>
                  </a:lnTo>
                  <a:cubicBezTo>
                    <a:pt x="2346" y="548"/>
                    <a:pt x="-481" y="4260"/>
                    <a:pt x="68" y="8292"/>
                  </a:cubicBezTo>
                  <a:cubicBezTo>
                    <a:pt x="510" y="11574"/>
                    <a:pt x="3096" y="14155"/>
                    <a:pt x="6379" y="14601"/>
                  </a:cubicBezTo>
                  <a:lnTo>
                    <a:pt x="47777" y="14601"/>
                  </a:lnTo>
                  <a:cubicBezTo>
                    <a:pt x="51797" y="14601"/>
                    <a:pt x="55079" y="11384"/>
                    <a:pt x="55146" y="7368"/>
                  </a:cubicBezTo>
                  <a:close/>
                </a:path>
              </a:pathLst>
            </a:custGeom>
            <a:solidFill>
              <a:srgbClr val="000000"/>
            </a:solidFill>
            <a:ln w="12700" cap="flat">
              <a:noFill/>
              <a:prstDash val="solid"/>
              <a:miter/>
            </a:ln>
          </p:spPr>
          <p:txBody>
            <a:bodyPr rtlCol="0" anchor="ctr"/>
            <a:lstStyle/>
            <a:p>
              <a:endParaRPr lang="en-US"/>
            </a:p>
          </p:txBody>
        </p:sp>
        <p:sp>
          <p:nvSpPr>
            <p:cNvPr id="1298" name="Freeform: Shape 1297">
              <a:extLst>
                <a:ext uri="{FF2B5EF4-FFF2-40B4-BE49-F238E27FC236}">
                  <a16:creationId xmlns:a16="http://schemas.microsoft.com/office/drawing/2014/main" id="{68E02016-3D29-4EA7-AFAF-F7D2DCFAC2C2}"/>
                </a:ext>
              </a:extLst>
            </p:cNvPr>
            <p:cNvSpPr/>
            <p:nvPr/>
          </p:nvSpPr>
          <p:spPr>
            <a:xfrm>
              <a:off x="5788449" y="6578834"/>
              <a:ext cx="14837" cy="8469"/>
            </a:xfrm>
            <a:custGeom>
              <a:avLst/>
              <a:gdLst>
                <a:gd name="connsiteX0" fmla="*/ 7821 w 14837"/>
                <a:gd name="connsiteY0" fmla="*/ 8439 h 8469"/>
                <a:gd name="connsiteX1" fmla="*/ 14788 w 14837"/>
                <a:gd name="connsiteY1" fmla="*/ 3081 h 8469"/>
                <a:gd name="connsiteX2" fmla="*/ 14788 w 14837"/>
                <a:gd name="connsiteY2" fmla="*/ 1072 h 8469"/>
                <a:gd name="connsiteX3" fmla="*/ 14788 w 14837"/>
                <a:gd name="connsiteY3" fmla="*/ 0 h 8469"/>
                <a:gd name="connsiteX4" fmla="*/ 7419 w 14837"/>
                <a:gd name="connsiteY4" fmla="*/ 7368 h 8469"/>
                <a:gd name="connsiteX5" fmla="*/ 50 w 14837"/>
                <a:gd name="connsiteY5" fmla="*/ 0 h 8469"/>
                <a:gd name="connsiteX6" fmla="*/ 50 w 14837"/>
                <a:gd name="connsiteY6" fmla="*/ 1072 h 8469"/>
                <a:gd name="connsiteX7" fmla="*/ 50 w 14837"/>
                <a:gd name="connsiteY7" fmla="*/ 3081 h 8469"/>
                <a:gd name="connsiteX8" fmla="*/ 7821 w 14837"/>
                <a:gd name="connsiteY8" fmla="*/ 8439 h 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37" h="8469">
                  <a:moveTo>
                    <a:pt x="7821" y="8439"/>
                  </a:moveTo>
                  <a:cubicBezTo>
                    <a:pt x="11076" y="8386"/>
                    <a:pt x="13904" y="6202"/>
                    <a:pt x="14788" y="3081"/>
                  </a:cubicBezTo>
                  <a:cubicBezTo>
                    <a:pt x="14855" y="2411"/>
                    <a:pt x="14855" y="1741"/>
                    <a:pt x="14788" y="1072"/>
                  </a:cubicBezTo>
                  <a:lnTo>
                    <a:pt x="14788" y="0"/>
                  </a:lnTo>
                  <a:cubicBezTo>
                    <a:pt x="14788" y="4072"/>
                    <a:pt x="11492" y="7368"/>
                    <a:pt x="7419" y="7368"/>
                  </a:cubicBezTo>
                  <a:cubicBezTo>
                    <a:pt x="3346" y="7368"/>
                    <a:pt x="50" y="4072"/>
                    <a:pt x="50" y="0"/>
                  </a:cubicBezTo>
                  <a:lnTo>
                    <a:pt x="50" y="1072"/>
                  </a:lnTo>
                  <a:cubicBezTo>
                    <a:pt x="-17" y="1741"/>
                    <a:pt x="-17" y="2411"/>
                    <a:pt x="50" y="3081"/>
                  </a:cubicBezTo>
                  <a:cubicBezTo>
                    <a:pt x="1001" y="6510"/>
                    <a:pt x="4270" y="8761"/>
                    <a:pt x="7821" y="8439"/>
                  </a:cubicBezTo>
                  <a:close/>
                </a:path>
              </a:pathLst>
            </a:custGeom>
            <a:solidFill>
              <a:srgbClr val="000000"/>
            </a:solidFill>
            <a:ln w="12700" cap="flat">
              <a:noFill/>
              <a:prstDash val="solid"/>
              <a:miter/>
            </a:ln>
          </p:spPr>
          <p:txBody>
            <a:bodyPr rtlCol="0" anchor="ctr"/>
            <a:lstStyle/>
            <a:p>
              <a:endParaRPr lang="en-US"/>
            </a:p>
          </p:txBody>
        </p:sp>
        <p:sp>
          <p:nvSpPr>
            <p:cNvPr id="1299" name="Freeform: Shape 1298">
              <a:extLst>
                <a:ext uri="{FF2B5EF4-FFF2-40B4-BE49-F238E27FC236}">
                  <a16:creationId xmlns:a16="http://schemas.microsoft.com/office/drawing/2014/main" id="{9EC11099-566B-4FC2-9269-7788803B79EE}"/>
                </a:ext>
              </a:extLst>
            </p:cNvPr>
            <p:cNvSpPr/>
            <p:nvPr/>
          </p:nvSpPr>
          <p:spPr>
            <a:xfrm>
              <a:off x="5789645" y="6489752"/>
              <a:ext cx="14054" cy="96448"/>
            </a:xfrm>
            <a:custGeom>
              <a:avLst/>
              <a:gdLst>
                <a:gd name="connsiteX0" fmla="*/ 6625 w 14054"/>
                <a:gd name="connsiteY0" fmla="*/ 96449 h 96448"/>
                <a:gd name="connsiteX1" fmla="*/ 13994 w 14054"/>
                <a:gd name="connsiteY1" fmla="*/ 89081 h 96448"/>
                <a:gd name="connsiteX2" fmla="*/ 13994 w 14054"/>
                <a:gd name="connsiteY2" fmla="*/ 7368 h 96448"/>
                <a:gd name="connsiteX3" fmla="*/ 13994 w 14054"/>
                <a:gd name="connsiteY3" fmla="*/ 6028 h 96448"/>
                <a:gd name="connsiteX4" fmla="*/ 6893 w 14054"/>
                <a:gd name="connsiteY4" fmla="*/ 0 h 96448"/>
                <a:gd name="connsiteX5" fmla="*/ 5419 w 14054"/>
                <a:gd name="connsiteY5" fmla="*/ 0 h 96448"/>
                <a:gd name="connsiteX6" fmla="*/ 3945 w 14054"/>
                <a:gd name="connsiteY6" fmla="*/ 0 h 96448"/>
                <a:gd name="connsiteX7" fmla="*/ 2740 w 14054"/>
                <a:gd name="connsiteY7" fmla="*/ 804 h 96448"/>
                <a:gd name="connsiteX8" fmla="*/ 1668 w 14054"/>
                <a:gd name="connsiteY8" fmla="*/ 1608 h 96448"/>
                <a:gd name="connsiteX9" fmla="*/ 864 w 14054"/>
                <a:gd name="connsiteY9" fmla="*/ 2813 h 96448"/>
                <a:gd name="connsiteX10" fmla="*/ 60 w 14054"/>
                <a:gd name="connsiteY10" fmla="*/ 4019 h 96448"/>
                <a:gd name="connsiteX11" fmla="*/ 60 w 14054"/>
                <a:gd name="connsiteY11" fmla="*/ 5492 h 96448"/>
                <a:gd name="connsiteX12" fmla="*/ 60 w 14054"/>
                <a:gd name="connsiteY12" fmla="*/ 6832 h 96448"/>
                <a:gd name="connsiteX13" fmla="*/ 60 w 14054"/>
                <a:gd name="connsiteY13" fmla="*/ 88545 h 96448"/>
                <a:gd name="connsiteX14" fmla="*/ 6625 w 14054"/>
                <a:gd name="connsiteY14" fmla="*/ 96449 h 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54" h="96448">
                  <a:moveTo>
                    <a:pt x="6625" y="96449"/>
                  </a:moveTo>
                  <a:cubicBezTo>
                    <a:pt x="10698" y="96449"/>
                    <a:pt x="13994" y="93154"/>
                    <a:pt x="13994" y="89081"/>
                  </a:cubicBezTo>
                  <a:lnTo>
                    <a:pt x="13994" y="7368"/>
                  </a:lnTo>
                  <a:cubicBezTo>
                    <a:pt x="14074" y="6926"/>
                    <a:pt x="14074" y="6470"/>
                    <a:pt x="13994" y="6028"/>
                  </a:cubicBezTo>
                  <a:cubicBezTo>
                    <a:pt x="13404" y="2559"/>
                    <a:pt x="10417" y="13"/>
                    <a:pt x="6893" y="0"/>
                  </a:cubicBezTo>
                  <a:lnTo>
                    <a:pt x="5419" y="0"/>
                  </a:lnTo>
                  <a:lnTo>
                    <a:pt x="3945" y="0"/>
                  </a:lnTo>
                  <a:lnTo>
                    <a:pt x="2740" y="804"/>
                  </a:lnTo>
                  <a:lnTo>
                    <a:pt x="1668" y="1608"/>
                  </a:lnTo>
                  <a:cubicBezTo>
                    <a:pt x="1360" y="1983"/>
                    <a:pt x="1078" y="2385"/>
                    <a:pt x="864" y="2813"/>
                  </a:cubicBezTo>
                  <a:cubicBezTo>
                    <a:pt x="569" y="3188"/>
                    <a:pt x="301" y="3604"/>
                    <a:pt x="60" y="4019"/>
                  </a:cubicBezTo>
                  <a:cubicBezTo>
                    <a:pt x="60" y="4019"/>
                    <a:pt x="60" y="4957"/>
                    <a:pt x="60" y="5492"/>
                  </a:cubicBezTo>
                  <a:cubicBezTo>
                    <a:pt x="-20" y="5934"/>
                    <a:pt x="-20" y="6390"/>
                    <a:pt x="60" y="6832"/>
                  </a:cubicBezTo>
                  <a:lnTo>
                    <a:pt x="60" y="88545"/>
                  </a:lnTo>
                  <a:cubicBezTo>
                    <a:pt x="-248" y="92524"/>
                    <a:pt x="2660" y="96020"/>
                    <a:pt x="6625" y="96449"/>
                  </a:cubicBezTo>
                  <a:close/>
                </a:path>
              </a:pathLst>
            </a:custGeom>
            <a:solidFill>
              <a:srgbClr val="000000"/>
            </a:solidFill>
            <a:ln w="12700" cap="flat">
              <a:noFill/>
              <a:prstDash val="solid"/>
              <a:miter/>
            </a:ln>
          </p:spPr>
          <p:txBody>
            <a:bodyPr rtlCol="0" anchor="ctr"/>
            <a:lstStyle/>
            <a:p>
              <a:endParaRPr lang="en-US"/>
            </a:p>
          </p:txBody>
        </p:sp>
        <p:sp>
          <p:nvSpPr>
            <p:cNvPr id="1300" name="Freeform: Shape 1299">
              <a:extLst>
                <a:ext uri="{FF2B5EF4-FFF2-40B4-BE49-F238E27FC236}">
                  <a16:creationId xmlns:a16="http://schemas.microsoft.com/office/drawing/2014/main" id="{1AE4A1E4-3A3C-4904-93CD-BF68E33B25AA}"/>
                </a:ext>
              </a:extLst>
            </p:cNvPr>
            <p:cNvSpPr/>
            <p:nvPr/>
          </p:nvSpPr>
          <p:spPr>
            <a:xfrm>
              <a:off x="6225400" y="6580575"/>
              <a:ext cx="14737" cy="8707"/>
            </a:xfrm>
            <a:custGeom>
              <a:avLst/>
              <a:gdLst>
                <a:gd name="connsiteX0" fmla="*/ 14738 w 14737"/>
                <a:gd name="connsiteY0" fmla="*/ 0 h 8707"/>
                <a:gd name="connsiteX1" fmla="*/ 7369 w 14737"/>
                <a:gd name="connsiteY1" fmla="*/ 7368 h 8707"/>
                <a:gd name="connsiteX2" fmla="*/ 0 w 14737"/>
                <a:gd name="connsiteY2" fmla="*/ 0 h 8707"/>
                <a:gd name="connsiteX3" fmla="*/ 0 w 14737"/>
                <a:gd name="connsiteY3" fmla="*/ 1340 h 8707"/>
                <a:gd name="connsiteX4" fmla="*/ 7369 w 14737"/>
                <a:gd name="connsiteY4" fmla="*/ 8707 h 8707"/>
                <a:gd name="connsiteX5" fmla="*/ 14738 w 14737"/>
                <a:gd name="connsiteY5" fmla="*/ 1340 h 8707"/>
                <a:gd name="connsiteX6" fmla="*/ 14738 w 14737"/>
                <a:gd name="connsiteY6" fmla="*/ 0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707">
                  <a:moveTo>
                    <a:pt x="14738" y="0"/>
                  </a:moveTo>
                  <a:cubicBezTo>
                    <a:pt x="14738" y="4072"/>
                    <a:pt x="11442" y="7368"/>
                    <a:pt x="7369" y="7368"/>
                  </a:cubicBezTo>
                  <a:cubicBezTo>
                    <a:pt x="3296" y="7368"/>
                    <a:pt x="0" y="4072"/>
                    <a:pt x="0" y="0"/>
                  </a:cubicBezTo>
                  <a:lnTo>
                    <a:pt x="0" y="1340"/>
                  </a:lnTo>
                  <a:cubicBezTo>
                    <a:pt x="0" y="5412"/>
                    <a:pt x="3296" y="8707"/>
                    <a:pt x="7369" y="8707"/>
                  </a:cubicBezTo>
                  <a:cubicBezTo>
                    <a:pt x="11442" y="8707"/>
                    <a:pt x="14738" y="5412"/>
                    <a:pt x="14738" y="1340"/>
                  </a:cubicBezTo>
                  <a:lnTo>
                    <a:pt x="14738" y="0"/>
                  </a:lnTo>
                  <a:close/>
                </a:path>
              </a:pathLst>
            </a:custGeom>
            <a:solidFill>
              <a:srgbClr val="000000"/>
            </a:solidFill>
            <a:ln w="12700" cap="flat">
              <a:noFill/>
              <a:prstDash val="solid"/>
              <a:miter/>
            </a:ln>
          </p:spPr>
          <p:txBody>
            <a:bodyPr rtlCol="0" anchor="ctr"/>
            <a:lstStyle/>
            <a:p>
              <a:endParaRPr lang="en-US"/>
            </a:p>
          </p:txBody>
        </p:sp>
        <p:sp>
          <p:nvSpPr>
            <p:cNvPr id="1301" name="Freeform: Shape 1300">
              <a:extLst>
                <a:ext uri="{FF2B5EF4-FFF2-40B4-BE49-F238E27FC236}">
                  <a16:creationId xmlns:a16="http://schemas.microsoft.com/office/drawing/2014/main" id="{574C578D-0DAF-4F78-B1C7-6005FE966D22}"/>
                </a:ext>
              </a:extLst>
            </p:cNvPr>
            <p:cNvSpPr/>
            <p:nvPr/>
          </p:nvSpPr>
          <p:spPr>
            <a:xfrm>
              <a:off x="4939886" y="6581915"/>
              <a:ext cx="14737" cy="271798"/>
            </a:xfrm>
            <a:custGeom>
              <a:avLst/>
              <a:gdLst>
                <a:gd name="connsiteX0" fmla="*/ 7369 w 14737"/>
                <a:gd name="connsiteY0" fmla="*/ 7368 h 271798"/>
                <a:gd name="connsiteX1" fmla="*/ 0 w 14737"/>
                <a:gd name="connsiteY1" fmla="*/ 0 h 271798"/>
                <a:gd name="connsiteX2" fmla="*/ 0 w 14737"/>
                <a:gd name="connsiteY2" fmla="*/ 271798 h 271798"/>
                <a:gd name="connsiteX3" fmla="*/ 14738 w 14737"/>
                <a:gd name="connsiteY3" fmla="*/ 271798 h 271798"/>
                <a:gd name="connsiteX4" fmla="*/ 14738 w 14737"/>
                <a:gd name="connsiteY4" fmla="*/ 0 h 271798"/>
                <a:gd name="connsiteX5" fmla="*/ 7369 w 14737"/>
                <a:gd name="connsiteY5" fmla="*/ 7368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7369" y="7368"/>
                  </a:moveTo>
                  <a:cubicBezTo>
                    <a:pt x="3296" y="7368"/>
                    <a:pt x="0" y="4072"/>
                    <a:pt x="0" y="0"/>
                  </a:cubicBezTo>
                  <a:lnTo>
                    <a:pt x="0" y="271798"/>
                  </a:lnTo>
                  <a:lnTo>
                    <a:pt x="14738" y="271798"/>
                  </a:lnTo>
                  <a:lnTo>
                    <a:pt x="14738" y="0"/>
                  </a:lnTo>
                  <a:cubicBezTo>
                    <a:pt x="14738" y="4072"/>
                    <a:pt x="11442" y="7368"/>
                    <a:pt x="7369" y="7368"/>
                  </a:cubicBezTo>
                  <a:close/>
                </a:path>
              </a:pathLst>
            </a:custGeom>
            <a:solidFill>
              <a:srgbClr val="000000"/>
            </a:solidFill>
            <a:ln w="12700" cap="flat">
              <a:noFill/>
              <a:prstDash val="solid"/>
              <a:miter/>
            </a:ln>
          </p:spPr>
          <p:txBody>
            <a:bodyPr rtlCol="0" anchor="ctr"/>
            <a:lstStyle/>
            <a:p>
              <a:endParaRPr lang="en-US"/>
            </a:p>
          </p:txBody>
        </p:sp>
        <p:sp>
          <p:nvSpPr>
            <p:cNvPr id="1302" name="Freeform: Shape 1301">
              <a:extLst>
                <a:ext uri="{FF2B5EF4-FFF2-40B4-BE49-F238E27FC236}">
                  <a16:creationId xmlns:a16="http://schemas.microsoft.com/office/drawing/2014/main" id="{C9F6A12A-D2B8-43FB-8973-788A4D5A82DC}"/>
                </a:ext>
              </a:extLst>
            </p:cNvPr>
            <p:cNvSpPr/>
            <p:nvPr/>
          </p:nvSpPr>
          <p:spPr>
            <a:xfrm>
              <a:off x="8046825" y="6163702"/>
              <a:ext cx="3483" cy="6161"/>
            </a:xfrm>
            <a:custGeom>
              <a:avLst/>
              <a:gdLst>
                <a:gd name="connsiteX0" fmla="*/ 1340 w 3483"/>
                <a:gd name="connsiteY0" fmla="*/ 6162 h 6161"/>
                <a:gd name="connsiteX1" fmla="*/ 3484 w 3483"/>
                <a:gd name="connsiteY1" fmla="*/ 6162 h 6161"/>
                <a:gd name="connsiteX2" fmla="*/ 0 w 3483"/>
                <a:gd name="connsiteY2" fmla="*/ 0 h 6161"/>
                <a:gd name="connsiteX3" fmla="*/ 0 w 3483"/>
                <a:gd name="connsiteY3" fmla="*/ 2277 h 6161"/>
                <a:gd name="connsiteX4" fmla="*/ 1340 w 3483"/>
                <a:gd name="connsiteY4" fmla="*/ 6162 h 6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3" h="6161">
                  <a:moveTo>
                    <a:pt x="1340" y="6162"/>
                  </a:moveTo>
                  <a:lnTo>
                    <a:pt x="3484" y="6162"/>
                  </a:lnTo>
                  <a:cubicBezTo>
                    <a:pt x="1353" y="4836"/>
                    <a:pt x="27" y="2518"/>
                    <a:pt x="0" y="0"/>
                  </a:cubicBezTo>
                  <a:lnTo>
                    <a:pt x="0" y="2277"/>
                  </a:lnTo>
                  <a:cubicBezTo>
                    <a:pt x="40" y="3684"/>
                    <a:pt x="509" y="5037"/>
                    <a:pt x="1340" y="6162"/>
                  </a:cubicBezTo>
                  <a:close/>
                </a:path>
              </a:pathLst>
            </a:custGeom>
            <a:solidFill>
              <a:srgbClr val="000000"/>
            </a:solidFill>
            <a:ln w="12700" cap="flat">
              <a:noFill/>
              <a:prstDash val="solid"/>
              <a:miter/>
            </a:ln>
          </p:spPr>
          <p:txBody>
            <a:bodyPr rtlCol="0" anchor="ctr"/>
            <a:lstStyle/>
            <a:p>
              <a:endParaRPr lang="en-US"/>
            </a:p>
          </p:txBody>
        </p:sp>
        <p:sp>
          <p:nvSpPr>
            <p:cNvPr id="1303" name="Freeform: Shape 1302">
              <a:extLst>
                <a:ext uri="{FF2B5EF4-FFF2-40B4-BE49-F238E27FC236}">
                  <a16:creationId xmlns:a16="http://schemas.microsoft.com/office/drawing/2014/main" id="{813AE8CB-C11E-4A18-900C-5BD8F231E0EC}"/>
                </a:ext>
              </a:extLst>
            </p:cNvPr>
            <p:cNvSpPr/>
            <p:nvPr/>
          </p:nvSpPr>
          <p:spPr>
            <a:xfrm>
              <a:off x="8058214" y="6163702"/>
              <a:ext cx="3349" cy="6161"/>
            </a:xfrm>
            <a:custGeom>
              <a:avLst/>
              <a:gdLst>
                <a:gd name="connsiteX0" fmla="*/ 3349 w 3349"/>
                <a:gd name="connsiteY0" fmla="*/ 2277 h 6161"/>
                <a:gd name="connsiteX1" fmla="*/ 3349 w 3349"/>
                <a:gd name="connsiteY1" fmla="*/ 0 h 6161"/>
                <a:gd name="connsiteX2" fmla="*/ 0 w 3349"/>
                <a:gd name="connsiteY2" fmla="*/ 6162 h 6161"/>
                <a:gd name="connsiteX3" fmla="*/ 2143 w 3349"/>
                <a:gd name="connsiteY3" fmla="*/ 6162 h 6161"/>
                <a:gd name="connsiteX4" fmla="*/ 3349 w 3349"/>
                <a:gd name="connsiteY4" fmla="*/ 2277 h 6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9" h="6161">
                  <a:moveTo>
                    <a:pt x="3349" y="2277"/>
                  </a:moveTo>
                  <a:lnTo>
                    <a:pt x="3349" y="0"/>
                  </a:lnTo>
                  <a:cubicBezTo>
                    <a:pt x="3376" y="2492"/>
                    <a:pt x="2103" y="4822"/>
                    <a:pt x="0" y="6162"/>
                  </a:cubicBezTo>
                  <a:lnTo>
                    <a:pt x="2143" y="6162"/>
                  </a:lnTo>
                  <a:cubicBezTo>
                    <a:pt x="2880" y="4997"/>
                    <a:pt x="3295" y="3657"/>
                    <a:pt x="3349" y="2277"/>
                  </a:cubicBezTo>
                  <a:close/>
                </a:path>
              </a:pathLst>
            </a:custGeom>
            <a:solidFill>
              <a:srgbClr val="000000"/>
            </a:solidFill>
            <a:ln w="12700" cap="flat">
              <a:noFill/>
              <a:prstDash val="solid"/>
              <a:miter/>
            </a:ln>
          </p:spPr>
          <p:txBody>
            <a:bodyPr rtlCol="0" anchor="ctr"/>
            <a:lstStyle/>
            <a:p>
              <a:endParaRPr lang="en-US"/>
            </a:p>
          </p:txBody>
        </p:sp>
        <p:sp>
          <p:nvSpPr>
            <p:cNvPr id="1304" name="Freeform: Shape 1303">
              <a:extLst>
                <a:ext uri="{FF2B5EF4-FFF2-40B4-BE49-F238E27FC236}">
                  <a16:creationId xmlns:a16="http://schemas.microsoft.com/office/drawing/2014/main" id="{185A84B3-5A85-42D9-A76B-908806F1BB80}"/>
                </a:ext>
              </a:extLst>
            </p:cNvPr>
            <p:cNvSpPr/>
            <p:nvPr/>
          </p:nvSpPr>
          <p:spPr>
            <a:xfrm>
              <a:off x="8046825" y="6137580"/>
              <a:ext cx="14739" cy="32283"/>
            </a:xfrm>
            <a:custGeom>
              <a:avLst/>
              <a:gdLst>
                <a:gd name="connsiteX0" fmla="*/ 0 w 14739"/>
                <a:gd name="connsiteY0" fmla="*/ 26122 h 32283"/>
                <a:gd name="connsiteX1" fmla="*/ 3484 w 14739"/>
                <a:gd name="connsiteY1" fmla="*/ 32284 h 32283"/>
                <a:gd name="connsiteX2" fmla="*/ 11389 w 14739"/>
                <a:gd name="connsiteY2" fmla="*/ 32284 h 32283"/>
                <a:gd name="connsiteX3" fmla="*/ 14738 w 14739"/>
                <a:gd name="connsiteY3" fmla="*/ 26122 h 32283"/>
                <a:gd name="connsiteX4" fmla="*/ 14738 w 14739"/>
                <a:gd name="connsiteY4" fmla="*/ 7368 h 32283"/>
                <a:gd name="connsiteX5" fmla="*/ 7637 w 14739"/>
                <a:gd name="connsiteY5" fmla="*/ 0 h 32283"/>
                <a:gd name="connsiteX6" fmla="*/ 7369 w 14739"/>
                <a:gd name="connsiteY6" fmla="*/ 0 h 32283"/>
                <a:gd name="connsiteX7" fmla="*/ 0 w 14739"/>
                <a:gd name="connsiteY7" fmla="*/ 7368 h 32283"/>
                <a:gd name="connsiteX8" fmla="*/ 0 w 14739"/>
                <a:gd name="connsiteY8" fmla="*/ 26122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32283">
                  <a:moveTo>
                    <a:pt x="0" y="26122"/>
                  </a:moveTo>
                  <a:cubicBezTo>
                    <a:pt x="27" y="28640"/>
                    <a:pt x="1353" y="30957"/>
                    <a:pt x="3484" y="32284"/>
                  </a:cubicBezTo>
                  <a:lnTo>
                    <a:pt x="11389" y="32284"/>
                  </a:lnTo>
                  <a:cubicBezTo>
                    <a:pt x="13492" y="30944"/>
                    <a:pt x="14764" y="28613"/>
                    <a:pt x="14738" y="26122"/>
                  </a:cubicBezTo>
                  <a:lnTo>
                    <a:pt x="14738" y="7368"/>
                  </a:lnTo>
                  <a:cubicBezTo>
                    <a:pt x="14818" y="3376"/>
                    <a:pt x="11630" y="80"/>
                    <a:pt x="7637" y="0"/>
                  </a:cubicBezTo>
                  <a:cubicBezTo>
                    <a:pt x="7557" y="0"/>
                    <a:pt x="7463" y="0"/>
                    <a:pt x="7369" y="0"/>
                  </a:cubicBezTo>
                  <a:cubicBezTo>
                    <a:pt x="3296" y="0"/>
                    <a:pt x="0" y="3295"/>
                    <a:pt x="0" y="7368"/>
                  </a:cubicBezTo>
                  <a:lnTo>
                    <a:pt x="0" y="26122"/>
                  </a:lnTo>
                  <a:close/>
                </a:path>
              </a:pathLst>
            </a:custGeom>
            <a:solidFill>
              <a:srgbClr val="000000"/>
            </a:solidFill>
            <a:ln w="12700" cap="flat">
              <a:noFill/>
              <a:prstDash val="solid"/>
              <a:miter/>
            </a:ln>
          </p:spPr>
          <p:txBody>
            <a:bodyPr rtlCol="0" anchor="ctr"/>
            <a:lstStyle/>
            <a:p>
              <a:endParaRPr lang="en-US"/>
            </a:p>
          </p:txBody>
        </p:sp>
        <p:sp>
          <p:nvSpPr>
            <p:cNvPr id="1305" name="Freeform: Shape 1304">
              <a:extLst>
                <a:ext uri="{FF2B5EF4-FFF2-40B4-BE49-F238E27FC236}">
                  <a16:creationId xmlns:a16="http://schemas.microsoft.com/office/drawing/2014/main" id="{339D5BE2-E78E-4690-8D8B-1E653E14D4F9}"/>
                </a:ext>
              </a:extLst>
            </p:cNvPr>
            <p:cNvSpPr/>
            <p:nvPr/>
          </p:nvSpPr>
          <p:spPr>
            <a:xfrm>
              <a:off x="5505137" y="6541594"/>
              <a:ext cx="14737" cy="47554"/>
            </a:xfrm>
            <a:custGeom>
              <a:avLst/>
              <a:gdLst>
                <a:gd name="connsiteX0" fmla="*/ 0 w 14737"/>
                <a:gd name="connsiteY0" fmla="*/ 0 h 47554"/>
                <a:gd name="connsiteX1" fmla="*/ 0 w 14737"/>
                <a:gd name="connsiteY1" fmla="*/ 40187 h 47554"/>
                <a:gd name="connsiteX2" fmla="*/ 7369 w 14737"/>
                <a:gd name="connsiteY2" fmla="*/ 47554 h 47554"/>
                <a:gd name="connsiteX3" fmla="*/ 14738 w 14737"/>
                <a:gd name="connsiteY3" fmla="*/ 40187 h 47554"/>
                <a:gd name="connsiteX4" fmla="*/ 14738 w 14737"/>
                <a:gd name="connsiteY4" fmla="*/ 5358 h 47554"/>
                <a:gd name="connsiteX5" fmla="*/ 12192 w 14737"/>
                <a:gd name="connsiteY5" fmla="*/ 5358 h 47554"/>
                <a:gd name="connsiteX6" fmla="*/ 7369 w 14737"/>
                <a:gd name="connsiteY6" fmla="*/ 7234 h 47554"/>
                <a:gd name="connsiteX7" fmla="*/ 0 w 14737"/>
                <a:gd name="connsiteY7" fmla="*/ 0 h 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47554">
                  <a:moveTo>
                    <a:pt x="0" y="0"/>
                  </a:moveTo>
                  <a:lnTo>
                    <a:pt x="0" y="40187"/>
                  </a:lnTo>
                  <a:cubicBezTo>
                    <a:pt x="0" y="44259"/>
                    <a:pt x="3296" y="47554"/>
                    <a:pt x="7369" y="47554"/>
                  </a:cubicBezTo>
                  <a:cubicBezTo>
                    <a:pt x="11442" y="47554"/>
                    <a:pt x="14738" y="44259"/>
                    <a:pt x="14738" y="40187"/>
                  </a:cubicBezTo>
                  <a:lnTo>
                    <a:pt x="14738" y="5358"/>
                  </a:lnTo>
                  <a:lnTo>
                    <a:pt x="12192" y="5358"/>
                  </a:lnTo>
                  <a:cubicBezTo>
                    <a:pt x="10879" y="6577"/>
                    <a:pt x="9164" y="7247"/>
                    <a:pt x="7369" y="7234"/>
                  </a:cubicBezTo>
                  <a:cubicBezTo>
                    <a:pt x="3349" y="7234"/>
                    <a:pt x="67" y="4019"/>
                    <a:pt x="0" y="0"/>
                  </a:cubicBezTo>
                  <a:close/>
                </a:path>
              </a:pathLst>
            </a:custGeom>
            <a:solidFill>
              <a:srgbClr val="000000"/>
            </a:solidFill>
            <a:ln w="12700" cap="flat">
              <a:noFill/>
              <a:prstDash val="solid"/>
              <a:miter/>
            </a:ln>
          </p:spPr>
          <p:txBody>
            <a:bodyPr rtlCol="0" anchor="ctr"/>
            <a:lstStyle/>
            <a:p>
              <a:endParaRPr lang="en-US"/>
            </a:p>
          </p:txBody>
        </p:sp>
        <p:sp>
          <p:nvSpPr>
            <p:cNvPr id="1306" name="Freeform: Shape 1305">
              <a:extLst>
                <a:ext uri="{FF2B5EF4-FFF2-40B4-BE49-F238E27FC236}">
                  <a16:creationId xmlns:a16="http://schemas.microsoft.com/office/drawing/2014/main" id="{FD5F8CC8-571F-4693-8DA2-4DBFFF4A2F9B}"/>
                </a:ext>
              </a:extLst>
            </p:cNvPr>
            <p:cNvSpPr/>
            <p:nvPr/>
          </p:nvSpPr>
          <p:spPr>
            <a:xfrm>
              <a:off x="7900923" y="6169864"/>
              <a:ext cx="153270" cy="14601"/>
            </a:xfrm>
            <a:custGeom>
              <a:avLst/>
              <a:gdLst>
                <a:gd name="connsiteX0" fmla="*/ 145902 w 153270"/>
                <a:gd name="connsiteY0" fmla="*/ 7368 h 14601"/>
                <a:gd name="connsiteX1" fmla="*/ 153270 w 153270"/>
                <a:gd name="connsiteY1" fmla="*/ 0 h 14601"/>
                <a:gd name="connsiteX2" fmla="*/ 3752 w 153270"/>
                <a:gd name="connsiteY2" fmla="*/ 0 h 14601"/>
                <a:gd name="connsiteX3" fmla="*/ 0 w 153270"/>
                <a:gd name="connsiteY3" fmla="*/ 1206 h 14601"/>
                <a:gd name="connsiteX4" fmla="*/ 3618 w 153270"/>
                <a:gd name="connsiteY4" fmla="*/ 7368 h 14601"/>
                <a:gd name="connsiteX5" fmla="*/ 0 w 153270"/>
                <a:gd name="connsiteY5" fmla="*/ 13530 h 14601"/>
                <a:gd name="connsiteX6" fmla="*/ 3752 w 153270"/>
                <a:gd name="connsiteY6" fmla="*/ 14602 h 14601"/>
                <a:gd name="connsiteX7" fmla="*/ 153003 w 153270"/>
                <a:gd name="connsiteY7" fmla="*/ 14602 h 14601"/>
                <a:gd name="connsiteX8" fmla="*/ 145902 w 153270"/>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70" h="14601">
                  <a:moveTo>
                    <a:pt x="145902" y="7368"/>
                  </a:moveTo>
                  <a:cubicBezTo>
                    <a:pt x="145902" y="3296"/>
                    <a:pt x="149198" y="0"/>
                    <a:pt x="153270" y="0"/>
                  </a:cubicBezTo>
                  <a:lnTo>
                    <a:pt x="3752" y="0"/>
                  </a:lnTo>
                  <a:cubicBezTo>
                    <a:pt x="2398" y="-13"/>
                    <a:pt x="1086" y="416"/>
                    <a:pt x="0" y="1206"/>
                  </a:cubicBezTo>
                  <a:cubicBezTo>
                    <a:pt x="2224" y="2465"/>
                    <a:pt x="3605" y="4809"/>
                    <a:pt x="3618" y="7368"/>
                  </a:cubicBezTo>
                  <a:cubicBezTo>
                    <a:pt x="3551" y="9913"/>
                    <a:pt x="2184" y="12231"/>
                    <a:pt x="0" y="13530"/>
                  </a:cubicBezTo>
                  <a:cubicBezTo>
                    <a:pt x="1126" y="14227"/>
                    <a:pt x="2425" y="14588"/>
                    <a:pt x="3752" y="14602"/>
                  </a:cubicBezTo>
                  <a:lnTo>
                    <a:pt x="153003" y="14602"/>
                  </a:lnTo>
                  <a:cubicBezTo>
                    <a:pt x="149091" y="14454"/>
                    <a:pt x="145969" y="11279"/>
                    <a:pt x="145902" y="7368"/>
                  </a:cubicBezTo>
                  <a:close/>
                </a:path>
              </a:pathLst>
            </a:custGeom>
            <a:solidFill>
              <a:srgbClr val="000000"/>
            </a:solidFill>
            <a:ln w="12700" cap="flat">
              <a:noFill/>
              <a:prstDash val="solid"/>
              <a:miter/>
            </a:ln>
          </p:spPr>
          <p:txBody>
            <a:bodyPr rtlCol="0" anchor="ctr"/>
            <a:lstStyle/>
            <a:p>
              <a:endParaRPr lang="en-US"/>
            </a:p>
          </p:txBody>
        </p:sp>
        <p:sp>
          <p:nvSpPr>
            <p:cNvPr id="1307" name="Freeform: Shape 1306">
              <a:extLst>
                <a:ext uri="{FF2B5EF4-FFF2-40B4-BE49-F238E27FC236}">
                  <a16:creationId xmlns:a16="http://schemas.microsoft.com/office/drawing/2014/main" id="{AA98DB47-8057-4590-8116-B2E06CFA9EF7}"/>
                </a:ext>
              </a:extLst>
            </p:cNvPr>
            <p:cNvSpPr/>
            <p:nvPr/>
          </p:nvSpPr>
          <p:spPr>
            <a:xfrm>
              <a:off x="6225400" y="6580575"/>
              <a:ext cx="14737" cy="7369"/>
            </a:xfrm>
            <a:custGeom>
              <a:avLst/>
              <a:gdLst>
                <a:gd name="connsiteX0" fmla="*/ 7369 w 14737"/>
                <a:gd name="connsiteY0" fmla="*/ 7368 h 7369"/>
                <a:gd name="connsiteX1" fmla="*/ 14738 w 14737"/>
                <a:gd name="connsiteY1" fmla="*/ 0 h 7369"/>
                <a:gd name="connsiteX2" fmla="*/ 14738 w 14737"/>
                <a:gd name="connsiteY2" fmla="*/ 0 h 7369"/>
                <a:gd name="connsiteX3" fmla="*/ 7369 w 14737"/>
                <a:gd name="connsiteY3" fmla="*/ 7368 h 7369"/>
                <a:gd name="connsiteX4" fmla="*/ 0 w 14737"/>
                <a:gd name="connsiteY4" fmla="*/ 268 h 7369"/>
                <a:gd name="connsiteX5" fmla="*/ 0 w 14737"/>
                <a:gd name="connsiteY5" fmla="*/ 0 h 7369"/>
                <a:gd name="connsiteX6" fmla="*/ 0 w 14737"/>
                <a:gd name="connsiteY6" fmla="*/ 0 h 7369"/>
                <a:gd name="connsiteX7" fmla="*/ 7369 w 14737"/>
                <a:gd name="connsiteY7" fmla="*/ 7368 h 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369">
                  <a:moveTo>
                    <a:pt x="7369" y="7368"/>
                  </a:moveTo>
                  <a:cubicBezTo>
                    <a:pt x="11442" y="7368"/>
                    <a:pt x="14738" y="4072"/>
                    <a:pt x="14738" y="0"/>
                  </a:cubicBezTo>
                  <a:lnTo>
                    <a:pt x="14738" y="0"/>
                  </a:lnTo>
                  <a:cubicBezTo>
                    <a:pt x="14738" y="4072"/>
                    <a:pt x="11442" y="7368"/>
                    <a:pt x="7369" y="7368"/>
                  </a:cubicBezTo>
                  <a:cubicBezTo>
                    <a:pt x="3376" y="7448"/>
                    <a:pt x="80" y="4260"/>
                    <a:pt x="0" y="268"/>
                  </a:cubicBezTo>
                  <a:cubicBezTo>
                    <a:pt x="0" y="174"/>
                    <a:pt x="0" y="94"/>
                    <a:pt x="0" y="0"/>
                  </a:cubicBezTo>
                  <a:lnTo>
                    <a:pt x="0" y="0"/>
                  </a:lnTo>
                  <a:cubicBezTo>
                    <a:pt x="0" y="4072"/>
                    <a:pt x="3296" y="7368"/>
                    <a:pt x="7369" y="7368"/>
                  </a:cubicBezTo>
                  <a:close/>
                </a:path>
              </a:pathLst>
            </a:custGeom>
            <a:solidFill>
              <a:srgbClr val="000000"/>
            </a:solidFill>
            <a:ln w="12700" cap="flat">
              <a:noFill/>
              <a:prstDash val="solid"/>
              <a:miter/>
            </a:ln>
          </p:spPr>
          <p:txBody>
            <a:bodyPr rtlCol="0" anchor="ctr"/>
            <a:lstStyle/>
            <a:p>
              <a:endParaRPr lang="en-US"/>
            </a:p>
          </p:txBody>
        </p:sp>
        <p:sp>
          <p:nvSpPr>
            <p:cNvPr id="1308" name="Freeform: Shape 1307">
              <a:extLst>
                <a:ext uri="{FF2B5EF4-FFF2-40B4-BE49-F238E27FC236}">
                  <a16:creationId xmlns:a16="http://schemas.microsoft.com/office/drawing/2014/main" id="{C8F3965C-DB16-4150-95D9-322F2CFF10EE}"/>
                </a:ext>
              </a:extLst>
            </p:cNvPr>
            <p:cNvSpPr/>
            <p:nvPr/>
          </p:nvSpPr>
          <p:spPr>
            <a:xfrm>
              <a:off x="4939886" y="6580575"/>
              <a:ext cx="14737" cy="8707"/>
            </a:xfrm>
            <a:custGeom>
              <a:avLst/>
              <a:gdLst>
                <a:gd name="connsiteX0" fmla="*/ 7369 w 14737"/>
                <a:gd name="connsiteY0" fmla="*/ 7368 h 8707"/>
                <a:gd name="connsiteX1" fmla="*/ 0 w 14737"/>
                <a:gd name="connsiteY1" fmla="*/ 0 h 8707"/>
                <a:gd name="connsiteX2" fmla="*/ 0 w 14737"/>
                <a:gd name="connsiteY2" fmla="*/ 1340 h 8707"/>
                <a:gd name="connsiteX3" fmla="*/ 7369 w 14737"/>
                <a:gd name="connsiteY3" fmla="*/ 8707 h 8707"/>
                <a:gd name="connsiteX4" fmla="*/ 14738 w 14737"/>
                <a:gd name="connsiteY4" fmla="*/ 1340 h 8707"/>
                <a:gd name="connsiteX5" fmla="*/ 14738 w 14737"/>
                <a:gd name="connsiteY5" fmla="*/ 0 h 8707"/>
                <a:gd name="connsiteX6" fmla="*/ 7369 w 14737"/>
                <a:gd name="connsiteY6" fmla="*/ 7368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707">
                  <a:moveTo>
                    <a:pt x="7369" y="7368"/>
                  </a:moveTo>
                  <a:cubicBezTo>
                    <a:pt x="3296" y="7368"/>
                    <a:pt x="0" y="4072"/>
                    <a:pt x="0" y="0"/>
                  </a:cubicBezTo>
                  <a:lnTo>
                    <a:pt x="0" y="1340"/>
                  </a:lnTo>
                  <a:cubicBezTo>
                    <a:pt x="0" y="5412"/>
                    <a:pt x="3296" y="8707"/>
                    <a:pt x="7369" y="8707"/>
                  </a:cubicBezTo>
                  <a:cubicBezTo>
                    <a:pt x="11442" y="8707"/>
                    <a:pt x="14738" y="5412"/>
                    <a:pt x="14738" y="1340"/>
                  </a:cubicBezTo>
                  <a:lnTo>
                    <a:pt x="14738" y="0"/>
                  </a:lnTo>
                  <a:cubicBezTo>
                    <a:pt x="14738" y="4072"/>
                    <a:pt x="11442" y="7368"/>
                    <a:pt x="7369" y="7368"/>
                  </a:cubicBezTo>
                  <a:close/>
                </a:path>
              </a:pathLst>
            </a:custGeom>
            <a:solidFill>
              <a:srgbClr val="000000"/>
            </a:solidFill>
            <a:ln w="12700" cap="flat">
              <a:noFill/>
              <a:prstDash val="solid"/>
              <a:miter/>
            </a:ln>
          </p:spPr>
          <p:txBody>
            <a:bodyPr rtlCol="0" anchor="ctr"/>
            <a:lstStyle/>
            <a:p>
              <a:endParaRPr lang="en-US"/>
            </a:p>
          </p:txBody>
        </p:sp>
        <p:sp>
          <p:nvSpPr>
            <p:cNvPr id="1309" name="Freeform: Shape 1308">
              <a:extLst>
                <a:ext uri="{FF2B5EF4-FFF2-40B4-BE49-F238E27FC236}">
                  <a16:creationId xmlns:a16="http://schemas.microsoft.com/office/drawing/2014/main" id="{28CC28CF-9E9A-4802-AAA4-F42F005D3011}"/>
                </a:ext>
              </a:extLst>
            </p:cNvPr>
            <p:cNvSpPr/>
            <p:nvPr/>
          </p:nvSpPr>
          <p:spPr>
            <a:xfrm>
              <a:off x="6810346" y="6504220"/>
              <a:ext cx="14737" cy="77694"/>
            </a:xfrm>
            <a:custGeom>
              <a:avLst/>
              <a:gdLst>
                <a:gd name="connsiteX0" fmla="*/ 7369 w 14737"/>
                <a:gd name="connsiteY0" fmla="*/ 0 h 77694"/>
                <a:gd name="connsiteX1" fmla="*/ 0 w 14737"/>
                <a:gd name="connsiteY1" fmla="*/ 7368 h 77694"/>
                <a:gd name="connsiteX2" fmla="*/ 0 w 14737"/>
                <a:gd name="connsiteY2" fmla="*/ 77695 h 77694"/>
                <a:gd name="connsiteX3" fmla="*/ 7369 w 14737"/>
                <a:gd name="connsiteY3" fmla="*/ 70327 h 77694"/>
                <a:gd name="connsiteX4" fmla="*/ 14738 w 14737"/>
                <a:gd name="connsiteY4" fmla="*/ 77427 h 77694"/>
                <a:gd name="connsiteX5" fmla="*/ 14738 w 14737"/>
                <a:gd name="connsiteY5" fmla="*/ 77695 h 77694"/>
                <a:gd name="connsiteX6" fmla="*/ 14738 w 14737"/>
                <a:gd name="connsiteY6" fmla="*/ 7368 h 77694"/>
                <a:gd name="connsiteX7" fmla="*/ 7369 w 14737"/>
                <a:gd name="connsiteY7" fmla="*/ 0 h 7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7694">
                  <a:moveTo>
                    <a:pt x="7369" y="0"/>
                  </a:moveTo>
                  <a:cubicBezTo>
                    <a:pt x="3296" y="0"/>
                    <a:pt x="0" y="3295"/>
                    <a:pt x="0" y="7368"/>
                  </a:cubicBezTo>
                  <a:lnTo>
                    <a:pt x="0" y="77695"/>
                  </a:lnTo>
                  <a:cubicBezTo>
                    <a:pt x="0" y="73623"/>
                    <a:pt x="3296" y="70327"/>
                    <a:pt x="7369" y="70327"/>
                  </a:cubicBezTo>
                  <a:cubicBezTo>
                    <a:pt x="11361" y="70247"/>
                    <a:pt x="14657" y="73435"/>
                    <a:pt x="14738" y="77427"/>
                  </a:cubicBezTo>
                  <a:cubicBezTo>
                    <a:pt x="14738" y="77521"/>
                    <a:pt x="14738" y="77601"/>
                    <a:pt x="14738" y="77695"/>
                  </a:cubicBezTo>
                  <a:lnTo>
                    <a:pt x="14738" y="7368"/>
                  </a:lnTo>
                  <a:cubicBezTo>
                    <a:pt x="14738" y="3295"/>
                    <a:pt x="11442" y="0"/>
                    <a:pt x="7369" y="0"/>
                  </a:cubicBezTo>
                  <a:close/>
                </a:path>
              </a:pathLst>
            </a:custGeom>
            <a:solidFill>
              <a:srgbClr val="000000"/>
            </a:solidFill>
            <a:ln w="12700" cap="flat">
              <a:noFill/>
              <a:prstDash val="solid"/>
              <a:miter/>
            </a:ln>
          </p:spPr>
          <p:txBody>
            <a:bodyPr rtlCol="0" anchor="ctr"/>
            <a:lstStyle/>
            <a:p>
              <a:endParaRPr lang="en-US"/>
            </a:p>
          </p:txBody>
        </p:sp>
        <p:sp>
          <p:nvSpPr>
            <p:cNvPr id="1310" name="Freeform: Shape 1309">
              <a:extLst>
                <a:ext uri="{FF2B5EF4-FFF2-40B4-BE49-F238E27FC236}">
                  <a16:creationId xmlns:a16="http://schemas.microsoft.com/office/drawing/2014/main" id="{D9953CD6-DF61-4523-85D9-D459625B9BDB}"/>
                </a:ext>
              </a:extLst>
            </p:cNvPr>
            <p:cNvSpPr/>
            <p:nvPr/>
          </p:nvSpPr>
          <p:spPr>
            <a:xfrm>
              <a:off x="6810346" y="6574547"/>
              <a:ext cx="14739" cy="279165"/>
            </a:xfrm>
            <a:custGeom>
              <a:avLst/>
              <a:gdLst>
                <a:gd name="connsiteX0" fmla="*/ 7369 w 14739"/>
                <a:gd name="connsiteY0" fmla="*/ 0 h 279165"/>
                <a:gd name="connsiteX1" fmla="*/ 0 w 14739"/>
                <a:gd name="connsiteY1" fmla="*/ 7368 h 279165"/>
                <a:gd name="connsiteX2" fmla="*/ 0 w 14739"/>
                <a:gd name="connsiteY2" fmla="*/ 279166 h 279165"/>
                <a:gd name="connsiteX3" fmla="*/ 14738 w 14739"/>
                <a:gd name="connsiteY3" fmla="*/ 279166 h 279165"/>
                <a:gd name="connsiteX4" fmla="*/ 14738 w 14739"/>
                <a:gd name="connsiteY4" fmla="*/ 7368 h 279165"/>
                <a:gd name="connsiteX5" fmla="*/ 7637 w 14739"/>
                <a:gd name="connsiteY5" fmla="*/ 0 h 279165"/>
                <a:gd name="connsiteX6" fmla="*/ 7369 w 14739"/>
                <a:gd name="connsiteY6" fmla="*/ 0 h 27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9" h="279165">
                  <a:moveTo>
                    <a:pt x="7369" y="0"/>
                  </a:moveTo>
                  <a:cubicBezTo>
                    <a:pt x="3296" y="0"/>
                    <a:pt x="0" y="3295"/>
                    <a:pt x="0" y="7368"/>
                  </a:cubicBezTo>
                  <a:lnTo>
                    <a:pt x="0" y="279166"/>
                  </a:lnTo>
                  <a:lnTo>
                    <a:pt x="14738" y="279166"/>
                  </a:lnTo>
                  <a:lnTo>
                    <a:pt x="14738" y="7368"/>
                  </a:lnTo>
                  <a:cubicBezTo>
                    <a:pt x="14818" y="3376"/>
                    <a:pt x="11629" y="80"/>
                    <a:pt x="7637" y="0"/>
                  </a:cubicBezTo>
                  <a:cubicBezTo>
                    <a:pt x="7543" y="0"/>
                    <a:pt x="7463" y="0"/>
                    <a:pt x="7369" y="0"/>
                  </a:cubicBezTo>
                  <a:close/>
                </a:path>
              </a:pathLst>
            </a:custGeom>
            <a:solidFill>
              <a:srgbClr val="000000"/>
            </a:solidFill>
            <a:ln w="12700" cap="flat">
              <a:noFill/>
              <a:prstDash val="solid"/>
              <a:miter/>
            </a:ln>
          </p:spPr>
          <p:txBody>
            <a:bodyPr rtlCol="0" anchor="ctr"/>
            <a:lstStyle/>
            <a:p>
              <a:endParaRPr lang="en-US"/>
            </a:p>
          </p:txBody>
        </p:sp>
        <p:sp>
          <p:nvSpPr>
            <p:cNvPr id="1311" name="Freeform: Shape 1310">
              <a:extLst>
                <a:ext uri="{FF2B5EF4-FFF2-40B4-BE49-F238E27FC236}">
                  <a16:creationId xmlns:a16="http://schemas.microsoft.com/office/drawing/2014/main" id="{ECDA4CC0-502C-4722-B719-BD5429FADA68}"/>
                </a:ext>
              </a:extLst>
            </p:cNvPr>
            <p:cNvSpPr/>
            <p:nvPr/>
          </p:nvSpPr>
          <p:spPr>
            <a:xfrm>
              <a:off x="5505137" y="6539718"/>
              <a:ext cx="12192" cy="9243"/>
            </a:xfrm>
            <a:custGeom>
              <a:avLst/>
              <a:gdLst>
                <a:gd name="connsiteX0" fmla="*/ 7369 w 12192"/>
                <a:gd name="connsiteY0" fmla="*/ 9243 h 9243"/>
                <a:gd name="connsiteX1" fmla="*/ 12192 w 12192"/>
                <a:gd name="connsiteY1" fmla="*/ 7367 h 9243"/>
                <a:gd name="connsiteX2" fmla="*/ 7369 w 12192"/>
                <a:gd name="connsiteY2" fmla="*/ 7367 h 9243"/>
                <a:gd name="connsiteX3" fmla="*/ 0 w 12192"/>
                <a:gd name="connsiteY3" fmla="*/ 0 h 9243"/>
                <a:gd name="connsiteX4" fmla="*/ 0 w 12192"/>
                <a:gd name="connsiteY4" fmla="*/ 1875 h 9243"/>
                <a:gd name="connsiteX5" fmla="*/ 7369 w 12192"/>
                <a:gd name="connsiteY5" fmla="*/ 9243 h 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 h="9243">
                  <a:moveTo>
                    <a:pt x="7369" y="9243"/>
                  </a:moveTo>
                  <a:cubicBezTo>
                    <a:pt x="9164" y="9256"/>
                    <a:pt x="10879" y="8587"/>
                    <a:pt x="12192" y="7367"/>
                  </a:cubicBezTo>
                  <a:lnTo>
                    <a:pt x="7369" y="7367"/>
                  </a:lnTo>
                  <a:cubicBezTo>
                    <a:pt x="3296" y="7367"/>
                    <a:pt x="0" y="4072"/>
                    <a:pt x="0" y="0"/>
                  </a:cubicBezTo>
                  <a:lnTo>
                    <a:pt x="0" y="1875"/>
                  </a:lnTo>
                  <a:cubicBezTo>
                    <a:pt x="0" y="5948"/>
                    <a:pt x="3296" y="9243"/>
                    <a:pt x="7369" y="9243"/>
                  </a:cubicBezTo>
                  <a:close/>
                </a:path>
              </a:pathLst>
            </a:custGeom>
            <a:solidFill>
              <a:srgbClr val="000000"/>
            </a:solidFill>
            <a:ln w="12700" cap="flat">
              <a:noFill/>
              <a:prstDash val="solid"/>
              <a:miter/>
            </a:ln>
          </p:spPr>
          <p:txBody>
            <a:bodyPr rtlCol="0" anchor="ctr"/>
            <a:lstStyle/>
            <a:p>
              <a:endParaRPr lang="en-US"/>
            </a:p>
          </p:txBody>
        </p:sp>
        <p:sp>
          <p:nvSpPr>
            <p:cNvPr id="1312" name="Freeform: Shape 1311">
              <a:extLst>
                <a:ext uri="{FF2B5EF4-FFF2-40B4-BE49-F238E27FC236}">
                  <a16:creationId xmlns:a16="http://schemas.microsoft.com/office/drawing/2014/main" id="{7E8D7C98-F07E-4410-B4FF-334F1907157B}"/>
                </a:ext>
              </a:extLst>
            </p:cNvPr>
            <p:cNvSpPr/>
            <p:nvPr/>
          </p:nvSpPr>
          <p:spPr>
            <a:xfrm>
              <a:off x="5505137" y="5941238"/>
              <a:ext cx="14798" cy="598078"/>
            </a:xfrm>
            <a:custGeom>
              <a:avLst/>
              <a:gdLst>
                <a:gd name="connsiteX0" fmla="*/ 0 w 14798"/>
                <a:gd name="connsiteY0" fmla="*/ 5856 h 598078"/>
                <a:gd name="connsiteX1" fmla="*/ 0 w 14798"/>
                <a:gd name="connsiteY1" fmla="*/ 598078 h 598078"/>
                <a:gd name="connsiteX2" fmla="*/ 7369 w 14798"/>
                <a:gd name="connsiteY2" fmla="*/ 590711 h 598078"/>
                <a:gd name="connsiteX3" fmla="*/ 14738 w 14798"/>
                <a:gd name="connsiteY3" fmla="*/ 590711 h 598078"/>
                <a:gd name="connsiteX4" fmla="*/ 14738 w 14798"/>
                <a:gd name="connsiteY4" fmla="*/ 5856 h 598078"/>
                <a:gd name="connsiteX5" fmla="*/ 14738 w 14798"/>
                <a:gd name="connsiteY5" fmla="*/ 5856 h 598078"/>
                <a:gd name="connsiteX6" fmla="*/ 14738 w 14798"/>
                <a:gd name="connsiteY6" fmla="*/ 4382 h 598078"/>
                <a:gd name="connsiteX7" fmla="*/ 14738 w 14798"/>
                <a:gd name="connsiteY7" fmla="*/ 3042 h 598078"/>
                <a:gd name="connsiteX8" fmla="*/ 13934 w 14798"/>
                <a:gd name="connsiteY8" fmla="*/ 1971 h 598078"/>
                <a:gd name="connsiteX9" fmla="*/ 12996 w 14798"/>
                <a:gd name="connsiteY9" fmla="*/ 899 h 598078"/>
                <a:gd name="connsiteX10" fmla="*/ 11790 w 14798"/>
                <a:gd name="connsiteY10" fmla="*/ 95 h 598078"/>
                <a:gd name="connsiteX11" fmla="*/ 10584 w 14798"/>
                <a:gd name="connsiteY11" fmla="*/ 95 h 598078"/>
                <a:gd name="connsiteX12" fmla="*/ 8173 w 14798"/>
                <a:gd name="connsiteY12" fmla="*/ 95 h 598078"/>
                <a:gd name="connsiteX13" fmla="*/ 0 w 14798"/>
                <a:gd name="connsiteY13" fmla="*/ 5856 h 59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98" h="598078">
                  <a:moveTo>
                    <a:pt x="0" y="5856"/>
                  </a:moveTo>
                  <a:lnTo>
                    <a:pt x="0" y="598078"/>
                  </a:lnTo>
                  <a:cubicBezTo>
                    <a:pt x="0" y="594006"/>
                    <a:pt x="3296" y="590711"/>
                    <a:pt x="7369" y="590711"/>
                  </a:cubicBezTo>
                  <a:lnTo>
                    <a:pt x="14738" y="590711"/>
                  </a:lnTo>
                  <a:lnTo>
                    <a:pt x="14738" y="5856"/>
                  </a:lnTo>
                  <a:cubicBezTo>
                    <a:pt x="14738" y="5856"/>
                    <a:pt x="14738" y="5856"/>
                    <a:pt x="14738" y="5856"/>
                  </a:cubicBezTo>
                  <a:cubicBezTo>
                    <a:pt x="14818" y="5367"/>
                    <a:pt x="14818" y="4871"/>
                    <a:pt x="14738" y="4382"/>
                  </a:cubicBezTo>
                  <a:lnTo>
                    <a:pt x="14738" y="3042"/>
                  </a:lnTo>
                  <a:lnTo>
                    <a:pt x="13934" y="1971"/>
                  </a:lnTo>
                  <a:cubicBezTo>
                    <a:pt x="13693" y="1556"/>
                    <a:pt x="13371" y="1191"/>
                    <a:pt x="12996" y="899"/>
                  </a:cubicBezTo>
                  <a:lnTo>
                    <a:pt x="11790" y="95"/>
                  </a:lnTo>
                  <a:lnTo>
                    <a:pt x="10584" y="95"/>
                  </a:lnTo>
                  <a:cubicBezTo>
                    <a:pt x="9781" y="-32"/>
                    <a:pt x="8977" y="-32"/>
                    <a:pt x="8173" y="95"/>
                  </a:cubicBezTo>
                  <a:cubicBezTo>
                    <a:pt x="4368" y="-410"/>
                    <a:pt x="804" y="2098"/>
                    <a:pt x="0" y="5856"/>
                  </a:cubicBezTo>
                  <a:close/>
                </a:path>
              </a:pathLst>
            </a:custGeom>
            <a:solidFill>
              <a:srgbClr val="000000"/>
            </a:solidFill>
            <a:ln w="12700" cap="flat">
              <a:noFill/>
              <a:prstDash val="solid"/>
              <a:miter/>
            </a:ln>
          </p:spPr>
          <p:txBody>
            <a:bodyPr rtlCol="0" anchor="ctr"/>
            <a:lstStyle/>
            <a:p>
              <a:endParaRPr lang="en-US"/>
            </a:p>
          </p:txBody>
        </p:sp>
        <p:sp>
          <p:nvSpPr>
            <p:cNvPr id="1313" name="Freeform: Shape 1312">
              <a:extLst>
                <a:ext uri="{FF2B5EF4-FFF2-40B4-BE49-F238E27FC236}">
                  <a16:creationId xmlns:a16="http://schemas.microsoft.com/office/drawing/2014/main" id="{6E186C47-ACC9-4210-8CF1-EC925F25D8B6}"/>
                </a:ext>
              </a:extLst>
            </p:cNvPr>
            <p:cNvSpPr/>
            <p:nvPr/>
          </p:nvSpPr>
          <p:spPr>
            <a:xfrm>
              <a:off x="8067725" y="6169794"/>
              <a:ext cx="15462" cy="14741"/>
            </a:xfrm>
            <a:custGeom>
              <a:avLst/>
              <a:gdLst>
                <a:gd name="connsiteX0" fmla="*/ 0 w 15462"/>
                <a:gd name="connsiteY0" fmla="*/ 70 h 14741"/>
                <a:gd name="connsiteX1" fmla="*/ 8293 w 15462"/>
                <a:gd name="connsiteY1" fmla="*/ 6380 h 14741"/>
                <a:gd name="connsiteX2" fmla="*/ 1983 w 15462"/>
                <a:gd name="connsiteY2" fmla="*/ 14672 h 14741"/>
                <a:gd name="connsiteX3" fmla="*/ 0 w 15462"/>
                <a:gd name="connsiteY3" fmla="*/ 14672 h 14741"/>
                <a:gd name="connsiteX4" fmla="*/ 7101 w 15462"/>
                <a:gd name="connsiteY4" fmla="*/ 14672 h 14741"/>
                <a:gd name="connsiteX5" fmla="*/ 15394 w 15462"/>
                <a:gd name="connsiteY5" fmla="*/ 8362 h 14741"/>
                <a:gd name="connsiteX6" fmla="*/ 9084 w 15462"/>
                <a:gd name="connsiteY6" fmla="*/ 70 h 14741"/>
                <a:gd name="connsiteX7" fmla="*/ 7101 w 15462"/>
                <a:gd name="connsiteY7" fmla="*/ 70 h 14741"/>
                <a:gd name="connsiteX8" fmla="*/ 0 w 15462"/>
                <a:gd name="connsiteY8" fmla="*/ 70 h 1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2" h="14741">
                  <a:moveTo>
                    <a:pt x="0" y="70"/>
                  </a:moveTo>
                  <a:cubicBezTo>
                    <a:pt x="4033" y="-479"/>
                    <a:pt x="7744" y="2348"/>
                    <a:pt x="8293" y="6380"/>
                  </a:cubicBezTo>
                  <a:cubicBezTo>
                    <a:pt x="8843" y="10412"/>
                    <a:pt x="6016" y="14122"/>
                    <a:pt x="1983" y="14672"/>
                  </a:cubicBezTo>
                  <a:cubicBezTo>
                    <a:pt x="1326" y="14765"/>
                    <a:pt x="657" y="14765"/>
                    <a:pt x="0" y="14672"/>
                  </a:cubicBezTo>
                  <a:lnTo>
                    <a:pt x="7101" y="14672"/>
                  </a:lnTo>
                  <a:cubicBezTo>
                    <a:pt x="11133" y="15221"/>
                    <a:pt x="14845" y="12394"/>
                    <a:pt x="15394" y="8362"/>
                  </a:cubicBezTo>
                  <a:cubicBezTo>
                    <a:pt x="15943" y="4330"/>
                    <a:pt x="13116" y="620"/>
                    <a:pt x="9084" y="70"/>
                  </a:cubicBezTo>
                  <a:cubicBezTo>
                    <a:pt x="8428" y="-23"/>
                    <a:pt x="7758" y="-23"/>
                    <a:pt x="7101" y="70"/>
                  </a:cubicBezTo>
                  <a:lnTo>
                    <a:pt x="0" y="70"/>
                  </a:lnTo>
                  <a:close/>
                </a:path>
              </a:pathLst>
            </a:custGeom>
            <a:solidFill>
              <a:srgbClr val="000000"/>
            </a:solidFill>
            <a:ln w="12700" cap="flat">
              <a:noFill/>
              <a:prstDash val="solid"/>
              <a:miter/>
            </a:ln>
          </p:spPr>
          <p:txBody>
            <a:bodyPr rtlCol="0" anchor="ctr"/>
            <a:lstStyle/>
            <a:p>
              <a:endParaRPr lang="en-US"/>
            </a:p>
          </p:txBody>
        </p:sp>
        <p:sp>
          <p:nvSpPr>
            <p:cNvPr id="1314" name="Freeform: Shape 1313">
              <a:extLst>
                <a:ext uri="{FF2B5EF4-FFF2-40B4-BE49-F238E27FC236}">
                  <a16:creationId xmlns:a16="http://schemas.microsoft.com/office/drawing/2014/main" id="{AD655B32-918A-4B92-8F3F-E8CD49068C8E}"/>
                </a:ext>
              </a:extLst>
            </p:cNvPr>
            <p:cNvSpPr/>
            <p:nvPr/>
          </p:nvSpPr>
          <p:spPr>
            <a:xfrm>
              <a:off x="8045967" y="6169796"/>
              <a:ext cx="29127" cy="14739"/>
            </a:xfrm>
            <a:custGeom>
              <a:avLst/>
              <a:gdLst>
                <a:gd name="connsiteX0" fmla="*/ 29127 w 29127"/>
                <a:gd name="connsiteY0" fmla="*/ 7436 h 14739"/>
                <a:gd name="connsiteX1" fmla="*/ 21759 w 29127"/>
                <a:gd name="connsiteY1" fmla="*/ 68 h 14739"/>
                <a:gd name="connsiteX2" fmla="*/ 8361 w 29127"/>
                <a:gd name="connsiteY2" fmla="*/ 68 h 14739"/>
                <a:gd name="connsiteX3" fmla="*/ 68 w 29127"/>
                <a:gd name="connsiteY3" fmla="*/ 6378 h 14739"/>
                <a:gd name="connsiteX4" fmla="*/ 6378 w 29127"/>
                <a:gd name="connsiteY4" fmla="*/ 14670 h 14739"/>
                <a:gd name="connsiteX5" fmla="*/ 8361 w 29127"/>
                <a:gd name="connsiteY5" fmla="*/ 14670 h 14739"/>
                <a:gd name="connsiteX6" fmla="*/ 21759 w 29127"/>
                <a:gd name="connsiteY6" fmla="*/ 14670 h 14739"/>
                <a:gd name="connsiteX7" fmla="*/ 29127 w 29127"/>
                <a:gd name="connsiteY7"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127" h="14739">
                  <a:moveTo>
                    <a:pt x="29127" y="7436"/>
                  </a:moveTo>
                  <a:cubicBezTo>
                    <a:pt x="29127" y="3364"/>
                    <a:pt x="25832" y="68"/>
                    <a:pt x="21759" y="68"/>
                  </a:cubicBezTo>
                  <a:lnTo>
                    <a:pt x="8361" y="68"/>
                  </a:lnTo>
                  <a:cubicBezTo>
                    <a:pt x="4329" y="-481"/>
                    <a:pt x="617" y="2346"/>
                    <a:pt x="68" y="6378"/>
                  </a:cubicBezTo>
                  <a:cubicBezTo>
                    <a:pt x="-481" y="10410"/>
                    <a:pt x="2346" y="14120"/>
                    <a:pt x="6378" y="14670"/>
                  </a:cubicBezTo>
                  <a:cubicBezTo>
                    <a:pt x="7035" y="14763"/>
                    <a:pt x="7704" y="14763"/>
                    <a:pt x="8361" y="14670"/>
                  </a:cubicBezTo>
                  <a:lnTo>
                    <a:pt x="21759" y="14670"/>
                  </a:lnTo>
                  <a:cubicBezTo>
                    <a:pt x="25778" y="14670"/>
                    <a:pt x="29061" y="11455"/>
                    <a:pt x="29127" y="7436"/>
                  </a:cubicBezTo>
                  <a:close/>
                </a:path>
              </a:pathLst>
            </a:custGeom>
            <a:solidFill>
              <a:srgbClr val="000000"/>
            </a:solidFill>
            <a:ln w="12700" cap="flat">
              <a:noFill/>
              <a:prstDash val="solid"/>
              <a:miter/>
            </a:ln>
          </p:spPr>
          <p:txBody>
            <a:bodyPr rtlCol="0" anchor="ctr"/>
            <a:lstStyle/>
            <a:p>
              <a:endParaRPr lang="en-US"/>
            </a:p>
          </p:txBody>
        </p:sp>
        <p:sp>
          <p:nvSpPr>
            <p:cNvPr id="1315" name="Freeform: Shape 1314">
              <a:extLst>
                <a:ext uri="{FF2B5EF4-FFF2-40B4-BE49-F238E27FC236}">
                  <a16:creationId xmlns:a16="http://schemas.microsoft.com/office/drawing/2014/main" id="{753E74D7-6786-4610-89BE-4FB11CCF4162}"/>
                </a:ext>
              </a:extLst>
            </p:cNvPr>
            <p:cNvSpPr/>
            <p:nvPr/>
          </p:nvSpPr>
          <p:spPr>
            <a:xfrm>
              <a:off x="7834739" y="6169796"/>
              <a:ext cx="69935" cy="14739"/>
            </a:xfrm>
            <a:custGeom>
              <a:avLst/>
              <a:gdLst>
                <a:gd name="connsiteX0" fmla="*/ 69936 w 69935"/>
                <a:gd name="connsiteY0" fmla="*/ 7436 h 14739"/>
                <a:gd name="connsiteX1" fmla="*/ 66318 w 69935"/>
                <a:gd name="connsiteY1" fmla="*/ 1274 h 14739"/>
                <a:gd name="connsiteX2" fmla="*/ 62567 w 69935"/>
                <a:gd name="connsiteY2" fmla="*/ 68 h 14739"/>
                <a:gd name="connsiteX3" fmla="*/ 0 w 69935"/>
                <a:gd name="connsiteY3" fmla="*/ 68 h 14739"/>
                <a:gd name="connsiteX4" fmla="*/ 8293 w 69935"/>
                <a:gd name="connsiteY4" fmla="*/ 6378 h 14739"/>
                <a:gd name="connsiteX5" fmla="*/ 1982 w 69935"/>
                <a:gd name="connsiteY5" fmla="*/ 14670 h 14739"/>
                <a:gd name="connsiteX6" fmla="*/ 0 w 69935"/>
                <a:gd name="connsiteY6" fmla="*/ 14670 h 14739"/>
                <a:gd name="connsiteX7" fmla="*/ 62567 w 69935"/>
                <a:gd name="connsiteY7" fmla="*/ 14670 h 14739"/>
                <a:gd name="connsiteX8" fmla="*/ 66318 w 69935"/>
                <a:gd name="connsiteY8" fmla="*/ 13598 h 14739"/>
                <a:gd name="connsiteX9" fmla="*/ 69936 w 69935"/>
                <a:gd name="connsiteY9"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35" h="14739">
                  <a:moveTo>
                    <a:pt x="69936" y="7436"/>
                  </a:moveTo>
                  <a:cubicBezTo>
                    <a:pt x="69923" y="4877"/>
                    <a:pt x="68542" y="2533"/>
                    <a:pt x="66318" y="1274"/>
                  </a:cubicBezTo>
                  <a:cubicBezTo>
                    <a:pt x="65233" y="484"/>
                    <a:pt x="63921" y="55"/>
                    <a:pt x="62567" y="68"/>
                  </a:cubicBezTo>
                  <a:lnTo>
                    <a:pt x="0" y="68"/>
                  </a:lnTo>
                  <a:cubicBezTo>
                    <a:pt x="4032" y="-481"/>
                    <a:pt x="7743" y="2346"/>
                    <a:pt x="8293" y="6378"/>
                  </a:cubicBezTo>
                  <a:cubicBezTo>
                    <a:pt x="8842" y="10410"/>
                    <a:pt x="6015" y="14120"/>
                    <a:pt x="1982" y="14670"/>
                  </a:cubicBezTo>
                  <a:cubicBezTo>
                    <a:pt x="1326" y="14763"/>
                    <a:pt x="656" y="14763"/>
                    <a:pt x="0" y="14670"/>
                  </a:cubicBezTo>
                  <a:lnTo>
                    <a:pt x="62567" y="14670"/>
                  </a:lnTo>
                  <a:cubicBezTo>
                    <a:pt x="63894" y="14656"/>
                    <a:pt x="65193" y="14294"/>
                    <a:pt x="66318" y="13598"/>
                  </a:cubicBezTo>
                  <a:cubicBezTo>
                    <a:pt x="68502" y="12299"/>
                    <a:pt x="69869" y="9981"/>
                    <a:pt x="69936" y="7436"/>
                  </a:cubicBezTo>
                  <a:close/>
                </a:path>
              </a:pathLst>
            </a:custGeom>
            <a:solidFill>
              <a:srgbClr val="000000"/>
            </a:solidFill>
            <a:ln w="12700" cap="flat">
              <a:noFill/>
              <a:prstDash val="solid"/>
              <a:miter/>
            </a:ln>
          </p:spPr>
          <p:txBody>
            <a:bodyPr rtlCol="0" anchor="ctr"/>
            <a:lstStyle/>
            <a:p>
              <a:endParaRPr lang="en-US"/>
            </a:p>
          </p:txBody>
        </p:sp>
        <p:sp>
          <p:nvSpPr>
            <p:cNvPr id="1316" name="Freeform: Shape 1315">
              <a:extLst>
                <a:ext uri="{FF2B5EF4-FFF2-40B4-BE49-F238E27FC236}">
                  <a16:creationId xmlns:a16="http://schemas.microsoft.com/office/drawing/2014/main" id="{D66FFF7A-85A5-4066-9BFD-EE712C999DFD}"/>
                </a:ext>
              </a:extLst>
            </p:cNvPr>
            <p:cNvSpPr/>
            <p:nvPr/>
          </p:nvSpPr>
          <p:spPr>
            <a:xfrm>
              <a:off x="7826834" y="6169796"/>
              <a:ext cx="15409" cy="14739"/>
            </a:xfrm>
            <a:custGeom>
              <a:avLst/>
              <a:gdLst>
                <a:gd name="connsiteX0" fmla="*/ 15408 w 15409"/>
                <a:gd name="connsiteY0" fmla="*/ 7436 h 14739"/>
                <a:gd name="connsiteX1" fmla="*/ 8307 w 15409"/>
                <a:gd name="connsiteY1" fmla="*/ 68 h 14739"/>
                <a:gd name="connsiteX2" fmla="*/ 8038 w 15409"/>
                <a:gd name="connsiteY2" fmla="*/ 68 h 14739"/>
                <a:gd name="connsiteX3" fmla="*/ 0 w 15409"/>
                <a:gd name="connsiteY3" fmla="*/ 68 h 14739"/>
                <a:gd name="connsiteX4" fmla="*/ 8293 w 15409"/>
                <a:gd name="connsiteY4" fmla="*/ 6378 h 14739"/>
                <a:gd name="connsiteX5" fmla="*/ 1983 w 15409"/>
                <a:gd name="connsiteY5" fmla="*/ 14670 h 14739"/>
                <a:gd name="connsiteX6" fmla="*/ 0 w 15409"/>
                <a:gd name="connsiteY6" fmla="*/ 14670 h 14739"/>
                <a:gd name="connsiteX7" fmla="*/ 8038 w 15409"/>
                <a:gd name="connsiteY7" fmla="*/ 14670 h 14739"/>
                <a:gd name="connsiteX8" fmla="*/ 15408 w 15409"/>
                <a:gd name="connsiteY8" fmla="*/ 7570 h 14739"/>
                <a:gd name="connsiteX9" fmla="*/ 15408 w 15409"/>
                <a:gd name="connsiteY9"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09" h="14739">
                  <a:moveTo>
                    <a:pt x="15408" y="7436"/>
                  </a:moveTo>
                  <a:cubicBezTo>
                    <a:pt x="15488" y="3444"/>
                    <a:pt x="12299" y="149"/>
                    <a:pt x="8307" y="68"/>
                  </a:cubicBezTo>
                  <a:cubicBezTo>
                    <a:pt x="8226" y="68"/>
                    <a:pt x="8132" y="68"/>
                    <a:pt x="8038" y="68"/>
                  </a:cubicBezTo>
                  <a:lnTo>
                    <a:pt x="0" y="68"/>
                  </a:lnTo>
                  <a:cubicBezTo>
                    <a:pt x="4033" y="-481"/>
                    <a:pt x="7744" y="2346"/>
                    <a:pt x="8293" y="6378"/>
                  </a:cubicBezTo>
                  <a:cubicBezTo>
                    <a:pt x="8842" y="10410"/>
                    <a:pt x="6015" y="14120"/>
                    <a:pt x="1983" y="14670"/>
                  </a:cubicBezTo>
                  <a:cubicBezTo>
                    <a:pt x="1326" y="14763"/>
                    <a:pt x="657" y="14763"/>
                    <a:pt x="0" y="14670"/>
                  </a:cubicBezTo>
                  <a:lnTo>
                    <a:pt x="8038" y="14670"/>
                  </a:lnTo>
                  <a:cubicBezTo>
                    <a:pt x="12031" y="14750"/>
                    <a:pt x="15327" y="11562"/>
                    <a:pt x="15408" y="7570"/>
                  </a:cubicBezTo>
                  <a:cubicBezTo>
                    <a:pt x="15408" y="7530"/>
                    <a:pt x="15408" y="7476"/>
                    <a:pt x="15408" y="7436"/>
                  </a:cubicBezTo>
                  <a:close/>
                </a:path>
              </a:pathLst>
            </a:custGeom>
            <a:solidFill>
              <a:srgbClr val="000000"/>
            </a:solidFill>
            <a:ln w="12700" cap="flat">
              <a:noFill/>
              <a:prstDash val="solid"/>
              <a:miter/>
            </a:ln>
          </p:spPr>
          <p:txBody>
            <a:bodyPr rtlCol="0" anchor="ctr"/>
            <a:lstStyle/>
            <a:p>
              <a:endParaRPr lang="en-US"/>
            </a:p>
          </p:txBody>
        </p:sp>
        <p:sp>
          <p:nvSpPr>
            <p:cNvPr id="1317" name="Freeform: Shape 1316">
              <a:extLst>
                <a:ext uri="{FF2B5EF4-FFF2-40B4-BE49-F238E27FC236}">
                  <a16:creationId xmlns:a16="http://schemas.microsoft.com/office/drawing/2014/main" id="{6ACA978C-B88E-4448-B1E5-88C3FD78B00F}"/>
                </a:ext>
              </a:extLst>
            </p:cNvPr>
            <p:cNvSpPr/>
            <p:nvPr/>
          </p:nvSpPr>
          <p:spPr>
            <a:xfrm>
              <a:off x="7658156" y="6169794"/>
              <a:ext cx="177039" cy="14739"/>
            </a:xfrm>
            <a:custGeom>
              <a:avLst/>
              <a:gdLst>
                <a:gd name="connsiteX0" fmla="*/ 7369 w 177039"/>
                <a:gd name="connsiteY0" fmla="*/ 7438 h 14739"/>
                <a:gd name="connsiteX1" fmla="*/ 0 w 177039"/>
                <a:gd name="connsiteY1" fmla="*/ 14672 h 14739"/>
                <a:gd name="connsiteX2" fmla="*/ 168678 w 177039"/>
                <a:gd name="connsiteY2" fmla="*/ 14672 h 14739"/>
                <a:gd name="connsiteX3" fmla="*/ 176972 w 177039"/>
                <a:gd name="connsiteY3" fmla="*/ 8362 h 14739"/>
                <a:gd name="connsiteX4" fmla="*/ 170661 w 177039"/>
                <a:gd name="connsiteY4" fmla="*/ 70 h 14739"/>
                <a:gd name="connsiteX5" fmla="*/ 168678 w 177039"/>
                <a:gd name="connsiteY5" fmla="*/ 70 h 14739"/>
                <a:gd name="connsiteX6" fmla="*/ 0 w 177039"/>
                <a:gd name="connsiteY6" fmla="*/ 70 h 14739"/>
                <a:gd name="connsiteX7" fmla="*/ 7369 w 177039"/>
                <a:gd name="connsiteY7"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039" h="14739">
                  <a:moveTo>
                    <a:pt x="7369" y="7438"/>
                  </a:moveTo>
                  <a:cubicBezTo>
                    <a:pt x="7302" y="11457"/>
                    <a:pt x="4020" y="14672"/>
                    <a:pt x="0" y="14672"/>
                  </a:cubicBezTo>
                  <a:lnTo>
                    <a:pt x="168678" y="14672"/>
                  </a:lnTo>
                  <a:cubicBezTo>
                    <a:pt x="172711" y="15221"/>
                    <a:pt x="176422" y="12394"/>
                    <a:pt x="176972" y="8362"/>
                  </a:cubicBezTo>
                  <a:cubicBezTo>
                    <a:pt x="177520" y="4330"/>
                    <a:pt x="174693" y="620"/>
                    <a:pt x="170661" y="70"/>
                  </a:cubicBezTo>
                  <a:cubicBezTo>
                    <a:pt x="170004" y="-23"/>
                    <a:pt x="169335" y="-23"/>
                    <a:pt x="168678" y="70"/>
                  </a:cubicBezTo>
                  <a:lnTo>
                    <a:pt x="0" y="70"/>
                  </a:lnTo>
                  <a:cubicBezTo>
                    <a:pt x="4073" y="70"/>
                    <a:pt x="7369" y="3366"/>
                    <a:pt x="7369" y="7438"/>
                  </a:cubicBezTo>
                  <a:close/>
                </a:path>
              </a:pathLst>
            </a:custGeom>
            <a:solidFill>
              <a:srgbClr val="000000"/>
            </a:solidFill>
            <a:ln w="12700" cap="flat">
              <a:noFill/>
              <a:prstDash val="solid"/>
              <a:miter/>
            </a:ln>
          </p:spPr>
          <p:txBody>
            <a:bodyPr rtlCol="0" anchor="ctr"/>
            <a:lstStyle/>
            <a:p>
              <a:endParaRPr lang="en-US"/>
            </a:p>
          </p:txBody>
        </p:sp>
        <p:sp>
          <p:nvSpPr>
            <p:cNvPr id="1318" name="Freeform: Shape 1317">
              <a:extLst>
                <a:ext uri="{FF2B5EF4-FFF2-40B4-BE49-F238E27FC236}">
                  <a16:creationId xmlns:a16="http://schemas.microsoft.com/office/drawing/2014/main" id="{9F439DC1-F2DF-4966-B15A-3AB39CB43E8A}"/>
                </a:ext>
              </a:extLst>
            </p:cNvPr>
            <p:cNvSpPr/>
            <p:nvPr/>
          </p:nvSpPr>
          <p:spPr>
            <a:xfrm>
              <a:off x="6225399" y="6578834"/>
              <a:ext cx="14739" cy="8439"/>
            </a:xfrm>
            <a:custGeom>
              <a:avLst/>
              <a:gdLst>
                <a:gd name="connsiteX0" fmla="*/ 7370 w 14739"/>
                <a:gd name="connsiteY0" fmla="*/ 8439 h 8439"/>
                <a:gd name="connsiteX1" fmla="*/ 14739 w 14739"/>
                <a:gd name="connsiteY1" fmla="*/ 1072 h 8439"/>
                <a:gd name="connsiteX2" fmla="*/ 14739 w 14739"/>
                <a:gd name="connsiteY2" fmla="*/ 0 h 8439"/>
                <a:gd name="connsiteX3" fmla="*/ 7370 w 14739"/>
                <a:gd name="connsiteY3" fmla="*/ 7368 h 8439"/>
                <a:gd name="connsiteX4" fmla="*/ 1 w 14739"/>
                <a:gd name="connsiteY4" fmla="*/ 268 h 8439"/>
                <a:gd name="connsiteX5" fmla="*/ 1 w 14739"/>
                <a:gd name="connsiteY5" fmla="*/ 0 h 8439"/>
                <a:gd name="connsiteX6" fmla="*/ 1 w 14739"/>
                <a:gd name="connsiteY6" fmla="*/ 1072 h 8439"/>
                <a:gd name="connsiteX7" fmla="*/ 7102 w 14739"/>
                <a:gd name="connsiteY7" fmla="*/ 8439 h 8439"/>
                <a:gd name="connsiteX8" fmla="*/ 7370 w 14739"/>
                <a:gd name="connsiteY8" fmla="*/ 8439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439">
                  <a:moveTo>
                    <a:pt x="7370" y="8439"/>
                  </a:moveTo>
                  <a:cubicBezTo>
                    <a:pt x="11443" y="8439"/>
                    <a:pt x="14739" y="5144"/>
                    <a:pt x="14739" y="1072"/>
                  </a:cubicBezTo>
                  <a:lnTo>
                    <a:pt x="14739" y="0"/>
                  </a:lnTo>
                  <a:cubicBezTo>
                    <a:pt x="14739" y="4072"/>
                    <a:pt x="11443" y="7368"/>
                    <a:pt x="7370" y="7368"/>
                  </a:cubicBezTo>
                  <a:cubicBezTo>
                    <a:pt x="3378" y="7448"/>
                    <a:pt x="82" y="4260"/>
                    <a:pt x="1" y="268"/>
                  </a:cubicBezTo>
                  <a:cubicBezTo>
                    <a:pt x="1" y="174"/>
                    <a:pt x="1" y="94"/>
                    <a:pt x="1" y="0"/>
                  </a:cubicBezTo>
                  <a:lnTo>
                    <a:pt x="1" y="1072"/>
                  </a:lnTo>
                  <a:cubicBezTo>
                    <a:pt x="-79" y="5063"/>
                    <a:pt x="3110" y="8359"/>
                    <a:pt x="7102" y="8439"/>
                  </a:cubicBezTo>
                  <a:cubicBezTo>
                    <a:pt x="7196" y="8439"/>
                    <a:pt x="7276" y="8439"/>
                    <a:pt x="7370" y="8439"/>
                  </a:cubicBezTo>
                  <a:close/>
                </a:path>
              </a:pathLst>
            </a:custGeom>
            <a:solidFill>
              <a:srgbClr val="000000"/>
            </a:solidFill>
            <a:ln w="12700" cap="flat">
              <a:noFill/>
              <a:prstDash val="solid"/>
              <a:miter/>
            </a:ln>
          </p:spPr>
          <p:txBody>
            <a:bodyPr rtlCol="0" anchor="ctr"/>
            <a:lstStyle/>
            <a:p>
              <a:endParaRPr lang="en-US"/>
            </a:p>
          </p:txBody>
        </p:sp>
        <p:sp>
          <p:nvSpPr>
            <p:cNvPr id="1319" name="Freeform: Shape 1318">
              <a:extLst>
                <a:ext uri="{FF2B5EF4-FFF2-40B4-BE49-F238E27FC236}">
                  <a16:creationId xmlns:a16="http://schemas.microsoft.com/office/drawing/2014/main" id="{38799DC0-2AE9-4A20-90AC-9FA3A6833B47}"/>
                </a:ext>
              </a:extLst>
            </p:cNvPr>
            <p:cNvSpPr/>
            <p:nvPr/>
          </p:nvSpPr>
          <p:spPr>
            <a:xfrm>
              <a:off x="6225533" y="6489134"/>
              <a:ext cx="14738" cy="97067"/>
            </a:xfrm>
            <a:custGeom>
              <a:avLst/>
              <a:gdLst>
                <a:gd name="connsiteX0" fmla="*/ 1 w 14738"/>
                <a:gd name="connsiteY0" fmla="*/ 6111 h 97067"/>
                <a:gd name="connsiteX1" fmla="*/ 1 w 14738"/>
                <a:gd name="connsiteY1" fmla="*/ 7317 h 97067"/>
                <a:gd name="connsiteX2" fmla="*/ 1 w 14738"/>
                <a:gd name="connsiteY2" fmla="*/ 89700 h 97067"/>
                <a:gd name="connsiteX3" fmla="*/ 7102 w 14738"/>
                <a:gd name="connsiteY3" fmla="*/ 97068 h 97067"/>
                <a:gd name="connsiteX4" fmla="*/ 7370 w 14738"/>
                <a:gd name="connsiteY4" fmla="*/ 97068 h 97067"/>
                <a:gd name="connsiteX5" fmla="*/ 14739 w 14738"/>
                <a:gd name="connsiteY5" fmla="*/ 89700 h 97067"/>
                <a:gd name="connsiteX6" fmla="*/ 14739 w 14738"/>
                <a:gd name="connsiteY6" fmla="*/ 7183 h 97067"/>
                <a:gd name="connsiteX7" fmla="*/ 7196 w 14738"/>
                <a:gd name="connsiteY7" fmla="*/ 3 h 97067"/>
                <a:gd name="connsiteX8" fmla="*/ 135 w 14738"/>
                <a:gd name="connsiteY8" fmla="*/ 5977 h 9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97067">
                  <a:moveTo>
                    <a:pt x="1" y="6111"/>
                  </a:moveTo>
                  <a:cubicBezTo>
                    <a:pt x="1" y="6111"/>
                    <a:pt x="1" y="6915"/>
                    <a:pt x="1" y="7317"/>
                  </a:cubicBezTo>
                  <a:lnTo>
                    <a:pt x="1" y="89700"/>
                  </a:lnTo>
                  <a:cubicBezTo>
                    <a:pt x="-79" y="93692"/>
                    <a:pt x="3110" y="96987"/>
                    <a:pt x="7102" y="97068"/>
                  </a:cubicBezTo>
                  <a:cubicBezTo>
                    <a:pt x="7196" y="97068"/>
                    <a:pt x="7276" y="97068"/>
                    <a:pt x="7370" y="97068"/>
                  </a:cubicBezTo>
                  <a:cubicBezTo>
                    <a:pt x="11443" y="97068"/>
                    <a:pt x="14739" y="93772"/>
                    <a:pt x="14739" y="89700"/>
                  </a:cubicBezTo>
                  <a:lnTo>
                    <a:pt x="14739" y="7183"/>
                  </a:lnTo>
                  <a:cubicBezTo>
                    <a:pt x="14645" y="3110"/>
                    <a:pt x="11256" y="-105"/>
                    <a:pt x="7196" y="3"/>
                  </a:cubicBezTo>
                  <a:cubicBezTo>
                    <a:pt x="3726" y="83"/>
                    <a:pt x="792" y="2575"/>
                    <a:pt x="135" y="5977"/>
                  </a:cubicBezTo>
                  <a:close/>
                </a:path>
              </a:pathLst>
            </a:custGeom>
            <a:solidFill>
              <a:srgbClr val="000000"/>
            </a:solidFill>
            <a:ln w="12700" cap="flat">
              <a:noFill/>
              <a:prstDash val="solid"/>
              <a:miter/>
            </a:ln>
          </p:spPr>
          <p:txBody>
            <a:bodyPr rtlCol="0" anchor="ctr"/>
            <a:lstStyle/>
            <a:p>
              <a:endParaRPr lang="en-US"/>
            </a:p>
          </p:txBody>
        </p:sp>
        <p:sp>
          <p:nvSpPr>
            <p:cNvPr id="1320" name="Freeform: Shape 1319">
              <a:extLst>
                <a:ext uri="{FF2B5EF4-FFF2-40B4-BE49-F238E27FC236}">
                  <a16:creationId xmlns:a16="http://schemas.microsoft.com/office/drawing/2014/main" id="{A07765C0-813E-49DD-9FCA-C3DA54FEC465}"/>
                </a:ext>
              </a:extLst>
            </p:cNvPr>
            <p:cNvSpPr/>
            <p:nvPr/>
          </p:nvSpPr>
          <p:spPr>
            <a:xfrm>
              <a:off x="4939886" y="6579905"/>
              <a:ext cx="14737" cy="7367"/>
            </a:xfrm>
            <a:custGeom>
              <a:avLst/>
              <a:gdLst>
                <a:gd name="connsiteX0" fmla="*/ 7369 w 14737"/>
                <a:gd name="connsiteY0" fmla="*/ 7367 h 7367"/>
                <a:gd name="connsiteX1" fmla="*/ 0 w 14737"/>
                <a:gd name="connsiteY1" fmla="*/ 0 h 7367"/>
                <a:gd name="connsiteX2" fmla="*/ 0 w 14737"/>
                <a:gd name="connsiteY2" fmla="*/ 0 h 7367"/>
                <a:gd name="connsiteX3" fmla="*/ 7369 w 14737"/>
                <a:gd name="connsiteY3" fmla="*/ 7367 h 7367"/>
                <a:gd name="connsiteX4" fmla="*/ 14738 w 14737"/>
                <a:gd name="connsiteY4" fmla="*/ 0 h 7367"/>
                <a:gd name="connsiteX5" fmla="*/ 14738 w 14737"/>
                <a:gd name="connsiteY5" fmla="*/ 0 h 7367"/>
                <a:gd name="connsiteX6" fmla="*/ 7369 w 14737"/>
                <a:gd name="connsiteY6" fmla="*/ 7367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7367">
                  <a:moveTo>
                    <a:pt x="7369" y="7367"/>
                  </a:moveTo>
                  <a:cubicBezTo>
                    <a:pt x="3296" y="7367"/>
                    <a:pt x="0" y="4072"/>
                    <a:pt x="0" y="0"/>
                  </a:cubicBezTo>
                  <a:lnTo>
                    <a:pt x="0" y="0"/>
                  </a:lnTo>
                  <a:cubicBezTo>
                    <a:pt x="0" y="4072"/>
                    <a:pt x="3296" y="7367"/>
                    <a:pt x="7369" y="7367"/>
                  </a:cubicBezTo>
                  <a:cubicBezTo>
                    <a:pt x="11442" y="7367"/>
                    <a:pt x="14738" y="4072"/>
                    <a:pt x="14738" y="0"/>
                  </a:cubicBezTo>
                  <a:lnTo>
                    <a:pt x="14738" y="0"/>
                  </a:lnTo>
                  <a:cubicBezTo>
                    <a:pt x="14738" y="4072"/>
                    <a:pt x="11442" y="7367"/>
                    <a:pt x="7369" y="7367"/>
                  </a:cubicBezTo>
                  <a:close/>
                </a:path>
              </a:pathLst>
            </a:custGeom>
            <a:solidFill>
              <a:srgbClr val="000000"/>
            </a:solidFill>
            <a:ln w="12700" cap="flat">
              <a:noFill/>
              <a:prstDash val="solid"/>
              <a:miter/>
            </a:ln>
          </p:spPr>
          <p:txBody>
            <a:bodyPr rtlCol="0" anchor="ctr"/>
            <a:lstStyle/>
            <a:p>
              <a:endParaRPr lang="en-US"/>
            </a:p>
          </p:txBody>
        </p:sp>
        <p:sp>
          <p:nvSpPr>
            <p:cNvPr id="1321" name="Freeform: Shape 1320">
              <a:extLst>
                <a:ext uri="{FF2B5EF4-FFF2-40B4-BE49-F238E27FC236}">
                  <a16:creationId xmlns:a16="http://schemas.microsoft.com/office/drawing/2014/main" id="{1E9009C5-5D89-4F89-99E2-C1EFABD054C3}"/>
                </a:ext>
              </a:extLst>
            </p:cNvPr>
            <p:cNvSpPr/>
            <p:nvPr/>
          </p:nvSpPr>
          <p:spPr>
            <a:xfrm>
              <a:off x="7616891" y="6169794"/>
              <a:ext cx="49626" cy="14739"/>
            </a:xfrm>
            <a:custGeom>
              <a:avLst/>
              <a:gdLst>
                <a:gd name="connsiteX0" fmla="*/ 7369 w 49626"/>
                <a:gd name="connsiteY0" fmla="*/ 7438 h 14739"/>
                <a:gd name="connsiteX1" fmla="*/ 134 w 49626"/>
                <a:gd name="connsiteY1" fmla="*/ 14672 h 14739"/>
                <a:gd name="connsiteX2" fmla="*/ 0 w 49626"/>
                <a:gd name="connsiteY2" fmla="*/ 14672 h 14739"/>
                <a:gd name="connsiteX3" fmla="*/ 41264 w 49626"/>
                <a:gd name="connsiteY3" fmla="*/ 14672 h 14739"/>
                <a:gd name="connsiteX4" fmla="*/ 49558 w 49626"/>
                <a:gd name="connsiteY4" fmla="*/ 8362 h 14739"/>
                <a:gd name="connsiteX5" fmla="*/ 43248 w 49626"/>
                <a:gd name="connsiteY5" fmla="*/ 70 h 14739"/>
                <a:gd name="connsiteX6" fmla="*/ 41264 w 49626"/>
                <a:gd name="connsiteY6" fmla="*/ 70 h 14739"/>
                <a:gd name="connsiteX7" fmla="*/ 0 w 49626"/>
                <a:gd name="connsiteY7" fmla="*/ 70 h 14739"/>
                <a:gd name="connsiteX8" fmla="*/ 7369 w 49626"/>
                <a:gd name="connsiteY8" fmla="*/ 7170 h 14739"/>
                <a:gd name="connsiteX9" fmla="*/ 7369 w 49626"/>
                <a:gd name="connsiteY9"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26" h="14739">
                  <a:moveTo>
                    <a:pt x="7369" y="7438"/>
                  </a:moveTo>
                  <a:cubicBezTo>
                    <a:pt x="7369" y="11430"/>
                    <a:pt x="4126" y="14672"/>
                    <a:pt x="134" y="14672"/>
                  </a:cubicBezTo>
                  <a:cubicBezTo>
                    <a:pt x="93" y="14672"/>
                    <a:pt x="40" y="14672"/>
                    <a:pt x="0" y="14672"/>
                  </a:cubicBezTo>
                  <a:lnTo>
                    <a:pt x="41264" y="14672"/>
                  </a:lnTo>
                  <a:cubicBezTo>
                    <a:pt x="45298" y="15221"/>
                    <a:pt x="49008" y="12394"/>
                    <a:pt x="49558" y="8362"/>
                  </a:cubicBezTo>
                  <a:cubicBezTo>
                    <a:pt x="50107" y="4330"/>
                    <a:pt x="47281" y="620"/>
                    <a:pt x="43248" y="70"/>
                  </a:cubicBezTo>
                  <a:cubicBezTo>
                    <a:pt x="42591" y="-23"/>
                    <a:pt x="41921" y="-23"/>
                    <a:pt x="41264" y="70"/>
                  </a:cubicBezTo>
                  <a:lnTo>
                    <a:pt x="0" y="70"/>
                  </a:lnTo>
                  <a:cubicBezTo>
                    <a:pt x="3992" y="-10"/>
                    <a:pt x="7288" y="3178"/>
                    <a:pt x="7369" y="7170"/>
                  </a:cubicBezTo>
                  <a:cubicBezTo>
                    <a:pt x="7369" y="7264"/>
                    <a:pt x="7369" y="7344"/>
                    <a:pt x="7369" y="7438"/>
                  </a:cubicBezTo>
                  <a:close/>
                </a:path>
              </a:pathLst>
            </a:custGeom>
            <a:solidFill>
              <a:srgbClr val="000000"/>
            </a:solidFill>
            <a:ln w="12700" cap="flat">
              <a:noFill/>
              <a:prstDash val="solid"/>
              <a:miter/>
            </a:ln>
          </p:spPr>
          <p:txBody>
            <a:bodyPr rtlCol="0" anchor="ctr"/>
            <a:lstStyle/>
            <a:p>
              <a:endParaRPr lang="en-US"/>
            </a:p>
          </p:txBody>
        </p:sp>
        <p:sp>
          <p:nvSpPr>
            <p:cNvPr id="1322" name="Freeform: Shape 1321">
              <a:extLst>
                <a:ext uri="{FF2B5EF4-FFF2-40B4-BE49-F238E27FC236}">
                  <a16:creationId xmlns:a16="http://schemas.microsoft.com/office/drawing/2014/main" id="{5CA7B03F-1FF6-43F9-A607-9DCA94C861C9}"/>
                </a:ext>
              </a:extLst>
            </p:cNvPr>
            <p:cNvSpPr/>
            <p:nvPr/>
          </p:nvSpPr>
          <p:spPr>
            <a:xfrm>
              <a:off x="4939886" y="6578834"/>
              <a:ext cx="14737" cy="8439"/>
            </a:xfrm>
            <a:custGeom>
              <a:avLst/>
              <a:gdLst>
                <a:gd name="connsiteX0" fmla="*/ 7369 w 14737"/>
                <a:gd name="connsiteY0" fmla="*/ 8439 h 8439"/>
                <a:gd name="connsiteX1" fmla="*/ 14738 w 14737"/>
                <a:gd name="connsiteY1" fmla="*/ 1072 h 8439"/>
                <a:gd name="connsiteX2" fmla="*/ 14738 w 14737"/>
                <a:gd name="connsiteY2" fmla="*/ 0 h 8439"/>
                <a:gd name="connsiteX3" fmla="*/ 7369 w 14737"/>
                <a:gd name="connsiteY3" fmla="*/ 7368 h 8439"/>
                <a:gd name="connsiteX4" fmla="*/ 0 w 14737"/>
                <a:gd name="connsiteY4" fmla="*/ 0 h 8439"/>
                <a:gd name="connsiteX5" fmla="*/ 0 w 14737"/>
                <a:gd name="connsiteY5" fmla="*/ 1072 h 8439"/>
                <a:gd name="connsiteX6" fmla="*/ 7369 w 14737"/>
                <a:gd name="connsiteY6" fmla="*/ 8439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439">
                  <a:moveTo>
                    <a:pt x="7369" y="8439"/>
                  </a:moveTo>
                  <a:cubicBezTo>
                    <a:pt x="11442" y="8439"/>
                    <a:pt x="14738" y="5144"/>
                    <a:pt x="14738" y="1072"/>
                  </a:cubicBezTo>
                  <a:lnTo>
                    <a:pt x="14738" y="0"/>
                  </a:lnTo>
                  <a:cubicBezTo>
                    <a:pt x="14738" y="4072"/>
                    <a:pt x="11442" y="7368"/>
                    <a:pt x="7369" y="7368"/>
                  </a:cubicBezTo>
                  <a:cubicBezTo>
                    <a:pt x="3296" y="7368"/>
                    <a:pt x="0" y="4072"/>
                    <a:pt x="0" y="0"/>
                  </a:cubicBezTo>
                  <a:lnTo>
                    <a:pt x="0" y="1072"/>
                  </a:lnTo>
                  <a:cubicBezTo>
                    <a:pt x="0" y="5144"/>
                    <a:pt x="3296" y="8439"/>
                    <a:pt x="7369" y="8439"/>
                  </a:cubicBezTo>
                  <a:close/>
                </a:path>
              </a:pathLst>
            </a:custGeom>
            <a:solidFill>
              <a:srgbClr val="000000"/>
            </a:solidFill>
            <a:ln w="12700" cap="flat">
              <a:noFill/>
              <a:prstDash val="solid"/>
              <a:miter/>
            </a:ln>
          </p:spPr>
          <p:txBody>
            <a:bodyPr rtlCol="0" anchor="ctr"/>
            <a:lstStyle/>
            <a:p>
              <a:endParaRPr lang="en-US"/>
            </a:p>
          </p:txBody>
        </p:sp>
        <p:sp>
          <p:nvSpPr>
            <p:cNvPr id="1323" name="Freeform: Shape 1322">
              <a:extLst>
                <a:ext uri="{FF2B5EF4-FFF2-40B4-BE49-F238E27FC236}">
                  <a16:creationId xmlns:a16="http://schemas.microsoft.com/office/drawing/2014/main" id="{99FA60DC-4444-40FD-9FA2-4B052D9F9FA5}"/>
                </a:ext>
              </a:extLst>
            </p:cNvPr>
            <p:cNvSpPr/>
            <p:nvPr/>
          </p:nvSpPr>
          <p:spPr>
            <a:xfrm>
              <a:off x="4939886" y="5922714"/>
              <a:ext cx="14737" cy="663487"/>
            </a:xfrm>
            <a:custGeom>
              <a:avLst/>
              <a:gdLst>
                <a:gd name="connsiteX0" fmla="*/ 0 w 14737"/>
                <a:gd name="connsiteY0" fmla="*/ 656120 h 663487"/>
                <a:gd name="connsiteX1" fmla="*/ 7369 w 14737"/>
                <a:gd name="connsiteY1" fmla="*/ 663488 h 663487"/>
                <a:gd name="connsiteX2" fmla="*/ 14738 w 14737"/>
                <a:gd name="connsiteY2" fmla="*/ 656120 h 663487"/>
                <a:gd name="connsiteX3" fmla="*/ 14738 w 14737"/>
                <a:gd name="connsiteY3" fmla="*/ 7368 h 663487"/>
                <a:gd name="connsiteX4" fmla="*/ 7369 w 14737"/>
                <a:gd name="connsiteY4" fmla="*/ 0 h 663487"/>
                <a:gd name="connsiteX5" fmla="*/ 0 w 14737"/>
                <a:gd name="connsiteY5" fmla="*/ 7368 h 663487"/>
                <a:gd name="connsiteX6" fmla="*/ 0 w 14737"/>
                <a:gd name="connsiteY6" fmla="*/ 656120 h 66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663487">
                  <a:moveTo>
                    <a:pt x="0" y="656120"/>
                  </a:moveTo>
                  <a:cubicBezTo>
                    <a:pt x="0" y="660192"/>
                    <a:pt x="3296" y="663488"/>
                    <a:pt x="7369" y="663488"/>
                  </a:cubicBezTo>
                  <a:cubicBezTo>
                    <a:pt x="11442" y="663488"/>
                    <a:pt x="14738" y="660192"/>
                    <a:pt x="14738" y="656120"/>
                  </a:cubicBezTo>
                  <a:lnTo>
                    <a:pt x="14738" y="7368"/>
                  </a:lnTo>
                  <a:cubicBezTo>
                    <a:pt x="14738" y="3298"/>
                    <a:pt x="11442" y="0"/>
                    <a:pt x="7369" y="0"/>
                  </a:cubicBezTo>
                  <a:cubicBezTo>
                    <a:pt x="3296" y="0"/>
                    <a:pt x="0" y="3298"/>
                    <a:pt x="0" y="7368"/>
                  </a:cubicBezTo>
                  <a:lnTo>
                    <a:pt x="0" y="656120"/>
                  </a:lnTo>
                  <a:close/>
                </a:path>
              </a:pathLst>
            </a:custGeom>
            <a:solidFill>
              <a:srgbClr val="000000"/>
            </a:solidFill>
            <a:ln w="12700" cap="flat">
              <a:noFill/>
              <a:prstDash val="solid"/>
              <a:miter/>
            </a:ln>
          </p:spPr>
          <p:txBody>
            <a:bodyPr rtlCol="0" anchor="ctr"/>
            <a:lstStyle/>
            <a:p>
              <a:endParaRPr lang="en-US"/>
            </a:p>
          </p:txBody>
        </p:sp>
        <p:sp>
          <p:nvSpPr>
            <p:cNvPr id="1324" name="Freeform: Shape 1323">
              <a:extLst>
                <a:ext uri="{FF2B5EF4-FFF2-40B4-BE49-F238E27FC236}">
                  <a16:creationId xmlns:a16="http://schemas.microsoft.com/office/drawing/2014/main" id="{C89EE9C4-29E8-40C2-8A74-3EC934189FD5}"/>
                </a:ext>
              </a:extLst>
            </p:cNvPr>
            <p:cNvSpPr/>
            <p:nvPr/>
          </p:nvSpPr>
          <p:spPr>
            <a:xfrm>
              <a:off x="7613408" y="6169794"/>
              <a:ext cx="11844" cy="14739"/>
            </a:xfrm>
            <a:custGeom>
              <a:avLst/>
              <a:gdLst>
                <a:gd name="connsiteX0" fmla="*/ 7369 w 11844"/>
                <a:gd name="connsiteY0" fmla="*/ 7438 h 14739"/>
                <a:gd name="connsiteX1" fmla="*/ 134 w 11844"/>
                <a:gd name="connsiteY1" fmla="*/ 14672 h 14739"/>
                <a:gd name="connsiteX2" fmla="*/ 0 w 11844"/>
                <a:gd name="connsiteY2" fmla="*/ 14672 h 14739"/>
                <a:gd name="connsiteX3" fmla="*/ 3484 w 11844"/>
                <a:gd name="connsiteY3" fmla="*/ 14672 h 14739"/>
                <a:gd name="connsiteX4" fmla="*/ 11776 w 11844"/>
                <a:gd name="connsiteY4" fmla="*/ 8362 h 14739"/>
                <a:gd name="connsiteX5" fmla="*/ 5467 w 11844"/>
                <a:gd name="connsiteY5" fmla="*/ 70 h 14739"/>
                <a:gd name="connsiteX6" fmla="*/ 3484 w 11844"/>
                <a:gd name="connsiteY6" fmla="*/ 70 h 14739"/>
                <a:gd name="connsiteX7" fmla="*/ 0 w 11844"/>
                <a:gd name="connsiteY7" fmla="*/ 70 h 14739"/>
                <a:gd name="connsiteX8" fmla="*/ 7369 w 11844"/>
                <a:gd name="connsiteY8" fmla="*/ 7170 h 14739"/>
                <a:gd name="connsiteX9" fmla="*/ 7369 w 11844"/>
                <a:gd name="connsiteY9"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4" h="14739">
                  <a:moveTo>
                    <a:pt x="7369" y="7438"/>
                  </a:moveTo>
                  <a:cubicBezTo>
                    <a:pt x="7369" y="11430"/>
                    <a:pt x="4126" y="14672"/>
                    <a:pt x="134" y="14672"/>
                  </a:cubicBezTo>
                  <a:cubicBezTo>
                    <a:pt x="94" y="14672"/>
                    <a:pt x="40" y="14672"/>
                    <a:pt x="0" y="14672"/>
                  </a:cubicBezTo>
                  <a:lnTo>
                    <a:pt x="3484" y="14672"/>
                  </a:lnTo>
                  <a:cubicBezTo>
                    <a:pt x="7516" y="15221"/>
                    <a:pt x="11227" y="12394"/>
                    <a:pt x="11776" y="8362"/>
                  </a:cubicBezTo>
                  <a:cubicBezTo>
                    <a:pt x="12326" y="4330"/>
                    <a:pt x="9499" y="620"/>
                    <a:pt x="5467" y="70"/>
                  </a:cubicBezTo>
                  <a:cubicBezTo>
                    <a:pt x="4810" y="-23"/>
                    <a:pt x="4139" y="-23"/>
                    <a:pt x="3484" y="70"/>
                  </a:cubicBezTo>
                  <a:lnTo>
                    <a:pt x="0" y="70"/>
                  </a:lnTo>
                  <a:cubicBezTo>
                    <a:pt x="3992" y="-10"/>
                    <a:pt x="7288" y="3178"/>
                    <a:pt x="7369" y="7170"/>
                  </a:cubicBezTo>
                  <a:cubicBezTo>
                    <a:pt x="7369" y="7264"/>
                    <a:pt x="7369" y="7344"/>
                    <a:pt x="7369" y="7438"/>
                  </a:cubicBezTo>
                  <a:close/>
                </a:path>
              </a:pathLst>
            </a:custGeom>
            <a:solidFill>
              <a:srgbClr val="000000"/>
            </a:solidFill>
            <a:ln w="12700" cap="flat">
              <a:noFill/>
              <a:prstDash val="solid"/>
              <a:miter/>
            </a:ln>
          </p:spPr>
          <p:txBody>
            <a:bodyPr rtlCol="0" anchor="ctr"/>
            <a:lstStyle/>
            <a:p>
              <a:endParaRPr lang="en-US"/>
            </a:p>
          </p:txBody>
        </p:sp>
        <p:sp>
          <p:nvSpPr>
            <p:cNvPr id="1325" name="Freeform: Shape 1324">
              <a:extLst>
                <a:ext uri="{FF2B5EF4-FFF2-40B4-BE49-F238E27FC236}">
                  <a16:creationId xmlns:a16="http://schemas.microsoft.com/office/drawing/2014/main" id="{307F4FB4-ED67-4FD6-96A1-50819BFFA5C2}"/>
                </a:ext>
              </a:extLst>
            </p:cNvPr>
            <p:cNvSpPr/>
            <p:nvPr/>
          </p:nvSpPr>
          <p:spPr>
            <a:xfrm>
              <a:off x="7597592" y="6169794"/>
              <a:ext cx="24177" cy="14739"/>
            </a:xfrm>
            <a:custGeom>
              <a:avLst/>
              <a:gdLst>
                <a:gd name="connsiteX0" fmla="*/ 7 w 24177"/>
                <a:gd name="connsiteY0" fmla="*/ 7438 h 14739"/>
                <a:gd name="connsiteX1" fmla="*/ 7376 w 24177"/>
                <a:gd name="connsiteY1" fmla="*/ 14672 h 14739"/>
                <a:gd name="connsiteX2" fmla="*/ 15816 w 24177"/>
                <a:gd name="connsiteY2" fmla="*/ 14672 h 14739"/>
                <a:gd name="connsiteX3" fmla="*/ 24110 w 24177"/>
                <a:gd name="connsiteY3" fmla="*/ 8362 h 14739"/>
                <a:gd name="connsiteX4" fmla="*/ 17799 w 24177"/>
                <a:gd name="connsiteY4" fmla="*/ 70 h 14739"/>
                <a:gd name="connsiteX5" fmla="*/ 15816 w 24177"/>
                <a:gd name="connsiteY5" fmla="*/ 70 h 14739"/>
                <a:gd name="connsiteX6" fmla="*/ 6303 w 24177"/>
                <a:gd name="connsiteY6" fmla="*/ 70 h 14739"/>
                <a:gd name="connsiteX7" fmla="*/ 4830 w 24177"/>
                <a:gd name="connsiteY7" fmla="*/ 70 h 14739"/>
                <a:gd name="connsiteX8" fmla="*/ 3624 w 24177"/>
                <a:gd name="connsiteY8" fmla="*/ 70 h 14739"/>
                <a:gd name="connsiteX9" fmla="*/ 2418 w 24177"/>
                <a:gd name="connsiteY9" fmla="*/ 874 h 14739"/>
                <a:gd name="connsiteX10" fmla="*/ 1481 w 24177"/>
                <a:gd name="connsiteY10" fmla="*/ 2080 h 14739"/>
                <a:gd name="connsiteX11" fmla="*/ 408 w 24177"/>
                <a:gd name="connsiteY11" fmla="*/ 4223 h 14739"/>
                <a:gd name="connsiteX12" fmla="*/ 7 w 24177"/>
                <a:gd name="connsiteY12"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77" h="14739">
                  <a:moveTo>
                    <a:pt x="7" y="7438"/>
                  </a:moveTo>
                  <a:cubicBezTo>
                    <a:pt x="74" y="11457"/>
                    <a:pt x="3356" y="14672"/>
                    <a:pt x="7376" y="14672"/>
                  </a:cubicBezTo>
                  <a:lnTo>
                    <a:pt x="15816" y="14672"/>
                  </a:lnTo>
                  <a:cubicBezTo>
                    <a:pt x="19848" y="15221"/>
                    <a:pt x="23560" y="12394"/>
                    <a:pt x="24110" y="8362"/>
                  </a:cubicBezTo>
                  <a:cubicBezTo>
                    <a:pt x="24658" y="4330"/>
                    <a:pt x="21831" y="620"/>
                    <a:pt x="17799" y="70"/>
                  </a:cubicBezTo>
                  <a:cubicBezTo>
                    <a:pt x="17143" y="-23"/>
                    <a:pt x="16473" y="-23"/>
                    <a:pt x="15816" y="70"/>
                  </a:cubicBezTo>
                  <a:lnTo>
                    <a:pt x="6303" y="70"/>
                  </a:lnTo>
                  <a:lnTo>
                    <a:pt x="4830" y="70"/>
                  </a:lnTo>
                  <a:lnTo>
                    <a:pt x="3624" y="70"/>
                  </a:lnTo>
                  <a:lnTo>
                    <a:pt x="2418" y="874"/>
                  </a:lnTo>
                  <a:lnTo>
                    <a:pt x="1481" y="2080"/>
                  </a:lnTo>
                  <a:cubicBezTo>
                    <a:pt x="1038" y="2749"/>
                    <a:pt x="690" y="3473"/>
                    <a:pt x="408" y="4223"/>
                  </a:cubicBezTo>
                  <a:cubicBezTo>
                    <a:pt x="100" y="5268"/>
                    <a:pt x="-33" y="6353"/>
                    <a:pt x="7" y="7438"/>
                  </a:cubicBezTo>
                  <a:close/>
                </a:path>
              </a:pathLst>
            </a:custGeom>
            <a:solidFill>
              <a:srgbClr val="000000"/>
            </a:solidFill>
            <a:ln w="12700" cap="flat">
              <a:noFill/>
              <a:prstDash val="solid"/>
              <a:miter/>
            </a:ln>
          </p:spPr>
          <p:txBody>
            <a:bodyPr rtlCol="0" anchor="ctr"/>
            <a:lstStyle/>
            <a:p>
              <a:endParaRPr lang="en-US"/>
            </a:p>
          </p:txBody>
        </p:sp>
        <p:sp>
          <p:nvSpPr>
            <p:cNvPr id="1326" name="Freeform: Shape 1325">
              <a:extLst>
                <a:ext uri="{FF2B5EF4-FFF2-40B4-BE49-F238E27FC236}">
                  <a16:creationId xmlns:a16="http://schemas.microsoft.com/office/drawing/2014/main" id="{DABB4D44-CC70-436B-9F13-BD2477F10D95}"/>
                </a:ext>
              </a:extLst>
            </p:cNvPr>
            <p:cNvSpPr/>
            <p:nvPr/>
          </p:nvSpPr>
          <p:spPr>
            <a:xfrm>
              <a:off x="5505137" y="6532351"/>
              <a:ext cx="105038" cy="14735"/>
            </a:xfrm>
            <a:custGeom>
              <a:avLst/>
              <a:gdLst>
                <a:gd name="connsiteX0" fmla="*/ 0 w 105038"/>
                <a:gd name="connsiteY0" fmla="*/ 7368 h 14735"/>
                <a:gd name="connsiteX1" fmla="*/ 7369 w 105038"/>
                <a:gd name="connsiteY1" fmla="*/ 14735 h 14735"/>
                <a:gd name="connsiteX2" fmla="*/ 97670 w 105038"/>
                <a:gd name="connsiteY2" fmla="*/ 14735 h 14735"/>
                <a:gd name="connsiteX3" fmla="*/ 105038 w 105038"/>
                <a:gd name="connsiteY3" fmla="*/ 7368 h 14735"/>
                <a:gd name="connsiteX4" fmla="*/ 97670 w 105038"/>
                <a:gd name="connsiteY4" fmla="*/ 0 h 14735"/>
                <a:gd name="connsiteX5" fmla="*/ 7369 w 105038"/>
                <a:gd name="connsiteY5" fmla="*/ 0 h 14735"/>
                <a:gd name="connsiteX6" fmla="*/ 0 w 10503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038" h="14735">
                  <a:moveTo>
                    <a:pt x="0" y="7368"/>
                  </a:moveTo>
                  <a:cubicBezTo>
                    <a:pt x="0" y="11440"/>
                    <a:pt x="3296" y="14735"/>
                    <a:pt x="7369" y="14735"/>
                  </a:cubicBezTo>
                  <a:lnTo>
                    <a:pt x="97670" y="14735"/>
                  </a:lnTo>
                  <a:cubicBezTo>
                    <a:pt x="101742" y="14735"/>
                    <a:pt x="105038" y="11440"/>
                    <a:pt x="105038" y="7368"/>
                  </a:cubicBezTo>
                  <a:cubicBezTo>
                    <a:pt x="105038" y="3295"/>
                    <a:pt x="101742" y="0"/>
                    <a:pt x="97670" y="0"/>
                  </a:cubicBezTo>
                  <a:lnTo>
                    <a:pt x="7369" y="0"/>
                  </a:lnTo>
                  <a:cubicBezTo>
                    <a:pt x="3296" y="0"/>
                    <a:pt x="0" y="3295"/>
                    <a:pt x="0" y="7368"/>
                  </a:cubicBezTo>
                  <a:close/>
                </a:path>
              </a:pathLst>
            </a:custGeom>
            <a:solidFill>
              <a:srgbClr val="000000"/>
            </a:solidFill>
            <a:ln w="12700" cap="flat">
              <a:noFill/>
              <a:prstDash val="solid"/>
              <a:miter/>
            </a:ln>
          </p:spPr>
          <p:txBody>
            <a:bodyPr rtlCol="0" anchor="ctr"/>
            <a:lstStyle/>
            <a:p>
              <a:endParaRPr lang="en-US"/>
            </a:p>
          </p:txBody>
        </p:sp>
        <p:sp>
          <p:nvSpPr>
            <p:cNvPr id="1327" name="Freeform: Shape 1326">
              <a:extLst>
                <a:ext uri="{FF2B5EF4-FFF2-40B4-BE49-F238E27FC236}">
                  <a16:creationId xmlns:a16="http://schemas.microsoft.com/office/drawing/2014/main" id="{22523957-F761-44B3-9E60-3F5DD945B50C}"/>
                </a:ext>
              </a:extLst>
            </p:cNvPr>
            <p:cNvSpPr/>
            <p:nvPr/>
          </p:nvSpPr>
          <p:spPr>
            <a:xfrm>
              <a:off x="4813143" y="6580575"/>
              <a:ext cx="2679" cy="273137"/>
            </a:xfrm>
            <a:custGeom>
              <a:avLst/>
              <a:gdLst>
                <a:gd name="connsiteX0" fmla="*/ 2680 w 2679"/>
                <a:gd name="connsiteY0" fmla="*/ 8439 h 273137"/>
                <a:gd name="connsiteX1" fmla="*/ 2680 w 2679"/>
                <a:gd name="connsiteY1" fmla="*/ 1340 h 273137"/>
                <a:gd name="connsiteX2" fmla="*/ 1340 w 2679"/>
                <a:gd name="connsiteY2" fmla="*/ 0 h 273137"/>
                <a:gd name="connsiteX3" fmla="*/ 0 w 2679"/>
                <a:gd name="connsiteY3" fmla="*/ 1340 h 273137"/>
                <a:gd name="connsiteX4" fmla="*/ 0 w 2679"/>
                <a:gd name="connsiteY4" fmla="*/ 8439 h 273137"/>
                <a:gd name="connsiteX5" fmla="*/ 0 w 2679"/>
                <a:gd name="connsiteY5" fmla="*/ 8439 h 273137"/>
                <a:gd name="connsiteX6" fmla="*/ 0 w 2679"/>
                <a:gd name="connsiteY6" fmla="*/ 273138 h 273137"/>
                <a:gd name="connsiteX7" fmla="*/ 2680 w 2679"/>
                <a:gd name="connsiteY7" fmla="*/ 273138 h 273137"/>
                <a:gd name="connsiteX8" fmla="*/ 2680 w 2679"/>
                <a:gd name="connsiteY8" fmla="*/ 8573 h 27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 h="273137">
                  <a:moveTo>
                    <a:pt x="2680" y="8439"/>
                  </a:moveTo>
                  <a:lnTo>
                    <a:pt x="2680" y="1340"/>
                  </a:lnTo>
                  <a:cubicBezTo>
                    <a:pt x="2680" y="603"/>
                    <a:pt x="2077" y="0"/>
                    <a:pt x="1340" y="0"/>
                  </a:cubicBezTo>
                  <a:cubicBezTo>
                    <a:pt x="603" y="0"/>
                    <a:pt x="0" y="603"/>
                    <a:pt x="0" y="1340"/>
                  </a:cubicBezTo>
                  <a:lnTo>
                    <a:pt x="0" y="8439"/>
                  </a:lnTo>
                  <a:lnTo>
                    <a:pt x="0" y="8439"/>
                  </a:lnTo>
                  <a:lnTo>
                    <a:pt x="0" y="273138"/>
                  </a:lnTo>
                  <a:lnTo>
                    <a:pt x="2680" y="273138"/>
                  </a:lnTo>
                  <a:lnTo>
                    <a:pt x="2680" y="8573"/>
                  </a:lnTo>
                  <a:close/>
                </a:path>
              </a:pathLst>
            </a:custGeom>
            <a:solidFill>
              <a:srgbClr val="000000"/>
            </a:solidFill>
            <a:ln w="12700" cap="flat">
              <a:noFill/>
              <a:prstDash val="solid"/>
              <a:miter/>
            </a:ln>
          </p:spPr>
          <p:txBody>
            <a:bodyPr rtlCol="0" anchor="ctr"/>
            <a:lstStyle/>
            <a:p>
              <a:endParaRPr lang="en-US"/>
            </a:p>
          </p:txBody>
        </p:sp>
        <p:sp>
          <p:nvSpPr>
            <p:cNvPr id="1328" name="Freeform: Shape 1327">
              <a:extLst>
                <a:ext uri="{FF2B5EF4-FFF2-40B4-BE49-F238E27FC236}">
                  <a16:creationId xmlns:a16="http://schemas.microsoft.com/office/drawing/2014/main" id="{982CB3F0-DA15-4FEE-BAAC-13BC6DBC8EEA}"/>
                </a:ext>
              </a:extLst>
            </p:cNvPr>
            <p:cNvSpPr/>
            <p:nvPr/>
          </p:nvSpPr>
          <p:spPr>
            <a:xfrm>
              <a:off x="6700217" y="5879847"/>
              <a:ext cx="14739" cy="706356"/>
            </a:xfrm>
            <a:custGeom>
              <a:avLst/>
              <a:gdLst>
                <a:gd name="connsiteX0" fmla="*/ 0 w 14739"/>
                <a:gd name="connsiteY0" fmla="*/ 698987 h 706356"/>
                <a:gd name="connsiteX1" fmla="*/ 7369 w 14739"/>
                <a:gd name="connsiteY1" fmla="*/ 706355 h 706356"/>
                <a:gd name="connsiteX2" fmla="*/ 14738 w 14739"/>
                <a:gd name="connsiteY2" fmla="*/ 699255 h 706356"/>
                <a:gd name="connsiteX3" fmla="*/ 14738 w 14739"/>
                <a:gd name="connsiteY3" fmla="*/ 698987 h 706356"/>
                <a:gd name="connsiteX4" fmla="*/ 14738 w 14739"/>
                <a:gd name="connsiteY4" fmla="*/ 7369 h 706356"/>
                <a:gd name="connsiteX5" fmla="*/ 7637 w 14739"/>
                <a:gd name="connsiteY5" fmla="*/ 1 h 706356"/>
                <a:gd name="connsiteX6" fmla="*/ 7369 w 14739"/>
                <a:gd name="connsiteY6" fmla="*/ 1 h 706356"/>
                <a:gd name="connsiteX7" fmla="*/ 0 w 14739"/>
                <a:gd name="connsiteY7" fmla="*/ 7369 h 706356"/>
                <a:gd name="connsiteX8" fmla="*/ 0 w 14739"/>
                <a:gd name="connsiteY8" fmla="*/ 698987 h 7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706356">
                  <a:moveTo>
                    <a:pt x="0" y="698987"/>
                  </a:moveTo>
                  <a:cubicBezTo>
                    <a:pt x="0" y="703059"/>
                    <a:pt x="3296" y="706355"/>
                    <a:pt x="7369" y="706355"/>
                  </a:cubicBezTo>
                  <a:cubicBezTo>
                    <a:pt x="11361" y="706435"/>
                    <a:pt x="14657" y="703247"/>
                    <a:pt x="14738" y="699255"/>
                  </a:cubicBezTo>
                  <a:cubicBezTo>
                    <a:pt x="14738" y="699161"/>
                    <a:pt x="14738" y="699081"/>
                    <a:pt x="14738" y="698987"/>
                  </a:cubicBezTo>
                  <a:lnTo>
                    <a:pt x="14738" y="7369"/>
                  </a:lnTo>
                  <a:cubicBezTo>
                    <a:pt x="14818" y="3374"/>
                    <a:pt x="11629" y="76"/>
                    <a:pt x="7637" y="1"/>
                  </a:cubicBezTo>
                  <a:cubicBezTo>
                    <a:pt x="7543" y="0"/>
                    <a:pt x="7463" y="0"/>
                    <a:pt x="7369" y="1"/>
                  </a:cubicBezTo>
                  <a:cubicBezTo>
                    <a:pt x="3296" y="1"/>
                    <a:pt x="0" y="3299"/>
                    <a:pt x="0" y="7369"/>
                  </a:cubicBezTo>
                  <a:lnTo>
                    <a:pt x="0" y="698987"/>
                  </a:lnTo>
                  <a:close/>
                </a:path>
              </a:pathLst>
            </a:custGeom>
            <a:solidFill>
              <a:srgbClr val="000000"/>
            </a:solidFill>
            <a:ln w="12700" cap="flat">
              <a:noFill/>
              <a:prstDash val="solid"/>
              <a:miter/>
            </a:ln>
          </p:spPr>
          <p:txBody>
            <a:bodyPr rtlCol="0" anchor="ctr"/>
            <a:lstStyle/>
            <a:p>
              <a:endParaRPr lang="en-US"/>
            </a:p>
          </p:txBody>
        </p:sp>
        <p:sp>
          <p:nvSpPr>
            <p:cNvPr id="1329" name="Freeform: Shape 1328">
              <a:extLst>
                <a:ext uri="{FF2B5EF4-FFF2-40B4-BE49-F238E27FC236}">
                  <a16:creationId xmlns:a16="http://schemas.microsoft.com/office/drawing/2014/main" id="{1F9241AE-A0A1-4F64-ACF3-2D94EB6839B5}"/>
                </a:ext>
              </a:extLst>
            </p:cNvPr>
            <p:cNvSpPr/>
            <p:nvPr/>
          </p:nvSpPr>
          <p:spPr>
            <a:xfrm>
              <a:off x="4837259" y="5886680"/>
              <a:ext cx="13056" cy="111331"/>
            </a:xfrm>
            <a:custGeom>
              <a:avLst/>
              <a:gdLst>
                <a:gd name="connsiteX0" fmla="*/ 6565 w 13056"/>
                <a:gd name="connsiteY0" fmla="*/ 0 h 111331"/>
                <a:gd name="connsiteX1" fmla="*/ 6565 w 13056"/>
                <a:gd name="connsiteY1" fmla="*/ 0 h 111331"/>
                <a:gd name="connsiteX2" fmla="*/ 5091 w 13056"/>
                <a:gd name="connsiteY2" fmla="*/ 0 h 111331"/>
                <a:gd name="connsiteX3" fmla="*/ 0 w 13056"/>
                <a:gd name="connsiteY3" fmla="*/ 6832 h 111331"/>
                <a:gd name="connsiteX4" fmla="*/ 0 w 13056"/>
                <a:gd name="connsiteY4" fmla="*/ 103950 h 111331"/>
                <a:gd name="connsiteX5" fmla="*/ 3751 w 13056"/>
                <a:gd name="connsiteY5" fmla="*/ 110246 h 111331"/>
                <a:gd name="connsiteX6" fmla="*/ 3751 w 13056"/>
                <a:gd name="connsiteY6" fmla="*/ 110246 h 111331"/>
                <a:gd name="connsiteX7" fmla="*/ 7101 w 13056"/>
                <a:gd name="connsiteY7" fmla="*/ 111184 h 111331"/>
                <a:gd name="connsiteX8" fmla="*/ 7101 w 13056"/>
                <a:gd name="connsiteY8" fmla="*/ 111184 h 111331"/>
                <a:gd name="connsiteX9" fmla="*/ 9781 w 13056"/>
                <a:gd name="connsiteY9" fmla="*/ 111184 h 111331"/>
                <a:gd name="connsiteX10" fmla="*/ 10584 w 13056"/>
                <a:gd name="connsiteY10" fmla="*/ 111184 h 111331"/>
                <a:gd name="connsiteX11" fmla="*/ 12058 w 13056"/>
                <a:gd name="connsiteY11" fmla="*/ 110246 h 111331"/>
                <a:gd name="connsiteX12" fmla="*/ 12058 w 13056"/>
                <a:gd name="connsiteY12" fmla="*/ 109443 h 111331"/>
                <a:gd name="connsiteX13" fmla="*/ 12996 w 13056"/>
                <a:gd name="connsiteY13" fmla="*/ 108103 h 111331"/>
                <a:gd name="connsiteX14" fmla="*/ 12996 w 13056"/>
                <a:gd name="connsiteY14" fmla="*/ 107031 h 111331"/>
                <a:gd name="connsiteX15" fmla="*/ 12996 w 13056"/>
                <a:gd name="connsiteY15" fmla="*/ 105424 h 111331"/>
                <a:gd name="connsiteX16" fmla="*/ 12996 w 13056"/>
                <a:gd name="connsiteY16" fmla="*/ 105424 h 111331"/>
                <a:gd name="connsiteX17" fmla="*/ 12996 w 13056"/>
                <a:gd name="connsiteY17" fmla="*/ 6832 h 111331"/>
                <a:gd name="connsiteX18" fmla="*/ 12996 w 13056"/>
                <a:gd name="connsiteY18" fmla="*/ 5358 h 111331"/>
                <a:gd name="connsiteX19" fmla="*/ 12996 w 13056"/>
                <a:gd name="connsiteY19" fmla="*/ 4019 h 111331"/>
                <a:gd name="connsiteX20" fmla="*/ 12192 w 13056"/>
                <a:gd name="connsiteY20" fmla="*/ 2947 h 111331"/>
                <a:gd name="connsiteX21" fmla="*/ 11254 w 13056"/>
                <a:gd name="connsiteY21" fmla="*/ 1875 h 111331"/>
                <a:gd name="connsiteX22" fmla="*/ 10182 w 13056"/>
                <a:gd name="connsiteY22" fmla="*/ 1072 h 111331"/>
                <a:gd name="connsiteX23" fmla="*/ 8709 w 13056"/>
                <a:gd name="connsiteY23" fmla="*/ 1072 h 111331"/>
                <a:gd name="connsiteX24" fmla="*/ 6565 w 13056"/>
                <a:gd name="connsiteY24" fmla="*/ 1072 h 11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56" h="111331">
                  <a:moveTo>
                    <a:pt x="6565" y="0"/>
                  </a:moveTo>
                  <a:lnTo>
                    <a:pt x="6565" y="0"/>
                  </a:lnTo>
                  <a:lnTo>
                    <a:pt x="5091" y="0"/>
                  </a:lnTo>
                  <a:cubicBezTo>
                    <a:pt x="2090" y="931"/>
                    <a:pt x="27" y="3691"/>
                    <a:pt x="0" y="6832"/>
                  </a:cubicBezTo>
                  <a:lnTo>
                    <a:pt x="0" y="103950"/>
                  </a:lnTo>
                  <a:cubicBezTo>
                    <a:pt x="67" y="106559"/>
                    <a:pt x="1487" y="108943"/>
                    <a:pt x="3751" y="110246"/>
                  </a:cubicBezTo>
                  <a:lnTo>
                    <a:pt x="3751" y="110246"/>
                  </a:lnTo>
                  <a:cubicBezTo>
                    <a:pt x="4783" y="110821"/>
                    <a:pt x="5922" y="111143"/>
                    <a:pt x="7101" y="111184"/>
                  </a:cubicBezTo>
                  <a:lnTo>
                    <a:pt x="7101" y="111184"/>
                  </a:lnTo>
                  <a:cubicBezTo>
                    <a:pt x="7985" y="111381"/>
                    <a:pt x="8896" y="111381"/>
                    <a:pt x="9781" y="111184"/>
                  </a:cubicBezTo>
                  <a:lnTo>
                    <a:pt x="10584" y="111184"/>
                  </a:lnTo>
                  <a:cubicBezTo>
                    <a:pt x="11120" y="110952"/>
                    <a:pt x="11616" y="110636"/>
                    <a:pt x="12058" y="110246"/>
                  </a:cubicBezTo>
                  <a:lnTo>
                    <a:pt x="12058" y="109443"/>
                  </a:lnTo>
                  <a:cubicBezTo>
                    <a:pt x="12407" y="109019"/>
                    <a:pt x="12715" y="108572"/>
                    <a:pt x="12996" y="108103"/>
                  </a:cubicBezTo>
                  <a:lnTo>
                    <a:pt x="12996" y="107031"/>
                  </a:lnTo>
                  <a:cubicBezTo>
                    <a:pt x="13063" y="106497"/>
                    <a:pt x="13063" y="105958"/>
                    <a:pt x="12996" y="105424"/>
                  </a:cubicBezTo>
                  <a:cubicBezTo>
                    <a:pt x="12996" y="105424"/>
                    <a:pt x="12996" y="105424"/>
                    <a:pt x="12996" y="105424"/>
                  </a:cubicBezTo>
                  <a:lnTo>
                    <a:pt x="12996" y="6832"/>
                  </a:lnTo>
                  <a:cubicBezTo>
                    <a:pt x="13076" y="6343"/>
                    <a:pt x="13076" y="5847"/>
                    <a:pt x="12996" y="5358"/>
                  </a:cubicBezTo>
                  <a:cubicBezTo>
                    <a:pt x="13076" y="4915"/>
                    <a:pt x="13076" y="4462"/>
                    <a:pt x="12996" y="4019"/>
                  </a:cubicBezTo>
                  <a:lnTo>
                    <a:pt x="12192" y="2947"/>
                  </a:lnTo>
                  <a:cubicBezTo>
                    <a:pt x="11951" y="2532"/>
                    <a:pt x="11629" y="2167"/>
                    <a:pt x="11254" y="1875"/>
                  </a:cubicBezTo>
                  <a:lnTo>
                    <a:pt x="10182" y="1072"/>
                  </a:lnTo>
                  <a:lnTo>
                    <a:pt x="8709" y="1072"/>
                  </a:lnTo>
                  <a:cubicBezTo>
                    <a:pt x="7999" y="931"/>
                    <a:pt x="7275" y="931"/>
                    <a:pt x="6565" y="1072"/>
                  </a:cubicBezTo>
                  <a:close/>
                </a:path>
              </a:pathLst>
            </a:custGeom>
            <a:solidFill>
              <a:srgbClr val="000000"/>
            </a:solidFill>
            <a:ln w="12700" cap="flat">
              <a:noFill/>
              <a:prstDash val="solid"/>
              <a:miter/>
            </a:ln>
          </p:spPr>
          <p:txBody>
            <a:bodyPr rtlCol="0" anchor="ctr"/>
            <a:lstStyle/>
            <a:p>
              <a:endParaRPr lang="en-US"/>
            </a:p>
          </p:txBody>
        </p:sp>
        <p:sp>
          <p:nvSpPr>
            <p:cNvPr id="1330" name="Freeform: Shape 1329">
              <a:extLst>
                <a:ext uri="{FF2B5EF4-FFF2-40B4-BE49-F238E27FC236}">
                  <a16:creationId xmlns:a16="http://schemas.microsoft.com/office/drawing/2014/main" id="{18A3E2AA-782E-4F69-A49B-B1AACC7BF66B}"/>
                </a:ext>
              </a:extLst>
            </p:cNvPr>
            <p:cNvSpPr/>
            <p:nvPr/>
          </p:nvSpPr>
          <p:spPr>
            <a:xfrm>
              <a:off x="8740024" y="6141867"/>
              <a:ext cx="14788" cy="23442"/>
            </a:xfrm>
            <a:custGeom>
              <a:avLst/>
              <a:gdLst>
                <a:gd name="connsiteX0" fmla="*/ 11925 w 14788"/>
                <a:gd name="connsiteY0" fmla="*/ 1741 h 23442"/>
                <a:gd name="connsiteX1" fmla="*/ 7370 w 14788"/>
                <a:gd name="connsiteY1" fmla="*/ 0 h 23442"/>
                <a:gd name="connsiteX2" fmla="*/ 2948 w 14788"/>
                <a:gd name="connsiteY2" fmla="*/ 1741 h 23442"/>
                <a:gd name="connsiteX3" fmla="*/ 804 w 14788"/>
                <a:gd name="connsiteY3" fmla="*/ 4287 h 23442"/>
                <a:gd name="connsiteX4" fmla="*/ 0 w 14788"/>
                <a:gd name="connsiteY4" fmla="*/ 7368 h 23442"/>
                <a:gd name="connsiteX5" fmla="*/ 0 w 14788"/>
                <a:gd name="connsiteY5" fmla="*/ 16075 h 23442"/>
                <a:gd name="connsiteX6" fmla="*/ 7370 w 14788"/>
                <a:gd name="connsiteY6" fmla="*/ 23442 h 23442"/>
                <a:gd name="connsiteX7" fmla="*/ 14738 w 14788"/>
                <a:gd name="connsiteY7" fmla="*/ 16075 h 23442"/>
                <a:gd name="connsiteX8" fmla="*/ 14738 w 14788"/>
                <a:gd name="connsiteY8" fmla="*/ 7368 h 23442"/>
                <a:gd name="connsiteX9" fmla="*/ 14738 w 14788"/>
                <a:gd name="connsiteY9" fmla="*/ 7368 h 23442"/>
                <a:gd name="connsiteX10" fmla="*/ 14738 w 14788"/>
                <a:gd name="connsiteY10" fmla="*/ 4956 h 23442"/>
                <a:gd name="connsiteX11" fmla="*/ 11925 w 14788"/>
                <a:gd name="connsiteY11" fmla="*/ 1741 h 2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88" h="23442">
                  <a:moveTo>
                    <a:pt x="11925" y="1741"/>
                  </a:moveTo>
                  <a:cubicBezTo>
                    <a:pt x="10665" y="643"/>
                    <a:pt x="9045" y="27"/>
                    <a:pt x="7370" y="0"/>
                  </a:cubicBezTo>
                  <a:cubicBezTo>
                    <a:pt x="5735" y="13"/>
                    <a:pt x="4154" y="630"/>
                    <a:pt x="2948" y="1741"/>
                  </a:cubicBezTo>
                  <a:cubicBezTo>
                    <a:pt x="2024" y="2384"/>
                    <a:pt x="1287" y="3268"/>
                    <a:pt x="804" y="4287"/>
                  </a:cubicBezTo>
                  <a:cubicBezTo>
                    <a:pt x="269" y="5224"/>
                    <a:pt x="-13" y="6283"/>
                    <a:pt x="0" y="7368"/>
                  </a:cubicBezTo>
                  <a:lnTo>
                    <a:pt x="0" y="16075"/>
                  </a:lnTo>
                  <a:cubicBezTo>
                    <a:pt x="0" y="20147"/>
                    <a:pt x="3297" y="23442"/>
                    <a:pt x="7370" y="23442"/>
                  </a:cubicBezTo>
                  <a:cubicBezTo>
                    <a:pt x="11442" y="23442"/>
                    <a:pt x="14738" y="20147"/>
                    <a:pt x="14738" y="16075"/>
                  </a:cubicBezTo>
                  <a:lnTo>
                    <a:pt x="14738" y="7368"/>
                  </a:lnTo>
                  <a:cubicBezTo>
                    <a:pt x="14738" y="7368"/>
                    <a:pt x="14738" y="7368"/>
                    <a:pt x="14738" y="7368"/>
                  </a:cubicBezTo>
                  <a:cubicBezTo>
                    <a:pt x="14806" y="6564"/>
                    <a:pt x="14806" y="5760"/>
                    <a:pt x="14738" y="4956"/>
                  </a:cubicBezTo>
                  <a:cubicBezTo>
                    <a:pt x="14122" y="3644"/>
                    <a:pt x="13144" y="2532"/>
                    <a:pt x="11925" y="1741"/>
                  </a:cubicBezTo>
                  <a:close/>
                </a:path>
              </a:pathLst>
            </a:custGeom>
            <a:solidFill>
              <a:srgbClr val="000000"/>
            </a:solidFill>
            <a:ln w="12700" cap="flat">
              <a:noFill/>
              <a:prstDash val="solid"/>
              <a:miter/>
            </a:ln>
          </p:spPr>
          <p:txBody>
            <a:bodyPr rtlCol="0" anchor="ctr"/>
            <a:lstStyle/>
            <a:p>
              <a:endParaRPr lang="en-US"/>
            </a:p>
          </p:txBody>
        </p:sp>
        <p:sp>
          <p:nvSpPr>
            <p:cNvPr id="1331" name="Freeform: Shape 1330">
              <a:extLst>
                <a:ext uri="{FF2B5EF4-FFF2-40B4-BE49-F238E27FC236}">
                  <a16:creationId xmlns:a16="http://schemas.microsoft.com/office/drawing/2014/main" id="{10031B07-AD7B-4E76-86DA-32B6D76F91E4}"/>
                </a:ext>
              </a:extLst>
            </p:cNvPr>
            <p:cNvSpPr/>
            <p:nvPr/>
          </p:nvSpPr>
          <p:spPr>
            <a:xfrm>
              <a:off x="11284794" y="6405226"/>
              <a:ext cx="22910" cy="448486"/>
            </a:xfrm>
            <a:custGeom>
              <a:avLst/>
              <a:gdLst>
                <a:gd name="connsiteX0" fmla="*/ 22910 w 22910"/>
                <a:gd name="connsiteY0" fmla="*/ 75953 h 448486"/>
                <a:gd name="connsiteX1" fmla="*/ 22910 w 22910"/>
                <a:gd name="connsiteY1" fmla="*/ 0 h 448486"/>
                <a:gd name="connsiteX2" fmla="*/ 0 w 22910"/>
                <a:gd name="connsiteY2" fmla="*/ 0 h 448486"/>
                <a:gd name="connsiteX3" fmla="*/ 0 w 22910"/>
                <a:gd name="connsiteY3" fmla="*/ 72203 h 448486"/>
                <a:gd name="connsiteX4" fmla="*/ 5895 w 22910"/>
                <a:gd name="connsiteY4" fmla="*/ 79168 h 448486"/>
                <a:gd name="connsiteX5" fmla="*/ 5895 w 22910"/>
                <a:gd name="connsiteY5" fmla="*/ 448487 h 448486"/>
                <a:gd name="connsiteX6" fmla="*/ 22910 w 22910"/>
                <a:gd name="connsiteY6" fmla="*/ 448487 h 448486"/>
                <a:gd name="connsiteX7" fmla="*/ 22910 w 22910"/>
                <a:gd name="connsiteY7" fmla="*/ 75953 h 448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10" h="448486">
                  <a:moveTo>
                    <a:pt x="22910" y="75953"/>
                  </a:moveTo>
                  <a:lnTo>
                    <a:pt x="22910" y="0"/>
                  </a:lnTo>
                  <a:lnTo>
                    <a:pt x="0" y="0"/>
                  </a:lnTo>
                  <a:lnTo>
                    <a:pt x="0" y="72203"/>
                  </a:lnTo>
                  <a:cubicBezTo>
                    <a:pt x="3430" y="72739"/>
                    <a:pt x="5935" y="75699"/>
                    <a:pt x="5895" y="79168"/>
                  </a:cubicBezTo>
                  <a:lnTo>
                    <a:pt x="5895" y="448487"/>
                  </a:lnTo>
                  <a:lnTo>
                    <a:pt x="22910" y="448487"/>
                  </a:lnTo>
                  <a:lnTo>
                    <a:pt x="22910" y="75953"/>
                  </a:lnTo>
                  <a:close/>
                </a:path>
              </a:pathLst>
            </a:custGeom>
            <a:solidFill>
              <a:srgbClr val="E8E7E3"/>
            </a:solidFill>
            <a:ln w="12700" cap="flat">
              <a:noFill/>
              <a:prstDash val="solid"/>
              <a:miter/>
            </a:ln>
          </p:spPr>
          <p:txBody>
            <a:bodyPr rtlCol="0" anchor="ctr"/>
            <a:lstStyle/>
            <a:p>
              <a:endParaRPr lang="en-US"/>
            </a:p>
          </p:txBody>
        </p:sp>
        <p:sp>
          <p:nvSpPr>
            <p:cNvPr id="1332" name="Freeform: Shape 1331">
              <a:extLst>
                <a:ext uri="{FF2B5EF4-FFF2-40B4-BE49-F238E27FC236}">
                  <a16:creationId xmlns:a16="http://schemas.microsoft.com/office/drawing/2014/main" id="{A6B23B8C-479D-47F6-9FA6-E998CEEFB385}"/>
                </a:ext>
              </a:extLst>
            </p:cNvPr>
            <p:cNvSpPr/>
            <p:nvPr/>
          </p:nvSpPr>
          <p:spPr>
            <a:xfrm>
              <a:off x="10890364" y="6405226"/>
              <a:ext cx="391482" cy="71934"/>
            </a:xfrm>
            <a:custGeom>
              <a:avLst/>
              <a:gdLst>
                <a:gd name="connsiteX0" fmla="*/ 391483 w 391482"/>
                <a:gd name="connsiteY0" fmla="*/ 71935 h 71934"/>
                <a:gd name="connsiteX1" fmla="*/ 391483 w 391482"/>
                <a:gd name="connsiteY1" fmla="*/ 0 h 71934"/>
                <a:gd name="connsiteX2" fmla="*/ 34701 w 391482"/>
                <a:gd name="connsiteY2" fmla="*/ 0 h 71934"/>
                <a:gd name="connsiteX3" fmla="*/ 0 w 391482"/>
                <a:gd name="connsiteY3" fmla="*/ 536 h 71934"/>
                <a:gd name="connsiteX4" fmla="*/ 0 w 391482"/>
                <a:gd name="connsiteY4" fmla="*/ 71935 h 71934"/>
                <a:gd name="connsiteX5" fmla="*/ 34566 w 391482"/>
                <a:gd name="connsiteY5" fmla="*/ 71935 h 71934"/>
                <a:gd name="connsiteX6" fmla="*/ 391483 w 391482"/>
                <a:gd name="connsiteY6" fmla="*/ 71935 h 7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482" h="71934">
                  <a:moveTo>
                    <a:pt x="391483" y="71935"/>
                  </a:moveTo>
                  <a:lnTo>
                    <a:pt x="391483" y="0"/>
                  </a:lnTo>
                  <a:lnTo>
                    <a:pt x="34701" y="0"/>
                  </a:lnTo>
                  <a:lnTo>
                    <a:pt x="0" y="536"/>
                  </a:lnTo>
                  <a:lnTo>
                    <a:pt x="0" y="71935"/>
                  </a:lnTo>
                  <a:lnTo>
                    <a:pt x="34566" y="71935"/>
                  </a:lnTo>
                  <a:lnTo>
                    <a:pt x="391483" y="71935"/>
                  </a:lnTo>
                  <a:close/>
                </a:path>
              </a:pathLst>
            </a:custGeom>
            <a:solidFill>
              <a:schemeClr val="bg1">
                <a:lumMod val="95000"/>
              </a:schemeClr>
            </a:solidFill>
            <a:ln w="12700" cap="flat">
              <a:noFill/>
              <a:prstDash val="solid"/>
              <a:miter/>
            </a:ln>
          </p:spPr>
          <p:txBody>
            <a:bodyPr rtlCol="0" anchor="ctr"/>
            <a:lstStyle/>
            <a:p>
              <a:endParaRPr lang="en-US"/>
            </a:p>
          </p:txBody>
        </p:sp>
        <p:sp>
          <p:nvSpPr>
            <p:cNvPr id="1333" name="Freeform: Shape 1332">
              <a:extLst>
                <a:ext uri="{FF2B5EF4-FFF2-40B4-BE49-F238E27FC236}">
                  <a16:creationId xmlns:a16="http://schemas.microsoft.com/office/drawing/2014/main" id="{532A509B-36D9-4D73-933C-9AF5BCF66498}"/>
                </a:ext>
              </a:extLst>
            </p:cNvPr>
            <p:cNvSpPr/>
            <p:nvPr/>
          </p:nvSpPr>
          <p:spPr>
            <a:xfrm>
              <a:off x="12687674" y="5563576"/>
              <a:ext cx="29609" cy="201470"/>
            </a:xfrm>
            <a:custGeom>
              <a:avLst/>
              <a:gdLst>
                <a:gd name="connsiteX0" fmla="*/ 29609 w 29609"/>
                <a:gd name="connsiteY0" fmla="*/ 10181 h 201470"/>
                <a:gd name="connsiteX1" fmla="*/ 29609 w 29609"/>
                <a:gd name="connsiteY1" fmla="*/ 0 h 201470"/>
                <a:gd name="connsiteX2" fmla="*/ 2143 w 29609"/>
                <a:gd name="connsiteY2" fmla="*/ 0 h 201470"/>
                <a:gd name="connsiteX3" fmla="*/ 0 w 29609"/>
                <a:gd name="connsiteY3" fmla="*/ 10851 h 201470"/>
                <a:gd name="connsiteX4" fmla="*/ 0 w 29609"/>
                <a:gd name="connsiteY4" fmla="*/ 201471 h 201470"/>
                <a:gd name="connsiteX5" fmla="*/ 29609 w 29609"/>
                <a:gd name="connsiteY5" fmla="*/ 201471 h 201470"/>
                <a:gd name="connsiteX6" fmla="*/ 29609 w 29609"/>
                <a:gd name="connsiteY6" fmla="*/ 10181 h 20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9" h="201470">
                  <a:moveTo>
                    <a:pt x="29609" y="10181"/>
                  </a:moveTo>
                  <a:lnTo>
                    <a:pt x="29609" y="0"/>
                  </a:lnTo>
                  <a:lnTo>
                    <a:pt x="2143" y="0"/>
                  </a:lnTo>
                  <a:lnTo>
                    <a:pt x="0" y="10851"/>
                  </a:lnTo>
                  <a:lnTo>
                    <a:pt x="0" y="201471"/>
                  </a:lnTo>
                  <a:lnTo>
                    <a:pt x="29609" y="201471"/>
                  </a:lnTo>
                  <a:lnTo>
                    <a:pt x="29609" y="10181"/>
                  </a:lnTo>
                  <a:close/>
                </a:path>
              </a:pathLst>
            </a:custGeom>
            <a:solidFill>
              <a:srgbClr val="F9C996"/>
            </a:solidFill>
            <a:ln w="12700" cap="flat">
              <a:noFill/>
              <a:prstDash val="solid"/>
              <a:miter/>
            </a:ln>
          </p:spPr>
          <p:txBody>
            <a:bodyPr rtlCol="0" anchor="ctr"/>
            <a:lstStyle/>
            <a:p>
              <a:endParaRPr lang="en-US"/>
            </a:p>
          </p:txBody>
        </p:sp>
        <p:sp>
          <p:nvSpPr>
            <p:cNvPr id="1334" name="Freeform: Shape 1333">
              <a:extLst>
                <a:ext uri="{FF2B5EF4-FFF2-40B4-BE49-F238E27FC236}">
                  <a16:creationId xmlns:a16="http://schemas.microsoft.com/office/drawing/2014/main" id="{DC2E4579-6D8C-4F4A-8F3F-ED4A06001773}"/>
                </a:ext>
              </a:extLst>
            </p:cNvPr>
            <p:cNvSpPr/>
            <p:nvPr/>
          </p:nvSpPr>
          <p:spPr>
            <a:xfrm>
              <a:off x="12681644" y="5786346"/>
              <a:ext cx="803" cy="288542"/>
            </a:xfrm>
            <a:custGeom>
              <a:avLst/>
              <a:gdLst>
                <a:gd name="connsiteX0" fmla="*/ 804 w 803"/>
                <a:gd name="connsiteY0" fmla="*/ 288543 h 288542"/>
                <a:gd name="connsiteX1" fmla="*/ 804 w 803"/>
                <a:gd name="connsiteY1" fmla="*/ 0 h 288542"/>
                <a:gd name="connsiteX2" fmla="*/ 0 w 803"/>
                <a:gd name="connsiteY2" fmla="*/ 0 h 288542"/>
                <a:gd name="connsiteX3" fmla="*/ 0 w 803"/>
                <a:gd name="connsiteY3" fmla="*/ 288543 h 288542"/>
              </a:gdLst>
              <a:ahLst/>
              <a:cxnLst>
                <a:cxn ang="0">
                  <a:pos x="connsiteX0" y="connsiteY0"/>
                </a:cxn>
                <a:cxn ang="0">
                  <a:pos x="connsiteX1" y="connsiteY1"/>
                </a:cxn>
                <a:cxn ang="0">
                  <a:pos x="connsiteX2" y="connsiteY2"/>
                </a:cxn>
                <a:cxn ang="0">
                  <a:pos x="connsiteX3" y="connsiteY3"/>
                </a:cxn>
              </a:cxnLst>
              <a:rect l="l" t="t" r="r" b="b"/>
              <a:pathLst>
                <a:path w="803" h="288542">
                  <a:moveTo>
                    <a:pt x="804" y="288543"/>
                  </a:moveTo>
                  <a:lnTo>
                    <a:pt x="804" y="0"/>
                  </a:lnTo>
                  <a:lnTo>
                    <a:pt x="0" y="0"/>
                  </a:lnTo>
                  <a:lnTo>
                    <a:pt x="0" y="288543"/>
                  </a:lnTo>
                  <a:close/>
                </a:path>
              </a:pathLst>
            </a:custGeom>
            <a:solidFill>
              <a:srgbClr val="F4F5F3"/>
            </a:solidFill>
            <a:ln w="12700" cap="flat">
              <a:noFill/>
              <a:prstDash val="solid"/>
              <a:miter/>
            </a:ln>
          </p:spPr>
          <p:txBody>
            <a:bodyPr rtlCol="0" anchor="ctr"/>
            <a:lstStyle/>
            <a:p>
              <a:endParaRPr lang="en-US"/>
            </a:p>
          </p:txBody>
        </p:sp>
        <p:sp>
          <p:nvSpPr>
            <p:cNvPr id="1335" name="Freeform: Shape 1334">
              <a:extLst>
                <a:ext uri="{FF2B5EF4-FFF2-40B4-BE49-F238E27FC236}">
                  <a16:creationId xmlns:a16="http://schemas.microsoft.com/office/drawing/2014/main" id="{F3063F61-1F5A-49FA-9189-179246DB5903}"/>
                </a:ext>
              </a:extLst>
            </p:cNvPr>
            <p:cNvSpPr/>
            <p:nvPr/>
          </p:nvSpPr>
          <p:spPr>
            <a:xfrm>
              <a:off x="12341609" y="5786346"/>
              <a:ext cx="335613" cy="618879"/>
            </a:xfrm>
            <a:custGeom>
              <a:avLst/>
              <a:gdLst>
                <a:gd name="connsiteX0" fmla="*/ 3618 w 335613"/>
                <a:gd name="connsiteY0" fmla="*/ 0 h 618879"/>
                <a:gd name="connsiteX1" fmla="*/ 0 w 335613"/>
                <a:gd name="connsiteY1" fmla="*/ 0 h 618879"/>
                <a:gd name="connsiteX2" fmla="*/ 0 w 335613"/>
                <a:gd name="connsiteY2" fmla="*/ 618880 h 618879"/>
                <a:gd name="connsiteX3" fmla="*/ 321546 w 335613"/>
                <a:gd name="connsiteY3" fmla="*/ 618880 h 618879"/>
                <a:gd name="connsiteX4" fmla="*/ 321546 w 335613"/>
                <a:gd name="connsiteY4" fmla="*/ 297384 h 618879"/>
                <a:gd name="connsiteX5" fmla="*/ 321546 w 335613"/>
                <a:gd name="connsiteY5" fmla="*/ 294571 h 618879"/>
                <a:gd name="connsiteX6" fmla="*/ 321546 w 335613"/>
                <a:gd name="connsiteY6" fmla="*/ 294571 h 618879"/>
                <a:gd name="connsiteX7" fmla="*/ 322618 w 335613"/>
                <a:gd name="connsiteY7" fmla="*/ 292561 h 618879"/>
                <a:gd name="connsiteX8" fmla="*/ 322618 w 335613"/>
                <a:gd name="connsiteY8" fmla="*/ 291758 h 618879"/>
                <a:gd name="connsiteX9" fmla="*/ 323556 w 335613"/>
                <a:gd name="connsiteY9" fmla="*/ 290552 h 618879"/>
                <a:gd name="connsiteX10" fmla="*/ 324761 w 335613"/>
                <a:gd name="connsiteY10" fmla="*/ 289748 h 618879"/>
                <a:gd name="connsiteX11" fmla="*/ 325968 w 335613"/>
                <a:gd name="connsiteY11" fmla="*/ 289748 h 618879"/>
                <a:gd name="connsiteX12" fmla="*/ 327441 w 335613"/>
                <a:gd name="connsiteY12" fmla="*/ 289748 h 618879"/>
                <a:gd name="connsiteX13" fmla="*/ 328513 w 335613"/>
                <a:gd name="connsiteY13" fmla="*/ 289748 h 618879"/>
                <a:gd name="connsiteX14" fmla="*/ 335614 w 335613"/>
                <a:gd name="connsiteY14" fmla="*/ 289748 h 618879"/>
                <a:gd name="connsiteX15" fmla="*/ 335614 w 335613"/>
                <a:gd name="connsiteY15" fmla="*/ 0 h 618879"/>
                <a:gd name="connsiteX16" fmla="*/ 3618 w 335613"/>
                <a:gd name="connsiteY16" fmla="*/ 0 h 61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613" h="618879">
                  <a:moveTo>
                    <a:pt x="3618" y="0"/>
                  </a:moveTo>
                  <a:lnTo>
                    <a:pt x="0" y="0"/>
                  </a:lnTo>
                  <a:lnTo>
                    <a:pt x="0" y="618880"/>
                  </a:lnTo>
                  <a:lnTo>
                    <a:pt x="321546" y="618880"/>
                  </a:lnTo>
                  <a:lnTo>
                    <a:pt x="321546" y="297384"/>
                  </a:lnTo>
                  <a:cubicBezTo>
                    <a:pt x="321479" y="296447"/>
                    <a:pt x="321479" y="295507"/>
                    <a:pt x="321546" y="294571"/>
                  </a:cubicBezTo>
                  <a:lnTo>
                    <a:pt x="321546" y="294571"/>
                  </a:lnTo>
                  <a:lnTo>
                    <a:pt x="322618" y="292561"/>
                  </a:lnTo>
                  <a:lnTo>
                    <a:pt x="322618" y="291758"/>
                  </a:lnTo>
                  <a:lnTo>
                    <a:pt x="323556" y="290552"/>
                  </a:lnTo>
                  <a:cubicBezTo>
                    <a:pt x="323931" y="290239"/>
                    <a:pt x="324333" y="289969"/>
                    <a:pt x="324761" y="289748"/>
                  </a:cubicBezTo>
                  <a:lnTo>
                    <a:pt x="325968" y="289748"/>
                  </a:lnTo>
                  <a:lnTo>
                    <a:pt x="327441" y="289748"/>
                  </a:lnTo>
                  <a:lnTo>
                    <a:pt x="328513" y="289748"/>
                  </a:lnTo>
                  <a:lnTo>
                    <a:pt x="335614" y="289748"/>
                  </a:lnTo>
                  <a:lnTo>
                    <a:pt x="335614" y="0"/>
                  </a:lnTo>
                  <a:lnTo>
                    <a:pt x="3618" y="0"/>
                  </a:lnTo>
                  <a:close/>
                </a:path>
              </a:pathLst>
            </a:custGeom>
            <a:solidFill>
              <a:schemeClr val="accent3"/>
            </a:solidFill>
            <a:ln w="12700" cap="flat">
              <a:noFill/>
              <a:prstDash val="solid"/>
              <a:miter/>
            </a:ln>
          </p:spPr>
          <p:txBody>
            <a:bodyPr rtlCol="0" anchor="ctr"/>
            <a:lstStyle/>
            <a:p>
              <a:endParaRPr lang="en-US"/>
            </a:p>
          </p:txBody>
        </p:sp>
        <p:sp>
          <p:nvSpPr>
            <p:cNvPr id="1336" name="Freeform: Shape 1335">
              <a:extLst>
                <a:ext uri="{FF2B5EF4-FFF2-40B4-BE49-F238E27FC236}">
                  <a16:creationId xmlns:a16="http://schemas.microsoft.com/office/drawing/2014/main" id="{75903F50-2037-442A-87AC-8785A3F5F7BC}"/>
                </a:ext>
              </a:extLst>
            </p:cNvPr>
            <p:cNvSpPr/>
            <p:nvPr/>
          </p:nvSpPr>
          <p:spPr>
            <a:xfrm>
              <a:off x="9554609" y="6492834"/>
              <a:ext cx="224412" cy="361013"/>
            </a:xfrm>
            <a:custGeom>
              <a:avLst/>
              <a:gdLst>
                <a:gd name="connsiteX0" fmla="*/ 135719 w 224412"/>
                <a:gd name="connsiteY0" fmla="*/ 0 h 361013"/>
                <a:gd name="connsiteX1" fmla="*/ 56672 w 224412"/>
                <a:gd name="connsiteY1" fmla="*/ 0 h 361013"/>
                <a:gd name="connsiteX2" fmla="*/ 0 w 224412"/>
                <a:gd name="connsiteY2" fmla="*/ 2143 h 361013"/>
                <a:gd name="connsiteX3" fmla="*/ 0 w 224412"/>
                <a:gd name="connsiteY3" fmla="*/ 361013 h 361013"/>
                <a:gd name="connsiteX4" fmla="*/ 224412 w 224412"/>
                <a:gd name="connsiteY4" fmla="*/ 361013 h 361013"/>
                <a:gd name="connsiteX5" fmla="*/ 224412 w 224412"/>
                <a:gd name="connsiteY5" fmla="*/ 0 h 361013"/>
                <a:gd name="connsiteX6" fmla="*/ 135719 w 224412"/>
                <a:gd name="connsiteY6" fmla="*/ 0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412" h="361013">
                  <a:moveTo>
                    <a:pt x="135719" y="0"/>
                  </a:moveTo>
                  <a:lnTo>
                    <a:pt x="56672" y="0"/>
                  </a:lnTo>
                  <a:lnTo>
                    <a:pt x="0" y="2143"/>
                  </a:lnTo>
                  <a:lnTo>
                    <a:pt x="0" y="361013"/>
                  </a:lnTo>
                  <a:lnTo>
                    <a:pt x="224412" y="361013"/>
                  </a:lnTo>
                  <a:lnTo>
                    <a:pt x="224412" y="0"/>
                  </a:lnTo>
                  <a:lnTo>
                    <a:pt x="135719" y="0"/>
                  </a:ln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337" name="Freeform: Shape 1336">
              <a:extLst>
                <a:ext uri="{FF2B5EF4-FFF2-40B4-BE49-F238E27FC236}">
                  <a16:creationId xmlns:a16="http://schemas.microsoft.com/office/drawing/2014/main" id="{992C6ECE-4938-47D9-8A59-733BFD323F31}"/>
                </a:ext>
              </a:extLst>
            </p:cNvPr>
            <p:cNvSpPr/>
            <p:nvPr/>
          </p:nvSpPr>
          <p:spPr>
            <a:xfrm>
              <a:off x="9781700" y="6492834"/>
              <a:ext cx="56136" cy="361013"/>
            </a:xfrm>
            <a:custGeom>
              <a:avLst/>
              <a:gdLst>
                <a:gd name="connsiteX0" fmla="*/ 0 w 56136"/>
                <a:gd name="connsiteY0" fmla="*/ 0 h 361013"/>
                <a:gd name="connsiteX1" fmla="*/ 56136 w 56136"/>
                <a:gd name="connsiteY1" fmla="*/ 0 h 361013"/>
                <a:gd name="connsiteX2" fmla="*/ 56136 w 56136"/>
                <a:gd name="connsiteY2" fmla="*/ 361013 h 361013"/>
                <a:gd name="connsiteX3" fmla="*/ 0 w 56136"/>
                <a:gd name="connsiteY3" fmla="*/ 361013 h 361013"/>
              </a:gdLst>
              <a:ahLst/>
              <a:cxnLst>
                <a:cxn ang="0">
                  <a:pos x="connsiteX0" y="connsiteY0"/>
                </a:cxn>
                <a:cxn ang="0">
                  <a:pos x="connsiteX1" y="connsiteY1"/>
                </a:cxn>
                <a:cxn ang="0">
                  <a:pos x="connsiteX2" y="connsiteY2"/>
                </a:cxn>
                <a:cxn ang="0">
                  <a:pos x="connsiteX3" y="connsiteY3"/>
                </a:cxn>
              </a:cxnLst>
              <a:rect l="l" t="t" r="r" b="b"/>
              <a:pathLst>
                <a:path w="56136" h="361013">
                  <a:moveTo>
                    <a:pt x="0" y="0"/>
                  </a:moveTo>
                  <a:lnTo>
                    <a:pt x="56136" y="0"/>
                  </a:lnTo>
                  <a:lnTo>
                    <a:pt x="56136" y="361013"/>
                  </a:lnTo>
                  <a:lnTo>
                    <a:pt x="0" y="361013"/>
                  </a:lnTo>
                  <a:close/>
                </a:path>
              </a:pathLst>
            </a:custGeom>
            <a:solidFill>
              <a:srgbClr val="F39896"/>
            </a:solidFill>
            <a:ln w="12700" cap="flat">
              <a:noFill/>
              <a:prstDash val="solid"/>
              <a:miter/>
            </a:ln>
          </p:spPr>
          <p:txBody>
            <a:bodyPr rtlCol="0" anchor="ctr"/>
            <a:lstStyle/>
            <a:p>
              <a:endParaRPr lang="en-US"/>
            </a:p>
          </p:txBody>
        </p:sp>
        <p:sp>
          <p:nvSpPr>
            <p:cNvPr id="1338" name="Freeform: Shape 1337">
              <a:extLst>
                <a:ext uri="{FF2B5EF4-FFF2-40B4-BE49-F238E27FC236}">
                  <a16:creationId xmlns:a16="http://schemas.microsoft.com/office/drawing/2014/main" id="{82092BB1-272C-4DA4-A825-57C26CB64BD4}"/>
                </a:ext>
              </a:extLst>
            </p:cNvPr>
            <p:cNvSpPr/>
            <p:nvPr/>
          </p:nvSpPr>
          <p:spPr>
            <a:xfrm>
              <a:off x="9697563" y="5893779"/>
              <a:ext cx="207262" cy="584452"/>
            </a:xfrm>
            <a:custGeom>
              <a:avLst/>
              <a:gdLst>
                <a:gd name="connsiteX0" fmla="*/ 207263 w 207262"/>
                <a:gd name="connsiteY0" fmla="*/ 581640 h 584452"/>
                <a:gd name="connsiteX1" fmla="*/ 207263 w 207262"/>
                <a:gd name="connsiteY1" fmla="*/ 3349 h 584452"/>
                <a:gd name="connsiteX2" fmla="*/ 207263 w 207262"/>
                <a:gd name="connsiteY2" fmla="*/ 0 h 584452"/>
                <a:gd name="connsiteX3" fmla="*/ 0 w 207262"/>
                <a:gd name="connsiteY3" fmla="*/ 0 h 584452"/>
                <a:gd name="connsiteX4" fmla="*/ 0 w 207262"/>
                <a:gd name="connsiteY4" fmla="*/ 584453 h 584452"/>
                <a:gd name="connsiteX5" fmla="*/ 141346 w 207262"/>
                <a:gd name="connsiteY5" fmla="*/ 584453 h 584452"/>
                <a:gd name="connsiteX6" fmla="*/ 207263 w 207262"/>
                <a:gd name="connsiteY6" fmla="*/ 581640 h 5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62" h="584452">
                  <a:moveTo>
                    <a:pt x="207263" y="581640"/>
                  </a:moveTo>
                  <a:lnTo>
                    <a:pt x="207263" y="3349"/>
                  </a:lnTo>
                  <a:lnTo>
                    <a:pt x="207263" y="0"/>
                  </a:lnTo>
                  <a:lnTo>
                    <a:pt x="0" y="0"/>
                  </a:lnTo>
                  <a:lnTo>
                    <a:pt x="0" y="584453"/>
                  </a:lnTo>
                  <a:lnTo>
                    <a:pt x="141346" y="584453"/>
                  </a:lnTo>
                  <a:lnTo>
                    <a:pt x="207263" y="581640"/>
                  </a:lnTo>
                  <a:close/>
                </a:path>
              </a:pathLst>
            </a:custGeom>
            <a:solidFill>
              <a:schemeClr val="bg1">
                <a:lumMod val="95000"/>
              </a:schemeClr>
            </a:solidFill>
            <a:ln w="12700" cap="flat">
              <a:noFill/>
              <a:prstDash val="solid"/>
              <a:miter/>
            </a:ln>
          </p:spPr>
          <p:txBody>
            <a:bodyPr rtlCol="0" anchor="ctr"/>
            <a:lstStyle/>
            <a:p>
              <a:endParaRPr lang="en-US"/>
            </a:p>
          </p:txBody>
        </p:sp>
        <p:sp>
          <p:nvSpPr>
            <p:cNvPr id="1339" name="Freeform: Shape 1338">
              <a:extLst>
                <a:ext uri="{FF2B5EF4-FFF2-40B4-BE49-F238E27FC236}">
                  <a16:creationId xmlns:a16="http://schemas.microsoft.com/office/drawing/2014/main" id="{C59C2838-71C5-4BA4-8360-07635B6BFB28}"/>
                </a:ext>
              </a:extLst>
            </p:cNvPr>
            <p:cNvSpPr/>
            <p:nvPr/>
          </p:nvSpPr>
          <p:spPr>
            <a:xfrm>
              <a:off x="12157390" y="5602423"/>
              <a:ext cx="181941" cy="135028"/>
            </a:xfrm>
            <a:custGeom>
              <a:avLst/>
              <a:gdLst>
                <a:gd name="connsiteX0" fmla="*/ 179262 w 181941"/>
                <a:gd name="connsiteY0" fmla="*/ 135028 h 135028"/>
                <a:gd name="connsiteX1" fmla="*/ 180736 w 181941"/>
                <a:gd name="connsiteY1" fmla="*/ 135028 h 135028"/>
                <a:gd name="connsiteX2" fmla="*/ 181942 w 181941"/>
                <a:gd name="connsiteY2" fmla="*/ 135028 h 135028"/>
                <a:gd name="connsiteX3" fmla="*/ 181942 w 181941"/>
                <a:gd name="connsiteY3" fmla="*/ 135028 h 135028"/>
                <a:gd name="connsiteX4" fmla="*/ 181942 w 181941"/>
                <a:gd name="connsiteY4" fmla="*/ 1072 h 135028"/>
                <a:gd name="connsiteX5" fmla="*/ 181942 w 181941"/>
                <a:gd name="connsiteY5" fmla="*/ 0 h 135028"/>
                <a:gd name="connsiteX6" fmla="*/ 0 w 181941"/>
                <a:gd name="connsiteY6" fmla="*/ 0 h 135028"/>
                <a:gd name="connsiteX7" fmla="*/ 0 w 181941"/>
                <a:gd name="connsiteY7" fmla="*/ 135028 h 135028"/>
                <a:gd name="connsiteX8" fmla="*/ 179262 w 181941"/>
                <a:gd name="connsiteY8" fmla="*/ 135028 h 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41" h="135028">
                  <a:moveTo>
                    <a:pt x="179262" y="135028"/>
                  </a:moveTo>
                  <a:lnTo>
                    <a:pt x="180736" y="135028"/>
                  </a:lnTo>
                  <a:cubicBezTo>
                    <a:pt x="181138" y="134972"/>
                    <a:pt x="181539" y="134972"/>
                    <a:pt x="181942" y="135028"/>
                  </a:cubicBezTo>
                  <a:lnTo>
                    <a:pt x="181942" y="135028"/>
                  </a:lnTo>
                  <a:lnTo>
                    <a:pt x="181942" y="1072"/>
                  </a:lnTo>
                  <a:lnTo>
                    <a:pt x="181942" y="0"/>
                  </a:lnTo>
                  <a:lnTo>
                    <a:pt x="0" y="0"/>
                  </a:lnTo>
                  <a:lnTo>
                    <a:pt x="0" y="135028"/>
                  </a:lnTo>
                  <a:lnTo>
                    <a:pt x="179262" y="135028"/>
                  </a:lnTo>
                  <a:close/>
                </a:path>
              </a:pathLst>
            </a:custGeom>
            <a:solidFill>
              <a:schemeClr val="accent5"/>
            </a:solidFill>
            <a:ln w="12700" cap="flat">
              <a:noFill/>
              <a:prstDash val="solid"/>
              <a:miter/>
            </a:ln>
          </p:spPr>
          <p:txBody>
            <a:bodyPr rtlCol="0" anchor="ctr"/>
            <a:lstStyle/>
            <a:p>
              <a:endParaRPr lang="en-US"/>
            </a:p>
          </p:txBody>
        </p:sp>
        <p:sp>
          <p:nvSpPr>
            <p:cNvPr id="1340" name="Freeform: Shape 1339">
              <a:extLst>
                <a:ext uri="{FF2B5EF4-FFF2-40B4-BE49-F238E27FC236}">
                  <a16:creationId xmlns:a16="http://schemas.microsoft.com/office/drawing/2014/main" id="{16533049-94AC-4803-9AA5-6868F67288A4}"/>
                </a:ext>
              </a:extLst>
            </p:cNvPr>
            <p:cNvSpPr/>
            <p:nvPr/>
          </p:nvSpPr>
          <p:spPr>
            <a:xfrm>
              <a:off x="12731886" y="5580990"/>
              <a:ext cx="126608" cy="493898"/>
            </a:xfrm>
            <a:custGeom>
              <a:avLst/>
              <a:gdLst>
                <a:gd name="connsiteX0" fmla="*/ 0 w 126608"/>
                <a:gd name="connsiteY0" fmla="*/ 185262 h 493898"/>
                <a:gd name="connsiteX1" fmla="*/ 0 w 126608"/>
                <a:gd name="connsiteY1" fmla="*/ 493898 h 493898"/>
                <a:gd name="connsiteX2" fmla="*/ 126609 w 126608"/>
                <a:gd name="connsiteY2" fmla="*/ 493898 h 493898"/>
                <a:gd name="connsiteX3" fmla="*/ 126609 w 126608"/>
                <a:gd name="connsiteY3" fmla="*/ 0 h 493898"/>
                <a:gd name="connsiteX4" fmla="*/ 0 w 126608"/>
                <a:gd name="connsiteY4" fmla="*/ 0 h 493898"/>
                <a:gd name="connsiteX5" fmla="*/ 0 w 126608"/>
                <a:gd name="connsiteY5" fmla="*/ 185262 h 49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493898">
                  <a:moveTo>
                    <a:pt x="0" y="185262"/>
                  </a:moveTo>
                  <a:lnTo>
                    <a:pt x="0" y="493898"/>
                  </a:lnTo>
                  <a:lnTo>
                    <a:pt x="126609" y="493898"/>
                  </a:lnTo>
                  <a:lnTo>
                    <a:pt x="126609" y="0"/>
                  </a:lnTo>
                  <a:lnTo>
                    <a:pt x="0" y="0"/>
                  </a:lnTo>
                  <a:lnTo>
                    <a:pt x="0" y="185262"/>
                  </a:lnTo>
                  <a:close/>
                </a:path>
              </a:pathLst>
            </a:custGeom>
            <a:solidFill>
              <a:schemeClr val="accent1"/>
            </a:solidFill>
            <a:ln w="12700" cap="flat">
              <a:noFill/>
              <a:prstDash val="solid"/>
              <a:miter/>
            </a:ln>
          </p:spPr>
          <p:txBody>
            <a:bodyPr rtlCol="0" anchor="ctr"/>
            <a:lstStyle/>
            <a:p>
              <a:endParaRPr lang="en-US"/>
            </a:p>
          </p:txBody>
        </p:sp>
        <p:sp>
          <p:nvSpPr>
            <p:cNvPr id="1341" name="Freeform: Shape 1340">
              <a:extLst>
                <a:ext uri="{FF2B5EF4-FFF2-40B4-BE49-F238E27FC236}">
                  <a16:creationId xmlns:a16="http://schemas.microsoft.com/office/drawing/2014/main" id="{0164A418-400D-4876-AA6F-00A6F57F4076}"/>
                </a:ext>
              </a:extLst>
            </p:cNvPr>
            <p:cNvSpPr/>
            <p:nvPr/>
          </p:nvSpPr>
          <p:spPr>
            <a:xfrm>
              <a:off x="9840382" y="6489752"/>
              <a:ext cx="70472" cy="364094"/>
            </a:xfrm>
            <a:custGeom>
              <a:avLst/>
              <a:gdLst>
                <a:gd name="connsiteX0" fmla="*/ 0 w 70472"/>
                <a:gd name="connsiteY0" fmla="*/ 2947 h 364094"/>
                <a:gd name="connsiteX1" fmla="*/ 0 w 70472"/>
                <a:gd name="connsiteY1" fmla="*/ 364094 h 364094"/>
                <a:gd name="connsiteX2" fmla="*/ 70472 w 70472"/>
                <a:gd name="connsiteY2" fmla="*/ 364094 h 364094"/>
                <a:gd name="connsiteX3" fmla="*/ 70472 w 70472"/>
                <a:gd name="connsiteY3" fmla="*/ 0 h 364094"/>
                <a:gd name="connsiteX4" fmla="*/ 0 w 70472"/>
                <a:gd name="connsiteY4" fmla="*/ 2947 h 364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72" h="364094">
                  <a:moveTo>
                    <a:pt x="0" y="2947"/>
                  </a:moveTo>
                  <a:lnTo>
                    <a:pt x="0" y="364094"/>
                  </a:lnTo>
                  <a:lnTo>
                    <a:pt x="70472" y="364094"/>
                  </a:lnTo>
                  <a:lnTo>
                    <a:pt x="70472" y="0"/>
                  </a:lnTo>
                  <a:lnTo>
                    <a:pt x="0" y="2947"/>
                  </a:lnTo>
                  <a:close/>
                </a:path>
              </a:pathLst>
            </a:custGeom>
            <a:solidFill>
              <a:srgbClr val="088A8F"/>
            </a:solidFill>
            <a:ln w="12700" cap="flat">
              <a:noFill/>
              <a:prstDash val="solid"/>
              <a:miter/>
            </a:ln>
          </p:spPr>
          <p:txBody>
            <a:bodyPr rtlCol="0" anchor="ctr"/>
            <a:lstStyle/>
            <a:p>
              <a:endParaRPr lang="en-US"/>
            </a:p>
          </p:txBody>
        </p:sp>
        <p:sp>
          <p:nvSpPr>
            <p:cNvPr id="1342" name="Freeform: Shape 1341">
              <a:extLst>
                <a:ext uri="{FF2B5EF4-FFF2-40B4-BE49-F238E27FC236}">
                  <a16:creationId xmlns:a16="http://schemas.microsoft.com/office/drawing/2014/main" id="{FE3FA7BE-3949-4947-B1BA-256AC3D8AA8E}"/>
                </a:ext>
              </a:extLst>
            </p:cNvPr>
            <p:cNvSpPr/>
            <p:nvPr/>
          </p:nvSpPr>
          <p:spPr>
            <a:xfrm>
              <a:off x="9914338" y="6484796"/>
              <a:ext cx="122723" cy="369988"/>
            </a:xfrm>
            <a:custGeom>
              <a:avLst/>
              <a:gdLst>
                <a:gd name="connsiteX0" fmla="*/ 67927 w 122723"/>
                <a:gd name="connsiteY0" fmla="*/ 2009 h 369988"/>
                <a:gd name="connsiteX1" fmla="*/ 43677 w 122723"/>
                <a:gd name="connsiteY1" fmla="*/ 2947 h 369988"/>
                <a:gd name="connsiteX2" fmla="*/ 43677 w 122723"/>
                <a:gd name="connsiteY2" fmla="*/ 2947 h 369988"/>
                <a:gd name="connsiteX3" fmla="*/ 40997 w 122723"/>
                <a:gd name="connsiteY3" fmla="*/ 2947 h 369988"/>
                <a:gd name="connsiteX4" fmla="*/ 40193 w 122723"/>
                <a:gd name="connsiteY4" fmla="*/ 2947 h 369988"/>
                <a:gd name="connsiteX5" fmla="*/ 38586 w 122723"/>
                <a:gd name="connsiteY5" fmla="*/ 2009 h 369988"/>
                <a:gd name="connsiteX6" fmla="*/ 38586 w 122723"/>
                <a:gd name="connsiteY6" fmla="*/ 1072 h 369988"/>
                <a:gd name="connsiteX7" fmla="*/ 37782 w 122723"/>
                <a:gd name="connsiteY7" fmla="*/ 0 h 369988"/>
                <a:gd name="connsiteX8" fmla="*/ 30815 w 122723"/>
                <a:gd name="connsiteY8" fmla="*/ 0 h 369988"/>
                <a:gd name="connsiteX9" fmla="*/ 24250 w 122723"/>
                <a:gd name="connsiteY9" fmla="*/ 4956 h 369988"/>
                <a:gd name="connsiteX10" fmla="*/ 0 w 122723"/>
                <a:gd name="connsiteY10" fmla="*/ 5894 h 369988"/>
                <a:gd name="connsiteX11" fmla="*/ 0 w 122723"/>
                <a:gd name="connsiteY11" fmla="*/ 369988 h 369988"/>
                <a:gd name="connsiteX12" fmla="*/ 122723 w 122723"/>
                <a:gd name="connsiteY12" fmla="*/ 369988 h 369988"/>
                <a:gd name="connsiteX13" fmla="*/ 122723 w 122723"/>
                <a:gd name="connsiteY13" fmla="*/ 2009 h 36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3" h="369988">
                  <a:moveTo>
                    <a:pt x="67927" y="2009"/>
                  </a:moveTo>
                  <a:lnTo>
                    <a:pt x="43677" y="2947"/>
                  </a:lnTo>
                  <a:lnTo>
                    <a:pt x="43677" y="2947"/>
                  </a:lnTo>
                  <a:cubicBezTo>
                    <a:pt x="42792" y="3148"/>
                    <a:pt x="41881" y="3148"/>
                    <a:pt x="40997" y="2947"/>
                  </a:cubicBezTo>
                  <a:lnTo>
                    <a:pt x="40193" y="2947"/>
                  </a:lnTo>
                  <a:lnTo>
                    <a:pt x="38586" y="2009"/>
                  </a:lnTo>
                  <a:lnTo>
                    <a:pt x="38586" y="1072"/>
                  </a:lnTo>
                  <a:cubicBezTo>
                    <a:pt x="38250" y="777"/>
                    <a:pt x="37969" y="415"/>
                    <a:pt x="37782" y="0"/>
                  </a:cubicBezTo>
                  <a:lnTo>
                    <a:pt x="30815" y="0"/>
                  </a:lnTo>
                  <a:cubicBezTo>
                    <a:pt x="29864" y="2853"/>
                    <a:pt x="27251" y="4836"/>
                    <a:pt x="24250" y="4956"/>
                  </a:cubicBezTo>
                  <a:lnTo>
                    <a:pt x="0" y="5894"/>
                  </a:lnTo>
                  <a:lnTo>
                    <a:pt x="0" y="369988"/>
                  </a:lnTo>
                  <a:lnTo>
                    <a:pt x="122723" y="369988"/>
                  </a:lnTo>
                  <a:lnTo>
                    <a:pt x="122723" y="2009"/>
                  </a:lnTo>
                  <a:close/>
                </a:path>
              </a:pathLst>
            </a:custGeom>
            <a:solidFill>
              <a:schemeClr val="accent4"/>
            </a:solidFill>
            <a:ln w="12700" cap="flat">
              <a:noFill/>
              <a:prstDash val="solid"/>
              <a:miter/>
            </a:ln>
          </p:spPr>
          <p:txBody>
            <a:bodyPr rtlCol="0" anchor="ctr"/>
            <a:lstStyle/>
            <a:p>
              <a:endParaRPr lang="en-US"/>
            </a:p>
          </p:txBody>
        </p:sp>
        <p:sp>
          <p:nvSpPr>
            <p:cNvPr id="1343" name="Freeform: Shape 1342">
              <a:extLst>
                <a:ext uri="{FF2B5EF4-FFF2-40B4-BE49-F238E27FC236}">
                  <a16:creationId xmlns:a16="http://schemas.microsoft.com/office/drawing/2014/main" id="{BA0401AE-7704-427D-A75E-BBA49F62BE8E}"/>
                </a:ext>
              </a:extLst>
            </p:cNvPr>
            <p:cNvSpPr/>
            <p:nvPr/>
          </p:nvSpPr>
          <p:spPr>
            <a:xfrm>
              <a:off x="10890365" y="6491628"/>
              <a:ext cx="33226" cy="362084"/>
            </a:xfrm>
            <a:custGeom>
              <a:avLst/>
              <a:gdLst>
                <a:gd name="connsiteX0" fmla="*/ 0 w 33226"/>
                <a:gd name="connsiteY0" fmla="*/ 0 h 362084"/>
                <a:gd name="connsiteX1" fmla="*/ 33226 w 33226"/>
                <a:gd name="connsiteY1" fmla="*/ 0 h 362084"/>
                <a:gd name="connsiteX2" fmla="*/ 33226 w 33226"/>
                <a:gd name="connsiteY2" fmla="*/ 362085 h 362084"/>
                <a:gd name="connsiteX3" fmla="*/ 0 w 33226"/>
                <a:gd name="connsiteY3" fmla="*/ 362085 h 362084"/>
              </a:gdLst>
              <a:ahLst/>
              <a:cxnLst>
                <a:cxn ang="0">
                  <a:pos x="connsiteX0" y="connsiteY0"/>
                </a:cxn>
                <a:cxn ang="0">
                  <a:pos x="connsiteX1" y="connsiteY1"/>
                </a:cxn>
                <a:cxn ang="0">
                  <a:pos x="connsiteX2" y="connsiteY2"/>
                </a:cxn>
                <a:cxn ang="0">
                  <a:pos x="connsiteX3" y="connsiteY3"/>
                </a:cxn>
              </a:cxnLst>
              <a:rect l="l" t="t" r="r" b="b"/>
              <a:pathLst>
                <a:path w="33226" h="362084">
                  <a:moveTo>
                    <a:pt x="0" y="0"/>
                  </a:moveTo>
                  <a:lnTo>
                    <a:pt x="33226" y="0"/>
                  </a:lnTo>
                  <a:lnTo>
                    <a:pt x="33226" y="362085"/>
                  </a:lnTo>
                  <a:lnTo>
                    <a:pt x="0" y="362085"/>
                  </a:lnTo>
                  <a:close/>
                </a:path>
              </a:pathLst>
            </a:custGeom>
            <a:solidFill>
              <a:srgbClr val="0A4054"/>
            </a:solidFill>
            <a:ln w="12700" cap="flat">
              <a:noFill/>
              <a:prstDash val="solid"/>
              <a:miter/>
            </a:ln>
          </p:spPr>
          <p:txBody>
            <a:bodyPr rtlCol="0" anchor="ctr"/>
            <a:lstStyle/>
            <a:p>
              <a:endParaRPr lang="en-US"/>
            </a:p>
          </p:txBody>
        </p:sp>
        <p:sp>
          <p:nvSpPr>
            <p:cNvPr id="1344" name="Freeform: Shape 1343">
              <a:extLst>
                <a:ext uri="{FF2B5EF4-FFF2-40B4-BE49-F238E27FC236}">
                  <a16:creationId xmlns:a16="http://schemas.microsoft.com/office/drawing/2014/main" id="{5E8925B6-93D6-4200-9460-EDA38652B996}"/>
                </a:ext>
              </a:extLst>
            </p:cNvPr>
            <p:cNvSpPr/>
            <p:nvPr/>
          </p:nvSpPr>
          <p:spPr>
            <a:xfrm>
              <a:off x="10926137" y="6491628"/>
              <a:ext cx="349681" cy="362084"/>
            </a:xfrm>
            <a:custGeom>
              <a:avLst/>
              <a:gdLst>
                <a:gd name="connsiteX0" fmla="*/ 0 w 349681"/>
                <a:gd name="connsiteY0" fmla="*/ 0 h 362084"/>
                <a:gd name="connsiteX1" fmla="*/ 349681 w 349681"/>
                <a:gd name="connsiteY1" fmla="*/ 0 h 362084"/>
                <a:gd name="connsiteX2" fmla="*/ 349681 w 349681"/>
                <a:gd name="connsiteY2" fmla="*/ 362085 h 362084"/>
                <a:gd name="connsiteX3" fmla="*/ 0 w 349681"/>
                <a:gd name="connsiteY3" fmla="*/ 362085 h 362084"/>
              </a:gdLst>
              <a:ahLst/>
              <a:cxnLst>
                <a:cxn ang="0">
                  <a:pos x="connsiteX0" y="connsiteY0"/>
                </a:cxn>
                <a:cxn ang="0">
                  <a:pos x="connsiteX1" y="connsiteY1"/>
                </a:cxn>
                <a:cxn ang="0">
                  <a:pos x="connsiteX2" y="connsiteY2"/>
                </a:cxn>
                <a:cxn ang="0">
                  <a:pos x="connsiteX3" y="connsiteY3"/>
                </a:cxn>
              </a:cxnLst>
              <a:rect l="l" t="t" r="r" b="b"/>
              <a:pathLst>
                <a:path w="349681" h="362084">
                  <a:moveTo>
                    <a:pt x="0" y="0"/>
                  </a:moveTo>
                  <a:lnTo>
                    <a:pt x="349681" y="0"/>
                  </a:lnTo>
                  <a:lnTo>
                    <a:pt x="349681" y="362085"/>
                  </a:lnTo>
                  <a:lnTo>
                    <a:pt x="0" y="362085"/>
                  </a:lnTo>
                  <a:close/>
                </a:path>
              </a:pathLst>
            </a:custGeom>
            <a:solidFill>
              <a:schemeClr val="bg1">
                <a:lumMod val="95000"/>
              </a:schemeClr>
            </a:solidFill>
            <a:ln w="12700" cap="flat">
              <a:noFill/>
              <a:prstDash val="solid"/>
              <a:miter/>
            </a:ln>
          </p:spPr>
          <p:txBody>
            <a:bodyPr rtlCol="0" anchor="ctr"/>
            <a:lstStyle/>
            <a:p>
              <a:endParaRPr lang="en-US"/>
            </a:p>
          </p:txBody>
        </p:sp>
        <p:sp>
          <p:nvSpPr>
            <p:cNvPr id="1345" name="Freeform: Shape 1344">
              <a:extLst>
                <a:ext uri="{FF2B5EF4-FFF2-40B4-BE49-F238E27FC236}">
                  <a16:creationId xmlns:a16="http://schemas.microsoft.com/office/drawing/2014/main" id="{BD73C2BC-EF47-414F-A84D-2473AA985575}"/>
                </a:ext>
              </a:extLst>
            </p:cNvPr>
            <p:cNvSpPr/>
            <p:nvPr/>
          </p:nvSpPr>
          <p:spPr>
            <a:xfrm>
              <a:off x="11900824" y="6420497"/>
              <a:ext cx="124196" cy="433483"/>
            </a:xfrm>
            <a:custGeom>
              <a:avLst/>
              <a:gdLst>
                <a:gd name="connsiteX0" fmla="*/ 57744 w 124196"/>
                <a:gd name="connsiteY0" fmla="*/ 0 h 433483"/>
                <a:gd name="connsiteX1" fmla="*/ 57744 w 124196"/>
                <a:gd name="connsiteY1" fmla="*/ 0 h 433483"/>
                <a:gd name="connsiteX2" fmla="*/ 56270 w 124196"/>
                <a:gd name="connsiteY2" fmla="*/ 0 h 433483"/>
                <a:gd name="connsiteX3" fmla="*/ 0 w 124196"/>
                <a:gd name="connsiteY3" fmla="*/ 0 h 433483"/>
                <a:gd name="connsiteX4" fmla="*/ 0 w 124196"/>
                <a:gd name="connsiteY4" fmla="*/ 433484 h 433483"/>
                <a:gd name="connsiteX5" fmla="*/ 124197 w 124196"/>
                <a:gd name="connsiteY5" fmla="*/ 433484 h 433483"/>
                <a:gd name="connsiteX6" fmla="*/ 124197 w 124196"/>
                <a:gd name="connsiteY6" fmla="*/ 0 h 43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96" h="433483">
                  <a:moveTo>
                    <a:pt x="57744" y="0"/>
                  </a:moveTo>
                  <a:lnTo>
                    <a:pt x="57744" y="0"/>
                  </a:lnTo>
                  <a:lnTo>
                    <a:pt x="56270" y="0"/>
                  </a:lnTo>
                  <a:lnTo>
                    <a:pt x="0" y="0"/>
                  </a:lnTo>
                  <a:lnTo>
                    <a:pt x="0" y="433484"/>
                  </a:lnTo>
                  <a:lnTo>
                    <a:pt x="124197" y="433484"/>
                  </a:lnTo>
                  <a:lnTo>
                    <a:pt x="124197" y="0"/>
                  </a:lnTo>
                  <a:close/>
                </a:path>
              </a:pathLst>
            </a:custGeom>
            <a:solidFill>
              <a:schemeClr val="bg1">
                <a:lumMod val="95000"/>
              </a:schemeClr>
            </a:solidFill>
            <a:ln w="12700" cap="flat">
              <a:noFill/>
              <a:prstDash val="solid"/>
              <a:miter/>
            </a:ln>
          </p:spPr>
          <p:txBody>
            <a:bodyPr rtlCol="0" anchor="ctr"/>
            <a:lstStyle/>
            <a:p>
              <a:endParaRPr lang="en-US"/>
            </a:p>
          </p:txBody>
        </p:sp>
        <p:sp>
          <p:nvSpPr>
            <p:cNvPr id="1346" name="Freeform: Shape 1345">
              <a:extLst>
                <a:ext uri="{FF2B5EF4-FFF2-40B4-BE49-F238E27FC236}">
                  <a16:creationId xmlns:a16="http://schemas.microsoft.com/office/drawing/2014/main" id="{342F2CB2-B15D-4F3F-8AAD-82E1BE62E85D}"/>
                </a:ext>
              </a:extLst>
            </p:cNvPr>
            <p:cNvSpPr/>
            <p:nvPr/>
          </p:nvSpPr>
          <p:spPr>
            <a:xfrm>
              <a:off x="11791766" y="5802823"/>
              <a:ext cx="331594" cy="678490"/>
            </a:xfrm>
            <a:custGeom>
              <a:avLst/>
              <a:gdLst>
                <a:gd name="connsiteX0" fmla="*/ 0 w 331594"/>
                <a:gd name="connsiteY0" fmla="*/ 678357 h 678490"/>
                <a:gd name="connsiteX1" fmla="*/ 93784 w 331594"/>
                <a:gd name="connsiteY1" fmla="*/ 678357 h 678490"/>
                <a:gd name="connsiteX2" fmla="*/ 93784 w 331594"/>
                <a:gd name="connsiteY2" fmla="*/ 610039 h 678490"/>
                <a:gd name="connsiteX3" fmla="*/ 101153 w 331594"/>
                <a:gd name="connsiteY3" fmla="*/ 602805 h 678490"/>
                <a:gd name="connsiteX4" fmla="*/ 243571 w 331594"/>
                <a:gd name="connsiteY4" fmla="*/ 602805 h 678490"/>
                <a:gd name="connsiteX5" fmla="*/ 248931 w 331594"/>
                <a:gd name="connsiteY5" fmla="*/ 602805 h 678490"/>
                <a:gd name="connsiteX6" fmla="*/ 331594 w 331594"/>
                <a:gd name="connsiteY6" fmla="*/ 602805 h 678490"/>
                <a:gd name="connsiteX7" fmla="*/ 331594 w 331594"/>
                <a:gd name="connsiteY7" fmla="*/ 0 h 678490"/>
                <a:gd name="connsiteX8" fmla="*/ 0 w 331594"/>
                <a:gd name="connsiteY8" fmla="*/ 0 h 678490"/>
                <a:gd name="connsiteX9" fmla="*/ 0 w 331594"/>
                <a:gd name="connsiteY9" fmla="*/ 678491 h 67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594" h="678490">
                  <a:moveTo>
                    <a:pt x="0" y="678357"/>
                  </a:moveTo>
                  <a:lnTo>
                    <a:pt x="93784" y="678357"/>
                  </a:lnTo>
                  <a:lnTo>
                    <a:pt x="93784" y="610039"/>
                  </a:lnTo>
                  <a:cubicBezTo>
                    <a:pt x="93851" y="606020"/>
                    <a:pt x="97134" y="602805"/>
                    <a:pt x="101153" y="602805"/>
                  </a:cubicBezTo>
                  <a:lnTo>
                    <a:pt x="243571" y="602805"/>
                  </a:lnTo>
                  <a:lnTo>
                    <a:pt x="248931" y="602805"/>
                  </a:lnTo>
                  <a:lnTo>
                    <a:pt x="331594" y="602805"/>
                  </a:lnTo>
                  <a:lnTo>
                    <a:pt x="331594" y="0"/>
                  </a:lnTo>
                  <a:lnTo>
                    <a:pt x="0" y="0"/>
                  </a:lnTo>
                  <a:lnTo>
                    <a:pt x="0" y="678491"/>
                  </a:lnTo>
                  <a:close/>
                </a:path>
              </a:pathLst>
            </a:custGeom>
            <a:solidFill>
              <a:schemeClr val="accent5">
                <a:lumMod val="50000"/>
              </a:schemeClr>
            </a:solidFill>
            <a:ln w="12700" cap="flat">
              <a:noFill/>
              <a:prstDash val="solid"/>
              <a:miter/>
            </a:ln>
          </p:spPr>
          <p:txBody>
            <a:bodyPr rtlCol="0" anchor="ctr"/>
            <a:lstStyle/>
            <a:p>
              <a:endParaRPr lang="en-US"/>
            </a:p>
          </p:txBody>
        </p:sp>
        <p:sp>
          <p:nvSpPr>
            <p:cNvPr id="1347" name="Freeform: Shape 1346">
              <a:extLst>
                <a:ext uri="{FF2B5EF4-FFF2-40B4-BE49-F238E27FC236}">
                  <a16:creationId xmlns:a16="http://schemas.microsoft.com/office/drawing/2014/main" id="{3AE11FCD-AD62-46D4-B2A8-553BEDD9278F}"/>
                </a:ext>
              </a:extLst>
            </p:cNvPr>
            <p:cNvSpPr/>
            <p:nvPr/>
          </p:nvSpPr>
          <p:spPr>
            <a:xfrm>
              <a:off x="11322040" y="6486805"/>
              <a:ext cx="459542" cy="366907"/>
            </a:xfrm>
            <a:custGeom>
              <a:avLst/>
              <a:gdLst>
                <a:gd name="connsiteX0" fmla="*/ 418010 w 459542"/>
                <a:gd name="connsiteY0" fmla="*/ 334624 h 366907"/>
                <a:gd name="connsiteX1" fmla="*/ 418010 w 459542"/>
                <a:gd name="connsiteY1" fmla="*/ 333150 h 366907"/>
                <a:gd name="connsiteX2" fmla="*/ 418010 w 459542"/>
                <a:gd name="connsiteY2" fmla="*/ 331945 h 366907"/>
                <a:gd name="connsiteX3" fmla="*/ 418814 w 459542"/>
                <a:gd name="connsiteY3" fmla="*/ 330873 h 366907"/>
                <a:gd name="connsiteX4" fmla="*/ 419885 w 459542"/>
                <a:gd name="connsiteY4" fmla="*/ 329802 h 366907"/>
                <a:gd name="connsiteX5" fmla="*/ 419885 w 459542"/>
                <a:gd name="connsiteY5" fmla="*/ 329802 h 366907"/>
                <a:gd name="connsiteX6" fmla="*/ 457265 w 459542"/>
                <a:gd name="connsiteY6" fmla="*/ 308234 h 366907"/>
                <a:gd name="connsiteX7" fmla="*/ 459543 w 459542"/>
                <a:gd name="connsiteY7" fmla="*/ 307431 h 366907"/>
                <a:gd name="connsiteX8" fmla="*/ 459543 w 459542"/>
                <a:gd name="connsiteY8" fmla="*/ 2679 h 366907"/>
                <a:gd name="connsiteX9" fmla="*/ 455121 w 459542"/>
                <a:gd name="connsiteY9" fmla="*/ 0 h 366907"/>
                <a:gd name="connsiteX10" fmla="*/ 0 w 459542"/>
                <a:gd name="connsiteY10" fmla="*/ 0 h 366907"/>
                <a:gd name="connsiteX11" fmla="*/ 0 w 459542"/>
                <a:gd name="connsiteY11" fmla="*/ 366907 h 366907"/>
                <a:gd name="connsiteX12" fmla="*/ 417876 w 459542"/>
                <a:gd name="connsiteY12" fmla="*/ 366907 h 366907"/>
                <a:gd name="connsiteX13" fmla="*/ 417876 w 459542"/>
                <a:gd name="connsiteY13" fmla="*/ 335562 h 366907"/>
                <a:gd name="connsiteX14" fmla="*/ 418010 w 459542"/>
                <a:gd name="connsiteY14" fmla="*/ 334624 h 36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9542" h="366907">
                  <a:moveTo>
                    <a:pt x="418010" y="334624"/>
                  </a:moveTo>
                  <a:cubicBezTo>
                    <a:pt x="417970" y="334128"/>
                    <a:pt x="417970" y="333646"/>
                    <a:pt x="418010" y="333150"/>
                  </a:cubicBezTo>
                  <a:cubicBezTo>
                    <a:pt x="417956" y="332749"/>
                    <a:pt x="417956" y="332347"/>
                    <a:pt x="418010" y="331945"/>
                  </a:cubicBezTo>
                  <a:lnTo>
                    <a:pt x="418814" y="330873"/>
                  </a:lnTo>
                  <a:cubicBezTo>
                    <a:pt x="419135" y="330485"/>
                    <a:pt x="419497" y="330123"/>
                    <a:pt x="419885" y="329802"/>
                  </a:cubicBezTo>
                  <a:lnTo>
                    <a:pt x="419885" y="329802"/>
                  </a:lnTo>
                  <a:lnTo>
                    <a:pt x="457265" y="308234"/>
                  </a:lnTo>
                  <a:cubicBezTo>
                    <a:pt x="457935" y="307779"/>
                    <a:pt x="458726" y="307498"/>
                    <a:pt x="459543" y="307431"/>
                  </a:cubicBezTo>
                  <a:lnTo>
                    <a:pt x="459543" y="2679"/>
                  </a:lnTo>
                  <a:cubicBezTo>
                    <a:pt x="457815" y="2304"/>
                    <a:pt x="456247" y="1366"/>
                    <a:pt x="455121" y="0"/>
                  </a:cubicBezTo>
                  <a:lnTo>
                    <a:pt x="0" y="0"/>
                  </a:lnTo>
                  <a:lnTo>
                    <a:pt x="0" y="366907"/>
                  </a:lnTo>
                  <a:lnTo>
                    <a:pt x="417876" y="366907"/>
                  </a:lnTo>
                  <a:lnTo>
                    <a:pt x="417876" y="335562"/>
                  </a:lnTo>
                  <a:cubicBezTo>
                    <a:pt x="417876" y="335562"/>
                    <a:pt x="418010" y="335026"/>
                    <a:pt x="418010" y="334624"/>
                  </a:cubicBezTo>
                  <a:close/>
                </a:path>
              </a:pathLst>
            </a:custGeom>
            <a:solidFill>
              <a:schemeClr val="accent5">
                <a:lumMod val="50000"/>
              </a:schemeClr>
            </a:solidFill>
            <a:ln w="12700" cap="flat">
              <a:noFill/>
              <a:prstDash val="solid"/>
              <a:miter/>
            </a:ln>
          </p:spPr>
          <p:txBody>
            <a:bodyPr rtlCol="0" anchor="ctr"/>
            <a:lstStyle/>
            <a:p>
              <a:endParaRPr lang="en-US"/>
            </a:p>
          </p:txBody>
        </p:sp>
        <p:sp>
          <p:nvSpPr>
            <p:cNvPr id="1348" name="Freeform: Shape 1347">
              <a:extLst>
                <a:ext uri="{FF2B5EF4-FFF2-40B4-BE49-F238E27FC236}">
                  <a16:creationId xmlns:a16="http://schemas.microsoft.com/office/drawing/2014/main" id="{B1D22D16-13F6-4633-8DB5-294DB8087FA9}"/>
                </a:ext>
              </a:extLst>
            </p:cNvPr>
            <p:cNvSpPr/>
            <p:nvPr/>
          </p:nvSpPr>
          <p:spPr>
            <a:xfrm>
              <a:off x="11785737" y="6483724"/>
              <a:ext cx="99679" cy="315736"/>
            </a:xfrm>
            <a:custGeom>
              <a:avLst/>
              <a:gdLst>
                <a:gd name="connsiteX0" fmla="*/ 0 w 99679"/>
                <a:gd name="connsiteY0" fmla="*/ 5760 h 315736"/>
                <a:gd name="connsiteX1" fmla="*/ 0 w 99679"/>
                <a:gd name="connsiteY1" fmla="*/ 309976 h 315736"/>
                <a:gd name="connsiteX2" fmla="*/ 5091 w 99679"/>
                <a:gd name="connsiteY2" fmla="*/ 313325 h 315736"/>
                <a:gd name="connsiteX3" fmla="*/ 5895 w 99679"/>
                <a:gd name="connsiteY3" fmla="*/ 315736 h 315736"/>
                <a:gd name="connsiteX4" fmla="*/ 99679 w 99679"/>
                <a:gd name="connsiteY4" fmla="*/ 315736 h 315736"/>
                <a:gd name="connsiteX5" fmla="*/ 99679 w 99679"/>
                <a:gd name="connsiteY5" fmla="*/ 0 h 315736"/>
                <a:gd name="connsiteX6" fmla="*/ 5091 w 99679"/>
                <a:gd name="connsiteY6" fmla="*/ 0 h 315736"/>
                <a:gd name="connsiteX7" fmla="*/ 0 w 99679"/>
                <a:gd name="connsiteY7" fmla="*/ 5760 h 31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79" h="315736">
                  <a:moveTo>
                    <a:pt x="0" y="5760"/>
                  </a:moveTo>
                  <a:lnTo>
                    <a:pt x="0" y="309976"/>
                  </a:lnTo>
                  <a:cubicBezTo>
                    <a:pt x="2117" y="310271"/>
                    <a:pt x="3979" y="311503"/>
                    <a:pt x="5091" y="313325"/>
                  </a:cubicBezTo>
                  <a:cubicBezTo>
                    <a:pt x="5480" y="314088"/>
                    <a:pt x="5748" y="314892"/>
                    <a:pt x="5895" y="315736"/>
                  </a:cubicBezTo>
                  <a:lnTo>
                    <a:pt x="99679" y="315736"/>
                  </a:lnTo>
                  <a:lnTo>
                    <a:pt x="99679" y="0"/>
                  </a:lnTo>
                  <a:lnTo>
                    <a:pt x="5091" y="0"/>
                  </a:lnTo>
                  <a:cubicBezTo>
                    <a:pt x="4676" y="2746"/>
                    <a:pt x="2680" y="5010"/>
                    <a:pt x="0" y="5760"/>
                  </a:cubicBezTo>
                  <a:close/>
                </a:path>
              </a:pathLst>
            </a:custGeom>
            <a:solidFill>
              <a:srgbClr val="0A4054"/>
            </a:solidFill>
            <a:ln w="12700" cap="flat">
              <a:noFill/>
              <a:prstDash val="solid"/>
              <a:miter/>
            </a:ln>
          </p:spPr>
          <p:txBody>
            <a:bodyPr rtlCol="0" anchor="ctr"/>
            <a:lstStyle/>
            <a:p>
              <a:endParaRPr lang="en-US"/>
            </a:p>
          </p:txBody>
        </p:sp>
        <p:sp>
          <p:nvSpPr>
            <p:cNvPr id="1349" name="Freeform: Shape 1348">
              <a:extLst>
                <a:ext uri="{FF2B5EF4-FFF2-40B4-BE49-F238E27FC236}">
                  <a16:creationId xmlns:a16="http://schemas.microsoft.com/office/drawing/2014/main" id="{FF2E4D28-D46B-4959-B648-B782DCC99C5A}"/>
                </a:ext>
              </a:extLst>
            </p:cNvPr>
            <p:cNvSpPr/>
            <p:nvPr/>
          </p:nvSpPr>
          <p:spPr>
            <a:xfrm>
              <a:off x="12685128" y="5767592"/>
              <a:ext cx="32154" cy="307296"/>
            </a:xfrm>
            <a:custGeom>
              <a:avLst/>
              <a:gdLst>
                <a:gd name="connsiteX0" fmla="*/ 32155 w 32154"/>
                <a:gd name="connsiteY0" fmla="*/ 307297 h 307296"/>
                <a:gd name="connsiteX1" fmla="*/ 32155 w 32154"/>
                <a:gd name="connsiteY1" fmla="*/ 0 h 307296"/>
                <a:gd name="connsiteX2" fmla="*/ 2546 w 32154"/>
                <a:gd name="connsiteY2" fmla="*/ 0 h 307296"/>
                <a:gd name="connsiteX3" fmla="*/ 2546 w 32154"/>
                <a:gd name="connsiteY3" fmla="*/ 11654 h 307296"/>
                <a:gd name="connsiteX4" fmla="*/ 0 w 32154"/>
                <a:gd name="connsiteY4" fmla="*/ 17146 h 307296"/>
                <a:gd name="connsiteX5" fmla="*/ 0 w 32154"/>
                <a:gd name="connsiteY5" fmla="*/ 307297 h 30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54" h="307296">
                  <a:moveTo>
                    <a:pt x="32155" y="307297"/>
                  </a:moveTo>
                  <a:lnTo>
                    <a:pt x="32155" y="0"/>
                  </a:lnTo>
                  <a:lnTo>
                    <a:pt x="2546" y="0"/>
                  </a:lnTo>
                  <a:lnTo>
                    <a:pt x="2546" y="11654"/>
                  </a:lnTo>
                  <a:cubicBezTo>
                    <a:pt x="2492" y="13757"/>
                    <a:pt x="1568" y="15744"/>
                    <a:pt x="0" y="17146"/>
                  </a:cubicBezTo>
                  <a:lnTo>
                    <a:pt x="0" y="307297"/>
                  </a:lnTo>
                  <a:close/>
                </a:path>
              </a:pathLst>
            </a:custGeom>
            <a:solidFill>
              <a:srgbClr val="F2494C"/>
            </a:solidFill>
            <a:ln w="12700" cap="flat">
              <a:noFill/>
              <a:prstDash val="solid"/>
              <a:miter/>
            </a:ln>
          </p:spPr>
          <p:txBody>
            <a:bodyPr rtlCol="0" anchor="ctr"/>
            <a:lstStyle/>
            <a:p>
              <a:endParaRPr lang="en-US"/>
            </a:p>
          </p:txBody>
        </p:sp>
        <p:sp>
          <p:nvSpPr>
            <p:cNvPr id="1350" name="Freeform: Shape 1349">
              <a:extLst>
                <a:ext uri="{FF2B5EF4-FFF2-40B4-BE49-F238E27FC236}">
                  <a16:creationId xmlns:a16="http://schemas.microsoft.com/office/drawing/2014/main" id="{627BAA38-4BAB-4FAD-9278-C3E6A9E43BA5}"/>
                </a:ext>
              </a:extLst>
            </p:cNvPr>
            <p:cNvSpPr/>
            <p:nvPr/>
          </p:nvSpPr>
          <p:spPr>
            <a:xfrm>
              <a:off x="12337590" y="5786346"/>
              <a:ext cx="1339" cy="618879"/>
            </a:xfrm>
            <a:custGeom>
              <a:avLst/>
              <a:gdLst>
                <a:gd name="connsiteX0" fmla="*/ 0 w 1339"/>
                <a:gd name="connsiteY0" fmla="*/ 0 h 618879"/>
                <a:gd name="connsiteX1" fmla="*/ 0 w 1339"/>
                <a:gd name="connsiteY1" fmla="*/ 618880 h 618879"/>
                <a:gd name="connsiteX2" fmla="*/ 1339 w 1339"/>
                <a:gd name="connsiteY2" fmla="*/ 618880 h 618879"/>
                <a:gd name="connsiteX3" fmla="*/ 1339 w 1339"/>
                <a:gd name="connsiteY3" fmla="*/ 0 h 618879"/>
                <a:gd name="connsiteX4" fmla="*/ 0 w 1339"/>
                <a:gd name="connsiteY4" fmla="*/ 0 h 618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 h="618879">
                  <a:moveTo>
                    <a:pt x="0" y="0"/>
                  </a:moveTo>
                  <a:lnTo>
                    <a:pt x="0" y="618880"/>
                  </a:lnTo>
                  <a:lnTo>
                    <a:pt x="1339" y="618880"/>
                  </a:lnTo>
                  <a:lnTo>
                    <a:pt x="1339" y="0"/>
                  </a:lnTo>
                  <a:cubicBezTo>
                    <a:pt x="898" y="126"/>
                    <a:pt x="442" y="126"/>
                    <a:pt x="0" y="0"/>
                  </a:cubicBezTo>
                  <a:close/>
                </a:path>
              </a:pathLst>
            </a:custGeom>
            <a:solidFill>
              <a:srgbClr val="F9AA19"/>
            </a:solidFill>
            <a:ln w="12700" cap="flat">
              <a:noFill/>
              <a:prstDash val="solid"/>
              <a:miter/>
            </a:ln>
          </p:spPr>
          <p:txBody>
            <a:bodyPr rtlCol="0" anchor="ctr"/>
            <a:lstStyle/>
            <a:p>
              <a:endParaRPr lang="en-US"/>
            </a:p>
          </p:txBody>
        </p:sp>
        <p:sp>
          <p:nvSpPr>
            <p:cNvPr id="1351" name="Freeform: Shape 1350">
              <a:extLst>
                <a:ext uri="{FF2B5EF4-FFF2-40B4-BE49-F238E27FC236}">
                  <a16:creationId xmlns:a16="http://schemas.microsoft.com/office/drawing/2014/main" id="{A54A247A-B4FF-499B-BDA5-A234CD4C48A3}"/>
                </a:ext>
              </a:extLst>
            </p:cNvPr>
            <p:cNvSpPr/>
            <p:nvPr/>
          </p:nvSpPr>
          <p:spPr>
            <a:xfrm>
              <a:off x="12138366" y="5752053"/>
              <a:ext cx="196544" cy="653172"/>
            </a:xfrm>
            <a:custGeom>
              <a:avLst/>
              <a:gdLst>
                <a:gd name="connsiteX0" fmla="*/ 196545 w 196544"/>
                <a:gd name="connsiteY0" fmla="*/ 653173 h 653172"/>
                <a:gd name="connsiteX1" fmla="*/ 196545 w 196544"/>
                <a:gd name="connsiteY1" fmla="*/ 32150 h 653172"/>
                <a:gd name="connsiteX2" fmla="*/ 196545 w 196544"/>
                <a:gd name="connsiteY2" fmla="*/ 22237 h 653172"/>
                <a:gd name="connsiteX3" fmla="*/ 196545 w 196544"/>
                <a:gd name="connsiteY3" fmla="*/ 13798 h 653172"/>
                <a:gd name="connsiteX4" fmla="*/ 194937 w 196544"/>
                <a:gd name="connsiteY4" fmla="*/ 8171 h 653172"/>
                <a:gd name="connsiteX5" fmla="*/ 194937 w 196544"/>
                <a:gd name="connsiteY5" fmla="*/ 8171 h 653172"/>
                <a:gd name="connsiteX6" fmla="*/ 192392 w 196544"/>
                <a:gd name="connsiteY6" fmla="*/ 0 h 653172"/>
                <a:gd name="connsiteX7" fmla="*/ 0 w 196544"/>
                <a:gd name="connsiteY7" fmla="*/ 0 h 653172"/>
                <a:gd name="connsiteX8" fmla="*/ 0 w 196544"/>
                <a:gd name="connsiteY8" fmla="*/ 653173 h 6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544" h="653172">
                  <a:moveTo>
                    <a:pt x="196545" y="653173"/>
                  </a:moveTo>
                  <a:lnTo>
                    <a:pt x="196545" y="32150"/>
                  </a:lnTo>
                  <a:cubicBezTo>
                    <a:pt x="194053" y="29316"/>
                    <a:pt x="194053" y="25070"/>
                    <a:pt x="196545" y="22237"/>
                  </a:cubicBezTo>
                  <a:lnTo>
                    <a:pt x="196545" y="13798"/>
                  </a:lnTo>
                  <a:lnTo>
                    <a:pt x="194937" y="8171"/>
                  </a:lnTo>
                  <a:lnTo>
                    <a:pt x="194937" y="8171"/>
                  </a:lnTo>
                  <a:lnTo>
                    <a:pt x="192392" y="0"/>
                  </a:lnTo>
                  <a:lnTo>
                    <a:pt x="0" y="0"/>
                  </a:lnTo>
                  <a:lnTo>
                    <a:pt x="0" y="653173"/>
                  </a:ln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352" name="Freeform: Shape 1351">
              <a:extLst>
                <a:ext uri="{FF2B5EF4-FFF2-40B4-BE49-F238E27FC236}">
                  <a16:creationId xmlns:a16="http://schemas.microsoft.com/office/drawing/2014/main" id="{DC036AF7-1F46-4C99-90CF-6F798491F038}"/>
                </a:ext>
              </a:extLst>
            </p:cNvPr>
            <p:cNvSpPr/>
            <p:nvPr/>
          </p:nvSpPr>
          <p:spPr>
            <a:xfrm>
              <a:off x="11763898" y="6801470"/>
              <a:ext cx="122187" cy="19021"/>
            </a:xfrm>
            <a:custGeom>
              <a:avLst/>
              <a:gdLst>
                <a:gd name="connsiteX0" fmla="*/ 24250 w 122187"/>
                <a:gd name="connsiteY0" fmla="*/ 5626 h 19021"/>
                <a:gd name="connsiteX1" fmla="*/ 0 w 122187"/>
                <a:gd name="connsiteY1" fmla="*/ 19022 h 19021"/>
                <a:gd name="connsiteX2" fmla="*/ 122187 w 122187"/>
                <a:gd name="connsiteY2" fmla="*/ 19022 h 19021"/>
                <a:gd name="connsiteX3" fmla="*/ 122187 w 122187"/>
                <a:gd name="connsiteY3" fmla="*/ 0 h 19021"/>
                <a:gd name="connsiteX4" fmla="*/ 28403 w 122187"/>
                <a:gd name="connsiteY4" fmla="*/ 0 h 19021"/>
                <a:gd name="connsiteX5" fmla="*/ 24250 w 122187"/>
                <a:gd name="connsiteY5" fmla="*/ 5626 h 1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87" h="19021">
                  <a:moveTo>
                    <a:pt x="24250" y="5626"/>
                  </a:moveTo>
                  <a:lnTo>
                    <a:pt x="0" y="19022"/>
                  </a:lnTo>
                  <a:lnTo>
                    <a:pt x="122187" y="19022"/>
                  </a:lnTo>
                  <a:lnTo>
                    <a:pt x="122187" y="0"/>
                  </a:lnTo>
                  <a:lnTo>
                    <a:pt x="28403" y="0"/>
                  </a:lnTo>
                  <a:cubicBezTo>
                    <a:pt x="27975" y="2425"/>
                    <a:pt x="26434" y="4501"/>
                    <a:pt x="24250" y="5626"/>
                  </a:cubicBezTo>
                  <a:close/>
                </a:path>
              </a:pathLst>
            </a:custGeom>
            <a:solidFill>
              <a:srgbClr val="088A8F"/>
            </a:solidFill>
            <a:ln w="12700" cap="flat">
              <a:noFill/>
              <a:prstDash val="solid"/>
              <a:miter/>
            </a:ln>
          </p:spPr>
          <p:txBody>
            <a:bodyPr rtlCol="0" anchor="ctr"/>
            <a:lstStyle/>
            <a:p>
              <a:endParaRPr lang="en-US"/>
            </a:p>
          </p:txBody>
        </p:sp>
        <p:sp>
          <p:nvSpPr>
            <p:cNvPr id="1353" name="Freeform: Shape 1352">
              <a:extLst>
                <a:ext uri="{FF2B5EF4-FFF2-40B4-BE49-F238E27FC236}">
                  <a16:creationId xmlns:a16="http://schemas.microsoft.com/office/drawing/2014/main" id="{0BE539F1-3E5A-45F6-84AF-5DDF63482DEF}"/>
                </a:ext>
              </a:extLst>
            </p:cNvPr>
            <p:cNvSpPr/>
            <p:nvPr/>
          </p:nvSpPr>
          <p:spPr>
            <a:xfrm>
              <a:off x="11754520" y="6823707"/>
              <a:ext cx="131566" cy="30140"/>
            </a:xfrm>
            <a:custGeom>
              <a:avLst/>
              <a:gdLst>
                <a:gd name="connsiteX0" fmla="*/ 4957 w 131566"/>
                <a:gd name="connsiteY0" fmla="*/ 0 h 30140"/>
                <a:gd name="connsiteX1" fmla="*/ 0 w 131566"/>
                <a:gd name="connsiteY1" fmla="*/ 2813 h 30140"/>
                <a:gd name="connsiteX2" fmla="*/ 0 w 131566"/>
                <a:gd name="connsiteY2" fmla="*/ 30140 h 30140"/>
                <a:gd name="connsiteX3" fmla="*/ 131566 w 131566"/>
                <a:gd name="connsiteY3" fmla="*/ 30140 h 30140"/>
                <a:gd name="connsiteX4" fmla="*/ 131566 w 131566"/>
                <a:gd name="connsiteY4" fmla="*/ 0 h 30140"/>
                <a:gd name="connsiteX5" fmla="*/ 4957 w 131566"/>
                <a:gd name="connsiteY5" fmla="*/ 0 h 30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66" h="30140">
                  <a:moveTo>
                    <a:pt x="4957" y="0"/>
                  </a:moveTo>
                  <a:lnTo>
                    <a:pt x="0" y="2813"/>
                  </a:lnTo>
                  <a:lnTo>
                    <a:pt x="0" y="30140"/>
                  </a:lnTo>
                  <a:lnTo>
                    <a:pt x="131566" y="30140"/>
                  </a:lnTo>
                  <a:lnTo>
                    <a:pt x="131566" y="0"/>
                  </a:lnTo>
                  <a:lnTo>
                    <a:pt x="4957" y="0"/>
                  </a:lnTo>
                  <a:close/>
                </a:path>
              </a:pathLst>
            </a:custGeom>
            <a:solidFill>
              <a:srgbClr val="F26544"/>
            </a:solidFill>
            <a:ln w="12700" cap="flat">
              <a:noFill/>
              <a:prstDash val="solid"/>
              <a:miter/>
            </a:ln>
          </p:spPr>
          <p:txBody>
            <a:bodyPr rtlCol="0" anchor="ctr"/>
            <a:lstStyle/>
            <a:p>
              <a:endParaRPr lang="en-US"/>
            </a:p>
          </p:txBody>
        </p:sp>
        <p:sp>
          <p:nvSpPr>
            <p:cNvPr id="1354" name="Freeform: Shape 1353">
              <a:extLst>
                <a:ext uri="{FF2B5EF4-FFF2-40B4-BE49-F238E27FC236}">
                  <a16:creationId xmlns:a16="http://schemas.microsoft.com/office/drawing/2014/main" id="{E75F3BFE-4FFD-4143-8032-04CA9059BEBF}"/>
                </a:ext>
              </a:extLst>
            </p:cNvPr>
            <p:cNvSpPr/>
            <p:nvPr/>
          </p:nvSpPr>
          <p:spPr>
            <a:xfrm>
              <a:off x="10642373" y="6448092"/>
              <a:ext cx="41800" cy="33087"/>
            </a:xfrm>
            <a:custGeom>
              <a:avLst/>
              <a:gdLst>
                <a:gd name="connsiteX0" fmla="*/ 18756 w 41800"/>
                <a:gd name="connsiteY0" fmla="*/ 33087 h 33087"/>
                <a:gd name="connsiteX1" fmla="*/ 19963 w 41800"/>
                <a:gd name="connsiteY1" fmla="*/ 31748 h 33087"/>
                <a:gd name="connsiteX2" fmla="*/ 30412 w 41800"/>
                <a:gd name="connsiteY2" fmla="*/ 31748 h 33087"/>
                <a:gd name="connsiteX3" fmla="*/ 31350 w 41800"/>
                <a:gd name="connsiteY3" fmla="*/ 31078 h 33087"/>
                <a:gd name="connsiteX4" fmla="*/ 41801 w 41800"/>
                <a:gd name="connsiteY4" fmla="*/ 31078 h 33087"/>
                <a:gd name="connsiteX5" fmla="*/ 41801 w 41800"/>
                <a:gd name="connsiteY5" fmla="*/ 29069 h 33087"/>
                <a:gd name="connsiteX6" fmla="*/ 41801 w 41800"/>
                <a:gd name="connsiteY6" fmla="*/ 0 h 33087"/>
                <a:gd name="connsiteX7" fmla="*/ 0 w 41800"/>
                <a:gd name="connsiteY7" fmla="*/ 0 h 33087"/>
                <a:gd name="connsiteX8" fmla="*/ 0 w 41800"/>
                <a:gd name="connsiteY8" fmla="*/ 33087 h 3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00" h="33087">
                  <a:moveTo>
                    <a:pt x="18756" y="33087"/>
                  </a:moveTo>
                  <a:cubicBezTo>
                    <a:pt x="18756" y="32391"/>
                    <a:pt x="19279" y="31815"/>
                    <a:pt x="19963" y="31748"/>
                  </a:cubicBezTo>
                  <a:lnTo>
                    <a:pt x="30412" y="31748"/>
                  </a:lnTo>
                  <a:cubicBezTo>
                    <a:pt x="30587" y="31386"/>
                    <a:pt x="30949" y="31132"/>
                    <a:pt x="31350" y="31078"/>
                  </a:cubicBezTo>
                  <a:lnTo>
                    <a:pt x="41801" y="31078"/>
                  </a:lnTo>
                  <a:cubicBezTo>
                    <a:pt x="41680" y="30408"/>
                    <a:pt x="41680" y="29738"/>
                    <a:pt x="41801" y="29069"/>
                  </a:cubicBezTo>
                  <a:lnTo>
                    <a:pt x="41801" y="0"/>
                  </a:lnTo>
                  <a:lnTo>
                    <a:pt x="0" y="0"/>
                  </a:lnTo>
                  <a:lnTo>
                    <a:pt x="0" y="33087"/>
                  </a:lnTo>
                  <a:close/>
                </a:path>
              </a:pathLst>
            </a:custGeom>
            <a:solidFill>
              <a:srgbClr val="F9C996"/>
            </a:solidFill>
            <a:ln w="12700" cap="flat">
              <a:noFill/>
              <a:prstDash val="solid"/>
              <a:miter/>
            </a:ln>
          </p:spPr>
          <p:txBody>
            <a:bodyPr rtlCol="0" anchor="ctr"/>
            <a:lstStyle/>
            <a:p>
              <a:endParaRPr lang="en-US"/>
            </a:p>
          </p:txBody>
        </p:sp>
        <p:sp>
          <p:nvSpPr>
            <p:cNvPr id="1355" name="Freeform: Shape 1354">
              <a:extLst>
                <a:ext uri="{FF2B5EF4-FFF2-40B4-BE49-F238E27FC236}">
                  <a16:creationId xmlns:a16="http://schemas.microsoft.com/office/drawing/2014/main" id="{4C653A0C-0322-4E46-BDB6-40D172513555}"/>
                </a:ext>
              </a:extLst>
            </p:cNvPr>
            <p:cNvSpPr/>
            <p:nvPr/>
          </p:nvSpPr>
          <p:spPr>
            <a:xfrm>
              <a:off x="10609682" y="6448092"/>
              <a:ext cx="30412" cy="33087"/>
            </a:xfrm>
            <a:custGeom>
              <a:avLst/>
              <a:gdLst>
                <a:gd name="connsiteX0" fmla="*/ 0 w 30412"/>
                <a:gd name="connsiteY0" fmla="*/ 0 h 33087"/>
                <a:gd name="connsiteX1" fmla="*/ 30413 w 30412"/>
                <a:gd name="connsiteY1" fmla="*/ 0 h 33087"/>
                <a:gd name="connsiteX2" fmla="*/ 30413 w 30412"/>
                <a:gd name="connsiteY2" fmla="*/ 33087 h 33087"/>
                <a:gd name="connsiteX3" fmla="*/ 0 w 30412"/>
                <a:gd name="connsiteY3" fmla="*/ 33087 h 33087"/>
              </a:gdLst>
              <a:ahLst/>
              <a:cxnLst>
                <a:cxn ang="0">
                  <a:pos x="connsiteX0" y="connsiteY0"/>
                </a:cxn>
                <a:cxn ang="0">
                  <a:pos x="connsiteX1" y="connsiteY1"/>
                </a:cxn>
                <a:cxn ang="0">
                  <a:pos x="connsiteX2" y="connsiteY2"/>
                </a:cxn>
                <a:cxn ang="0">
                  <a:pos x="connsiteX3" y="connsiteY3"/>
                </a:cxn>
              </a:cxnLst>
              <a:rect l="l" t="t" r="r" b="b"/>
              <a:pathLst>
                <a:path w="30412" h="33087">
                  <a:moveTo>
                    <a:pt x="0" y="0"/>
                  </a:moveTo>
                  <a:lnTo>
                    <a:pt x="30413" y="0"/>
                  </a:lnTo>
                  <a:lnTo>
                    <a:pt x="30413" y="33087"/>
                  </a:lnTo>
                  <a:lnTo>
                    <a:pt x="0" y="33087"/>
                  </a:lnTo>
                  <a:close/>
                </a:path>
              </a:pathLst>
            </a:custGeom>
            <a:solidFill>
              <a:srgbClr val="0A4054"/>
            </a:solidFill>
            <a:ln w="12700" cap="flat">
              <a:noFill/>
              <a:prstDash val="solid"/>
              <a:miter/>
            </a:ln>
          </p:spPr>
          <p:txBody>
            <a:bodyPr rtlCol="0" anchor="ctr"/>
            <a:lstStyle/>
            <a:p>
              <a:endParaRPr lang="en-US"/>
            </a:p>
          </p:txBody>
        </p:sp>
        <p:sp>
          <p:nvSpPr>
            <p:cNvPr id="1356" name="Freeform: Shape 1355">
              <a:extLst>
                <a:ext uri="{FF2B5EF4-FFF2-40B4-BE49-F238E27FC236}">
                  <a16:creationId xmlns:a16="http://schemas.microsoft.com/office/drawing/2014/main" id="{659EFEF5-354A-42AB-ADA3-5329384F1BD9}"/>
                </a:ext>
              </a:extLst>
            </p:cNvPr>
            <p:cNvSpPr/>
            <p:nvPr/>
          </p:nvSpPr>
          <p:spPr>
            <a:xfrm>
              <a:off x="10609682" y="6483724"/>
              <a:ext cx="266213" cy="369988"/>
            </a:xfrm>
            <a:custGeom>
              <a:avLst/>
              <a:gdLst>
                <a:gd name="connsiteX0" fmla="*/ 81726 w 266213"/>
                <a:gd name="connsiteY0" fmla="*/ 3081 h 369988"/>
                <a:gd name="connsiteX1" fmla="*/ 81726 w 266213"/>
                <a:gd name="connsiteY1" fmla="*/ 3081 h 369988"/>
                <a:gd name="connsiteX2" fmla="*/ 75965 w 266213"/>
                <a:gd name="connsiteY2" fmla="*/ 0 h 369988"/>
                <a:gd name="connsiteX3" fmla="*/ 0 w 266213"/>
                <a:gd name="connsiteY3" fmla="*/ 0 h 369988"/>
                <a:gd name="connsiteX4" fmla="*/ 0 w 266213"/>
                <a:gd name="connsiteY4" fmla="*/ 369988 h 369988"/>
                <a:gd name="connsiteX5" fmla="*/ 266213 w 266213"/>
                <a:gd name="connsiteY5" fmla="*/ 369988 h 369988"/>
                <a:gd name="connsiteX6" fmla="*/ 266213 w 266213"/>
                <a:gd name="connsiteY6" fmla="*/ 3081 h 36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213" h="369988">
                  <a:moveTo>
                    <a:pt x="81726" y="3081"/>
                  </a:moveTo>
                  <a:lnTo>
                    <a:pt x="81726" y="3081"/>
                  </a:lnTo>
                  <a:cubicBezTo>
                    <a:pt x="79409" y="3094"/>
                    <a:pt x="77237" y="1942"/>
                    <a:pt x="75965" y="0"/>
                  </a:cubicBezTo>
                  <a:lnTo>
                    <a:pt x="0" y="0"/>
                  </a:lnTo>
                  <a:lnTo>
                    <a:pt x="0" y="369988"/>
                  </a:lnTo>
                  <a:lnTo>
                    <a:pt x="266213" y="369988"/>
                  </a:lnTo>
                  <a:lnTo>
                    <a:pt x="266213" y="3081"/>
                  </a:lnTo>
                  <a:close/>
                </a:path>
              </a:pathLst>
            </a:custGeom>
            <a:solidFill>
              <a:schemeClr val="accent5">
                <a:lumMod val="50000"/>
              </a:schemeClr>
            </a:solidFill>
            <a:ln w="12700" cap="flat">
              <a:noFill/>
              <a:prstDash val="solid"/>
              <a:miter/>
            </a:ln>
          </p:spPr>
          <p:txBody>
            <a:bodyPr rtlCol="0" anchor="ctr"/>
            <a:lstStyle/>
            <a:p>
              <a:endParaRPr lang="en-US"/>
            </a:p>
          </p:txBody>
        </p:sp>
        <p:sp>
          <p:nvSpPr>
            <p:cNvPr id="1357" name="Freeform: Shape 1356">
              <a:extLst>
                <a:ext uri="{FF2B5EF4-FFF2-40B4-BE49-F238E27FC236}">
                  <a16:creationId xmlns:a16="http://schemas.microsoft.com/office/drawing/2014/main" id="{CD11732B-9D26-4653-8598-BE9EA8F9FEDD}"/>
                </a:ext>
              </a:extLst>
            </p:cNvPr>
            <p:cNvSpPr/>
            <p:nvPr/>
          </p:nvSpPr>
          <p:spPr>
            <a:xfrm>
              <a:off x="10050727" y="5845153"/>
              <a:ext cx="486740" cy="1008693"/>
            </a:xfrm>
            <a:custGeom>
              <a:avLst/>
              <a:gdLst>
                <a:gd name="connsiteX0" fmla="*/ 0 w 486740"/>
                <a:gd name="connsiteY0" fmla="*/ 0 h 1008693"/>
                <a:gd name="connsiteX1" fmla="*/ 0 w 486740"/>
                <a:gd name="connsiteY1" fmla="*/ 634285 h 1008693"/>
                <a:gd name="connsiteX2" fmla="*/ 0 w 486740"/>
                <a:gd name="connsiteY2" fmla="*/ 635357 h 1008693"/>
                <a:gd name="connsiteX3" fmla="*/ 0 w 486740"/>
                <a:gd name="connsiteY3" fmla="*/ 636026 h 1008693"/>
                <a:gd name="connsiteX4" fmla="*/ 0 w 486740"/>
                <a:gd name="connsiteY4" fmla="*/ 637366 h 1008693"/>
                <a:gd name="connsiteX5" fmla="*/ 0 w 486740"/>
                <a:gd name="connsiteY5" fmla="*/ 1008694 h 1008693"/>
                <a:gd name="connsiteX6" fmla="*/ 486741 w 486740"/>
                <a:gd name="connsiteY6" fmla="*/ 1008694 h 1008693"/>
                <a:gd name="connsiteX7" fmla="*/ 486741 w 486740"/>
                <a:gd name="connsiteY7" fmla="*/ 0 h 1008693"/>
                <a:gd name="connsiteX8" fmla="*/ 0 w 486740"/>
                <a:gd name="connsiteY8" fmla="*/ 0 h 100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740" h="1008693">
                  <a:moveTo>
                    <a:pt x="0" y="0"/>
                  </a:moveTo>
                  <a:lnTo>
                    <a:pt x="0" y="634285"/>
                  </a:lnTo>
                  <a:lnTo>
                    <a:pt x="0" y="635357"/>
                  </a:lnTo>
                  <a:lnTo>
                    <a:pt x="0" y="636026"/>
                  </a:lnTo>
                  <a:lnTo>
                    <a:pt x="0" y="637366"/>
                  </a:lnTo>
                  <a:lnTo>
                    <a:pt x="0" y="1008694"/>
                  </a:lnTo>
                  <a:lnTo>
                    <a:pt x="486741" y="1008694"/>
                  </a:lnTo>
                  <a:lnTo>
                    <a:pt x="486741" y="0"/>
                  </a:lnTo>
                  <a:lnTo>
                    <a:pt x="0" y="0"/>
                  </a:lnTo>
                  <a:close/>
                </a:path>
              </a:pathLst>
            </a:custGeom>
            <a:solidFill>
              <a:schemeClr val="accent1"/>
            </a:solidFill>
            <a:ln w="12700" cap="flat">
              <a:noFill/>
              <a:prstDash val="solid"/>
              <a:miter/>
            </a:ln>
          </p:spPr>
          <p:txBody>
            <a:bodyPr rtlCol="0" anchor="ctr"/>
            <a:lstStyle/>
            <a:p>
              <a:endParaRPr lang="en-US"/>
            </a:p>
          </p:txBody>
        </p:sp>
        <p:sp>
          <p:nvSpPr>
            <p:cNvPr id="1358" name="Freeform: Shape 1357">
              <a:extLst>
                <a:ext uri="{FF2B5EF4-FFF2-40B4-BE49-F238E27FC236}">
                  <a16:creationId xmlns:a16="http://schemas.microsoft.com/office/drawing/2014/main" id="{20684B16-C201-49B1-94C1-5B0A8E4E3F98}"/>
                </a:ext>
              </a:extLst>
            </p:cNvPr>
            <p:cNvSpPr/>
            <p:nvPr/>
          </p:nvSpPr>
          <p:spPr>
            <a:xfrm>
              <a:off x="10540148" y="5845689"/>
              <a:ext cx="55064" cy="1008158"/>
            </a:xfrm>
            <a:custGeom>
              <a:avLst/>
              <a:gdLst>
                <a:gd name="connsiteX0" fmla="*/ 55065 w 55064"/>
                <a:gd name="connsiteY0" fmla="*/ 596911 h 1008158"/>
                <a:gd name="connsiteX1" fmla="*/ 55065 w 55064"/>
                <a:gd name="connsiteY1" fmla="*/ 595036 h 1008158"/>
                <a:gd name="connsiteX2" fmla="*/ 55065 w 55064"/>
                <a:gd name="connsiteY2" fmla="*/ 14869 h 1008158"/>
                <a:gd name="connsiteX3" fmla="*/ 0 w 55064"/>
                <a:gd name="connsiteY3" fmla="*/ 0 h 1008158"/>
                <a:gd name="connsiteX4" fmla="*/ 0 w 55064"/>
                <a:gd name="connsiteY4" fmla="*/ 1008158 h 1008158"/>
                <a:gd name="connsiteX5" fmla="*/ 55065 w 55064"/>
                <a:gd name="connsiteY5" fmla="*/ 1008158 h 1008158"/>
                <a:gd name="connsiteX6" fmla="*/ 55065 w 55064"/>
                <a:gd name="connsiteY6" fmla="*/ 636830 h 1008158"/>
                <a:gd name="connsiteX7" fmla="*/ 55065 w 55064"/>
                <a:gd name="connsiteY7" fmla="*/ 596911 h 1008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64" h="1008158">
                  <a:moveTo>
                    <a:pt x="55065" y="596911"/>
                  </a:moveTo>
                  <a:lnTo>
                    <a:pt x="55065" y="595036"/>
                  </a:lnTo>
                  <a:lnTo>
                    <a:pt x="55065" y="14869"/>
                  </a:lnTo>
                  <a:lnTo>
                    <a:pt x="0" y="0"/>
                  </a:lnTo>
                  <a:lnTo>
                    <a:pt x="0" y="1008158"/>
                  </a:lnTo>
                  <a:lnTo>
                    <a:pt x="55065" y="1008158"/>
                  </a:lnTo>
                  <a:lnTo>
                    <a:pt x="55065" y="636830"/>
                  </a:lnTo>
                  <a:lnTo>
                    <a:pt x="55065" y="596911"/>
                  </a:lnTo>
                  <a:close/>
                </a:path>
              </a:pathLst>
            </a:custGeom>
            <a:solidFill>
              <a:srgbClr val="22B0AE"/>
            </a:solidFill>
            <a:ln w="12700" cap="flat">
              <a:noFill/>
              <a:prstDash val="solid"/>
              <a:miter/>
            </a:ln>
          </p:spPr>
          <p:txBody>
            <a:bodyPr rtlCol="0" anchor="ctr"/>
            <a:lstStyle/>
            <a:p>
              <a:endParaRPr lang="en-US"/>
            </a:p>
          </p:txBody>
        </p:sp>
        <p:sp>
          <p:nvSpPr>
            <p:cNvPr id="1359" name="Freeform: Shape 1358">
              <a:extLst>
                <a:ext uri="{FF2B5EF4-FFF2-40B4-BE49-F238E27FC236}">
                  <a16:creationId xmlns:a16="http://schemas.microsoft.com/office/drawing/2014/main" id="{AAF4FB20-9820-4884-A618-C25A852EA1CA}"/>
                </a:ext>
              </a:extLst>
            </p:cNvPr>
            <p:cNvSpPr/>
            <p:nvPr/>
          </p:nvSpPr>
          <p:spPr>
            <a:xfrm>
              <a:off x="9697563" y="5802689"/>
              <a:ext cx="213292" cy="88411"/>
            </a:xfrm>
            <a:custGeom>
              <a:avLst/>
              <a:gdLst>
                <a:gd name="connsiteX0" fmla="*/ 213292 w 213292"/>
                <a:gd name="connsiteY0" fmla="*/ 82651 h 88411"/>
                <a:gd name="connsiteX1" fmla="*/ 213292 w 213292"/>
                <a:gd name="connsiteY1" fmla="*/ 0 h 88411"/>
                <a:gd name="connsiteX2" fmla="*/ 0 w 213292"/>
                <a:gd name="connsiteY2" fmla="*/ 0 h 88411"/>
                <a:gd name="connsiteX3" fmla="*/ 0 w 213292"/>
                <a:gd name="connsiteY3" fmla="*/ 88411 h 88411"/>
                <a:gd name="connsiteX4" fmla="*/ 207531 w 213292"/>
                <a:gd name="connsiteY4" fmla="*/ 88411 h 88411"/>
                <a:gd name="connsiteX5" fmla="*/ 213292 w 213292"/>
                <a:gd name="connsiteY5" fmla="*/ 82651 h 8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292" h="88411">
                  <a:moveTo>
                    <a:pt x="213292" y="82651"/>
                  </a:moveTo>
                  <a:lnTo>
                    <a:pt x="213292" y="0"/>
                  </a:lnTo>
                  <a:lnTo>
                    <a:pt x="0" y="0"/>
                  </a:lnTo>
                  <a:lnTo>
                    <a:pt x="0" y="88411"/>
                  </a:lnTo>
                  <a:lnTo>
                    <a:pt x="207531" y="88411"/>
                  </a:lnTo>
                  <a:cubicBezTo>
                    <a:pt x="208081" y="85490"/>
                    <a:pt x="210371" y="83204"/>
                    <a:pt x="213292" y="82651"/>
                  </a:cubicBez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360" name="Freeform: Shape 1359">
              <a:extLst>
                <a:ext uri="{FF2B5EF4-FFF2-40B4-BE49-F238E27FC236}">
                  <a16:creationId xmlns:a16="http://schemas.microsoft.com/office/drawing/2014/main" id="{C88A758E-FBDB-44E2-B2B7-54B2BD2283AC}"/>
                </a:ext>
              </a:extLst>
            </p:cNvPr>
            <p:cNvSpPr/>
            <p:nvPr/>
          </p:nvSpPr>
          <p:spPr>
            <a:xfrm>
              <a:off x="9913400" y="5803091"/>
              <a:ext cx="16747" cy="91358"/>
            </a:xfrm>
            <a:custGeom>
              <a:avLst/>
              <a:gdLst>
                <a:gd name="connsiteX0" fmla="*/ 6029 w 16747"/>
                <a:gd name="connsiteY0" fmla="*/ 89349 h 91358"/>
                <a:gd name="connsiteX1" fmla="*/ 6029 w 16747"/>
                <a:gd name="connsiteY1" fmla="*/ 89349 h 91358"/>
                <a:gd name="connsiteX2" fmla="*/ 16747 w 16747"/>
                <a:gd name="connsiteY2" fmla="*/ 91358 h 91358"/>
                <a:gd name="connsiteX3" fmla="*/ 16747 w 16747"/>
                <a:gd name="connsiteY3" fmla="*/ 3751 h 91358"/>
                <a:gd name="connsiteX4" fmla="*/ 0 w 16747"/>
                <a:gd name="connsiteY4" fmla="*/ 0 h 91358"/>
                <a:gd name="connsiteX5" fmla="*/ 0 w 16747"/>
                <a:gd name="connsiteY5" fmla="*/ 82249 h 91358"/>
                <a:gd name="connsiteX6" fmla="*/ 6029 w 16747"/>
                <a:gd name="connsiteY6" fmla="*/ 89349 h 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47" h="91358">
                  <a:moveTo>
                    <a:pt x="6029" y="89349"/>
                  </a:moveTo>
                  <a:lnTo>
                    <a:pt x="6029" y="89349"/>
                  </a:lnTo>
                  <a:lnTo>
                    <a:pt x="16747" y="91358"/>
                  </a:lnTo>
                  <a:lnTo>
                    <a:pt x="16747" y="3751"/>
                  </a:lnTo>
                  <a:lnTo>
                    <a:pt x="0" y="0"/>
                  </a:lnTo>
                  <a:lnTo>
                    <a:pt x="0" y="82249"/>
                  </a:lnTo>
                  <a:cubicBezTo>
                    <a:pt x="3443" y="82884"/>
                    <a:pt x="5962" y="85851"/>
                    <a:pt x="6029" y="89349"/>
                  </a:cubicBezTo>
                  <a:close/>
                </a:path>
              </a:pathLst>
            </a:custGeom>
            <a:solidFill>
              <a:srgbClr val="F4F5F3"/>
            </a:solidFill>
            <a:ln w="12700" cap="flat">
              <a:noFill/>
              <a:prstDash val="solid"/>
              <a:miter/>
            </a:ln>
          </p:spPr>
          <p:txBody>
            <a:bodyPr rtlCol="0" anchor="ctr"/>
            <a:lstStyle/>
            <a:p>
              <a:endParaRPr lang="en-US"/>
            </a:p>
          </p:txBody>
        </p:sp>
        <p:sp>
          <p:nvSpPr>
            <p:cNvPr id="1361" name="Freeform: Shape 1360">
              <a:extLst>
                <a:ext uri="{FF2B5EF4-FFF2-40B4-BE49-F238E27FC236}">
                  <a16:creationId xmlns:a16="http://schemas.microsoft.com/office/drawing/2014/main" id="{043723AB-0A58-488C-93BF-CE99A43B7BB6}"/>
                </a:ext>
              </a:extLst>
            </p:cNvPr>
            <p:cNvSpPr/>
            <p:nvPr/>
          </p:nvSpPr>
          <p:spPr>
            <a:xfrm>
              <a:off x="9943144" y="5905567"/>
              <a:ext cx="7234" cy="574272"/>
            </a:xfrm>
            <a:custGeom>
              <a:avLst/>
              <a:gdLst>
                <a:gd name="connsiteX0" fmla="*/ 1205 w 7234"/>
                <a:gd name="connsiteY0" fmla="*/ 574272 h 574272"/>
                <a:gd name="connsiteX1" fmla="*/ 7234 w 7234"/>
                <a:gd name="connsiteY1" fmla="*/ 574272 h 574272"/>
                <a:gd name="connsiteX2" fmla="*/ 7234 w 7234"/>
                <a:gd name="connsiteY2" fmla="*/ 574272 h 574272"/>
                <a:gd name="connsiteX3" fmla="*/ 7234 w 7234"/>
                <a:gd name="connsiteY3" fmla="*/ 1340 h 574272"/>
                <a:gd name="connsiteX4" fmla="*/ 0 w 7234"/>
                <a:gd name="connsiteY4" fmla="*/ 0 h 574272"/>
                <a:gd name="connsiteX5" fmla="*/ 0 w 7234"/>
                <a:gd name="connsiteY5" fmla="*/ 571593 h 574272"/>
                <a:gd name="connsiteX6" fmla="*/ 1205 w 7234"/>
                <a:gd name="connsiteY6" fmla="*/ 574272 h 57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574272">
                  <a:moveTo>
                    <a:pt x="1205" y="574272"/>
                  </a:moveTo>
                  <a:lnTo>
                    <a:pt x="7234" y="574272"/>
                  </a:lnTo>
                  <a:lnTo>
                    <a:pt x="7234" y="574272"/>
                  </a:lnTo>
                  <a:lnTo>
                    <a:pt x="7234" y="1340"/>
                  </a:lnTo>
                  <a:lnTo>
                    <a:pt x="0" y="0"/>
                  </a:lnTo>
                  <a:lnTo>
                    <a:pt x="0" y="571593"/>
                  </a:lnTo>
                  <a:cubicBezTo>
                    <a:pt x="536" y="572424"/>
                    <a:pt x="937" y="573321"/>
                    <a:pt x="1205" y="574272"/>
                  </a:cubicBezTo>
                  <a:close/>
                </a:path>
              </a:pathLst>
            </a:custGeom>
            <a:solidFill>
              <a:srgbClr val="F9C996"/>
            </a:solidFill>
            <a:ln w="12700" cap="flat">
              <a:noFill/>
              <a:prstDash val="solid"/>
              <a:miter/>
            </a:ln>
          </p:spPr>
          <p:txBody>
            <a:bodyPr rtlCol="0" anchor="ctr"/>
            <a:lstStyle/>
            <a:p>
              <a:endParaRPr lang="en-US"/>
            </a:p>
          </p:txBody>
        </p:sp>
        <p:sp>
          <p:nvSpPr>
            <p:cNvPr id="1362" name="Freeform: Shape 1361">
              <a:extLst>
                <a:ext uri="{FF2B5EF4-FFF2-40B4-BE49-F238E27FC236}">
                  <a16:creationId xmlns:a16="http://schemas.microsoft.com/office/drawing/2014/main" id="{49491A47-4D94-4EE3-AB67-354F0291F1EA}"/>
                </a:ext>
              </a:extLst>
            </p:cNvPr>
            <p:cNvSpPr/>
            <p:nvPr/>
          </p:nvSpPr>
          <p:spPr>
            <a:xfrm>
              <a:off x="9939124" y="5905032"/>
              <a:ext cx="2009" cy="569583"/>
            </a:xfrm>
            <a:custGeom>
              <a:avLst/>
              <a:gdLst>
                <a:gd name="connsiteX0" fmla="*/ 2010 w 2009"/>
                <a:gd name="connsiteY0" fmla="*/ 0 h 569583"/>
                <a:gd name="connsiteX1" fmla="*/ 2010 w 2009"/>
                <a:gd name="connsiteY1" fmla="*/ 0 h 569583"/>
                <a:gd name="connsiteX2" fmla="*/ 0 w 2009"/>
                <a:gd name="connsiteY2" fmla="*/ 0 h 569583"/>
                <a:gd name="connsiteX3" fmla="*/ 0 w 2009"/>
                <a:gd name="connsiteY3" fmla="*/ 569584 h 569583"/>
                <a:gd name="connsiteX4" fmla="*/ 2010 w 2009"/>
                <a:gd name="connsiteY4" fmla="*/ 569584 h 569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 h="569583">
                  <a:moveTo>
                    <a:pt x="2010" y="0"/>
                  </a:moveTo>
                  <a:lnTo>
                    <a:pt x="2010" y="0"/>
                  </a:lnTo>
                  <a:lnTo>
                    <a:pt x="0" y="0"/>
                  </a:lnTo>
                  <a:lnTo>
                    <a:pt x="0" y="569584"/>
                  </a:lnTo>
                  <a:cubicBezTo>
                    <a:pt x="657" y="569423"/>
                    <a:pt x="1353" y="569423"/>
                    <a:pt x="2010" y="569584"/>
                  </a:cubicBezTo>
                  <a:close/>
                </a:path>
              </a:pathLst>
            </a:custGeom>
            <a:solidFill>
              <a:srgbClr val="E8E7E3"/>
            </a:solidFill>
            <a:ln w="12700" cap="flat">
              <a:noFill/>
              <a:prstDash val="solid"/>
              <a:miter/>
            </a:ln>
          </p:spPr>
          <p:txBody>
            <a:bodyPr rtlCol="0" anchor="ctr"/>
            <a:lstStyle/>
            <a:p>
              <a:endParaRPr lang="en-US"/>
            </a:p>
          </p:txBody>
        </p:sp>
        <p:sp>
          <p:nvSpPr>
            <p:cNvPr id="1363" name="Freeform: Shape 1362">
              <a:extLst>
                <a:ext uri="{FF2B5EF4-FFF2-40B4-BE49-F238E27FC236}">
                  <a16:creationId xmlns:a16="http://schemas.microsoft.com/office/drawing/2014/main" id="{2C57D7E6-9EE4-459B-B386-4B61199A52D2}"/>
                </a:ext>
              </a:extLst>
            </p:cNvPr>
            <p:cNvSpPr/>
            <p:nvPr/>
          </p:nvSpPr>
          <p:spPr>
            <a:xfrm>
              <a:off x="9919429" y="5898334"/>
              <a:ext cx="16613" cy="576013"/>
            </a:xfrm>
            <a:custGeom>
              <a:avLst/>
              <a:gdLst>
                <a:gd name="connsiteX0" fmla="*/ 0 w 16613"/>
                <a:gd name="connsiteY0" fmla="*/ 0 h 576013"/>
                <a:gd name="connsiteX1" fmla="*/ 0 w 16613"/>
                <a:gd name="connsiteY1" fmla="*/ 576014 h 576013"/>
                <a:gd name="connsiteX2" fmla="*/ 16613 w 16613"/>
                <a:gd name="connsiteY2" fmla="*/ 575210 h 576013"/>
                <a:gd name="connsiteX3" fmla="*/ 16613 w 16613"/>
                <a:gd name="connsiteY3" fmla="*/ 5894 h 576013"/>
                <a:gd name="connsiteX4" fmla="*/ 16613 w 16613"/>
                <a:gd name="connsiteY4" fmla="*/ 5894 h 576013"/>
                <a:gd name="connsiteX5" fmla="*/ 16613 w 16613"/>
                <a:gd name="connsiteY5" fmla="*/ 5894 h 576013"/>
                <a:gd name="connsiteX6" fmla="*/ 15140 w 16613"/>
                <a:gd name="connsiteY6" fmla="*/ 5894 h 576013"/>
                <a:gd name="connsiteX7" fmla="*/ 14067 w 16613"/>
                <a:gd name="connsiteY7" fmla="*/ 5090 h 576013"/>
                <a:gd name="connsiteX8" fmla="*/ 13130 w 16613"/>
                <a:gd name="connsiteY8" fmla="*/ 4153 h 576013"/>
                <a:gd name="connsiteX9" fmla="*/ 12326 w 16613"/>
                <a:gd name="connsiteY9" fmla="*/ 2947 h 576013"/>
                <a:gd name="connsiteX10" fmla="*/ 12326 w 16613"/>
                <a:gd name="connsiteY10" fmla="*/ 1741 h 576013"/>
                <a:gd name="connsiteX11" fmla="*/ 12326 w 16613"/>
                <a:gd name="connsiteY11" fmla="*/ 804 h 57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13" h="576013">
                  <a:moveTo>
                    <a:pt x="0" y="0"/>
                  </a:moveTo>
                  <a:lnTo>
                    <a:pt x="0" y="576014"/>
                  </a:lnTo>
                  <a:lnTo>
                    <a:pt x="16613" y="575210"/>
                  </a:lnTo>
                  <a:lnTo>
                    <a:pt x="16613" y="5894"/>
                  </a:lnTo>
                  <a:lnTo>
                    <a:pt x="16613" y="5894"/>
                  </a:lnTo>
                  <a:lnTo>
                    <a:pt x="16613" y="5894"/>
                  </a:lnTo>
                  <a:lnTo>
                    <a:pt x="15140" y="5894"/>
                  </a:lnTo>
                  <a:lnTo>
                    <a:pt x="14067" y="5090"/>
                  </a:lnTo>
                  <a:lnTo>
                    <a:pt x="13130" y="4153"/>
                  </a:lnTo>
                  <a:cubicBezTo>
                    <a:pt x="12821" y="3783"/>
                    <a:pt x="12540" y="3378"/>
                    <a:pt x="12326" y="2947"/>
                  </a:cubicBezTo>
                  <a:cubicBezTo>
                    <a:pt x="12273" y="2547"/>
                    <a:pt x="12273" y="2142"/>
                    <a:pt x="12326" y="1741"/>
                  </a:cubicBezTo>
                  <a:cubicBezTo>
                    <a:pt x="12246" y="1433"/>
                    <a:pt x="12246" y="1112"/>
                    <a:pt x="12326" y="804"/>
                  </a:cubicBezTo>
                  <a:close/>
                </a:path>
              </a:pathLst>
            </a:custGeom>
            <a:solidFill>
              <a:srgbClr val="9FD1D0"/>
            </a:solidFill>
            <a:ln w="12700" cap="flat">
              <a:noFill/>
              <a:prstDash val="solid"/>
              <a:miter/>
            </a:ln>
          </p:spPr>
          <p:txBody>
            <a:bodyPr rtlCol="0" anchor="ctr"/>
            <a:lstStyle/>
            <a:p>
              <a:endParaRPr lang="en-US"/>
            </a:p>
          </p:txBody>
        </p:sp>
        <p:sp>
          <p:nvSpPr>
            <p:cNvPr id="1364" name="Freeform: Shape 1363">
              <a:extLst>
                <a:ext uri="{FF2B5EF4-FFF2-40B4-BE49-F238E27FC236}">
                  <a16:creationId xmlns:a16="http://schemas.microsoft.com/office/drawing/2014/main" id="{5A885362-E46C-4A14-B358-E59FF3F7B14B}"/>
                </a:ext>
              </a:extLst>
            </p:cNvPr>
            <p:cNvSpPr/>
            <p:nvPr/>
          </p:nvSpPr>
          <p:spPr>
            <a:xfrm>
              <a:off x="9919429" y="5895119"/>
              <a:ext cx="3750" cy="669"/>
            </a:xfrm>
            <a:custGeom>
              <a:avLst/>
              <a:gdLst>
                <a:gd name="connsiteX0" fmla="*/ 0 w 3750"/>
                <a:gd name="connsiteY0" fmla="*/ 0 h 669"/>
                <a:gd name="connsiteX1" fmla="*/ 0 w 3750"/>
                <a:gd name="connsiteY1" fmla="*/ 670 h 669"/>
                <a:gd name="connsiteX2" fmla="*/ 3751 w 3750"/>
                <a:gd name="connsiteY2" fmla="*/ 670 h 669"/>
                <a:gd name="connsiteX3" fmla="*/ 0 w 3750"/>
                <a:gd name="connsiteY3" fmla="*/ 0 h 669"/>
              </a:gdLst>
              <a:ahLst/>
              <a:cxnLst>
                <a:cxn ang="0">
                  <a:pos x="connsiteX0" y="connsiteY0"/>
                </a:cxn>
                <a:cxn ang="0">
                  <a:pos x="connsiteX1" y="connsiteY1"/>
                </a:cxn>
                <a:cxn ang="0">
                  <a:pos x="connsiteX2" y="connsiteY2"/>
                </a:cxn>
                <a:cxn ang="0">
                  <a:pos x="connsiteX3" y="connsiteY3"/>
                </a:cxn>
              </a:cxnLst>
              <a:rect l="l" t="t" r="r" b="b"/>
              <a:pathLst>
                <a:path w="3750" h="669">
                  <a:moveTo>
                    <a:pt x="0" y="0"/>
                  </a:moveTo>
                  <a:lnTo>
                    <a:pt x="0" y="670"/>
                  </a:lnTo>
                  <a:lnTo>
                    <a:pt x="3751" y="670"/>
                  </a:lnTo>
                  <a:lnTo>
                    <a:pt x="0" y="0"/>
                  </a:lnTo>
                  <a:close/>
                </a:path>
              </a:pathLst>
            </a:custGeom>
            <a:solidFill>
              <a:srgbClr val="088A8F"/>
            </a:solidFill>
            <a:ln w="12700" cap="flat">
              <a:noFill/>
              <a:prstDash val="solid"/>
              <a:miter/>
            </a:ln>
          </p:spPr>
          <p:txBody>
            <a:bodyPr rtlCol="0" anchor="ctr"/>
            <a:lstStyle/>
            <a:p>
              <a:endParaRPr lang="en-US"/>
            </a:p>
          </p:txBody>
        </p:sp>
        <p:sp>
          <p:nvSpPr>
            <p:cNvPr id="1365" name="Freeform: Shape 1364">
              <a:extLst>
                <a:ext uri="{FF2B5EF4-FFF2-40B4-BE49-F238E27FC236}">
                  <a16:creationId xmlns:a16="http://schemas.microsoft.com/office/drawing/2014/main" id="{5379D016-7523-44B4-86E2-26C7C0D6DE38}"/>
                </a:ext>
              </a:extLst>
            </p:cNvPr>
            <p:cNvSpPr/>
            <p:nvPr/>
          </p:nvSpPr>
          <p:spPr>
            <a:xfrm>
              <a:off x="12678161" y="6089490"/>
              <a:ext cx="180334" cy="322433"/>
            </a:xfrm>
            <a:custGeom>
              <a:avLst/>
              <a:gdLst>
                <a:gd name="connsiteX0" fmla="*/ 5628 w 180334"/>
                <a:gd name="connsiteY0" fmla="*/ 0 h 322433"/>
                <a:gd name="connsiteX1" fmla="*/ 2278 w 180334"/>
                <a:gd name="connsiteY1" fmla="*/ 0 h 322433"/>
                <a:gd name="connsiteX2" fmla="*/ 0 w 180334"/>
                <a:gd name="connsiteY2" fmla="*/ 0 h 322433"/>
                <a:gd name="connsiteX3" fmla="*/ 0 w 180334"/>
                <a:gd name="connsiteY3" fmla="*/ 322434 h 322433"/>
                <a:gd name="connsiteX4" fmla="*/ 180334 w 180334"/>
                <a:gd name="connsiteY4" fmla="*/ 322434 h 322433"/>
                <a:gd name="connsiteX5" fmla="*/ 180334 w 180334"/>
                <a:gd name="connsiteY5" fmla="*/ 0 h 322433"/>
                <a:gd name="connsiteX6" fmla="*/ 46357 w 180334"/>
                <a:gd name="connsiteY6" fmla="*/ 0 h 322433"/>
                <a:gd name="connsiteX7" fmla="*/ 5628 w 180334"/>
                <a:gd name="connsiteY7" fmla="*/ 0 h 32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334" h="322433">
                  <a:moveTo>
                    <a:pt x="5628" y="0"/>
                  </a:moveTo>
                  <a:lnTo>
                    <a:pt x="2278" y="0"/>
                  </a:lnTo>
                  <a:lnTo>
                    <a:pt x="0" y="0"/>
                  </a:lnTo>
                  <a:lnTo>
                    <a:pt x="0" y="322434"/>
                  </a:lnTo>
                  <a:lnTo>
                    <a:pt x="180334" y="322434"/>
                  </a:lnTo>
                  <a:lnTo>
                    <a:pt x="180334" y="0"/>
                  </a:lnTo>
                  <a:lnTo>
                    <a:pt x="46357" y="0"/>
                  </a:lnTo>
                  <a:lnTo>
                    <a:pt x="5628" y="0"/>
                  </a:lnTo>
                  <a:close/>
                </a:path>
              </a:pathLst>
            </a:custGeom>
            <a:solidFill>
              <a:srgbClr val="088A8F"/>
            </a:solidFill>
            <a:ln w="12700" cap="flat">
              <a:noFill/>
              <a:prstDash val="solid"/>
              <a:miter/>
            </a:ln>
          </p:spPr>
          <p:txBody>
            <a:bodyPr rtlCol="0" anchor="ctr"/>
            <a:lstStyle/>
            <a:p>
              <a:endParaRPr lang="en-US"/>
            </a:p>
          </p:txBody>
        </p:sp>
        <p:sp>
          <p:nvSpPr>
            <p:cNvPr id="1366" name="Freeform: Shape 1365">
              <a:extLst>
                <a:ext uri="{FF2B5EF4-FFF2-40B4-BE49-F238E27FC236}">
                  <a16:creationId xmlns:a16="http://schemas.microsoft.com/office/drawing/2014/main" id="{C0233E97-B5B6-4A95-B215-2A6BA3D4D99D}"/>
                </a:ext>
              </a:extLst>
            </p:cNvPr>
            <p:cNvSpPr/>
            <p:nvPr/>
          </p:nvSpPr>
          <p:spPr>
            <a:xfrm>
              <a:off x="12039490" y="6414603"/>
              <a:ext cx="819004" cy="438842"/>
            </a:xfrm>
            <a:custGeom>
              <a:avLst/>
              <a:gdLst>
                <a:gd name="connsiteX0" fmla="*/ 638135 w 819004"/>
                <a:gd name="connsiteY0" fmla="*/ 402 h 438842"/>
                <a:gd name="connsiteX1" fmla="*/ 638135 w 819004"/>
                <a:gd name="connsiteY1" fmla="*/ 402 h 438842"/>
                <a:gd name="connsiteX2" fmla="*/ 631570 w 819004"/>
                <a:gd name="connsiteY2" fmla="*/ 5090 h 438842"/>
                <a:gd name="connsiteX3" fmla="*/ 629293 w 819004"/>
                <a:gd name="connsiteY3" fmla="*/ 5090 h 438842"/>
                <a:gd name="connsiteX4" fmla="*/ 2680 w 819004"/>
                <a:gd name="connsiteY4" fmla="*/ 5090 h 438842"/>
                <a:gd name="connsiteX5" fmla="*/ 0 w 819004"/>
                <a:gd name="connsiteY5" fmla="*/ 5090 h 438842"/>
                <a:gd name="connsiteX6" fmla="*/ 0 w 819004"/>
                <a:gd name="connsiteY6" fmla="*/ 438842 h 438842"/>
                <a:gd name="connsiteX7" fmla="*/ 819005 w 819004"/>
                <a:gd name="connsiteY7" fmla="*/ 438842 h 438842"/>
                <a:gd name="connsiteX8" fmla="*/ 819005 w 819004"/>
                <a:gd name="connsiteY8" fmla="*/ 0 h 438842"/>
                <a:gd name="connsiteX9" fmla="*/ 638403 w 819004"/>
                <a:gd name="connsiteY9" fmla="*/ 0 h 43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004" h="438842">
                  <a:moveTo>
                    <a:pt x="638135" y="402"/>
                  </a:moveTo>
                  <a:cubicBezTo>
                    <a:pt x="638135" y="402"/>
                    <a:pt x="638135" y="402"/>
                    <a:pt x="638135" y="402"/>
                  </a:cubicBezTo>
                  <a:cubicBezTo>
                    <a:pt x="637130" y="3175"/>
                    <a:pt x="634518" y="5037"/>
                    <a:pt x="631570" y="5090"/>
                  </a:cubicBezTo>
                  <a:cubicBezTo>
                    <a:pt x="630820" y="5224"/>
                    <a:pt x="630043" y="5224"/>
                    <a:pt x="629293" y="5090"/>
                  </a:cubicBezTo>
                  <a:lnTo>
                    <a:pt x="2680" y="5090"/>
                  </a:lnTo>
                  <a:lnTo>
                    <a:pt x="0" y="5090"/>
                  </a:lnTo>
                  <a:lnTo>
                    <a:pt x="0" y="438842"/>
                  </a:lnTo>
                  <a:lnTo>
                    <a:pt x="819005" y="438842"/>
                  </a:lnTo>
                  <a:lnTo>
                    <a:pt x="819005" y="0"/>
                  </a:lnTo>
                  <a:lnTo>
                    <a:pt x="638403" y="0"/>
                  </a:lnTo>
                  <a:close/>
                </a:path>
              </a:pathLst>
            </a:custGeom>
            <a:solidFill>
              <a:schemeClr val="accent1"/>
            </a:solidFill>
            <a:ln w="12700" cap="flat">
              <a:noFill/>
              <a:prstDash val="solid"/>
              <a:miter/>
            </a:ln>
          </p:spPr>
          <p:txBody>
            <a:bodyPr rtlCol="0" anchor="ctr"/>
            <a:lstStyle/>
            <a:p>
              <a:endParaRPr lang="en-US"/>
            </a:p>
          </p:txBody>
        </p:sp>
        <p:sp>
          <p:nvSpPr>
            <p:cNvPr id="1367" name="Freeform: Shape 1366">
              <a:extLst>
                <a:ext uri="{FF2B5EF4-FFF2-40B4-BE49-F238E27FC236}">
                  <a16:creationId xmlns:a16="http://schemas.microsoft.com/office/drawing/2014/main" id="{1F6EBDA9-EAF2-46FB-BF00-1694A193B796}"/>
                </a:ext>
              </a:extLst>
            </p:cNvPr>
            <p:cNvSpPr/>
            <p:nvPr/>
          </p:nvSpPr>
          <p:spPr>
            <a:xfrm>
              <a:off x="10881790" y="6390625"/>
              <a:ext cx="43140" cy="6697"/>
            </a:xfrm>
            <a:custGeom>
              <a:avLst/>
              <a:gdLst>
                <a:gd name="connsiteX0" fmla="*/ 8307 w 43140"/>
                <a:gd name="connsiteY0" fmla="*/ 6698 h 6697"/>
                <a:gd name="connsiteX1" fmla="*/ 35906 w 43140"/>
                <a:gd name="connsiteY1" fmla="*/ 6698 h 6697"/>
                <a:gd name="connsiteX2" fmla="*/ 43140 w 43140"/>
                <a:gd name="connsiteY2" fmla="*/ 0 h 6697"/>
                <a:gd name="connsiteX3" fmla="*/ 43140 w 43140"/>
                <a:gd name="connsiteY3" fmla="*/ 0 h 6697"/>
                <a:gd name="connsiteX4" fmla="*/ 1339 w 43140"/>
                <a:gd name="connsiteY4" fmla="*/ 0 h 6697"/>
                <a:gd name="connsiteX5" fmla="*/ 0 w 43140"/>
                <a:gd name="connsiteY5" fmla="*/ 0 h 6697"/>
                <a:gd name="connsiteX6" fmla="*/ 1474 w 43140"/>
                <a:gd name="connsiteY6" fmla="*/ 0 h 6697"/>
                <a:gd name="connsiteX7" fmla="*/ 8307 w 43140"/>
                <a:gd name="connsiteY7"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0" h="6697">
                  <a:moveTo>
                    <a:pt x="8307" y="6698"/>
                  </a:moveTo>
                  <a:lnTo>
                    <a:pt x="35906" y="6698"/>
                  </a:lnTo>
                  <a:cubicBezTo>
                    <a:pt x="36187" y="2907"/>
                    <a:pt x="39349" y="-13"/>
                    <a:pt x="43140" y="0"/>
                  </a:cubicBezTo>
                  <a:lnTo>
                    <a:pt x="43140" y="0"/>
                  </a:lnTo>
                  <a:lnTo>
                    <a:pt x="1339" y="0"/>
                  </a:lnTo>
                  <a:lnTo>
                    <a:pt x="0" y="0"/>
                  </a:lnTo>
                  <a:lnTo>
                    <a:pt x="1474" y="0"/>
                  </a:lnTo>
                  <a:cubicBezTo>
                    <a:pt x="5144" y="134"/>
                    <a:pt x="8105" y="3041"/>
                    <a:pt x="8307" y="6698"/>
                  </a:cubicBezTo>
                  <a:close/>
                </a:path>
              </a:pathLst>
            </a:custGeom>
            <a:solidFill>
              <a:srgbClr val="000000"/>
            </a:solidFill>
            <a:ln w="12700" cap="flat">
              <a:noFill/>
              <a:prstDash val="solid"/>
              <a:miter/>
            </a:ln>
          </p:spPr>
          <p:txBody>
            <a:bodyPr rtlCol="0" anchor="ctr"/>
            <a:lstStyle/>
            <a:p>
              <a:endParaRPr lang="en-US"/>
            </a:p>
          </p:txBody>
        </p:sp>
        <p:sp>
          <p:nvSpPr>
            <p:cNvPr id="1368" name="Freeform: Shape 1367">
              <a:extLst>
                <a:ext uri="{FF2B5EF4-FFF2-40B4-BE49-F238E27FC236}">
                  <a16:creationId xmlns:a16="http://schemas.microsoft.com/office/drawing/2014/main" id="{8D2656E1-0872-4E01-8D05-7A4BCCD4FBED}"/>
                </a:ext>
              </a:extLst>
            </p:cNvPr>
            <p:cNvSpPr/>
            <p:nvPr/>
          </p:nvSpPr>
          <p:spPr>
            <a:xfrm>
              <a:off x="10890364" y="6399868"/>
              <a:ext cx="34700" cy="5894"/>
            </a:xfrm>
            <a:custGeom>
              <a:avLst/>
              <a:gdLst>
                <a:gd name="connsiteX0" fmla="*/ 34566 w 34700"/>
                <a:gd name="connsiteY0" fmla="*/ 5358 h 5894"/>
                <a:gd name="connsiteX1" fmla="*/ 27599 w 34700"/>
                <a:gd name="connsiteY1" fmla="*/ 0 h 5894"/>
                <a:gd name="connsiteX2" fmla="*/ 0 w 34700"/>
                <a:gd name="connsiteY2" fmla="*/ 0 h 5894"/>
                <a:gd name="connsiteX3" fmla="*/ 0 w 34700"/>
                <a:gd name="connsiteY3" fmla="*/ 5894 h 5894"/>
                <a:gd name="connsiteX4" fmla="*/ 34701 w 34700"/>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0" h="5894">
                  <a:moveTo>
                    <a:pt x="34566" y="5358"/>
                  </a:moveTo>
                  <a:cubicBezTo>
                    <a:pt x="31311" y="5305"/>
                    <a:pt x="28484" y="3121"/>
                    <a:pt x="27599" y="0"/>
                  </a:cubicBezTo>
                  <a:lnTo>
                    <a:pt x="0" y="0"/>
                  </a:lnTo>
                  <a:lnTo>
                    <a:pt x="0" y="5894"/>
                  </a:lnTo>
                  <a:lnTo>
                    <a:pt x="34701" y="5894"/>
                  </a:lnTo>
                  <a:close/>
                </a:path>
              </a:pathLst>
            </a:custGeom>
            <a:solidFill>
              <a:srgbClr val="000000"/>
            </a:solidFill>
            <a:ln w="12700" cap="flat">
              <a:noFill/>
              <a:prstDash val="solid"/>
              <a:miter/>
            </a:ln>
          </p:spPr>
          <p:txBody>
            <a:bodyPr rtlCol="0" anchor="ctr"/>
            <a:lstStyle/>
            <a:p>
              <a:endParaRPr lang="en-US"/>
            </a:p>
          </p:txBody>
        </p:sp>
        <p:sp>
          <p:nvSpPr>
            <p:cNvPr id="1369" name="Freeform: Shape 1368">
              <a:extLst>
                <a:ext uri="{FF2B5EF4-FFF2-40B4-BE49-F238E27FC236}">
                  <a16:creationId xmlns:a16="http://schemas.microsoft.com/office/drawing/2014/main" id="{886DDDB6-6D03-44BD-9B8A-27E42227644F}"/>
                </a:ext>
              </a:extLst>
            </p:cNvPr>
            <p:cNvSpPr/>
            <p:nvPr/>
          </p:nvSpPr>
          <p:spPr>
            <a:xfrm>
              <a:off x="11284527" y="6399332"/>
              <a:ext cx="23043" cy="5894"/>
            </a:xfrm>
            <a:custGeom>
              <a:avLst/>
              <a:gdLst>
                <a:gd name="connsiteX0" fmla="*/ 0 w 23043"/>
                <a:gd name="connsiteY0" fmla="*/ 5894 h 5894"/>
                <a:gd name="connsiteX1" fmla="*/ 23044 w 23043"/>
                <a:gd name="connsiteY1" fmla="*/ 5894 h 5894"/>
                <a:gd name="connsiteX2" fmla="*/ 23044 w 23043"/>
                <a:gd name="connsiteY2" fmla="*/ 0 h 5894"/>
                <a:gd name="connsiteX3" fmla="*/ 0 w 23043"/>
                <a:gd name="connsiteY3" fmla="*/ 536 h 5894"/>
                <a:gd name="connsiteX4" fmla="*/ 0 w 23043"/>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3" h="5894">
                  <a:moveTo>
                    <a:pt x="0" y="5894"/>
                  </a:moveTo>
                  <a:lnTo>
                    <a:pt x="23044" y="5894"/>
                  </a:lnTo>
                  <a:lnTo>
                    <a:pt x="23044" y="0"/>
                  </a:lnTo>
                  <a:lnTo>
                    <a:pt x="0" y="536"/>
                  </a:lnTo>
                  <a:lnTo>
                    <a:pt x="0" y="5894"/>
                  </a:lnTo>
                  <a:close/>
                </a:path>
              </a:pathLst>
            </a:custGeom>
            <a:solidFill>
              <a:srgbClr val="000000"/>
            </a:solidFill>
            <a:ln w="12700" cap="flat">
              <a:noFill/>
              <a:prstDash val="solid"/>
              <a:miter/>
            </a:ln>
          </p:spPr>
          <p:txBody>
            <a:bodyPr rtlCol="0" anchor="ctr"/>
            <a:lstStyle/>
            <a:p>
              <a:endParaRPr lang="en-US"/>
            </a:p>
          </p:txBody>
        </p:sp>
        <p:sp>
          <p:nvSpPr>
            <p:cNvPr id="1370" name="Freeform: Shape 1369">
              <a:extLst>
                <a:ext uri="{FF2B5EF4-FFF2-40B4-BE49-F238E27FC236}">
                  <a16:creationId xmlns:a16="http://schemas.microsoft.com/office/drawing/2014/main" id="{4B5CD301-5113-4776-9D74-3D81B0E28A4F}"/>
                </a:ext>
              </a:extLst>
            </p:cNvPr>
            <p:cNvSpPr/>
            <p:nvPr/>
          </p:nvSpPr>
          <p:spPr>
            <a:xfrm>
              <a:off x="10917964" y="6399868"/>
              <a:ext cx="363883" cy="5358"/>
            </a:xfrm>
            <a:custGeom>
              <a:avLst/>
              <a:gdLst>
                <a:gd name="connsiteX0" fmla="*/ 0 w 363883"/>
                <a:gd name="connsiteY0" fmla="*/ 0 h 5358"/>
                <a:gd name="connsiteX1" fmla="*/ 6967 w 363883"/>
                <a:gd name="connsiteY1" fmla="*/ 5358 h 5358"/>
                <a:gd name="connsiteX2" fmla="*/ 363884 w 363883"/>
                <a:gd name="connsiteY2" fmla="*/ 5358 h 5358"/>
                <a:gd name="connsiteX3" fmla="*/ 363884 w 363883"/>
                <a:gd name="connsiteY3" fmla="*/ 0 h 5358"/>
              </a:gdLst>
              <a:ahLst/>
              <a:cxnLst>
                <a:cxn ang="0">
                  <a:pos x="connsiteX0" y="connsiteY0"/>
                </a:cxn>
                <a:cxn ang="0">
                  <a:pos x="connsiteX1" y="connsiteY1"/>
                </a:cxn>
                <a:cxn ang="0">
                  <a:pos x="connsiteX2" y="connsiteY2"/>
                </a:cxn>
                <a:cxn ang="0">
                  <a:pos x="connsiteX3" y="connsiteY3"/>
                </a:cxn>
              </a:cxnLst>
              <a:rect l="l" t="t" r="r" b="b"/>
              <a:pathLst>
                <a:path w="363883" h="5358">
                  <a:moveTo>
                    <a:pt x="0" y="0"/>
                  </a:moveTo>
                  <a:cubicBezTo>
                    <a:pt x="885" y="3121"/>
                    <a:pt x="3712" y="5305"/>
                    <a:pt x="6967" y="5358"/>
                  </a:cubicBezTo>
                  <a:lnTo>
                    <a:pt x="363884" y="5358"/>
                  </a:lnTo>
                  <a:lnTo>
                    <a:pt x="363884" y="0"/>
                  </a:lnTo>
                  <a:close/>
                </a:path>
              </a:pathLst>
            </a:custGeom>
            <a:solidFill>
              <a:srgbClr val="000000"/>
            </a:solidFill>
            <a:ln w="12700" cap="flat">
              <a:noFill/>
              <a:prstDash val="solid"/>
              <a:miter/>
            </a:ln>
          </p:spPr>
          <p:txBody>
            <a:bodyPr rtlCol="0" anchor="ctr"/>
            <a:lstStyle/>
            <a:p>
              <a:endParaRPr lang="en-US"/>
            </a:p>
          </p:txBody>
        </p:sp>
        <p:sp>
          <p:nvSpPr>
            <p:cNvPr id="1371" name="Freeform: Shape 1370">
              <a:extLst>
                <a:ext uri="{FF2B5EF4-FFF2-40B4-BE49-F238E27FC236}">
                  <a16:creationId xmlns:a16="http://schemas.microsoft.com/office/drawing/2014/main" id="{866481EC-9F57-4CBE-924C-1C76F27939A3}"/>
                </a:ext>
              </a:extLst>
            </p:cNvPr>
            <p:cNvSpPr/>
            <p:nvPr/>
          </p:nvSpPr>
          <p:spPr>
            <a:xfrm>
              <a:off x="10917696" y="6391160"/>
              <a:ext cx="397109" cy="6162"/>
            </a:xfrm>
            <a:custGeom>
              <a:avLst/>
              <a:gdLst>
                <a:gd name="connsiteX0" fmla="*/ 0 w 397109"/>
                <a:gd name="connsiteY0" fmla="*/ 6162 h 6162"/>
                <a:gd name="connsiteX1" fmla="*/ 365490 w 397109"/>
                <a:gd name="connsiteY1" fmla="*/ 6162 h 6162"/>
                <a:gd name="connsiteX2" fmla="*/ 390008 w 397109"/>
                <a:gd name="connsiteY2" fmla="*/ 6162 h 6162"/>
                <a:gd name="connsiteX3" fmla="*/ 397110 w 397109"/>
                <a:gd name="connsiteY3" fmla="*/ 0 h 6162"/>
                <a:gd name="connsiteX4" fmla="*/ 7234 w 397109"/>
                <a:gd name="connsiteY4" fmla="*/ 0 h 6162"/>
                <a:gd name="connsiteX5" fmla="*/ 0 w 397109"/>
                <a:gd name="connsiteY5" fmla="*/ 6162 h 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09" h="6162">
                  <a:moveTo>
                    <a:pt x="0" y="6162"/>
                  </a:moveTo>
                  <a:lnTo>
                    <a:pt x="365490" y="6162"/>
                  </a:lnTo>
                  <a:lnTo>
                    <a:pt x="390008" y="6162"/>
                  </a:lnTo>
                  <a:cubicBezTo>
                    <a:pt x="390531" y="2639"/>
                    <a:pt x="393545" y="27"/>
                    <a:pt x="397110" y="0"/>
                  </a:cubicBezTo>
                  <a:lnTo>
                    <a:pt x="7234" y="0"/>
                  </a:lnTo>
                  <a:cubicBezTo>
                    <a:pt x="3617" y="-40"/>
                    <a:pt x="536" y="2586"/>
                    <a:pt x="0" y="6162"/>
                  </a:cubicBezTo>
                  <a:close/>
                </a:path>
              </a:pathLst>
            </a:custGeom>
            <a:solidFill>
              <a:srgbClr val="000000"/>
            </a:solidFill>
            <a:ln w="12700" cap="flat">
              <a:noFill/>
              <a:prstDash val="solid"/>
              <a:miter/>
            </a:ln>
          </p:spPr>
          <p:txBody>
            <a:bodyPr rtlCol="0" anchor="ctr"/>
            <a:lstStyle/>
            <a:p>
              <a:endParaRPr lang="en-US"/>
            </a:p>
          </p:txBody>
        </p:sp>
        <p:sp>
          <p:nvSpPr>
            <p:cNvPr id="1372" name="Freeform: Shape 1371">
              <a:extLst>
                <a:ext uri="{FF2B5EF4-FFF2-40B4-BE49-F238E27FC236}">
                  <a16:creationId xmlns:a16="http://schemas.microsoft.com/office/drawing/2014/main" id="{3E34F93D-F194-456C-BECF-9C515DAC2F09}"/>
                </a:ext>
              </a:extLst>
            </p:cNvPr>
            <p:cNvSpPr/>
            <p:nvPr/>
          </p:nvSpPr>
          <p:spPr>
            <a:xfrm>
              <a:off x="11282919" y="6397295"/>
              <a:ext cx="24517" cy="2572"/>
            </a:xfrm>
            <a:custGeom>
              <a:avLst/>
              <a:gdLst>
                <a:gd name="connsiteX0" fmla="*/ 1608 w 24517"/>
                <a:gd name="connsiteY0" fmla="*/ 1233 h 2572"/>
                <a:gd name="connsiteX1" fmla="*/ 1608 w 24517"/>
                <a:gd name="connsiteY1" fmla="*/ 2572 h 2572"/>
                <a:gd name="connsiteX2" fmla="*/ 24517 w 24517"/>
                <a:gd name="connsiteY2" fmla="*/ 2572 h 2572"/>
                <a:gd name="connsiteX3" fmla="*/ 24517 w 24517"/>
                <a:gd name="connsiteY3" fmla="*/ 1099 h 2572"/>
                <a:gd name="connsiteX4" fmla="*/ 24517 w 24517"/>
                <a:gd name="connsiteY4" fmla="*/ 27 h 2572"/>
                <a:gd name="connsiteX5" fmla="*/ 0 w 24517"/>
                <a:gd name="connsiteY5" fmla="*/ 27 h 2572"/>
                <a:gd name="connsiteX6" fmla="*/ 0 w 24517"/>
                <a:gd name="connsiteY6" fmla="*/ 27 h 2572"/>
                <a:gd name="connsiteX7" fmla="*/ 1581 w 24517"/>
                <a:gd name="connsiteY7" fmla="*/ 1072 h 2572"/>
                <a:gd name="connsiteX8" fmla="*/ 1608 w 24517"/>
                <a:gd name="connsiteY8" fmla="*/ 1233 h 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7" h="2572">
                  <a:moveTo>
                    <a:pt x="1608" y="1233"/>
                  </a:moveTo>
                  <a:lnTo>
                    <a:pt x="1608" y="2572"/>
                  </a:lnTo>
                  <a:lnTo>
                    <a:pt x="24517" y="2572"/>
                  </a:lnTo>
                  <a:lnTo>
                    <a:pt x="24517" y="1099"/>
                  </a:lnTo>
                  <a:cubicBezTo>
                    <a:pt x="24517" y="1099"/>
                    <a:pt x="24517" y="429"/>
                    <a:pt x="24517" y="27"/>
                  </a:cubicBezTo>
                  <a:lnTo>
                    <a:pt x="0" y="27"/>
                  </a:lnTo>
                  <a:lnTo>
                    <a:pt x="0" y="27"/>
                  </a:lnTo>
                  <a:cubicBezTo>
                    <a:pt x="723" y="-120"/>
                    <a:pt x="1433" y="349"/>
                    <a:pt x="1581" y="1072"/>
                  </a:cubicBezTo>
                  <a:cubicBezTo>
                    <a:pt x="1594" y="1126"/>
                    <a:pt x="1608" y="1179"/>
                    <a:pt x="1608" y="1233"/>
                  </a:cubicBezTo>
                  <a:close/>
                </a:path>
              </a:pathLst>
            </a:custGeom>
            <a:solidFill>
              <a:srgbClr val="000000"/>
            </a:solidFill>
            <a:ln w="12700" cap="flat">
              <a:noFill/>
              <a:prstDash val="solid"/>
              <a:miter/>
            </a:ln>
          </p:spPr>
          <p:txBody>
            <a:bodyPr rtlCol="0" anchor="ctr"/>
            <a:lstStyle/>
            <a:p>
              <a:endParaRPr lang="en-US"/>
            </a:p>
          </p:txBody>
        </p:sp>
        <p:sp>
          <p:nvSpPr>
            <p:cNvPr id="1373" name="Freeform: Shape 1372">
              <a:extLst>
                <a:ext uri="{FF2B5EF4-FFF2-40B4-BE49-F238E27FC236}">
                  <a16:creationId xmlns:a16="http://schemas.microsoft.com/office/drawing/2014/main" id="{49C48007-C0F2-4BA9-B995-97D542E6A6BC}"/>
                </a:ext>
              </a:extLst>
            </p:cNvPr>
            <p:cNvSpPr/>
            <p:nvPr/>
          </p:nvSpPr>
          <p:spPr>
            <a:xfrm>
              <a:off x="10890097" y="6397322"/>
              <a:ext cx="393089" cy="2545"/>
            </a:xfrm>
            <a:custGeom>
              <a:avLst/>
              <a:gdLst>
                <a:gd name="connsiteX0" fmla="*/ 391750 w 393089"/>
                <a:gd name="connsiteY0" fmla="*/ 2545 h 2545"/>
                <a:gd name="connsiteX1" fmla="*/ 391750 w 393089"/>
                <a:gd name="connsiteY1" fmla="*/ 1206 h 2545"/>
                <a:gd name="connsiteX2" fmla="*/ 393090 w 393089"/>
                <a:gd name="connsiteY2" fmla="*/ 0 h 2545"/>
                <a:gd name="connsiteX3" fmla="*/ 0 w 393089"/>
                <a:gd name="connsiteY3" fmla="*/ 0 h 2545"/>
                <a:gd name="connsiteX4" fmla="*/ 0 w 393089"/>
                <a:gd name="connsiteY4" fmla="*/ 1206 h 2545"/>
                <a:gd name="connsiteX5" fmla="*/ 0 w 393089"/>
                <a:gd name="connsiteY5" fmla="*/ 2545 h 2545"/>
                <a:gd name="connsiteX6" fmla="*/ 391482 w 393089"/>
                <a:gd name="connsiteY6"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089" h="2545">
                  <a:moveTo>
                    <a:pt x="391750" y="2545"/>
                  </a:moveTo>
                  <a:lnTo>
                    <a:pt x="391750" y="1206"/>
                  </a:lnTo>
                  <a:cubicBezTo>
                    <a:pt x="391817" y="522"/>
                    <a:pt x="392393" y="0"/>
                    <a:pt x="393090" y="0"/>
                  </a:cubicBezTo>
                  <a:lnTo>
                    <a:pt x="0" y="0"/>
                  </a:lnTo>
                  <a:cubicBezTo>
                    <a:pt x="67" y="402"/>
                    <a:pt x="67" y="804"/>
                    <a:pt x="0" y="1206"/>
                  </a:cubicBezTo>
                  <a:lnTo>
                    <a:pt x="0" y="2545"/>
                  </a:lnTo>
                  <a:lnTo>
                    <a:pt x="391482" y="2545"/>
                  </a:lnTo>
                  <a:close/>
                </a:path>
              </a:pathLst>
            </a:custGeom>
            <a:solidFill>
              <a:srgbClr val="000000"/>
            </a:solidFill>
            <a:ln w="12700" cap="flat">
              <a:noFill/>
              <a:prstDash val="solid"/>
              <a:miter/>
            </a:ln>
          </p:spPr>
          <p:txBody>
            <a:bodyPr rtlCol="0" anchor="ctr"/>
            <a:lstStyle/>
            <a:p>
              <a:endParaRPr lang="en-US"/>
            </a:p>
          </p:txBody>
        </p:sp>
        <p:sp>
          <p:nvSpPr>
            <p:cNvPr id="1374" name="Freeform: Shape 1373">
              <a:extLst>
                <a:ext uri="{FF2B5EF4-FFF2-40B4-BE49-F238E27FC236}">
                  <a16:creationId xmlns:a16="http://schemas.microsoft.com/office/drawing/2014/main" id="{A60A713A-B7B6-4278-86D3-4706A5036C56}"/>
                </a:ext>
              </a:extLst>
            </p:cNvPr>
            <p:cNvSpPr/>
            <p:nvPr/>
          </p:nvSpPr>
          <p:spPr>
            <a:xfrm>
              <a:off x="10923591" y="6491628"/>
              <a:ext cx="2545" cy="362218"/>
            </a:xfrm>
            <a:custGeom>
              <a:avLst/>
              <a:gdLst>
                <a:gd name="connsiteX0" fmla="*/ 1339 w 2545"/>
                <a:gd name="connsiteY0" fmla="*/ 0 h 362218"/>
                <a:gd name="connsiteX1" fmla="*/ 0 w 2545"/>
                <a:gd name="connsiteY1" fmla="*/ 0 h 362218"/>
                <a:gd name="connsiteX2" fmla="*/ 0 w 2545"/>
                <a:gd name="connsiteY2" fmla="*/ 362219 h 362218"/>
                <a:gd name="connsiteX3" fmla="*/ 2546 w 2545"/>
                <a:gd name="connsiteY3" fmla="*/ 362219 h 362218"/>
                <a:gd name="connsiteX4" fmla="*/ 2546 w 2545"/>
                <a:gd name="connsiteY4" fmla="*/ 0 h 362218"/>
                <a:gd name="connsiteX5" fmla="*/ 1339 w 2545"/>
                <a:gd name="connsiteY5" fmla="*/ 0 h 362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62218">
                  <a:moveTo>
                    <a:pt x="1339" y="0"/>
                  </a:moveTo>
                  <a:lnTo>
                    <a:pt x="0" y="0"/>
                  </a:lnTo>
                  <a:lnTo>
                    <a:pt x="0" y="362219"/>
                  </a:lnTo>
                  <a:lnTo>
                    <a:pt x="2546" y="362219"/>
                  </a:lnTo>
                  <a:lnTo>
                    <a:pt x="2546" y="0"/>
                  </a:lnTo>
                  <a:lnTo>
                    <a:pt x="1339" y="0"/>
                  </a:lnTo>
                  <a:close/>
                </a:path>
              </a:pathLst>
            </a:custGeom>
            <a:solidFill>
              <a:srgbClr val="000000"/>
            </a:solidFill>
            <a:ln w="12700" cap="flat">
              <a:noFill/>
              <a:prstDash val="solid"/>
              <a:miter/>
            </a:ln>
          </p:spPr>
          <p:txBody>
            <a:bodyPr rtlCol="0" anchor="ctr"/>
            <a:lstStyle/>
            <a:p>
              <a:endParaRPr lang="en-US"/>
            </a:p>
          </p:txBody>
        </p:sp>
        <p:sp>
          <p:nvSpPr>
            <p:cNvPr id="1375" name="Freeform: Shape 1374">
              <a:extLst>
                <a:ext uri="{FF2B5EF4-FFF2-40B4-BE49-F238E27FC236}">
                  <a16:creationId xmlns:a16="http://schemas.microsoft.com/office/drawing/2014/main" id="{F26C9BE4-AFC9-4F83-BB0B-4D2F88391ABD}"/>
                </a:ext>
              </a:extLst>
            </p:cNvPr>
            <p:cNvSpPr/>
            <p:nvPr/>
          </p:nvSpPr>
          <p:spPr>
            <a:xfrm>
              <a:off x="11281847" y="6397188"/>
              <a:ext cx="2679" cy="79972"/>
            </a:xfrm>
            <a:custGeom>
              <a:avLst/>
              <a:gdLst>
                <a:gd name="connsiteX0" fmla="*/ 2680 w 2679"/>
                <a:gd name="connsiteY0" fmla="*/ 1340 h 79972"/>
                <a:gd name="connsiteX1" fmla="*/ 1339 w 2679"/>
                <a:gd name="connsiteY1" fmla="*/ 0 h 79972"/>
                <a:gd name="connsiteX2" fmla="*/ 0 w 2679"/>
                <a:gd name="connsiteY2" fmla="*/ 1340 h 79972"/>
                <a:gd name="connsiteX3" fmla="*/ 0 w 2679"/>
                <a:gd name="connsiteY3" fmla="*/ 79972 h 79972"/>
                <a:gd name="connsiteX4" fmla="*/ 1339 w 2679"/>
                <a:gd name="connsiteY4" fmla="*/ 79972 h 79972"/>
                <a:gd name="connsiteX5" fmla="*/ 2680 w 2679"/>
                <a:gd name="connsiteY5" fmla="*/ 79972 h 79972"/>
                <a:gd name="connsiteX6" fmla="*/ 2680 w 2679"/>
                <a:gd name="connsiteY6" fmla="*/ 1340 h 7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9" h="79972">
                  <a:moveTo>
                    <a:pt x="2680" y="1340"/>
                  </a:moveTo>
                  <a:cubicBezTo>
                    <a:pt x="2680" y="603"/>
                    <a:pt x="2076" y="0"/>
                    <a:pt x="1339" y="0"/>
                  </a:cubicBezTo>
                  <a:cubicBezTo>
                    <a:pt x="603" y="0"/>
                    <a:pt x="0" y="603"/>
                    <a:pt x="0" y="1340"/>
                  </a:cubicBezTo>
                  <a:lnTo>
                    <a:pt x="0" y="79972"/>
                  </a:lnTo>
                  <a:lnTo>
                    <a:pt x="1339" y="79972"/>
                  </a:lnTo>
                  <a:lnTo>
                    <a:pt x="2680" y="79972"/>
                  </a:lnTo>
                  <a:lnTo>
                    <a:pt x="2680" y="1340"/>
                  </a:lnTo>
                  <a:close/>
                </a:path>
              </a:pathLst>
            </a:custGeom>
            <a:solidFill>
              <a:srgbClr val="000000"/>
            </a:solidFill>
            <a:ln w="12700" cap="flat">
              <a:noFill/>
              <a:prstDash val="solid"/>
              <a:miter/>
            </a:ln>
          </p:spPr>
          <p:txBody>
            <a:bodyPr rtlCol="0" anchor="ctr"/>
            <a:lstStyle/>
            <a:p>
              <a:endParaRPr lang="en-US"/>
            </a:p>
          </p:txBody>
        </p:sp>
        <p:sp>
          <p:nvSpPr>
            <p:cNvPr id="1376" name="Freeform: Shape 1375">
              <a:extLst>
                <a:ext uri="{FF2B5EF4-FFF2-40B4-BE49-F238E27FC236}">
                  <a16:creationId xmlns:a16="http://schemas.microsoft.com/office/drawing/2014/main" id="{034621A2-ED00-4751-93C1-5A98C58C6DB6}"/>
                </a:ext>
              </a:extLst>
            </p:cNvPr>
            <p:cNvSpPr/>
            <p:nvPr/>
          </p:nvSpPr>
          <p:spPr>
            <a:xfrm>
              <a:off x="10640229" y="6448092"/>
              <a:ext cx="2545" cy="33087"/>
            </a:xfrm>
            <a:custGeom>
              <a:avLst/>
              <a:gdLst>
                <a:gd name="connsiteX0" fmla="*/ 0 w 2545"/>
                <a:gd name="connsiteY0" fmla="*/ 0 h 33087"/>
                <a:gd name="connsiteX1" fmla="*/ 2546 w 2545"/>
                <a:gd name="connsiteY1" fmla="*/ 0 h 33087"/>
                <a:gd name="connsiteX2" fmla="*/ 2546 w 2545"/>
                <a:gd name="connsiteY2" fmla="*/ 33087 h 33087"/>
                <a:gd name="connsiteX3" fmla="*/ 0 w 2545"/>
                <a:gd name="connsiteY3" fmla="*/ 33087 h 33087"/>
              </a:gdLst>
              <a:ahLst/>
              <a:cxnLst>
                <a:cxn ang="0">
                  <a:pos x="connsiteX0" y="connsiteY0"/>
                </a:cxn>
                <a:cxn ang="0">
                  <a:pos x="connsiteX1" y="connsiteY1"/>
                </a:cxn>
                <a:cxn ang="0">
                  <a:pos x="connsiteX2" y="connsiteY2"/>
                </a:cxn>
                <a:cxn ang="0">
                  <a:pos x="connsiteX3" y="connsiteY3"/>
                </a:cxn>
              </a:cxnLst>
              <a:rect l="l" t="t" r="r" b="b"/>
              <a:pathLst>
                <a:path w="2545" h="33087">
                  <a:moveTo>
                    <a:pt x="0" y="0"/>
                  </a:moveTo>
                  <a:lnTo>
                    <a:pt x="2546" y="0"/>
                  </a:lnTo>
                  <a:lnTo>
                    <a:pt x="2546" y="33087"/>
                  </a:lnTo>
                  <a:lnTo>
                    <a:pt x="0" y="33087"/>
                  </a:lnTo>
                  <a:close/>
                </a:path>
              </a:pathLst>
            </a:custGeom>
            <a:solidFill>
              <a:srgbClr val="000000"/>
            </a:solidFill>
            <a:ln w="12700" cap="flat">
              <a:noFill/>
              <a:prstDash val="solid"/>
              <a:miter/>
            </a:ln>
          </p:spPr>
          <p:txBody>
            <a:bodyPr rtlCol="0" anchor="ctr"/>
            <a:lstStyle/>
            <a:p>
              <a:endParaRPr lang="en-US"/>
            </a:p>
          </p:txBody>
        </p:sp>
        <p:sp>
          <p:nvSpPr>
            <p:cNvPr id="1377" name="Freeform: Shape 1376">
              <a:extLst>
                <a:ext uri="{FF2B5EF4-FFF2-40B4-BE49-F238E27FC236}">
                  <a16:creationId xmlns:a16="http://schemas.microsoft.com/office/drawing/2014/main" id="{B5691436-216D-4A31-A4BD-8958A74C4102}"/>
                </a:ext>
              </a:extLst>
            </p:cNvPr>
            <p:cNvSpPr/>
            <p:nvPr/>
          </p:nvSpPr>
          <p:spPr>
            <a:xfrm>
              <a:off x="12685262" y="5548975"/>
              <a:ext cx="39255" cy="14601"/>
            </a:xfrm>
            <a:custGeom>
              <a:avLst/>
              <a:gdLst>
                <a:gd name="connsiteX0" fmla="*/ 5627 w 39255"/>
                <a:gd name="connsiteY0" fmla="*/ 8707 h 14601"/>
                <a:gd name="connsiteX1" fmla="*/ 4555 w 39255"/>
                <a:gd name="connsiteY1" fmla="*/ 14601 h 14601"/>
                <a:gd name="connsiteX2" fmla="*/ 32021 w 39255"/>
                <a:gd name="connsiteY2" fmla="*/ 14601 h 14601"/>
                <a:gd name="connsiteX3" fmla="*/ 32021 w 39255"/>
                <a:gd name="connsiteY3" fmla="*/ 7368 h 14601"/>
                <a:gd name="connsiteX4" fmla="*/ 39255 w 39255"/>
                <a:gd name="connsiteY4" fmla="*/ 0 h 14601"/>
                <a:gd name="connsiteX5" fmla="*/ 0 w 39255"/>
                <a:gd name="connsiteY5" fmla="*/ 0 h 14601"/>
                <a:gd name="connsiteX6" fmla="*/ 5667 w 39255"/>
                <a:gd name="connsiteY6" fmla="*/ 8517 h 14601"/>
                <a:gd name="connsiteX7" fmla="*/ 5627 w 39255"/>
                <a:gd name="connsiteY7" fmla="*/ 8707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55" h="14601">
                  <a:moveTo>
                    <a:pt x="5627" y="8707"/>
                  </a:moveTo>
                  <a:lnTo>
                    <a:pt x="4555" y="14601"/>
                  </a:lnTo>
                  <a:lnTo>
                    <a:pt x="32021" y="14601"/>
                  </a:lnTo>
                  <a:lnTo>
                    <a:pt x="32021" y="7368"/>
                  </a:lnTo>
                  <a:cubicBezTo>
                    <a:pt x="32021" y="3350"/>
                    <a:pt x="35236" y="74"/>
                    <a:pt x="39255" y="0"/>
                  </a:cubicBezTo>
                  <a:lnTo>
                    <a:pt x="0" y="0"/>
                  </a:lnTo>
                  <a:cubicBezTo>
                    <a:pt x="3912" y="786"/>
                    <a:pt x="6458" y="4600"/>
                    <a:pt x="5667" y="8517"/>
                  </a:cubicBezTo>
                  <a:cubicBezTo>
                    <a:pt x="5654" y="8580"/>
                    <a:pt x="5641" y="8644"/>
                    <a:pt x="5627" y="8707"/>
                  </a:cubicBezTo>
                  <a:close/>
                </a:path>
              </a:pathLst>
            </a:custGeom>
            <a:solidFill>
              <a:srgbClr val="000000"/>
            </a:solidFill>
            <a:ln w="12700" cap="flat">
              <a:noFill/>
              <a:prstDash val="solid"/>
              <a:miter/>
            </a:ln>
          </p:spPr>
          <p:txBody>
            <a:bodyPr rtlCol="0" anchor="ctr"/>
            <a:lstStyle/>
            <a:p>
              <a:endParaRPr lang="en-US"/>
            </a:p>
          </p:txBody>
        </p:sp>
        <p:sp>
          <p:nvSpPr>
            <p:cNvPr id="1378" name="Freeform: Shape 1377">
              <a:extLst>
                <a:ext uri="{FF2B5EF4-FFF2-40B4-BE49-F238E27FC236}">
                  <a16:creationId xmlns:a16="http://schemas.microsoft.com/office/drawing/2014/main" id="{D280E962-4370-48DB-9A42-6E96F43ED149}"/>
                </a:ext>
              </a:extLst>
            </p:cNvPr>
            <p:cNvSpPr/>
            <p:nvPr/>
          </p:nvSpPr>
          <p:spPr>
            <a:xfrm>
              <a:off x="9779021" y="6492834"/>
              <a:ext cx="2545" cy="361013"/>
            </a:xfrm>
            <a:custGeom>
              <a:avLst/>
              <a:gdLst>
                <a:gd name="connsiteX0" fmla="*/ 0 w 2545"/>
                <a:gd name="connsiteY0" fmla="*/ 0 h 361013"/>
                <a:gd name="connsiteX1" fmla="*/ 2546 w 2545"/>
                <a:gd name="connsiteY1" fmla="*/ 0 h 361013"/>
                <a:gd name="connsiteX2" fmla="*/ 2546 w 2545"/>
                <a:gd name="connsiteY2" fmla="*/ 361013 h 361013"/>
                <a:gd name="connsiteX3" fmla="*/ 0 w 2545"/>
                <a:gd name="connsiteY3" fmla="*/ 361013 h 361013"/>
              </a:gdLst>
              <a:ahLst/>
              <a:cxnLst>
                <a:cxn ang="0">
                  <a:pos x="connsiteX0" y="connsiteY0"/>
                </a:cxn>
                <a:cxn ang="0">
                  <a:pos x="connsiteX1" y="connsiteY1"/>
                </a:cxn>
                <a:cxn ang="0">
                  <a:pos x="connsiteX2" y="connsiteY2"/>
                </a:cxn>
                <a:cxn ang="0">
                  <a:pos x="connsiteX3" y="connsiteY3"/>
                </a:cxn>
              </a:cxnLst>
              <a:rect l="l" t="t" r="r" b="b"/>
              <a:pathLst>
                <a:path w="2545" h="361013">
                  <a:moveTo>
                    <a:pt x="0" y="0"/>
                  </a:moveTo>
                  <a:lnTo>
                    <a:pt x="2546" y="0"/>
                  </a:lnTo>
                  <a:lnTo>
                    <a:pt x="2546" y="361013"/>
                  </a:lnTo>
                  <a:lnTo>
                    <a:pt x="0" y="361013"/>
                  </a:lnTo>
                  <a:close/>
                </a:path>
              </a:pathLst>
            </a:custGeom>
            <a:solidFill>
              <a:srgbClr val="000000"/>
            </a:solidFill>
            <a:ln w="12700" cap="flat">
              <a:noFill/>
              <a:prstDash val="solid"/>
              <a:miter/>
            </a:ln>
          </p:spPr>
          <p:txBody>
            <a:bodyPr rtlCol="0" anchor="ctr"/>
            <a:lstStyle/>
            <a:p>
              <a:endParaRPr lang="en-US"/>
            </a:p>
          </p:txBody>
        </p:sp>
        <p:sp>
          <p:nvSpPr>
            <p:cNvPr id="1379" name="Freeform: Shape 1378">
              <a:extLst>
                <a:ext uri="{FF2B5EF4-FFF2-40B4-BE49-F238E27FC236}">
                  <a16:creationId xmlns:a16="http://schemas.microsoft.com/office/drawing/2014/main" id="{3EB70DB7-2254-49A5-A7DA-6F1BBBE6909A}"/>
                </a:ext>
              </a:extLst>
            </p:cNvPr>
            <p:cNvSpPr/>
            <p:nvPr/>
          </p:nvSpPr>
          <p:spPr>
            <a:xfrm>
              <a:off x="11892919" y="6407175"/>
              <a:ext cx="68596" cy="14661"/>
            </a:xfrm>
            <a:custGeom>
              <a:avLst/>
              <a:gdLst>
                <a:gd name="connsiteX0" fmla="*/ 62032 w 68596"/>
                <a:gd name="connsiteY0" fmla="*/ 12250 h 14661"/>
                <a:gd name="connsiteX1" fmla="*/ 60558 w 68596"/>
                <a:gd name="connsiteY1" fmla="*/ 11313 h 14661"/>
                <a:gd name="connsiteX2" fmla="*/ 59888 w 68596"/>
                <a:gd name="connsiteY2" fmla="*/ 10375 h 14661"/>
                <a:gd name="connsiteX3" fmla="*/ 58950 w 68596"/>
                <a:gd name="connsiteY3" fmla="*/ 9035 h 14661"/>
                <a:gd name="connsiteX4" fmla="*/ 58950 w 68596"/>
                <a:gd name="connsiteY4" fmla="*/ 7830 h 14661"/>
                <a:gd name="connsiteX5" fmla="*/ 58950 w 68596"/>
                <a:gd name="connsiteY5" fmla="*/ 6624 h 14661"/>
                <a:gd name="connsiteX6" fmla="*/ 58950 w 68596"/>
                <a:gd name="connsiteY6" fmla="*/ 6624 h 14661"/>
                <a:gd name="connsiteX7" fmla="*/ 58950 w 68596"/>
                <a:gd name="connsiteY7" fmla="*/ 5419 h 14661"/>
                <a:gd name="connsiteX8" fmla="*/ 58950 w 68596"/>
                <a:gd name="connsiteY8" fmla="*/ 3945 h 14661"/>
                <a:gd name="connsiteX9" fmla="*/ 58950 w 68596"/>
                <a:gd name="connsiteY9" fmla="*/ 2873 h 14661"/>
                <a:gd name="connsiteX10" fmla="*/ 59754 w 68596"/>
                <a:gd name="connsiteY10" fmla="*/ 1668 h 14661"/>
                <a:gd name="connsiteX11" fmla="*/ 60826 w 68596"/>
                <a:gd name="connsiteY11" fmla="*/ 864 h 14661"/>
                <a:gd name="connsiteX12" fmla="*/ 62032 w 68596"/>
                <a:gd name="connsiteY12" fmla="*/ 60 h 14661"/>
                <a:gd name="connsiteX13" fmla="*/ 63371 w 68596"/>
                <a:gd name="connsiteY13" fmla="*/ 60 h 14661"/>
                <a:gd name="connsiteX14" fmla="*/ 64443 w 68596"/>
                <a:gd name="connsiteY14" fmla="*/ 60 h 14661"/>
                <a:gd name="connsiteX15" fmla="*/ 68596 w 68596"/>
                <a:gd name="connsiteY15" fmla="*/ 60 h 14661"/>
                <a:gd name="connsiteX16" fmla="*/ 0 w 68596"/>
                <a:gd name="connsiteY16" fmla="*/ 60 h 14661"/>
                <a:gd name="connsiteX17" fmla="*/ 7234 w 68596"/>
                <a:gd name="connsiteY17" fmla="*/ 7294 h 14661"/>
                <a:gd name="connsiteX18" fmla="*/ 7234 w 68596"/>
                <a:gd name="connsiteY18" fmla="*/ 14662 h 14661"/>
                <a:gd name="connsiteX19" fmla="*/ 63505 w 68596"/>
                <a:gd name="connsiteY19" fmla="*/ 14662 h 14661"/>
                <a:gd name="connsiteX20" fmla="*/ 62300 w 68596"/>
                <a:gd name="connsiteY20" fmla="*/ 14662 h 1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96" h="14661">
                  <a:moveTo>
                    <a:pt x="62032" y="12250"/>
                  </a:moveTo>
                  <a:cubicBezTo>
                    <a:pt x="61496" y="12023"/>
                    <a:pt x="61000" y="11701"/>
                    <a:pt x="60558" y="11313"/>
                  </a:cubicBezTo>
                  <a:lnTo>
                    <a:pt x="59888" y="10375"/>
                  </a:lnTo>
                  <a:cubicBezTo>
                    <a:pt x="59499" y="9987"/>
                    <a:pt x="59178" y="9531"/>
                    <a:pt x="58950" y="9035"/>
                  </a:cubicBezTo>
                  <a:cubicBezTo>
                    <a:pt x="58950" y="9035"/>
                    <a:pt x="58950" y="8232"/>
                    <a:pt x="58950" y="7830"/>
                  </a:cubicBezTo>
                  <a:cubicBezTo>
                    <a:pt x="58896" y="7428"/>
                    <a:pt x="58896" y="7026"/>
                    <a:pt x="58950" y="6624"/>
                  </a:cubicBezTo>
                  <a:lnTo>
                    <a:pt x="58950" y="6624"/>
                  </a:lnTo>
                  <a:cubicBezTo>
                    <a:pt x="58883" y="6222"/>
                    <a:pt x="58883" y="5820"/>
                    <a:pt x="58950" y="5419"/>
                  </a:cubicBezTo>
                  <a:cubicBezTo>
                    <a:pt x="58896" y="4923"/>
                    <a:pt x="58896" y="4441"/>
                    <a:pt x="58950" y="3945"/>
                  </a:cubicBezTo>
                  <a:cubicBezTo>
                    <a:pt x="58910" y="3583"/>
                    <a:pt x="58910" y="3235"/>
                    <a:pt x="58950" y="2873"/>
                  </a:cubicBezTo>
                  <a:cubicBezTo>
                    <a:pt x="59165" y="2445"/>
                    <a:pt x="59446" y="2043"/>
                    <a:pt x="59754" y="1668"/>
                  </a:cubicBezTo>
                  <a:cubicBezTo>
                    <a:pt x="60049" y="1333"/>
                    <a:pt x="60411" y="1052"/>
                    <a:pt x="60826" y="864"/>
                  </a:cubicBezTo>
                  <a:cubicBezTo>
                    <a:pt x="60826" y="864"/>
                    <a:pt x="60826" y="194"/>
                    <a:pt x="62032" y="60"/>
                  </a:cubicBezTo>
                  <a:cubicBezTo>
                    <a:pt x="62474" y="-20"/>
                    <a:pt x="62930" y="-20"/>
                    <a:pt x="63371" y="60"/>
                  </a:cubicBezTo>
                  <a:lnTo>
                    <a:pt x="64443" y="60"/>
                  </a:lnTo>
                  <a:lnTo>
                    <a:pt x="68596" y="60"/>
                  </a:lnTo>
                  <a:lnTo>
                    <a:pt x="0" y="60"/>
                  </a:lnTo>
                  <a:cubicBezTo>
                    <a:pt x="3993" y="60"/>
                    <a:pt x="7234" y="3302"/>
                    <a:pt x="7234" y="7294"/>
                  </a:cubicBezTo>
                  <a:lnTo>
                    <a:pt x="7234" y="14662"/>
                  </a:lnTo>
                  <a:lnTo>
                    <a:pt x="63505" y="14662"/>
                  </a:lnTo>
                  <a:lnTo>
                    <a:pt x="62300" y="14662"/>
                  </a:lnTo>
                  <a:close/>
                </a:path>
              </a:pathLst>
            </a:custGeom>
            <a:solidFill>
              <a:srgbClr val="000000"/>
            </a:solidFill>
            <a:ln w="12700" cap="flat">
              <a:noFill/>
              <a:prstDash val="solid"/>
              <a:miter/>
            </a:ln>
          </p:spPr>
          <p:txBody>
            <a:bodyPr rtlCol="0" anchor="ctr"/>
            <a:lstStyle/>
            <a:p>
              <a:endParaRPr lang="en-US"/>
            </a:p>
          </p:txBody>
        </p:sp>
        <p:sp>
          <p:nvSpPr>
            <p:cNvPr id="1380" name="Freeform: Shape 1379">
              <a:extLst>
                <a:ext uri="{FF2B5EF4-FFF2-40B4-BE49-F238E27FC236}">
                  <a16:creationId xmlns:a16="http://schemas.microsoft.com/office/drawing/2014/main" id="{44A14D19-5441-4D8C-94A1-7D30A0394040}"/>
                </a:ext>
              </a:extLst>
            </p:cNvPr>
            <p:cNvSpPr/>
            <p:nvPr/>
          </p:nvSpPr>
          <p:spPr>
            <a:xfrm>
              <a:off x="12679099" y="5786346"/>
              <a:ext cx="2545" cy="288542"/>
            </a:xfrm>
            <a:custGeom>
              <a:avLst/>
              <a:gdLst>
                <a:gd name="connsiteX0" fmla="*/ 1340 w 2545"/>
                <a:gd name="connsiteY0" fmla="*/ 288543 h 288542"/>
                <a:gd name="connsiteX1" fmla="*/ 2546 w 2545"/>
                <a:gd name="connsiteY1" fmla="*/ 288543 h 288542"/>
                <a:gd name="connsiteX2" fmla="*/ 2546 w 2545"/>
                <a:gd name="connsiteY2" fmla="*/ 0 h 288542"/>
                <a:gd name="connsiteX3" fmla="*/ 1340 w 2545"/>
                <a:gd name="connsiteY3" fmla="*/ 0 h 288542"/>
                <a:gd name="connsiteX4" fmla="*/ 0 w 2545"/>
                <a:gd name="connsiteY4" fmla="*/ 0 h 288542"/>
                <a:gd name="connsiteX5" fmla="*/ 0 w 2545"/>
                <a:gd name="connsiteY5" fmla="*/ 288543 h 28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542">
                  <a:moveTo>
                    <a:pt x="1340" y="288543"/>
                  </a:moveTo>
                  <a:lnTo>
                    <a:pt x="2546" y="288543"/>
                  </a:lnTo>
                  <a:lnTo>
                    <a:pt x="2546" y="0"/>
                  </a:lnTo>
                  <a:lnTo>
                    <a:pt x="1340" y="0"/>
                  </a:lnTo>
                  <a:lnTo>
                    <a:pt x="0" y="0"/>
                  </a:lnTo>
                  <a:lnTo>
                    <a:pt x="0" y="288543"/>
                  </a:lnTo>
                  <a:close/>
                </a:path>
              </a:pathLst>
            </a:custGeom>
            <a:solidFill>
              <a:srgbClr val="000000"/>
            </a:solidFill>
            <a:ln w="12700" cap="flat">
              <a:noFill/>
              <a:prstDash val="solid"/>
              <a:miter/>
            </a:ln>
          </p:spPr>
          <p:txBody>
            <a:bodyPr rtlCol="0" anchor="ctr"/>
            <a:lstStyle/>
            <a:p>
              <a:endParaRPr lang="en-US"/>
            </a:p>
          </p:txBody>
        </p:sp>
        <p:sp>
          <p:nvSpPr>
            <p:cNvPr id="1381" name="Freeform: Shape 1380">
              <a:extLst>
                <a:ext uri="{FF2B5EF4-FFF2-40B4-BE49-F238E27FC236}">
                  <a16:creationId xmlns:a16="http://schemas.microsoft.com/office/drawing/2014/main" id="{DD5B33E7-F6A8-4532-8953-E6F5F49FA3B0}"/>
                </a:ext>
              </a:extLst>
            </p:cNvPr>
            <p:cNvSpPr/>
            <p:nvPr/>
          </p:nvSpPr>
          <p:spPr>
            <a:xfrm>
              <a:off x="12673204" y="5548037"/>
              <a:ext cx="17839" cy="25317"/>
            </a:xfrm>
            <a:custGeom>
              <a:avLst/>
              <a:gdLst>
                <a:gd name="connsiteX0" fmla="*/ 7235 w 17839"/>
                <a:gd name="connsiteY0" fmla="*/ 18486 h 25317"/>
                <a:gd name="connsiteX1" fmla="*/ 9244 w 17839"/>
                <a:gd name="connsiteY1" fmla="*/ 18486 h 25317"/>
                <a:gd name="connsiteX2" fmla="*/ 9244 w 17839"/>
                <a:gd name="connsiteY2" fmla="*/ 7903 h 25317"/>
                <a:gd name="connsiteX3" fmla="*/ 10585 w 17839"/>
                <a:gd name="connsiteY3" fmla="*/ 6564 h 25317"/>
                <a:gd name="connsiteX4" fmla="*/ 11924 w 17839"/>
                <a:gd name="connsiteY4" fmla="*/ 7903 h 25317"/>
                <a:gd name="connsiteX5" fmla="*/ 11924 w 17839"/>
                <a:gd name="connsiteY5" fmla="*/ 19826 h 25317"/>
                <a:gd name="connsiteX6" fmla="*/ 14470 w 17839"/>
                <a:gd name="connsiteY6" fmla="*/ 25318 h 25317"/>
                <a:gd name="connsiteX7" fmla="*/ 14470 w 17839"/>
                <a:gd name="connsiteY7" fmla="*/ 25318 h 25317"/>
                <a:gd name="connsiteX8" fmla="*/ 16613 w 17839"/>
                <a:gd name="connsiteY8" fmla="*/ 14467 h 25317"/>
                <a:gd name="connsiteX9" fmla="*/ 17685 w 17839"/>
                <a:gd name="connsiteY9" fmla="*/ 8573 h 25317"/>
                <a:gd name="connsiteX10" fmla="*/ 12098 w 17839"/>
                <a:gd name="connsiteY10" fmla="*/ 7 h 25317"/>
                <a:gd name="connsiteX11" fmla="*/ 12058 w 17839"/>
                <a:gd name="connsiteY11" fmla="*/ 0 h 25317"/>
                <a:gd name="connsiteX12" fmla="*/ 9914 w 17839"/>
                <a:gd name="connsiteY12" fmla="*/ 0 h 25317"/>
                <a:gd name="connsiteX13" fmla="*/ 8441 w 17839"/>
                <a:gd name="connsiteY13" fmla="*/ 0 h 25317"/>
                <a:gd name="connsiteX14" fmla="*/ 7101 w 17839"/>
                <a:gd name="connsiteY14" fmla="*/ 0 h 25317"/>
                <a:gd name="connsiteX15" fmla="*/ 6029 w 17839"/>
                <a:gd name="connsiteY15" fmla="*/ 0 h 25317"/>
                <a:gd name="connsiteX16" fmla="*/ 5091 w 17839"/>
                <a:gd name="connsiteY16" fmla="*/ 938 h 25317"/>
                <a:gd name="connsiteX17" fmla="*/ 4287 w 17839"/>
                <a:gd name="connsiteY17" fmla="*/ 2143 h 25317"/>
                <a:gd name="connsiteX18" fmla="*/ 4287 w 17839"/>
                <a:gd name="connsiteY18" fmla="*/ 3483 h 25317"/>
                <a:gd name="connsiteX19" fmla="*/ 4287 w 17839"/>
                <a:gd name="connsiteY19" fmla="*/ 3483 h 25317"/>
                <a:gd name="connsiteX20" fmla="*/ 0 w 17839"/>
                <a:gd name="connsiteY20" fmla="*/ 23978 h 25317"/>
                <a:gd name="connsiteX21" fmla="*/ 0 w 17839"/>
                <a:gd name="connsiteY21" fmla="*/ 23978 h 25317"/>
                <a:gd name="connsiteX22" fmla="*/ 7235 w 17839"/>
                <a:gd name="connsiteY22" fmla="*/ 18486 h 2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839" h="25317">
                  <a:moveTo>
                    <a:pt x="7235" y="18486"/>
                  </a:moveTo>
                  <a:lnTo>
                    <a:pt x="9244" y="18486"/>
                  </a:lnTo>
                  <a:lnTo>
                    <a:pt x="9244" y="7903"/>
                  </a:lnTo>
                  <a:cubicBezTo>
                    <a:pt x="9244" y="7164"/>
                    <a:pt x="9848" y="6564"/>
                    <a:pt x="10585" y="6564"/>
                  </a:cubicBezTo>
                  <a:cubicBezTo>
                    <a:pt x="11322" y="6564"/>
                    <a:pt x="11924" y="7164"/>
                    <a:pt x="11924" y="7903"/>
                  </a:cubicBezTo>
                  <a:lnTo>
                    <a:pt x="11924" y="19826"/>
                  </a:lnTo>
                  <a:cubicBezTo>
                    <a:pt x="13492" y="21228"/>
                    <a:pt x="14416" y="23215"/>
                    <a:pt x="14470" y="25318"/>
                  </a:cubicBezTo>
                  <a:lnTo>
                    <a:pt x="14470" y="25318"/>
                  </a:lnTo>
                  <a:lnTo>
                    <a:pt x="16613" y="14467"/>
                  </a:lnTo>
                  <a:lnTo>
                    <a:pt x="17685" y="8573"/>
                  </a:lnTo>
                  <a:cubicBezTo>
                    <a:pt x="18503" y="4663"/>
                    <a:pt x="15997" y="828"/>
                    <a:pt x="12098" y="7"/>
                  </a:cubicBezTo>
                  <a:cubicBezTo>
                    <a:pt x="12085" y="4"/>
                    <a:pt x="12071" y="3"/>
                    <a:pt x="12058" y="0"/>
                  </a:cubicBezTo>
                  <a:lnTo>
                    <a:pt x="9914" y="0"/>
                  </a:lnTo>
                  <a:lnTo>
                    <a:pt x="8441" y="0"/>
                  </a:lnTo>
                  <a:lnTo>
                    <a:pt x="7101" y="0"/>
                  </a:lnTo>
                  <a:lnTo>
                    <a:pt x="6029" y="0"/>
                  </a:lnTo>
                  <a:lnTo>
                    <a:pt x="5091" y="938"/>
                  </a:lnTo>
                  <a:lnTo>
                    <a:pt x="4287" y="2143"/>
                  </a:lnTo>
                  <a:cubicBezTo>
                    <a:pt x="4207" y="2587"/>
                    <a:pt x="4207" y="3040"/>
                    <a:pt x="4287" y="3483"/>
                  </a:cubicBezTo>
                  <a:cubicBezTo>
                    <a:pt x="4287" y="3483"/>
                    <a:pt x="4287" y="3483"/>
                    <a:pt x="4287" y="3483"/>
                  </a:cubicBezTo>
                  <a:lnTo>
                    <a:pt x="0" y="23978"/>
                  </a:lnTo>
                  <a:lnTo>
                    <a:pt x="0" y="23978"/>
                  </a:lnTo>
                  <a:cubicBezTo>
                    <a:pt x="818" y="20674"/>
                    <a:pt x="3832" y="18387"/>
                    <a:pt x="7235" y="18486"/>
                  </a:cubicBezTo>
                  <a:close/>
                </a:path>
              </a:pathLst>
            </a:custGeom>
            <a:solidFill>
              <a:srgbClr val="000000"/>
            </a:solidFill>
            <a:ln w="12700" cap="flat">
              <a:noFill/>
              <a:prstDash val="solid"/>
              <a:miter/>
            </a:ln>
          </p:spPr>
          <p:txBody>
            <a:bodyPr rtlCol="0" anchor="ctr"/>
            <a:lstStyle/>
            <a:p>
              <a:endParaRPr lang="en-US"/>
            </a:p>
          </p:txBody>
        </p:sp>
        <p:sp>
          <p:nvSpPr>
            <p:cNvPr id="1382" name="Freeform: Shape 1381">
              <a:extLst>
                <a:ext uri="{FF2B5EF4-FFF2-40B4-BE49-F238E27FC236}">
                  <a16:creationId xmlns:a16="http://schemas.microsoft.com/office/drawing/2014/main" id="{17B91101-367E-4DA6-9E30-5CAF486548B1}"/>
                </a:ext>
              </a:extLst>
            </p:cNvPr>
            <p:cNvSpPr/>
            <p:nvPr/>
          </p:nvSpPr>
          <p:spPr>
            <a:xfrm>
              <a:off x="12682448" y="5555003"/>
              <a:ext cx="2679" cy="13261"/>
            </a:xfrm>
            <a:custGeom>
              <a:avLst/>
              <a:gdLst>
                <a:gd name="connsiteX0" fmla="*/ 1340 w 2679"/>
                <a:gd name="connsiteY0" fmla="*/ 0 h 13261"/>
                <a:gd name="connsiteX1" fmla="*/ 0 w 2679"/>
                <a:gd name="connsiteY1" fmla="*/ 1340 h 13261"/>
                <a:gd name="connsiteX2" fmla="*/ 0 w 2679"/>
                <a:gd name="connsiteY2" fmla="*/ 11922 h 13261"/>
                <a:gd name="connsiteX3" fmla="*/ 2680 w 2679"/>
                <a:gd name="connsiteY3" fmla="*/ 13262 h 13261"/>
                <a:gd name="connsiteX4" fmla="*/ 2680 w 2679"/>
                <a:gd name="connsiteY4" fmla="*/ 1340 h 13261"/>
                <a:gd name="connsiteX5" fmla="*/ 1340 w 2679"/>
                <a:gd name="connsiteY5" fmla="*/ 0 h 1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3261">
                  <a:moveTo>
                    <a:pt x="1340" y="0"/>
                  </a:moveTo>
                  <a:cubicBezTo>
                    <a:pt x="603" y="0"/>
                    <a:pt x="0" y="600"/>
                    <a:pt x="0" y="1340"/>
                  </a:cubicBezTo>
                  <a:lnTo>
                    <a:pt x="0" y="11922"/>
                  </a:lnTo>
                  <a:cubicBezTo>
                    <a:pt x="965" y="12205"/>
                    <a:pt x="1876" y="12659"/>
                    <a:pt x="2680" y="13262"/>
                  </a:cubicBezTo>
                  <a:lnTo>
                    <a:pt x="2680" y="1340"/>
                  </a:lnTo>
                  <a:cubicBezTo>
                    <a:pt x="2680" y="600"/>
                    <a:pt x="2077" y="0"/>
                    <a:pt x="1340" y="0"/>
                  </a:cubicBezTo>
                  <a:close/>
                </a:path>
              </a:pathLst>
            </a:custGeom>
            <a:solidFill>
              <a:srgbClr val="000000"/>
            </a:solidFill>
            <a:ln w="12700" cap="flat">
              <a:noFill/>
              <a:prstDash val="solid"/>
              <a:miter/>
            </a:ln>
          </p:spPr>
          <p:txBody>
            <a:bodyPr rtlCol="0" anchor="ctr"/>
            <a:lstStyle/>
            <a:p>
              <a:endParaRPr lang="en-US"/>
            </a:p>
          </p:txBody>
        </p:sp>
        <p:sp>
          <p:nvSpPr>
            <p:cNvPr id="1383" name="Freeform: Shape 1382">
              <a:extLst>
                <a:ext uri="{FF2B5EF4-FFF2-40B4-BE49-F238E27FC236}">
                  <a16:creationId xmlns:a16="http://schemas.microsoft.com/office/drawing/2014/main" id="{0F9C5A46-1A42-4F8A-9FA2-2507AFEFCB22}"/>
                </a:ext>
              </a:extLst>
            </p:cNvPr>
            <p:cNvSpPr/>
            <p:nvPr/>
          </p:nvSpPr>
          <p:spPr>
            <a:xfrm>
              <a:off x="9546034" y="6478162"/>
              <a:ext cx="65247" cy="16814"/>
            </a:xfrm>
            <a:custGeom>
              <a:avLst/>
              <a:gdLst>
                <a:gd name="connsiteX0" fmla="*/ 8575 w 65247"/>
                <a:gd name="connsiteY0" fmla="*/ 9849 h 16814"/>
                <a:gd name="connsiteX1" fmla="*/ 8575 w 65247"/>
                <a:gd name="connsiteY1" fmla="*/ 16815 h 16814"/>
                <a:gd name="connsiteX2" fmla="*/ 65247 w 65247"/>
                <a:gd name="connsiteY2" fmla="*/ 14672 h 16814"/>
                <a:gd name="connsiteX3" fmla="*/ 65247 w 65247"/>
                <a:gd name="connsiteY3" fmla="*/ 14672 h 16814"/>
                <a:gd name="connsiteX4" fmla="*/ 56954 w 65247"/>
                <a:gd name="connsiteY4" fmla="*/ 8362 h 16814"/>
                <a:gd name="connsiteX5" fmla="*/ 63264 w 65247"/>
                <a:gd name="connsiteY5" fmla="*/ 70 h 16814"/>
                <a:gd name="connsiteX6" fmla="*/ 65247 w 65247"/>
                <a:gd name="connsiteY6" fmla="*/ 70 h 16814"/>
                <a:gd name="connsiteX7" fmla="*/ 64309 w 65247"/>
                <a:gd name="connsiteY7" fmla="*/ 70 h 16814"/>
                <a:gd name="connsiteX8" fmla="*/ 49572 w 65247"/>
                <a:gd name="connsiteY8" fmla="*/ 70 h 16814"/>
                <a:gd name="connsiteX9" fmla="*/ 1339 w 65247"/>
                <a:gd name="connsiteY9" fmla="*/ 1946 h 16814"/>
                <a:gd name="connsiteX10" fmla="*/ 0 w 65247"/>
                <a:gd name="connsiteY10" fmla="*/ 1946 h 16814"/>
                <a:gd name="connsiteX11" fmla="*/ 1608 w 65247"/>
                <a:gd name="connsiteY11" fmla="*/ 1946 h 16814"/>
                <a:gd name="connsiteX12" fmla="*/ 8601 w 65247"/>
                <a:gd name="connsiteY12" fmla="*/ 9407 h 16814"/>
                <a:gd name="connsiteX13" fmla="*/ 8575 w 65247"/>
                <a:gd name="connsiteY13" fmla="*/ 9849 h 1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47" h="16814">
                  <a:moveTo>
                    <a:pt x="8575" y="9849"/>
                  </a:moveTo>
                  <a:lnTo>
                    <a:pt x="8575" y="16815"/>
                  </a:lnTo>
                  <a:lnTo>
                    <a:pt x="65247" y="14672"/>
                  </a:lnTo>
                  <a:lnTo>
                    <a:pt x="65247" y="14672"/>
                  </a:lnTo>
                  <a:cubicBezTo>
                    <a:pt x="61214" y="15221"/>
                    <a:pt x="57503" y="12394"/>
                    <a:pt x="56954" y="8362"/>
                  </a:cubicBezTo>
                  <a:cubicBezTo>
                    <a:pt x="56404" y="4330"/>
                    <a:pt x="59232" y="619"/>
                    <a:pt x="63264" y="70"/>
                  </a:cubicBezTo>
                  <a:cubicBezTo>
                    <a:pt x="63921" y="-23"/>
                    <a:pt x="64590" y="-23"/>
                    <a:pt x="65247" y="70"/>
                  </a:cubicBezTo>
                  <a:lnTo>
                    <a:pt x="64309" y="70"/>
                  </a:lnTo>
                  <a:lnTo>
                    <a:pt x="49572" y="70"/>
                  </a:lnTo>
                  <a:lnTo>
                    <a:pt x="1339" y="1946"/>
                  </a:lnTo>
                  <a:lnTo>
                    <a:pt x="0" y="1946"/>
                  </a:lnTo>
                  <a:lnTo>
                    <a:pt x="1608" y="1946"/>
                  </a:lnTo>
                  <a:cubicBezTo>
                    <a:pt x="5600" y="2080"/>
                    <a:pt x="8735" y="5415"/>
                    <a:pt x="8601" y="9407"/>
                  </a:cubicBezTo>
                  <a:cubicBezTo>
                    <a:pt x="8601" y="9554"/>
                    <a:pt x="8588" y="9702"/>
                    <a:pt x="8575" y="9849"/>
                  </a:cubicBezTo>
                  <a:close/>
                </a:path>
              </a:pathLst>
            </a:custGeom>
            <a:solidFill>
              <a:srgbClr val="000000"/>
            </a:solidFill>
            <a:ln w="12700" cap="flat">
              <a:noFill/>
              <a:prstDash val="solid"/>
              <a:miter/>
            </a:ln>
          </p:spPr>
          <p:txBody>
            <a:bodyPr rtlCol="0" anchor="ctr"/>
            <a:lstStyle/>
            <a:p>
              <a:endParaRPr lang="en-US"/>
            </a:p>
          </p:txBody>
        </p:sp>
        <p:sp>
          <p:nvSpPr>
            <p:cNvPr id="1384" name="Freeform: Shape 1383">
              <a:extLst>
                <a:ext uri="{FF2B5EF4-FFF2-40B4-BE49-F238E27FC236}">
                  <a16:creationId xmlns:a16="http://schemas.microsoft.com/office/drawing/2014/main" id="{0B086FD0-42CE-4351-9755-E8F38B47D16B}"/>
                </a:ext>
              </a:extLst>
            </p:cNvPr>
            <p:cNvSpPr/>
            <p:nvPr/>
          </p:nvSpPr>
          <p:spPr>
            <a:xfrm>
              <a:off x="9682959" y="5892172"/>
              <a:ext cx="14603" cy="586060"/>
            </a:xfrm>
            <a:custGeom>
              <a:avLst/>
              <a:gdLst>
                <a:gd name="connsiteX0" fmla="*/ 0 w 14603"/>
                <a:gd name="connsiteY0" fmla="*/ 43536 h 586060"/>
                <a:gd name="connsiteX1" fmla="*/ 0 w 14603"/>
                <a:gd name="connsiteY1" fmla="*/ 586060 h 586060"/>
                <a:gd name="connsiteX2" fmla="*/ 14604 w 14603"/>
                <a:gd name="connsiteY2" fmla="*/ 586060 h 586060"/>
                <a:gd name="connsiteX3" fmla="*/ 14604 w 14603"/>
                <a:gd name="connsiteY3" fmla="*/ 1340 h 586060"/>
                <a:gd name="connsiteX4" fmla="*/ 14604 w 14603"/>
                <a:gd name="connsiteY4" fmla="*/ 1340 h 586060"/>
                <a:gd name="connsiteX5" fmla="*/ 7637 w 14603"/>
                <a:gd name="connsiteY5" fmla="*/ 7234 h 586060"/>
                <a:gd name="connsiteX6" fmla="*/ 268 w 14603"/>
                <a:gd name="connsiteY6" fmla="*/ 0 h 586060"/>
                <a:gd name="connsiteX7" fmla="*/ 268 w 14603"/>
                <a:gd name="connsiteY7" fmla="*/ 29470 h 586060"/>
                <a:gd name="connsiteX8" fmla="*/ 268 w 14603"/>
                <a:gd name="connsiteY8" fmla="*/ 29470 h 5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03" h="586060">
                  <a:moveTo>
                    <a:pt x="0" y="43536"/>
                  </a:moveTo>
                  <a:lnTo>
                    <a:pt x="0" y="586060"/>
                  </a:lnTo>
                  <a:lnTo>
                    <a:pt x="14604" y="586060"/>
                  </a:lnTo>
                  <a:lnTo>
                    <a:pt x="14604" y="1340"/>
                  </a:lnTo>
                  <a:lnTo>
                    <a:pt x="14604" y="1340"/>
                  </a:lnTo>
                  <a:cubicBezTo>
                    <a:pt x="14014" y="4734"/>
                    <a:pt x="11080" y="7219"/>
                    <a:pt x="7637" y="7234"/>
                  </a:cubicBezTo>
                  <a:cubicBezTo>
                    <a:pt x="3618" y="7234"/>
                    <a:pt x="335" y="4016"/>
                    <a:pt x="268" y="0"/>
                  </a:cubicBezTo>
                  <a:lnTo>
                    <a:pt x="268" y="29470"/>
                  </a:lnTo>
                  <a:lnTo>
                    <a:pt x="268" y="29470"/>
                  </a:lnTo>
                  <a:close/>
                </a:path>
              </a:pathLst>
            </a:custGeom>
            <a:solidFill>
              <a:srgbClr val="000000"/>
            </a:solidFill>
            <a:ln w="12700" cap="flat">
              <a:noFill/>
              <a:prstDash val="solid"/>
              <a:miter/>
            </a:ln>
          </p:spPr>
          <p:txBody>
            <a:bodyPr rtlCol="0" anchor="ctr"/>
            <a:lstStyle/>
            <a:p>
              <a:endParaRPr lang="en-US"/>
            </a:p>
          </p:txBody>
        </p:sp>
        <p:sp>
          <p:nvSpPr>
            <p:cNvPr id="1385" name="Freeform: Shape 1384">
              <a:extLst>
                <a:ext uri="{FF2B5EF4-FFF2-40B4-BE49-F238E27FC236}">
                  <a16:creationId xmlns:a16="http://schemas.microsoft.com/office/drawing/2014/main" id="{52BB1B17-4CE6-4DF5-B99D-1D463D0448A6}"/>
                </a:ext>
              </a:extLst>
            </p:cNvPr>
            <p:cNvSpPr/>
            <p:nvPr/>
          </p:nvSpPr>
          <p:spPr>
            <a:xfrm>
              <a:off x="12150022" y="5588358"/>
              <a:ext cx="193463" cy="14333"/>
            </a:xfrm>
            <a:custGeom>
              <a:avLst/>
              <a:gdLst>
                <a:gd name="connsiteX0" fmla="*/ 7369 w 193463"/>
                <a:gd name="connsiteY0" fmla="*/ 7100 h 14333"/>
                <a:gd name="connsiteX1" fmla="*/ 7369 w 193463"/>
                <a:gd name="connsiteY1" fmla="*/ 14333 h 14333"/>
                <a:gd name="connsiteX2" fmla="*/ 189310 w 193463"/>
                <a:gd name="connsiteY2" fmla="*/ 14333 h 14333"/>
                <a:gd name="connsiteX3" fmla="*/ 187971 w 193463"/>
                <a:gd name="connsiteY3" fmla="*/ 8707 h 14333"/>
                <a:gd name="connsiteX4" fmla="*/ 193464 w 193463"/>
                <a:gd name="connsiteY4" fmla="*/ 0 h 14333"/>
                <a:gd name="connsiteX5" fmla="*/ 0 w 193463"/>
                <a:gd name="connsiteY5" fmla="*/ 0 h 14333"/>
                <a:gd name="connsiteX6" fmla="*/ 7369 w 193463"/>
                <a:gd name="connsiteY6" fmla="*/ 7100 h 1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63" h="14333">
                  <a:moveTo>
                    <a:pt x="7369" y="7100"/>
                  </a:moveTo>
                  <a:lnTo>
                    <a:pt x="7369" y="14333"/>
                  </a:lnTo>
                  <a:lnTo>
                    <a:pt x="189310" y="14333"/>
                  </a:lnTo>
                  <a:lnTo>
                    <a:pt x="187971" y="8707"/>
                  </a:lnTo>
                  <a:cubicBezTo>
                    <a:pt x="187140" y="4794"/>
                    <a:pt x="189579" y="930"/>
                    <a:pt x="193464" y="0"/>
                  </a:cubicBezTo>
                  <a:lnTo>
                    <a:pt x="0" y="0"/>
                  </a:lnTo>
                  <a:cubicBezTo>
                    <a:pt x="3966" y="-3"/>
                    <a:pt x="7221" y="3136"/>
                    <a:pt x="7369" y="7100"/>
                  </a:cubicBezTo>
                  <a:close/>
                </a:path>
              </a:pathLst>
            </a:custGeom>
            <a:solidFill>
              <a:srgbClr val="000000"/>
            </a:solidFill>
            <a:ln w="12700" cap="flat">
              <a:noFill/>
              <a:prstDash val="solid"/>
              <a:miter/>
            </a:ln>
          </p:spPr>
          <p:txBody>
            <a:bodyPr rtlCol="0" anchor="ctr"/>
            <a:lstStyle/>
            <a:p>
              <a:endParaRPr lang="en-US"/>
            </a:p>
          </p:txBody>
        </p:sp>
        <p:sp>
          <p:nvSpPr>
            <p:cNvPr id="1386" name="Freeform: Shape 1385">
              <a:extLst>
                <a:ext uri="{FF2B5EF4-FFF2-40B4-BE49-F238E27FC236}">
                  <a16:creationId xmlns:a16="http://schemas.microsoft.com/office/drawing/2014/main" id="{6E27A867-91E1-4D88-8AFD-819DFC077A33}"/>
                </a:ext>
              </a:extLst>
            </p:cNvPr>
            <p:cNvSpPr/>
            <p:nvPr/>
          </p:nvSpPr>
          <p:spPr>
            <a:xfrm>
              <a:off x="12338101" y="5589296"/>
              <a:ext cx="15298" cy="14467"/>
            </a:xfrm>
            <a:custGeom>
              <a:avLst/>
              <a:gdLst>
                <a:gd name="connsiteX0" fmla="*/ 25 w 15298"/>
                <a:gd name="connsiteY0" fmla="*/ 7769 h 14467"/>
                <a:gd name="connsiteX1" fmla="*/ 1365 w 15298"/>
                <a:gd name="connsiteY1" fmla="*/ 13396 h 14467"/>
                <a:gd name="connsiteX2" fmla="*/ 1365 w 15298"/>
                <a:gd name="connsiteY2" fmla="*/ 14467 h 14467"/>
                <a:gd name="connsiteX3" fmla="*/ 1365 w 15298"/>
                <a:gd name="connsiteY3" fmla="*/ 13664 h 14467"/>
                <a:gd name="connsiteX4" fmla="*/ 5652 w 15298"/>
                <a:gd name="connsiteY4" fmla="*/ 7100 h 14467"/>
                <a:gd name="connsiteX5" fmla="*/ 5652 w 15298"/>
                <a:gd name="connsiteY5" fmla="*/ 6162 h 14467"/>
                <a:gd name="connsiteX6" fmla="*/ 6858 w 15298"/>
                <a:gd name="connsiteY6" fmla="*/ 4822 h 14467"/>
                <a:gd name="connsiteX7" fmla="*/ 8198 w 15298"/>
                <a:gd name="connsiteY7" fmla="*/ 6162 h 14467"/>
                <a:gd name="connsiteX8" fmla="*/ 8198 w 15298"/>
                <a:gd name="connsiteY8" fmla="*/ 6162 h 14467"/>
                <a:gd name="connsiteX9" fmla="*/ 8198 w 15298"/>
                <a:gd name="connsiteY9" fmla="*/ 6162 h 14467"/>
                <a:gd name="connsiteX10" fmla="*/ 15298 w 15298"/>
                <a:gd name="connsiteY10" fmla="*/ 12592 h 14467"/>
                <a:gd name="connsiteX11" fmla="*/ 15298 w 15298"/>
                <a:gd name="connsiteY11" fmla="*/ 11788 h 14467"/>
                <a:gd name="connsiteX12" fmla="*/ 13556 w 15298"/>
                <a:gd name="connsiteY12" fmla="*/ 4287 h 14467"/>
                <a:gd name="connsiteX13" fmla="*/ 13556 w 15298"/>
                <a:gd name="connsiteY13" fmla="*/ 2947 h 14467"/>
                <a:gd name="connsiteX14" fmla="*/ 12753 w 15298"/>
                <a:gd name="connsiteY14" fmla="*/ 1741 h 14467"/>
                <a:gd name="connsiteX15" fmla="*/ 11815 w 15298"/>
                <a:gd name="connsiteY15" fmla="*/ 804 h 14467"/>
                <a:gd name="connsiteX16" fmla="*/ 10609 w 15298"/>
                <a:gd name="connsiteY16" fmla="*/ 0 h 14467"/>
                <a:gd name="connsiteX17" fmla="*/ 9403 w 15298"/>
                <a:gd name="connsiteY17" fmla="*/ 0 h 14467"/>
                <a:gd name="connsiteX18" fmla="*/ 7930 w 15298"/>
                <a:gd name="connsiteY18" fmla="*/ 0 h 14467"/>
                <a:gd name="connsiteX19" fmla="*/ 5652 w 15298"/>
                <a:gd name="connsiteY19" fmla="*/ 0 h 14467"/>
                <a:gd name="connsiteX20" fmla="*/ 25 w 15298"/>
                <a:gd name="connsiteY20" fmla="*/ 7769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8" h="14467">
                  <a:moveTo>
                    <a:pt x="25" y="7769"/>
                  </a:moveTo>
                  <a:lnTo>
                    <a:pt x="1365" y="13396"/>
                  </a:lnTo>
                  <a:lnTo>
                    <a:pt x="1365" y="14467"/>
                  </a:lnTo>
                  <a:lnTo>
                    <a:pt x="1365" y="13664"/>
                  </a:lnTo>
                  <a:cubicBezTo>
                    <a:pt x="1378" y="10824"/>
                    <a:pt x="3053" y="8257"/>
                    <a:pt x="5652" y="7100"/>
                  </a:cubicBezTo>
                  <a:lnTo>
                    <a:pt x="5652" y="6162"/>
                  </a:lnTo>
                  <a:cubicBezTo>
                    <a:pt x="5652" y="5472"/>
                    <a:pt x="6175" y="4892"/>
                    <a:pt x="6858" y="4822"/>
                  </a:cubicBezTo>
                  <a:cubicBezTo>
                    <a:pt x="7594" y="4822"/>
                    <a:pt x="8198" y="5423"/>
                    <a:pt x="8198" y="6162"/>
                  </a:cubicBezTo>
                  <a:lnTo>
                    <a:pt x="8198" y="6162"/>
                  </a:lnTo>
                  <a:lnTo>
                    <a:pt x="8198" y="6162"/>
                  </a:lnTo>
                  <a:cubicBezTo>
                    <a:pt x="11869" y="6146"/>
                    <a:pt x="14950" y="8935"/>
                    <a:pt x="15298" y="12592"/>
                  </a:cubicBezTo>
                  <a:cubicBezTo>
                    <a:pt x="15298" y="12592"/>
                    <a:pt x="15298" y="12592"/>
                    <a:pt x="15298" y="11788"/>
                  </a:cubicBezTo>
                  <a:lnTo>
                    <a:pt x="13556" y="4287"/>
                  </a:lnTo>
                  <a:cubicBezTo>
                    <a:pt x="13583" y="3841"/>
                    <a:pt x="13583" y="3393"/>
                    <a:pt x="13556" y="2947"/>
                  </a:cubicBezTo>
                  <a:lnTo>
                    <a:pt x="12753" y="1741"/>
                  </a:lnTo>
                  <a:lnTo>
                    <a:pt x="11815" y="804"/>
                  </a:lnTo>
                  <a:lnTo>
                    <a:pt x="10609" y="0"/>
                  </a:lnTo>
                  <a:lnTo>
                    <a:pt x="9403" y="0"/>
                  </a:lnTo>
                  <a:lnTo>
                    <a:pt x="7930" y="0"/>
                  </a:lnTo>
                  <a:lnTo>
                    <a:pt x="5652" y="0"/>
                  </a:lnTo>
                  <a:cubicBezTo>
                    <a:pt x="2115" y="847"/>
                    <a:pt x="-270" y="4146"/>
                    <a:pt x="25" y="7769"/>
                  </a:cubicBezTo>
                  <a:close/>
                </a:path>
              </a:pathLst>
            </a:custGeom>
            <a:solidFill>
              <a:srgbClr val="000000"/>
            </a:solidFill>
            <a:ln w="12700" cap="flat">
              <a:noFill/>
              <a:prstDash val="solid"/>
              <a:miter/>
            </a:ln>
          </p:spPr>
          <p:txBody>
            <a:bodyPr rtlCol="0" anchor="ctr"/>
            <a:lstStyle/>
            <a:p>
              <a:endParaRPr lang="en-US"/>
            </a:p>
          </p:txBody>
        </p:sp>
        <p:sp>
          <p:nvSpPr>
            <p:cNvPr id="1387" name="Freeform: Shape 1386">
              <a:extLst>
                <a:ext uri="{FF2B5EF4-FFF2-40B4-BE49-F238E27FC236}">
                  <a16:creationId xmlns:a16="http://schemas.microsoft.com/office/drawing/2014/main" id="{99F98874-DEEF-4773-B17C-476B6EB9DB2D}"/>
                </a:ext>
              </a:extLst>
            </p:cNvPr>
            <p:cNvSpPr/>
            <p:nvPr/>
          </p:nvSpPr>
          <p:spPr>
            <a:xfrm>
              <a:off x="12731886" y="5566523"/>
              <a:ext cx="126608" cy="14467"/>
            </a:xfrm>
            <a:custGeom>
              <a:avLst/>
              <a:gdLst>
                <a:gd name="connsiteX0" fmla="*/ 0 w 126608"/>
                <a:gd name="connsiteY0" fmla="*/ 14467 h 14467"/>
                <a:gd name="connsiteX1" fmla="*/ 126609 w 126608"/>
                <a:gd name="connsiteY1" fmla="*/ 14467 h 14467"/>
                <a:gd name="connsiteX2" fmla="*/ 126609 w 126608"/>
                <a:gd name="connsiteY2" fmla="*/ 0 h 14467"/>
                <a:gd name="connsiteX3" fmla="*/ 0 w 126608"/>
                <a:gd name="connsiteY3" fmla="*/ 0 h 14467"/>
                <a:gd name="connsiteX4" fmla="*/ 0 w 126608"/>
                <a:gd name="connsiteY4" fmla="*/ 7234 h 14467"/>
                <a:gd name="connsiteX5" fmla="*/ 0 w 126608"/>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14467">
                  <a:moveTo>
                    <a:pt x="0" y="14467"/>
                  </a:moveTo>
                  <a:lnTo>
                    <a:pt x="126609" y="14467"/>
                  </a:lnTo>
                  <a:lnTo>
                    <a:pt x="126609" y="0"/>
                  </a:lnTo>
                  <a:lnTo>
                    <a:pt x="0" y="0"/>
                  </a:lnTo>
                  <a:lnTo>
                    <a:pt x="0" y="7234"/>
                  </a:lnTo>
                  <a:lnTo>
                    <a:pt x="0" y="14467"/>
                  </a:lnTo>
                  <a:close/>
                </a:path>
              </a:pathLst>
            </a:custGeom>
            <a:solidFill>
              <a:srgbClr val="000000"/>
            </a:solidFill>
            <a:ln w="12700" cap="flat">
              <a:noFill/>
              <a:prstDash val="solid"/>
              <a:miter/>
            </a:ln>
          </p:spPr>
          <p:txBody>
            <a:bodyPr rtlCol="0" anchor="ctr"/>
            <a:lstStyle/>
            <a:p>
              <a:endParaRPr lang="en-US"/>
            </a:p>
          </p:txBody>
        </p:sp>
        <p:sp>
          <p:nvSpPr>
            <p:cNvPr id="1388" name="Freeform: Shape 1387">
              <a:extLst>
                <a:ext uri="{FF2B5EF4-FFF2-40B4-BE49-F238E27FC236}">
                  <a16:creationId xmlns:a16="http://schemas.microsoft.com/office/drawing/2014/main" id="{C3889D81-5F41-4683-9154-D96C05179BD0}"/>
                </a:ext>
              </a:extLst>
            </p:cNvPr>
            <p:cNvSpPr/>
            <p:nvPr/>
          </p:nvSpPr>
          <p:spPr>
            <a:xfrm>
              <a:off x="12339600" y="5596395"/>
              <a:ext cx="4287" cy="148290"/>
            </a:xfrm>
            <a:custGeom>
              <a:avLst/>
              <a:gdLst>
                <a:gd name="connsiteX0" fmla="*/ 938 w 4287"/>
                <a:gd name="connsiteY0" fmla="*/ 142664 h 148290"/>
                <a:gd name="connsiteX1" fmla="*/ 2009 w 4287"/>
                <a:gd name="connsiteY1" fmla="*/ 143468 h 148290"/>
                <a:gd name="connsiteX2" fmla="*/ 2679 w 4287"/>
                <a:gd name="connsiteY2" fmla="*/ 144539 h 148290"/>
                <a:gd name="connsiteX3" fmla="*/ 3484 w 4287"/>
                <a:gd name="connsiteY3" fmla="*/ 145879 h 148290"/>
                <a:gd name="connsiteX4" fmla="*/ 3484 w 4287"/>
                <a:gd name="connsiteY4" fmla="*/ 145879 h 148290"/>
                <a:gd name="connsiteX5" fmla="*/ 4287 w 4287"/>
                <a:gd name="connsiteY5" fmla="*/ 148290 h 148290"/>
                <a:gd name="connsiteX6" fmla="*/ 4287 w 4287"/>
                <a:gd name="connsiteY6" fmla="*/ 0 h 148290"/>
                <a:gd name="connsiteX7" fmla="*/ 0 w 4287"/>
                <a:gd name="connsiteY7" fmla="*/ 6564 h 148290"/>
                <a:gd name="connsiteX8" fmla="*/ 0 w 4287"/>
                <a:gd name="connsiteY8" fmla="*/ 141860 h 14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 h="148290">
                  <a:moveTo>
                    <a:pt x="938" y="142664"/>
                  </a:moveTo>
                  <a:cubicBezTo>
                    <a:pt x="1353" y="142854"/>
                    <a:pt x="1715" y="143127"/>
                    <a:pt x="2009" y="143468"/>
                  </a:cubicBezTo>
                  <a:cubicBezTo>
                    <a:pt x="2304" y="143772"/>
                    <a:pt x="2532" y="144137"/>
                    <a:pt x="2679" y="144539"/>
                  </a:cubicBezTo>
                  <a:lnTo>
                    <a:pt x="3484" y="145879"/>
                  </a:lnTo>
                  <a:cubicBezTo>
                    <a:pt x="3484" y="145879"/>
                    <a:pt x="3484" y="145879"/>
                    <a:pt x="3484" y="145879"/>
                  </a:cubicBezTo>
                  <a:lnTo>
                    <a:pt x="4287" y="148290"/>
                  </a:lnTo>
                  <a:lnTo>
                    <a:pt x="4287" y="0"/>
                  </a:lnTo>
                  <a:cubicBezTo>
                    <a:pt x="1688" y="1157"/>
                    <a:pt x="13" y="3724"/>
                    <a:pt x="0" y="6564"/>
                  </a:cubicBezTo>
                  <a:lnTo>
                    <a:pt x="0" y="141860"/>
                  </a:lnTo>
                  <a:close/>
                </a:path>
              </a:pathLst>
            </a:custGeom>
            <a:solidFill>
              <a:srgbClr val="000000"/>
            </a:solidFill>
            <a:ln w="12700" cap="flat">
              <a:noFill/>
              <a:prstDash val="solid"/>
              <a:miter/>
            </a:ln>
          </p:spPr>
          <p:txBody>
            <a:bodyPr rtlCol="0" anchor="ctr"/>
            <a:lstStyle/>
            <a:p>
              <a:endParaRPr lang="en-US"/>
            </a:p>
          </p:txBody>
        </p:sp>
        <p:sp>
          <p:nvSpPr>
            <p:cNvPr id="1389" name="Freeform: Shape 1388">
              <a:extLst>
                <a:ext uri="{FF2B5EF4-FFF2-40B4-BE49-F238E27FC236}">
                  <a16:creationId xmlns:a16="http://schemas.microsoft.com/office/drawing/2014/main" id="{466ED065-7FA3-41A9-A783-DC454DC83F4D}"/>
                </a:ext>
              </a:extLst>
            </p:cNvPr>
            <p:cNvSpPr/>
            <p:nvPr/>
          </p:nvSpPr>
          <p:spPr>
            <a:xfrm>
              <a:off x="12346969" y="5595703"/>
              <a:ext cx="7636" cy="176309"/>
            </a:xfrm>
            <a:custGeom>
              <a:avLst/>
              <a:gdLst>
                <a:gd name="connsiteX0" fmla="*/ 0 w 7636"/>
                <a:gd name="connsiteY0" fmla="*/ 23 h 176309"/>
                <a:gd name="connsiteX1" fmla="*/ 0 w 7636"/>
                <a:gd name="connsiteY1" fmla="*/ 23 h 176309"/>
                <a:gd name="connsiteX2" fmla="*/ 0 w 7636"/>
                <a:gd name="connsiteY2" fmla="*/ 158092 h 176309"/>
                <a:gd name="connsiteX3" fmla="*/ 670 w 7636"/>
                <a:gd name="connsiteY3" fmla="*/ 160369 h 176309"/>
                <a:gd name="connsiteX4" fmla="*/ 670 w 7636"/>
                <a:gd name="connsiteY4" fmla="*/ 160369 h 176309"/>
                <a:gd name="connsiteX5" fmla="*/ 5359 w 7636"/>
                <a:gd name="connsiteY5" fmla="*/ 176310 h 176309"/>
                <a:gd name="connsiteX6" fmla="*/ 7637 w 7636"/>
                <a:gd name="connsiteY6" fmla="*/ 176310 h 176309"/>
                <a:gd name="connsiteX7" fmla="*/ 7637 w 7636"/>
                <a:gd name="connsiteY7" fmla="*/ 7257 h 176309"/>
                <a:gd name="connsiteX8" fmla="*/ 7637 w 7636"/>
                <a:gd name="connsiteY8" fmla="*/ 6453 h 176309"/>
                <a:gd name="connsiteX9" fmla="*/ 0 w 7636"/>
                <a:gd name="connsiteY9" fmla="*/ 23 h 17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6" h="176309">
                  <a:moveTo>
                    <a:pt x="0" y="23"/>
                  </a:moveTo>
                  <a:lnTo>
                    <a:pt x="0" y="23"/>
                  </a:lnTo>
                  <a:lnTo>
                    <a:pt x="0" y="158092"/>
                  </a:lnTo>
                  <a:lnTo>
                    <a:pt x="670" y="160369"/>
                  </a:lnTo>
                  <a:lnTo>
                    <a:pt x="670" y="160369"/>
                  </a:lnTo>
                  <a:lnTo>
                    <a:pt x="5359" y="176310"/>
                  </a:lnTo>
                  <a:lnTo>
                    <a:pt x="7637" y="176310"/>
                  </a:lnTo>
                  <a:lnTo>
                    <a:pt x="7637" y="7257"/>
                  </a:lnTo>
                  <a:cubicBezTo>
                    <a:pt x="7637" y="7257"/>
                    <a:pt x="7637" y="7257"/>
                    <a:pt x="7637" y="6453"/>
                  </a:cubicBezTo>
                  <a:cubicBezTo>
                    <a:pt x="7288" y="2580"/>
                    <a:pt x="3872" y="-287"/>
                    <a:pt x="0" y="23"/>
                  </a:cubicBezTo>
                  <a:close/>
                </a:path>
              </a:pathLst>
            </a:custGeom>
            <a:solidFill>
              <a:srgbClr val="000000"/>
            </a:solidFill>
            <a:ln w="12700" cap="flat">
              <a:noFill/>
              <a:prstDash val="solid"/>
              <a:miter/>
            </a:ln>
          </p:spPr>
          <p:txBody>
            <a:bodyPr rtlCol="0" anchor="ctr"/>
            <a:lstStyle/>
            <a:p>
              <a:endParaRPr lang="en-US"/>
            </a:p>
          </p:txBody>
        </p:sp>
        <p:sp>
          <p:nvSpPr>
            <p:cNvPr id="1390" name="Freeform: Shape 1389">
              <a:extLst>
                <a:ext uri="{FF2B5EF4-FFF2-40B4-BE49-F238E27FC236}">
                  <a16:creationId xmlns:a16="http://schemas.microsoft.com/office/drawing/2014/main" id="{A108A48B-19CF-4446-A978-DE4C0A7D3D9D}"/>
                </a:ext>
              </a:extLst>
            </p:cNvPr>
            <p:cNvSpPr/>
            <p:nvPr/>
          </p:nvSpPr>
          <p:spPr>
            <a:xfrm>
              <a:off x="12673204" y="5566925"/>
              <a:ext cx="14469" cy="206025"/>
            </a:xfrm>
            <a:custGeom>
              <a:avLst/>
              <a:gdLst>
                <a:gd name="connsiteX0" fmla="*/ 9244 w 14469"/>
                <a:gd name="connsiteY0" fmla="*/ 206025 h 206025"/>
                <a:gd name="connsiteX1" fmla="*/ 9244 w 14469"/>
                <a:gd name="connsiteY1" fmla="*/ 199328 h 206025"/>
                <a:gd name="connsiteX2" fmla="*/ 10585 w 14469"/>
                <a:gd name="connsiteY2" fmla="*/ 198122 h 206025"/>
                <a:gd name="connsiteX3" fmla="*/ 14470 w 14469"/>
                <a:gd name="connsiteY3" fmla="*/ 198122 h 206025"/>
                <a:gd name="connsiteX4" fmla="*/ 14470 w 14469"/>
                <a:gd name="connsiteY4" fmla="*/ 6832 h 206025"/>
                <a:gd name="connsiteX5" fmla="*/ 11924 w 14469"/>
                <a:gd name="connsiteY5" fmla="*/ 1340 h 206025"/>
                <a:gd name="connsiteX6" fmla="*/ 9244 w 14469"/>
                <a:gd name="connsiteY6" fmla="*/ 0 h 206025"/>
                <a:gd name="connsiteX7" fmla="*/ 7235 w 14469"/>
                <a:gd name="connsiteY7" fmla="*/ 0 h 206025"/>
                <a:gd name="connsiteX8" fmla="*/ 0 w 14469"/>
                <a:gd name="connsiteY8" fmla="*/ 6564 h 206025"/>
                <a:gd name="connsiteX9" fmla="*/ 0 w 14469"/>
                <a:gd name="connsiteY9" fmla="*/ 7234 h 206025"/>
                <a:gd name="connsiteX10" fmla="*/ 0 w 14469"/>
                <a:gd name="connsiteY10" fmla="*/ 205490 h 206025"/>
                <a:gd name="connsiteX11" fmla="*/ 7369 w 14469"/>
                <a:gd name="connsiteY11" fmla="*/ 205490 h 20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206025">
                  <a:moveTo>
                    <a:pt x="9244" y="206025"/>
                  </a:moveTo>
                  <a:lnTo>
                    <a:pt x="9244" y="199328"/>
                  </a:lnTo>
                  <a:cubicBezTo>
                    <a:pt x="9312" y="198640"/>
                    <a:pt x="9888" y="198118"/>
                    <a:pt x="10585" y="198122"/>
                  </a:cubicBezTo>
                  <a:lnTo>
                    <a:pt x="14470" y="198122"/>
                  </a:lnTo>
                  <a:lnTo>
                    <a:pt x="14470" y="6832"/>
                  </a:lnTo>
                  <a:cubicBezTo>
                    <a:pt x="14416" y="4729"/>
                    <a:pt x="13492" y="2742"/>
                    <a:pt x="11924" y="1340"/>
                  </a:cubicBezTo>
                  <a:cubicBezTo>
                    <a:pt x="11120" y="737"/>
                    <a:pt x="10209" y="283"/>
                    <a:pt x="9244" y="0"/>
                  </a:cubicBezTo>
                  <a:lnTo>
                    <a:pt x="7235" y="0"/>
                  </a:lnTo>
                  <a:cubicBezTo>
                    <a:pt x="3484" y="-16"/>
                    <a:pt x="348" y="2832"/>
                    <a:pt x="0" y="6564"/>
                  </a:cubicBezTo>
                  <a:cubicBezTo>
                    <a:pt x="0" y="6564"/>
                    <a:pt x="0" y="6564"/>
                    <a:pt x="0" y="7234"/>
                  </a:cubicBezTo>
                  <a:lnTo>
                    <a:pt x="0" y="205490"/>
                  </a:lnTo>
                  <a:lnTo>
                    <a:pt x="7369" y="205490"/>
                  </a:lnTo>
                  <a:close/>
                </a:path>
              </a:pathLst>
            </a:custGeom>
            <a:solidFill>
              <a:schemeClr val="accent5"/>
            </a:solidFill>
            <a:ln w="12700" cap="flat">
              <a:noFill/>
              <a:prstDash val="solid"/>
              <a:miter/>
            </a:ln>
          </p:spPr>
          <p:txBody>
            <a:bodyPr rtlCol="0" anchor="ctr"/>
            <a:lstStyle/>
            <a:p>
              <a:endParaRPr lang="en-US"/>
            </a:p>
          </p:txBody>
        </p:sp>
        <p:sp>
          <p:nvSpPr>
            <p:cNvPr id="1391" name="Freeform: Shape 1390">
              <a:extLst>
                <a:ext uri="{FF2B5EF4-FFF2-40B4-BE49-F238E27FC236}">
                  <a16:creationId xmlns:a16="http://schemas.microsoft.com/office/drawing/2014/main" id="{DB594DC4-F301-420A-A7A7-D5016A9C3B2A}"/>
                </a:ext>
              </a:extLst>
            </p:cNvPr>
            <p:cNvSpPr/>
            <p:nvPr/>
          </p:nvSpPr>
          <p:spPr>
            <a:xfrm>
              <a:off x="12685128" y="5767592"/>
              <a:ext cx="2545" cy="11654"/>
            </a:xfrm>
            <a:custGeom>
              <a:avLst/>
              <a:gdLst>
                <a:gd name="connsiteX0" fmla="*/ 0 w 2545"/>
                <a:gd name="connsiteY0" fmla="*/ 0 h 11654"/>
                <a:gd name="connsiteX1" fmla="*/ 0 w 2545"/>
                <a:gd name="connsiteY1" fmla="*/ 6162 h 11654"/>
                <a:gd name="connsiteX2" fmla="*/ 2546 w 2545"/>
                <a:gd name="connsiteY2" fmla="*/ 11654 h 11654"/>
                <a:gd name="connsiteX3" fmla="*/ 2546 w 2545"/>
                <a:gd name="connsiteY3" fmla="*/ 0 h 11654"/>
              </a:gdLst>
              <a:ahLst/>
              <a:cxnLst>
                <a:cxn ang="0">
                  <a:pos x="connsiteX0" y="connsiteY0"/>
                </a:cxn>
                <a:cxn ang="0">
                  <a:pos x="connsiteX1" y="connsiteY1"/>
                </a:cxn>
                <a:cxn ang="0">
                  <a:pos x="connsiteX2" y="connsiteY2"/>
                </a:cxn>
                <a:cxn ang="0">
                  <a:pos x="connsiteX3" y="connsiteY3"/>
                </a:cxn>
              </a:cxnLst>
              <a:rect l="l" t="t" r="r" b="b"/>
              <a:pathLst>
                <a:path w="2545" h="11654">
                  <a:moveTo>
                    <a:pt x="0" y="0"/>
                  </a:moveTo>
                  <a:lnTo>
                    <a:pt x="0" y="6162"/>
                  </a:lnTo>
                  <a:cubicBezTo>
                    <a:pt x="1568" y="7563"/>
                    <a:pt x="2492" y="9551"/>
                    <a:pt x="2546" y="11654"/>
                  </a:cubicBezTo>
                  <a:lnTo>
                    <a:pt x="2546" y="0"/>
                  </a:lnTo>
                  <a:close/>
                </a:path>
              </a:pathLst>
            </a:custGeom>
            <a:solidFill>
              <a:srgbClr val="000000"/>
            </a:solidFill>
            <a:ln w="12700" cap="flat">
              <a:noFill/>
              <a:prstDash val="solid"/>
              <a:miter/>
            </a:ln>
          </p:spPr>
          <p:txBody>
            <a:bodyPr rtlCol="0" anchor="ctr"/>
            <a:lstStyle/>
            <a:p>
              <a:endParaRPr lang="en-US"/>
            </a:p>
          </p:txBody>
        </p:sp>
        <p:sp>
          <p:nvSpPr>
            <p:cNvPr id="1392" name="Freeform: Shape 1391">
              <a:extLst>
                <a:ext uri="{FF2B5EF4-FFF2-40B4-BE49-F238E27FC236}">
                  <a16:creationId xmlns:a16="http://schemas.microsoft.com/office/drawing/2014/main" id="{57828186-D755-47B4-8BF2-06FEC7600D5E}"/>
                </a:ext>
              </a:extLst>
            </p:cNvPr>
            <p:cNvSpPr/>
            <p:nvPr/>
          </p:nvSpPr>
          <p:spPr>
            <a:xfrm>
              <a:off x="12337992" y="5765851"/>
              <a:ext cx="1339" cy="7099"/>
            </a:xfrm>
            <a:custGeom>
              <a:avLst/>
              <a:gdLst>
                <a:gd name="connsiteX0" fmla="*/ 1339 w 1339"/>
                <a:gd name="connsiteY0" fmla="*/ 7100 h 7099"/>
                <a:gd name="connsiteX1" fmla="*/ 1339 w 1339"/>
                <a:gd name="connsiteY1" fmla="*/ 0 h 7099"/>
                <a:gd name="connsiteX2" fmla="*/ 0 w 1339"/>
                <a:gd name="connsiteY2" fmla="*/ 0 h 7099"/>
                <a:gd name="connsiteX3" fmla="*/ 0 w 1339"/>
                <a:gd name="connsiteY3" fmla="*/ 7100 h 7099"/>
                <a:gd name="connsiteX4" fmla="*/ 1339 w 1339"/>
                <a:gd name="connsiteY4" fmla="*/ 7100 h 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 h="7099">
                  <a:moveTo>
                    <a:pt x="1339" y="7100"/>
                  </a:moveTo>
                  <a:lnTo>
                    <a:pt x="1339" y="0"/>
                  </a:lnTo>
                  <a:lnTo>
                    <a:pt x="0" y="0"/>
                  </a:lnTo>
                  <a:lnTo>
                    <a:pt x="0" y="7100"/>
                  </a:lnTo>
                  <a:cubicBezTo>
                    <a:pt x="442" y="6974"/>
                    <a:pt x="897" y="6974"/>
                    <a:pt x="1339" y="7100"/>
                  </a:cubicBezTo>
                  <a:close/>
                </a:path>
              </a:pathLst>
            </a:custGeom>
            <a:solidFill>
              <a:srgbClr val="000000"/>
            </a:solidFill>
            <a:ln w="12700" cap="flat">
              <a:noFill/>
              <a:prstDash val="solid"/>
              <a:miter/>
            </a:ln>
          </p:spPr>
          <p:txBody>
            <a:bodyPr rtlCol="0" anchor="ctr"/>
            <a:lstStyle/>
            <a:p>
              <a:endParaRPr lang="en-US"/>
            </a:p>
          </p:txBody>
        </p:sp>
        <p:sp>
          <p:nvSpPr>
            <p:cNvPr id="1393" name="Freeform: Shape 1392">
              <a:extLst>
                <a:ext uri="{FF2B5EF4-FFF2-40B4-BE49-F238E27FC236}">
                  <a16:creationId xmlns:a16="http://schemas.microsoft.com/office/drawing/2014/main" id="{AE509787-E862-4D4D-ACF5-88650D3CFF40}"/>
                </a:ext>
              </a:extLst>
            </p:cNvPr>
            <p:cNvSpPr/>
            <p:nvPr/>
          </p:nvSpPr>
          <p:spPr>
            <a:xfrm>
              <a:off x="12333303" y="5760224"/>
              <a:ext cx="1607" cy="5626"/>
            </a:xfrm>
            <a:custGeom>
              <a:avLst/>
              <a:gdLst>
                <a:gd name="connsiteX0" fmla="*/ 0 w 1607"/>
                <a:gd name="connsiteY0" fmla="*/ 0 h 5626"/>
                <a:gd name="connsiteX1" fmla="*/ 1608 w 1607"/>
                <a:gd name="connsiteY1" fmla="*/ 5626 h 5626"/>
                <a:gd name="connsiteX2" fmla="*/ 1608 w 1607"/>
                <a:gd name="connsiteY2" fmla="*/ 2813 h 5626"/>
                <a:gd name="connsiteX3" fmla="*/ 0 w 1607"/>
                <a:gd name="connsiteY3" fmla="*/ 0 h 5626"/>
              </a:gdLst>
              <a:ahLst/>
              <a:cxnLst>
                <a:cxn ang="0">
                  <a:pos x="connsiteX0" y="connsiteY0"/>
                </a:cxn>
                <a:cxn ang="0">
                  <a:pos x="connsiteX1" y="connsiteY1"/>
                </a:cxn>
                <a:cxn ang="0">
                  <a:pos x="connsiteX2" y="connsiteY2"/>
                </a:cxn>
                <a:cxn ang="0">
                  <a:pos x="connsiteX3" y="connsiteY3"/>
                </a:cxn>
              </a:cxnLst>
              <a:rect l="l" t="t" r="r" b="b"/>
              <a:pathLst>
                <a:path w="1607" h="5626">
                  <a:moveTo>
                    <a:pt x="0" y="0"/>
                  </a:moveTo>
                  <a:lnTo>
                    <a:pt x="1608" y="5626"/>
                  </a:lnTo>
                  <a:lnTo>
                    <a:pt x="1608" y="2813"/>
                  </a:lnTo>
                  <a:cubicBezTo>
                    <a:pt x="871" y="2007"/>
                    <a:pt x="321" y="1045"/>
                    <a:pt x="0" y="0"/>
                  </a:cubicBezTo>
                  <a:close/>
                </a:path>
              </a:pathLst>
            </a:custGeom>
            <a:solidFill>
              <a:srgbClr val="000000"/>
            </a:solidFill>
            <a:ln w="12700" cap="flat">
              <a:noFill/>
              <a:prstDash val="solid"/>
              <a:miter/>
            </a:ln>
          </p:spPr>
          <p:txBody>
            <a:bodyPr rtlCol="0" anchor="ctr"/>
            <a:lstStyle/>
            <a:p>
              <a:endParaRPr lang="en-US"/>
            </a:p>
          </p:txBody>
        </p:sp>
        <p:sp>
          <p:nvSpPr>
            <p:cNvPr id="1394" name="Freeform: Shape 1393">
              <a:extLst>
                <a:ext uri="{FF2B5EF4-FFF2-40B4-BE49-F238E27FC236}">
                  <a16:creationId xmlns:a16="http://schemas.microsoft.com/office/drawing/2014/main" id="{DDB44C30-E091-468D-9F77-6FEAEC0F4746}"/>
                </a:ext>
              </a:extLst>
            </p:cNvPr>
            <p:cNvSpPr/>
            <p:nvPr/>
          </p:nvSpPr>
          <p:spPr>
            <a:xfrm>
              <a:off x="12346566" y="5756072"/>
              <a:ext cx="5359" cy="15940"/>
            </a:xfrm>
            <a:custGeom>
              <a:avLst/>
              <a:gdLst>
                <a:gd name="connsiteX0" fmla="*/ 0 w 5359"/>
                <a:gd name="connsiteY0" fmla="*/ 5760 h 15940"/>
                <a:gd name="connsiteX1" fmla="*/ 0 w 5359"/>
                <a:gd name="connsiteY1" fmla="*/ 15941 h 15940"/>
                <a:gd name="connsiteX2" fmla="*/ 5359 w 5359"/>
                <a:gd name="connsiteY2" fmla="*/ 15941 h 15940"/>
                <a:gd name="connsiteX3" fmla="*/ 671 w 5359"/>
                <a:gd name="connsiteY3" fmla="*/ 0 h 15940"/>
                <a:gd name="connsiteX4" fmla="*/ 0 w 5359"/>
                <a:gd name="connsiteY4" fmla="*/ 5760 h 1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9" h="15940">
                  <a:moveTo>
                    <a:pt x="0" y="5760"/>
                  </a:moveTo>
                  <a:lnTo>
                    <a:pt x="0" y="15941"/>
                  </a:lnTo>
                  <a:lnTo>
                    <a:pt x="5359" y="15941"/>
                  </a:lnTo>
                  <a:lnTo>
                    <a:pt x="671" y="0"/>
                  </a:lnTo>
                  <a:cubicBezTo>
                    <a:pt x="1193" y="1934"/>
                    <a:pt x="965" y="3999"/>
                    <a:pt x="0" y="5760"/>
                  </a:cubicBezTo>
                  <a:close/>
                </a:path>
              </a:pathLst>
            </a:custGeom>
            <a:solidFill>
              <a:srgbClr val="000000"/>
            </a:solidFill>
            <a:ln w="12700" cap="flat">
              <a:noFill/>
              <a:prstDash val="solid"/>
              <a:miter/>
            </a:ln>
          </p:spPr>
          <p:txBody>
            <a:bodyPr rtlCol="0" anchor="ctr"/>
            <a:lstStyle/>
            <a:p>
              <a:endParaRPr lang="en-US"/>
            </a:p>
          </p:txBody>
        </p:sp>
        <p:sp>
          <p:nvSpPr>
            <p:cNvPr id="1395" name="Freeform: Shape 1394">
              <a:extLst>
                <a:ext uri="{FF2B5EF4-FFF2-40B4-BE49-F238E27FC236}">
                  <a16:creationId xmlns:a16="http://schemas.microsoft.com/office/drawing/2014/main" id="{C120E171-9B6D-44F5-AE8F-D2D4D27CFA3E}"/>
                </a:ext>
              </a:extLst>
            </p:cNvPr>
            <p:cNvSpPr/>
            <p:nvPr/>
          </p:nvSpPr>
          <p:spPr>
            <a:xfrm>
              <a:off x="12341609" y="5764243"/>
              <a:ext cx="2411" cy="7769"/>
            </a:xfrm>
            <a:custGeom>
              <a:avLst/>
              <a:gdLst>
                <a:gd name="connsiteX0" fmla="*/ 2411 w 2411"/>
                <a:gd name="connsiteY0" fmla="*/ 7770 h 7769"/>
                <a:gd name="connsiteX1" fmla="*/ 2411 w 2411"/>
                <a:gd name="connsiteY1" fmla="*/ 0 h 7769"/>
                <a:gd name="connsiteX2" fmla="*/ 804 w 2411"/>
                <a:gd name="connsiteY2" fmla="*/ 938 h 7769"/>
                <a:gd name="connsiteX3" fmla="*/ 0 w 2411"/>
                <a:gd name="connsiteY3" fmla="*/ 938 h 7769"/>
                <a:gd name="connsiteX4" fmla="*/ 0 w 2411"/>
                <a:gd name="connsiteY4" fmla="*/ 7636 h 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769">
                  <a:moveTo>
                    <a:pt x="2411" y="7770"/>
                  </a:moveTo>
                  <a:lnTo>
                    <a:pt x="2411" y="0"/>
                  </a:lnTo>
                  <a:lnTo>
                    <a:pt x="804" y="938"/>
                  </a:lnTo>
                  <a:lnTo>
                    <a:pt x="0" y="938"/>
                  </a:lnTo>
                  <a:lnTo>
                    <a:pt x="0" y="7636"/>
                  </a:lnTo>
                  <a:close/>
                </a:path>
              </a:pathLst>
            </a:custGeom>
            <a:solidFill>
              <a:srgbClr val="000000"/>
            </a:solidFill>
            <a:ln w="12700" cap="flat">
              <a:noFill/>
              <a:prstDash val="solid"/>
              <a:miter/>
            </a:ln>
          </p:spPr>
          <p:txBody>
            <a:bodyPr rtlCol="0" anchor="ctr"/>
            <a:lstStyle/>
            <a:p>
              <a:endParaRPr lang="en-US"/>
            </a:p>
          </p:txBody>
        </p:sp>
        <p:sp>
          <p:nvSpPr>
            <p:cNvPr id="1396" name="Freeform: Shape 1395">
              <a:extLst>
                <a:ext uri="{FF2B5EF4-FFF2-40B4-BE49-F238E27FC236}">
                  <a16:creationId xmlns:a16="http://schemas.microsoft.com/office/drawing/2014/main" id="{5DC19ED5-BB6E-46AC-BE81-897297D61CC4}"/>
                </a:ext>
              </a:extLst>
            </p:cNvPr>
            <p:cNvSpPr/>
            <p:nvPr/>
          </p:nvSpPr>
          <p:spPr>
            <a:xfrm>
              <a:off x="9837837" y="6492030"/>
              <a:ext cx="2545" cy="361683"/>
            </a:xfrm>
            <a:custGeom>
              <a:avLst/>
              <a:gdLst>
                <a:gd name="connsiteX0" fmla="*/ 1608 w 2545"/>
                <a:gd name="connsiteY0" fmla="*/ 804 h 361683"/>
                <a:gd name="connsiteX1" fmla="*/ 0 w 2545"/>
                <a:gd name="connsiteY1" fmla="*/ 804 h 361683"/>
                <a:gd name="connsiteX2" fmla="*/ 0 w 2545"/>
                <a:gd name="connsiteY2" fmla="*/ 361683 h 361683"/>
                <a:gd name="connsiteX3" fmla="*/ 2546 w 2545"/>
                <a:gd name="connsiteY3" fmla="*/ 361683 h 361683"/>
                <a:gd name="connsiteX4" fmla="*/ 2546 w 2545"/>
                <a:gd name="connsiteY4" fmla="*/ 0 h 361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361683">
                  <a:moveTo>
                    <a:pt x="1608" y="804"/>
                  </a:moveTo>
                  <a:lnTo>
                    <a:pt x="0" y="804"/>
                  </a:lnTo>
                  <a:lnTo>
                    <a:pt x="0" y="361683"/>
                  </a:lnTo>
                  <a:lnTo>
                    <a:pt x="2546" y="361683"/>
                  </a:lnTo>
                  <a:lnTo>
                    <a:pt x="2546" y="0"/>
                  </a:lnTo>
                  <a:close/>
                </a:path>
              </a:pathLst>
            </a:custGeom>
            <a:solidFill>
              <a:srgbClr val="000000"/>
            </a:solidFill>
            <a:ln w="12700" cap="flat">
              <a:noFill/>
              <a:prstDash val="solid"/>
              <a:miter/>
            </a:ln>
          </p:spPr>
          <p:txBody>
            <a:bodyPr rtlCol="0" anchor="ctr"/>
            <a:lstStyle/>
            <a:p>
              <a:endParaRPr lang="en-US"/>
            </a:p>
          </p:txBody>
        </p:sp>
        <p:sp>
          <p:nvSpPr>
            <p:cNvPr id="1397" name="Freeform: Shape 1396">
              <a:extLst>
                <a:ext uri="{FF2B5EF4-FFF2-40B4-BE49-F238E27FC236}">
                  <a16:creationId xmlns:a16="http://schemas.microsoft.com/office/drawing/2014/main" id="{7A01C2C3-0262-4C12-9A9D-C1246078CCA0}"/>
                </a:ext>
              </a:extLst>
            </p:cNvPr>
            <p:cNvSpPr/>
            <p:nvPr/>
          </p:nvSpPr>
          <p:spPr>
            <a:xfrm>
              <a:off x="9840115" y="6475553"/>
              <a:ext cx="71811" cy="17414"/>
            </a:xfrm>
            <a:custGeom>
              <a:avLst/>
              <a:gdLst>
                <a:gd name="connsiteX0" fmla="*/ 68462 w 71811"/>
                <a:gd name="connsiteY0" fmla="*/ 13128 h 17414"/>
                <a:gd name="connsiteX1" fmla="*/ 66855 w 71811"/>
                <a:gd name="connsiteY1" fmla="*/ 12056 h 17414"/>
                <a:gd name="connsiteX2" fmla="*/ 66855 w 71811"/>
                <a:gd name="connsiteY2" fmla="*/ 11252 h 17414"/>
                <a:gd name="connsiteX3" fmla="*/ 65917 w 71811"/>
                <a:gd name="connsiteY3" fmla="*/ 9779 h 17414"/>
                <a:gd name="connsiteX4" fmla="*/ 65917 w 71811"/>
                <a:gd name="connsiteY4" fmla="*/ 8707 h 17414"/>
                <a:gd name="connsiteX5" fmla="*/ 65917 w 71811"/>
                <a:gd name="connsiteY5" fmla="*/ 7234 h 17414"/>
                <a:gd name="connsiteX6" fmla="*/ 65917 w 71811"/>
                <a:gd name="connsiteY6" fmla="*/ 7234 h 17414"/>
                <a:gd name="connsiteX7" fmla="*/ 65917 w 71811"/>
                <a:gd name="connsiteY7" fmla="*/ 0 h 17414"/>
                <a:gd name="connsiteX8" fmla="*/ 0 w 71811"/>
                <a:gd name="connsiteY8" fmla="*/ 2813 h 17414"/>
                <a:gd name="connsiteX9" fmla="*/ 0 w 71811"/>
                <a:gd name="connsiteY9" fmla="*/ 2813 h 17414"/>
                <a:gd name="connsiteX10" fmla="*/ 7369 w 71811"/>
                <a:gd name="connsiteY10" fmla="*/ 10047 h 17414"/>
                <a:gd name="connsiteX11" fmla="*/ 0 w 71811"/>
                <a:gd name="connsiteY11" fmla="*/ 17414 h 17414"/>
                <a:gd name="connsiteX12" fmla="*/ 1339 w 71811"/>
                <a:gd name="connsiteY12" fmla="*/ 17414 h 17414"/>
                <a:gd name="connsiteX13" fmla="*/ 71812 w 71811"/>
                <a:gd name="connsiteY13" fmla="*/ 14467 h 17414"/>
                <a:gd name="connsiteX14" fmla="*/ 71812 w 71811"/>
                <a:gd name="connsiteY14" fmla="*/ 14467 h 17414"/>
                <a:gd name="connsiteX15" fmla="*/ 70204 w 71811"/>
                <a:gd name="connsiteY15" fmla="*/ 14467 h 1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11" h="17414">
                  <a:moveTo>
                    <a:pt x="68462" y="13128"/>
                  </a:moveTo>
                  <a:lnTo>
                    <a:pt x="66855" y="12056"/>
                  </a:lnTo>
                  <a:cubicBezTo>
                    <a:pt x="66815" y="11788"/>
                    <a:pt x="66815" y="11520"/>
                    <a:pt x="66855" y="11252"/>
                  </a:cubicBezTo>
                  <a:cubicBezTo>
                    <a:pt x="66452" y="10824"/>
                    <a:pt x="66131" y="10328"/>
                    <a:pt x="65917" y="9779"/>
                  </a:cubicBezTo>
                  <a:cubicBezTo>
                    <a:pt x="65837" y="9431"/>
                    <a:pt x="65837" y="9056"/>
                    <a:pt x="65917" y="8707"/>
                  </a:cubicBezTo>
                  <a:cubicBezTo>
                    <a:pt x="65850" y="8212"/>
                    <a:pt x="65850" y="7729"/>
                    <a:pt x="65917" y="7234"/>
                  </a:cubicBezTo>
                  <a:lnTo>
                    <a:pt x="65917" y="7234"/>
                  </a:lnTo>
                  <a:lnTo>
                    <a:pt x="65917" y="0"/>
                  </a:lnTo>
                  <a:lnTo>
                    <a:pt x="0" y="2813"/>
                  </a:lnTo>
                  <a:lnTo>
                    <a:pt x="0" y="2813"/>
                  </a:lnTo>
                  <a:cubicBezTo>
                    <a:pt x="4019" y="2813"/>
                    <a:pt x="7302" y="6028"/>
                    <a:pt x="7369" y="10047"/>
                  </a:cubicBezTo>
                  <a:cubicBezTo>
                    <a:pt x="7369" y="14119"/>
                    <a:pt x="4072" y="17414"/>
                    <a:pt x="0" y="17414"/>
                  </a:cubicBezTo>
                  <a:lnTo>
                    <a:pt x="1339" y="17414"/>
                  </a:lnTo>
                  <a:lnTo>
                    <a:pt x="71812" y="14467"/>
                  </a:lnTo>
                  <a:lnTo>
                    <a:pt x="71812" y="14467"/>
                  </a:lnTo>
                  <a:lnTo>
                    <a:pt x="70204" y="14467"/>
                  </a:lnTo>
                  <a:close/>
                </a:path>
              </a:pathLst>
            </a:custGeom>
            <a:solidFill>
              <a:srgbClr val="000000"/>
            </a:solidFill>
            <a:ln w="12700" cap="flat">
              <a:noFill/>
              <a:prstDash val="solid"/>
              <a:miter/>
            </a:ln>
          </p:spPr>
          <p:txBody>
            <a:bodyPr rtlCol="0" anchor="ctr"/>
            <a:lstStyle/>
            <a:p>
              <a:endParaRPr lang="en-US"/>
            </a:p>
          </p:txBody>
        </p:sp>
        <p:sp>
          <p:nvSpPr>
            <p:cNvPr id="1398" name="Freeform: Shape 1397">
              <a:extLst>
                <a:ext uri="{FF2B5EF4-FFF2-40B4-BE49-F238E27FC236}">
                  <a16:creationId xmlns:a16="http://schemas.microsoft.com/office/drawing/2014/main" id="{695700B8-CEF5-414D-94D4-74BC4B7E45E8}"/>
                </a:ext>
              </a:extLst>
            </p:cNvPr>
            <p:cNvSpPr/>
            <p:nvPr/>
          </p:nvSpPr>
          <p:spPr>
            <a:xfrm>
              <a:off x="11791766" y="6481715"/>
              <a:ext cx="94588" cy="2545"/>
            </a:xfrm>
            <a:custGeom>
              <a:avLst/>
              <a:gdLst>
                <a:gd name="connsiteX0" fmla="*/ 0 w 94588"/>
                <a:gd name="connsiteY0" fmla="*/ 1206 h 2545"/>
                <a:gd name="connsiteX1" fmla="*/ 0 w 94588"/>
                <a:gd name="connsiteY1" fmla="*/ 2545 h 2545"/>
                <a:gd name="connsiteX2" fmla="*/ 94588 w 94588"/>
                <a:gd name="connsiteY2" fmla="*/ 2545 h 2545"/>
                <a:gd name="connsiteX3" fmla="*/ 94588 w 94588"/>
                <a:gd name="connsiteY3" fmla="*/ 0 h 2545"/>
                <a:gd name="connsiteX4" fmla="*/ 804 w 94588"/>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8" h="2545">
                  <a:moveTo>
                    <a:pt x="0" y="1206"/>
                  </a:moveTo>
                  <a:cubicBezTo>
                    <a:pt x="80" y="1648"/>
                    <a:pt x="80" y="2103"/>
                    <a:pt x="0" y="2545"/>
                  </a:cubicBezTo>
                  <a:lnTo>
                    <a:pt x="94588" y="2545"/>
                  </a:lnTo>
                  <a:lnTo>
                    <a:pt x="94588" y="0"/>
                  </a:lnTo>
                  <a:lnTo>
                    <a:pt x="804" y="0"/>
                  </a:lnTo>
                  <a:close/>
                </a:path>
              </a:pathLst>
            </a:custGeom>
            <a:solidFill>
              <a:srgbClr val="000000"/>
            </a:solidFill>
            <a:ln w="12700" cap="flat">
              <a:noFill/>
              <a:prstDash val="solid"/>
              <a:miter/>
            </a:ln>
          </p:spPr>
          <p:txBody>
            <a:bodyPr rtlCol="0" anchor="ctr"/>
            <a:lstStyle/>
            <a:p>
              <a:endParaRPr lang="en-US"/>
            </a:p>
          </p:txBody>
        </p:sp>
        <p:sp>
          <p:nvSpPr>
            <p:cNvPr id="1399" name="Freeform: Shape 1398">
              <a:extLst>
                <a:ext uri="{FF2B5EF4-FFF2-40B4-BE49-F238E27FC236}">
                  <a16:creationId xmlns:a16="http://schemas.microsoft.com/office/drawing/2014/main" id="{6BDC580F-01A2-497E-A348-A980ED6080D4}"/>
                </a:ext>
              </a:extLst>
            </p:cNvPr>
            <p:cNvSpPr/>
            <p:nvPr/>
          </p:nvSpPr>
          <p:spPr>
            <a:xfrm>
              <a:off x="12344021" y="5594118"/>
              <a:ext cx="2545" cy="159676"/>
            </a:xfrm>
            <a:custGeom>
              <a:avLst/>
              <a:gdLst>
                <a:gd name="connsiteX0" fmla="*/ 2546 w 2545"/>
                <a:gd name="connsiteY0" fmla="*/ 159676 h 159676"/>
                <a:gd name="connsiteX1" fmla="*/ 2546 w 2545"/>
                <a:gd name="connsiteY1" fmla="*/ 1340 h 159676"/>
                <a:gd name="connsiteX2" fmla="*/ 1206 w 2545"/>
                <a:gd name="connsiteY2" fmla="*/ 0 h 159676"/>
                <a:gd name="connsiteX3" fmla="*/ 0 w 2545"/>
                <a:gd name="connsiteY3" fmla="*/ 1340 h 159676"/>
                <a:gd name="connsiteX4" fmla="*/ 0 w 2545"/>
                <a:gd name="connsiteY4" fmla="*/ 150969 h 15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59676">
                  <a:moveTo>
                    <a:pt x="2546" y="159676"/>
                  </a:moveTo>
                  <a:lnTo>
                    <a:pt x="2546" y="1340"/>
                  </a:lnTo>
                  <a:cubicBezTo>
                    <a:pt x="2546" y="600"/>
                    <a:pt x="1943" y="0"/>
                    <a:pt x="1206" y="0"/>
                  </a:cubicBezTo>
                  <a:cubicBezTo>
                    <a:pt x="523" y="70"/>
                    <a:pt x="0" y="650"/>
                    <a:pt x="0" y="1340"/>
                  </a:cubicBezTo>
                  <a:lnTo>
                    <a:pt x="0" y="150969"/>
                  </a:lnTo>
                  <a:close/>
                </a:path>
              </a:pathLst>
            </a:custGeom>
            <a:solidFill>
              <a:srgbClr val="000000"/>
            </a:solidFill>
            <a:ln w="12700" cap="flat">
              <a:noFill/>
              <a:prstDash val="solid"/>
              <a:miter/>
            </a:ln>
          </p:spPr>
          <p:txBody>
            <a:bodyPr rtlCol="0" anchor="ctr"/>
            <a:lstStyle/>
            <a:p>
              <a:endParaRPr lang="en-US"/>
            </a:p>
          </p:txBody>
        </p:sp>
        <p:sp>
          <p:nvSpPr>
            <p:cNvPr id="1400" name="Freeform: Shape 1399">
              <a:extLst>
                <a:ext uri="{FF2B5EF4-FFF2-40B4-BE49-F238E27FC236}">
                  <a16:creationId xmlns:a16="http://schemas.microsoft.com/office/drawing/2014/main" id="{DBA29026-4827-46EF-9A17-D7B00599AAA4}"/>
                </a:ext>
              </a:extLst>
            </p:cNvPr>
            <p:cNvSpPr/>
            <p:nvPr/>
          </p:nvSpPr>
          <p:spPr>
            <a:xfrm>
              <a:off x="12344021" y="5761832"/>
              <a:ext cx="2545" cy="10180"/>
            </a:xfrm>
            <a:custGeom>
              <a:avLst/>
              <a:gdLst>
                <a:gd name="connsiteX0" fmla="*/ 1206 w 2545"/>
                <a:gd name="connsiteY0" fmla="*/ 10181 h 10180"/>
                <a:gd name="connsiteX1" fmla="*/ 2546 w 2545"/>
                <a:gd name="connsiteY1" fmla="*/ 10181 h 10180"/>
                <a:gd name="connsiteX2" fmla="*/ 2546 w 2545"/>
                <a:gd name="connsiteY2" fmla="*/ 0 h 10180"/>
                <a:gd name="connsiteX3" fmla="*/ 0 w 2545"/>
                <a:gd name="connsiteY3" fmla="*/ 2411 h 10180"/>
                <a:gd name="connsiteX4" fmla="*/ 0 w 2545"/>
                <a:gd name="connsiteY4" fmla="*/ 10181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0180">
                  <a:moveTo>
                    <a:pt x="1206" y="10181"/>
                  </a:moveTo>
                  <a:lnTo>
                    <a:pt x="2546" y="10181"/>
                  </a:lnTo>
                  <a:lnTo>
                    <a:pt x="2546" y="0"/>
                  </a:lnTo>
                  <a:cubicBezTo>
                    <a:pt x="1836" y="936"/>
                    <a:pt x="978" y="1751"/>
                    <a:pt x="0" y="2411"/>
                  </a:cubicBezTo>
                  <a:lnTo>
                    <a:pt x="0" y="10181"/>
                  </a:lnTo>
                  <a:close/>
                </a:path>
              </a:pathLst>
            </a:custGeom>
            <a:solidFill>
              <a:srgbClr val="000000"/>
            </a:solidFill>
            <a:ln w="12700" cap="flat">
              <a:noFill/>
              <a:prstDash val="solid"/>
              <a:miter/>
            </a:ln>
          </p:spPr>
          <p:txBody>
            <a:bodyPr rtlCol="0" anchor="ctr"/>
            <a:lstStyle/>
            <a:p>
              <a:endParaRPr lang="en-US"/>
            </a:p>
          </p:txBody>
        </p:sp>
        <p:sp>
          <p:nvSpPr>
            <p:cNvPr id="1401" name="Freeform: Shape 1400">
              <a:extLst>
                <a:ext uri="{FF2B5EF4-FFF2-40B4-BE49-F238E27FC236}">
                  <a16:creationId xmlns:a16="http://schemas.microsoft.com/office/drawing/2014/main" id="{FC720BD6-DA71-4A24-A90C-D4561F30B2B1}"/>
                </a:ext>
              </a:extLst>
            </p:cNvPr>
            <p:cNvSpPr/>
            <p:nvPr/>
          </p:nvSpPr>
          <p:spPr>
            <a:xfrm>
              <a:off x="12683789" y="5765047"/>
              <a:ext cx="33494" cy="2545"/>
            </a:xfrm>
            <a:custGeom>
              <a:avLst/>
              <a:gdLst>
                <a:gd name="connsiteX0" fmla="*/ 1339 w 33494"/>
                <a:gd name="connsiteY0" fmla="*/ 1206 h 2545"/>
                <a:gd name="connsiteX1" fmla="*/ 1339 w 33494"/>
                <a:gd name="connsiteY1" fmla="*/ 2545 h 2545"/>
                <a:gd name="connsiteX2" fmla="*/ 33494 w 33494"/>
                <a:gd name="connsiteY2" fmla="*/ 2545 h 2545"/>
                <a:gd name="connsiteX3" fmla="*/ 33494 w 33494"/>
                <a:gd name="connsiteY3" fmla="*/ 0 h 2545"/>
                <a:gd name="connsiteX4" fmla="*/ 0 w 33494"/>
                <a:gd name="connsiteY4" fmla="*/ 0 h 2545"/>
                <a:gd name="connsiteX5" fmla="*/ 1339 w 33494"/>
                <a:gd name="connsiteY5"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94" h="2545">
                  <a:moveTo>
                    <a:pt x="1339" y="1206"/>
                  </a:moveTo>
                  <a:lnTo>
                    <a:pt x="1339" y="2545"/>
                  </a:lnTo>
                  <a:lnTo>
                    <a:pt x="33494" y="2545"/>
                  </a:lnTo>
                  <a:lnTo>
                    <a:pt x="33494" y="0"/>
                  </a:lnTo>
                  <a:lnTo>
                    <a:pt x="0" y="0"/>
                  </a:lnTo>
                  <a:cubicBezTo>
                    <a:pt x="697" y="-4"/>
                    <a:pt x="1272" y="518"/>
                    <a:pt x="1339" y="1206"/>
                  </a:cubicBezTo>
                  <a:close/>
                </a:path>
              </a:pathLst>
            </a:custGeom>
            <a:solidFill>
              <a:srgbClr val="000000"/>
            </a:solidFill>
            <a:ln w="12700" cap="flat">
              <a:noFill/>
              <a:prstDash val="solid"/>
              <a:miter/>
            </a:ln>
          </p:spPr>
          <p:txBody>
            <a:bodyPr rtlCol="0" anchor="ctr"/>
            <a:lstStyle/>
            <a:p>
              <a:endParaRPr lang="en-US"/>
            </a:p>
          </p:txBody>
        </p:sp>
        <p:sp>
          <p:nvSpPr>
            <p:cNvPr id="1402" name="Freeform: Shape 1401">
              <a:extLst>
                <a:ext uri="{FF2B5EF4-FFF2-40B4-BE49-F238E27FC236}">
                  <a16:creationId xmlns:a16="http://schemas.microsoft.com/office/drawing/2014/main" id="{5351AD36-9658-4158-B6C0-27048F7E3A91}"/>
                </a:ext>
              </a:extLst>
            </p:cNvPr>
            <p:cNvSpPr/>
            <p:nvPr/>
          </p:nvSpPr>
          <p:spPr>
            <a:xfrm>
              <a:off x="12717283" y="5766252"/>
              <a:ext cx="14603" cy="308100"/>
            </a:xfrm>
            <a:custGeom>
              <a:avLst/>
              <a:gdLst>
                <a:gd name="connsiteX0" fmla="*/ 7234 w 14603"/>
                <a:gd name="connsiteY0" fmla="*/ 7368 h 308100"/>
                <a:gd name="connsiteX1" fmla="*/ 0 w 14603"/>
                <a:gd name="connsiteY1" fmla="*/ 0 h 308100"/>
                <a:gd name="connsiteX2" fmla="*/ 0 w 14603"/>
                <a:gd name="connsiteY2" fmla="*/ 308100 h 308100"/>
                <a:gd name="connsiteX3" fmla="*/ 14603 w 14603"/>
                <a:gd name="connsiteY3" fmla="*/ 308100 h 308100"/>
                <a:gd name="connsiteX4" fmla="*/ 14603 w 14603"/>
                <a:gd name="connsiteY4" fmla="*/ 0 h 308100"/>
                <a:gd name="connsiteX5" fmla="*/ 7234 w 14603"/>
                <a:gd name="connsiteY5" fmla="*/ 7368 h 30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08100">
                  <a:moveTo>
                    <a:pt x="7234" y="7368"/>
                  </a:moveTo>
                  <a:cubicBezTo>
                    <a:pt x="3215" y="7294"/>
                    <a:pt x="0" y="4017"/>
                    <a:pt x="0" y="0"/>
                  </a:cubicBezTo>
                  <a:lnTo>
                    <a:pt x="0" y="308100"/>
                  </a:lnTo>
                  <a:lnTo>
                    <a:pt x="14603" y="308100"/>
                  </a:lnTo>
                  <a:lnTo>
                    <a:pt x="14603" y="0"/>
                  </a:lnTo>
                  <a:cubicBezTo>
                    <a:pt x="14603" y="4070"/>
                    <a:pt x="11308" y="7368"/>
                    <a:pt x="7234" y="7368"/>
                  </a:cubicBezTo>
                  <a:close/>
                </a:path>
              </a:pathLst>
            </a:custGeom>
            <a:solidFill>
              <a:srgbClr val="000000"/>
            </a:solidFill>
            <a:ln w="12700" cap="flat">
              <a:noFill/>
              <a:prstDash val="solid"/>
              <a:miter/>
            </a:ln>
          </p:spPr>
          <p:txBody>
            <a:bodyPr rtlCol="0" anchor="ctr"/>
            <a:lstStyle/>
            <a:p>
              <a:endParaRPr lang="en-US"/>
            </a:p>
          </p:txBody>
        </p:sp>
        <p:sp>
          <p:nvSpPr>
            <p:cNvPr id="1403" name="Freeform: Shape 1402">
              <a:extLst>
                <a:ext uri="{FF2B5EF4-FFF2-40B4-BE49-F238E27FC236}">
                  <a16:creationId xmlns:a16="http://schemas.microsoft.com/office/drawing/2014/main" id="{D445E36A-B8B9-4730-BB32-C8E678668E9B}"/>
                </a:ext>
              </a:extLst>
            </p:cNvPr>
            <p:cNvSpPr/>
            <p:nvPr/>
          </p:nvSpPr>
          <p:spPr>
            <a:xfrm>
              <a:off x="9944483" y="6482921"/>
              <a:ext cx="6967" cy="1205"/>
            </a:xfrm>
            <a:custGeom>
              <a:avLst/>
              <a:gdLst>
                <a:gd name="connsiteX0" fmla="*/ 6297 w 6967"/>
                <a:gd name="connsiteY0" fmla="*/ 0 h 1205"/>
                <a:gd name="connsiteX1" fmla="*/ 0 w 6967"/>
                <a:gd name="connsiteY1" fmla="*/ 0 h 1205"/>
                <a:gd name="connsiteX2" fmla="*/ 0 w 6967"/>
                <a:gd name="connsiteY2" fmla="*/ 1206 h 1205"/>
                <a:gd name="connsiteX3" fmla="*/ 6967 w 6967"/>
                <a:gd name="connsiteY3" fmla="*/ 1206 h 1205"/>
                <a:gd name="connsiteX4" fmla="*/ 6967 w 6967"/>
                <a:gd name="connsiteY4" fmla="*/ 1206 h 1205"/>
                <a:gd name="connsiteX5" fmla="*/ 6297 w 6967"/>
                <a:gd name="connsiteY5" fmla="*/ 0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7" h="1205">
                  <a:moveTo>
                    <a:pt x="6297" y="0"/>
                  </a:moveTo>
                  <a:lnTo>
                    <a:pt x="0" y="0"/>
                  </a:lnTo>
                  <a:cubicBezTo>
                    <a:pt x="0" y="0"/>
                    <a:pt x="0" y="804"/>
                    <a:pt x="0" y="1206"/>
                  </a:cubicBezTo>
                  <a:lnTo>
                    <a:pt x="6967" y="1206"/>
                  </a:lnTo>
                  <a:lnTo>
                    <a:pt x="6967" y="1206"/>
                  </a:lnTo>
                  <a:cubicBezTo>
                    <a:pt x="6967" y="1206"/>
                    <a:pt x="6431" y="0"/>
                    <a:pt x="6297" y="0"/>
                  </a:cubicBezTo>
                  <a:close/>
                </a:path>
              </a:pathLst>
            </a:custGeom>
            <a:solidFill>
              <a:srgbClr val="000000"/>
            </a:solidFill>
            <a:ln w="12700" cap="flat">
              <a:noFill/>
              <a:prstDash val="solid"/>
              <a:miter/>
            </a:ln>
          </p:spPr>
          <p:txBody>
            <a:bodyPr rtlCol="0" anchor="ctr"/>
            <a:lstStyle/>
            <a:p>
              <a:endParaRPr lang="en-US"/>
            </a:p>
          </p:txBody>
        </p:sp>
        <p:sp>
          <p:nvSpPr>
            <p:cNvPr id="1404" name="Freeform: Shape 1403">
              <a:extLst>
                <a:ext uri="{FF2B5EF4-FFF2-40B4-BE49-F238E27FC236}">
                  <a16:creationId xmlns:a16="http://schemas.microsoft.com/office/drawing/2014/main" id="{5F77D9C7-189F-4DE2-905C-CA59E9370D38}"/>
                </a:ext>
              </a:extLst>
            </p:cNvPr>
            <p:cNvSpPr/>
            <p:nvPr/>
          </p:nvSpPr>
          <p:spPr>
            <a:xfrm>
              <a:off x="10609682" y="6481581"/>
              <a:ext cx="75965" cy="2545"/>
            </a:xfrm>
            <a:custGeom>
              <a:avLst/>
              <a:gdLst>
                <a:gd name="connsiteX0" fmla="*/ 52653 w 75965"/>
                <a:gd name="connsiteY0" fmla="*/ 1340 h 2545"/>
                <a:gd name="connsiteX1" fmla="*/ 51447 w 75965"/>
                <a:gd name="connsiteY1" fmla="*/ 0 h 2545"/>
                <a:gd name="connsiteX2" fmla="*/ 0 w 75965"/>
                <a:gd name="connsiteY2" fmla="*/ 0 h 2545"/>
                <a:gd name="connsiteX3" fmla="*/ 0 w 75965"/>
                <a:gd name="connsiteY3" fmla="*/ 2545 h 2545"/>
                <a:gd name="connsiteX4" fmla="*/ 75965 w 75965"/>
                <a:gd name="connsiteY4" fmla="*/ 2545 h 2545"/>
                <a:gd name="connsiteX5" fmla="*/ 75027 w 75965"/>
                <a:gd name="connsiteY5"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5" h="2545">
                  <a:moveTo>
                    <a:pt x="52653" y="1340"/>
                  </a:moveTo>
                  <a:cubicBezTo>
                    <a:pt x="51969" y="1273"/>
                    <a:pt x="51447" y="697"/>
                    <a:pt x="51447" y="0"/>
                  </a:cubicBezTo>
                  <a:lnTo>
                    <a:pt x="0" y="0"/>
                  </a:lnTo>
                  <a:lnTo>
                    <a:pt x="0" y="2545"/>
                  </a:lnTo>
                  <a:lnTo>
                    <a:pt x="75965" y="2545"/>
                  </a:lnTo>
                  <a:lnTo>
                    <a:pt x="75027" y="1340"/>
                  </a:lnTo>
                  <a:close/>
                </a:path>
              </a:pathLst>
            </a:custGeom>
            <a:solidFill>
              <a:srgbClr val="000000"/>
            </a:solidFill>
            <a:ln w="12700" cap="flat">
              <a:noFill/>
              <a:prstDash val="solid"/>
              <a:miter/>
            </a:ln>
          </p:spPr>
          <p:txBody>
            <a:bodyPr rtlCol="0" anchor="ctr"/>
            <a:lstStyle/>
            <a:p>
              <a:endParaRPr lang="en-US"/>
            </a:p>
          </p:txBody>
        </p:sp>
        <p:sp>
          <p:nvSpPr>
            <p:cNvPr id="1405" name="Freeform: Shape 1404">
              <a:extLst>
                <a:ext uri="{FF2B5EF4-FFF2-40B4-BE49-F238E27FC236}">
                  <a16:creationId xmlns:a16="http://schemas.microsoft.com/office/drawing/2014/main" id="{3353E908-6714-47FB-8939-40C7C34CBDBE}"/>
                </a:ext>
              </a:extLst>
            </p:cNvPr>
            <p:cNvSpPr/>
            <p:nvPr/>
          </p:nvSpPr>
          <p:spPr>
            <a:xfrm>
              <a:off x="12334910" y="5784605"/>
              <a:ext cx="2679" cy="620621"/>
            </a:xfrm>
            <a:custGeom>
              <a:avLst/>
              <a:gdLst>
                <a:gd name="connsiteX0" fmla="*/ 2680 w 2679"/>
                <a:gd name="connsiteY0" fmla="*/ 620621 h 620621"/>
                <a:gd name="connsiteX1" fmla="*/ 2680 w 2679"/>
                <a:gd name="connsiteY1" fmla="*/ 1741 h 620621"/>
                <a:gd name="connsiteX2" fmla="*/ 0 w 2679"/>
                <a:gd name="connsiteY2" fmla="*/ 0 h 620621"/>
                <a:gd name="connsiteX3" fmla="*/ 0 w 2679"/>
                <a:gd name="connsiteY3" fmla="*/ 620621 h 620621"/>
                <a:gd name="connsiteX4" fmla="*/ 2680 w 2679"/>
                <a:gd name="connsiteY4" fmla="*/ 620621 h 620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20621">
                  <a:moveTo>
                    <a:pt x="2680" y="620621"/>
                  </a:moveTo>
                  <a:lnTo>
                    <a:pt x="2680" y="1741"/>
                  </a:lnTo>
                  <a:cubicBezTo>
                    <a:pt x="1662" y="1372"/>
                    <a:pt x="751" y="777"/>
                    <a:pt x="0" y="0"/>
                  </a:cubicBezTo>
                  <a:lnTo>
                    <a:pt x="0" y="620621"/>
                  </a:lnTo>
                  <a:lnTo>
                    <a:pt x="2680" y="620621"/>
                  </a:lnTo>
                  <a:close/>
                </a:path>
              </a:pathLst>
            </a:custGeom>
            <a:solidFill>
              <a:srgbClr val="000000"/>
            </a:solidFill>
            <a:ln w="12700" cap="flat">
              <a:noFill/>
              <a:prstDash val="solid"/>
              <a:miter/>
            </a:ln>
          </p:spPr>
          <p:txBody>
            <a:bodyPr rtlCol="0" anchor="ctr"/>
            <a:lstStyle/>
            <a:p>
              <a:endParaRPr lang="en-US"/>
            </a:p>
          </p:txBody>
        </p:sp>
        <p:sp>
          <p:nvSpPr>
            <p:cNvPr id="1406" name="Freeform: Shape 1405">
              <a:extLst>
                <a:ext uri="{FF2B5EF4-FFF2-40B4-BE49-F238E27FC236}">
                  <a16:creationId xmlns:a16="http://schemas.microsoft.com/office/drawing/2014/main" id="{D58D51BE-B858-4265-B6D8-25B0C8842C03}"/>
                </a:ext>
              </a:extLst>
            </p:cNvPr>
            <p:cNvSpPr/>
            <p:nvPr/>
          </p:nvSpPr>
          <p:spPr>
            <a:xfrm>
              <a:off x="12334910" y="5763038"/>
              <a:ext cx="2679" cy="11252"/>
            </a:xfrm>
            <a:custGeom>
              <a:avLst/>
              <a:gdLst>
                <a:gd name="connsiteX0" fmla="*/ 2680 w 2679"/>
                <a:gd name="connsiteY0" fmla="*/ 1875 h 11252"/>
                <a:gd name="connsiteX1" fmla="*/ 0 w 2679"/>
                <a:gd name="connsiteY1" fmla="*/ 0 h 11252"/>
                <a:gd name="connsiteX2" fmla="*/ 0 w 2679"/>
                <a:gd name="connsiteY2" fmla="*/ 11252 h 11252"/>
                <a:gd name="connsiteX3" fmla="*/ 2680 w 2679"/>
                <a:gd name="connsiteY3" fmla="*/ 9511 h 11252"/>
              </a:gdLst>
              <a:ahLst/>
              <a:cxnLst>
                <a:cxn ang="0">
                  <a:pos x="connsiteX0" y="connsiteY0"/>
                </a:cxn>
                <a:cxn ang="0">
                  <a:pos x="connsiteX1" y="connsiteY1"/>
                </a:cxn>
                <a:cxn ang="0">
                  <a:pos x="connsiteX2" y="connsiteY2"/>
                </a:cxn>
                <a:cxn ang="0">
                  <a:pos x="connsiteX3" y="connsiteY3"/>
                </a:cxn>
              </a:cxnLst>
              <a:rect l="l" t="t" r="r" b="b"/>
              <a:pathLst>
                <a:path w="2679" h="11252">
                  <a:moveTo>
                    <a:pt x="2680" y="1875"/>
                  </a:moveTo>
                  <a:cubicBezTo>
                    <a:pt x="1689" y="1408"/>
                    <a:pt x="778" y="773"/>
                    <a:pt x="0" y="0"/>
                  </a:cubicBezTo>
                  <a:lnTo>
                    <a:pt x="0" y="11252"/>
                  </a:lnTo>
                  <a:cubicBezTo>
                    <a:pt x="791" y="10521"/>
                    <a:pt x="1689" y="9932"/>
                    <a:pt x="2680" y="9511"/>
                  </a:cubicBezTo>
                  <a:close/>
                </a:path>
              </a:pathLst>
            </a:custGeom>
            <a:solidFill>
              <a:srgbClr val="000000"/>
            </a:solidFill>
            <a:ln w="12700" cap="flat">
              <a:noFill/>
              <a:prstDash val="solid"/>
              <a:miter/>
            </a:ln>
          </p:spPr>
          <p:txBody>
            <a:bodyPr rtlCol="0" anchor="ctr"/>
            <a:lstStyle/>
            <a:p>
              <a:endParaRPr lang="en-US"/>
            </a:p>
          </p:txBody>
        </p:sp>
        <p:sp>
          <p:nvSpPr>
            <p:cNvPr id="1407" name="Freeform: Shape 1406">
              <a:extLst>
                <a:ext uri="{FF2B5EF4-FFF2-40B4-BE49-F238E27FC236}">
                  <a16:creationId xmlns:a16="http://schemas.microsoft.com/office/drawing/2014/main" id="{F212A8CA-F5C1-4BF0-B61D-1E61567C8BDB}"/>
                </a:ext>
              </a:extLst>
            </p:cNvPr>
            <p:cNvSpPr/>
            <p:nvPr/>
          </p:nvSpPr>
          <p:spPr>
            <a:xfrm>
              <a:off x="12338930" y="5765315"/>
              <a:ext cx="2679" cy="7635"/>
            </a:xfrm>
            <a:custGeom>
              <a:avLst/>
              <a:gdLst>
                <a:gd name="connsiteX0" fmla="*/ 1340 w 2679"/>
                <a:gd name="connsiteY0" fmla="*/ 6698 h 7635"/>
                <a:gd name="connsiteX1" fmla="*/ 2680 w 2679"/>
                <a:gd name="connsiteY1" fmla="*/ 6698 h 7635"/>
                <a:gd name="connsiteX2" fmla="*/ 2680 w 2679"/>
                <a:gd name="connsiteY2" fmla="*/ 0 h 7635"/>
                <a:gd name="connsiteX3" fmla="*/ 1340 w 2679"/>
                <a:gd name="connsiteY3" fmla="*/ 0 h 7635"/>
                <a:gd name="connsiteX4" fmla="*/ 0 w 2679"/>
                <a:gd name="connsiteY4" fmla="*/ 0 h 7635"/>
                <a:gd name="connsiteX5" fmla="*/ 0 w 2679"/>
                <a:gd name="connsiteY5" fmla="*/ 7636 h 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7635">
                  <a:moveTo>
                    <a:pt x="1340" y="6698"/>
                  </a:moveTo>
                  <a:lnTo>
                    <a:pt x="2680" y="6698"/>
                  </a:lnTo>
                  <a:lnTo>
                    <a:pt x="2680" y="0"/>
                  </a:lnTo>
                  <a:lnTo>
                    <a:pt x="1340" y="0"/>
                  </a:lnTo>
                  <a:lnTo>
                    <a:pt x="0" y="0"/>
                  </a:lnTo>
                  <a:lnTo>
                    <a:pt x="0" y="7636"/>
                  </a:lnTo>
                  <a:close/>
                </a:path>
              </a:pathLst>
            </a:custGeom>
            <a:solidFill>
              <a:srgbClr val="000000"/>
            </a:solidFill>
            <a:ln w="12700" cap="flat">
              <a:noFill/>
              <a:prstDash val="solid"/>
              <a:miter/>
            </a:ln>
          </p:spPr>
          <p:txBody>
            <a:bodyPr rtlCol="0" anchor="ctr"/>
            <a:lstStyle/>
            <a:p>
              <a:endParaRPr lang="en-US"/>
            </a:p>
          </p:txBody>
        </p:sp>
        <p:sp>
          <p:nvSpPr>
            <p:cNvPr id="1408" name="Freeform: Shape 1407">
              <a:extLst>
                <a:ext uri="{FF2B5EF4-FFF2-40B4-BE49-F238E27FC236}">
                  <a16:creationId xmlns:a16="http://schemas.microsoft.com/office/drawing/2014/main" id="{BFC2468E-5F67-4296-99FB-00AED84B78BC}"/>
                </a:ext>
              </a:extLst>
            </p:cNvPr>
            <p:cNvSpPr/>
            <p:nvPr/>
          </p:nvSpPr>
          <p:spPr>
            <a:xfrm>
              <a:off x="12339332" y="5738256"/>
              <a:ext cx="1206" cy="803"/>
            </a:xfrm>
            <a:custGeom>
              <a:avLst/>
              <a:gdLst>
                <a:gd name="connsiteX0" fmla="*/ 0 w 1206"/>
                <a:gd name="connsiteY0" fmla="*/ 0 h 803"/>
                <a:gd name="connsiteX1" fmla="*/ 1206 w 1206"/>
                <a:gd name="connsiteY1" fmla="*/ 804 h 803"/>
                <a:gd name="connsiteX2" fmla="*/ 402 w 1206"/>
                <a:gd name="connsiteY2" fmla="*/ 0 h 803"/>
              </a:gdLst>
              <a:ahLst/>
              <a:cxnLst>
                <a:cxn ang="0">
                  <a:pos x="connsiteX0" y="connsiteY0"/>
                </a:cxn>
                <a:cxn ang="0">
                  <a:pos x="connsiteX1" y="connsiteY1"/>
                </a:cxn>
                <a:cxn ang="0">
                  <a:pos x="connsiteX2" y="connsiteY2"/>
                </a:cxn>
              </a:cxnLst>
              <a:rect l="l" t="t" r="r" b="b"/>
              <a:pathLst>
                <a:path w="1206" h="803">
                  <a:moveTo>
                    <a:pt x="0" y="0"/>
                  </a:moveTo>
                  <a:lnTo>
                    <a:pt x="1206" y="804"/>
                  </a:lnTo>
                  <a:lnTo>
                    <a:pt x="402" y="0"/>
                  </a:lnTo>
                  <a:close/>
                </a:path>
              </a:pathLst>
            </a:custGeom>
            <a:solidFill>
              <a:srgbClr val="000000"/>
            </a:solidFill>
            <a:ln w="12700" cap="flat">
              <a:noFill/>
              <a:prstDash val="solid"/>
              <a:miter/>
            </a:ln>
          </p:spPr>
          <p:txBody>
            <a:bodyPr rtlCol="0" anchor="ctr"/>
            <a:lstStyle/>
            <a:p>
              <a:endParaRPr lang="en-US"/>
            </a:p>
          </p:txBody>
        </p:sp>
        <p:sp>
          <p:nvSpPr>
            <p:cNvPr id="1409" name="Freeform: Shape 1408">
              <a:extLst>
                <a:ext uri="{FF2B5EF4-FFF2-40B4-BE49-F238E27FC236}">
                  <a16:creationId xmlns:a16="http://schemas.microsoft.com/office/drawing/2014/main" id="{C49B37AF-7298-491D-B9DE-6002AC859C90}"/>
                </a:ext>
              </a:extLst>
            </p:cNvPr>
            <p:cNvSpPr/>
            <p:nvPr/>
          </p:nvSpPr>
          <p:spPr>
            <a:xfrm>
              <a:off x="12330490" y="5742676"/>
              <a:ext cx="16752" cy="22638"/>
            </a:xfrm>
            <a:custGeom>
              <a:avLst/>
              <a:gdLst>
                <a:gd name="connsiteX0" fmla="*/ 12727 w 16752"/>
                <a:gd name="connsiteY0" fmla="*/ 0 h 22638"/>
                <a:gd name="connsiteX1" fmla="*/ 12727 w 16752"/>
                <a:gd name="connsiteY1" fmla="*/ 0 h 22638"/>
                <a:gd name="connsiteX2" fmla="*/ 12727 w 16752"/>
                <a:gd name="connsiteY2" fmla="*/ 2411 h 22638"/>
                <a:gd name="connsiteX3" fmla="*/ 5493 w 16752"/>
                <a:gd name="connsiteY3" fmla="*/ 9779 h 22638"/>
                <a:gd name="connsiteX4" fmla="*/ 0 w 16752"/>
                <a:gd name="connsiteY4" fmla="*/ 9779 h 22638"/>
                <a:gd name="connsiteX5" fmla="*/ 2546 w 16752"/>
                <a:gd name="connsiteY5" fmla="*/ 17950 h 22638"/>
                <a:gd name="connsiteX6" fmla="*/ 2546 w 16752"/>
                <a:gd name="connsiteY6" fmla="*/ 17950 h 22638"/>
                <a:gd name="connsiteX7" fmla="*/ 4153 w 16752"/>
                <a:gd name="connsiteY7" fmla="*/ 20763 h 22638"/>
                <a:gd name="connsiteX8" fmla="*/ 6832 w 16752"/>
                <a:gd name="connsiteY8" fmla="*/ 22639 h 22638"/>
                <a:gd name="connsiteX9" fmla="*/ 8172 w 16752"/>
                <a:gd name="connsiteY9" fmla="*/ 22639 h 22638"/>
                <a:gd name="connsiteX10" fmla="*/ 9512 w 16752"/>
                <a:gd name="connsiteY10" fmla="*/ 22639 h 22638"/>
                <a:gd name="connsiteX11" fmla="*/ 11656 w 16752"/>
                <a:gd name="connsiteY11" fmla="*/ 22639 h 22638"/>
                <a:gd name="connsiteX12" fmla="*/ 13264 w 16752"/>
                <a:gd name="connsiteY12" fmla="*/ 21701 h 22638"/>
                <a:gd name="connsiteX13" fmla="*/ 15809 w 16752"/>
                <a:gd name="connsiteY13" fmla="*/ 19290 h 22638"/>
                <a:gd name="connsiteX14" fmla="*/ 16479 w 16752"/>
                <a:gd name="connsiteY14" fmla="*/ 13530 h 22638"/>
                <a:gd name="connsiteX15" fmla="*/ 16479 w 16752"/>
                <a:gd name="connsiteY15" fmla="*/ 13530 h 22638"/>
                <a:gd name="connsiteX16" fmla="*/ 15809 w 16752"/>
                <a:gd name="connsiteY16" fmla="*/ 11252 h 22638"/>
                <a:gd name="connsiteX17" fmla="*/ 13264 w 16752"/>
                <a:gd name="connsiteY17" fmla="*/ 2545 h 22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52" h="22638">
                  <a:moveTo>
                    <a:pt x="12727" y="0"/>
                  </a:moveTo>
                  <a:cubicBezTo>
                    <a:pt x="12727" y="0"/>
                    <a:pt x="12727" y="0"/>
                    <a:pt x="12727" y="0"/>
                  </a:cubicBezTo>
                  <a:cubicBezTo>
                    <a:pt x="12848" y="798"/>
                    <a:pt x="12848" y="1613"/>
                    <a:pt x="12727" y="2411"/>
                  </a:cubicBezTo>
                  <a:cubicBezTo>
                    <a:pt x="12727" y="6429"/>
                    <a:pt x="9512" y="9705"/>
                    <a:pt x="5493" y="9779"/>
                  </a:cubicBezTo>
                  <a:lnTo>
                    <a:pt x="0" y="9779"/>
                  </a:lnTo>
                  <a:lnTo>
                    <a:pt x="2546" y="17950"/>
                  </a:lnTo>
                  <a:lnTo>
                    <a:pt x="2546" y="17950"/>
                  </a:lnTo>
                  <a:cubicBezTo>
                    <a:pt x="2867" y="18995"/>
                    <a:pt x="3416" y="19957"/>
                    <a:pt x="4153" y="20763"/>
                  </a:cubicBezTo>
                  <a:cubicBezTo>
                    <a:pt x="4930" y="21536"/>
                    <a:pt x="5841" y="22171"/>
                    <a:pt x="6832" y="22639"/>
                  </a:cubicBezTo>
                  <a:lnTo>
                    <a:pt x="8172" y="22639"/>
                  </a:lnTo>
                  <a:lnTo>
                    <a:pt x="9512" y="22639"/>
                  </a:lnTo>
                  <a:lnTo>
                    <a:pt x="11656" y="22639"/>
                  </a:lnTo>
                  <a:lnTo>
                    <a:pt x="13264" y="21701"/>
                  </a:lnTo>
                  <a:cubicBezTo>
                    <a:pt x="14242" y="21041"/>
                    <a:pt x="15099" y="20226"/>
                    <a:pt x="15809" y="19290"/>
                  </a:cubicBezTo>
                  <a:cubicBezTo>
                    <a:pt x="16773" y="17528"/>
                    <a:pt x="17002" y="15464"/>
                    <a:pt x="16479" y="13530"/>
                  </a:cubicBezTo>
                  <a:lnTo>
                    <a:pt x="16479" y="13530"/>
                  </a:lnTo>
                  <a:lnTo>
                    <a:pt x="15809" y="11252"/>
                  </a:lnTo>
                  <a:lnTo>
                    <a:pt x="13264" y="2545"/>
                  </a:lnTo>
                  <a:close/>
                </a:path>
              </a:pathLst>
            </a:custGeom>
            <a:solidFill>
              <a:srgbClr val="000000"/>
            </a:solidFill>
            <a:ln w="12700" cap="flat">
              <a:noFill/>
              <a:prstDash val="solid"/>
              <a:miter/>
            </a:ln>
          </p:spPr>
          <p:txBody>
            <a:bodyPr rtlCol="0" anchor="ctr"/>
            <a:lstStyle/>
            <a:p>
              <a:endParaRPr lang="en-US"/>
            </a:p>
          </p:txBody>
        </p:sp>
        <p:sp>
          <p:nvSpPr>
            <p:cNvPr id="1410" name="Freeform: Shape 1409">
              <a:extLst>
                <a:ext uri="{FF2B5EF4-FFF2-40B4-BE49-F238E27FC236}">
                  <a16:creationId xmlns:a16="http://schemas.microsoft.com/office/drawing/2014/main" id="{AF9E0B4D-0301-4EDD-A57A-0B86FE39822F}"/>
                </a:ext>
              </a:extLst>
            </p:cNvPr>
            <p:cNvSpPr/>
            <p:nvPr/>
          </p:nvSpPr>
          <p:spPr>
            <a:xfrm>
              <a:off x="11759477" y="6821028"/>
              <a:ext cx="126608" cy="2679"/>
            </a:xfrm>
            <a:custGeom>
              <a:avLst/>
              <a:gdLst>
                <a:gd name="connsiteX0" fmla="*/ 4421 w 126608"/>
                <a:gd name="connsiteY0" fmla="*/ 0 h 2679"/>
                <a:gd name="connsiteX1" fmla="*/ 0 w 126608"/>
                <a:gd name="connsiteY1" fmla="*/ 2679 h 2679"/>
                <a:gd name="connsiteX2" fmla="*/ 126609 w 126608"/>
                <a:gd name="connsiteY2" fmla="*/ 2679 h 2679"/>
                <a:gd name="connsiteX3" fmla="*/ 126609 w 126608"/>
                <a:gd name="connsiteY3" fmla="*/ 1339 h 2679"/>
                <a:gd name="connsiteX4" fmla="*/ 126609 w 126608"/>
                <a:gd name="connsiteY4" fmla="*/ 0 h 2679"/>
                <a:gd name="connsiteX5" fmla="*/ 4421 w 126608"/>
                <a:gd name="connsiteY5" fmla="*/ 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2679">
                  <a:moveTo>
                    <a:pt x="4421" y="0"/>
                  </a:moveTo>
                  <a:lnTo>
                    <a:pt x="0" y="2679"/>
                  </a:lnTo>
                  <a:lnTo>
                    <a:pt x="126609" y="2679"/>
                  </a:lnTo>
                  <a:lnTo>
                    <a:pt x="126609" y="1339"/>
                  </a:lnTo>
                  <a:lnTo>
                    <a:pt x="126609" y="0"/>
                  </a:lnTo>
                  <a:lnTo>
                    <a:pt x="4421" y="0"/>
                  </a:lnTo>
                  <a:close/>
                </a:path>
              </a:pathLst>
            </a:custGeom>
            <a:solidFill>
              <a:srgbClr val="000000"/>
            </a:solidFill>
            <a:ln w="12700" cap="flat">
              <a:noFill/>
              <a:prstDash val="solid"/>
              <a:miter/>
            </a:ln>
          </p:spPr>
          <p:txBody>
            <a:bodyPr rtlCol="0" anchor="ctr"/>
            <a:lstStyle/>
            <a:p>
              <a:endParaRPr lang="en-US"/>
            </a:p>
          </p:txBody>
        </p:sp>
        <p:sp>
          <p:nvSpPr>
            <p:cNvPr id="1411" name="Freeform: Shape 1410">
              <a:extLst>
                <a:ext uri="{FF2B5EF4-FFF2-40B4-BE49-F238E27FC236}">
                  <a16:creationId xmlns:a16="http://schemas.microsoft.com/office/drawing/2014/main" id="{DAC6AC3A-903F-4D6E-B610-55317F31F7D4}"/>
                </a:ext>
              </a:extLst>
            </p:cNvPr>
            <p:cNvSpPr/>
            <p:nvPr/>
          </p:nvSpPr>
          <p:spPr>
            <a:xfrm>
              <a:off x="11791632" y="6799460"/>
              <a:ext cx="93784" cy="2545"/>
            </a:xfrm>
            <a:custGeom>
              <a:avLst/>
              <a:gdLst>
                <a:gd name="connsiteX0" fmla="*/ 0 w 93784"/>
                <a:gd name="connsiteY0" fmla="*/ 2545 h 2545"/>
                <a:gd name="connsiteX1" fmla="*/ 93784 w 93784"/>
                <a:gd name="connsiteY1" fmla="*/ 2545 h 2545"/>
                <a:gd name="connsiteX2" fmla="*/ 93784 w 93784"/>
                <a:gd name="connsiteY2" fmla="*/ 0 h 2545"/>
                <a:gd name="connsiteX3" fmla="*/ 0 w 93784"/>
                <a:gd name="connsiteY3" fmla="*/ 0 h 2545"/>
                <a:gd name="connsiteX4" fmla="*/ 0 w 93784"/>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84" h="2545">
                  <a:moveTo>
                    <a:pt x="0" y="2545"/>
                  </a:moveTo>
                  <a:lnTo>
                    <a:pt x="93784" y="2545"/>
                  </a:lnTo>
                  <a:lnTo>
                    <a:pt x="93784" y="0"/>
                  </a:lnTo>
                  <a:lnTo>
                    <a:pt x="0" y="0"/>
                  </a:lnTo>
                  <a:cubicBezTo>
                    <a:pt x="134" y="844"/>
                    <a:pt x="134" y="1701"/>
                    <a:pt x="0" y="2545"/>
                  </a:cubicBezTo>
                  <a:close/>
                </a:path>
              </a:pathLst>
            </a:custGeom>
            <a:solidFill>
              <a:srgbClr val="000000"/>
            </a:solidFill>
            <a:ln w="12700" cap="flat">
              <a:noFill/>
              <a:prstDash val="solid"/>
              <a:miter/>
            </a:ln>
          </p:spPr>
          <p:txBody>
            <a:bodyPr rtlCol="0" anchor="ctr"/>
            <a:lstStyle/>
            <a:p>
              <a:endParaRPr lang="en-US"/>
            </a:p>
          </p:txBody>
        </p:sp>
        <p:sp>
          <p:nvSpPr>
            <p:cNvPr id="1412" name="Freeform: Shape 1411">
              <a:extLst>
                <a:ext uri="{FF2B5EF4-FFF2-40B4-BE49-F238E27FC236}">
                  <a16:creationId xmlns:a16="http://schemas.microsoft.com/office/drawing/2014/main" id="{46B61744-DF72-44BF-844D-8F96B4B605D3}"/>
                </a:ext>
              </a:extLst>
            </p:cNvPr>
            <p:cNvSpPr/>
            <p:nvPr/>
          </p:nvSpPr>
          <p:spPr>
            <a:xfrm>
              <a:off x="11743534" y="6793700"/>
              <a:ext cx="48198" cy="32283"/>
            </a:xfrm>
            <a:custGeom>
              <a:avLst/>
              <a:gdLst>
                <a:gd name="connsiteX0" fmla="*/ 44614 w 48198"/>
                <a:gd name="connsiteY0" fmla="*/ 13396 h 32283"/>
                <a:gd name="connsiteX1" fmla="*/ 48097 w 48198"/>
                <a:gd name="connsiteY1" fmla="*/ 8305 h 32283"/>
                <a:gd name="connsiteX2" fmla="*/ 48097 w 48198"/>
                <a:gd name="connsiteY2" fmla="*/ 5760 h 32283"/>
                <a:gd name="connsiteX3" fmla="*/ 47294 w 48198"/>
                <a:gd name="connsiteY3" fmla="*/ 3349 h 32283"/>
                <a:gd name="connsiteX4" fmla="*/ 42202 w 48198"/>
                <a:gd name="connsiteY4" fmla="*/ 0 h 32283"/>
                <a:gd name="connsiteX5" fmla="*/ 42202 w 48198"/>
                <a:gd name="connsiteY5" fmla="*/ 7100 h 32283"/>
                <a:gd name="connsiteX6" fmla="*/ 40997 w 48198"/>
                <a:gd name="connsiteY6" fmla="*/ 8305 h 32283"/>
                <a:gd name="connsiteX7" fmla="*/ 39671 w 48198"/>
                <a:gd name="connsiteY7" fmla="*/ 7247 h 32283"/>
                <a:gd name="connsiteX8" fmla="*/ 39657 w 48198"/>
                <a:gd name="connsiteY8" fmla="*/ 7100 h 32283"/>
                <a:gd name="connsiteX9" fmla="*/ 39657 w 48198"/>
                <a:gd name="connsiteY9" fmla="*/ 0 h 32283"/>
                <a:gd name="connsiteX10" fmla="*/ 37379 w 48198"/>
                <a:gd name="connsiteY10" fmla="*/ 804 h 32283"/>
                <a:gd name="connsiteX11" fmla="*/ 0 w 48198"/>
                <a:gd name="connsiteY11" fmla="*/ 22371 h 32283"/>
                <a:gd name="connsiteX12" fmla="*/ 0 w 48198"/>
                <a:gd name="connsiteY12" fmla="*/ 22371 h 32283"/>
                <a:gd name="connsiteX13" fmla="*/ 4287 w 48198"/>
                <a:gd name="connsiteY13" fmla="*/ 20897 h 32283"/>
                <a:gd name="connsiteX14" fmla="*/ 11656 w 48198"/>
                <a:gd name="connsiteY14" fmla="*/ 28131 h 32283"/>
                <a:gd name="connsiteX15" fmla="*/ 11656 w 48198"/>
                <a:gd name="connsiteY15" fmla="*/ 32284 h 32283"/>
                <a:gd name="connsiteX16" fmla="*/ 16613 w 48198"/>
                <a:gd name="connsiteY16" fmla="*/ 29470 h 32283"/>
                <a:gd name="connsiteX17" fmla="*/ 21034 w 48198"/>
                <a:gd name="connsiteY17" fmla="*/ 26791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198" h="32283">
                  <a:moveTo>
                    <a:pt x="44614" y="13396"/>
                  </a:moveTo>
                  <a:cubicBezTo>
                    <a:pt x="46423" y="12244"/>
                    <a:pt x="47669" y="10409"/>
                    <a:pt x="48097" y="8305"/>
                  </a:cubicBezTo>
                  <a:cubicBezTo>
                    <a:pt x="48232" y="7461"/>
                    <a:pt x="48232" y="6604"/>
                    <a:pt x="48097" y="5760"/>
                  </a:cubicBezTo>
                  <a:cubicBezTo>
                    <a:pt x="47950" y="4916"/>
                    <a:pt x="47682" y="4113"/>
                    <a:pt x="47294" y="3349"/>
                  </a:cubicBezTo>
                  <a:cubicBezTo>
                    <a:pt x="46182" y="1527"/>
                    <a:pt x="44320" y="295"/>
                    <a:pt x="42202" y="0"/>
                  </a:cubicBezTo>
                  <a:lnTo>
                    <a:pt x="42202" y="7100"/>
                  </a:lnTo>
                  <a:cubicBezTo>
                    <a:pt x="42202" y="7770"/>
                    <a:pt x="41667" y="8305"/>
                    <a:pt x="40997" y="8305"/>
                  </a:cubicBezTo>
                  <a:cubicBezTo>
                    <a:pt x="40340" y="8386"/>
                    <a:pt x="39737" y="7903"/>
                    <a:pt x="39671" y="7247"/>
                  </a:cubicBezTo>
                  <a:cubicBezTo>
                    <a:pt x="39657" y="7194"/>
                    <a:pt x="39657" y="7153"/>
                    <a:pt x="39657" y="7100"/>
                  </a:cubicBezTo>
                  <a:lnTo>
                    <a:pt x="39657" y="0"/>
                  </a:lnTo>
                  <a:cubicBezTo>
                    <a:pt x="38840" y="67"/>
                    <a:pt x="38049" y="335"/>
                    <a:pt x="37379" y="804"/>
                  </a:cubicBezTo>
                  <a:lnTo>
                    <a:pt x="0" y="22371"/>
                  </a:lnTo>
                  <a:lnTo>
                    <a:pt x="0" y="22371"/>
                  </a:lnTo>
                  <a:cubicBezTo>
                    <a:pt x="1218" y="21420"/>
                    <a:pt x="2733" y="20897"/>
                    <a:pt x="4287" y="20897"/>
                  </a:cubicBezTo>
                  <a:cubicBezTo>
                    <a:pt x="8307" y="20897"/>
                    <a:pt x="11589" y="24112"/>
                    <a:pt x="11656" y="28131"/>
                  </a:cubicBezTo>
                  <a:lnTo>
                    <a:pt x="11656" y="32284"/>
                  </a:lnTo>
                  <a:lnTo>
                    <a:pt x="16613" y="29470"/>
                  </a:lnTo>
                  <a:lnTo>
                    <a:pt x="21034" y="26791"/>
                  </a:lnTo>
                  <a:close/>
                </a:path>
              </a:pathLst>
            </a:custGeom>
            <a:solidFill>
              <a:srgbClr val="000000"/>
            </a:solidFill>
            <a:ln w="12700" cap="flat">
              <a:noFill/>
              <a:prstDash val="solid"/>
              <a:miter/>
            </a:ln>
          </p:spPr>
          <p:txBody>
            <a:bodyPr rtlCol="0" anchor="ctr"/>
            <a:lstStyle/>
            <a:p>
              <a:endParaRPr lang="en-US"/>
            </a:p>
          </p:txBody>
        </p:sp>
        <p:sp>
          <p:nvSpPr>
            <p:cNvPr id="1413" name="Freeform: Shape 1412">
              <a:extLst>
                <a:ext uri="{FF2B5EF4-FFF2-40B4-BE49-F238E27FC236}">
                  <a16:creationId xmlns:a16="http://schemas.microsoft.com/office/drawing/2014/main" id="{70C1EF2E-B191-4805-BC2E-6682CF7D40CB}"/>
                </a:ext>
              </a:extLst>
            </p:cNvPr>
            <p:cNvSpPr/>
            <p:nvPr/>
          </p:nvSpPr>
          <p:spPr>
            <a:xfrm>
              <a:off x="11783191" y="6489485"/>
              <a:ext cx="2545" cy="312534"/>
            </a:xfrm>
            <a:custGeom>
              <a:avLst/>
              <a:gdLst>
                <a:gd name="connsiteX0" fmla="*/ 1340 w 2545"/>
                <a:gd name="connsiteY0" fmla="*/ 312521 h 312534"/>
                <a:gd name="connsiteX1" fmla="*/ 2546 w 2545"/>
                <a:gd name="connsiteY1" fmla="*/ 311315 h 312534"/>
                <a:gd name="connsiteX2" fmla="*/ 2546 w 2545"/>
                <a:gd name="connsiteY2" fmla="*/ 0 h 312534"/>
                <a:gd name="connsiteX3" fmla="*/ 1340 w 2545"/>
                <a:gd name="connsiteY3" fmla="*/ 0 h 312534"/>
                <a:gd name="connsiteX4" fmla="*/ 0 w 2545"/>
                <a:gd name="connsiteY4" fmla="*/ 0 h 312534"/>
                <a:gd name="connsiteX5" fmla="*/ 0 w 2545"/>
                <a:gd name="connsiteY5" fmla="*/ 311315 h 312534"/>
                <a:gd name="connsiteX6" fmla="*/ 1192 w 2545"/>
                <a:gd name="connsiteY6" fmla="*/ 312534 h 312534"/>
                <a:gd name="connsiteX7" fmla="*/ 1340 w 2545"/>
                <a:gd name="connsiteY7" fmla="*/ 312521 h 31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312534">
                  <a:moveTo>
                    <a:pt x="1340" y="312521"/>
                  </a:moveTo>
                  <a:cubicBezTo>
                    <a:pt x="2010" y="312521"/>
                    <a:pt x="2546" y="311985"/>
                    <a:pt x="2546" y="311315"/>
                  </a:cubicBezTo>
                  <a:lnTo>
                    <a:pt x="2546" y="0"/>
                  </a:lnTo>
                  <a:lnTo>
                    <a:pt x="1340" y="0"/>
                  </a:lnTo>
                  <a:lnTo>
                    <a:pt x="0" y="0"/>
                  </a:lnTo>
                  <a:lnTo>
                    <a:pt x="0" y="311315"/>
                  </a:lnTo>
                  <a:cubicBezTo>
                    <a:pt x="0" y="311985"/>
                    <a:pt x="536" y="312521"/>
                    <a:pt x="1192" y="312534"/>
                  </a:cubicBezTo>
                  <a:cubicBezTo>
                    <a:pt x="1246" y="312534"/>
                    <a:pt x="1286" y="312521"/>
                    <a:pt x="1340" y="312521"/>
                  </a:cubicBezTo>
                  <a:close/>
                </a:path>
              </a:pathLst>
            </a:custGeom>
            <a:solidFill>
              <a:srgbClr val="000000"/>
            </a:solidFill>
            <a:ln w="12700" cap="flat">
              <a:noFill/>
              <a:prstDash val="solid"/>
              <a:miter/>
            </a:ln>
          </p:spPr>
          <p:txBody>
            <a:bodyPr rtlCol="0" anchor="ctr"/>
            <a:lstStyle/>
            <a:p>
              <a:endParaRPr lang="en-US"/>
            </a:p>
          </p:txBody>
        </p:sp>
        <p:sp>
          <p:nvSpPr>
            <p:cNvPr id="1414" name="Freeform: Shape 1413">
              <a:extLst>
                <a:ext uri="{FF2B5EF4-FFF2-40B4-BE49-F238E27FC236}">
                  <a16:creationId xmlns:a16="http://schemas.microsoft.com/office/drawing/2014/main" id="{FA026072-4724-4B00-B32F-3790F0A4C982}"/>
                </a:ext>
              </a:extLst>
            </p:cNvPr>
            <p:cNvSpPr/>
            <p:nvPr/>
          </p:nvSpPr>
          <p:spPr>
            <a:xfrm>
              <a:off x="12682448" y="5784738"/>
              <a:ext cx="2679" cy="290150"/>
            </a:xfrm>
            <a:custGeom>
              <a:avLst/>
              <a:gdLst>
                <a:gd name="connsiteX0" fmla="*/ 1340 w 2679"/>
                <a:gd name="connsiteY0" fmla="*/ 290150 h 290150"/>
                <a:gd name="connsiteX1" fmla="*/ 2680 w 2679"/>
                <a:gd name="connsiteY1" fmla="*/ 290150 h 290150"/>
                <a:gd name="connsiteX2" fmla="*/ 2680 w 2679"/>
                <a:gd name="connsiteY2" fmla="*/ 0 h 290150"/>
                <a:gd name="connsiteX3" fmla="*/ 0 w 2679"/>
                <a:gd name="connsiteY3" fmla="*/ 1340 h 290150"/>
                <a:gd name="connsiteX4" fmla="*/ 0 w 2679"/>
                <a:gd name="connsiteY4" fmla="*/ 290150 h 29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90150">
                  <a:moveTo>
                    <a:pt x="1340" y="290150"/>
                  </a:moveTo>
                  <a:lnTo>
                    <a:pt x="2680" y="290150"/>
                  </a:lnTo>
                  <a:lnTo>
                    <a:pt x="2680" y="0"/>
                  </a:lnTo>
                  <a:cubicBezTo>
                    <a:pt x="1903" y="655"/>
                    <a:pt x="992" y="1115"/>
                    <a:pt x="0" y="1340"/>
                  </a:cubicBezTo>
                  <a:lnTo>
                    <a:pt x="0" y="290150"/>
                  </a:lnTo>
                  <a:close/>
                </a:path>
              </a:pathLst>
            </a:custGeom>
            <a:solidFill>
              <a:srgbClr val="000000"/>
            </a:solidFill>
            <a:ln w="12700" cap="flat">
              <a:noFill/>
              <a:prstDash val="solid"/>
              <a:miter/>
            </a:ln>
          </p:spPr>
          <p:txBody>
            <a:bodyPr rtlCol="0" anchor="ctr"/>
            <a:lstStyle/>
            <a:p>
              <a:endParaRPr lang="en-US"/>
            </a:p>
          </p:txBody>
        </p:sp>
        <p:sp>
          <p:nvSpPr>
            <p:cNvPr id="1415" name="Freeform: Shape 1414">
              <a:extLst>
                <a:ext uri="{FF2B5EF4-FFF2-40B4-BE49-F238E27FC236}">
                  <a16:creationId xmlns:a16="http://schemas.microsoft.com/office/drawing/2014/main" id="{A92FEFF8-4CB5-4BBF-8EB8-51CEAAA910EF}"/>
                </a:ext>
              </a:extLst>
            </p:cNvPr>
            <p:cNvSpPr/>
            <p:nvPr/>
          </p:nvSpPr>
          <p:spPr>
            <a:xfrm>
              <a:off x="12682448" y="5764913"/>
              <a:ext cx="2679" cy="9376"/>
            </a:xfrm>
            <a:custGeom>
              <a:avLst/>
              <a:gdLst>
                <a:gd name="connsiteX0" fmla="*/ 2680 w 2679"/>
                <a:gd name="connsiteY0" fmla="*/ 1340 h 9376"/>
                <a:gd name="connsiteX1" fmla="*/ 1340 w 2679"/>
                <a:gd name="connsiteY1" fmla="*/ 0 h 9376"/>
                <a:gd name="connsiteX2" fmla="*/ 0 w 2679"/>
                <a:gd name="connsiteY2" fmla="*/ 1340 h 9376"/>
                <a:gd name="connsiteX3" fmla="*/ 0 w 2679"/>
                <a:gd name="connsiteY3" fmla="*/ 8037 h 9376"/>
                <a:gd name="connsiteX4" fmla="*/ 2680 w 2679"/>
                <a:gd name="connsiteY4" fmla="*/ 9377 h 9376"/>
                <a:gd name="connsiteX5" fmla="*/ 2680 w 2679"/>
                <a:gd name="connsiteY5" fmla="*/ 1340 h 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9376">
                  <a:moveTo>
                    <a:pt x="2680" y="1340"/>
                  </a:moveTo>
                  <a:cubicBezTo>
                    <a:pt x="2680" y="600"/>
                    <a:pt x="2077" y="0"/>
                    <a:pt x="1340" y="0"/>
                  </a:cubicBezTo>
                  <a:cubicBezTo>
                    <a:pt x="603" y="0"/>
                    <a:pt x="0" y="600"/>
                    <a:pt x="0" y="1340"/>
                  </a:cubicBezTo>
                  <a:lnTo>
                    <a:pt x="0" y="8037"/>
                  </a:lnTo>
                  <a:cubicBezTo>
                    <a:pt x="965" y="8320"/>
                    <a:pt x="1876" y="8774"/>
                    <a:pt x="2680" y="9377"/>
                  </a:cubicBezTo>
                  <a:lnTo>
                    <a:pt x="2680" y="1340"/>
                  </a:lnTo>
                  <a:close/>
                </a:path>
              </a:pathLst>
            </a:custGeom>
            <a:solidFill>
              <a:srgbClr val="000000"/>
            </a:solidFill>
            <a:ln w="12700" cap="flat">
              <a:noFill/>
              <a:prstDash val="solid"/>
              <a:miter/>
            </a:ln>
          </p:spPr>
          <p:txBody>
            <a:bodyPr rtlCol="0" anchor="ctr"/>
            <a:lstStyle/>
            <a:p>
              <a:endParaRPr lang="en-US"/>
            </a:p>
          </p:txBody>
        </p:sp>
        <p:sp>
          <p:nvSpPr>
            <p:cNvPr id="1416" name="Freeform: Shape 1415">
              <a:extLst>
                <a:ext uri="{FF2B5EF4-FFF2-40B4-BE49-F238E27FC236}">
                  <a16:creationId xmlns:a16="http://schemas.microsoft.com/office/drawing/2014/main" id="{B79253A5-FE58-4CBC-A729-7FB481E7893C}"/>
                </a:ext>
              </a:extLst>
            </p:cNvPr>
            <p:cNvSpPr/>
            <p:nvPr/>
          </p:nvSpPr>
          <p:spPr>
            <a:xfrm>
              <a:off x="12339332" y="5786346"/>
              <a:ext cx="2679" cy="618879"/>
            </a:xfrm>
            <a:custGeom>
              <a:avLst/>
              <a:gdLst>
                <a:gd name="connsiteX0" fmla="*/ 0 w 2679"/>
                <a:gd name="connsiteY0" fmla="*/ 0 h 618879"/>
                <a:gd name="connsiteX1" fmla="*/ 0 w 2679"/>
                <a:gd name="connsiteY1" fmla="*/ 618880 h 618879"/>
                <a:gd name="connsiteX2" fmla="*/ 2680 w 2679"/>
                <a:gd name="connsiteY2" fmla="*/ 618880 h 618879"/>
                <a:gd name="connsiteX3" fmla="*/ 2680 w 2679"/>
                <a:gd name="connsiteY3" fmla="*/ 0 h 618879"/>
                <a:gd name="connsiteX4" fmla="*/ 1339 w 2679"/>
                <a:gd name="connsiteY4" fmla="*/ 0 h 618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18879">
                  <a:moveTo>
                    <a:pt x="0" y="0"/>
                  </a:moveTo>
                  <a:lnTo>
                    <a:pt x="0" y="618880"/>
                  </a:lnTo>
                  <a:lnTo>
                    <a:pt x="2680" y="618880"/>
                  </a:lnTo>
                  <a:lnTo>
                    <a:pt x="2680" y="0"/>
                  </a:lnTo>
                  <a:lnTo>
                    <a:pt x="1339" y="0"/>
                  </a:lnTo>
                  <a:close/>
                </a:path>
              </a:pathLst>
            </a:custGeom>
            <a:solidFill>
              <a:srgbClr val="000000"/>
            </a:solidFill>
            <a:ln w="12700" cap="flat">
              <a:noFill/>
              <a:prstDash val="solid"/>
              <a:miter/>
            </a:ln>
          </p:spPr>
          <p:txBody>
            <a:bodyPr rtlCol="0" anchor="ctr"/>
            <a:lstStyle/>
            <a:p>
              <a:endParaRPr lang="en-US"/>
            </a:p>
          </p:txBody>
        </p:sp>
        <p:sp>
          <p:nvSpPr>
            <p:cNvPr id="1417" name="Freeform: Shape 1416">
              <a:extLst>
                <a:ext uri="{FF2B5EF4-FFF2-40B4-BE49-F238E27FC236}">
                  <a16:creationId xmlns:a16="http://schemas.microsoft.com/office/drawing/2014/main" id="{ED0FDA81-A63F-4C53-8D0B-12D67966D3E2}"/>
                </a:ext>
              </a:extLst>
            </p:cNvPr>
            <p:cNvSpPr/>
            <p:nvPr/>
          </p:nvSpPr>
          <p:spPr>
            <a:xfrm>
              <a:off x="10684174" y="6440724"/>
              <a:ext cx="14468" cy="36436"/>
            </a:xfrm>
            <a:custGeom>
              <a:avLst/>
              <a:gdLst>
                <a:gd name="connsiteX0" fmla="*/ 7234 w 14468"/>
                <a:gd name="connsiteY0" fmla="*/ 7368 h 36436"/>
                <a:gd name="connsiteX1" fmla="*/ 0 w 14468"/>
                <a:gd name="connsiteY1" fmla="*/ 7368 h 36436"/>
                <a:gd name="connsiteX2" fmla="*/ 0 w 14468"/>
                <a:gd name="connsiteY2" fmla="*/ 36436 h 36436"/>
                <a:gd name="connsiteX3" fmla="*/ 6832 w 14468"/>
                <a:gd name="connsiteY3" fmla="*/ 31480 h 36436"/>
                <a:gd name="connsiteX4" fmla="*/ 14469 w 14468"/>
                <a:gd name="connsiteY4" fmla="*/ 31480 h 36436"/>
                <a:gd name="connsiteX5" fmla="*/ 14469 w 14468"/>
                <a:gd name="connsiteY5" fmla="*/ 0 h 36436"/>
                <a:gd name="connsiteX6" fmla="*/ 7234 w 14468"/>
                <a:gd name="connsiteY6" fmla="*/ 7368 h 3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8" h="36436">
                  <a:moveTo>
                    <a:pt x="7234" y="7368"/>
                  </a:moveTo>
                  <a:lnTo>
                    <a:pt x="0" y="7368"/>
                  </a:lnTo>
                  <a:lnTo>
                    <a:pt x="0" y="36436"/>
                  </a:lnTo>
                  <a:cubicBezTo>
                    <a:pt x="978" y="33489"/>
                    <a:pt x="3724" y="31493"/>
                    <a:pt x="6832" y="31480"/>
                  </a:cubicBezTo>
                  <a:lnTo>
                    <a:pt x="14469" y="31480"/>
                  </a:lnTo>
                  <a:lnTo>
                    <a:pt x="14469" y="0"/>
                  </a:lnTo>
                  <a:cubicBezTo>
                    <a:pt x="14469" y="4019"/>
                    <a:pt x="11254" y="7301"/>
                    <a:pt x="7234" y="7368"/>
                  </a:cubicBezTo>
                  <a:close/>
                </a:path>
              </a:pathLst>
            </a:custGeom>
            <a:solidFill>
              <a:srgbClr val="000000"/>
            </a:solidFill>
            <a:ln w="12700" cap="flat">
              <a:noFill/>
              <a:prstDash val="solid"/>
              <a:miter/>
            </a:ln>
          </p:spPr>
          <p:txBody>
            <a:bodyPr rtlCol="0" anchor="ctr"/>
            <a:lstStyle/>
            <a:p>
              <a:endParaRPr lang="en-US"/>
            </a:p>
          </p:txBody>
        </p:sp>
        <p:sp>
          <p:nvSpPr>
            <p:cNvPr id="1418" name="Freeform: Shape 1417">
              <a:extLst>
                <a:ext uri="{FF2B5EF4-FFF2-40B4-BE49-F238E27FC236}">
                  <a16:creationId xmlns:a16="http://schemas.microsoft.com/office/drawing/2014/main" id="{8BC84EA7-B332-425C-A974-A98488B42A7F}"/>
                </a:ext>
              </a:extLst>
            </p:cNvPr>
            <p:cNvSpPr/>
            <p:nvPr/>
          </p:nvSpPr>
          <p:spPr>
            <a:xfrm>
              <a:off x="12142787" y="5588224"/>
              <a:ext cx="14603" cy="149227"/>
            </a:xfrm>
            <a:custGeom>
              <a:avLst/>
              <a:gdLst>
                <a:gd name="connsiteX0" fmla="*/ 14603 w 14603"/>
                <a:gd name="connsiteY0" fmla="*/ 149228 h 149227"/>
                <a:gd name="connsiteX1" fmla="*/ 14603 w 14603"/>
                <a:gd name="connsiteY1" fmla="*/ 7234 h 149227"/>
                <a:gd name="connsiteX2" fmla="*/ 7234 w 14603"/>
                <a:gd name="connsiteY2" fmla="*/ 0 h 149227"/>
                <a:gd name="connsiteX3" fmla="*/ 0 w 14603"/>
                <a:gd name="connsiteY3" fmla="*/ 7234 h 149227"/>
                <a:gd name="connsiteX4" fmla="*/ 0 w 14603"/>
                <a:gd name="connsiteY4" fmla="*/ 149228 h 149227"/>
                <a:gd name="connsiteX5" fmla="*/ 14603 w 14603"/>
                <a:gd name="connsiteY5" fmla="*/ 149228 h 14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49227">
                  <a:moveTo>
                    <a:pt x="14603" y="149228"/>
                  </a:moveTo>
                  <a:lnTo>
                    <a:pt x="14603" y="7234"/>
                  </a:lnTo>
                  <a:cubicBezTo>
                    <a:pt x="14536" y="3218"/>
                    <a:pt x="11254" y="-1"/>
                    <a:pt x="7234" y="0"/>
                  </a:cubicBezTo>
                  <a:cubicBezTo>
                    <a:pt x="3242" y="0"/>
                    <a:pt x="0" y="3239"/>
                    <a:pt x="0" y="7234"/>
                  </a:cubicBezTo>
                  <a:lnTo>
                    <a:pt x="0" y="149228"/>
                  </a:lnTo>
                  <a:lnTo>
                    <a:pt x="14603" y="149228"/>
                  </a:lnTo>
                  <a:close/>
                </a:path>
              </a:pathLst>
            </a:custGeom>
            <a:solidFill>
              <a:srgbClr val="000000"/>
            </a:solidFill>
            <a:ln w="12700" cap="flat">
              <a:noFill/>
              <a:prstDash val="solid"/>
              <a:miter/>
            </a:ln>
          </p:spPr>
          <p:txBody>
            <a:bodyPr rtlCol="0" anchor="ctr"/>
            <a:lstStyle/>
            <a:p>
              <a:endParaRPr lang="en-US"/>
            </a:p>
          </p:txBody>
        </p:sp>
        <p:sp>
          <p:nvSpPr>
            <p:cNvPr id="1419" name="Freeform: Shape 1418">
              <a:extLst>
                <a:ext uri="{FF2B5EF4-FFF2-40B4-BE49-F238E27FC236}">
                  <a16:creationId xmlns:a16="http://schemas.microsoft.com/office/drawing/2014/main" id="{78F3664B-470D-452F-9BB5-DE33E18B1CB8}"/>
                </a:ext>
              </a:extLst>
            </p:cNvPr>
            <p:cNvSpPr/>
            <p:nvPr/>
          </p:nvSpPr>
          <p:spPr>
            <a:xfrm>
              <a:off x="10044028" y="5830814"/>
              <a:ext cx="495716" cy="14338"/>
            </a:xfrm>
            <a:custGeom>
              <a:avLst/>
              <a:gdLst>
                <a:gd name="connsiteX0" fmla="*/ 6699 w 495716"/>
                <a:gd name="connsiteY0" fmla="*/ 6971 h 14338"/>
                <a:gd name="connsiteX1" fmla="*/ 6699 w 495716"/>
                <a:gd name="connsiteY1" fmla="*/ 14339 h 14338"/>
                <a:gd name="connsiteX2" fmla="*/ 492903 w 495716"/>
                <a:gd name="connsiteY2" fmla="*/ 14339 h 14338"/>
                <a:gd name="connsiteX3" fmla="*/ 487209 w 495716"/>
                <a:gd name="connsiteY3" fmla="*/ 5832 h 14338"/>
                <a:gd name="connsiteX4" fmla="*/ 495717 w 495716"/>
                <a:gd name="connsiteY4" fmla="*/ 139 h 14338"/>
                <a:gd name="connsiteX5" fmla="*/ 0 w 495716"/>
                <a:gd name="connsiteY5" fmla="*/ 139 h 14338"/>
                <a:gd name="connsiteX6" fmla="*/ 6699 w 495716"/>
                <a:gd name="connsiteY6" fmla="*/ 6971 h 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716" h="14338">
                  <a:moveTo>
                    <a:pt x="6699" y="6971"/>
                  </a:moveTo>
                  <a:lnTo>
                    <a:pt x="6699" y="14339"/>
                  </a:lnTo>
                  <a:lnTo>
                    <a:pt x="492903" y="14339"/>
                  </a:lnTo>
                  <a:cubicBezTo>
                    <a:pt x="488978" y="13562"/>
                    <a:pt x="486432" y="9753"/>
                    <a:pt x="487209" y="5832"/>
                  </a:cubicBezTo>
                  <a:cubicBezTo>
                    <a:pt x="487987" y="1912"/>
                    <a:pt x="491792" y="-638"/>
                    <a:pt x="495717" y="139"/>
                  </a:cubicBezTo>
                  <a:lnTo>
                    <a:pt x="0" y="139"/>
                  </a:lnTo>
                  <a:cubicBezTo>
                    <a:pt x="3604" y="461"/>
                    <a:pt x="6445" y="3357"/>
                    <a:pt x="6699" y="6971"/>
                  </a:cubicBezTo>
                  <a:close/>
                </a:path>
              </a:pathLst>
            </a:custGeom>
            <a:solidFill>
              <a:srgbClr val="000000"/>
            </a:solidFill>
            <a:ln w="12700" cap="flat">
              <a:noFill/>
              <a:prstDash val="solid"/>
              <a:miter/>
            </a:ln>
          </p:spPr>
          <p:txBody>
            <a:bodyPr rtlCol="0" anchor="ctr"/>
            <a:lstStyle/>
            <a:p>
              <a:endParaRPr lang="en-US"/>
            </a:p>
          </p:txBody>
        </p:sp>
        <p:sp>
          <p:nvSpPr>
            <p:cNvPr id="1420" name="Freeform: Shape 1419">
              <a:extLst>
                <a:ext uri="{FF2B5EF4-FFF2-40B4-BE49-F238E27FC236}">
                  <a16:creationId xmlns:a16="http://schemas.microsoft.com/office/drawing/2014/main" id="{A84C9D6B-A4AD-4B2C-8D97-EB7BB1897B11}"/>
                </a:ext>
              </a:extLst>
            </p:cNvPr>
            <p:cNvSpPr/>
            <p:nvPr/>
          </p:nvSpPr>
          <p:spPr>
            <a:xfrm>
              <a:off x="10531560" y="5830390"/>
              <a:ext cx="72628" cy="30034"/>
            </a:xfrm>
            <a:custGeom>
              <a:avLst/>
              <a:gdLst>
                <a:gd name="connsiteX0" fmla="*/ 281 w 72628"/>
                <a:gd name="connsiteY0" fmla="*/ 5520 h 30034"/>
                <a:gd name="connsiteX1" fmla="*/ 5251 w 72628"/>
                <a:gd name="connsiteY1" fmla="*/ 14462 h 30034"/>
                <a:gd name="connsiteX2" fmla="*/ 5371 w 72628"/>
                <a:gd name="connsiteY2" fmla="*/ 14495 h 30034"/>
                <a:gd name="connsiteX3" fmla="*/ 5371 w 72628"/>
                <a:gd name="connsiteY3" fmla="*/ 14495 h 30034"/>
                <a:gd name="connsiteX4" fmla="*/ 5371 w 72628"/>
                <a:gd name="connsiteY4" fmla="*/ 7262 h 30034"/>
                <a:gd name="connsiteX5" fmla="*/ 6711 w 72628"/>
                <a:gd name="connsiteY5" fmla="*/ 5922 h 30034"/>
                <a:gd name="connsiteX6" fmla="*/ 8051 w 72628"/>
                <a:gd name="connsiteY6" fmla="*/ 7262 h 30034"/>
                <a:gd name="connsiteX7" fmla="*/ 8051 w 72628"/>
                <a:gd name="connsiteY7" fmla="*/ 15165 h 30034"/>
                <a:gd name="connsiteX8" fmla="*/ 63116 w 72628"/>
                <a:gd name="connsiteY8" fmla="*/ 30034 h 30034"/>
                <a:gd name="connsiteX9" fmla="*/ 63116 w 72628"/>
                <a:gd name="connsiteY9" fmla="*/ 24408 h 30034"/>
                <a:gd name="connsiteX10" fmla="*/ 70351 w 72628"/>
                <a:gd name="connsiteY10" fmla="*/ 17174 h 30034"/>
                <a:gd name="connsiteX11" fmla="*/ 72628 w 72628"/>
                <a:gd name="connsiteY11" fmla="*/ 17174 h 30034"/>
                <a:gd name="connsiteX12" fmla="*/ 72628 w 72628"/>
                <a:gd name="connsiteY12" fmla="*/ 17174 h 30034"/>
                <a:gd name="connsiteX13" fmla="*/ 8989 w 72628"/>
                <a:gd name="connsiteY13" fmla="*/ 28 h 30034"/>
                <a:gd name="connsiteX14" fmla="*/ 8051 w 72628"/>
                <a:gd name="connsiteY14" fmla="*/ 28 h 30034"/>
                <a:gd name="connsiteX15" fmla="*/ 281 w 72628"/>
                <a:gd name="connsiteY15" fmla="*/ 5520 h 3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28" h="30034">
                  <a:moveTo>
                    <a:pt x="281" y="5520"/>
                  </a:moveTo>
                  <a:cubicBezTo>
                    <a:pt x="-818" y="9362"/>
                    <a:pt x="1406" y="13365"/>
                    <a:pt x="5251" y="14462"/>
                  </a:cubicBezTo>
                  <a:cubicBezTo>
                    <a:pt x="5291" y="14474"/>
                    <a:pt x="5331" y="14484"/>
                    <a:pt x="5371" y="14495"/>
                  </a:cubicBezTo>
                  <a:lnTo>
                    <a:pt x="5371" y="14495"/>
                  </a:lnTo>
                  <a:lnTo>
                    <a:pt x="5371" y="7262"/>
                  </a:lnTo>
                  <a:cubicBezTo>
                    <a:pt x="5371" y="6522"/>
                    <a:pt x="5975" y="5922"/>
                    <a:pt x="6711" y="5922"/>
                  </a:cubicBezTo>
                  <a:cubicBezTo>
                    <a:pt x="7448" y="5922"/>
                    <a:pt x="8051" y="6522"/>
                    <a:pt x="8051" y="7262"/>
                  </a:cubicBezTo>
                  <a:lnTo>
                    <a:pt x="8051" y="15165"/>
                  </a:lnTo>
                  <a:lnTo>
                    <a:pt x="63116" y="30034"/>
                  </a:lnTo>
                  <a:lnTo>
                    <a:pt x="63116" y="24408"/>
                  </a:lnTo>
                  <a:cubicBezTo>
                    <a:pt x="63116" y="20413"/>
                    <a:pt x="66358" y="17174"/>
                    <a:pt x="70351" y="17174"/>
                  </a:cubicBezTo>
                  <a:cubicBezTo>
                    <a:pt x="71115" y="17099"/>
                    <a:pt x="71864" y="17099"/>
                    <a:pt x="72628" y="17174"/>
                  </a:cubicBezTo>
                  <a:lnTo>
                    <a:pt x="72628" y="17174"/>
                  </a:lnTo>
                  <a:lnTo>
                    <a:pt x="8989" y="28"/>
                  </a:lnTo>
                  <a:lnTo>
                    <a:pt x="8051" y="28"/>
                  </a:lnTo>
                  <a:cubicBezTo>
                    <a:pt x="4460" y="-283"/>
                    <a:pt x="1178" y="2039"/>
                    <a:pt x="281" y="5520"/>
                  </a:cubicBezTo>
                  <a:close/>
                </a:path>
              </a:pathLst>
            </a:custGeom>
            <a:solidFill>
              <a:srgbClr val="000000"/>
            </a:solidFill>
            <a:ln w="12700" cap="flat">
              <a:noFill/>
              <a:prstDash val="solid"/>
              <a:miter/>
            </a:ln>
          </p:spPr>
          <p:txBody>
            <a:bodyPr rtlCol="0" anchor="ctr"/>
            <a:lstStyle/>
            <a:p>
              <a:endParaRPr lang="en-US"/>
            </a:p>
          </p:txBody>
        </p:sp>
        <p:sp>
          <p:nvSpPr>
            <p:cNvPr id="1421" name="Freeform: Shape 1420">
              <a:extLst>
                <a:ext uri="{FF2B5EF4-FFF2-40B4-BE49-F238E27FC236}">
                  <a16:creationId xmlns:a16="http://schemas.microsoft.com/office/drawing/2014/main" id="{0BFD6DD0-1275-4B7A-9F54-2C895E27AD24}"/>
                </a:ext>
              </a:extLst>
            </p:cNvPr>
            <p:cNvSpPr/>
            <p:nvPr/>
          </p:nvSpPr>
          <p:spPr>
            <a:xfrm>
              <a:off x="10537468" y="5836446"/>
              <a:ext cx="2679" cy="1017133"/>
            </a:xfrm>
            <a:custGeom>
              <a:avLst/>
              <a:gdLst>
                <a:gd name="connsiteX0" fmla="*/ 2680 w 2679"/>
                <a:gd name="connsiteY0" fmla="*/ 1340 h 1017133"/>
                <a:gd name="connsiteX1" fmla="*/ 1339 w 2679"/>
                <a:gd name="connsiteY1" fmla="*/ 0 h 1017133"/>
                <a:gd name="connsiteX2" fmla="*/ 0 w 2679"/>
                <a:gd name="connsiteY2" fmla="*/ 1340 h 1017133"/>
                <a:gd name="connsiteX3" fmla="*/ 0 w 2679"/>
                <a:gd name="connsiteY3" fmla="*/ 8573 h 1017133"/>
                <a:gd name="connsiteX4" fmla="*/ 0 w 2679"/>
                <a:gd name="connsiteY4" fmla="*/ 8573 h 1017133"/>
                <a:gd name="connsiteX5" fmla="*/ 0 w 2679"/>
                <a:gd name="connsiteY5" fmla="*/ 1017133 h 1017133"/>
                <a:gd name="connsiteX6" fmla="*/ 2680 w 2679"/>
                <a:gd name="connsiteY6" fmla="*/ 1017133 h 1017133"/>
                <a:gd name="connsiteX7" fmla="*/ 2680 w 2679"/>
                <a:gd name="connsiteY7" fmla="*/ 1340 h 101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1017133">
                  <a:moveTo>
                    <a:pt x="2680" y="1340"/>
                  </a:moveTo>
                  <a:cubicBezTo>
                    <a:pt x="2680" y="600"/>
                    <a:pt x="2076" y="0"/>
                    <a:pt x="1339" y="0"/>
                  </a:cubicBezTo>
                  <a:cubicBezTo>
                    <a:pt x="603" y="0"/>
                    <a:pt x="0" y="600"/>
                    <a:pt x="0" y="1340"/>
                  </a:cubicBezTo>
                  <a:lnTo>
                    <a:pt x="0" y="8573"/>
                  </a:lnTo>
                  <a:lnTo>
                    <a:pt x="0" y="8573"/>
                  </a:lnTo>
                  <a:lnTo>
                    <a:pt x="0" y="1017133"/>
                  </a:lnTo>
                  <a:lnTo>
                    <a:pt x="2680" y="1017133"/>
                  </a:lnTo>
                  <a:lnTo>
                    <a:pt x="2680" y="1340"/>
                  </a:lnTo>
                  <a:close/>
                </a:path>
              </a:pathLst>
            </a:custGeom>
            <a:solidFill>
              <a:srgbClr val="000000"/>
            </a:solidFill>
            <a:ln w="12700" cap="flat">
              <a:noFill/>
              <a:prstDash val="solid"/>
              <a:miter/>
            </a:ln>
          </p:spPr>
          <p:txBody>
            <a:bodyPr rtlCol="0" anchor="ctr"/>
            <a:lstStyle/>
            <a:p>
              <a:endParaRPr lang="en-US"/>
            </a:p>
          </p:txBody>
        </p:sp>
        <p:sp>
          <p:nvSpPr>
            <p:cNvPr id="1422" name="Freeform: Shape 1421">
              <a:extLst>
                <a:ext uri="{FF2B5EF4-FFF2-40B4-BE49-F238E27FC236}">
                  <a16:creationId xmlns:a16="http://schemas.microsoft.com/office/drawing/2014/main" id="{E655524F-6CF6-4310-A5B1-7294014E13CD}"/>
                </a:ext>
              </a:extLst>
            </p:cNvPr>
            <p:cNvSpPr/>
            <p:nvPr/>
          </p:nvSpPr>
          <p:spPr>
            <a:xfrm>
              <a:off x="9944483" y="6482921"/>
              <a:ext cx="6296" cy="13395"/>
            </a:xfrm>
            <a:custGeom>
              <a:avLst/>
              <a:gdLst>
                <a:gd name="connsiteX0" fmla="*/ 0 w 6296"/>
                <a:gd name="connsiteY0" fmla="*/ 0 h 13395"/>
                <a:gd name="connsiteX1" fmla="*/ 6297 w 6296"/>
                <a:gd name="connsiteY1" fmla="*/ 0 h 13395"/>
                <a:gd name="connsiteX2" fmla="*/ 6297 w 6296"/>
                <a:gd name="connsiteY2" fmla="*/ 0 h 13395"/>
                <a:gd name="connsiteX3" fmla="*/ 6297 w 6296"/>
                <a:gd name="connsiteY3" fmla="*/ 0 h 13395"/>
              </a:gdLst>
              <a:ahLst/>
              <a:cxnLst>
                <a:cxn ang="0">
                  <a:pos x="connsiteX0" y="connsiteY0"/>
                </a:cxn>
                <a:cxn ang="0">
                  <a:pos x="connsiteX1" y="connsiteY1"/>
                </a:cxn>
                <a:cxn ang="0">
                  <a:pos x="connsiteX2" y="connsiteY2"/>
                </a:cxn>
                <a:cxn ang="0">
                  <a:pos x="connsiteX3" y="connsiteY3"/>
                </a:cxn>
              </a:cxnLst>
              <a:rect l="l" t="t" r="r" b="b"/>
              <a:pathLst>
                <a:path w="6296" h="13395">
                  <a:moveTo>
                    <a:pt x="0" y="0"/>
                  </a:moveTo>
                  <a:lnTo>
                    <a:pt x="6297" y="0"/>
                  </a:lnTo>
                  <a:lnTo>
                    <a:pt x="6297" y="0"/>
                  </a:lnTo>
                  <a:lnTo>
                    <a:pt x="6297" y="0"/>
                  </a:lnTo>
                  <a:close/>
                </a:path>
              </a:pathLst>
            </a:custGeom>
            <a:solidFill>
              <a:srgbClr val="000000"/>
            </a:solidFill>
            <a:ln w="12700" cap="flat">
              <a:noFill/>
              <a:prstDash val="solid"/>
              <a:miter/>
            </a:ln>
          </p:spPr>
          <p:txBody>
            <a:bodyPr rtlCol="0" anchor="ctr"/>
            <a:lstStyle/>
            <a:p>
              <a:endParaRPr lang="en-US"/>
            </a:p>
          </p:txBody>
        </p:sp>
        <p:sp>
          <p:nvSpPr>
            <p:cNvPr id="1423" name="Freeform: Shape 1422">
              <a:extLst>
                <a:ext uri="{FF2B5EF4-FFF2-40B4-BE49-F238E27FC236}">
                  <a16:creationId xmlns:a16="http://schemas.microsoft.com/office/drawing/2014/main" id="{260F25E8-FBDC-430D-9464-306A7F5D097F}"/>
                </a:ext>
              </a:extLst>
            </p:cNvPr>
            <p:cNvSpPr/>
            <p:nvPr/>
          </p:nvSpPr>
          <p:spPr>
            <a:xfrm>
              <a:off x="10660995" y="6480912"/>
              <a:ext cx="23724" cy="2019"/>
            </a:xfrm>
            <a:custGeom>
              <a:avLst/>
              <a:gdLst>
                <a:gd name="connsiteX0" fmla="*/ 1340 w 23724"/>
                <a:gd name="connsiteY0" fmla="*/ 2009 h 2019"/>
                <a:gd name="connsiteX1" fmla="*/ 23714 w 23724"/>
                <a:gd name="connsiteY1" fmla="*/ 2009 h 2019"/>
                <a:gd name="connsiteX2" fmla="*/ 23714 w 23724"/>
                <a:gd name="connsiteY2" fmla="*/ 1339 h 2019"/>
                <a:gd name="connsiteX3" fmla="*/ 12862 w 23724"/>
                <a:gd name="connsiteY3" fmla="*/ 1339 h 2019"/>
                <a:gd name="connsiteX4" fmla="*/ 11656 w 23724"/>
                <a:gd name="connsiteY4" fmla="*/ 0 h 2019"/>
                <a:gd name="connsiteX5" fmla="*/ 11656 w 23724"/>
                <a:gd name="connsiteY5" fmla="*/ 0 h 2019"/>
                <a:gd name="connsiteX6" fmla="*/ 1206 w 23724"/>
                <a:gd name="connsiteY6" fmla="*/ 0 h 2019"/>
                <a:gd name="connsiteX7" fmla="*/ 0 w 23724"/>
                <a:gd name="connsiteY7" fmla="*/ 1339 h 2019"/>
                <a:gd name="connsiteX8" fmla="*/ 0 w 23724"/>
                <a:gd name="connsiteY8" fmla="*/ 1339 h 2019"/>
                <a:gd name="connsiteX9" fmla="*/ 1340 w 23724"/>
                <a:gd name="connsiteY9" fmla="*/ 2009 h 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24" h="2019">
                  <a:moveTo>
                    <a:pt x="1340" y="2009"/>
                  </a:moveTo>
                  <a:lnTo>
                    <a:pt x="23714" y="2009"/>
                  </a:lnTo>
                  <a:cubicBezTo>
                    <a:pt x="23727" y="1782"/>
                    <a:pt x="23727" y="1567"/>
                    <a:pt x="23714" y="1339"/>
                  </a:cubicBezTo>
                  <a:lnTo>
                    <a:pt x="12862" y="1339"/>
                  </a:lnTo>
                  <a:cubicBezTo>
                    <a:pt x="12179" y="1273"/>
                    <a:pt x="11656" y="696"/>
                    <a:pt x="11656" y="0"/>
                  </a:cubicBezTo>
                  <a:cubicBezTo>
                    <a:pt x="11656" y="0"/>
                    <a:pt x="11656" y="0"/>
                    <a:pt x="11656" y="0"/>
                  </a:cubicBezTo>
                  <a:lnTo>
                    <a:pt x="1206" y="0"/>
                  </a:lnTo>
                  <a:cubicBezTo>
                    <a:pt x="523" y="67"/>
                    <a:pt x="0" y="643"/>
                    <a:pt x="0" y="1339"/>
                  </a:cubicBezTo>
                  <a:lnTo>
                    <a:pt x="0" y="1339"/>
                  </a:lnTo>
                  <a:cubicBezTo>
                    <a:pt x="268" y="1808"/>
                    <a:pt x="804" y="2076"/>
                    <a:pt x="1340" y="2009"/>
                  </a:cubicBezTo>
                  <a:close/>
                </a:path>
              </a:pathLst>
            </a:custGeom>
            <a:solidFill>
              <a:srgbClr val="000000"/>
            </a:solidFill>
            <a:ln w="12700" cap="flat">
              <a:noFill/>
              <a:prstDash val="solid"/>
              <a:miter/>
            </a:ln>
          </p:spPr>
          <p:txBody>
            <a:bodyPr rtlCol="0" anchor="ctr"/>
            <a:lstStyle/>
            <a:p>
              <a:endParaRPr lang="en-US"/>
            </a:p>
          </p:txBody>
        </p:sp>
        <p:sp>
          <p:nvSpPr>
            <p:cNvPr id="1424" name="Freeform: Shape 1423">
              <a:extLst>
                <a:ext uri="{FF2B5EF4-FFF2-40B4-BE49-F238E27FC236}">
                  <a16:creationId xmlns:a16="http://schemas.microsoft.com/office/drawing/2014/main" id="{0C9321E4-0043-41CC-9CFD-80FBFA53B12D}"/>
                </a:ext>
              </a:extLst>
            </p:cNvPr>
            <p:cNvSpPr/>
            <p:nvPr/>
          </p:nvSpPr>
          <p:spPr>
            <a:xfrm>
              <a:off x="11784531" y="5788087"/>
              <a:ext cx="339364" cy="14601"/>
            </a:xfrm>
            <a:custGeom>
              <a:avLst/>
              <a:gdLst>
                <a:gd name="connsiteX0" fmla="*/ 7234 w 339364"/>
                <a:gd name="connsiteY0" fmla="*/ 7234 h 14601"/>
                <a:gd name="connsiteX1" fmla="*/ 7234 w 339364"/>
                <a:gd name="connsiteY1" fmla="*/ 14601 h 14601"/>
                <a:gd name="connsiteX2" fmla="*/ 339365 w 339364"/>
                <a:gd name="connsiteY2" fmla="*/ 14601 h 14601"/>
                <a:gd name="connsiteX3" fmla="*/ 339365 w 339364"/>
                <a:gd name="connsiteY3" fmla="*/ 0 h 14601"/>
                <a:gd name="connsiteX4" fmla="*/ 0 w 339364"/>
                <a:gd name="connsiteY4" fmla="*/ 0 h 14601"/>
                <a:gd name="connsiteX5" fmla="*/ 7234 w 339364"/>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364" h="14601">
                  <a:moveTo>
                    <a:pt x="7234" y="7234"/>
                  </a:moveTo>
                  <a:lnTo>
                    <a:pt x="7234" y="14601"/>
                  </a:lnTo>
                  <a:lnTo>
                    <a:pt x="339365" y="14601"/>
                  </a:lnTo>
                  <a:lnTo>
                    <a:pt x="339365" y="0"/>
                  </a:lnTo>
                  <a:lnTo>
                    <a:pt x="0" y="0"/>
                  </a:lnTo>
                  <a:cubicBezTo>
                    <a:pt x="3992" y="0"/>
                    <a:pt x="7234" y="3239"/>
                    <a:pt x="7234" y="7234"/>
                  </a:cubicBezTo>
                  <a:close/>
                </a:path>
              </a:pathLst>
            </a:custGeom>
            <a:solidFill>
              <a:srgbClr val="000000"/>
            </a:solidFill>
            <a:ln w="12700" cap="flat">
              <a:noFill/>
              <a:prstDash val="solid"/>
              <a:miter/>
            </a:ln>
          </p:spPr>
          <p:txBody>
            <a:bodyPr rtlCol="0" anchor="ctr"/>
            <a:lstStyle/>
            <a:p>
              <a:endParaRPr lang="en-US"/>
            </a:p>
          </p:txBody>
        </p:sp>
        <p:sp>
          <p:nvSpPr>
            <p:cNvPr id="1425" name="Freeform: Shape 1424">
              <a:extLst>
                <a:ext uri="{FF2B5EF4-FFF2-40B4-BE49-F238E27FC236}">
                  <a16:creationId xmlns:a16="http://schemas.microsoft.com/office/drawing/2014/main" id="{69DE8A2B-164A-4714-A295-DD79243DF1C6}"/>
                </a:ext>
              </a:extLst>
            </p:cNvPr>
            <p:cNvSpPr/>
            <p:nvPr/>
          </p:nvSpPr>
          <p:spPr>
            <a:xfrm>
              <a:off x="9690328" y="5788480"/>
              <a:ext cx="222536" cy="14208"/>
            </a:xfrm>
            <a:custGeom>
              <a:avLst/>
              <a:gdLst>
                <a:gd name="connsiteX0" fmla="*/ 7234 w 222536"/>
                <a:gd name="connsiteY0" fmla="*/ 6841 h 14208"/>
                <a:gd name="connsiteX1" fmla="*/ 7234 w 222536"/>
                <a:gd name="connsiteY1" fmla="*/ 14208 h 14208"/>
                <a:gd name="connsiteX2" fmla="*/ 220258 w 222536"/>
                <a:gd name="connsiteY2" fmla="*/ 14208 h 14208"/>
                <a:gd name="connsiteX3" fmla="*/ 215208 w 222536"/>
                <a:gd name="connsiteY3" fmla="*/ 5315 h 14208"/>
                <a:gd name="connsiteX4" fmla="*/ 222537 w 222536"/>
                <a:gd name="connsiteY4" fmla="*/ 9 h 14208"/>
                <a:gd name="connsiteX5" fmla="*/ 0 w 222536"/>
                <a:gd name="connsiteY5" fmla="*/ 9 h 14208"/>
                <a:gd name="connsiteX6" fmla="*/ 7234 w 222536"/>
                <a:gd name="connsiteY6" fmla="*/ 6841 h 1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36" h="14208">
                  <a:moveTo>
                    <a:pt x="7234" y="6841"/>
                  </a:moveTo>
                  <a:lnTo>
                    <a:pt x="7234" y="14208"/>
                  </a:lnTo>
                  <a:lnTo>
                    <a:pt x="220258" y="14208"/>
                  </a:lnTo>
                  <a:cubicBezTo>
                    <a:pt x="216400" y="13149"/>
                    <a:pt x="214136" y="9168"/>
                    <a:pt x="215208" y="5315"/>
                  </a:cubicBezTo>
                  <a:cubicBezTo>
                    <a:pt x="216105" y="2047"/>
                    <a:pt x="219147" y="-160"/>
                    <a:pt x="222537" y="9"/>
                  </a:cubicBezTo>
                  <a:lnTo>
                    <a:pt x="0" y="9"/>
                  </a:lnTo>
                  <a:cubicBezTo>
                    <a:pt x="3845" y="4"/>
                    <a:pt x="7020" y="3003"/>
                    <a:pt x="7234" y="6841"/>
                  </a:cubicBezTo>
                  <a:close/>
                </a:path>
              </a:pathLst>
            </a:custGeom>
            <a:solidFill>
              <a:srgbClr val="000000"/>
            </a:solidFill>
            <a:ln w="12700" cap="flat">
              <a:noFill/>
              <a:prstDash val="solid"/>
              <a:miter/>
            </a:ln>
          </p:spPr>
          <p:txBody>
            <a:bodyPr rtlCol="0" anchor="ctr"/>
            <a:lstStyle/>
            <a:p>
              <a:endParaRPr lang="en-US"/>
            </a:p>
          </p:txBody>
        </p:sp>
        <p:sp>
          <p:nvSpPr>
            <p:cNvPr id="1426" name="Freeform: Shape 1425">
              <a:extLst>
                <a:ext uri="{FF2B5EF4-FFF2-40B4-BE49-F238E27FC236}">
                  <a16:creationId xmlns:a16="http://schemas.microsoft.com/office/drawing/2014/main" id="{A54871A6-3325-4847-B23E-7088AFF9A8E7}"/>
                </a:ext>
              </a:extLst>
            </p:cNvPr>
            <p:cNvSpPr/>
            <p:nvPr/>
          </p:nvSpPr>
          <p:spPr>
            <a:xfrm>
              <a:off x="9939258" y="5793580"/>
              <a:ext cx="5091" cy="1071"/>
            </a:xfrm>
            <a:custGeom>
              <a:avLst/>
              <a:gdLst>
                <a:gd name="connsiteX0" fmla="*/ 1876 w 5091"/>
                <a:gd name="connsiteY0" fmla="*/ 1072 h 1071"/>
                <a:gd name="connsiteX1" fmla="*/ 2948 w 5091"/>
                <a:gd name="connsiteY1" fmla="*/ 1072 h 1071"/>
                <a:gd name="connsiteX2" fmla="*/ 5091 w 5091"/>
                <a:gd name="connsiteY2" fmla="*/ 1072 h 1071"/>
                <a:gd name="connsiteX3" fmla="*/ 4421 w 5091"/>
                <a:gd name="connsiteY3" fmla="*/ 1072 h 1071"/>
                <a:gd name="connsiteX4" fmla="*/ 0 w 5091"/>
                <a:gd name="connsiteY4" fmla="*/ 0 h 1071"/>
                <a:gd name="connsiteX5" fmla="*/ 0 w 5091"/>
                <a:gd name="connsiteY5" fmla="*/ 0 h 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1" h="1071">
                  <a:moveTo>
                    <a:pt x="1876" y="1072"/>
                  </a:moveTo>
                  <a:lnTo>
                    <a:pt x="2948" y="1072"/>
                  </a:lnTo>
                  <a:cubicBezTo>
                    <a:pt x="3658" y="950"/>
                    <a:pt x="4381" y="950"/>
                    <a:pt x="5091" y="1072"/>
                  </a:cubicBezTo>
                  <a:lnTo>
                    <a:pt x="4421" y="1072"/>
                  </a:lnTo>
                  <a:lnTo>
                    <a:pt x="0" y="0"/>
                  </a:lnTo>
                  <a:lnTo>
                    <a:pt x="0" y="0"/>
                  </a:lnTo>
                  <a:close/>
                </a:path>
              </a:pathLst>
            </a:custGeom>
            <a:solidFill>
              <a:srgbClr val="000000"/>
            </a:solidFill>
            <a:ln w="12700" cap="flat">
              <a:noFill/>
              <a:prstDash val="solid"/>
              <a:miter/>
            </a:ln>
          </p:spPr>
          <p:txBody>
            <a:bodyPr rtlCol="0" anchor="ctr"/>
            <a:lstStyle/>
            <a:p>
              <a:endParaRPr lang="en-US"/>
            </a:p>
          </p:txBody>
        </p:sp>
        <p:sp>
          <p:nvSpPr>
            <p:cNvPr id="1427" name="Freeform: Shape 1426">
              <a:extLst>
                <a:ext uri="{FF2B5EF4-FFF2-40B4-BE49-F238E27FC236}">
                  <a16:creationId xmlns:a16="http://schemas.microsoft.com/office/drawing/2014/main" id="{73C4CCB2-DA31-419B-AC09-004B1FD2DCD5}"/>
                </a:ext>
              </a:extLst>
            </p:cNvPr>
            <p:cNvSpPr/>
            <p:nvPr/>
          </p:nvSpPr>
          <p:spPr>
            <a:xfrm>
              <a:off x="9910855" y="5803091"/>
              <a:ext cx="2545" cy="82651"/>
            </a:xfrm>
            <a:custGeom>
              <a:avLst/>
              <a:gdLst>
                <a:gd name="connsiteX0" fmla="*/ 1206 w 2545"/>
                <a:gd name="connsiteY0" fmla="*/ 82115 h 82651"/>
                <a:gd name="connsiteX1" fmla="*/ 2546 w 2545"/>
                <a:gd name="connsiteY1" fmla="*/ 82115 h 82651"/>
                <a:gd name="connsiteX2" fmla="*/ 2546 w 2545"/>
                <a:gd name="connsiteY2" fmla="*/ 0 h 82651"/>
                <a:gd name="connsiteX3" fmla="*/ 0 w 2545"/>
                <a:gd name="connsiteY3" fmla="*/ 0 h 82651"/>
                <a:gd name="connsiteX4" fmla="*/ 0 w 2545"/>
                <a:gd name="connsiteY4" fmla="*/ 0 h 82651"/>
                <a:gd name="connsiteX5" fmla="*/ 0 w 2545"/>
                <a:gd name="connsiteY5" fmla="*/ 82651 h 8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82651">
                  <a:moveTo>
                    <a:pt x="1206" y="82115"/>
                  </a:moveTo>
                  <a:lnTo>
                    <a:pt x="2546" y="82115"/>
                  </a:lnTo>
                  <a:lnTo>
                    <a:pt x="2546" y="0"/>
                  </a:lnTo>
                  <a:lnTo>
                    <a:pt x="0" y="0"/>
                  </a:lnTo>
                  <a:lnTo>
                    <a:pt x="0" y="0"/>
                  </a:lnTo>
                  <a:lnTo>
                    <a:pt x="0" y="82651"/>
                  </a:lnTo>
                  <a:close/>
                </a:path>
              </a:pathLst>
            </a:custGeom>
            <a:solidFill>
              <a:srgbClr val="000000"/>
            </a:solidFill>
            <a:ln w="12700" cap="flat">
              <a:noFill/>
              <a:prstDash val="solid"/>
              <a:miter/>
            </a:ln>
          </p:spPr>
          <p:txBody>
            <a:bodyPr rtlCol="0" anchor="ctr"/>
            <a:lstStyle/>
            <a:p>
              <a:endParaRPr lang="en-US"/>
            </a:p>
          </p:txBody>
        </p:sp>
        <p:sp>
          <p:nvSpPr>
            <p:cNvPr id="1428" name="Freeform: Shape 1427">
              <a:extLst>
                <a:ext uri="{FF2B5EF4-FFF2-40B4-BE49-F238E27FC236}">
                  <a16:creationId xmlns:a16="http://schemas.microsoft.com/office/drawing/2014/main" id="{BA5F5BB8-6621-45E0-BB7F-EE05B732FB82}"/>
                </a:ext>
              </a:extLst>
            </p:cNvPr>
            <p:cNvSpPr/>
            <p:nvPr/>
          </p:nvSpPr>
          <p:spPr>
            <a:xfrm>
              <a:off x="11322040" y="6472204"/>
              <a:ext cx="455121" cy="6965"/>
            </a:xfrm>
            <a:custGeom>
              <a:avLst/>
              <a:gdLst>
                <a:gd name="connsiteX0" fmla="*/ 0 w 455121"/>
                <a:gd name="connsiteY0" fmla="*/ 0 h 6965"/>
                <a:gd name="connsiteX1" fmla="*/ 455121 w 455121"/>
                <a:gd name="connsiteY1" fmla="*/ 0 h 6965"/>
                <a:gd name="connsiteX2" fmla="*/ 455121 w 455121"/>
                <a:gd name="connsiteY2" fmla="*/ 6966 h 6965"/>
                <a:gd name="connsiteX3" fmla="*/ 0 w 455121"/>
                <a:gd name="connsiteY3" fmla="*/ 6966 h 6965"/>
              </a:gdLst>
              <a:ahLst/>
              <a:cxnLst>
                <a:cxn ang="0">
                  <a:pos x="connsiteX0" y="connsiteY0"/>
                </a:cxn>
                <a:cxn ang="0">
                  <a:pos x="connsiteX1" y="connsiteY1"/>
                </a:cxn>
                <a:cxn ang="0">
                  <a:pos x="connsiteX2" y="connsiteY2"/>
                </a:cxn>
                <a:cxn ang="0">
                  <a:pos x="connsiteX3" y="connsiteY3"/>
                </a:cxn>
              </a:cxnLst>
              <a:rect l="l" t="t" r="r" b="b"/>
              <a:pathLst>
                <a:path w="455121" h="6965">
                  <a:moveTo>
                    <a:pt x="0" y="0"/>
                  </a:moveTo>
                  <a:lnTo>
                    <a:pt x="455121" y="0"/>
                  </a:lnTo>
                  <a:lnTo>
                    <a:pt x="455121" y="6966"/>
                  </a:lnTo>
                  <a:lnTo>
                    <a:pt x="0" y="6966"/>
                  </a:lnTo>
                  <a:close/>
                </a:path>
              </a:pathLst>
            </a:custGeom>
            <a:solidFill>
              <a:srgbClr val="000000"/>
            </a:solidFill>
            <a:ln w="12700" cap="flat">
              <a:noFill/>
              <a:prstDash val="solid"/>
              <a:miter/>
            </a:ln>
          </p:spPr>
          <p:txBody>
            <a:bodyPr rtlCol="0" anchor="ctr"/>
            <a:lstStyle/>
            <a:p>
              <a:endParaRPr lang="en-US"/>
            </a:p>
          </p:txBody>
        </p:sp>
        <p:sp>
          <p:nvSpPr>
            <p:cNvPr id="1429" name="Freeform: Shape 1428">
              <a:extLst>
                <a:ext uri="{FF2B5EF4-FFF2-40B4-BE49-F238E27FC236}">
                  <a16:creationId xmlns:a16="http://schemas.microsoft.com/office/drawing/2014/main" id="{3497A3CC-9935-4222-B31C-06466BE59315}"/>
                </a:ext>
              </a:extLst>
            </p:cNvPr>
            <p:cNvSpPr/>
            <p:nvPr/>
          </p:nvSpPr>
          <p:spPr>
            <a:xfrm>
              <a:off x="11321103" y="6481849"/>
              <a:ext cx="456729" cy="4956"/>
            </a:xfrm>
            <a:custGeom>
              <a:avLst/>
              <a:gdLst>
                <a:gd name="connsiteX0" fmla="*/ 455524 w 456729"/>
                <a:gd name="connsiteY0" fmla="*/ 0 h 4956"/>
                <a:gd name="connsiteX1" fmla="*/ 0 w 456729"/>
                <a:gd name="connsiteY1" fmla="*/ 0 h 4956"/>
                <a:gd name="connsiteX2" fmla="*/ 0 w 456729"/>
                <a:gd name="connsiteY2" fmla="*/ 4956 h 4956"/>
                <a:gd name="connsiteX3" fmla="*/ 456730 w 456729"/>
                <a:gd name="connsiteY3" fmla="*/ 4956 h 4956"/>
                <a:gd name="connsiteX4" fmla="*/ 455524 w 456729"/>
                <a:gd name="connsiteY4" fmla="*/ 1072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29" h="4956">
                  <a:moveTo>
                    <a:pt x="455524" y="0"/>
                  </a:moveTo>
                  <a:lnTo>
                    <a:pt x="0" y="0"/>
                  </a:lnTo>
                  <a:lnTo>
                    <a:pt x="0" y="4956"/>
                  </a:lnTo>
                  <a:lnTo>
                    <a:pt x="456730" y="4956"/>
                  </a:lnTo>
                  <a:cubicBezTo>
                    <a:pt x="455952" y="3804"/>
                    <a:pt x="455537" y="2451"/>
                    <a:pt x="455524" y="1072"/>
                  </a:cubicBezTo>
                  <a:close/>
                </a:path>
              </a:pathLst>
            </a:custGeom>
            <a:solidFill>
              <a:srgbClr val="000000"/>
            </a:solidFill>
            <a:ln w="12700" cap="flat">
              <a:noFill/>
              <a:prstDash val="solid"/>
              <a:miter/>
            </a:ln>
          </p:spPr>
          <p:txBody>
            <a:bodyPr rtlCol="0" anchor="ctr"/>
            <a:lstStyle/>
            <a:p>
              <a:endParaRPr lang="en-US"/>
            </a:p>
          </p:txBody>
        </p:sp>
        <p:sp>
          <p:nvSpPr>
            <p:cNvPr id="1430" name="Freeform: Shape 1429">
              <a:extLst>
                <a:ext uri="{FF2B5EF4-FFF2-40B4-BE49-F238E27FC236}">
                  <a16:creationId xmlns:a16="http://schemas.microsoft.com/office/drawing/2014/main" id="{663B068C-2CF4-4103-93BB-2177999CA4B0}"/>
                </a:ext>
              </a:extLst>
            </p:cNvPr>
            <p:cNvSpPr/>
            <p:nvPr/>
          </p:nvSpPr>
          <p:spPr>
            <a:xfrm>
              <a:off x="9981059" y="6470731"/>
              <a:ext cx="53591" cy="6965"/>
            </a:xfrm>
            <a:custGeom>
              <a:avLst/>
              <a:gdLst>
                <a:gd name="connsiteX0" fmla="*/ 1072 w 53591"/>
                <a:gd name="connsiteY0" fmla="*/ 1474 h 6965"/>
                <a:gd name="connsiteX1" fmla="*/ 2010 w 53591"/>
                <a:gd name="connsiteY1" fmla="*/ 1474 h 6965"/>
                <a:gd name="connsiteX2" fmla="*/ 3752 w 53591"/>
                <a:gd name="connsiteY2" fmla="*/ 1474 h 6965"/>
                <a:gd name="connsiteX3" fmla="*/ 3752 w 53591"/>
                <a:gd name="connsiteY3" fmla="*/ 1474 h 6965"/>
                <a:gd name="connsiteX4" fmla="*/ 5628 w 53591"/>
                <a:gd name="connsiteY4" fmla="*/ 2679 h 6965"/>
                <a:gd name="connsiteX5" fmla="*/ 5628 w 53591"/>
                <a:gd name="connsiteY5" fmla="*/ 2679 h 6965"/>
                <a:gd name="connsiteX6" fmla="*/ 6833 w 53591"/>
                <a:gd name="connsiteY6" fmla="*/ 4421 h 6965"/>
                <a:gd name="connsiteX7" fmla="*/ 6833 w 53591"/>
                <a:gd name="connsiteY7" fmla="*/ 5626 h 6965"/>
                <a:gd name="connsiteX8" fmla="*/ 6833 w 53591"/>
                <a:gd name="connsiteY8" fmla="*/ 6966 h 6965"/>
                <a:gd name="connsiteX9" fmla="*/ 53591 w 53591"/>
                <a:gd name="connsiteY9" fmla="*/ 6966 h 6965"/>
                <a:gd name="connsiteX10" fmla="*/ 53591 w 53591"/>
                <a:gd name="connsiteY10" fmla="*/ 0 h 6965"/>
                <a:gd name="connsiteX11" fmla="*/ 0 w 53591"/>
                <a:gd name="connsiteY11" fmla="*/ 0 h 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91" h="6965">
                  <a:moveTo>
                    <a:pt x="1072" y="1474"/>
                  </a:moveTo>
                  <a:lnTo>
                    <a:pt x="2010" y="1474"/>
                  </a:lnTo>
                  <a:lnTo>
                    <a:pt x="3752" y="1474"/>
                  </a:lnTo>
                  <a:lnTo>
                    <a:pt x="3752" y="1474"/>
                  </a:lnTo>
                  <a:cubicBezTo>
                    <a:pt x="4448" y="1742"/>
                    <a:pt x="5091" y="2157"/>
                    <a:pt x="5628" y="2679"/>
                  </a:cubicBezTo>
                  <a:lnTo>
                    <a:pt x="5628" y="2679"/>
                  </a:lnTo>
                  <a:cubicBezTo>
                    <a:pt x="6150" y="3175"/>
                    <a:pt x="6552" y="3764"/>
                    <a:pt x="6833" y="4421"/>
                  </a:cubicBezTo>
                  <a:cubicBezTo>
                    <a:pt x="6860" y="4822"/>
                    <a:pt x="6860" y="5224"/>
                    <a:pt x="6833" y="5626"/>
                  </a:cubicBezTo>
                  <a:cubicBezTo>
                    <a:pt x="6913" y="6068"/>
                    <a:pt x="6913" y="6524"/>
                    <a:pt x="6833" y="6966"/>
                  </a:cubicBezTo>
                  <a:lnTo>
                    <a:pt x="53591" y="6966"/>
                  </a:lnTo>
                  <a:lnTo>
                    <a:pt x="53591" y="0"/>
                  </a:lnTo>
                  <a:lnTo>
                    <a:pt x="0" y="0"/>
                  </a:lnTo>
                  <a:close/>
                </a:path>
              </a:pathLst>
            </a:custGeom>
            <a:solidFill>
              <a:srgbClr val="000000"/>
            </a:solidFill>
            <a:ln w="12700" cap="flat">
              <a:noFill/>
              <a:prstDash val="solid"/>
              <a:miter/>
            </a:ln>
          </p:spPr>
          <p:txBody>
            <a:bodyPr rtlCol="0" anchor="ctr"/>
            <a:lstStyle/>
            <a:p>
              <a:endParaRPr lang="en-US"/>
            </a:p>
          </p:txBody>
        </p:sp>
        <p:sp>
          <p:nvSpPr>
            <p:cNvPr id="1431" name="Freeform: Shape 1430">
              <a:extLst>
                <a:ext uri="{FF2B5EF4-FFF2-40B4-BE49-F238E27FC236}">
                  <a16:creationId xmlns:a16="http://schemas.microsoft.com/office/drawing/2014/main" id="{93534F0A-BF53-4E49-BAE1-3C2368B95761}"/>
                </a:ext>
              </a:extLst>
            </p:cNvPr>
            <p:cNvSpPr/>
            <p:nvPr/>
          </p:nvSpPr>
          <p:spPr>
            <a:xfrm>
              <a:off x="9983203" y="6480912"/>
              <a:ext cx="53591" cy="4956"/>
            </a:xfrm>
            <a:custGeom>
              <a:avLst/>
              <a:gdLst>
                <a:gd name="connsiteX0" fmla="*/ 5761 w 53591"/>
                <a:gd name="connsiteY0" fmla="*/ 938 h 4956"/>
                <a:gd name="connsiteX1" fmla="*/ 5761 w 53591"/>
                <a:gd name="connsiteY1" fmla="*/ 938 h 4956"/>
                <a:gd name="connsiteX2" fmla="*/ 4957 w 53591"/>
                <a:gd name="connsiteY2" fmla="*/ 2143 h 4956"/>
                <a:gd name="connsiteX3" fmla="*/ 4957 w 53591"/>
                <a:gd name="connsiteY3" fmla="*/ 3349 h 4956"/>
                <a:gd name="connsiteX4" fmla="*/ 3751 w 53591"/>
                <a:gd name="connsiteY4" fmla="*/ 4153 h 4956"/>
                <a:gd name="connsiteX5" fmla="*/ 2680 w 53591"/>
                <a:gd name="connsiteY5" fmla="*/ 4956 h 4956"/>
                <a:gd name="connsiteX6" fmla="*/ 1205 w 53591"/>
                <a:gd name="connsiteY6" fmla="*/ 4956 h 4956"/>
                <a:gd name="connsiteX7" fmla="*/ 0 w 53591"/>
                <a:gd name="connsiteY7" fmla="*/ 4956 h 4956"/>
                <a:gd name="connsiteX8" fmla="*/ 53591 w 53591"/>
                <a:gd name="connsiteY8" fmla="*/ 4956 h 4956"/>
                <a:gd name="connsiteX9" fmla="*/ 53591 w 53591"/>
                <a:gd name="connsiteY9" fmla="*/ 0 h 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91" h="4956">
                  <a:moveTo>
                    <a:pt x="5761" y="938"/>
                  </a:moveTo>
                  <a:lnTo>
                    <a:pt x="5761" y="938"/>
                  </a:lnTo>
                  <a:cubicBezTo>
                    <a:pt x="5761" y="938"/>
                    <a:pt x="5761" y="1741"/>
                    <a:pt x="4957" y="2143"/>
                  </a:cubicBezTo>
                  <a:cubicBezTo>
                    <a:pt x="4997" y="2545"/>
                    <a:pt x="4997" y="2947"/>
                    <a:pt x="4957" y="3349"/>
                  </a:cubicBezTo>
                  <a:lnTo>
                    <a:pt x="3751" y="4153"/>
                  </a:lnTo>
                  <a:lnTo>
                    <a:pt x="2680" y="4956"/>
                  </a:lnTo>
                  <a:lnTo>
                    <a:pt x="1205" y="4956"/>
                  </a:lnTo>
                  <a:lnTo>
                    <a:pt x="0" y="4956"/>
                  </a:lnTo>
                  <a:lnTo>
                    <a:pt x="53591" y="4956"/>
                  </a:lnTo>
                  <a:lnTo>
                    <a:pt x="53591" y="0"/>
                  </a:lnTo>
                  <a:close/>
                </a:path>
              </a:pathLst>
            </a:custGeom>
            <a:solidFill>
              <a:srgbClr val="000000"/>
            </a:solidFill>
            <a:ln w="12700" cap="flat">
              <a:noFill/>
              <a:prstDash val="solid"/>
              <a:miter/>
            </a:ln>
          </p:spPr>
          <p:txBody>
            <a:bodyPr rtlCol="0" anchor="ctr"/>
            <a:lstStyle/>
            <a:p>
              <a:endParaRPr lang="en-US"/>
            </a:p>
          </p:txBody>
        </p:sp>
        <p:sp>
          <p:nvSpPr>
            <p:cNvPr id="1432" name="Freeform: Shape 1431">
              <a:extLst>
                <a:ext uri="{FF2B5EF4-FFF2-40B4-BE49-F238E27FC236}">
                  <a16:creationId xmlns:a16="http://schemas.microsoft.com/office/drawing/2014/main" id="{D4FD9A63-A3E5-40C6-9128-97AE8735AA90}"/>
                </a:ext>
              </a:extLst>
            </p:cNvPr>
            <p:cNvSpPr/>
            <p:nvPr/>
          </p:nvSpPr>
          <p:spPr>
            <a:xfrm>
              <a:off x="9944483" y="5890966"/>
              <a:ext cx="16613" cy="15271"/>
            </a:xfrm>
            <a:custGeom>
              <a:avLst/>
              <a:gdLst>
                <a:gd name="connsiteX0" fmla="*/ 4556 w 16613"/>
                <a:gd name="connsiteY0" fmla="*/ 7636 h 15271"/>
                <a:gd name="connsiteX1" fmla="*/ 4556 w 16613"/>
                <a:gd name="connsiteY1" fmla="*/ 8305 h 15271"/>
                <a:gd name="connsiteX2" fmla="*/ 4556 w 16613"/>
                <a:gd name="connsiteY2" fmla="*/ 9109 h 15271"/>
                <a:gd name="connsiteX3" fmla="*/ 4556 w 16613"/>
                <a:gd name="connsiteY3" fmla="*/ 10181 h 15271"/>
                <a:gd name="connsiteX4" fmla="*/ 3618 w 16613"/>
                <a:gd name="connsiteY4" fmla="*/ 11520 h 15271"/>
                <a:gd name="connsiteX5" fmla="*/ 2947 w 16613"/>
                <a:gd name="connsiteY5" fmla="*/ 12324 h 15271"/>
                <a:gd name="connsiteX6" fmla="*/ 1474 w 16613"/>
                <a:gd name="connsiteY6" fmla="*/ 13262 h 15271"/>
                <a:gd name="connsiteX7" fmla="*/ 1474 w 16613"/>
                <a:gd name="connsiteY7" fmla="*/ 13262 h 15271"/>
                <a:gd name="connsiteX8" fmla="*/ 0 w 16613"/>
                <a:gd name="connsiteY8" fmla="*/ 13262 h 15271"/>
                <a:gd name="connsiteX9" fmla="*/ 0 w 16613"/>
                <a:gd name="connsiteY9" fmla="*/ 13932 h 15271"/>
                <a:gd name="connsiteX10" fmla="*/ 7234 w 16613"/>
                <a:gd name="connsiteY10" fmla="*/ 15271 h 15271"/>
                <a:gd name="connsiteX11" fmla="*/ 7234 w 16613"/>
                <a:gd name="connsiteY11" fmla="*/ 9109 h 15271"/>
                <a:gd name="connsiteX12" fmla="*/ 14470 w 16613"/>
                <a:gd name="connsiteY12" fmla="*/ 1875 h 15271"/>
                <a:gd name="connsiteX13" fmla="*/ 16613 w 16613"/>
                <a:gd name="connsiteY13" fmla="*/ 1875 h 15271"/>
                <a:gd name="connsiteX14" fmla="*/ 15809 w 16613"/>
                <a:gd name="connsiteY14" fmla="*/ 1875 h 15271"/>
                <a:gd name="connsiteX15" fmla="*/ 6029 w 16613"/>
                <a:gd name="connsiteY15" fmla="*/ 0 h 15271"/>
                <a:gd name="connsiteX16" fmla="*/ 6029 w 16613"/>
                <a:gd name="connsiteY16" fmla="*/ 6162 h 15271"/>
                <a:gd name="connsiteX17" fmla="*/ 4556 w 16613"/>
                <a:gd name="connsiteY17" fmla="*/ 7636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613" h="15271">
                  <a:moveTo>
                    <a:pt x="4556" y="7636"/>
                  </a:moveTo>
                  <a:cubicBezTo>
                    <a:pt x="4556" y="7636"/>
                    <a:pt x="4556" y="7636"/>
                    <a:pt x="4556" y="8305"/>
                  </a:cubicBezTo>
                  <a:cubicBezTo>
                    <a:pt x="4609" y="8571"/>
                    <a:pt x="4609" y="8844"/>
                    <a:pt x="4556" y="9109"/>
                  </a:cubicBezTo>
                  <a:lnTo>
                    <a:pt x="4556" y="10181"/>
                  </a:lnTo>
                  <a:cubicBezTo>
                    <a:pt x="4287" y="10658"/>
                    <a:pt x="3979" y="11106"/>
                    <a:pt x="3618" y="11520"/>
                  </a:cubicBezTo>
                  <a:lnTo>
                    <a:pt x="2947" y="12324"/>
                  </a:lnTo>
                  <a:lnTo>
                    <a:pt x="1474" y="13262"/>
                  </a:lnTo>
                  <a:lnTo>
                    <a:pt x="1474" y="13262"/>
                  </a:lnTo>
                  <a:lnTo>
                    <a:pt x="0" y="13262"/>
                  </a:lnTo>
                  <a:lnTo>
                    <a:pt x="0" y="13932"/>
                  </a:lnTo>
                  <a:lnTo>
                    <a:pt x="7234" y="15271"/>
                  </a:lnTo>
                  <a:lnTo>
                    <a:pt x="7234" y="9109"/>
                  </a:lnTo>
                  <a:cubicBezTo>
                    <a:pt x="7234" y="5115"/>
                    <a:pt x="10477" y="1875"/>
                    <a:pt x="14470" y="1875"/>
                  </a:cubicBezTo>
                  <a:cubicBezTo>
                    <a:pt x="15180" y="1800"/>
                    <a:pt x="15903" y="1800"/>
                    <a:pt x="16613" y="1875"/>
                  </a:cubicBezTo>
                  <a:lnTo>
                    <a:pt x="15809" y="1875"/>
                  </a:lnTo>
                  <a:lnTo>
                    <a:pt x="6029" y="0"/>
                  </a:lnTo>
                  <a:lnTo>
                    <a:pt x="6029" y="6162"/>
                  </a:lnTo>
                  <a:cubicBezTo>
                    <a:pt x="5453" y="6560"/>
                    <a:pt x="4957" y="7058"/>
                    <a:pt x="4556" y="7636"/>
                  </a:cubicBezTo>
                  <a:close/>
                </a:path>
              </a:pathLst>
            </a:custGeom>
            <a:solidFill>
              <a:srgbClr val="000000"/>
            </a:solidFill>
            <a:ln w="12700" cap="flat">
              <a:noFill/>
              <a:prstDash val="solid"/>
              <a:miter/>
            </a:ln>
          </p:spPr>
          <p:txBody>
            <a:bodyPr rtlCol="0" anchor="ctr"/>
            <a:lstStyle/>
            <a:p>
              <a:endParaRPr lang="en-US"/>
            </a:p>
          </p:txBody>
        </p:sp>
        <p:sp>
          <p:nvSpPr>
            <p:cNvPr id="1433" name="Freeform: Shape 1432">
              <a:extLst>
                <a:ext uri="{FF2B5EF4-FFF2-40B4-BE49-F238E27FC236}">
                  <a16:creationId xmlns:a16="http://schemas.microsoft.com/office/drawing/2014/main" id="{775981AA-79D5-4870-A8E3-3BE6F4F55E8F}"/>
                </a:ext>
              </a:extLst>
            </p:cNvPr>
            <p:cNvSpPr/>
            <p:nvPr/>
          </p:nvSpPr>
          <p:spPr>
            <a:xfrm>
              <a:off x="9940598" y="5905032"/>
              <a:ext cx="13397" cy="13395"/>
            </a:xfrm>
            <a:custGeom>
              <a:avLst/>
              <a:gdLst>
                <a:gd name="connsiteX0" fmla="*/ 0 w 13397"/>
                <a:gd name="connsiteY0" fmla="*/ 0 h 13395"/>
                <a:gd name="connsiteX1" fmla="*/ 0 w 13397"/>
                <a:gd name="connsiteY1" fmla="*/ 0 h 13395"/>
                <a:gd name="connsiteX2" fmla="*/ 0 w 13397"/>
                <a:gd name="connsiteY2" fmla="*/ 0 h 13395"/>
                <a:gd name="connsiteX3" fmla="*/ 0 w 13397"/>
                <a:gd name="connsiteY3" fmla="*/ 0 h 13395"/>
                <a:gd name="connsiteX4" fmla="*/ 0 w 13397"/>
                <a:gd name="connsiteY4" fmla="*/ 0 h 13395"/>
                <a:gd name="connsiteX5" fmla="*/ 0 w 13397"/>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7" h="13395">
                  <a:moveTo>
                    <a:pt x="0" y="0"/>
                  </a:moveTo>
                  <a:lnTo>
                    <a:pt x="0" y="0"/>
                  </a:lnTo>
                  <a:lnTo>
                    <a:pt x="0" y="0"/>
                  </a:lnTo>
                  <a:lnTo>
                    <a:pt x="0" y="0"/>
                  </a:lnTo>
                  <a:lnTo>
                    <a:pt x="0" y="0"/>
                  </a:lnTo>
                  <a:lnTo>
                    <a:pt x="0" y="0"/>
                  </a:lnTo>
                  <a:close/>
                </a:path>
              </a:pathLst>
            </a:custGeom>
            <a:solidFill>
              <a:srgbClr val="000000"/>
            </a:solidFill>
            <a:ln w="12700" cap="flat">
              <a:noFill/>
              <a:prstDash val="solid"/>
              <a:miter/>
            </a:ln>
          </p:spPr>
          <p:txBody>
            <a:bodyPr rtlCol="0" anchor="ctr"/>
            <a:lstStyle/>
            <a:p>
              <a:endParaRPr lang="en-US"/>
            </a:p>
          </p:txBody>
        </p:sp>
        <p:sp>
          <p:nvSpPr>
            <p:cNvPr id="1434" name="Freeform: Shape 1433">
              <a:extLst>
                <a:ext uri="{FF2B5EF4-FFF2-40B4-BE49-F238E27FC236}">
                  <a16:creationId xmlns:a16="http://schemas.microsoft.com/office/drawing/2014/main" id="{6A885EB3-9F6F-400F-A457-2E170B4A6C77}"/>
                </a:ext>
              </a:extLst>
            </p:cNvPr>
            <p:cNvSpPr/>
            <p:nvPr/>
          </p:nvSpPr>
          <p:spPr>
            <a:xfrm>
              <a:off x="9964982" y="6472472"/>
              <a:ext cx="18086" cy="669"/>
            </a:xfrm>
            <a:custGeom>
              <a:avLst/>
              <a:gdLst>
                <a:gd name="connsiteX0" fmla="*/ 18087 w 18086"/>
                <a:gd name="connsiteY0" fmla="*/ 0 h 669"/>
                <a:gd name="connsiteX1" fmla="*/ 17149 w 18086"/>
                <a:gd name="connsiteY1" fmla="*/ 0 h 669"/>
                <a:gd name="connsiteX2" fmla="*/ 0 w 18086"/>
                <a:gd name="connsiteY2" fmla="*/ 0 h 669"/>
                <a:gd name="connsiteX3" fmla="*/ 0 w 18086"/>
                <a:gd name="connsiteY3" fmla="*/ 670 h 669"/>
                <a:gd name="connsiteX4" fmla="*/ 16747 w 18086"/>
                <a:gd name="connsiteY4" fmla="*/ 0 h 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6" h="669">
                  <a:moveTo>
                    <a:pt x="18087" y="0"/>
                  </a:moveTo>
                  <a:lnTo>
                    <a:pt x="17149" y="0"/>
                  </a:lnTo>
                  <a:lnTo>
                    <a:pt x="0" y="0"/>
                  </a:lnTo>
                  <a:lnTo>
                    <a:pt x="0" y="670"/>
                  </a:lnTo>
                  <a:lnTo>
                    <a:pt x="16747" y="0"/>
                  </a:lnTo>
                  <a:close/>
                </a:path>
              </a:pathLst>
            </a:custGeom>
            <a:solidFill>
              <a:srgbClr val="000000"/>
            </a:solidFill>
            <a:ln w="12700" cap="flat">
              <a:noFill/>
              <a:prstDash val="solid"/>
              <a:miter/>
            </a:ln>
          </p:spPr>
          <p:txBody>
            <a:bodyPr rtlCol="0" anchor="ctr"/>
            <a:lstStyle/>
            <a:p>
              <a:endParaRPr lang="en-US"/>
            </a:p>
          </p:txBody>
        </p:sp>
        <p:sp>
          <p:nvSpPr>
            <p:cNvPr id="1435" name="Freeform: Shape 1434">
              <a:extLst>
                <a:ext uri="{FF2B5EF4-FFF2-40B4-BE49-F238E27FC236}">
                  <a16:creationId xmlns:a16="http://schemas.microsoft.com/office/drawing/2014/main" id="{A9C8E2A6-5CCF-4621-87E2-F61D1646925A}"/>
                </a:ext>
              </a:extLst>
            </p:cNvPr>
            <p:cNvSpPr/>
            <p:nvPr/>
          </p:nvSpPr>
          <p:spPr>
            <a:xfrm>
              <a:off x="9944483" y="6480644"/>
              <a:ext cx="6163" cy="2277"/>
            </a:xfrm>
            <a:custGeom>
              <a:avLst/>
              <a:gdLst>
                <a:gd name="connsiteX0" fmla="*/ 0 w 6163"/>
                <a:gd name="connsiteY0" fmla="*/ 2277 h 2277"/>
                <a:gd name="connsiteX1" fmla="*/ 6163 w 6163"/>
                <a:gd name="connsiteY1" fmla="*/ 2277 h 2277"/>
                <a:gd name="connsiteX2" fmla="*/ 6163 w 6163"/>
                <a:gd name="connsiteY2" fmla="*/ 938 h 2277"/>
                <a:gd name="connsiteX3" fmla="*/ 6163 w 6163"/>
                <a:gd name="connsiteY3" fmla="*/ 938 h 2277"/>
                <a:gd name="connsiteX4" fmla="*/ 6163 w 6163"/>
                <a:gd name="connsiteY4" fmla="*/ 0 h 2277"/>
                <a:gd name="connsiteX5" fmla="*/ 134 w 6163"/>
                <a:gd name="connsiteY5" fmla="*/ 0 h 2277"/>
                <a:gd name="connsiteX6" fmla="*/ 134 w 6163"/>
                <a:gd name="connsiteY6" fmla="*/ 1206 h 2277"/>
                <a:gd name="connsiteX7" fmla="*/ 0 w 6163"/>
                <a:gd name="connsiteY7" fmla="*/ 2277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3" h="2277">
                  <a:moveTo>
                    <a:pt x="0" y="2277"/>
                  </a:moveTo>
                  <a:lnTo>
                    <a:pt x="6163" y="2277"/>
                  </a:lnTo>
                  <a:cubicBezTo>
                    <a:pt x="6163" y="2277"/>
                    <a:pt x="6163" y="1474"/>
                    <a:pt x="6163" y="938"/>
                  </a:cubicBezTo>
                  <a:lnTo>
                    <a:pt x="6163" y="938"/>
                  </a:lnTo>
                  <a:lnTo>
                    <a:pt x="6163" y="0"/>
                  </a:lnTo>
                  <a:lnTo>
                    <a:pt x="134" y="0"/>
                  </a:lnTo>
                  <a:cubicBezTo>
                    <a:pt x="201" y="402"/>
                    <a:pt x="201" y="804"/>
                    <a:pt x="134" y="1206"/>
                  </a:cubicBezTo>
                  <a:cubicBezTo>
                    <a:pt x="134" y="1206"/>
                    <a:pt x="0" y="1339"/>
                    <a:pt x="0" y="2277"/>
                  </a:cubicBezTo>
                  <a:close/>
                </a:path>
              </a:pathLst>
            </a:custGeom>
            <a:solidFill>
              <a:srgbClr val="000000"/>
            </a:solidFill>
            <a:ln w="12700" cap="flat">
              <a:noFill/>
              <a:prstDash val="solid"/>
              <a:miter/>
            </a:ln>
          </p:spPr>
          <p:txBody>
            <a:bodyPr rtlCol="0" anchor="ctr"/>
            <a:lstStyle/>
            <a:p>
              <a:endParaRPr lang="en-US"/>
            </a:p>
          </p:txBody>
        </p:sp>
        <p:sp>
          <p:nvSpPr>
            <p:cNvPr id="1436" name="Freeform: Shape 1435">
              <a:extLst>
                <a:ext uri="{FF2B5EF4-FFF2-40B4-BE49-F238E27FC236}">
                  <a16:creationId xmlns:a16="http://schemas.microsoft.com/office/drawing/2014/main" id="{31F6A4F4-76B1-47E1-BD66-BD79BA67736E}"/>
                </a:ext>
              </a:extLst>
            </p:cNvPr>
            <p:cNvSpPr/>
            <p:nvPr/>
          </p:nvSpPr>
          <p:spPr>
            <a:xfrm>
              <a:off x="9941134" y="5904898"/>
              <a:ext cx="2545" cy="572263"/>
            </a:xfrm>
            <a:custGeom>
              <a:avLst/>
              <a:gdLst>
                <a:gd name="connsiteX0" fmla="*/ 0 w 2545"/>
                <a:gd name="connsiteY0" fmla="*/ 134 h 572263"/>
                <a:gd name="connsiteX1" fmla="*/ 0 w 2545"/>
                <a:gd name="connsiteY1" fmla="*/ 134 h 572263"/>
                <a:gd name="connsiteX2" fmla="*/ 0 w 2545"/>
                <a:gd name="connsiteY2" fmla="*/ 570120 h 572263"/>
                <a:gd name="connsiteX3" fmla="*/ 2546 w 2545"/>
                <a:gd name="connsiteY3" fmla="*/ 572263 h 572263"/>
                <a:gd name="connsiteX4" fmla="*/ 2546 w 2545"/>
                <a:gd name="connsiteY4" fmla="*/ 0 h 572263"/>
                <a:gd name="connsiteX5" fmla="*/ 1339 w 2545"/>
                <a:gd name="connsiteY5" fmla="*/ 0 h 57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572263">
                  <a:moveTo>
                    <a:pt x="0" y="134"/>
                  </a:moveTo>
                  <a:lnTo>
                    <a:pt x="0" y="134"/>
                  </a:lnTo>
                  <a:lnTo>
                    <a:pt x="0" y="570120"/>
                  </a:lnTo>
                  <a:cubicBezTo>
                    <a:pt x="1045" y="570562"/>
                    <a:pt x="1929" y="571312"/>
                    <a:pt x="2546" y="572263"/>
                  </a:cubicBezTo>
                  <a:lnTo>
                    <a:pt x="2546" y="0"/>
                  </a:lnTo>
                  <a:lnTo>
                    <a:pt x="1339" y="0"/>
                  </a:lnTo>
                  <a:close/>
                </a:path>
              </a:pathLst>
            </a:custGeom>
            <a:solidFill>
              <a:srgbClr val="000000"/>
            </a:solidFill>
            <a:ln w="12700" cap="flat">
              <a:noFill/>
              <a:prstDash val="solid"/>
              <a:miter/>
            </a:ln>
          </p:spPr>
          <p:txBody>
            <a:bodyPr rtlCol="0" anchor="ctr"/>
            <a:lstStyle/>
            <a:p>
              <a:endParaRPr lang="en-US"/>
            </a:p>
          </p:txBody>
        </p:sp>
        <p:sp>
          <p:nvSpPr>
            <p:cNvPr id="1437" name="Freeform: Shape 1436">
              <a:extLst>
                <a:ext uri="{FF2B5EF4-FFF2-40B4-BE49-F238E27FC236}">
                  <a16:creationId xmlns:a16="http://schemas.microsoft.com/office/drawing/2014/main" id="{9D919E91-CBFC-443D-98D5-54D969095C77}"/>
                </a:ext>
              </a:extLst>
            </p:cNvPr>
            <p:cNvSpPr/>
            <p:nvPr/>
          </p:nvSpPr>
          <p:spPr>
            <a:xfrm>
              <a:off x="9697563" y="5891100"/>
              <a:ext cx="207531" cy="2679"/>
            </a:xfrm>
            <a:custGeom>
              <a:avLst/>
              <a:gdLst>
                <a:gd name="connsiteX0" fmla="*/ 207263 w 207531"/>
                <a:gd name="connsiteY0" fmla="*/ 1340 h 2679"/>
                <a:gd name="connsiteX1" fmla="*/ 207263 w 207531"/>
                <a:gd name="connsiteY1" fmla="*/ 0 h 2679"/>
                <a:gd name="connsiteX2" fmla="*/ 0 w 207531"/>
                <a:gd name="connsiteY2" fmla="*/ 0 h 2679"/>
                <a:gd name="connsiteX3" fmla="*/ 0 w 207531"/>
                <a:gd name="connsiteY3" fmla="*/ 1340 h 2679"/>
                <a:gd name="connsiteX4" fmla="*/ 0 w 207531"/>
                <a:gd name="connsiteY4" fmla="*/ 2679 h 2679"/>
                <a:gd name="connsiteX5" fmla="*/ 207531 w 207531"/>
                <a:gd name="connsiteY5" fmla="*/ 267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531" h="2679">
                  <a:moveTo>
                    <a:pt x="207263" y="1340"/>
                  </a:moveTo>
                  <a:cubicBezTo>
                    <a:pt x="207183" y="896"/>
                    <a:pt x="207183" y="443"/>
                    <a:pt x="207263" y="0"/>
                  </a:cubicBezTo>
                  <a:lnTo>
                    <a:pt x="0" y="0"/>
                  </a:lnTo>
                  <a:lnTo>
                    <a:pt x="0" y="1340"/>
                  </a:lnTo>
                  <a:cubicBezTo>
                    <a:pt x="53" y="1784"/>
                    <a:pt x="53" y="2234"/>
                    <a:pt x="0" y="2679"/>
                  </a:cubicBezTo>
                  <a:lnTo>
                    <a:pt x="207531" y="2679"/>
                  </a:lnTo>
                  <a:close/>
                </a:path>
              </a:pathLst>
            </a:custGeom>
            <a:solidFill>
              <a:srgbClr val="000000"/>
            </a:solidFill>
            <a:ln w="12700" cap="flat">
              <a:noFill/>
              <a:prstDash val="solid"/>
              <a:miter/>
            </a:ln>
          </p:spPr>
          <p:txBody>
            <a:bodyPr rtlCol="0" anchor="ctr"/>
            <a:lstStyle/>
            <a:p>
              <a:endParaRPr lang="en-US"/>
            </a:p>
          </p:txBody>
        </p:sp>
        <p:sp>
          <p:nvSpPr>
            <p:cNvPr id="1438" name="Freeform: Shape 1437">
              <a:extLst>
                <a:ext uri="{FF2B5EF4-FFF2-40B4-BE49-F238E27FC236}">
                  <a16:creationId xmlns:a16="http://schemas.microsoft.com/office/drawing/2014/main" id="{F6DC77B0-6008-4DD4-A2A0-B3615E94D6FE}"/>
                </a:ext>
              </a:extLst>
            </p:cNvPr>
            <p:cNvSpPr/>
            <p:nvPr/>
          </p:nvSpPr>
          <p:spPr>
            <a:xfrm>
              <a:off x="9939124" y="5904228"/>
              <a:ext cx="6029" cy="944"/>
            </a:xfrm>
            <a:custGeom>
              <a:avLst/>
              <a:gdLst>
                <a:gd name="connsiteX0" fmla="*/ 2010 w 6029"/>
                <a:gd name="connsiteY0" fmla="*/ 804 h 944"/>
                <a:gd name="connsiteX1" fmla="*/ 3349 w 6029"/>
                <a:gd name="connsiteY1" fmla="*/ 804 h 944"/>
                <a:gd name="connsiteX2" fmla="*/ 4556 w 6029"/>
                <a:gd name="connsiteY2" fmla="*/ 804 h 944"/>
                <a:gd name="connsiteX3" fmla="*/ 6029 w 6029"/>
                <a:gd name="connsiteY3" fmla="*/ 804 h 944"/>
                <a:gd name="connsiteX4" fmla="*/ 3349 w 6029"/>
                <a:gd name="connsiteY4" fmla="*/ 804 h 944"/>
                <a:gd name="connsiteX5" fmla="*/ 0 w 6029"/>
                <a:gd name="connsiteY5" fmla="*/ 0 h 944"/>
                <a:gd name="connsiteX6" fmla="*/ 0 w 6029"/>
                <a:gd name="connsiteY6" fmla="*/ 0 h 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944">
                  <a:moveTo>
                    <a:pt x="2010" y="804"/>
                  </a:moveTo>
                  <a:lnTo>
                    <a:pt x="3349" y="804"/>
                  </a:lnTo>
                  <a:lnTo>
                    <a:pt x="4556" y="804"/>
                  </a:lnTo>
                  <a:lnTo>
                    <a:pt x="6029" y="804"/>
                  </a:lnTo>
                  <a:cubicBezTo>
                    <a:pt x="5145" y="991"/>
                    <a:pt x="4234" y="991"/>
                    <a:pt x="3349" y="804"/>
                  </a:cubicBezTo>
                  <a:cubicBezTo>
                    <a:pt x="2197" y="742"/>
                    <a:pt x="1059" y="469"/>
                    <a:pt x="0" y="0"/>
                  </a:cubicBezTo>
                  <a:lnTo>
                    <a:pt x="0" y="0"/>
                  </a:lnTo>
                  <a:close/>
                </a:path>
              </a:pathLst>
            </a:custGeom>
            <a:solidFill>
              <a:srgbClr val="000000"/>
            </a:solidFill>
            <a:ln w="12700" cap="flat">
              <a:noFill/>
              <a:prstDash val="solid"/>
              <a:miter/>
            </a:ln>
          </p:spPr>
          <p:txBody>
            <a:bodyPr rtlCol="0" anchor="ctr"/>
            <a:lstStyle/>
            <a:p>
              <a:endParaRPr lang="en-US"/>
            </a:p>
          </p:txBody>
        </p:sp>
        <p:sp>
          <p:nvSpPr>
            <p:cNvPr id="1439" name="Freeform: Shape 1438">
              <a:extLst>
                <a:ext uri="{FF2B5EF4-FFF2-40B4-BE49-F238E27FC236}">
                  <a16:creationId xmlns:a16="http://schemas.microsoft.com/office/drawing/2014/main" id="{45C26B5D-04CB-4EFB-AE13-4FC76313244A}"/>
                </a:ext>
              </a:extLst>
            </p:cNvPr>
            <p:cNvSpPr/>
            <p:nvPr/>
          </p:nvSpPr>
          <p:spPr>
            <a:xfrm>
              <a:off x="9936043" y="5904228"/>
              <a:ext cx="13397" cy="13395"/>
            </a:xfrm>
            <a:custGeom>
              <a:avLst/>
              <a:gdLst>
                <a:gd name="connsiteX0" fmla="*/ 0 w 13397"/>
                <a:gd name="connsiteY0" fmla="*/ 0 h 13395"/>
                <a:gd name="connsiteX1" fmla="*/ 0 w 13397"/>
                <a:gd name="connsiteY1" fmla="*/ 0 h 13395"/>
                <a:gd name="connsiteX2" fmla="*/ 0 w 13397"/>
                <a:gd name="connsiteY2" fmla="*/ 0 h 13395"/>
              </a:gdLst>
              <a:ahLst/>
              <a:cxnLst>
                <a:cxn ang="0">
                  <a:pos x="connsiteX0" y="connsiteY0"/>
                </a:cxn>
                <a:cxn ang="0">
                  <a:pos x="connsiteX1" y="connsiteY1"/>
                </a:cxn>
                <a:cxn ang="0">
                  <a:pos x="connsiteX2" y="connsiteY2"/>
                </a:cxn>
              </a:cxnLst>
              <a:rect l="l" t="t" r="r" b="b"/>
              <a:pathLst>
                <a:path w="13397" h="13395">
                  <a:moveTo>
                    <a:pt x="0" y="0"/>
                  </a:moveTo>
                  <a:lnTo>
                    <a:pt x="0" y="0"/>
                  </a:lnTo>
                  <a:lnTo>
                    <a:pt x="0" y="0"/>
                  </a:lnTo>
                  <a:close/>
                </a:path>
              </a:pathLst>
            </a:custGeom>
            <a:solidFill>
              <a:srgbClr val="000000"/>
            </a:solidFill>
            <a:ln w="12700" cap="flat">
              <a:noFill/>
              <a:prstDash val="solid"/>
              <a:miter/>
            </a:ln>
          </p:spPr>
          <p:txBody>
            <a:bodyPr rtlCol="0" anchor="ctr"/>
            <a:lstStyle/>
            <a:p>
              <a:endParaRPr lang="en-US"/>
            </a:p>
          </p:txBody>
        </p:sp>
        <p:sp>
          <p:nvSpPr>
            <p:cNvPr id="1440" name="Freeform: Shape 1439">
              <a:extLst>
                <a:ext uri="{FF2B5EF4-FFF2-40B4-BE49-F238E27FC236}">
                  <a16:creationId xmlns:a16="http://schemas.microsoft.com/office/drawing/2014/main" id="{6E804A1E-D9D0-4646-A23D-7A7BCB5310EF}"/>
                </a:ext>
              </a:extLst>
            </p:cNvPr>
            <p:cNvSpPr/>
            <p:nvPr/>
          </p:nvSpPr>
          <p:spPr>
            <a:xfrm>
              <a:off x="9930489" y="5898334"/>
              <a:ext cx="60" cy="937"/>
            </a:xfrm>
            <a:custGeom>
              <a:avLst/>
              <a:gdLst>
                <a:gd name="connsiteX0" fmla="*/ 61 w 60"/>
                <a:gd name="connsiteY0" fmla="*/ 938 h 937"/>
                <a:gd name="connsiteX1" fmla="*/ 61 w 60"/>
                <a:gd name="connsiteY1" fmla="*/ 0 h 937"/>
                <a:gd name="connsiteX2" fmla="*/ 61 w 60"/>
                <a:gd name="connsiteY2" fmla="*/ 0 h 937"/>
                <a:gd name="connsiteX3" fmla="*/ 61 w 60"/>
                <a:gd name="connsiteY3" fmla="*/ 938 h 937"/>
              </a:gdLst>
              <a:ahLst/>
              <a:cxnLst>
                <a:cxn ang="0">
                  <a:pos x="connsiteX0" y="connsiteY0"/>
                </a:cxn>
                <a:cxn ang="0">
                  <a:pos x="connsiteX1" y="connsiteY1"/>
                </a:cxn>
                <a:cxn ang="0">
                  <a:pos x="connsiteX2" y="connsiteY2"/>
                </a:cxn>
                <a:cxn ang="0">
                  <a:pos x="connsiteX3" y="connsiteY3"/>
                </a:cxn>
              </a:cxnLst>
              <a:rect l="l" t="t" r="r" b="b"/>
              <a:pathLst>
                <a:path w="60" h="937">
                  <a:moveTo>
                    <a:pt x="61" y="938"/>
                  </a:moveTo>
                  <a:cubicBezTo>
                    <a:pt x="61" y="938"/>
                    <a:pt x="61" y="268"/>
                    <a:pt x="61" y="0"/>
                  </a:cubicBezTo>
                  <a:lnTo>
                    <a:pt x="61" y="0"/>
                  </a:lnTo>
                  <a:cubicBezTo>
                    <a:pt x="-20" y="308"/>
                    <a:pt x="-20" y="630"/>
                    <a:pt x="61" y="938"/>
                  </a:cubicBezTo>
                  <a:close/>
                </a:path>
              </a:pathLst>
            </a:custGeom>
            <a:solidFill>
              <a:srgbClr val="000000"/>
            </a:solidFill>
            <a:ln w="12700" cap="flat">
              <a:noFill/>
              <a:prstDash val="solid"/>
              <a:miter/>
            </a:ln>
          </p:spPr>
          <p:txBody>
            <a:bodyPr rtlCol="0" anchor="ctr"/>
            <a:lstStyle/>
            <a:p>
              <a:endParaRPr lang="en-US"/>
            </a:p>
          </p:txBody>
        </p:sp>
        <p:sp>
          <p:nvSpPr>
            <p:cNvPr id="1441" name="Freeform: Shape 1440">
              <a:extLst>
                <a:ext uri="{FF2B5EF4-FFF2-40B4-BE49-F238E27FC236}">
                  <a16:creationId xmlns:a16="http://schemas.microsoft.com/office/drawing/2014/main" id="{020D22EF-B508-44FE-8308-06F0361E5CF1}"/>
                </a:ext>
              </a:extLst>
            </p:cNvPr>
            <p:cNvSpPr/>
            <p:nvPr/>
          </p:nvSpPr>
          <p:spPr>
            <a:xfrm>
              <a:off x="9949039" y="5898602"/>
              <a:ext cx="39" cy="1473"/>
            </a:xfrm>
            <a:custGeom>
              <a:avLst/>
              <a:gdLst>
                <a:gd name="connsiteX0" fmla="*/ 0 w 39"/>
                <a:gd name="connsiteY0" fmla="*/ 0 h 1473"/>
                <a:gd name="connsiteX1" fmla="*/ 0 w 39"/>
                <a:gd name="connsiteY1" fmla="*/ 1474 h 1473"/>
                <a:gd name="connsiteX2" fmla="*/ 0 w 39"/>
                <a:gd name="connsiteY2" fmla="*/ 670 h 1473"/>
                <a:gd name="connsiteX3" fmla="*/ 0 w 39"/>
                <a:gd name="connsiteY3" fmla="*/ 0 h 1473"/>
              </a:gdLst>
              <a:ahLst/>
              <a:cxnLst>
                <a:cxn ang="0">
                  <a:pos x="connsiteX0" y="connsiteY0"/>
                </a:cxn>
                <a:cxn ang="0">
                  <a:pos x="connsiteX1" y="connsiteY1"/>
                </a:cxn>
                <a:cxn ang="0">
                  <a:pos x="connsiteX2" y="connsiteY2"/>
                </a:cxn>
                <a:cxn ang="0">
                  <a:pos x="connsiteX3" y="connsiteY3"/>
                </a:cxn>
              </a:cxnLst>
              <a:rect l="l" t="t" r="r" b="b"/>
              <a:pathLst>
                <a:path w="39" h="1473">
                  <a:moveTo>
                    <a:pt x="0" y="0"/>
                  </a:moveTo>
                  <a:cubicBezTo>
                    <a:pt x="53" y="490"/>
                    <a:pt x="53" y="983"/>
                    <a:pt x="0" y="1474"/>
                  </a:cubicBezTo>
                  <a:cubicBezTo>
                    <a:pt x="53" y="1208"/>
                    <a:pt x="53" y="935"/>
                    <a:pt x="0" y="670"/>
                  </a:cubicBezTo>
                  <a:cubicBezTo>
                    <a:pt x="0" y="670"/>
                    <a:pt x="0" y="134"/>
                    <a:pt x="0" y="0"/>
                  </a:cubicBezTo>
                  <a:close/>
                </a:path>
              </a:pathLst>
            </a:custGeom>
            <a:solidFill>
              <a:srgbClr val="000000"/>
            </a:solidFill>
            <a:ln w="12700" cap="flat">
              <a:noFill/>
              <a:prstDash val="solid"/>
              <a:miter/>
            </a:ln>
          </p:spPr>
          <p:txBody>
            <a:bodyPr rtlCol="0" anchor="ctr"/>
            <a:lstStyle/>
            <a:p>
              <a:endParaRPr lang="en-US"/>
            </a:p>
          </p:txBody>
        </p:sp>
        <p:sp>
          <p:nvSpPr>
            <p:cNvPr id="1442" name="Freeform: Shape 1441">
              <a:extLst>
                <a:ext uri="{FF2B5EF4-FFF2-40B4-BE49-F238E27FC236}">
                  <a16:creationId xmlns:a16="http://schemas.microsoft.com/office/drawing/2014/main" id="{41E25AC5-723B-4E0C-AF37-D926DA67C025}"/>
                </a:ext>
              </a:extLst>
            </p:cNvPr>
            <p:cNvSpPr/>
            <p:nvPr/>
          </p:nvSpPr>
          <p:spPr>
            <a:xfrm>
              <a:off x="9682691" y="5788087"/>
              <a:ext cx="14643" cy="111591"/>
            </a:xfrm>
            <a:custGeom>
              <a:avLst/>
              <a:gdLst>
                <a:gd name="connsiteX0" fmla="*/ 7637 w 14643"/>
                <a:gd name="connsiteY0" fmla="*/ 111586 h 111591"/>
                <a:gd name="connsiteX1" fmla="*/ 14603 w 14643"/>
                <a:gd name="connsiteY1" fmla="*/ 105692 h 111591"/>
                <a:gd name="connsiteX2" fmla="*/ 14603 w 14643"/>
                <a:gd name="connsiteY2" fmla="*/ 104352 h 111591"/>
                <a:gd name="connsiteX3" fmla="*/ 14603 w 14643"/>
                <a:gd name="connsiteY3" fmla="*/ 7234 h 111591"/>
                <a:gd name="connsiteX4" fmla="*/ 7369 w 14643"/>
                <a:gd name="connsiteY4" fmla="*/ 0 h 111591"/>
                <a:gd name="connsiteX5" fmla="*/ 0 w 14643"/>
                <a:gd name="connsiteY5" fmla="*/ 7234 h 111591"/>
                <a:gd name="connsiteX6" fmla="*/ 0 w 14643"/>
                <a:gd name="connsiteY6" fmla="*/ 104352 h 111591"/>
                <a:gd name="connsiteX7" fmla="*/ 7503 w 14643"/>
                <a:gd name="connsiteY7" fmla="*/ 111590 h 111591"/>
                <a:gd name="connsiteX8" fmla="*/ 7637 w 14643"/>
                <a:gd name="connsiteY8" fmla="*/ 111586 h 1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43" h="111591">
                  <a:moveTo>
                    <a:pt x="7637" y="111586"/>
                  </a:moveTo>
                  <a:cubicBezTo>
                    <a:pt x="11079" y="111571"/>
                    <a:pt x="14014" y="109086"/>
                    <a:pt x="14603" y="105692"/>
                  </a:cubicBezTo>
                  <a:cubicBezTo>
                    <a:pt x="14657" y="105247"/>
                    <a:pt x="14657" y="104797"/>
                    <a:pt x="14603" y="104352"/>
                  </a:cubicBezTo>
                  <a:lnTo>
                    <a:pt x="14603" y="7234"/>
                  </a:lnTo>
                  <a:cubicBezTo>
                    <a:pt x="14603" y="3239"/>
                    <a:pt x="11361" y="0"/>
                    <a:pt x="7369" y="0"/>
                  </a:cubicBezTo>
                  <a:cubicBezTo>
                    <a:pt x="3349" y="0"/>
                    <a:pt x="67" y="3218"/>
                    <a:pt x="0" y="7234"/>
                  </a:cubicBezTo>
                  <a:lnTo>
                    <a:pt x="0" y="104352"/>
                  </a:lnTo>
                  <a:cubicBezTo>
                    <a:pt x="67" y="108421"/>
                    <a:pt x="3430" y="111661"/>
                    <a:pt x="7503" y="111590"/>
                  </a:cubicBezTo>
                  <a:cubicBezTo>
                    <a:pt x="7543" y="111589"/>
                    <a:pt x="7596" y="111587"/>
                    <a:pt x="7637" y="111586"/>
                  </a:cubicBezTo>
                  <a:close/>
                </a:path>
              </a:pathLst>
            </a:custGeom>
            <a:solidFill>
              <a:srgbClr val="000000"/>
            </a:solidFill>
            <a:ln w="12700" cap="flat">
              <a:noFill/>
              <a:prstDash val="solid"/>
              <a:miter/>
            </a:ln>
          </p:spPr>
          <p:txBody>
            <a:bodyPr rtlCol="0" anchor="ctr"/>
            <a:lstStyle/>
            <a:p>
              <a:endParaRPr lang="en-US"/>
            </a:p>
          </p:txBody>
        </p:sp>
        <p:sp>
          <p:nvSpPr>
            <p:cNvPr id="1443" name="Freeform: Shape 1442">
              <a:extLst>
                <a:ext uri="{FF2B5EF4-FFF2-40B4-BE49-F238E27FC236}">
                  <a16:creationId xmlns:a16="http://schemas.microsoft.com/office/drawing/2014/main" id="{32BE6B9A-A37B-4392-B92E-FD5FD3520C2A}"/>
                </a:ext>
              </a:extLst>
            </p:cNvPr>
            <p:cNvSpPr/>
            <p:nvPr/>
          </p:nvSpPr>
          <p:spPr>
            <a:xfrm>
              <a:off x="9919429" y="5895789"/>
              <a:ext cx="10852" cy="2545"/>
            </a:xfrm>
            <a:custGeom>
              <a:avLst/>
              <a:gdLst>
                <a:gd name="connsiteX0" fmla="*/ 0 w 10852"/>
                <a:gd name="connsiteY0" fmla="*/ 0 h 2545"/>
                <a:gd name="connsiteX1" fmla="*/ 0 w 10852"/>
                <a:gd name="connsiteY1" fmla="*/ 2545 h 2545"/>
                <a:gd name="connsiteX2" fmla="*/ 10852 w 10852"/>
                <a:gd name="connsiteY2" fmla="*/ 2545 h 2545"/>
                <a:gd name="connsiteX3" fmla="*/ 10852 w 10852"/>
                <a:gd name="connsiteY3" fmla="*/ 1340 h 2545"/>
                <a:gd name="connsiteX4" fmla="*/ 10852 w 10852"/>
                <a:gd name="connsiteY4" fmla="*/ 1340 h 2545"/>
                <a:gd name="connsiteX5" fmla="*/ 3885 w 10852"/>
                <a:gd name="connsiteY5" fmla="*/ 134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2" h="2545">
                  <a:moveTo>
                    <a:pt x="0" y="0"/>
                  </a:moveTo>
                  <a:lnTo>
                    <a:pt x="0" y="2545"/>
                  </a:lnTo>
                  <a:lnTo>
                    <a:pt x="10852" y="2545"/>
                  </a:lnTo>
                  <a:cubicBezTo>
                    <a:pt x="10852" y="2545"/>
                    <a:pt x="10852" y="1742"/>
                    <a:pt x="10852" y="1340"/>
                  </a:cubicBezTo>
                  <a:lnTo>
                    <a:pt x="10852" y="1340"/>
                  </a:lnTo>
                  <a:lnTo>
                    <a:pt x="3885" y="134"/>
                  </a:lnTo>
                  <a:close/>
                </a:path>
              </a:pathLst>
            </a:custGeom>
            <a:solidFill>
              <a:srgbClr val="000000"/>
            </a:solidFill>
            <a:ln w="12700" cap="flat">
              <a:noFill/>
              <a:prstDash val="solid"/>
              <a:miter/>
            </a:ln>
          </p:spPr>
          <p:txBody>
            <a:bodyPr rtlCol="0" anchor="ctr"/>
            <a:lstStyle/>
            <a:p>
              <a:endParaRPr lang="en-US"/>
            </a:p>
          </p:txBody>
        </p:sp>
        <p:sp>
          <p:nvSpPr>
            <p:cNvPr id="1444" name="Freeform: Shape 1443">
              <a:extLst>
                <a:ext uri="{FF2B5EF4-FFF2-40B4-BE49-F238E27FC236}">
                  <a16:creationId xmlns:a16="http://schemas.microsoft.com/office/drawing/2014/main" id="{444171F4-7D60-400B-AF18-C2E63C33837D}"/>
                </a:ext>
              </a:extLst>
            </p:cNvPr>
            <p:cNvSpPr/>
            <p:nvPr/>
          </p:nvSpPr>
          <p:spPr>
            <a:xfrm>
              <a:off x="9936043" y="5904094"/>
              <a:ext cx="2545" cy="569851"/>
            </a:xfrm>
            <a:custGeom>
              <a:avLst/>
              <a:gdLst>
                <a:gd name="connsiteX0" fmla="*/ 0 w 2545"/>
                <a:gd name="connsiteY0" fmla="*/ 0 h 569851"/>
                <a:gd name="connsiteX1" fmla="*/ 0 w 2545"/>
                <a:gd name="connsiteY1" fmla="*/ 0 h 569851"/>
                <a:gd name="connsiteX2" fmla="*/ 0 w 2545"/>
                <a:gd name="connsiteY2" fmla="*/ 569852 h 569851"/>
                <a:gd name="connsiteX3" fmla="*/ 1072 w 2545"/>
                <a:gd name="connsiteY3" fmla="*/ 569852 h 569851"/>
                <a:gd name="connsiteX4" fmla="*/ 2546 w 2545"/>
                <a:gd name="connsiteY4" fmla="*/ 569852 h 569851"/>
                <a:gd name="connsiteX5" fmla="*/ 2546 w 2545"/>
                <a:gd name="connsiteY5" fmla="*/ 268 h 569851"/>
                <a:gd name="connsiteX6" fmla="*/ 2546 w 2545"/>
                <a:gd name="connsiteY6" fmla="*/ 268 h 569851"/>
                <a:gd name="connsiteX7" fmla="*/ 1608 w 2545"/>
                <a:gd name="connsiteY7" fmla="*/ 268 h 56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569851">
                  <a:moveTo>
                    <a:pt x="0" y="0"/>
                  </a:moveTo>
                  <a:lnTo>
                    <a:pt x="0" y="0"/>
                  </a:lnTo>
                  <a:lnTo>
                    <a:pt x="0" y="569852"/>
                  </a:lnTo>
                  <a:lnTo>
                    <a:pt x="1072" y="569852"/>
                  </a:lnTo>
                  <a:lnTo>
                    <a:pt x="2546" y="569852"/>
                  </a:lnTo>
                  <a:lnTo>
                    <a:pt x="2546" y="268"/>
                  </a:lnTo>
                  <a:cubicBezTo>
                    <a:pt x="2546" y="268"/>
                    <a:pt x="2546" y="268"/>
                    <a:pt x="2546" y="268"/>
                  </a:cubicBezTo>
                  <a:lnTo>
                    <a:pt x="1608" y="268"/>
                  </a:lnTo>
                  <a:close/>
                </a:path>
              </a:pathLst>
            </a:custGeom>
            <a:solidFill>
              <a:srgbClr val="000000"/>
            </a:solidFill>
            <a:ln w="12700" cap="flat">
              <a:noFill/>
              <a:prstDash val="solid"/>
              <a:miter/>
            </a:ln>
          </p:spPr>
          <p:txBody>
            <a:bodyPr rtlCol="0" anchor="ctr"/>
            <a:lstStyle/>
            <a:p>
              <a:endParaRPr lang="en-US"/>
            </a:p>
          </p:txBody>
        </p:sp>
        <p:sp>
          <p:nvSpPr>
            <p:cNvPr id="1445" name="Freeform: Shape 1444">
              <a:extLst>
                <a:ext uri="{FF2B5EF4-FFF2-40B4-BE49-F238E27FC236}">
                  <a16:creationId xmlns:a16="http://schemas.microsoft.com/office/drawing/2014/main" id="{4F4C55A2-8CB4-472D-BB64-3BAD587237B1}"/>
                </a:ext>
              </a:extLst>
            </p:cNvPr>
            <p:cNvSpPr/>
            <p:nvPr/>
          </p:nvSpPr>
          <p:spPr>
            <a:xfrm>
              <a:off x="9913534" y="6475433"/>
              <a:ext cx="30999" cy="14587"/>
            </a:xfrm>
            <a:custGeom>
              <a:avLst/>
              <a:gdLst>
                <a:gd name="connsiteX0" fmla="*/ 30949 w 30999"/>
                <a:gd name="connsiteY0" fmla="*/ 7488 h 14587"/>
                <a:gd name="connsiteX1" fmla="*/ 30949 w 30999"/>
                <a:gd name="connsiteY1" fmla="*/ 6149 h 14587"/>
                <a:gd name="connsiteX2" fmla="*/ 30949 w 30999"/>
                <a:gd name="connsiteY2" fmla="*/ 4943 h 14587"/>
                <a:gd name="connsiteX3" fmla="*/ 29743 w 30999"/>
                <a:gd name="connsiteY3" fmla="*/ 2264 h 14587"/>
                <a:gd name="connsiteX4" fmla="*/ 27197 w 30999"/>
                <a:gd name="connsiteY4" fmla="*/ 120 h 14587"/>
                <a:gd name="connsiteX5" fmla="*/ 25188 w 30999"/>
                <a:gd name="connsiteY5" fmla="*/ 120 h 14587"/>
                <a:gd name="connsiteX6" fmla="*/ 23714 w 30999"/>
                <a:gd name="connsiteY6" fmla="*/ 120 h 14587"/>
                <a:gd name="connsiteX7" fmla="*/ 22642 w 30999"/>
                <a:gd name="connsiteY7" fmla="*/ 120 h 14587"/>
                <a:gd name="connsiteX8" fmla="*/ 6029 w 30999"/>
                <a:gd name="connsiteY8" fmla="*/ 924 h 14587"/>
                <a:gd name="connsiteX9" fmla="*/ 6029 w 30999"/>
                <a:gd name="connsiteY9" fmla="*/ 7488 h 14587"/>
                <a:gd name="connsiteX10" fmla="*/ 0 w 30999"/>
                <a:gd name="connsiteY10" fmla="*/ 14588 h 14587"/>
                <a:gd name="connsiteX11" fmla="*/ 0 w 30999"/>
                <a:gd name="connsiteY11" fmla="*/ 14588 h 14587"/>
                <a:gd name="connsiteX12" fmla="*/ 24250 w 30999"/>
                <a:gd name="connsiteY12" fmla="*/ 13650 h 14587"/>
                <a:gd name="connsiteX13" fmla="*/ 30815 w 30999"/>
                <a:gd name="connsiteY13" fmla="*/ 8694 h 14587"/>
                <a:gd name="connsiteX14" fmla="*/ 30815 w 30999"/>
                <a:gd name="connsiteY14" fmla="*/ 7488 h 14587"/>
                <a:gd name="connsiteX15" fmla="*/ 28403 w 30999"/>
                <a:gd name="connsiteY15" fmla="*/ 7488 h 14587"/>
                <a:gd name="connsiteX16" fmla="*/ 23848 w 30999"/>
                <a:gd name="connsiteY16" fmla="*/ 7488 h 14587"/>
                <a:gd name="connsiteX17" fmla="*/ 22991 w 30999"/>
                <a:gd name="connsiteY17" fmla="*/ 5800 h 14587"/>
                <a:gd name="connsiteX18" fmla="*/ 23848 w 30999"/>
                <a:gd name="connsiteY18" fmla="*/ 4943 h 14587"/>
                <a:gd name="connsiteX19" fmla="*/ 28403 w 30999"/>
                <a:gd name="connsiteY19" fmla="*/ 4943 h 14587"/>
                <a:gd name="connsiteX20" fmla="*/ 29743 w 30999"/>
                <a:gd name="connsiteY20" fmla="*/ 6001 h 14587"/>
                <a:gd name="connsiteX21" fmla="*/ 29743 w 30999"/>
                <a:gd name="connsiteY21" fmla="*/ 6283 h 14587"/>
                <a:gd name="connsiteX22" fmla="*/ 28403 w 30999"/>
                <a:gd name="connsiteY22" fmla="*/ 7488 h 1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999" h="14587">
                  <a:moveTo>
                    <a:pt x="30949" y="7488"/>
                  </a:moveTo>
                  <a:cubicBezTo>
                    <a:pt x="30949" y="7488"/>
                    <a:pt x="30949" y="6684"/>
                    <a:pt x="30949" y="6149"/>
                  </a:cubicBezTo>
                  <a:cubicBezTo>
                    <a:pt x="31016" y="5747"/>
                    <a:pt x="31016" y="5345"/>
                    <a:pt x="30949" y="4943"/>
                  </a:cubicBezTo>
                  <a:cubicBezTo>
                    <a:pt x="30681" y="3992"/>
                    <a:pt x="30279" y="3094"/>
                    <a:pt x="29743" y="2264"/>
                  </a:cubicBezTo>
                  <a:cubicBezTo>
                    <a:pt x="29127" y="1313"/>
                    <a:pt x="28242" y="563"/>
                    <a:pt x="27197" y="120"/>
                  </a:cubicBezTo>
                  <a:cubicBezTo>
                    <a:pt x="26541" y="-40"/>
                    <a:pt x="25844" y="-40"/>
                    <a:pt x="25188" y="120"/>
                  </a:cubicBezTo>
                  <a:lnTo>
                    <a:pt x="23714" y="120"/>
                  </a:lnTo>
                  <a:lnTo>
                    <a:pt x="22642" y="120"/>
                  </a:lnTo>
                  <a:lnTo>
                    <a:pt x="6029" y="924"/>
                  </a:lnTo>
                  <a:lnTo>
                    <a:pt x="6029" y="7488"/>
                  </a:lnTo>
                  <a:cubicBezTo>
                    <a:pt x="5962" y="10984"/>
                    <a:pt x="3443" y="13958"/>
                    <a:pt x="0" y="14588"/>
                  </a:cubicBezTo>
                  <a:lnTo>
                    <a:pt x="0" y="14588"/>
                  </a:lnTo>
                  <a:lnTo>
                    <a:pt x="24250" y="13650"/>
                  </a:lnTo>
                  <a:cubicBezTo>
                    <a:pt x="27251" y="13530"/>
                    <a:pt x="29864" y="11547"/>
                    <a:pt x="30815" y="8694"/>
                  </a:cubicBezTo>
                  <a:cubicBezTo>
                    <a:pt x="30815" y="8694"/>
                    <a:pt x="30815" y="7890"/>
                    <a:pt x="30815" y="7488"/>
                  </a:cubicBezTo>
                  <a:close/>
                  <a:moveTo>
                    <a:pt x="28403" y="7488"/>
                  </a:moveTo>
                  <a:lnTo>
                    <a:pt x="23848" y="7488"/>
                  </a:lnTo>
                  <a:cubicBezTo>
                    <a:pt x="23138" y="7260"/>
                    <a:pt x="22762" y="6497"/>
                    <a:pt x="22991" y="5800"/>
                  </a:cubicBezTo>
                  <a:cubicBezTo>
                    <a:pt x="23125" y="5398"/>
                    <a:pt x="23446" y="5077"/>
                    <a:pt x="23848" y="4943"/>
                  </a:cubicBezTo>
                  <a:lnTo>
                    <a:pt x="28403" y="4943"/>
                  </a:lnTo>
                  <a:cubicBezTo>
                    <a:pt x="29060" y="4863"/>
                    <a:pt x="29662" y="5332"/>
                    <a:pt x="29743" y="6001"/>
                  </a:cubicBezTo>
                  <a:cubicBezTo>
                    <a:pt x="29757" y="6095"/>
                    <a:pt x="29757" y="6189"/>
                    <a:pt x="29743" y="6283"/>
                  </a:cubicBezTo>
                  <a:cubicBezTo>
                    <a:pt x="29743" y="6283"/>
                    <a:pt x="29073" y="7488"/>
                    <a:pt x="28403" y="7488"/>
                  </a:cubicBezTo>
                  <a:close/>
                </a:path>
              </a:pathLst>
            </a:custGeom>
            <a:solidFill>
              <a:srgbClr val="000000"/>
            </a:solidFill>
            <a:ln w="12700" cap="flat">
              <a:noFill/>
              <a:prstDash val="solid"/>
              <a:miter/>
            </a:ln>
          </p:spPr>
          <p:txBody>
            <a:bodyPr rtlCol="0" anchor="ctr"/>
            <a:lstStyle/>
            <a:p>
              <a:endParaRPr lang="en-US"/>
            </a:p>
          </p:txBody>
        </p:sp>
        <p:sp>
          <p:nvSpPr>
            <p:cNvPr id="1446" name="Freeform: Shape 1445">
              <a:extLst>
                <a:ext uri="{FF2B5EF4-FFF2-40B4-BE49-F238E27FC236}">
                  <a16:creationId xmlns:a16="http://schemas.microsoft.com/office/drawing/2014/main" id="{C4905C94-8A0F-45B1-83F3-D6BEB2D244BA}"/>
                </a:ext>
              </a:extLst>
            </p:cNvPr>
            <p:cNvSpPr/>
            <p:nvPr/>
          </p:nvSpPr>
          <p:spPr>
            <a:xfrm>
              <a:off x="9905178" y="6482653"/>
              <a:ext cx="50" cy="1607"/>
            </a:xfrm>
            <a:custGeom>
              <a:avLst/>
              <a:gdLst>
                <a:gd name="connsiteX0" fmla="*/ 50 w 50"/>
                <a:gd name="connsiteY0" fmla="*/ 1608 h 1607"/>
                <a:gd name="connsiteX1" fmla="*/ 50 w 50"/>
                <a:gd name="connsiteY1" fmla="*/ 0 h 1607"/>
                <a:gd name="connsiteX2" fmla="*/ 50 w 50"/>
                <a:gd name="connsiteY2" fmla="*/ 0 h 1607"/>
                <a:gd name="connsiteX3" fmla="*/ 50 w 50"/>
                <a:gd name="connsiteY3" fmla="*/ 1608 h 1607"/>
              </a:gdLst>
              <a:ahLst/>
              <a:cxnLst>
                <a:cxn ang="0">
                  <a:pos x="connsiteX0" y="connsiteY0"/>
                </a:cxn>
                <a:cxn ang="0">
                  <a:pos x="connsiteX1" y="connsiteY1"/>
                </a:cxn>
                <a:cxn ang="0">
                  <a:pos x="connsiteX2" y="connsiteY2"/>
                </a:cxn>
                <a:cxn ang="0">
                  <a:pos x="connsiteX3" y="connsiteY3"/>
                </a:cxn>
              </a:cxnLst>
              <a:rect l="l" t="t" r="r" b="b"/>
              <a:pathLst>
                <a:path w="50" h="1607">
                  <a:moveTo>
                    <a:pt x="50" y="1608"/>
                  </a:moveTo>
                  <a:cubicBezTo>
                    <a:pt x="-17" y="1072"/>
                    <a:pt x="-17" y="536"/>
                    <a:pt x="50" y="0"/>
                  </a:cubicBezTo>
                  <a:lnTo>
                    <a:pt x="50" y="0"/>
                  </a:lnTo>
                  <a:cubicBezTo>
                    <a:pt x="-17" y="536"/>
                    <a:pt x="-17" y="1072"/>
                    <a:pt x="50" y="1608"/>
                  </a:cubicBezTo>
                  <a:close/>
                </a:path>
              </a:pathLst>
            </a:custGeom>
            <a:solidFill>
              <a:srgbClr val="000000"/>
            </a:solidFill>
            <a:ln w="12700" cap="flat">
              <a:noFill/>
              <a:prstDash val="solid"/>
              <a:miter/>
            </a:ln>
          </p:spPr>
          <p:txBody>
            <a:bodyPr rtlCol="0" anchor="ctr"/>
            <a:lstStyle/>
            <a:p>
              <a:endParaRPr lang="en-US"/>
            </a:p>
          </p:txBody>
        </p:sp>
        <p:sp>
          <p:nvSpPr>
            <p:cNvPr id="1447" name="Freeform: Shape 1446">
              <a:extLst>
                <a:ext uri="{FF2B5EF4-FFF2-40B4-BE49-F238E27FC236}">
                  <a16:creationId xmlns:a16="http://schemas.microsoft.com/office/drawing/2014/main" id="{AFF40DC1-F031-43FF-A8BE-27FF6402B399}"/>
                </a:ext>
              </a:extLst>
            </p:cNvPr>
            <p:cNvSpPr/>
            <p:nvPr/>
          </p:nvSpPr>
          <p:spPr>
            <a:xfrm>
              <a:off x="9909247" y="6489485"/>
              <a:ext cx="1607" cy="13395"/>
            </a:xfrm>
            <a:custGeom>
              <a:avLst/>
              <a:gdLst>
                <a:gd name="connsiteX0" fmla="*/ 1608 w 1607"/>
                <a:gd name="connsiteY0" fmla="*/ 0 h 13395"/>
                <a:gd name="connsiteX1" fmla="*/ 1608 w 1607"/>
                <a:gd name="connsiteY1" fmla="*/ 0 h 13395"/>
                <a:gd name="connsiteX2" fmla="*/ 0 w 1607"/>
                <a:gd name="connsiteY2" fmla="*/ 0 h 13395"/>
              </a:gdLst>
              <a:ahLst/>
              <a:cxnLst>
                <a:cxn ang="0">
                  <a:pos x="connsiteX0" y="connsiteY0"/>
                </a:cxn>
                <a:cxn ang="0">
                  <a:pos x="connsiteX1" y="connsiteY1"/>
                </a:cxn>
                <a:cxn ang="0">
                  <a:pos x="connsiteX2" y="connsiteY2"/>
                </a:cxn>
              </a:cxnLst>
              <a:rect l="l" t="t" r="r" b="b"/>
              <a:pathLst>
                <a:path w="1607" h="13395">
                  <a:moveTo>
                    <a:pt x="1608" y="0"/>
                  </a:moveTo>
                  <a:lnTo>
                    <a:pt x="1608" y="0"/>
                  </a:lnTo>
                  <a:lnTo>
                    <a:pt x="0" y="0"/>
                  </a:lnTo>
                  <a:close/>
                </a:path>
              </a:pathLst>
            </a:custGeom>
            <a:solidFill>
              <a:srgbClr val="000000"/>
            </a:solidFill>
            <a:ln w="12700" cap="flat">
              <a:noFill/>
              <a:prstDash val="solid"/>
              <a:miter/>
            </a:ln>
          </p:spPr>
          <p:txBody>
            <a:bodyPr rtlCol="0" anchor="ctr"/>
            <a:lstStyle/>
            <a:p>
              <a:endParaRPr lang="en-US"/>
            </a:p>
          </p:txBody>
        </p:sp>
        <p:sp>
          <p:nvSpPr>
            <p:cNvPr id="1448" name="Freeform: Shape 1447">
              <a:extLst>
                <a:ext uri="{FF2B5EF4-FFF2-40B4-BE49-F238E27FC236}">
                  <a16:creationId xmlns:a16="http://schemas.microsoft.com/office/drawing/2014/main" id="{01FD9728-C84F-4C41-B1D9-F8D55E2897C6}"/>
                </a:ext>
              </a:extLst>
            </p:cNvPr>
            <p:cNvSpPr/>
            <p:nvPr/>
          </p:nvSpPr>
          <p:spPr>
            <a:xfrm>
              <a:off x="9919429" y="5892440"/>
              <a:ext cx="10583" cy="4554"/>
            </a:xfrm>
            <a:custGeom>
              <a:avLst/>
              <a:gdLst>
                <a:gd name="connsiteX0" fmla="*/ 3751 w 10583"/>
                <a:gd name="connsiteY0" fmla="*/ 3349 h 4554"/>
                <a:gd name="connsiteX1" fmla="*/ 10584 w 10583"/>
                <a:gd name="connsiteY1" fmla="*/ 4555 h 4554"/>
                <a:gd name="connsiteX2" fmla="*/ 10584 w 10583"/>
                <a:gd name="connsiteY2" fmla="*/ 2009 h 4554"/>
                <a:gd name="connsiteX3" fmla="*/ 0 w 10583"/>
                <a:gd name="connsiteY3" fmla="*/ 0 h 4554"/>
                <a:gd name="connsiteX4" fmla="*/ 0 w 10583"/>
                <a:gd name="connsiteY4" fmla="*/ 2679 h 4554"/>
                <a:gd name="connsiteX5" fmla="*/ 3751 w 10583"/>
                <a:gd name="connsiteY5" fmla="*/ 3349 h 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3" h="4554">
                  <a:moveTo>
                    <a:pt x="3751" y="3349"/>
                  </a:moveTo>
                  <a:lnTo>
                    <a:pt x="10584" y="4555"/>
                  </a:lnTo>
                  <a:lnTo>
                    <a:pt x="10584" y="2009"/>
                  </a:lnTo>
                  <a:lnTo>
                    <a:pt x="0" y="0"/>
                  </a:lnTo>
                  <a:lnTo>
                    <a:pt x="0" y="2679"/>
                  </a:lnTo>
                  <a:lnTo>
                    <a:pt x="3751" y="3349"/>
                  </a:lnTo>
                  <a:close/>
                </a:path>
              </a:pathLst>
            </a:custGeom>
            <a:solidFill>
              <a:srgbClr val="000000"/>
            </a:solidFill>
            <a:ln w="12700" cap="flat">
              <a:noFill/>
              <a:prstDash val="solid"/>
              <a:miter/>
            </a:ln>
          </p:spPr>
          <p:txBody>
            <a:bodyPr rtlCol="0" anchor="ctr"/>
            <a:lstStyle/>
            <a:p>
              <a:endParaRPr lang="en-US"/>
            </a:p>
          </p:txBody>
        </p:sp>
        <p:sp>
          <p:nvSpPr>
            <p:cNvPr id="1449" name="Freeform: Shape 1448">
              <a:extLst>
                <a:ext uri="{FF2B5EF4-FFF2-40B4-BE49-F238E27FC236}">
                  <a16:creationId xmlns:a16="http://schemas.microsoft.com/office/drawing/2014/main" id="{5F0D0C1D-4658-4CFC-854D-DF331FDCDF8C}"/>
                </a:ext>
              </a:extLst>
            </p:cNvPr>
            <p:cNvSpPr/>
            <p:nvPr/>
          </p:nvSpPr>
          <p:spPr>
            <a:xfrm>
              <a:off x="9936326" y="6479840"/>
              <a:ext cx="6701" cy="2545"/>
            </a:xfrm>
            <a:custGeom>
              <a:avLst/>
              <a:gdLst>
                <a:gd name="connsiteX0" fmla="*/ 5478 w 6701"/>
                <a:gd name="connsiteY0" fmla="*/ 0 h 2545"/>
                <a:gd name="connsiteX1" fmla="*/ 923 w 6701"/>
                <a:gd name="connsiteY1" fmla="*/ 0 h 2545"/>
                <a:gd name="connsiteX2" fmla="*/ 65 w 6701"/>
                <a:gd name="connsiteY2" fmla="*/ 1688 h 2545"/>
                <a:gd name="connsiteX3" fmla="*/ 923 w 6701"/>
                <a:gd name="connsiteY3" fmla="*/ 2545 h 2545"/>
                <a:gd name="connsiteX4" fmla="*/ 5478 w 6701"/>
                <a:gd name="connsiteY4" fmla="*/ 2545 h 2545"/>
                <a:gd name="connsiteX5" fmla="*/ 6684 w 6701"/>
                <a:gd name="connsiteY5" fmla="*/ 1206 h 2545"/>
                <a:gd name="connsiteX6" fmla="*/ 5478 w 6701"/>
                <a:gd name="connsiteY6"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1" h="2545">
                  <a:moveTo>
                    <a:pt x="5478" y="0"/>
                  </a:moveTo>
                  <a:lnTo>
                    <a:pt x="923" y="0"/>
                  </a:lnTo>
                  <a:cubicBezTo>
                    <a:pt x="226" y="228"/>
                    <a:pt x="-162" y="991"/>
                    <a:pt x="65" y="1688"/>
                  </a:cubicBezTo>
                  <a:cubicBezTo>
                    <a:pt x="199" y="2090"/>
                    <a:pt x="521" y="2411"/>
                    <a:pt x="923" y="2545"/>
                  </a:cubicBezTo>
                  <a:lnTo>
                    <a:pt x="5478" y="2545"/>
                  </a:lnTo>
                  <a:cubicBezTo>
                    <a:pt x="6147" y="2545"/>
                    <a:pt x="6818" y="1875"/>
                    <a:pt x="6684" y="1206"/>
                  </a:cubicBezTo>
                  <a:cubicBezTo>
                    <a:pt x="6684" y="536"/>
                    <a:pt x="6147" y="0"/>
                    <a:pt x="5478" y="0"/>
                  </a:cubicBezTo>
                  <a:close/>
                </a:path>
              </a:pathLst>
            </a:custGeom>
            <a:solidFill>
              <a:srgbClr val="000000"/>
            </a:solidFill>
            <a:ln w="12700" cap="flat">
              <a:noFill/>
              <a:prstDash val="solid"/>
              <a:miter/>
            </a:ln>
          </p:spPr>
          <p:txBody>
            <a:bodyPr rtlCol="0" anchor="ctr"/>
            <a:lstStyle/>
            <a:p>
              <a:endParaRPr lang="en-US"/>
            </a:p>
          </p:txBody>
        </p:sp>
        <p:sp>
          <p:nvSpPr>
            <p:cNvPr id="1450" name="Freeform: Shape 1449">
              <a:extLst>
                <a:ext uri="{FF2B5EF4-FFF2-40B4-BE49-F238E27FC236}">
                  <a16:creationId xmlns:a16="http://schemas.microsoft.com/office/drawing/2014/main" id="{1B8DBD2D-D1C8-4891-AF14-94ACDABA2C96}"/>
                </a:ext>
              </a:extLst>
            </p:cNvPr>
            <p:cNvSpPr/>
            <p:nvPr/>
          </p:nvSpPr>
          <p:spPr>
            <a:xfrm>
              <a:off x="9904805" y="5788065"/>
              <a:ext cx="34452" cy="18106"/>
            </a:xfrm>
            <a:custGeom>
              <a:avLst/>
              <a:gdLst>
                <a:gd name="connsiteX0" fmla="*/ 154 w 34452"/>
                <a:gd name="connsiteY0" fmla="*/ 5782 h 18106"/>
                <a:gd name="connsiteX1" fmla="*/ 5741 w 34452"/>
                <a:gd name="connsiteY1" fmla="*/ 14349 h 18106"/>
                <a:gd name="connsiteX2" fmla="*/ 5781 w 34452"/>
                <a:gd name="connsiteY2" fmla="*/ 14355 h 18106"/>
                <a:gd name="connsiteX3" fmla="*/ 5781 w 34452"/>
                <a:gd name="connsiteY3" fmla="*/ 14355 h 18106"/>
                <a:gd name="connsiteX4" fmla="*/ 8327 w 34452"/>
                <a:gd name="connsiteY4" fmla="*/ 14355 h 18106"/>
                <a:gd name="connsiteX5" fmla="*/ 25074 w 34452"/>
                <a:gd name="connsiteY5" fmla="*/ 18106 h 18106"/>
                <a:gd name="connsiteX6" fmla="*/ 25074 w 34452"/>
                <a:gd name="connsiteY6" fmla="*/ 12212 h 18106"/>
                <a:gd name="connsiteX7" fmla="*/ 32309 w 34452"/>
                <a:gd name="connsiteY7" fmla="*/ 4978 h 18106"/>
                <a:gd name="connsiteX8" fmla="*/ 34453 w 34452"/>
                <a:gd name="connsiteY8" fmla="*/ 4978 h 18106"/>
                <a:gd name="connsiteX9" fmla="*/ 34453 w 34452"/>
                <a:gd name="connsiteY9" fmla="*/ 4978 h 18106"/>
                <a:gd name="connsiteX10" fmla="*/ 9533 w 34452"/>
                <a:gd name="connsiteY10" fmla="*/ 156 h 18106"/>
                <a:gd name="connsiteX11" fmla="*/ 8729 w 34452"/>
                <a:gd name="connsiteY11" fmla="*/ 156 h 18106"/>
                <a:gd name="connsiteX12" fmla="*/ 168 w 34452"/>
                <a:gd name="connsiteY12" fmla="*/ 5749 h 18106"/>
                <a:gd name="connsiteX13" fmla="*/ 154 w 34452"/>
                <a:gd name="connsiteY13" fmla="*/ 5782 h 1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52" h="18106">
                  <a:moveTo>
                    <a:pt x="154" y="5782"/>
                  </a:moveTo>
                  <a:cubicBezTo>
                    <a:pt x="-662" y="9692"/>
                    <a:pt x="1843" y="13527"/>
                    <a:pt x="5741" y="14349"/>
                  </a:cubicBezTo>
                  <a:cubicBezTo>
                    <a:pt x="5755" y="14350"/>
                    <a:pt x="5768" y="14353"/>
                    <a:pt x="5781" y="14355"/>
                  </a:cubicBezTo>
                  <a:lnTo>
                    <a:pt x="5781" y="14355"/>
                  </a:lnTo>
                  <a:lnTo>
                    <a:pt x="8327" y="14355"/>
                  </a:lnTo>
                  <a:lnTo>
                    <a:pt x="25074" y="18106"/>
                  </a:lnTo>
                  <a:lnTo>
                    <a:pt x="25074" y="12212"/>
                  </a:lnTo>
                  <a:cubicBezTo>
                    <a:pt x="25074" y="8217"/>
                    <a:pt x="28316" y="4978"/>
                    <a:pt x="32309" y="4978"/>
                  </a:cubicBezTo>
                  <a:cubicBezTo>
                    <a:pt x="33019" y="4838"/>
                    <a:pt x="33743" y="4838"/>
                    <a:pt x="34453" y="4978"/>
                  </a:cubicBezTo>
                  <a:lnTo>
                    <a:pt x="34453" y="4978"/>
                  </a:lnTo>
                  <a:lnTo>
                    <a:pt x="9533" y="156"/>
                  </a:lnTo>
                  <a:lnTo>
                    <a:pt x="8729" y="156"/>
                  </a:lnTo>
                  <a:cubicBezTo>
                    <a:pt x="4817" y="-665"/>
                    <a:pt x="985" y="1838"/>
                    <a:pt x="168" y="5749"/>
                  </a:cubicBezTo>
                  <a:cubicBezTo>
                    <a:pt x="154" y="5759"/>
                    <a:pt x="154" y="5771"/>
                    <a:pt x="154" y="5782"/>
                  </a:cubicBezTo>
                  <a:close/>
                </a:path>
              </a:pathLst>
            </a:custGeom>
            <a:solidFill>
              <a:srgbClr val="000000"/>
            </a:solidFill>
            <a:ln w="12700" cap="flat">
              <a:noFill/>
              <a:prstDash val="solid"/>
              <a:miter/>
            </a:ln>
          </p:spPr>
          <p:txBody>
            <a:bodyPr rtlCol="0" anchor="ctr"/>
            <a:lstStyle/>
            <a:p>
              <a:endParaRPr lang="en-US"/>
            </a:p>
          </p:txBody>
        </p:sp>
        <p:sp>
          <p:nvSpPr>
            <p:cNvPr id="1451" name="Freeform: Shape 1450">
              <a:extLst>
                <a:ext uri="{FF2B5EF4-FFF2-40B4-BE49-F238E27FC236}">
                  <a16:creationId xmlns:a16="http://schemas.microsoft.com/office/drawing/2014/main" id="{95718290-3C0F-433B-81D6-BFBFF61BD073}"/>
                </a:ext>
              </a:extLst>
            </p:cNvPr>
            <p:cNvSpPr/>
            <p:nvPr/>
          </p:nvSpPr>
          <p:spPr>
            <a:xfrm>
              <a:off x="9941134" y="5794785"/>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endParaRPr lang="en-US"/>
            </a:p>
          </p:txBody>
        </p:sp>
        <p:sp>
          <p:nvSpPr>
            <p:cNvPr id="1452" name="Freeform: Shape 1451">
              <a:extLst>
                <a:ext uri="{FF2B5EF4-FFF2-40B4-BE49-F238E27FC236}">
                  <a16:creationId xmlns:a16="http://schemas.microsoft.com/office/drawing/2014/main" id="{7FA4263D-3D58-4B1A-A979-BDBB07B0CCDA}"/>
                </a:ext>
              </a:extLst>
            </p:cNvPr>
            <p:cNvSpPr/>
            <p:nvPr/>
          </p:nvSpPr>
          <p:spPr>
            <a:xfrm>
              <a:off x="11322040" y="6479170"/>
              <a:ext cx="455121" cy="2679"/>
            </a:xfrm>
            <a:custGeom>
              <a:avLst/>
              <a:gdLst>
                <a:gd name="connsiteX0" fmla="*/ 0 w 455121"/>
                <a:gd name="connsiteY0" fmla="*/ 2009 h 2679"/>
                <a:gd name="connsiteX1" fmla="*/ 0 w 455121"/>
                <a:gd name="connsiteY1" fmla="*/ 2679 h 2679"/>
                <a:gd name="connsiteX2" fmla="*/ 455121 w 455121"/>
                <a:gd name="connsiteY2" fmla="*/ 2679 h 2679"/>
                <a:gd name="connsiteX3" fmla="*/ 455121 w 455121"/>
                <a:gd name="connsiteY3" fmla="*/ 2009 h 2679"/>
                <a:gd name="connsiteX4" fmla="*/ 455121 w 455121"/>
                <a:gd name="connsiteY4" fmla="*/ 1340 h 2679"/>
                <a:gd name="connsiteX5" fmla="*/ 455121 w 455121"/>
                <a:gd name="connsiteY5" fmla="*/ 268 h 2679"/>
                <a:gd name="connsiteX6" fmla="*/ 455121 w 455121"/>
                <a:gd name="connsiteY6" fmla="*/ 0 h 2679"/>
                <a:gd name="connsiteX7" fmla="*/ 0 w 455121"/>
                <a:gd name="connsiteY7" fmla="*/ 0 h 2679"/>
                <a:gd name="connsiteX8" fmla="*/ 0 w 455121"/>
                <a:gd name="connsiteY8" fmla="*/ 268 h 2679"/>
                <a:gd name="connsiteX9" fmla="*/ 0 w 455121"/>
                <a:gd name="connsiteY9" fmla="*/ 1340 h 2679"/>
                <a:gd name="connsiteX10" fmla="*/ 0 w 455121"/>
                <a:gd name="connsiteY10"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121" h="2679">
                  <a:moveTo>
                    <a:pt x="0" y="2009"/>
                  </a:moveTo>
                  <a:lnTo>
                    <a:pt x="0" y="2679"/>
                  </a:lnTo>
                  <a:lnTo>
                    <a:pt x="455121" y="2679"/>
                  </a:lnTo>
                  <a:lnTo>
                    <a:pt x="455121" y="2009"/>
                  </a:lnTo>
                  <a:lnTo>
                    <a:pt x="455121" y="1340"/>
                  </a:lnTo>
                  <a:lnTo>
                    <a:pt x="455121" y="268"/>
                  </a:lnTo>
                  <a:lnTo>
                    <a:pt x="455121" y="0"/>
                  </a:lnTo>
                  <a:lnTo>
                    <a:pt x="0" y="0"/>
                  </a:lnTo>
                  <a:lnTo>
                    <a:pt x="0" y="268"/>
                  </a:lnTo>
                  <a:lnTo>
                    <a:pt x="0" y="1340"/>
                  </a:lnTo>
                  <a:lnTo>
                    <a:pt x="0" y="2009"/>
                  </a:lnTo>
                  <a:close/>
                </a:path>
              </a:pathLst>
            </a:custGeom>
            <a:solidFill>
              <a:srgbClr val="000000"/>
            </a:solidFill>
            <a:ln w="12700" cap="flat">
              <a:noFill/>
              <a:prstDash val="solid"/>
              <a:miter/>
            </a:ln>
          </p:spPr>
          <p:txBody>
            <a:bodyPr rtlCol="0" anchor="ctr"/>
            <a:lstStyle/>
            <a:p>
              <a:endParaRPr lang="en-US"/>
            </a:p>
          </p:txBody>
        </p:sp>
        <p:sp>
          <p:nvSpPr>
            <p:cNvPr id="1453" name="Freeform: Shape 1452">
              <a:extLst>
                <a:ext uri="{FF2B5EF4-FFF2-40B4-BE49-F238E27FC236}">
                  <a16:creationId xmlns:a16="http://schemas.microsoft.com/office/drawing/2014/main" id="{B3AD4766-7D2D-43EC-AD5A-B16CB17A36ED}"/>
                </a:ext>
              </a:extLst>
            </p:cNvPr>
            <p:cNvSpPr/>
            <p:nvPr/>
          </p:nvSpPr>
          <p:spPr>
            <a:xfrm>
              <a:off x="10673053" y="6479438"/>
              <a:ext cx="11521" cy="2411"/>
            </a:xfrm>
            <a:custGeom>
              <a:avLst/>
              <a:gdLst>
                <a:gd name="connsiteX0" fmla="*/ 670 w 11521"/>
                <a:gd name="connsiteY0" fmla="*/ 2411 h 2411"/>
                <a:gd name="connsiteX1" fmla="*/ 11522 w 11521"/>
                <a:gd name="connsiteY1" fmla="*/ 2411 h 2411"/>
                <a:gd name="connsiteX2" fmla="*/ 11522 w 11521"/>
                <a:gd name="connsiteY2" fmla="*/ 0 h 2411"/>
                <a:gd name="connsiteX3" fmla="*/ 11522 w 11521"/>
                <a:gd name="connsiteY3" fmla="*/ 0 h 2411"/>
                <a:gd name="connsiteX4" fmla="*/ 1072 w 11521"/>
                <a:gd name="connsiteY4" fmla="*/ 0 h 2411"/>
                <a:gd name="connsiteX5" fmla="*/ 134 w 11521"/>
                <a:gd name="connsiteY5" fmla="*/ 670 h 2411"/>
                <a:gd name="connsiteX6" fmla="*/ 134 w 11521"/>
                <a:gd name="connsiteY6" fmla="*/ 670 h 2411"/>
                <a:gd name="connsiteX7" fmla="*/ 670 w 11521"/>
                <a:gd name="connsiteY7" fmla="*/ 2411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21" h="2411">
                  <a:moveTo>
                    <a:pt x="670" y="2411"/>
                  </a:moveTo>
                  <a:lnTo>
                    <a:pt x="11522" y="2411"/>
                  </a:lnTo>
                  <a:cubicBezTo>
                    <a:pt x="11388" y="1607"/>
                    <a:pt x="11388" y="804"/>
                    <a:pt x="11522" y="0"/>
                  </a:cubicBezTo>
                  <a:lnTo>
                    <a:pt x="11522" y="0"/>
                  </a:lnTo>
                  <a:lnTo>
                    <a:pt x="1072" y="0"/>
                  </a:lnTo>
                  <a:cubicBezTo>
                    <a:pt x="670" y="54"/>
                    <a:pt x="308" y="308"/>
                    <a:pt x="134" y="670"/>
                  </a:cubicBezTo>
                  <a:cubicBezTo>
                    <a:pt x="134" y="670"/>
                    <a:pt x="134" y="670"/>
                    <a:pt x="134" y="670"/>
                  </a:cubicBezTo>
                  <a:cubicBezTo>
                    <a:pt x="-174" y="1299"/>
                    <a:pt x="67" y="2063"/>
                    <a:pt x="670" y="2411"/>
                  </a:cubicBezTo>
                  <a:close/>
                </a:path>
              </a:pathLst>
            </a:custGeom>
            <a:solidFill>
              <a:srgbClr val="000000"/>
            </a:solidFill>
            <a:ln w="12700" cap="flat">
              <a:noFill/>
              <a:prstDash val="solid"/>
              <a:miter/>
            </a:ln>
          </p:spPr>
          <p:txBody>
            <a:bodyPr rtlCol="0" anchor="ctr"/>
            <a:lstStyle/>
            <a:p>
              <a:endParaRPr lang="en-US"/>
            </a:p>
          </p:txBody>
        </p:sp>
        <p:sp>
          <p:nvSpPr>
            <p:cNvPr id="1454" name="Freeform: Shape 1453">
              <a:extLst>
                <a:ext uri="{FF2B5EF4-FFF2-40B4-BE49-F238E27FC236}">
                  <a16:creationId xmlns:a16="http://schemas.microsoft.com/office/drawing/2014/main" id="{0165DA64-84BE-4D5E-AAD7-6B192AA50777}"/>
                </a:ext>
              </a:extLst>
            </p:cNvPr>
            <p:cNvSpPr/>
            <p:nvPr/>
          </p:nvSpPr>
          <p:spPr>
            <a:xfrm>
              <a:off x="9989365" y="6479170"/>
              <a:ext cx="46758" cy="2679"/>
            </a:xfrm>
            <a:custGeom>
              <a:avLst/>
              <a:gdLst>
                <a:gd name="connsiteX0" fmla="*/ 46759 w 46758"/>
                <a:gd name="connsiteY0" fmla="*/ 2679 h 2679"/>
                <a:gd name="connsiteX1" fmla="*/ 46759 w 46758"/>
                <a:gd name="connsiteY1" fmla="*/ 0 h 2679"/>
                <a:gd name="connsiteX2" fmla="*/ 0 w 46758"/>
                <a:gd name="connsiteY2" fmla="*/ 0 h 2679"/>
                <a:gd name="connsiteX3" fmla="*/ 0 w 46758"/>
                <a:gd name="connsiteY3" fmla="*/ 2679 h 2679"/>
              </a:gdLst>
              <a:ahLst/>
              <a:cxnLst>
                <a:cxn ang="0">
                  <a:pos x="connsiteX0" y="connsiteY0"/>
                </a:cxn>
                <a:cxn ang="0">
                  <a:pos x="connsiteX1" y="connsiteY1"/>
                </a:cxn>
                <a:cxn ang="0">
                  <a:pos x="connsiteX2" y="connsiteY2"/>
                </a:cxn>
                <a:cxn ang="0">
                  <a:pos x="connsiteX3" y="connsiteY3"/>
                </a:cxn>
              </a:cxnLst>
              <a:rect l="l" t="t" r="r" b="b"/>
              <a:pathLst>
                <a:path w="46758" h="2679">
                  <a:moveTo>
                    <a:pt x="46759" y="2679"/>
                  </a:moveTo>
                  <a:lnTo>
                    <a:pt x="46759" y="0"/>
                  </a:lnTo>
                  <a:lnTo>
                    <a:pt x="0" y="0"/>
                  </a:lnTo>
                  <a:cubicBezTo>
                    <a:pt x="134" y="884"/>
                    <a:pt x="134" y="1795"/>
                    <a:pt x="0" y="2679"/>
                  </a:cubicBezTo>
                  <a:close/>
                </a:path>
              </a:pathLst>
            </a:custGeom>
            <a:solidFill>
              <a:srgbClr val="000000"/>
            </a:solidFill>
            <a:ln w="12700" cap="flat">
              <a:noFill/>
              <a:prstDash val="solid"/>
              <a:miter/>
            </a:ln>
          </p:spPr>
          <p:txBody>
            <a:bodyPr rtlCol="0" anchor="ctr"/>
            <a:lstStyle/>
            <a:p>
              <a:endParaRPr lang="en-US"/>
            </a:p>
          </p:txBody>
        </p:sp>
        <p:sp>
          <p:nvSpPr>
            <p:cNvPr id="1455" name="Freeform: Shape 1454">
              <a:extLst>
                <a:ext uri="{FF2B5EF4-FFF2-40B4-BE49-F238E27FC236}">
                  <a16:creationId xmlns:a16="http://schemas.microsoft.com/office/drawing/2014/main" id="{1EACFF9D-7E4C-4570-B34C-C338C607F89A}"/>
                </a:ext>
              </a:extLst>
            </p:cNvPr>
            <p:cNvSpPr/>
            <p:nvPr/>
          </p:nvSpPr>
          <p:spPr>
            <a:xfrm>
              <a:off x="9954934" y="6487743"/>
              <a:ext cx="2678" cy="150"/>
            </a:xfrm>
            <a:custGeom>
              <a:avLst/>
              <a:gdLst>
                <a:gd name="connsiteX0" fmla="*/ 2679 w 2678"/>
                <a:gd name="connsiteY0" fmla="*/ 0 h 150"/>
                <a:gd name="connsiteX1" fmla="*/ 2679 w 2678"/>
                <a:gd name="connsiteY1" fmla="*/ 0 h 150"/>
                <a:gd name="connsiteX2" fmla="*/ 0 w 2678"/>
                <a:gd name="connsiteY2" fmla="*/ 0 h 150"/>
                <a:gd name="connsiteX3" fmla="*/ 2679 w 2678"/>
                <a:gd name="connsiteY3" fmla="*/ 0 h 150"/>
              </a:gdLst>
              <a:ahLst/>
              <a:cxnLst>
                <a:cxn ang="0">
                  <a:pos x="connsiteX0" y="connsiteY0"/>
                </a:cxn>
                <a:cxn ang="0">
                  <a:pos x="connsiteX1" y="connsiteY1"/>
                </a:cxn>
                <a:cxn ang="0">
                  <a:pos x="connsiteX2" y="connsiteY2"/>
                </a:cxn>
                <a:cxn ang="0">
                  <a:pos x="connsiteX3" y="connsiteY3"/>
                </a:cxn>
              </a:cxnLst>
              <a:rect l="l" t="t" r="r" b="b"/>
              <a:pathLst>
                <a:path w="2678" h="150">
                  <a:moveTo>
                    <a:pt x="2679" y="0"/>
                  </a:moveTo>
                  <a:lnTo>
                    <a:pt x="2679" y="0"/>
                  </a:lnTo>
                  <a:cubicBezTo>
                    <a:pt x="1795" y="201"/>
                    <a:pt x="884" y="201"/>
                    <a:pt x="0" y="0"/>
                  </a:cubicBezTo>
                  <a:cubicBezTo>
                    <a:pt x="884" y="201"/>
                    <a:pt x="1795" y="201"/>
                    <a:pt x="2679" y="0"/>
                  </a:cubicBezTo>
                  <a:close/>
                </a:path>
              </a:pathLst>
            </a:custGeom>
            <a:solidFill>
              <a:srgbClr val="000000"/>
            </a:solidFill>
            <a:ln w="12700" cap="flat">
              <a:noFill/>
              <a:prstDash val="solid"/>
              <a:miter/>
            </a:ln>
          </p:spPr>
          <p:txBody>
            <a:bodyPr rtlCol="0" anchor="ctr"/>
            <a:lstStyle/>
            <a:p>
              <a:endParaRPr lang="en-US"/>
            </a:p>
          </p:txBody>
        </p:sp>
        <p:sp>
          <p:nvSpPr>
            <p:cNvPr id="1456" name="Freeform: Shape 1455">
              <a:extLst>
                <a:ext uri="{FF2B5EF4-FFF2-40B4-BE49-F238E27FC236}">
                  <a16:creationId xmlns:a16="http://schemas.microsoft.com/office/drawing/2014/main" id="{35051BEA-6C83-45C5-9ED9-2C125C71F5A4}"/>
                </a:ext>
              </a:extLst>
            </p:cNvPr>
            <p:cNvSpPr/>
            <p:nvPr/>
          </p:nvSpPr>
          <p:spPr>
            <a:xfrm>
              <a:off x="9951048" y="6483457"/>
              <a:ext cx="937" cy="1339"/>
            </a:xfrm>
            <a:custGeom>
              <a:avLst/>
              <a:gdLst>
                <a:gd name="connsiteX0" fmla="*/ 134 w 937"/>
                <a:gd name="connsiteY0" fmla="*/ 268 h 1339"/>
                <a:gd name="connsiteX1" fmla="*/ 938 w 937"/>
                <a:gd name="connsiteY1" fmla="*/ 1340 h 1339"/>
                <a:gd name="connsiteX2" fmla="*/ 0 w 937"/>
                <a:gd name="connsiteY2" fmla="*/ 0 h 1339"/>
              </a:gdLst>
              <a:ahLst/>
              <a:cxnLst>
                <a:cxn ang="0">
                  <a:pos x="connsiteX0" y="connsiteY0"/>
                </a:cxn>
                <a:cxn ang="0">
                  <a:pos x="connsiteX1" y="connsiteY1"/>
                </a:cxn>
                <a:cxn ang="0">
                  <a:pos x="connsiteX2" y="connsiteY2"/>
                </a:cxn>
              </a:cxnLst>
              <a:rect l="l" t="t" r="r" b="b"/>
              <a:pathLst>
                <a:path w="937" h="1339">
                  <a:moveTo>
                    <a:pt x="134" y="268"/>
                  </a:moveTo>
                  <a:cubicBezTo>
                    <a:pt x="321" y="683"/>
                    <a:pt x="603" y="1045"/>
                    <a:pt x="938" y="1340"/>
                  </a:cubicBezTo>
                  <a:cubicBezTo>
                    <a:pt x="550" y="951"/>
                    <a:pt x="228" y="496"/>
                    <a:pt x="0" y="0"/>
                  </a:cubicBezTo>
                  <a:close/>
                </a:path>
              </a:pathLst>
            </a:custGeom>
            <a:solidFill>
              <a:srgbClr val="000000"/>
            </a:solidFill>
            <a:ln w="12700" cap="flat">
              <a:noFill/>
              <a:prstDash val="solid"/>
              <a:miter/>
            </a:ln>
          </p:spPr>
          <p:txBody>
            <a:bodyPr rtlCol="0" anchor="ctr"/>
            <a:lstStyle/>
            <a:p>
              <a:endParaRPr lang="en-US"/>
            </a:p>
          </p:txBody>
        </p:sp>
        <p:sp>
          <p:nvSpPr>
            <p:cNvPr id="1457" name="Freeform: Shape 1456">
              <a:extLst>
                <a:ext uri="{FF2B5EF4-FFF2-40B4-BE49-F238E27FC236}">
                  <a16:creationId xmlns:a16="http://schemas.microsoft.com/office/drawing/2014/main" id="{FD24CAC5-916B-4C98-A73D-2CC34E7D4A3D}"/>
                </a:ext>
              </a:extLst>
            </p:cNvPr>
            <p:cNvSpPr/>
            <p:nvPr/>
          </p:nvSpPr>
          <p:spPr>
            <a:xfrm>
              <a:off x="9950586" y="6480510"/>
              <a:ext cx="60" cy="1607"/>
            </a:xfrm>
            <a:custGeom>
              <a:avLst/>
              <a:gdLst>
                <a:gd name="connsiteX0" fmla="*/ 61 w 60"/>
                <a:gd name="connsiteY0" fmla="*/ 1607 h 1607"/>
                <a:gd name="connsiteX1" fmla="*/ 61 w 60"/>
                <a:gd name="connsiteY1" fmla="*/ 1607 h 1607"/>
                <a:gd name="connsiteX2" fmla="*/ 61 w 60"/>
                <a:gd name="connsiteY2" fmla="*/ 0 h 1607"/>
                <a:gd name="connsiteX3" fmla="*/ 61 w 60"/>
                <a:gd name="connsiteY3" fmla="*/ 0 h 1607"/>
                <a:gd name="connsiteX4" fmla="*/ 61 w 60"/>
                <a:gd name="connsiteY4" fmla="*/ 1607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1607">
                  <a:moveTo>
                    <a:pt x="61" y="1607"/>
                  </a:moveTo>
                  <a:lnTo>
                    <a:pt x="61" y="1607"/>
                  </a:lnTo>
                  <a:cubicBezTo>
                    <a:pt x="-20" y="1071"/>
                    <a:pt x="-20" y="536"/>
                    <a:pt x="61" y="0"/>
                  </a:cubicBezTo>
                  <a:lnTo>
                    <a:pt x="61" y="0"/>
                  </a:lnTo>
                  <a:cubicBezTo>
                    <a:pt x="61" y="0"/>
                    <a:pt x="61" y="1206"/>
                    <a:pt x="61" y="1607"/>
                  </a:cubicBezTo>
                  <a:close/>
                </a:path>
              </a:pathLst>
            </a:custGeom>
            <a:solidFill>
              <a:srgbClr val="000000"/>
            </a:solidFill>
            <a:ln w="12700" cap="flat">
              <a:noFill/>
              <a:prstDash val="solid"/>
              <a:miter/>
            </a:ln>
          </p:spPr>
          <p:txBody>
            <a:bodyPr rtlCol="0" anchor="ctr"/>
            <a:lstStyle/>
            <a:p>
              <a:endParaRPr lang="en-US"/>
            </a:p>
          </p:txBody>
        </p:sp>
        <p:sp>
          <p:nvSpPr>
            <p:cNvPr id="1458" name="Freeform: Shape 1457">
              <a:extLst>
                <a:ext uri="{FF2B5EF4-FFF2-40B4-BE49-F238E27FC236}">
                  <a16:creationId xmlns:a16="http://schemas.microsoft.com/office/drawing/2014/main" id="{15FB79D6-D56E-4B92-83AA-F27DDBE0F5AD}"/>
                </a:ext>
              </a:extLst>
            </p:cNvPr>
            <p:cNvSpPr/>
            <p:nvPr/>
          </p:nvSpPr>
          <p:spPr>
            <a:xfrm>
              <a:off x="9957613" y="6474616"/>
              <a:ext cx="30111" cy="13130"/>
            </a:xfrm>
            <a:custGeom>
              <a:avLst/>
              <a:gdLst>
                <a:gd name="connsiteX0" fmla="*/ 0 w 30111"/>
                <a:gd name="connsiteY0" fmla="*/ 13128 h 13130"/>
                <a:gd name="connsiteX1" fmla="*/ 0 w 30111"/>
                <a:gd name="connsiteY1" fmla="*/ 13128 h 13130"/>
                <a:gd name="connsiteX2" fmla="*/ 24250 w 30111"/>
                <a:gd name="connsiteY2" fmla="*/ 12190 h 13130"/>
                <a:gd name="connsiteX3" fmla="*/ 24250 w 30111"/>
                <a:gd name="connsiteY3" fmla="*/ 12190 h 13130"/>
                <a:gd name="connsiteX4" fmla="*/ 25456 w 30111"/>
                <a:gd name="connsiteY4" fmla="*/ 12190 h 13130"/>
                <a:gd name="connsiteX5" fmla="*/ 26930 w 30111"/>
                <a:gd name="connsiteY5" fmla="*/ 12190 h 13130"/>
                <a:gd name="connsiteX6" fmla="*/ 28002 w 30111"/>
                <a:gd name="connsiteY6" fmla="*/ 11386 h 13130"/>
                <a:gd name="connsiteX7" fmla="*/ 29207 w 30111"/>
                <a:gd name="connsiteY7" fmla="*/ 10582 h 13130"/>
                <a:gd name="connsiteX8" fmla="*/ 29207 w 30111"/>
                <a:gd name="connsiteY8" fmla="*/ 9377 h 13130"/>
                <a:gd name="connsiteX9" fmla="*/ 30011 w 30111"/>
                <a:gd name="connsiteY9" fmla="*/ 8171 h 13130"/>
                <a:gd name="connsiteX10" fmla="*/ 30011 w 30111"/>
                <a:gd name="connsiteY10" fmla="*/ 8171 h 13130"/>
                <a:gd name="connsiteX11" fmla="*/ 30011 w 30111"/>
                <a:gd name="connsiteY11" fmla="*/ 5492 h 13130"/>
                <a:gd name="connsiteX12" fmla="*/ 30011 w 30111"/>
                <a:gd name="connsiteY12" fmla="*/ 5492 h 13130"/>
                <a:gd name="connsiteX13" fmla="*/ 30011 w 30111"/>
                <a:gd name="connsiteY13" fmla="*/ 4153 h 13130"/>
                <a:gd name="connsiteX14" fmla="*/ 30011 w 30111"/>
                <a:gd name="connsiteY14" fmla="*/ 2947 h 13130"/>
                <a:gd name="connsiteX15" fmla="*/ 28806 w 30111"/>
                <a:gd name="connsiteY15" fmla="*/ 1206 h 13130"/>
                <a:gd name="connsiteX16" fmla="*/ 28806 w 30111"/>
                <a:gd name="connsiteY16" fmla="*/ 1206 h 13130"/>
                <a:gd name="connsiteX17" fmla="*/ 26930 w 30111"/>
                <a:gd name="connsiteY17" fmla="*/ 0 h 13130"/>
                <a:gd name="connsiteX18" fmla="*/ 26930 w 30111"/>
                <a:gd name="connsiteY18" fmla="*/ 0 h 13130"/>
                <a:gd name="connsiteX19" fmla="*/ 25188 w 30111"/>
                <a:gd name="connsiteY19" fmla="*/ 0 h 13130"/>
                <a:gd name="connsiteX20" fmla="*/ 23848 w 30111"/>
                <a:gd name="connsiteY20" fmla="*/ 0 h 13130"/>
                <a:gd name="connsiteX21" fmla="*/ 7101 w 30111"/>
                <a:gd name="connsiteY21" fmla="*/ 670 h 13130"/>
                <a:gd name="connsiteX22" fmla="*/ 7101 w 30111"/>
                <a:gd name="connsiteY22" fmla="*/ 8305 h 13130"/>
                <a:gd name="connsiteX23" fmla="*/ 0 w 30111"/>
                <a:gd name="connsiteY23" fmla="*/ 13128 h 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111" h="13130">
                  <a:moveTo>
                    <a:pt x="0" y="13128"/>
                  </a:moveTo>
                  <a:lnTo>
                    <a:pt x="0" y="13128"/>
                  </a:lnTo>
                  <a:lnTo>
                    <a:pt x="24250" y="12190"/>
                  </a:lnTo>
                  <a:lnTo>
                    <a:pt x="24250" y="12190"/>
                  </a:lnTo>
                  <a:lnTo>
                    <a:pt x="25456" y="12190"/>
                  </a:lnTo>
                  <a:lnTo>
                    <a:pt x="26930" y="12190"/>
                  </a:lnTo>
                  <a:lnTo>
                    <a:pt x="28002" y="11386"/>
                  </a:lnTo>
                  <a:lnTo>
                    <a:pt x="29207" y="10582"/>
                  </a:lnTo>
                  <a:cubicBezTo>
                    <a:pt x="29248" y="10181"/>
                    <a:pt x="29248" y="9779"/>
                    <a:pt x="29207" y="9377"/>
                  </a:cubicBezTo>
                  <a:cubicBezTo>
                    <a:pt x="29207" y="9377"/>
                    <a:pt x="29207" y="8707"/>
                    <a:pt x="30011" y="8171"/>
                  </a:cubicBezTo>
                  <a:lnTo>
                    <a:pt x="30011" y="8171"/>
                  </a:lnTo>
                  <a:cubicBezTo>
                    <a:pt x="30145" y="7287"/>
                    <a:pt x="30145" y="6376"/>
                    <a:pt x="30011" y="5492"/>
                  </a:cubicBezTo>
                  <a:lnTo>
                    <a:pt x="30011" y="5492"/>
                  </a:lnTo>
                  <a:cubicBezTo>
                    <a:pt x="30092" y="5050"/>
                    <a:pt x="30092" y="4595"/>
                    <a:pt x="30011" y="4153"/>
                  </a:cubicBezTo>
                  <a:cubicBezTo>
                    <a:pt x="30038" y="3751"/>
                    <a:pt x="30038" y="3349"/>
                    <a:pt x="30011" y="2947"/>
                  </a:cubicBezTo>
                  <a:cubicBezTo>
                    <a:pt x="29730" y="2291"/>
                    <a:pt x="29328" y="1701"/>
                    <a:pt x="28806" y="1206"/>
                  </a:cubicBezTo>
                  <a:lnTo>
                    <a:pt x="28806" y="1206"/>
                  </a:lnTo>
                  <a:cubicBezTo>
                    <a:pt x="28270" y="683"/>
                    <a:pt x="27626" y="268"/>
                    <a:pt x="26930" y="0"/>
                  </a:cubicBezTo>
                  <a:lnTo>
                    <a:pt x="26930" y="0"/>
                  </a:lnTo>
                  <a:lnTo>
                    <a:pt x="25188" y="0"/>
                  </a:lnTo>
                  <a:lnTo>
                    <a:pt x="23848" y="0"/>
                  </a:lnTo>
                  <a:lnTo>
                    <a:pt x="7101" y="670"/>
                  </a:lnTo>
                  <a:lnTo>
                    <a:pt x="7101" y="8305"/>
                  </a:lnTo>
                  <a:cubicBezTo>
                    <a:pt x="6016" y="11266"/>
                    <a:pt x="3162" y="13208"/>
                    <a:pt x="0" y="13128"/>
                  </a:cubicBezTo>
                  <a:close/>
                </a:path>
              </a:pathLst>
            </a:custGeom>
            <a:solidFill>
              <a:srgbClr val="000000"/>
            </a:solidFill>
            <a:ln w="12700" cap="flat">
              <a:noFill/>
              <a:prstDash val="solid"/>
              <a:miter/>
            </a:ln>
          </p:spPr>
          <p:txBody>
            <a:bodyPr rtlCol="0" anchor="ctr"/>
            <a:lstStyle/>
            <a:p>
              <a:endParaRPr lang="en-US"/>
            </a:p>
          </p:txBody>
        </p:sp>
        <p:sp>
          <p:nvSpPr>
            <p:cNvPr id="1459" name="Freeform: Shape 1458">
              <a:extLst>
                <a:ext uri="{FF2B5EF4-FFF2-40B4-BE49-F238E27FC236}">
                  <a16:creationId xmlns:a16="http://schemas.microsoft.com/office/drawing/2014/main" id="{CB941946-8E74-4D43-9231-7A9E0F592A90}"/>
                </a:ext>
              </a:extLst>
            </p:cNvPr>
            <p:cNvSpPr/>
            <p:nvPr/>
          </p:nvSpPr>
          <p:spPr>
            <a:xfrm>
              <a:off x="11962319" y="6405795"/>
              <a:ext cx="73286" cy="100"/>
            </a:xfrm>
            <a:custGeom>
              <a:avLst/>
              <a:gdLst>
                <a:gd name="connsiteX0" fmla="*/ 1876 w 73286"/>
                <a:gd name="connsiteY0" fmla="*/ 100 h 100"/>
                <a:gd name="connsiteX1" fmla="*/ 70338 w 73286"/>
                <a:gd name="connsiteY1" fmla="*/ 100 h 100"/>
                <a:gd name="connsiteX2" fmla="*/ 71544 w 73286"/>
                <a:gd name="connsiteY2" fmla="*/ 100 h 100"/>
                <a:gd name="connsiteX3" fmla="*/ 71544 w 73286"/>
                <a:gd name="connsiteY3" fmla="*/ 100 h 100"/>
                <a:gd name="connsiteX4" fmla="*/ 73286 w 73286"/>
                <a:gd name="connsiteY4" fmla="*/ 100 h 100"/>
                <a:gd name="connsiteX5" fmla="*/ 0 w 73286"/>
                <a:gd name="connsiteY5" fmla="*/ 100 h 100"/>
                <a:gd name="connsiteX6" fmla="*/ 1876 w 73286"/>
                <a:gd name="connsiteY6" fmla="*/ 100 h 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86" h="100">
                  <a:moveTo>
                    <a:pt x="1876" y="100"/>
                  </a:moveTo>
                  <a:lnTo>
                    <a:pt x="70338" y="100"/>
                  </a:lnTo>
                  <a:lnTo>
                    <a:pt x="71544" y="100"/>
                  </a:lnTo>
                  <a:lnTo>
                    <a:pt x="71544" y="100"/>
                  </a:lnTo>
                  <a:lnTo>
                    <a:pt x="73286" y="100"/>
                  </a:lnTo>
                  <a:lnTo>
                    <a:pt x="0" y="100"/>
                  </a:lnTo>
                  <a:cubicBezTo>
                    <a:pt x="617" y="-33"/>
                    <a:pt x="1259" y="-33"/>
                    <a:pt x="1876" y="100"/>
                  </a:cubicBezTo>
                  <a:close/>
                </a:path>
              </a:pathLst>
            </a:custGeom>
            <a:solidFill>
              <a:srgbClr val="000000"/>
            </a:solidFill>
            <a:ln w="12700" cap="flat">
              <a:noFill/>
              <a:prstDash val="solid"/>
              <a:miter/>
            </a:ln>
          </p:spPr>
          <p:txBody>
            <a:bodyPr rtlCol="0" anchor="ctr"/>
            <a:lstStyle/>
            <a:p>
              <a:endParaRPr lang="en-US"/>
            </a:p>
          </p:txBody>
        </p:sp>
        <p:sp>
          <p:nvSpPr>
            <p:cNvPr id="1460" name="Freeform: Shape 1459">
              <a:extLst>
                <a:ext uri="{FF2B5EF4-FFF2-40B4-BE49-F238E27FC236}">
                  <a16:creationId xmlns:a16="http://schemas.microsoft.com/office/drawing/2014/main" id="{F38A8948-CE67-4902-AF20-052AAD5AB183}"/>
                </a:ext>
              </a:extLst>
            </p:cNvPr>
            <p:cNvSpPr/>
            <p:nvPr/>
          </p:nvSpPr>
          <p:spPr>
            <a:xfrm>
              <a:off x="12665031" y="6078104"/>
              <a:ext cx="1072" cy="2813"/>
            </a:xfrm>
            <a:custGeom>
              <a:avLst/>
              <a:gdLst>
                <a:gd name="connsiteX0" fmla="*/ 1072 w 1072"/>
                <a:gd name="connsiteY0" fmla="*/ 0 h 2813"/>
                <a:gd name="connsiteX1" fmla="*/ 1072 w 1072"/>
                <a:gd name="connsiteY1" fmla="*/ 804 h 2813"/>
                <a:gd name="connsiteX2" fmla="*/ 0 w 1072"/>
                <a:gd name="connsiteY2" fmla="*/ 2813 h 2813"/>
                <a:gd name="connsiteX3" fmla="*/ 0 w 1072"/>
                <a:gd name="connsiteY3" fmla="*/ 2813 h 2813"/>
                <a:gd name="connsiteX4" fmla="*/ 804 w 1072"/>
                <a:gd name="connsiteY4" fmla="*/ 1742 h 2813"/>
                <a:gd name="connsiteX5" fmla="*/ 1072 w 1072"/>
                <a:gd name="connsiteY5" fmla="*/ 0 h 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 h="2813">
                  <a:moveTo>
                    <a:pt x="1072" y="0"/>
                  </a:moveTo>
                  <a:lnTo>
                    <a:pt x="1072" y="804"/>
                  </a:lnTo>
                  <a:lnTo>
                    <a:pt x="0" y="2813"/>
                  </a:lnTo>
                  <a:lnTo>
                    <a:pt x="0" y="2813"/>
                  </a:lnTo>
                  <a:cubicBezTo>
                    <a:pt x="0" y="2813"/>
                    <a:pt x="0" y="2143"/>
                    <a:pt x="804" y="1742"/>
                  </a:cubicBezTo>
                  <a:cubicBezTo>
                    <a:pt x="777" y="1149"/>
                    <a:pt x="871" y="559"/>
                    <a:pt x="1072" y="0"/>
                  </a:cubicBezTo>
                  <a:close/>
                </a:path>
              </a:pathLst>
            </a:custGeom>
            <a:solidFill>
              <a:srgbClr val="000000"/>
            </a:solidFill>
            <a:ln w="12700" cap="flat">
              <a:noFill/>
              <a:prstDash val="solid"/>
              <a:miter/>
            </a:ln>
          </p:spPr>
          <p:txBody>
            <a:bodyPr rtlCol="0" anchor="ctr"/>
            <a:lstStyle/>
            <a:p>
              <a:endParaRPr lang="en-US"/>
            </a:p>
          </p:txBody>
        </p:sp>
        <p:sp>
          <p:nvSpPr>
            <p:cNvPr id="1461" name="Freeform: Shape 1460">
              <a:extLst>
                <a:ext uri="{FF2B5EF4-FFF2-40B4-BE49-F238E27FC236}">
                  <a16:creationId xmlns:a16="http://schemas.microsoft.com/office/drawing/2014/main" id="{AF6E0CC6-A4C4-47F1-90CD-320D8CE5D5A1}"/>
                </a:ext>
              </a:extLst>
            </p:cNvPr>
            <p:cNvSpPr/>
            <p:nvPr/>
          </p:nvSpPr>
          <p:spPr>
            <a:xfrm>
              <a:off x="11955754" y="6419961"/>
              <a:ext cx="2679" cy="150"/>
            </a:xfrm>
            <a:custGeom>
              <a:avLst/>
              <a:gdLst>
                <a:gd name="connsiteX0" fmla="*/ 0 w 2679"/>
                <a:gd name="connsiteY0" fmla="*/ 0 h 150"/>
                <a:gd name="connsiteX1" fmla="*/ 1206 w 2679"/>
                <a:gd name="connsiteY1" fmla="*/ 0 h 150"/>
                <a:gd name="connsiteX2" fmla="*/ 2680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1206" y="0"/>
                  </a:lnTo>
                  <a:lnTo>
                    <a:pt x="2680" y="0"/>
                  </a:lnTo>
                  <a:lnTo>
                    <a:pt x="2680" y="0"/>
                  </a:lnTo>
                  <a:cubicBezTo>
                    <a:pt x="1796" y="201"/>
                    <a:pt x="884" y="201"/>
                    <a:pt x="0" y="0"/>
                  </a:cubicBezTo>
                  <a:close/>
                </a:path>
              </a:pathLst>
            </a:custGeom>
            <a:solidFill>
              <a:srgbClr val="000000"/>
            </a:solidFill>
            <a:ln w="12700" cap="flat">
              <a:noFill/>
              <a:prstDash val="solid"/>
              <a:miter/>
            </a:ln>
          </p:spPr>
          <p:txBody>
            <a:bodyPr rtlCol="0" anchor="ctr"/>
            <a:lstStyle/>
            <a:p>
              <a:endParaRPr lang="en-US"/>
            </a:p>
          </p:txBody>
        </p:sp>
        <p:sp>
          <p:nvSpPr>
            <p:cNvPr id="1462" name="Freeform: Shape 1461">
              <a:extLst>
                <a:ext uri="{FF2B5EF4-FFF2-40B4-BE49-F238E27FC236}">
                  <a16:creationId xmlns:a16="http://schemas.microsoft.com/office/drawing/2014/main" id="{16ED5E89-8512-4CEB-8D2A-F64180623AF7}"/>
                </a:ext>
              </a:extLst>
            </p:cNvPr>
            <p:cNvSpPr/>
            <p:nvPr/>
          </p:nvSpPr>
          <p:spPr>
            <a:xfrm>
              <a:off x="11951541" y="6413531"/>
              <a:ext cx="60" cy="1473"/>
            </a:xfrm>
            <a:custGeom>
              <a:avLst/>
              <a:gdLst>
                <a:gd name="connsiteX0" fmla="*/ 60 w 60"/>
                <a:gd name="connsiteY0" fmla="*/ 1474 h 1473"/>
                <a:gd name="connsiteX1" fmla="*/ 60 w 60"/>
                <a:gd name="connsiteY1" fmla="*/ 0 h 1473"/>
                <a:gd name="connsiteX2" fmla="*/ 60 w 60"/>
                <a:gd name="connsiteY2" fmla="*/ 0 h 1473"/>
                <a:gd name="connsiteX3" fmla="*/ 60 w 60"/>
                <a:gd name="connsiteY3" fmla="*/ 1474 h 1473"/>
              </a:gdLst>
              <a:ahLst/>
              <a:cxnLst>
                <a:cxn ang="0">
                  <a:pos x="connsiteX0" y="connsiteY0"/>
                </a:cxn>
                <a:cxn ang="0">
                  <a:pos x="connsiteX1" y="connsiteY1"/>
                </a:cxn>
                <a:cxn ang="0">
                  <a:pos x="connsiteX2" y="connsiteY2"/>
                </a:cxn>
                <a:cxn ang="0">
                  <a:pos x="connsiteX3" y="connsiteY3"/>
                </a:cxn>
              </a:cxnLst>
              <a:rect l="l" t="t" r="r" b="b"/>
              <a:pathLst>
                <a:path w="60" h="1473">
                  <a:moveTo>
                    <a:pt x="60" y="1474"/>
                  </a:moveTo>
                  <a:lnTo>
                    <a:pt x="60" y="0"/>
                  </a:lnTo>
                  <a:lnTo>
                    <a:pt x="60" y="0"/>
                  </a:lnTo>
                  <a:cubicBezTo>
                    <a:pt x="-20" y="482"/>
                    <a:pt x="-20" y="991"/>
                    <a:pt x="60" y="1474"/>
                  </a:cubicBezTo>
                  <a:close/>
                </a:path>
              </a:pathLst>
            </a:custGeom>
            <a:solidFill>
              <a:srgbClr val="000000"/>
            </a:solidFill>
            <a:ln w="12700" cap="flat">
              <a:noFill/>
              <a:prstDash val="solid"/>
              <a:miter/>
            </a:ln>
          </p:spPr>
          <p:txBody>
            <a:bodyPr rtlCol="0" anchor="ctr"/>
            <a:lstStyle/>
            <a:p>
              <a:endParaRPr lang="en-US"/>
            </a:p>
          </p:txBody>
        </p:sp>
        <p:sp>
          <p:nvSpPr>
            <p:cNvPr id="1463" name="Freeform: Shape 1462">
              <a:extLst>
                <a:ext uri="{FF2B5EF4-FFF2-40B4-BE49-F238E27FC236}">
                  <a16:creationId xmlns:a16="http://schemas.microsoft.com/office/drawing/2014/main" id="{14D868F3-1964-4277-8030-B3F1A951D189}"/>
                </a:ext>
              </a:extLst>
            </p:cNvPr>
            <p:cNvSpPr/>
            <p:nvPr/>
          </p:nvSpPr>
          <p:spPr>
            <a:xfrm>
              <a:off x="11956826" y="6405527"/>
              <a:ext cx="7368" cy="100"/>
            </a:xfrm>
            <a:custGeom>
              <a:avLst/>
              <a:gdLst>
                <a:gd name="connsiteX0" fmla="*/ 5225 w 7368"/>
                <a:gd name="connsiteY0" fmla="*/ 100 h 100"/>
                <a:gd name="connsiteX1" fmla="*/ 1072 w 7368"/>
                <a:gd name="connsiteY1" fmla="*/ 100 h 100"/>
                <a:gd name="connsiteX2" fmla="*/ 0 w 7368"/>
                <a:gd name="connsiteY2" fmla="*/ 100 h 100"/>
                <a:gd name="connsiteX3" fmla="*/ 1608 w 7368"/>
                <a:gd name="connsiteY3" fmla="*/ 100 h 100"/>
                <a:gd name="connsiteX4" fmla="*/ 7369 w 7368"/>
                <a:gd name="connsiteY4" fmla="*/ 100 h 100"/>
                <a:gd name="connsiteX5" fmla="*/ 5493 w 7368"/>
                <a:gd name="connsiteY5" fmla="*/ 100 h 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8" h="100">
                  <a:moveTo>
                    <a:pt x="5225" y="100"/>
                  </a:moveTo>
                  <a:lnTo>
                    <a:pt x="1072" y="100"/>
                  </a:lnTo>
                  <a:lnTo>
                    <a:pt x="0" y="100"/>
                  </a:lnTo>
                  <a:cubicBezTo>
                    <a:pt x="536" y="33"/>
                    <a:pt x="1072" y="33"/>
                    <a:pt x="1608" y="100"/>
                  </a:cubicBezTo>
                  <a:lnTo>
                    <a:pt x="7369" y="100"/>
                  </a:lnTo>
                  <a:cubicBezTo>
                    <a:pt x="6752" y="-33"/>
                    <a:pt x="6109" y="-33"/>
                    <a:pt x="5493" y="100"/>
                  </a:cubicBezTo>
                  <a:close/>
                </a:path>
              </a:pathLst>
            </a:custGeom>
            <a:solidFill>
              <a:srgbClr val="000000"/>
            </a:solidFill>
            <a:ln w="12700" cap="flat">
              <a:noFill/>
              <a:prstDash val="solid"/>
              <a:miter/>
            </a:ln>
          </p:spPr>
          <p:txBody>
            <a:bodyPr rtlCol="0" anchor="ctr"/>
            <a:lstStyle/>
            <a:p>
              <a:endParaRPr lang="en-US"/>
            </a:p>
          </p:txBody>
        </p:sp>
        <p:sp>
          <p:nvSpPr>
            <p:cNvPr id="1464" name="Freeform: Shape 1463">
              <a:extLst>
                <a:ext uri="{FF2B5EF4-FFF2-40B4-BE49-F238E27FC236}">
                  <a16:creationId xmlns:a16="http://schemas.microsoft.com/office/drawing/2014/main" id="{2DDFB978-D3E8-4CB3-B2DC-F35F155D7BA5}"/>
                </a:ext>
              </a:extLst>
            </p:cNvPr>
            <p:cNvSpPr/>
            <p:nvPr/>
          </p:nvSpPr>
          <p:spPr>
            <a:xfrm>
              <a:off x="11951819" y="6406599"/>
              <a:ext cx="81508" cy="12709"/>
            </a:xfrm>
            <a:custGeom>
              <a:avLst/>
              <a:gdLst>
                <a:gd name="connsiteX0" fmla="*/ 74274 w 81508"/>
                <a:gd name="connsiteY0" fmla="*/ 2913 h 12709"/>
                <a:gd name="connsiteX1" fmla="*/ 75077 w 81508"/>
                <a:gd name="connsiteY1" fmla="*/ 1842 h 12709"/>
                <a:gd name="connsiteX2" fmla="*/ 76149 w 81508"/>
                <a:gd name="connsiteY2" fmla="*/ 904 h 12709"/>
                <a:gd name="connsiteX3" fmla="*/ 77221 w 81508"/>
                <a:gd name="connsiteY3" fmla="*/ 100 h 12709"/>
                <a:gd name="connsiteX4" fmla="*/ 78561 w 81508"/>
                <a:gd name="connsiteY4" fmla="*/ 100 h 12709"/>
                <a:gd name="connsiteX5" fmla="*/ 79767 w 81508"/>
                <a:gd name="connsiteY5" fmla="*/ 100 h 12709"/>
                <a:gd name="connsiteX6" fmla="*/ 79767 w 81508"/>
                <a:gd name="connsiteY6" fmla="*/ 100 h 12709"/>
                <a:gd name="connsiteX7" fmla="*/ 81508 w 81508"/>
                <a:gd name="connsiteY7" fmla="*/ 100 h 12709"/>
                <a:gd name="connsiteX8" fmla="*/ 80303 w 81508"/>
                <a:gd name="connsiteY8" fmla="*/ 100 h 12709"/>
                <a:gd name="connsiteX9" fmla="*/ 6079 w 81508"/>
                <a:gd name="connsiteY9" fmla="*/ 100 h 12709"/>
                <a:gd name="connsiteX10" fmla="*/ 4471 w 81508"/>
                <a:gd name="connsiteY10" fmla="*/ 100 h 12709"/>
                <a:gd name="connsiteX11" fmla="*/ 3132 w 81508"/>
                <a:gd name="connsiteY11" fmla="*/ 100 h 12709"/>
                <a:gd name="connsiteX12" fmla="*/ 1925 w 81508"/>
                <a:gd name="connsiteY12" fmla="*/ 904 h 12709"/>
                <a:gd name="connsiteX13" fmla="*/ 854 w 81508"/>
                <a:gd name="connsiteY13" fmla="*/ 1708 h 12709"/>
                <a:gd name="connsiteX14" fmla="*/ 50 w 81508"/>
                <a:gd name="connsiteY14" fmla="*/ 2913 h 12709"/>
                <a:gd name="connsiteX15" fmla="*/ 50 w 81508"/>
                <a:gd name="connsiteY15" fmla="*/ 3985 h 12709"/>
                <a:gd name="connsiteX16" fmla="*/ 50 w 81508"/>
                <a:gd name="connsiteY16" fmla="*/ 5459 h 12709"/>
                <a:gd name="connsiteX17" fmla="*/ 50 w 81508"/>
                <a:gd name="connsiteY17" fmla="*/ 6664 h 12709"/>
                <a:gd name="connsiteX18" fmla="*/ 50 w 81508"/>
                <a:gd name="connsiteY18" fmla="*/ 6664 h 12709"/>
                <a:gd name="connsiteX19" fmla="*/ 50 w 81508"/>
                <a:gd name="connsiteY19" fmla="*/ 8138 h 12709"/>
                <a:gd name="connsiteX20" fmla="*/ 50 w 81508"/>
                <a:gd name="connsiteY20" fmla="*/ 9343 h 12709"/>
                <a:gd name="connsiteX21" fmla="*/ 988 w 81508"/>
                <a:gd name="connsiteY21" fmla="*/ 10683 h 12709"/>
                <a:gd name="connsiteX22" fmla="*/ 1658 w 81508"/>
                <a:gd name="connsiteY22" fmla="*/ 11621 h 12709"/>
                <a:gd name="connsiteX23" fmla="*/ 3132 w 81508"/>
                <a:gd name="connsiteY23" fmla="*/ 12558 h 12709"/>
                <a:gd name="connsiteX24" fmla="*/ 3935 w 81508"/>
                <a:gd name="connsiteY24" fmla="*/ 12558 h 12709"/>
                <a:gd name="connsiteX25" fmla="*/ 6615 w 81508"/>
                <a:gd name="connsiteY25" fmla="*/ 12558 h 12709"/>
                <a:gd name="connsiteX26" fmla="*/ 73604 w 81508"/>
                <a:gd name="connsiteY26" fmla="*/ 12558 h 12709"/>
                <a:gd name="connsiteX27" fmla="*/ 73604 w 81508"/>
                <a:gd name="connsiteY27" fmla="*/ 5325 h 12709"/>
                <a:gd name="connsiteX28" fmla="*/ 73604 w 81508"/>
                <a:gd name="connsiteY28" fmla="*/ 4253 h 12709"/>
                <a:gd name="connsiteX29" fmla="*/ 73604 w 81508"/>
                <a:gd name="connsiteY29" fmla="*/ 2780 h 12709"/>
                <a:gd name="connsiteX30" fmla="*/ 74274 w 81508"/>
                <a:gd name="connsiteY30" fmla="*/ 2913 h 1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508" h="12709">
                  <a:moveTo>
                    <a:pt x="74274" y="2913"/>
                  </a:moveTo>
                  <a:cubicBezTo>
                    <a:pt x="74461" y="2498"/>
                    <a:pt x="74743" y="2137"/>
                    <a:pt x="75077" y="1842"/>
                  </a:cubicBezTo>
                  <a:cubicBezTo>
                    <a:pt x="75373" y="1467"/>
                    <a:pt x="75734" y="1145"/>
                    <a:pt x="76149" y="904"/>
                  </a:cubicBezTo>
                  <a:lnTo>
                    <a:pt x="77221" y="100"/>
                  </a:lnTo>
                  <a:lnTo>
                    <a:pt x="78561" y="100"/>
                  </a:lnTo>
                  <a:lnTo>
                    <a:pt x="79767" y="100"/>
                  </a:lnTo>
                  <a:lnTo>
                    <a:pt x="79767" y="100"/>
                  </a:lnTo>
                  <a:cubicBezTo>
                    <a:pt x="80343" y="-33"/>
                    <a:pt x="80932" y="-33"/>
                    <a:pt x="81508" y="100"/>
                  </a:cubicBezTo>
                  <a:lnTo>
                    <a:pt x="80303" y="100"/>
                  </a:lnTo>
                  <a:lnTo>
                    <a:pt x="6079" y="100"/>
                  </a:lnTo>
                  <a:cubicBezTo>
                    <a:pt x="5543" y="33"/>
                    <a:pt x="5007" y="33"/>
                    <a:pt x="4471" y="100"/>
                  </a:cubicBezTo>
                  <a:cubicBezTo>
                    <a:pt x="4029" y="20"/>
                    <a:pt x="3574" y="20"/>
                    <a:pt x="3132" y="100"/>
                  </a:cubicBezTo>
                  <a:cubicBezTo>
                    <a:pt x="3132" y="100"/>
                    <a:pt x="2328" y="100"/>
                    <a:pt x="1925" y="904"/>
                  </a:cubicBezTo>
                  <a:cubicBezTo>
                    <a:pt x="1511" y="1092"/>
                    <a:pt x="1149" y="1373"/>
                    <a:pt x="854" y="1708"/>
                  </a:cubicBezTo>
                  <a:cubicBezTo>
                    <a:pt x="546" y="2083"/>
                    <a:pt x="265" y="2485"/>
                    <a:pt x="50" y="2913"/>
                  </a:cubicBezTo>
                  <a:cubicBezTo>
                    <a:pt x="10" y="3275"/>
                    <a:pt x="10" y="3623"/>
                    <a:pt x="50" y="3985"/>
                  </a:cubicBezTo>
                  <a:cubicBezTo>
                    <a:pt x="-4" y="4481"/>
                    <a:pt x="-4" y="4963"/>
                    <a:pt x="50" y="5459"/>
                  </a:cubicBezTo>
                  <a:cubicBezTo>
                    <a:pt x="-17" y="5861"/>
                    <a:pt x="-17" y="6262"/>
                    <a:pt x="50" y="6664"/>
                  </a:cubicBezTo>
                  <a:lnTo>
                    <a:pt x="50" y="6664"/>
                  </a:lnTo>
                  <a:lnTo>
                    <a:pt x="50" y="8138"/>
                  </a:lnTo>
                  <a:cubicBezTo>
                    <a:pt x="50" y="8138"/>
                    <a:pt x="50" y="8942"/>
                    <a:pt x="50" y="9343"/>
                  </a:cubicBezTo>
                  <a:cubicBezTo>
                    <a:pt x="278" y="9839"/>
                    <a:pt x="599" y="10295"/>
                    <a:pt x="988" y="10683"/>
                  </a:cubicBezTo>
                  <a:lnTo>
                    <a:pt x="1658" y="11621"/>
                  </a:lnTo>
                  <a:cubicBezTo>
                    <a:pt x="2100" y="12009"/>
                    <a:pt x="2596" y="12331"/>
                    <a:pt x="3132" y="12558"/>
                  </a:cubicBezTo>
                  <a:lnTo>
                    <a:pt x="3935" y="12558"/>
                  </a:lnTo>
                  <a:cubicBezTo>
                    <a:pt x="4819" y="12759"/>
                    <a:pt x="5731" y="12759"/>
                    <a:pt x="6615" y="12558"/>
                  </a:cubicBezTo>
                  <a:lnTo>
                    <a:pt x="73604" y="12558"/>
                  </a:lnTo>
                  <a:lnTo>
                    <a:pt x="73604" y="5325"/>
                  </a:lnTo>
                  <a:cubicBezTo>
                    <a:pt x="73524" y="4977"/>
                    <a:pt x="73524" y="4601"/>
                    <a:pt x="73604" y="4253"/>
                  </a:cubicBezTo>
                  <a:cubicBezTo>
                    <a:pt x="73524" y="3771"/>
                    <a:pt x="73524" y="3262"/>
                    <a:pt x="73604" y="2780"/>
                  </a:cubicBezTo>
                  <a:cubicBezTo>
                    <a:pt x="73831" y="2806"/>
                    <a:pt x="74059" y="2860"/>
                    <a:pt x="74274" y="2913"/>
                  </a:cubicBezTo>
                  <a:close/>
                </a:path>
              </a:pathLst>
            </a:custGeom>
            <a:solidFill>
              <a:srgbClr val="000000"/>
            </a:solidFill>
            <a:ln w="12700" cap="flat">
              <a:noFill/>
              <a:prstDash val="solid"/>
              <a:miter/>
            </a:ln>
          </p:spPr>
          <p:txBody>
            <a:bodyPr rtlCol="0" anchor="ctr"/>
            <a:lstStyle/>
            <a:p>
              <a:endParaRPr lang="en-US"/>
            </a:p>
          </p:txBody>
        </p:sp>
        <p:sp>
          <p:nvSpPr>
            <p:cNvPr id="1465" name="Freeform: Shape 1464">
              <a:extLst>
                <a:ext uri="{FF2B5EF4-FFF2-40B4-BE49-F238E27FC236}">
                  <a16:creationId xmlns:a16="http://schemas.microsoft.com/office/drawing/2014/main" id="{65B53387-6276-423E-AB57-56F7E56A27F6}"/>
                </a:ext>
              </a:extLst>
            </p:cNvPr>
            <p:cNvSpPr/>
            <p:nvPr/>
          </p:nvSpPr>
          <p:spPr>
            <a:xfrm>
              <a:off x="12025363" y="6411924"/>
              <a:ext cx="14663" cy="441521"/>
            </a:xfrm>
            <a:custGeom>
              <a:avLst/>
              <a:gdLst>
                <a:gd name="connsiteX0" fmla="*/ 11448 w 14663"/>
                <a:gd name="connsiteY0" fmla="*/ 8305 h 441521"/>
                <a:gd name="connsiteX1" fmla="*/ 11448 w 14663"/>
                <a:gd name="connsiteY1" fmla="*/ 8305 h 441521"/>
                <a:gd name="connsiteX2" fmla="*/ 10243 w 14663"/>
                <a:gd name="connsiteY2" fmla="*/ 8305 h 441521"/>
                <a:gd name="connsiteX3" fmla="*/ 8501 w 14663"/>
                <a:gd name="connsiteY3" fmla="*/ 8305 h 441521"/>
                <a:gd name="connsiteX4" fmla="*/ 7295 w 14663"/>
                <a:gd name="connsiteY4" fmla="*/ 8305 h 441521"/>
                <a:gd name="connsiteX5" fmla="*/ 60 w 14663"/>
                <a:gd name="connsiteY5" fmla="*/ 1608 h 441521"/>
                <a:gd name="connsiteX6" fmla="*/ 60 w 14663"/>
                <a:gd name="connsiteY6" fmla="*/ 0 h 441521"/>
                <a:gd name="connsiteX7" fmla="*/ 60 w 14663"/>
                <a:gd name="connsiteY7" fmla="*/ 1072 h 441521"/>
                <a:gd name="connsiteX8" fmla="*/ 60 w 14663"/>
                <a:gd name="connsiteY8" fmla="*/ 441521 h 441521"/>
                <a:gd name="connsiteX9" fmla="*/ 14663 w 14663"/>
                <a:gd name="connsiteY9" fmla="*/ 441521 h 441521"/>
                <a:gd name="connsiteX10" fmla="*/ 14663 w 14663"/>
                <a:gd name="connsiteY10" fmla="*/ 8037 h 44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3" h="441521">
                  <a:moveTo>
                    <a:pt x="11448" y="8305"/>
                  </a:moveTo>
                  <a:lnTo>
                    <a:pt x="11448" y="8305"/>
                  </a:lnTo>
                  <a:lnTo>
                    <a:pt x="10243" y="8305"/>
                  </a:lnTo>
                  <a:lnTo>
                    <a:pt x="8501" y="8305"/>
                  </a:lnTo>
                  <a:lnTo>
                    <a:pt x="7295" y="8305"/>
                  </a:lnTo>
                  <a:cubicBezTo>
                    <a:pt x="3504" y="8319"/>
                    <a:pt x="341" y="5398"/>
                    <a:pt x="60" y="1608"/>
                  </a:cubicBezTo>
                  <a:cubicBezTo>
                    <a:pt x="-7" y="1072"/>
                    <a:pt x="-7" y="536"/>
                    <a:pt x="60" y="0"/>
                  </a:cubicBezTo>
                  <a:cubicBezTo>
                    <a:pt x="-20" y="348"/>
                    <a:pt x="-20" y="723"/>
                    <a:pt x="60" y="1072"/>
                  </a:cubicBezTo>
                  <a:lnTo>
                    <a:pt x="60" y="441521"/>
                  </a:lnTo>
                  <a:lnTo>
                    <a:pt x="14663" y="441521"/>
                  </a:lnTo>
                  <a:lnTo>
                    <a:pt x="14663" y="8037"/>
                  </a:lnTo>
                  <a:close/>
                </a:path>
              </a:pathLst>
            </a:custGeom>
            <a:solidFill>
              <a:srgbClr val="000000"/>
            </a:solidFill>
            <a:ln w="12700" cap="flat">
              <a:noFill/>
              <a:prstDash val="solid"/>
              <a:miter/>
            </a:ln>
          </p:spPr>
          <p:txBody>
            <a:bodyPr rtlCol="0" anchor="ctr"/>
            <a:lstStyle/>
            <a:p>
              <a:endParaRPr lang="en-US"/>
            </a:p>
          </p:txBody>
        </p:sp>
        <p:sp>
          <p:nvSpPr>
            <p:cNvPr id="1466" name="Freeform: Shape 1465">
              <a:extLst>
                <a:ext uri="{FF2B5EF4-FFF2-40B4-BE49-F238E27FC236}">
                  <a16:creationId xmlns:a16="http://schemas.microsoft.com/office/drawing/2014/main" id="{4A4345D6-8797-4B46-9973-28986EF9DECF}"/>
                </a:ext>
              </a:extLst>
            </p:cNvPr>
            <p:cNvSpPr/>
            <p:nvPr/>
          </p:nvSpPr>
          <p:spPr>
            <a:xfrm>
              <a:off x="12678161" y="6411522"/>
              <a:ext cx="180602" cy="2679"/>
            </a:xfrm>
            <a:custGeom>
              <a:avLst/>
              <a:gdLst>
                <a:gd name="connsiteX0" fmla="*/ 0 w 180602"/>
                <a:gd name="connsiteY0" fmla="*/ 938 h 2679"/>
                <a:gd name="connsiteX1" fmla="*/ 0 w 180602"/>
                <a:gd name="connsiteY1" fmla="*/ 938 h 2679"/>
                <a:gd name="connsiteX2" fmla="*/ 0 w 180602"/>
                <a:gd name="connsiteY2" fmla="*/ 2679 h 2679"/>
                <a:gd name="connsiteX3" fmla="*/ 180602 w 180602"/>
                <a:gd name="connsiteY3" fmla="*/ 2679 h 2679"/>
                <a:gd name="connsiteX4" fmla="*/ 180602 w 180602"/>
                <a:gd name="connsiteY4" fmla="*/ 0 h 2679"/>
                <a:gd name="connsiteX5" fmla="*/ 0 w 180602"/>
                <a:gd name="connsiteY5" fmla="*/ 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02" h="2679">
                  <a:moveTo>
                    <a:pt x="0" y="938"/>
                  </a:moveTo>
                  <a:lnTo>
                    <a:pt x="0" y="938"/>
                  </a:lnTo>
                  <a:cubicBezTo>
                    <a:pt x="81" y="1514"/>
                    <a:pt x="81" y="2103"/>
                    <a:pt x="0" y="2679"/>
                  </a:cubicBezTo>
                  <a:lnTo>
                    <a:pt x="180602" y="2679"/>
                  </a:lnTo>
                  <a:lnTo>
                    <a:pt x="180602" y="0"/>
                  </a:lnTo>
                  <a:lnTo>
                    <a:pt x="0" y="0"/>
                  </a:lnTo>
                  <a:close/>
                </a:path>
              </a:pathLst>
            </a:custGeom>
            <a:solidFill>
              <a:srgbClr val="000000"/>
            </a:solidFill>
            <a:ln w="12700" cap="flat">
              <a:noFill/>
              <a:prstDash val="solid"/>
              <a:miter/>
            </a:ln>
          </p:spPr>
          <p:txBody>
            <a:bodyPr rtlCol="0" anchor="ctr"/>
            <a:lstStyle/>
            <a:p>
              <a:endParaRPr lang="en-US"/>
            </a:p>
          </p:txBody>
        </p:sp>
        <p:sp>
          <p:nvSpPr>
            <p:cNvPr id="1467" name="Freeform: Shape 1466">
              <a:extLst>
                <a:ext uri="{FF2B5EF4-FFF2-40B4-BE49-F238E27FC236}">
                  <a16:creationId xmlns:a16="http://schemas.microsoft.com/office/drawing/2014/main" id="{E312613E-32F9-4696-A734-C136D90506A4}"/>
                </a:ext>
              </a:extLst>
            </p:cNvPr>
            <p:cNvSpPr/>
            <p:nvPr/>
          </p:nvSpPr>
          <p:spPr>
            <a:xfrm>
              <a:off x="12033863" y="6405226"/>
              <a:ext cx="7636" cy="2009"/>
            </a:xfrm>
            <a:custGeom>
              <a:avLst/>
              <a:gdLst>
                <a:gd name="connsiteX0" fmla="*/ 0 w 7636"/>
                <a:gd name="connsiteY0" fmla="*/ 938 h 2009"/>
                <a:gd name="connsiteX1" fmla="*/ 2813 w 7636"/>
                <a:gd name="connsiteY1" fmla="*/ 2009 h 2009"/>
                <a:gd name="connsiteX2" fmla="*/ 7637 w 7636"/>
                <a:gd name="connsiteY2" fmla="*/ 0 h 2009"/>
                <a:gd name="connsiteX3" fmla="*/ 7637 w 7636"/>
                <a:gd name="connsiteY3" fmla="*/ 0 h 2009"/>
                <a:gd name="connsiteX4" fmla="*/ 2277 w 7636"/>
                <a:gd name="connsiteY4" fmla="*/ 0 h 2009"/>
                <a:gd name="connsiteX5" fmla="*/ 2277 w 7636"/>
                <a:gd name="connsiteY5" fmla="*/ 0 h 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6" h="2009">
                  <a:moveTo>
                    <a:pt x="0" y="938"/>
                  </a:moveTo>
                  <a:cubicBezTo>
                    <a:pt x="1005" y="1072"/>
                    <a:pt x="1969" y="1433"/>
                    <a:pt x="2813" y="2009"/>
                  </a:cubicBezTo>
                  <a:cubicBezTo>
                    <a:pt x="4139" y="804"/>
                    <a:pt x="5841" y="94"/>
                    <a:pt x="7637" y="0"/>
                  </a:cubicBezTo>
                  <a:lnTo>
                    <a:pt x="7637" y="0"/>
                  </a:lnTo>
                  <a:lnTo>
                    <a:pt x="2277" y="0"/>
                  </a:lnTo>
                  <a:lnTo>
                    <a:pt x="2277" y="0"/>
                  </a:lnTo>
                  <a:close/>
                </a:path>
              </a:pathLst>
            </a:custGeom>
            <a:solidFill>
              <a:srgbClr val="000000"/>
            </a:solidFill>
            <a:ln w="12700" cap="flat">
              <a:noFill/>
              <a:prstDash val="solid"/>
              <a:miter/>
            </a:ln>
          </p:spPr>
          <p:txBody>
            <a:bodyPr rtlCol="0" anchor="ctr"/>
            <a:lstStyle/>
            <a:p>
              <a:endParaRPr lang="en-US"/>
            </a:p>
          </p:txBody>
        </p:sp>
        <p:sp>
          <p:nvSpPr>
            <p:cNvPr id="1468" name="Freeform: Shape 1467">
              <a:extLst>
                <a:ext uri="{FF2B5EF4-FFF2-40B4-BE49-F238E27FC236}">
                  <a16:creationId xmlns:a16="http://schemas.microsoft.com/office/drawing/2014/main" id="{00C848C0-EDD4-4559-9B13-05BF7E2022D1}"/>
                </a:ext>
              </a:extLst>
            </p:cNvPr>
            <p:cNvSpPr/>
            <p:nvPr/>
          </p:nvSpPr>
          <p:spPr>
            <a:xfrm>
              <a:off x="12035069" y="6418354"/>
              <a:ext cx="6565" cy="1607"/>
            </a:xfrm>
            <a:custGeom>
              <a:avLst/>
              <a:gdLst>
                <a:gd name="connsiteX0" fmla="*/ 2680 w 6565"/>
                <a:gd name="connsiteY0" fmla="*/ 0 h 1607"/>
                <a:gd name="connsiteX1" fmla="*/ 0 w 6565"/>
                <a:gd name="connsiteY1" fmla="*/ 1608 h 1607"/>
                <a:gd name="connsiteX2" fmla="*/ 1206 w 6565"/>
                <a:gd name="connsiteY2" fmla="*/ 1608 h 1607"/>
                <a:gd name="connsiteX3" fmla="*/ 1206 w 6565"/>
                <a:gd name="connsiteY3" fmla="*/ 1608 h 1607"/>
                <a:gd name="connsiteX4" fmla="*/ 3886 w 6565"/>
                <a:gd name="connsiteY4" fmla="*/ 1608 h 1607"/>
                <a:gd name="connsiteX5" fmla="*/ 6566 w 6565"/>
                <a:gd name="connsiteY5" fmla="*/ 1608 h 1607"/>
                <a:gd name="connsiteX6" fmla="*/ 6566 w 6565"/>
                <a:gd name="connsiteY6" fmla="*/ 1608 h 1607"/>
                <a:gd name="connsiteX7" fmla="*/ 2680 w 6565"/>
                <a:gd name="connsiteY7" fmla="*/ 0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65" h="1607">
                  <a:moveTo>
                    <a:pt x="2680" y="0"/>
                  </a:moveTo>
                  <a:cubicBezTo>
                    <a:pt x="1863" y="656"/>
                    <a:pt x="965" y="1206"/>
                    <a:pt x="0" y="1608"/>
                  </a:cubicBezTo>
                  <a:lnTo>
                    <a:pt x="1206" y="1608"/>
                  </a:lnTo>
                  <a:lnTo>
                    <a:pt x="1206" y="1608"/>
                  </a:lnTo>
                  <a:lnTo>
                    <a:pt x="3886" y="1608"/>
                  </a:lnTo>
                  <a:lnTo>
                    <a:pt x="6566" y="1608"/>
                  </a:lnTo>
                  <a:lnTo>
                    <a:pt x="6566" y="1608"/>
                  </a:lnTo>
                  <a:cubicBezTo>
                    <a:pt x="5145" y="1474"/>
                    <a:pt x="3792" y="911"/>
                    <a:pt x="2680" y="0"/>
                  </a:cubicBezTo>
                  <a:close/>
                </a:path>
              </a:pathLst>
            </a:custGeom>
            <a:solidFill>
              <a:srgbClr val="000000"/>
            </a:solidFill>
            <a:ln w="12700" cap="flat">
              <a:noFill/>
              <a:prstDash val="solid"/>
              <a:miter/>
            </a:ln>
          </p:spPr>
          <p:txBody>
            <a:bodyPr rtlCol="0" anchor="ctr"/>
            <a:lstStyle/>
            <a:p>
              <a:endParaRPr lang="en-US"/>
            </a:p>
          </p:txBody>
        </p:sp>
        <p:sp>
          <p:nvSpPr>
            <p:cNvPr id="1469" name="Freeform: Shape 1468">
              <a:extLst>
                <a:ext uri="{FF2B5EF4-FFF2-40B4-BE49-F238E27FC236}">
                  <a16:creationId xmlns:a16="http://schemas.microsoft.com/office/drawing/2014/main" id="{DF0D22AE-C097-43D7-A93A-92014176B6A2}"/>
                </a:ext>
              </a:extLst>
            </p:cNvPr>
            <p:cNvSpPr/>
            <p:nvPr/>
          </p:nvSpPr>
          <p:spPr>
            <a:xfrm>
              <a:off x="12026568" y="6406063"/>
              <a:ext cx="12922" cy="13898"/>
            </a:xfrm>
            <a:custGeom>
              <a:avLst/>
              <a:gdLst>
                <a:gd name="connsiteX0" fmla="*/ 7965 w 12922"/>
                <a:gd name="connsiteY0" fmla="*/ 6396 h 13898"/>
                <a:gd name="connsiteX1" fmla="*/ 10108 w 12922"/>
                <a:gd name="connsiteY1" fmla="*/ 1172 h 13898"/>
                <a:gd name="connsiteX2" fmla="*/ 7295 w 12922"/>
                <a:gd name="connsiteY2" fmla="*/ 100 h 13898"/>
                <a:gd name="connsiteX3" fmla="*/ 7295 w 12922"/>
                <a:gd name="connsiteY3" fmla="*/ 100 h 13898"/>
                <a:gd name="connsiteX4" fmla="*/ 5554 w 12922"/>
                <a:gd name="connsiteY4" fmla="*/ 100 h 13898"/>
                <a:gd name="connsiteX5" fmla="*/ 5554 w 12922"/>
                <a:gd name="connsiteY5" fmla="*/ 100 h 13898"/>
                <a:gd name="connsiteX6" fmla="*/ 4347 w 12922"/>
                <a:gd name="connsiteY6" fmla="*/ 100 h 13898"/>
                <a:gd name="connsiteX7" fmla="*/ 3008 w 12922"/>
                <a:gd name="connsiteY7" fmla="*/ 100 h 13898"/>
                <a:gd name="connsiteX8" fmla="*/ 1936 w 12922"/>
                <a:gd name="connsiteY8" fmla="*/ 904 h 13898"/>
                <a:gd name="connsiteX9" fmla="*/ 864 w 12922"/>
                <a:gd name="connsiteY9" fmla="*/ 1842 h 13898"/>
                <a:gd name="connsiteX10" fmla="*/ 60 w 12922"/>
                <a:gd name="connsiteY10" fmla="*/ 2914 h 13898"/>
                <a:gd name="connsiteX11" fmla="*/ 60 w 12922"/>
                <a:gd name="connsiteY11" fmla="*/ 4119 h 13898"/>
                <a:gd name="connsiteX12" fmla="*/ 60 w 12922"/>
                <a:gd name="connsiteY12" fmla="*/ 5593 h 13898"/>
                <a:gd name="connsiteX13" fmla="*/ 60 w 12922"/>
                <a:gd name="connsiteY13" fmla="*/ 7200 h 13898"/>
                <a:gd name="connsiteX14" fmla="*/ 7295 w 12922"/>
                <a:gd name="connsiteY14" fmla="*/ 13898 h 13898"/>
                <a:gd name="connsiteX15" fmla="*/ 8501 w 12922"/>
                <a:gd name="connsiteY15" fmla="*/ 13898 h 13898"/>
                <a:gd name="connsiteX16" fmla="*/ 10243 w 12922"/>
                <a:gd name="connsiteY16" fmla="*/ 13898 h 13898"/>
                <a:gd name="connsiteX17" fmla="*/ 12922 w 12922"/>
                <a:gd name="connsiteY17" fmla="*/ 12291 h 13898"/>
                <a:gd name="connsiteX18" fmla="*/ 7965 w 12922"/>
                <a:gd name="connsiteY18" fmla="*/ 6396 h 1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22" h="13898">
                  <a:moveTo>
                    <a:pt x="7965" y="6396"/>
                  </a:moveTo>
                  <a:cubicBezTo>
                    <a:pt x="7952" y="4441"/>
                    <a:pt x="8729" y="2565"/>
                    <a:pt x="10108" y="1172"/>
                  </a:cubicBezTo>
                  <a:cubicBezTo>
                    <a:pt x="9265" y="596"/>
                    <a:pt x="8300" y="234"/>
                    <a:pt x="7295" y="100"/>
                  </a:cubicBezTo>
                  <a:lnTo>
                    <a:pt x="7295" y="100"/>
                  </a:lnTo>
                  <a:cubicBezTo>
                    <a:pt x="6719" y="-33"/>
                    <a:pt x="6129" y="-33"/>
                    <a:pt x="5554" y="100"/>
                  </a:cubicBezTo>
                  <a:lnTo>
                    <a:pt x="5554" y="100"/>
                  </a:lnTo>
                  <a:lnTo>
                    <a:pt x="4347" y="100"/>
                  </a:lnTo>
                  <a:lnTo>
                    <a:pt x="3008" y="100"/>
                  </a:lnTo>
                  <a:lnTo>
                    <a:pt x="1936" y="904"/>
                  </a:lnTo>
                  <a:cubicBezTo>
                    <a:pt x="1521" y="1145"/>
                    <a:pt x="1159" y="1467"/>
                    <a:pt x="864" y="1842"/>
                  </a:cubicBezTo>
                  <a:cubicBezTo>
                    <a:pt x="529" y="2137"/>
                    <a:pt x="248" y="2498"/>
                    <a:pt x="60" y="2914"/>
                  </a:cubicBezTo>
                  <a:cubicBezTo>
                    <a:pt x="20" y="3315"/>
                    <a:pt x="20" y="3717"/>
                    <a:pt x="60" y="4119"/>
                  </a:cubicBezTo>
                  <a:cubicBezTo>
                    <a:pt x="-20" y="4601"/>
                    <a:pt x="-20" y="5110"/>
                    <a:pt x="60" y="5593"/>
                  </a:cubicBezTo>
                  <a:cubicBezTo>
                    <a:pt x="-6" y="6129"/>
                    <a:pt x="-6" y="6664"/>
                    <a:pt x="60" y="7200"/>
                  </a:cubicBezTo>
                  <a:cubicBezTo>
                    <a:pt x="342" y="10991"/>
                    <a:pt x="3504" y="13911"/>
                    <a:pt x="7295" y="13898"/>
                  </a:cubicBezTo>
                  <a:lnTo>
                    <a:pt x="8501" y="13898"/>
                  </a:lnTo>
                  <a:lnTo>
                    <a:pt x="10243" y="13898"/>
                  </a:lnTo>
                  <a:cubicBezTo>
                    <a:pt x="11207" y="13496"/>
                    <a:pt x="12105" y="12947"/>
                    <a:pt x="12922" y="12291"/>
                  </a:cubicBezTo>
                  <a:cubicBezTo>
                    <a:pt x="10270" y="11447"/>
                    <a:pt x="8354" y="9156"/>
                    <a:pt x="7965" y="6396"/>
                  </a:cubicBezTo>
                  <a:close/>
                </a:path>
              </a:pathLst>
            </a:custGeom>
            <a:solidFill>
              <a:srgbClr val="000000"/>
            </a:solidFill>
            <a:ln w="12700" cap="flat">
              <a:noFill/>
              <a:prstDash val="solid"/>
              <a:miter/>
            </a:ln>
          </p:spPr>
          <p:txBody>
            <a:bodyPr rtlCol="0" anchor="ctr"/>
            <a:lstStyle/>
            <a:p>
              <a:endParaRPr lang="en-US"/>
            </a:p>
          </p:txBody>
        </p:sp>
        <p:sp>
          <p:nvSpPr>
            <p:cNvPr id="1470" name="Freeform: Shape 1469">
              <a:extLst>
                <a:ext uri="{FF2B5EF4-FFF2-40B4-BE49-F238E27FC236}">
                  <a16:creationId xmlns:a16="http://schemas.microsoft.com/office/drawing/2014/main" id="{4852B8F5-FD61-402F-979A-BDF42C53857B}"/>
                </a:ext>
              </a:extLst>
            </p:cNvPr>
            <p:cNvSpPr/>
            <p:nvPr/>
          </p:nvSpPr>
          <p:spPr>
            <a:xfrm>
              <a:off x="11275952" y="6484394"/>
              <a:ext cx="14469" cy="368916"/>
            </a:xfrm>
            <a:custGeom>
              <a:avLst/>
              <a:gdLst>
                <a:gd name="connsiteX0" fmla="*/ 7234 w 14469"/>
                <a:gd name="connsiteY0" fmla="*/ 7234 h 368916"/>
                <a:gd name="connsiteX1" fmla="*/ 0 w 14469"/>
                <a:gd name="connsiteY1" fmla="*/ 7234 h 368916"/>
                <a:gd name="connsiteX2" fmla="*/ 0 w 14469"/>
                <a:gd name="connsiteY2" fmla="*/ 368917 h 368916"/>
                <a:gd name="connsiteX3" fmla="*/ 14470 w 14469"/>
                <a:gd name="connsiteY3" fmla="*/ 368917 h 368916"/>
                <a:gd name="connsiteX4" fmla="*/ 14470 w 14469"/>
                <a:gd name="connsiteY4" fmla="*/ 0 h 368916"/>
                <a:gd name="connsiteX5" fmla="*/ 7234 w 14469"/>
                <a:gd name="connsiteY5" fmla="*/ 7234 h 36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68916">
                  <a:moveTo>
                    <a:pt x="7234" y="7234"/>
                  </a:moveTo>
                  <a:lnTo>
                    <a:pt x="0" y="7234"/>
                  </a:lnTo>
                  <a:lnTo>
                    <a:pt x="0" y="368917"/>
                  </a:lnTo>
                  <a:lnTo>
                    <a:pt x="14470" y="368917"/>
                  </a:lnTo>
                  <a:lnTo>
                    <a:pt x="14470" y="0"/>
                  </a:lnTo>
                  <a:cubicBezTo>
                    <a:pt x="14470" y="3992"/>
                    <a:pt x="11227" y="7234"/>
                    <a:pt x="7234" y="7234"/>
                  </a:cubicBezTo>
                  <a:close/>
                </a:path>
              </a:pathLst>
            </a:custGeom>
            <a:solidFill>
              <a:srgbClr val="000000"/>
            </a:solidFill>
            <a:ln w="12700" cap="flat">
              <a:noFill/>
              <a:prstDash val="solid"/>
              <a:miter/>
            </a:ln>
          </p:spPr>
          <p:txBody>
            <a:bodyPr rtlCol="0" anchor="ctr"/>
            <a:lstStyle/>
            <a:p>
              <a:endParaRPr lang="en-US"/>
            </a:p>
          </p:txBody>
        </p:sp>
        <p:sp>
          <p:nvSpPr>
            <p:cNvPr id="1471" name="Freeform: Shape 1470">
              <a:extLst>
                <a:ext uri="{FF2B5EF4-FFF2-40B4-BE49-F238E27FC236}">
                  <a16:creationId xmlns:a16="http://schemas.microsoft.com/office/drawing/2014/main" id="{88BE5187-2E9E-4C7F-8E5B-09D2BC7F0219}"/>
                </a:ext>
              </a:extLst>
            </p:cNvPr>
            <p:cNvSpPr/>
            <p:nvPr/>
          </p:nvSpPr>
          <p:spPr>
            <a:xfrm>
              <a:off x="10924931" y="6477161"/>
              <a:ext cx="365491" cy="14467"/>
            </a:xfrm>
            <a:custGeom>
              <a:avLst/>
              <a:gdLst>
                <a:gd name="connsiteX0" fmla="*/ 356916 w 365491"/>
                <a:gd name="connsiteY0" fmla="*/ 0 h 14467"/>
                <a:gd name="connsiteX1" fmla="*/ 0 w 365491"/>
                <a:gd name="connsiteY1" fmla="*/ 0 h 14467"/>
                <a:gd name="connsiteX2" fmla="*/ 7234 w 365491"/>
                <a:gd name="connsiteY2" fmla="*/ 7234 h 14467"/>
                <a:gd name="connsiteX3" fmla="*/ 0 w 365491"/>
                <a:gd name="connsiteY3" fmla="*/ 14467 h 14467"/>
                <a:gd name="connsiteX4" fmla="*/ 358256 w 365491"/>
                <a:gd name="connsiteY4" fmla="*/ 14467 h 14467"/>
                <a:gd name="connsiteX5" fmla="*/ 365491 w 365491"/>
                <a:gd name="connsiteY5" fmla="*/ 7234 h 14467"/>
                <a:gd name="connsiteX6" fmla="*/ 359596 w 365491"/>
                <a:gd name="connsiteY6" fmla="*/ 268 h 14467"/>
                <a:gd name="connsiteX7" fmla="*/ 358256 w 365491"/>
                <a:gd name="connsiteY7" fmla="*/ 268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491" h="14467">
                  <a:moveTo>
                    <a:pt x="356916" y="0"/>
                  </a:moveTo>
                  <a:lnTo>
                    <a:pt x="0" y="0"/>
                  </a:lnTo>
                  <a:cubicBezTo>
                    <a:pt x="3993" y="0"/>
                    <a:pt x="7234" y="3242"/>
                    <a:pt x="7234" y="7234"/>
                  </a:cubicBezTo>
                  <a:cubicBezTo>
                    <a:pt x="7234" y="11226"/>
                    <a:pt x="3993" y="14467"/>
                    <a:pt x="0" y="14467"/>
                  </a:cubicBezTo>
                  <a:lnTo>
                    <a:pt x="358256" y="14467"/>
                  </a:lnTo>
                  <a:cubicBezTo>
                    <a:pt x="362249" y="14467"/>
                    <a:pt x="365491" y="11226"/>
                    <a:pt x="365491" y="7234"/>
                  </a:cubicBezTo>
                  <a:cubicBezTo>
                    <a:pt x="365531" y="3764"/>
                    <a:pt x="363026" y="804"/>
                    <a:pt x="359596" y="268"/>
                  </a:cubicBezTo>
                  <a:lnTo>
                    <a:pt x="358256" y="268"/>
                  </a:lnTo>
                  <a:close/>
                </a:path>
              </a:pathLst>
            </a:custGeom>
            <a:solidFill>
              <a:srgbClr val="000000"/>
            </a:solidFill>
            <a:ln w="12700" cap="flat">
              <a:noFill/>
              <a:prstDash val="solid"/>
              <a:miter/>
            </a:ln>
          </p:spPr>
          <p:txBody>
            <a:bodyPr rtlCol="0" anchor="ctr"/>
            <a:lstStyle/>
            <a:p>
              <a:endParaRPr lang="en-US"/>
            </a:p>
          </p:txBody>
        </p:sp>
        <p:sp>
          <p:nvSpPr>
            <p:cNvPr id="1472" name="Freeform: Shape 1471">
              <a:extLst>
                <a:ext uri="{FF2B5EF4-FFF2-40B4-BE49-F238E27FC236}">
                  <a16:creationId xmlns:a16="http://schemas.microsoft.com/office/drawing/2014/main" id="{AD8BCA9B-1433-4DF5-917B-865312684404}"/>
                </a:ext>
              </a:extLst>
            </p:cNvPr>
            <p:cNvSpPr/>
            <p:nvPr/>
          </p:nvSpPr>
          <p:spPr>
            <a:xfrm>
              <a:off x="10890364" y="6477161"/>
              <a:ext cx="41800" cy="14467"/>
            </a:xfrm>
            <a:custGeom>
              <a:avLst/>
              <a:gdLst>
                <a:gd name="connsiteX0" fmla="*/ 0 w 41800"/>
                <a:gd name="connsiteY0" fmla="*/ 4019 h 14467"/>
                <a:gd name="connsiteX1" fmla="*/ 0 w 41800"/>
                <a:gd name="connsiteY1" fmla="*/ 14467 h 14467"/>
                <a:gd name="connsiteX2" fmla="*/ 34566 w 41800"/>
                <a:gd name="connsiteY2" fmla="*/ 14467 h 14467"/>
                <a:gd name="connsiteX3" fmla="*/ 41801 w 41800"/>
                <a:gd name="connsiteY3" fmla="*/ 7234 h 14467"/>
                <a:gd name="connsiteX4" fmla="*/ 34566 w 41800"/>
                <a:gd name="connsiteY4" fmla="*/ 0 h 14467"/>
                <a:gd name="connsiteX5" fmla="*/ 0 w 41800"/>
                <a:gd name="connsiteY5" fmla="*/ 0 h 14467"/>
                <a:gd name="connsiteX6" fmla="*/ 0 w 41800"/>
                <a:gd name="connsiteY6" fmla="*/ 4019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0" h="14467">
                  <a:moveTo>
                    <a:pt x="0" y="4019"/>
                  </a:moveTo>
                  <a:lnTo>
                    <a:pt x="0" y="14467"/>
                  </a:lnTo>
                  <a:lnTo>
                    <a:pt x="34566" y="14467"/>
                  </a:lnTo>
                  <a:cubicBezTo>
                    <a:pt x="38559" y="14467"/>
                    <a:pt x="41801" y="11226"/>
                    <a:pt x="41801" y="7234"/>
                  </a:cubicBezTo>
                  <a:cubicBezTo>
                    <a:pt x="41801" y="3242"/>
                    <a:pt x="38559" y="0"/>
                    <a:pt x="34566" y="0"/>
                  </a:cubicBezTo>
                  <a:lnTo>
                    <a:pt x="0" y="0"/>
                  </a:lnTo>
                  <a:lnTo>
                    <a:pt x="0" y="4019"/>
                  </a:lnTo>
                  <a:close/>
                </a:path>
              </a:pathLst>
            </a:custGeom>
            <a:solidFill>
              <a:srgbClr val="000000"/>
            </a:solidFill>
            <a:ln w="12700" cap="flat">
              <a:noFill/>
              <a:prstDash val="solid"/>
              <a:miter/>
            </a:ln>
          </p:spPr>
          <p:txBody>
            <a:bodyPr rtlCol="0" anchor="ctr"/>
            <a:lstStyle/>
            <a:p>
              <a:endParaRPr lang="en-US"/>
            </a:p>
          </p:txBody>
        </p:sp>
        <p:sp>
          <p:nvSpPr>
            <p:cNvPr id="1473" name="Freeform: Shape 1472">
              <a:extLst>
                <a:ext uri="{FF2B5EF4-FFF2-40B4-BE49-F238E27FC236}">
                  <a16:creationId xmlns:a16="http://schemas.microsoft.com/office/drawing/2014/main" id="{A972C244-E10F-449A-A6BF-427E4BBDC696}"/>
                </a:ext>
              </a:extLst>
            </p:cNvPr>
            <p:cNvSpPr/>
            <p:nvPr/>
          </p:nvSpPr>
          <p:spPr>
            <a:xfrm>
              <a:off x="10890231" y="6482921"/>
              <a:ext cx="13397" cy="937"/>
            </a:xfrm>
            <a:custGeom>
              <a:avLst/>
              <a:gdLst>
                <a:gd name="connsiteX0" fmla="*/ 0 w 13397"/>
                <a:gd name="connsiteY0" fmla="*/ 0 h 937"/>
                <a:gd name="connsiteX1" fmla="*/ 0 w 13397"/>
                <a:gd name="connsiteY1" fmla="*/ 938 h 937"/>
                <a:gd name="connsiteX2" fmla="*/ 0 w 13397"/>
                <a:gd name="connsiteY2" fmla="*/ 0 h 937"/>
                <a:gd name="connsiteX3" fmla="*/ 0 w 13397"/>
                <a:gd name="connsiteY3" fmla="*/ 0 h 937"/>
              </a:gdLst>
              <a:ahLst/>
              <a:cxnLst>
                <a:cxn ang="0">
                  <a:pos x="connsiteX0" y="connsiteY0"/>
                </a:cxn>
                <a:cxn ang="0">
                  <a:pos x="connsiteX1" y="connsiteY1"/>
                </a:cxn>
                <a:cxn ang="0">
                  <a:pos x="connsiteX2" y="connsiteY2"/>
                </a:cxn>
                <a:cxn ang="0">
                  <a:pos x="connsiteX3" y="connsiteY3"/>
                </a:cxn>
              </a:cxnLst>
              <a:rect l="l" t="t" r="r" b="b"/>
              <a:pathLst>
                <a:path w="13397" h="937">
                  <a:moveTo>
                    <a:pt x="0" y="0"/>
                  </a:moveTo>
                  <a:cubicBezTo>
                    <a:pt x="0" y="0"/>
                    <a:pt x="0" y="0"/>
                    <a:pt x="0" y="938"/>
                  </a:cubicBezTo>
                  <a:lnTo>
                    <a:pt x="0" y="0"/>
                  </a:lnTo>
                  <a:cubicBezTo>
                    <a:pt x="0" y="0"/>
                    <a:pt x="0" y="0"/>
                    <a:pt x="0" y="0"/>
                  </a:cubicBezTo>
                  <a:close/>
                </a:path>
              </a:pathLst>
            </a:custGeom>
            <a:solidFill>
              <a:srgbClr val="000000"/>
            </a:solidFill>
            <a:ln w="12700" cap="flat">
              <a:noFill/>
              <a:prstDash val="solid"/>
              <a:miter/>
            </a:ln>
          </p:spPr>
          <p:txBody>
            <a:bodyPr rtlCol="0" anchor="ctr"/>
            <a:lstStyle/>
            <a:p>
              <a:endParaRPr lang="en-US"/>
            </a:p>
          </p:txBody>
        </p:sp>
        <p:sp>
          <p:nvSpPr>
            <p:cNvPr id="1474" name="Freeform: Shape 1473">
              <a:extLst>
                <a:ext uri="{FF2B5EF4-FFF2-40B4-BE49-F238E27FC236}">
                  <a16:creationId xmlns:a16="http://schemas.microsoft.com/office/drawing/2014/main" id="{F1825B8E-FC0F-46A1-B4DE-7F2E52037C54}"/>
                </a:ext>
              </a:extLst>
            </p:cNvPr>
            <p:cNvSpPr/>
            <p:nvPr/>
          </p:nvSpPr>
          <p:spPr>
            <a:xfrm>
              <a:off x="12346969" y="5772013"/>
              <a:ext cx="340686" cy="14467"/>
            </a:xfrm>
            <a:custGeom>
              <a:avLst/>
              <a:gdLst>
                <a:gd name="connsiteX0" fmla="*/ 0 w 340686"/>
                <a:gd name="connsiteY0" fmla="*/ 0 h 14467"/>
                <a:gd name="connsiteX1" fmla="*/ 7234 w 340686"/>
                <a:gd name="connsiteY1" fmla="*/ 7234 h 14467"/>
                <a:gd name="connsiteX2" fmla="*/ 0 w 340686"/>
                <a:gd name="connsiteY2" fmla="*/ 14467 h 14467"/>
                <a:gd name="connsiteX3" fmla="*/ 333470 w 340686"/>
                <a:gd name="connsiteY3" fmla="*/ 14467 h 14467"/>
                <a:gd name="connsiteX4" fmla="*/ 334676 w 340686"/>
                <a:gd name="connsiteY4" fmla="*/ 14467 h 14467"/>
                <a:gd name="connsiteX5" fmla="*/ 335480 w 340686"/>
                <a:gd name="connsiteY5" fmla="*/ 14467 h 14467"/>
                <a:gd name="connsiteX6" fmla="*/ 338159 w 340686"/>
                <a:gd name="connsiteY6" fmla="*/ 13128 h 14467"/>
                <a:gd name="connsiteX7" fmla="*/ 338950 w 340686"/>
                <a:gd name="connsiteY7" fmla="*/ 2928 h 14467"/>
                <a:gd name="connsiteX8" fmla="*/ 338159 w 340686"/>
                <a:gd name="connsiteY8" fmla="*/ 2143 h 14467"/>
                <a:gd name="connsiteX9" fmla="*/ 335480 w 340686"/>
                <a:gd name="connsiteY9" fmla="*/ 804 h 14467"/>
                <a:gd name="connsiteX10" fmla="*/ 333470 w 340686"/>
                <a:gd name="connsiteY10" fmla="*/ 804 h 14467"/>
                <a:gd name="connsiteX11" fmla="*/ 0 w 340686"/>
                <a:gd name="connsiteY11" fmla="*/ 80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686" h="14467">
                  <a:moveTo>
                    <a:pt x="0" y="0"/>
                  </a:moveTo>
                  <a:cubicBezTo>
                    <a:pt x="3992" y="0"/>
                    <a:pt x="7234" y="3239"/>
                    <a:pt x="7234" y="7234"/>
                  </a:cubicBezTo>
                  <a:cubicBezTo>
                    <a:pt x="7234" y="11228"/>
                    <a:pt x="3992" y="14467"/>
                    <a:pt x="0" y="14467"/>
                  </a:cubicBezTo>
                  <a:lnTo>
                    <a:pt x="333470" y="14467"/>
                  </a:lnTo>
                  <a:lnTo>
                    <a:pt x="334676" y="14467"/>
                  </a:lnTo>
                  <a:lnTo>
                    <a:pt x="335480" y="14467"/>
                  </a:lnTo>
                  <a:cubicBezTo>
                    <a:pt x="336471" y="14242"/>
                    <a:pt x="337382" y="13783"/>
                    <a:pt x="338159" y="13128"/>
                  </a:cubicBezTo>
                  <a:cubicBezTo>
                    <a:pt x="341187" y="10528"/>
                    <a:pt x="341549" y="5961"/>
                    <a:pt x="338950" y="2928"/>
                  </a:cubicBezTo>
                  <a:cubicBezTo>
                    <a:pt x="338709" y="2647"/>
                    <a:pt x="338441" y="2384"/>
                    <a:pt x="338159" y="2143"/>
                  </a:cubicBezTo>
                  <a:cubicBezTo>
                    <a:pt x="337355" y="1540"/>
                    <a:pt x="336444" y="1086"/>
                    <a:pt x="335480" y="804"/>
                  </a:cubicBezTo>
                  <a:lnTo>
                    <a:pt x="333470" y="804"/>
                  </a:lnTo>
                  <a:lnTo>
                    <a:pt x="0" y="804"/>
                  </a:lnTo>
                  <a:close/>
                </a:path>
              </a:pathLst>
            </a:custGeom>
            <a:solidFill>
              <a:srgbClr val="000000"/>
            </a:solidFill>
            <a:ln w="12700" cap="flat">
              <a:noFill/>
              <a:prstDash val="solid"/>
              <a:miter/>
            </a:ln>
          </p:spPr>
          <p:txBody>
            <a:bodyPr rtlCol="0" anchor="ctr"/>
            <a:lstStyle/>
            <a:p>
              <a:endParaRPr lang="en-US"/>
            </a:p>
          </p:txBody>
        </p:sp>
        <p:sp>
          <p:nvSpPr>
            <p:cNvPr id="1475" name="Freeform: Shape 1474">
              <a:extLst>
                <a:ext uri="{FF2B5EF4-FFF2-40B4-BE49-F238E27FC236}">
                  <a16:creationId xmlns:a16="http://schemas.microsoft.com/office/drawing/2014/main" id="{C6786143-20C2-4368-87ED-96919175A422}"/>
                </a:ext>
              </a:extLst>
            </p:cNvPr>
            <p:cNvSpPr/>
            <p:nvPr/>
          </p:nvSpPr>
          <p:spPr>
            <a:xfrm>
              <a:off x="9602652" y="6478164"/>
              <a:ext cx="87676" cy="14739"/>
            </a:xfrm>
            <a:custGeom>
              <a:avLst/>
              <a:gdLst>
                <a:gd name="connsiteX0" fmla="*/ 80307 w 87676"/>
                <a:gd name="connsiteY0" fmla="*/ 7302 h 14739"/>
                <a:gd name="connsiteX1" fmla="*/ 87676 w 87676"/>
                <a:gd name="connsiteY1" fmla="*/ 68 h 14739"/>
                <a:gd name="connsiteX2" fmla="*/ 8361 w 87676"/>
                <a:gd name="connsiteY2" fmla="*/ 68 h 14739"/>
                <a:gd name="connsiteX3" fmla="*/ 68 w 87676"/>
                <a:gd name="connsiteY3" fmla="*/ 6378 h 14739"/>
                <a:gd name="connsiteX4" fmla="*/ 6378 w 87676"/>
                <a:gd name="connsiteY4" fmla="*/ 14670 h 14739"/>
                <a:gd name="connsiteX5" fmla="*/ 8361 w 87676"/>
                <a:gd name="connsiteY5" fmla="*/ 14670 h 14739"/>
                <a:gd name="connsiteX6" fmla="*/ 87542 w 87676"/>
                <a:gd name="connsiteY6" fmla="*/ 14670 h 14739"/>
                <a:gd name="connsiteX7" fmla="*/ 80307 w 87676"/>
                <a:gd name="connsiteY7" fmla="*/ 7302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76" h="14739">
                  <a:moveTo>
                    <a:pt x="80307" y="7302"/>
                  </a:moveTo>
                  <a:cubicBezTo>
                    <a:pt x="80374" y="3283"/>
                    <a:pt x="83656" y="68"/>
                    <a:pt x="87676" y="68"/>
                  </a:cubicBezTo>
                  <a:lnTo>
                    <a:pt x="8361" y="68"/>
                  </a:lnTo>
                  <a:cubicBezTo>
                    <a:pt x="4329" y="-481"/>
                    <a:pt x="617" y="2346"/>
                    <a:pt x="68" y="6378"/>
                  </a:cubicBezTo>
                  <a:cubicBezTo>
                    <a:pt x="-481" y="10410"/>
                    <a:pt x="2346" y="14120"/>
                    <a:pt x="6378" y="14670"/>
                  </a:cubicBezTo>
                  <a:cubicBezTo>
                    <a:pt x="7035" y="14763"/>
                    <a:pt x="7704" y="14763"/>
                    <a:pt x="8361" y="14670"/>
                  </a:cubicBezTo>
                  <a:lnTo>
                    <a:pt x="87542" y="14670"/>
                  </a:lnTo>
                  <a:cubicBezTo>
                    <a:pt x="83522" y="14603"/>
                    <a:pt x="80307" y="11321"/>
                    <a:pt x="80307" y="7302"/>
                  </a:cubicBezTo>
                  <a:close/>
                </a:path>
              </a:pathLst>
            </a:custGeom>
            <a:solidFill>
              <a:srgbClr val="000000"/>
            </a:solidFill>
            <a:ln w="12700" cap="flat">
              <a:noFill/>
              <a:prstDash val="solid"/>
              <a:miter/>
            </a:ln>
          </p:spPr>
          <p:txBody>
            <a:bodyPr rtlCol="0" anchor="ctr"/>
            <a:lstStyle/>
            <a:p>
              <a:endParaRPr lang="en-US"/>
            </a:p>
          </p:txBody>
        </p:sp>
        <p:sp>
          <p:nvSpPr>
            <p:cNvPr id="1476" name="Freeform: Shape 1475">
              <a:extLst>
                <a:ext uri="{FF2B5EF4-FFF2-40B4-BE49-F238E27FC236}">
                  <a16:creationId xmlns:a16="http://schemas.microsoft.com/office/drawing/2014/main" id="{569859C4-84F0-4AA3-90AE-D5685FDB5E60}"/>
                </a:ext>
              </a:extLst>
            </p:cNvPr>
            <p:cNvSpPr/>
            <p:nvPr/>
          </p:nvSpPr>
          <p:spPr>
            <a:xfrm>
              <a:off x="9682959" y="6478232"/>
              <a:ext cx="163452" cy="14601"/>
            </a:xfrm>
            <a:custGeom>
              <a:avLst/>
              <a:gdLst>
                <a:gd name="connsiteX0" fmla="*/ 0 w 163452"/>
                <a:gd name="connsiteY0" fmla="*/ 7234 h 14601"/>
                <a:gd name="connsiteX1" fmla="*/ 7369 w 163452"/>
                <a:gd name="connsiteY1" fmla="*/ 14601 h 14601"/>
                <a:gd name="connsiteX2" fmla="*/ 156084 w 163452"/>
                <a:gd name="connsiteY2" fmla="*/ 14601 h 14601"/>
                <a:gd name="connsiteX3" fmla="*/ 163453 w 163452"/>
                <a:gd name="connsiteY3" fmla="*/ 7234 h 14601"/>
                <a:gd name="connsiteX4" fmla="*/ 156084 w 163452"/>
                <a:gd name="connsiteY4" fmla="*/ 0 h 14601"/>
                <a:gd name="connsiteX5" fmla="*/ 7369 w 163452"/>
                <a:gd name="connsiteY5" fmla="*/ 0 h 14601"/>
                <a:gd name="connsiteX6" fmla="*/ 0 w 163452"/>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452" h="14601">
                  <a:moveTo>
                    <a:pt x="0" y="7234"/>
                  </a:moveTo>
                  <a:cubicBezTo>
                    <a:pt x="0" y="11306"/>
                    <a:pt x="3296" y="14601"/>
                    <a:pt x="7369" y="14601"/>
                  </a:cubicBezTo>
                  <a:lnTo>
                    <a:pt x="156084" y="14601"/>
                  </a:lnTo>
                  <a:cubicBezTo>
                    <a:pt x="160157" y="14601"/>
                    <a:pt x="163453" y="11306"/>
                    <a:pt x="163453" y="7234"/>
                  </a:cubicBezTo>
                  <a:cubicBezTo>
                    <a:pt x="163386" y="3215"/>
                    <a:pt x="160103" y="0"/>
                    <a:pt x="156084" y="0"/>
                  </a:cubicBezTo>
                  <a:lnTo>
                    <a:pt x="7369" y="0"/>
                  </a:lnTo>
                  <a:cubicBezTo>
                    <a:pt x="3349" y="0"/>
                    <a:pt x="67" y="3215"/>
                    <a:pt x="0" y="7234"/>
                  </a:cubicBezTo>
                  <a:close/>
                </a:path>
              </a:pathLst>
            </a:custGeom>
            <a:solidFill>
              <a:srgbClr val="000000"/>
            </a:solidFill>
            <a:ln w="12700" cap="flat">
              <a:noFill/>
              <a:prstDash val="solid"/>
              <a:miter/>
            </a:ln>
          </p:spPr>
          <p:txBody>
            <a:bodyPr rtlCol="0" anchor="ctr"/>
            <a:lstStyle/>
            <a:p>
              <a:endParaRPr lang="en-US"/>
            </a:p>
          </p:txBody>
        </p:sp>
        <p:sp>
          <p:nvSpPr>
            <p:cNvPr id="1477" name="Freeform: Shape 1476">
              <a:extLst>
                <a:ext uri="{FF2B5EF4-FFF2-40B4-BE49-F238E27FC236}">
                  <a16:creationId xmlns:a16="http://schemas.microsoft.com/office/drawing/2014/main" id="{C3D1ABA9-3A1B-48CF-8033-FE83E5D2F3FD}"/>
                </a:ext>
              </a:extLst>
            </p:cNvPr>
            <p:cNvSpPr/>
            <p:nvPr/>
          </p:nvSpPr>
          <p:spPr>
            <a:xfrm>
              <a:off x="12717215" y="5573757"/>
              <a:ext cx="14741" cy="200855"/>
            </a:xfrm>
            <a:custGeom>
              <a:avLst/>
              <a:gdLst>
                <a:gd name="connsiteX0" fmla="*/ 68 w 14741"/>
                <a:gd name="connsiteY0" fmla="*/ 192496 h 200855"/>
                <a:gd name="connsiteX1" fmla="*/ 6379 w 14741"/>
                <a:gd name="connsiteY1" fmla="*/ 200788 h 200855"/>
                <a:gd name="connsiteX2" fmla="*/ 14671 w 14741"/>
                <a:gd name="connsiteY2" fmla="*/ 194478 h 200855"/>
                <a:gd name="connsiteX3" fmla="*/ 14671 w 14741"/>
                <a:gd name="connsiteY3" fmla="*/ 192496 h 200855"/>
                <a:gd name="connsiteX4" fmla="*/ 14671 w 14741"/>
                <a:gd name="connsiteY4" fmla="*/ 0 h 200855"/>
                <a:gd name="connsiteX5" fmla="*/ 6379 w 14741"/>
                <a:gd name="connsiteY5" fmla="*/ 6309 h 200855"/>
                <a:gd name="connsiteX6" fmla="*/ 68 w 14741"/>
                <a:gd name="connsiteY6" fmla="*/ 0 h 200855"/>
                <a:gd name="connsiteX7" fmla="*/ 68 w 14741"/>
                <a:gd name="connsiteY7" fmla="*/ 192496 h 2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1" h="200855">
                  <a:moveTo>
                    <a:pt x="68" y="192496"/>
                  </a:moveTo>
                  <a:cubicBezTo>
                    <a:pt x="-481" y="196528"/>
                    <a:pt x="2346" y="200240"/>
                    <a:pt x="6379" y="200788"/>
                  </a:cubicBezTo>
                  <a:cubicBezTo>
                    <a:pt x="10411" y="201336"/>
                    <a:pt x="14122" y="198510"/>
                    <a:pt x="14671" y="194478"/>
                  </a:cubicBezTo>
                  <a:cubicBezTo>
                    <a:pt x="14765" y="193821"/>
                    <a:pt x="14765" y="193154"/>
                    <a:pt x="14671" y="192496"/>
                  </a:cubicBezTo>
                  <a:lnTo>
                    <a:pt x="14671" y="0"/>
                  </a:lnTo>
                  <a:cubicBezTo>
                    <a:pt x="14122" y="4032"/>
                    <a:pt x="10411" y="6857"/>
                    <a:pt x="6379" y="6309"/>
                  </a:cubicBezTo>
                  <a:cubicBezTo>
                    <a:pt x="3096" y="5863"/>
                    <a:pt x="510" y="3282"/>
                    <a:pt x="68" y="0"/>
                  </a:cubicBezTo>
                  <a:lnTo>
                    <a:pt x="68" y="192496"/>
                  </a:lnTo>
                  <a:close/>
                </a:path>
              </a:pathLst>
            </a:custGeom>
            <a:solidFill>
              <a:srgbClr val="000000"/>
            </a:solidFill>
            <a:ln w="12700" cap="flat">
              <a:noFill/>
              <a:prstDash val="solid"/>
              <a:miter/>
            </a:ln>
          </p:spPr>
          <p:txBody>
            <a:bodyPr rtlCol="0" anchor="ctr"/>
            <a:lstStyle/>
            <a:p>
              <a:endParaRPr lang="en-US"/>
            </a:p>
          </p:txBody>
        </p:sp>
        <p:sp>
          <p:nvSpPr>
            <p:cNvPr id="1478" name="Freeform: Shape 1477">
              <a:extLst>
                <a:ext uri="{FF2B5EF4-FFF2-40B4-BE49-F238E27FC236}">
                  <a16:creationId xmlns:a16="http://schemas.microsoft.com/office/drawing/2014/main" id="{14180BFC-AF74-4098-AB79-FA0DB5DE2F58}"/>
                </a:ext>
              </a:extLst>
            </p:cNvPr>
            <p:cNvSpPr/>
            <p:nvPr/>
          </p:nvSpPr>
          <p:spPr>
            <a:xfrm>
              <a:off x="12717212" y="5547982"/>
              <a:ext cx="14741" cy="32151"/>
            </a:xfrm>
            <a:custGeom>
              <a:avLst/>
              <a:gdLst>
                <a:gd name="connsiteX0" fmla="*/ 71 w 14741"/>
                <a:gd name="connsiteY0" fmla="*/ 8360 h 32151"/>
                <a:gd name="connsiteX1" fmla="*/ 71 w 14741"/>
                <a:gd name="connsiteY1" fmla="*/ 25774 h 32151"/>
                <a:gd name="connsiteX2" fmla="*/ 8363 w 14741"/>
                <a:gd name="connsiteY2" fmla="*/ 32084 h 32151"/>
                <a:gd name="connsiteX3" fmla="*/ 14674 w 14741"/>
                <a:gd name="connsiteY3" fmla="*/ 25774 h 32151"/>
                <a:gd name="connsiteX4" fmla="*/ 14674 w 14741"/>
                <a:gd name="connsiteY4" fmla="*/ 8360 h 32151"/>
                <a:gd name="connsiteX5" fmla="*/ 8363 w 14741"/>
                <a:gd name="connsiteY5" fmla="*/ 68 h 32151"/>
                <a:gd name="connsiteX6" fmla="*/ 71 w 14741"/>
                <a:gd name="connsiteY6" fmla="*/ 6377 h 32151"/>
                <a:gd name="connsiteX7" fmla="*/ 71 w 14741"/>
                <a:gd name="connsiteY7" fmla="*/ 8360 h 3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1" h="32151">
                  <a:moveTo>
                    <a:pt x="71" y="8360"/>
                  </a:moveTo>
                  <a:lnTo>
                    <a:pt x="71" y="25774"/>
                  </a:lnTo>
                  <a:cubicBezTo>
                    <a:pt x="619" y="29806"/>
                    <a:pt x="4331" y="32631"/>
                    <a:pt x="8363" y="32084"/>
                  </a:cubicBezTo>
                  <a:cubicBezTo>
                    <a:pt x="11646" y="31638"/>
                    <a:pt x="14232" y="29056"/>
                    <a:pt x="14674" y="25774"/>
                  </a:cubicBezTo>
                  <a:lnTo>
                    <a:pt x="14674" y="8360"/>
                  </a:lnTo>
                  <a:cubicBezTo>
                    <a:pt x="15223" y="4328"/>
                    <a:pt x="12396" y="616"/>
                    <a:pt x="8363" y="68"/>
                  </a:cubicBezTo>
                  <a:cubicBezTo>
                    <a:pt x="4331" y="-480"/>
                    <a:pt x="619" y="2345"/>
                    <a:pt x="71" y="6377"/>
                  </a:cubicBezTo>
                  <a:cubicBezTo>
                    <a:pt x="-24" y="7035"/>
                    <a:pt x="-24" y="7702"/>
                    <a:pt x="71" y="8360"/>
                  </a:cubicBezTo>
                  <a:close/>
                </a:path>
              </a:pathLst>
            </a:custGeom>
            <a:solidFill>
              <a:srgbClr val="000000"/>
            </a:solidFill>
            <a:ln w="12700" cap="flat">
              <a:noFill/>
              <a:prstDash val="solid"/>
              <a:miter/>
            </a:ln>
          </p:spPr>
          <p:txBody>
            <a:bodyPr rtlCol="0" anchor="ctr"/>
            <a:lstStyle/>
            <a:p>
              <a:endParaRPr lang="en-US"/>
            </a:p>
          </p:txBody>
        </p:sp>
        <p:sp>
          <p:nvSpPr>
            <p:cNvPr id="1479" name="Freeform: Shape 1478">
              <a:extLst>
                <a:ext uri="{FF2B5EF4-FFF2-40B4-BE49-F238E27FC236}">
                  <a16:creationId xmlns:a16="http://schemas.microsoft.com/office/drawing/2014/main" id="{F440E555-953B-46EF-AF1D-B15BC753B970}"/>
                </a:ext>
              </a:extLst>
            </p:cNvPr>
            <p:cNvSpPr/>
            <p:nvPr/>
          </p:nvSpPr>
          <p:spPr>
            <a:xfrm>
              <a:off x="12150022" y="5738213"/>
              <a:ext cx="193564" cy="14643"/>
            </a:xfrm>
            <a:custGeom>
              <a:avLst/>
              <a:gdLst>
                <a:gd name="connsiteX0" fmla="*/ 186229 w 193564"/>
                <a:gd name="connsiteY0" fmla="*/ 13840 h 14643"/>
                <a:gd name="connsiteX1" fmla="*/ 193464 w 193564"/>
                <a:gd name="connsiteY1" fmla="*/ 6472 h 14643"/>
                <a:gd name="connsiteX2" fmla="*/ 193464 w 193564"/>
                <a:gd name="connsiteY2" fmla="*/ 4061 h 14643"/>
                <a:gd name="connsiteX3" fmla="*/ 192660 w 193564"/>
                <a:gd name="connsiteY3" fmla="*/ 2721 h 14643"/>
                <a:gd name="connsiteX4" fmla="*/ 191990 w 193564"/>
                <a:gd name="connsiteY4" fmla="*/ 1650 h 14643"/>
                <a:gd name="connsiteX5" fmla="*/ 190918 w 193564"/>
                <a:gd name="connsiteY5" fmla="*/ 846 h 14643"/>
                <a:gd name="connsiteX6" fmla="*/ 189713 w 193564"/>
                <a:gd name="connsiteY6" fmla="*/ 42 h 14643"/>
                <a:gd name="connsiteX7" fmla="*/ 188507 w 193564"/>
                <a:gd name="connsiteY7" fmla="*/ 42 h 14643"/>
                <a:gd name="connsiteX8" fmla="*/ 187033 w 193564"/>
                <a:gd name="connsiteY8" fmla="*/ 42 h 14643"/>
                <a:gd name="connsiteX9" fmla="*/ 0 w 193564"/>
                <a:gd name="connsiteY9" fmla="*/ 42 h 14643"/>
                <a:gd name="connsiteX10" fmla="*/ 7369 w 193564"/>
                <a:gd name="connsiteY10" fmla="*/ 7276 h 14643"/>
                <a:gd name="connsiteX11" fmla="*/ 0 w 193564"/>
                <a:gd name="connsiteY11" fmla="*/ 14643 h 14643"/>
                <a:gd name="connsiteX12" fmla="*/ 186229 w 193564"/>
                <a:gd name="connsiteY12" fmla="*/ 14643 h 1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564" h="14643">
                  <a:moveTo>
                    <a:pt x="186229" y="13840"/>
                  </a:moveTo>
                  <a:cubicBezTo>
                    <a:pt x="190248" y="13766"/>
                    <a:pt x="193464" y="10490"/>
                    <a:pt x="193464" y="6472"/>
                  </a:cubicBezTo>
                  <a:cubicBezTo>
                    <a:pt x="193598" y="5674"/>
                    <a:pt x="193598" y="4859"/>
                    <a:pt x="193464" y="4061"/>
                  </a:cubicBezTo>
                  <a:lnTo>
                    <a:pt x="192660" y="2721"/>
                  </a:lnTo>
                  <a:cubicBezTo>
                    <a:pt x="192513" y="2319"/>
                    <a:pt x="192284" y="1954"/>
                    <a:pt x="191990" y="1650"/>
                  </a:cubicBezTo>
                  <a:cubicBezTo>
                    <a:pt x="191695" y="1309"/>
                    <a:pt x="191333" y="1036"/>
                    <a:pt x="190918" y="846"/>
                  </a:cubicBezTo>
                  <a:lnTo>
                    <a:pt x="189713" y="42"/>
                  </a:lnTo>
                  <a:cubicBezTo>
                    <a:pt x="189310" y="-14"/>
                    <a:pt x="188908" y="-14"/>
                    <a:pt x="188507" y="42"/>
                  </a:cubicBezTo>
                  <a:lnTo>
                    <a:pt x="187033" y="42"/>
                  </a:lnTo>
                  <a:lnTo>
                    <a:pt x="0" y="42"/>
                  </a:lnTo>
                  <a:cubicBezTo>
                    <a:pt x="4019" y="42"/>
                    <a:pt x="7302" y="3260"/>
                    <a:pt x="7369" y="7276"/>
                  </a:cubicBezTo>
                  <a:cubicBezTo>
                    <a:pt x="7369" y="11345"/>
                    <a:pt x="4073" y="14643"/>
                    <a:pt x="0" y="14643"/>
                  </a:cubicBezTo>
                  <a:lnTo>
                    <a:pt x="186229" y="14643"/>
                  </a:lnTo>
                  <a:close/>
                </a:path>
              </a:pathLst>
            </a:custGeom>
            <a:solidFill>
              <a:srgbClr val="000000"/>
            </a:solidFill>
            <a:ln w="12700" cap="flat">
              <a:noFill/>
              <a:prstDash val="solid"/>
              <a:miter/>
            </a:ln>
          </p:spPr>
          <p:txBody>
            <a:bodyPr rtlCol="0" anchor="ctr"/>
            <a:lstStyle/>
            <a:p>
              <a:endParaRPr lang="en-US"/>
            </a:p>
          </p:txBody>
        </p:sp>
        <p:sp>
          <p:nvSpPr>
            <p:cNvPr id="1480" name="Freeform: Shape 1479">
              <a:extLst>
                <a:ext uri="{FF2B5EF4-FFF2-40B4-BE49-F238E27FC236}">
                  <a16:creationId xmlns:a16="http://schemas.microsoft.com/office/drawing/2014/main" id="{8E8E66E1-D406-496C-AA76-C13EC0389378}"/>
                </a:ext>
              </a:extLst>
            </p:cNvPr>
            <p:cNvSpPr/>
            <p:nvPr/>
          </p:nvSpPr>
          <p:spPr>
            <a:xfrm>
              <a:off x="12131131" y="5737452"/>
              <a:ext cx="26124" cy="14601"/>
            </a:xfrm>
            <a:custGeom>
              <a:avLst/>
              <a:gdLst>
                <a:gd name="connsiteX0" fmla="*/ 7234 w 26124"/>
                <a:gd name="connsiteY0" fmla="*/ 7234 h 14601"/>
                <a:gd name="connsiteX1" fmla="*/ 7234 w 26124"/>
                <a:gd name="connsiteY1" fmla="*/ 14601 h 14601"/>
                <a:gd name="connsiteX2" fmla="*/ 18756 w 26124"/>
                <a:gd name="connsiteY2" fmla="*/ 14601 h 14601"/>
                <a:gd name="connsiteX3" fmla="*/ 26125 w 26124"/>
                <a:gd name="connsiteY3" fmla="*/ 7234 h 14601"/>
                <a:gd name="connsiteX4" fmla="*/ 18756 w 26124"/>
                <a:gd name="connsiteY4" fmla="*/ 0 h 14601"/>
                <a:gd name="connsiteX5" fmla="*/ 0 w 26124"/>
                <a:gd name="connsiteY5" fmla="*/ 0 h 14601"/>
                <a:gd name="connsiteX6" fmla="*/ 7234 w 2612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4" h="14601">
                  <a:moveTo>
                    <a:pt x="7234" y="7234"/>
                  </a:moveTo>
                  <a:lnTo>
                    <a:pt x="7234" y="14601"/>
                  </a:lnTo>
                  <a:lnTo>
                    <a:pt x="18756" y="14601"/>
                  </a:lnTo>
                  <a:cubicBezTo>
                    <a:pt x="22830" y="14601"/>
                    <a:pt x="26125" y="11303"/>
                    <a:pt x="26125" y="7234"/>
                  </a:cubicBezTo>
                  <a:cubicBezTo>
                    <a:pt x="26059" y="3218"/>
                    <a:pt x="22776" y="0"/>
                    <a:pt x="18756" y="0"/>
                  </a:cubicBezTo>
                  <a:lnTo>
                    <a:pt x="0" y="0"/>
                  </a:lnTo>
                  <a:cubicBezTo>
                    <a:pt x="3992" y="0"/>
                    <a:pt x="7234" y="3239"/>
                    <a:pt x="7234" y="7234"/>
                  </a:cubicBezTo>
                  <a:close/>
                </a:path>
              </a:pathLst>
            </a:custGeom>
            <a:solidFill>
              <a:srgbClr val="000000"/>
            </a:solidFill>
            <a:ln w="12700" cap="flat">
              <a:noFill/>
              <a:prstDash val="solid"/>
              <a:miter/>
            </a:ln>
          </p:spPr>
          <p:txBody>
            <a:bodyPr rtlCol="0" anchor="ctr"/>
            <a:lstStyle/>
            <a:p>
              <a:endParaRPr lang="en-US"/>
            </a:p>
          </p:txBody>
        </p:sp>
        <p:sp>
          <p:nvSpPr>
            <p:cNvPr id="1481" name="Freeform: Shape 1480">
              <a:extLst>
                <a:ext uri="{FF2B5EF4-FFF2-40B4-BE49-F238E27FC236}">
                  <a16:creationId xmlns:a16="http://schemas.microsoft.com/office/drawing/2014/main" id="{BE45E145-152B-43E4-A81A-7D638A7C12C9}"/>
                </a:ext>
              </a:extLst>
            </p:cNvPr>
            <p:cNvSpPr/>
            <p:nvPr/>
          </p:nvSpPr>
          <p:spPr>
            <a:xfrm>
              <a:off x="11740948" y="6815133"/>
              <a:ext cx="14643" cy="38579"/>
            </a:xfrm>
            <a:custGeom>
              <a:avLst/>
              <a:gdLst>
                <a:gd name="connsiteX0" fmla="*/ 13572 w 14643"/>
                <a:gd name="connsiteY0" fmla="*/ 7234 h 38579"/>
                <a:gd name="connsiteX1" fmla="*/ 6203 w 14643"/>
                <a:gd name="connsiteY1" fmla="*/ 0 h 38579"/>
                <a:gd name="connsiteX2" fmla="*/ 1916 w 14643"/>
                <a:gd name="connsiteY2" fmla="*/ 1474 h 38579"/>
                <a:gd name="connsiteX3" fmla="*/ 844 w 14643"/>
                <a:gd name="connsiteY3" fmla="*/ 2545 h 38579"/>
                <a:gd name="connsiteX4" fmla="*/ 40 w 14643"/>
                <a:gd name="connsiteY4" fmla="*/ 3617 h 38579"/>
                <a:gd name="connsiteX5" fmla="*/ 40 w 14643"/>
                <a:gd name="connsiteY5" fmla="*/ 4822 h 38579"/>
                <a:gd name="connsiteX6" fmla="*/ 40 w 14643"/>
                <a:gd name="connsiteY6" fmla="*/ 6296 h 38579"/>
                <a:gd name="connsiteX7" fmla="*/ 40 w 14643"/>
                <a:gd name="connsiteY7" fmla="*/ 7234 h 38579"/>
                <a:gd name="connsiteX8" fmla="*/ 40 w 14643"/>
                <a:gd name="connsiteY8" fmla="*/ 38579 h 38579"/>
                <a:gd name="connsiteX9" fmla="*/ 14644 w 14643"/>
                <a:gd name="connsiteY9" fmla="*/ 38579 h 38579"/>
                <a:gd name="connsiteX10" fmla="*/ 14644 w 14643"/>
                <a:gd name="connsiteY10" fmla="*/ 7234 h 3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43" h="38579">
                  <a:moveTo>
                    <a:pt x="13572" y="7234"/>
                  </a:moveTo>
                  <a:cubicBezTo>
                    <a:pt x="13504" y="3215"/>
                    <a:pt x="10222" y="0"/>
                    <a:pt x="6203" y="0"/>
                  </a:cubicBezTo>
                  <a:cubicBezTo>
                    <a:pt x="4649" y="0"/>
                    <a:pt x="3135" y="522"/>
                    <a:pt x="1916" y="1474"/>
                  </a:cubicBezTo>
                  <a:cubicBezTo>
                    <a:pt x="1527" y="1795"/>
                    <a:pt x="1166" y="2157"/>
                    <a:pt x="844" y="2545"/>
                  </a:cubicBezTo>
                  <a:lnTo>
                    <a:pt x="40" y="3617"/>
                  </a:lnTo>
                  <a:cubicBezTo>
                    <a:pt x="-13" y="4019"/>
                    <a:pt x="-13" y="4421"/>
                    <a:pt x="40" y="4822"/>
                  </a:cubicBezTo>
                  <a:cubicBezTo>
                    <a:pt x="0" y="5318"/>
                    <a:pt x="0" y="5800"/>
                    <a:pt x="40" y="6296"/>
                  </a:cubicBezTo>
                  <a:cubicBezTo>
                    <a:pt x="40" y="6296"/>
                    <a:pt x="40" y="6296"/>
                    <a:pt x="40" y="7234"/>
                  </a:cubicBezTo>
                  <a:lnTo>
                    <a:pt x="40" y="38579"/>
                  </a:lnTo>
                  <a:lnTo>
                    <a:pt x="14644" y="38579"/>
                  </a:lnTo>
                  <a:lnTo>
                    <a:pt x="14644" y="7234"/>
                  </a:lnTo>
                  <a:close/>
                </a:path>
              </a:pathLst>
            </a:custGeom>
            <a:solidFill>
              <a:srgbClr val="000000"/>
            </a:solidFill>
            <a:ln w="12700" cap="flat">
              <a:noFill/>
              <a:prstDash val="solid"/>
              <a:miter/>
            </a:ln>
          </p:spPr>
          <p:txBody>
            <a:bodyPr rtlCol="0" anchor="ctr"/>
            <a:lstStyle/>
            <a:p>
              <a:endParaRPr lang="en-US"/>
            </a:p>
          </p:txBody>
        </p:sp>
        <p:sp>
          <p:nvSpPr>
            <p:cNvPr id="1482" name="Freeform: Shape 1481">
              <a:extLst>
                <a:ext uri="{FF2B5EF4-FFF2-40B4-BE49-F238E27FC236}">
                  <a16:creationId xmlns:a16="http://schemas.microsoft.com/office/drawing/2014/main" id="{2294B863-C5D6-47F4-A8D7-13DA3D79057B}"/>
                </a:ext>
              </a:extLst>
            </p:cNvPr>
            <p:cNvSpPr/>
            <p:nvPr/>
          </p:nvSpPr>
          <p:spPr>
            <a:xfrm>
              <a:off x="12123896" y="5737452"/>
              <a:ext cx="14603" cy="57869"/>
            </a:xfrm>
            <a:custGeom>
              <a:avLst/>
              <a:gdLst>
                <a:gd name="connsiteX0" fmla="*/ 7369 w 14603"/>
                <a:gd name="connsiteY0" fmla="*/ 50636 h 57869"/>
                <a:gd name="connsiteX1" fmla="*/ 14604 w 14603"/>
                <a:gd name="connsiteY1" fmla="*/ 57869 h 57869"/>
                <a:gd name="connsiteX2" fmla="*/ 14604 w 14603"/>
                <a:gd name="connsiteY2" fmla="*/ 7234 h 57869"/>
                <a:gd name="connsiteX3" fmla="*/ 7369 w 14603"/>
                <a:gd name="connsiteY3" fmla="*/ 0 h 57869"/>
                <a:gd name="connsiteX4" fmla="*/ 0 w 14603"/>
                <a:gd name="connsiteY4" fmla="*/ 7234 h 57869"/>
                <a:gd name="connsiteX5" fmla="*/ 0 w 14603"/>
                <a:gd name="connsiteY5" fmla="*/ 57869 h 57869"/>
                <a:gd name="connsiteX6" fmla="*/ 7369 w 14603"/>
                <a:gd name="connsiteY6" fmla="*/ 50636 h 5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57869">
                  <a:moveTo>
                    <a:pt x="7369" y="50636"/>
                  </a:moveTo>
                  <a:cubicBezTo>
                    <a:pt x="11362" y="50636"/>
                    <a:pt x="14604" y="53875"/>
                    <a:pt x="14604" y="57869"/>
                  </a:cubicBezTo>
                  <a:lnTo>
                    <a:pt x="14604" y="7234"/>
                  </a:lnTo>
                  <a:cubicBezTo>
                    <a:pt x="14604" y="3239"/>
                    <a:pt x="11362" y="0"/>
                    <a:pt x="7369" y="0"/>
                  </a:cubicBezTo>
                  <a:cubicBezTo>
                    <a:pt x="3349" y="0"/>
                    <a:pt x="67" y="3218"/>
                    <a:pt x="0" y="7234"/>
                  </a:cubicBezTo>
                  <a:lnTo>
                    <a:pt x="0" y="57869"/>
                  </a:lnTo>
                  <a:cubicBezTo>
                    <a:pt x="67" y="53853"/>
                    <a:pt x="3349" y="50636"/>
                    <a:pt x="7369" y="50636"/>
                  </a:cubicBezTo>
                  <a:close/>
                </a:path>
              </a:pathLst>
            </a:custGeom>
            <a:solidFill>
              <a:srgbClr val="000000"/>
            </a:solidFill>
            <a:ln w="12700" cap="flat">
              <a:noFill/>
              <a:prstDash val="solid"/>
              <a:miter/>
            </a:ln>
          </p:spPr>
          <p:txBody>
            <a:bodyPr rtlCol="0" anchor="ctr"/>
            <a:lstStyle/>
            <a:p>
              <a:endParaRPr lang="en-US"/>
            </a:p>
          </p:txBody>
        </p:sp>
        <p:sp>
          <p:nvSpPr>
            <p:cNvPr id="1483" name="Freeform: Shape 1482">
              <a:extLst>
                <a:ext uri="{FF2B5EF4-FFF2-40B4-BE49-F238E27FC236}">
                  <a16:creationId xmlns:a16="http://schemas.microsoft.com/office/drawing/2014/main" id="{D0A393FE-E283-4B7C-A07D-59C7AA13DC95}"/>
                </a:ext>
              </a:extLst>
            </p:cNvPr>
            <p:cNvSpPr/>
            <p:nvPr/>
          </p:nvSpPr>
          <p:spPr>
            <a:xfrm>
              <a:off x="12123762" y="5788087"/>
              <a:ext cx="14603" cy="617138"/>
            </a:xfrm>
            <a:custGeom>
              <a:avLst/>
              <a:gdLst>
                <a:gd name="connsiteX0" fmla="*/ 7503 w 14603"/>
                <a:gd name="connsiteY0" fmla="*/ 617138 h 617138"/>
                <a:gd name="connsiteX1" fmla="*/ 14604 w 14603"/>
                <a:gd name="connsiteY1" fmla="*/ 617138 h 617138"/>
                <a:gd name="connsiteX2" fmla="*/ 14604 w 14603"/>
                <a:gd name="connsiteY2" fmla="*/ 7234 h 617138"/>
                <a:gd name="connsiteX3" fmla="*/ 7369 w 14603"/>
                <a:gd name="connsiteY3" fmla="*/ 0 h 617138"/>
                <a:gd name="connsiteX4" fmla="*/ 0 w 14603"/>
                <a:gd name="connsiteY4" fmla="*/ 7234 h 617138"/>
                <a:gd name="connsiteX5" fmla="*/ 0 w 14603"/>
                <a:gd name="connsiteY5" fmla="*/ 617138 h 61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617138">
                  <a:moveTo>
                    <a:pt x="7503" y="617138"/>
                  </a:moveTo>
                  <a:lnTo>
                    <a:pt x="14604" y="617138"/>
                  </a:lnTo>
                  <a:lnTo>
                    <a:pt x="14604" y="7234"/>
                  </a:lnTo>
                  <a:cubicBezTo>
                    <a:pt x="14604" y="3239"/>
                    <a:pt x="11362" y="0"/>
                    <a:pt x="7369" y="0"/>
                  </a:cubicBezTo>
                  <a:cubicBezTo>
                    <a:pt x="3349" y="0"/>
                    <a:pt x="67" y="3218"/>
                    <a:pt x="0" y="7234"/>
                  </a:cubicBezTo>
                  <a:lnTo>
                    <a:pt x="0" y="617138"/>
                  </a:lnTo>
                  <a:close/>
                </a:path>
              </a:pathLst>
            </a:custGeom>
            <a:solidFill>
              <a:srgbClr val="000000"/>
            </a:solidFill>
            <a:ln w="12700" cap="flat">
              <a:noFill/>
              <a:prstDash val="solid"/>
              <a:miter/>
            </a:ln>
          </p:spPr>
          <p:txBody>
            <a:bodyPr rtlCol="0" anchor="ctr"/>
            <a:lstStyle/>
            <a:p>
              <a:endParaRPr lang="en-US"/>
            </a:p>
          </p:txBody>
        </p:sp>
        <p:sp>
          <p:nvSpPr>
            <p:cNvPr id="1484" name="Freeform: Shape 1483">
              <a:extLst>
                <a:ext uri="{FF2B5EF4-FFF2-40B4-BE49-F238E27FC236}">
                  <a16:creationId xmlns:a16="http://schemas.microsoft.com/office/drawing/2014/main" id="{0056D166-C9F9-443B-A5A7-0648C3D9CA1B}"/>
                </a:ext>
              </a:extLst>
            </p:cNvPr>
            <p:cNvSpPr/>
            <p:nvPr/>
          </p:nvSpPr>
          <p:spPr>
            <a:xfrm>
              <a:off x="11776894" y="6481179"/>
              <a:ext cx="14663" cy="8841"/>
            </a:xfrm>
            <a:custGeom>
              <a:avLst/>
              <a:gdLst>
                <a:gd name="connsiteX0" fmla="*/ 8842 w 14663"/>
                <a:gd name="connsiteY0" fmla="*/ 8305 h 8841"/>
                <a:gd name="connsiteX1" fmla="*/ 14603 w 14663"/>
                <a:gd name="connsiteY1" fmla="*/ 2545 h 8841"/>
                <a:gd name="connsiteX2" fmla="*/ 14603 w 14663"/>
                <a:gd name="connsiteY2" fmla="*/ 1206 h 8841"/>
                <a:gd name="connsiteX3" fmla="*/ 14603 w 14663"/>
                <a:gd name="connsiteY3" fmla="*/ 0 h 8841"/>
                <a:gd name="connsiteX4" fmla="*/ 7369 w 14663"/>
                <a:gd name="connsiteY4" fmla="*/ 7234 h 8841"/>
                <a:gd name="connsiteX5" fmla="*/ 0 w 14663"/>
                <a:gd name="connsiteY5" fmla="*/ 0 h 8841"/>
                <a:gd name="connsiteX6" fmla="*/ 0 w 14663"/>
                <a:gd name="connsiteY6" fmla="*/ 1742 h 8841"/>
                <a:gd name="connsiteX7" fmla="*/ 1608 w 14663"/>
                <a:gd name="connsiteY7" fmla="*/ 6162 h 8841"/>
                <a:gd name="connsiteX8" fmla="*/ 6028 w 14663"/>
                <a:gd name="connsiteY8" fmla="*/ 8841 h 8841"/>
                <a:gd name="connsiteX9" fmla="*/ 7369 w 14663"/>
                <a:gd name="connsiteY9" fmla="*/ 8841 h 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 h="8841">
                  <a:moveTo>
                    <a:pt x="8842" y="8305"/>
                  </a:moveTo>
                  <a:cubicBezTo>
                    <a:pt x="11776" y="7783"/>
                    <a:pt x="14081" y="5479"/>
                    <a:pt x="14603" y="2545"/>
                  </a:cubicBezTo>
                  <a:cubicBezTo>
                    <a:pt x="14684" y="2103"/>
                    <a:pt x="14684" y="1648"/>
                    <a:pt x="14603" y="1206"/>
                  </a:cubicBezTo>
                  <a:lnTo>
                    <a:pt x="14603" y="0"/>
                  </a:lnTo>
                  <a:cubicBezTo>
                    <a:pt x="14603" y="3992"/>
                    <a:pt x="11361" y="7234"/>
                    <a:pt x="7369" y="7234"/>
                  </a:cubicBezTo>
                  <a:cubicBezTo>
                    <a:pt x="3349" y="7234"/>
                    <a:pt x="67" y="4019"/>
                    <a:pt x="0" y="0"/>
                  </a:cubicBezTo>
                  <a:lnTo>
                    <a:pt x="0" y="1742"/>
                  </a:lnTo>
                  <a:cubicBezTo>
                    <a:pt x="13" y="3349"/>
                    <a:pt x="590" y="4916"/>
                    <a:pt x="1608" y="6162"/>
                  </a:cubicBezTo>
                  <a:cubicBezTo>
                    <a:pt x="2733" y="7529"/>
                    <a:pt x="4300" y="8466"/>
                    <a:pt x="6028" y="8841"/>
                  </a:cubicBezTo>
                  <a:lnTo>
                    <a:pt x="7369" y="8841"/>
                  </a:lnTo>
                  <a:close/>
                </a:path>
              </a:pathLst>
            </a:custGeom>
            <a:solidFill>
              <a:srgbClr val="000000"/>
            </a:solidFill>
            <a:ln w="12700" cap="flat">
              <a:noFill/>
              <a:prstDash val="solid"/>
              <a:miter/>
            </a:ln>
          </p:spPr>
          <p:txBody>
            <a:bodyPr rtlCol="0" anchor="ctr"/>
            <a:lstStyle/>
            <a:p>
              <a:endParaRPr lang="en-US"/>
            </a:p>
          </p:txBody>
        </p:sp>
        <p:sp>
          <p:nvSpPr>
            <p:cNvPr id="1485" name="Freeform: Shape 1484">
              <a:extLst>
                <a:ext uri="{FF2B5EF4-FFF2-40B4-BE49-F238E27FC236}">
                  <a16:creationId xmlns:a16="http://schemas.microsoft.com/office/drawing/2014/main" id="{5D89E213-C2D7-4D8F-BBDC-62C62C6B2ADD}"/>
                </a:ext>
              </a:extLst>
            </p:cNvPr>
            <p:cNvSpPr/>
            <p:nvPr/>
          </p:nvSpPr>
          <p:spPr>
            <a:xfrm>
              <a:off x="9905034" y="5885340"/>
              <a:ext cx="14395" cy="11788"/>
            </a:xfrm>
            <a:custGeom>
              <a:avLst/>
              <a:gdLst>
                <a:gd name="connsiteX0" fmla="*/ 7027 w 14395"/>
                <a:gd name="connsiteY0" fmla="*/ 4421 h 11788"/>
                <a:gd name="connsiteX1" fmla="*/ 14396 w 14395"/>
                <a:gd name="connsiteY1" fmla="*/ 11788 h 11788"/>
                <a:gd name="connsiteX2" fmla="*/ 14396 w 14395"/>
                <a:gd name="connsiteY2" fmla="*/ 7100 h 11788"/>
                <a:gd name="connsiteX3" fmla="*/ 14396 w 14395"/>
                <a:gd name="connsiteY3" fmla="*/ 7100 h 11788"/>
                <a:gd name="connsiteX4" fmla="*/ 8367 w 14395"/>
                <a:gd name="connsiteY4" fmla="*/ 0 h 11788"/>
                <a:gd name="connsiteX5" fmla="*/ 5821 w 14395"/>
                <a:gd name="connsiteY5" fmla="*/ 0 h 11788"/>
                <a:gd name="connsiteX6" fmla="*/ 60 w 14395"/>
                <a:gd name="connsiteY6" fmla="*/ 5760 h 11788"/>
                <a:gd name="connsiteX7" fmla="*/ 60 w 14395"/>
                <a:gd name="connsiteY7" fmla="*/ 7100 h 11788"/>
                <a:gd name="connsiteX8" fmla="*/ 60 w 14395"/>
                <a:gd name="connsiteY8" fmla="*/ 11788 h 11788"/>
                <a:gd name="connsiteX9" fmla="*/ 7027 w 14395"/>
                <a:gd name="connsiteY9" fmla="*/ 4421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95" h="11788">
                  <a:moveTo>
                    <a:pt x="7027" y="4421"/>
                  </a:moveTo>
                  <a:cubicBezTo>
                    <a:pt x="11100" y="4421"/>
                    <a:pt x="14396" y="7719"/>
                    <a:pt x="14396" y="11788"/>
                  </a:cubicBezTo>
                  <a:lnTo>
                    <a:pt x="14396" y="7100"/>
                  </a:lnTo>
                  <a:lnTo>
                    <a:pt x="14396" y="7100"/>
                  </a:lnTo>
                  <a:cubicBezTo>
                    <a:pt x="14329" y="3602"/>
                    <a:pt x="11810" y="635"/>
                    <a:pt x="8367" y="0"/>
                  </a:cubicBezTo>
                  <a:lnTo>
                    <a:pt x="5821" y="0"/>
                  </a:lnTo>
                  <a:cubicBezTo>
                    <a:pt x="2900" y="553"/>
                    <a:pt x="610" y="2839"/>
                    <a:pt x="60" y="5760"/>
                  </a:cubicBezTo>
                  <a:cubicBezTo>
                    <a:pt x="-20" y="6204"/>
                    <a:pt x="-20" y="6656"/>
                    <a:pt x="60" y="7100"/>
                  </a:cubicBezTo>
                  <a:lnTo>
                    <a:pt x="60" y="11788"/>
                  </a:lnTo>
                  <a:cubicBezTo>
                    <a:pt x="-20" y="7843"/>
                    <a:pt x="3088" y="4567"/>
                    <a:pt x="7027" y="4421"/>
                  </a:cubicBezTo>
                  <a:close/>
                </a:path>
              </a:pathLst>
            </a:custGeom>
            <a:solidFill>
              <a:srgbClr val="000000"/>
            </a:solidFill>
            <a:ln w="12700" cap="flat">
              <a:noFill/>
              <a:prstDash val="solid"/>
              <a:miter/>
            </a:ln>
          </p:spPr>
          <p:txBody>
            <a:bodyPr rtlCol="0" anchor="ctr"/>
            <a:lstStyle/>
            <a:p>
              <a:endParaRPr lang="en-US"/>
            </a:p>
          </p:txBody>
        </p:sp>
        <p:sp>
          <p:nvSpPr>
            <p:cNvPr id="1486" name="Freeform: Shape 1485">
              <a:extLst>
                <a:ext uri="{FF2B5EF4-FFF2-40B4-BE49-F238E27FC236}">
                  <a16:creationId xmlns:a16="http://schemas.microsoft.com/office/drawing/2014/main" id="{46044DE4-91B5-4202-8C87-0E46D81E5A7A}"/>
                </a:ext>
              </a:extLst>
            </p:cNvPr>
            <p:cNvSpPr/>
            <p:nvPr/>
          </p:nvSpPr>
          <p:spPr>
            <a:xfrm>
              <a:off x="9904765" y="5889761"/>
              <a:ext cx="14664" cy="600279"/>
            </a:xfrm>
            <a:custGeom>
              <a:avLst/>
              <a:gdLst>
                <a:gd name="connsiteX0" fmla="*/ 14664 w 14664"/>
                <a:gd name="connsiteY0" fmla="*/ 593160 h 600279"/>
                <a:gd name="connsiteX1" fmla="*/ 14664 w 14664"/>
                <a:gd name="connsiteY1" fmla="*/ 7368 h 600279"/>
                <a:gd name="connsiteX2" fmla="*/ 7295 w 14664"/>
                <a:gd name="connsiteY2" fmla="*/ 0 h 600279"/>
                <a:gd name="connsiteX3" fmla="*/ 60 w 14664"/>
                <a:gd name="connsiteY3" fmla="*/ 7232 h 600279"/>
                <a:gd name="connsiteX4" fmla="*/ 60 w 14664"/>
                <a:gd name="connsiteY4" fmla="*/ 7368 h 600279"/>
                <a:gd name="connsiteX5" fmla="*/ 60 w 14664"/>
                <a:gd name="connsiteY5" fmla="*/ 593160 h 600279"/>
                <a:gd name="connsiteX6" fmla="*/ 60 w 14664"/>
                <a:gd name="connsiteY6" fmla="*/ 594768 h 600279"/>
                <a:gd name="connsiteX7" fmla="*/ 60 w 14664"/>
                <a:gd name="connsiteY7" fmla="*/ 595839 h 600279"/>
                <a:gd name="connsiteX8" fmla="*/ 998 w 14664"/>
                <a:gd name="connsiteY8" fmla="*/ 597313 h 600279"/>
                <a:gd name="connsiteX9" fmla="*/ 998 w 14664"/>
                <a:gd name="connsiteY9" fmla="*/ 598117 h 600279"/>
                <a:gd name="connsiteX10" fmla="*/ 2606 w 14664"/>
                <a:gd name="connsiteY10" fmla="*/ 599188 h 600279"/>
                <a:gd name="connsiteX11" fmla="*/ 2606 w 14664"/>
                <a:gd name="connsiteY11" fmla="*/ 599188 h 600279"/>
                <a:gd name="connsiteX12" fmla="*/ 4213 w 14664"/>
                <a:gd name="connsiteY12" fmla="*/ 599188 h 600279"/>
                <a:gd name="connsiteX13" fmla="*/ 4213 w 14664"/>
                <a:gd name="connsiteY13" fmla="*/ 593160 h 600279"/>
                <a:gd name="connsiteX14" fmla="*/ 5420 w 14664"/>
                <a:gd name="connsiteY14" fmla="*/ 591955 h 600279"/>
                <a:gd name="connsiteX15" fmla="*/ 6746 w 14664"/>
                <a:gd name="connsiteY15" fmla="*/ 593013 h 600279"/>
                <a:gd name="connsiteX16" fmla="*/ 6759 w 14664"/>
                <a:gd name="connsiteY16" fmla="*/ 593160 h 600279"/>
                <a:gd name="connsiteX17" fmla="*/ 6759 w 14664"/>
                <a:gd name="connsiteY17" fmla="*/ 600260 h 600279"/>
                <a:gd name="connsiteX18" fmla="*/ 14651 w 14664"/>
                <a:gd name="connsiteY18" fmla="*/ 593455 h 600279"/>
                <a:gd name="connsiteX19" fmla="*/ 14664 w 14664"/>
                <a:gd name="connsiteY19" fmla="*/ 593160 h 6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64" h="600279">
                  <a:moveTo>
                    <a:pt x="14664" y="593160"/>
                  </a:moveTo>
                  <a:lnTo>
                    <a:pt x="14664" y="7368"/>
                  </a:lnTo>
                  <a:cubicBezTo>
                    <a:pt x="14664" y="3298"/>
                    <a:pt x="11368" y="0"/>
                    <a:pt x="7295" y="0"/>
                  </a:cubicBezTo>
                  <a:cubicBezTo>
                    <a:pt x="3302" y="-1"/>
                    <a:pt x="60" y="3238"/>
                    <a:pt x="60" y="7232"/>
                  </a:cubicBezTo>
                  <a:cubicBezTo>
                    <a:pt x="60" y="7278"/>
                    <a:pt x="60" y="7322"/>
                    <a:pt x="60" y="7368"/>
                  </a:cubicBezTo>
                  <a:lnTo>
                    <a:pt x="60" y="593160"/>
                  </a:lnTo>
                  <a:cubicBezTo>
                    <a:pt x="-7" y="593696"/>
                    <a:pt x="-7" y="594232"/>
                    <a:pt x="60" y="594768"/>
                  </a:cubicBezTo>
                  <a:cubicBezTo>
                    <a:pt x="-20" y="595116"/>
                    <a:pt x="-20" y="595491"/>
                    <a:pt x="60" y="595839"/>
                  </a:cubicBezTo>
                  <a:cubicBezTo>
                    <a:pt x="275" y="596389"/>
                    <a:pt x="597" y="596884"/>
                    <a:pt x="998" y="597313"/>
                  </a:cubicBezTo>
                  <a:cubicBezTo>
                    <a:pt x="958" y="597581"/>
                    <a:pt x="958" y="597849"/>
                    <a:pt x="998" y="598117"/>
                  </a:cubicBezTo>
                  <a:lnTo>
                    <a:pt x="2606" y="599188"/>
                  </a:lnTo>
                  <a:lnTo>
                    <a:pt x="2606" y="599188"/>
                  </a:lnTo>
                  <a:lnTo>
                    <a:pt x="4213" y="599188"/>
                  </a:lnTo>
                  <a:lnTo>
                    <a:pt x="4213" y="593160"/>
                  </a:lnTo>
                  <a:cubicBezTo>
                    <a:pt x="4213" y="592490"/>
                    <a:pt x="4750" y="591955"/>
                    <a:pt x="5420" y="591955"/>
                  </a:cubicBezTo>
                  <a:cubicBezTo>
                    <a:pt x="6076" y="591874"/>
                    <a:pt x="6679" y="592357"/>
                    <a:pt x="6746" y="593013"/>
                  </a:cubicBezTo>
                  <a:cubicBezTo>
                    <a:pt x="6759" y="593066"/>
                    <a:pt x="6759" y="593107"/>
                    <a:pt x="6759" y="593160"/>
                  </a:cubicBezTo>
                  <a:lnTo>
                    <a:pt x="6759" y="600260"/>
                  </a:lnTo>
                  <a:cubicBezTo>
                    <a:pt x="10819" y="600555"/>
                    <a:pt x="14356" y="597514"/>
                    <a:pt x="14651" y="593455"/>
                  </a:cubicBezTo>
                  <a:cubicBezTo>
                    <a:pt x="14651" y="593361"/>
                    <a:pt x="14664" y="593254"/>
                    <a:pt x="14664" y="593160"/>
                  </a:cubicBezTo>
                  <a:close/>
                </a:path>
              </a:pathLst>
            </a:custGeom>
            <a:solidFill>
              <a:srgbClr val="000000"/>
            </a:solidFill>
            <a:ln w="12700" cap="flat">
              <a:noFill/>
              <a:prstDash val="solid"/>
              <a:miter/>
            </a:ln>
          </p:spPr>
          <p:txBody>
            <a:bodyPr rtlCol="0" anchor="ctr"/>
            <a:lstStyle/>
            <a:p>
              <a:endParaRPr lang="en-US"/>
            </a:p>
          </p:txBody>
        </p:sp>
        <p:sp>
          <p:nvSpPr>
            <p:cNvPr id="1487" name="Freeform: Shape 1486">
              <a:extLst>
                <a:ext uri="{FF2B5EF4-FFF2-40B4-BE49-F238E27FC236}">
                  <a16:creationId xmlns:a16="http://schemas.microsoft.com/office/drawing/2014/main" id="{72A71EE9-9BC0-48B8-B078-1142E6D84065}"/>
                </a:ext>
              </a:extLst>
            </p:cNvPr>
            <p:cNvSpPr/>
            <p:nvPr/>
          </p:nvSpPr>
          <p:spPr>
            <a:xfrm>
              <a:off x="10691408" y="6472192"/>
              <a:ext cx="184487" cy="14613"/>
            </a:xfrm>
            <a:custGeom>
              <a:avLst/>
              <a:gdLst>
                <a:gd name="connsiteX0" fmla="*/ 7637 w 184487"/>
                <a:gd name="connsiteY0" fmla="*/ 7246 h 14613"/>
                <a:gd name="connsiteX1" fmla="*/ 402 w 184487"/>
                <a:gd name="connsiteY1" fmla="*/ 14613 h 14613"/>
                <a:gd name="connsiteX2" fmla="*/ 184487 w 184487"/>
                <a:gd name="connsiteY2" fmla="*/ 14613 h 14613"/>
                <a:gd name="connsiteX3" fmla="*/ 184487 w 184487"/>
                <a:gd name="connsiteY3" fmla="*/ 12202 h 14613"/>
                <a:gd name="connsiteX4" fmla="*/ 184487 w 184487"/>
                <a:gd name="connsiteY4" fmla="*/ 11264 h 14613"/>
                <a:gd name="connsiteX5" fmla="*/ 184487 w 184487"/>
                <a:gd name="connsiteY5" fmla="*/ 10193 h 14613"/>
                <a:gd name="connsiteX6" fmla="*/ 184487 w 184487"/>
                <a:gd name="connsiteY6" fmla="*/ 12 h 14613"/>
                <a:gd name="connsiteX7" fmla="*/ 0 w 184487"/>
                <a:gd name="connsiteY7" fmla="*/ 12 h 14613"/>
                <a:gd name="connsiteX8" fmla="*/ 7623 w 184487"/>
                <a:gd name="connsiteY8" fmla="*/ 6830 h 14613"/>
                <a:gd name="connsiteX9" fmla="*/ 7637 w 184487"/>
                <a:gd name="connsiteY9" fmla="*/ 7246 h 1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487" h="14613">
                  <a:moveTo>
                    <a:pt x="7637" y="7246"/>
                  </a:moveTo>
                  <a:cubicBezTo>
                    <a:pt x="7637" y="11264"/>
                    <a:pt x="4421" y="14546"/>
                    <a:pt x="402" y="14613"/>
                  </a:cubicBezTo>
                  <a:lnTo>
                    <a:pt x="184487" y="14613"/>
                  </a:lnTo>
                  <a:lnTo>
                    <a:pt x="184487" y="12202"/>
                  </a:lnTo>
                  <a:cubicBezTo>
                    <a:pt x="184487" y="12202"/>
                    <a:pt x="184487" y="11532"/>
                    <a:pt x="184487" y="11264"/>
                  </a:cubicBezTo>
                  <a:cubicBezTo>
                    <a:pt x="184487" y="10996"/>
                    <a:pt x="184487" y="11264"/>
                    <a:pt x="184487" y="10193"/>
                  </a:cubicBezTo>
                  <a:lnTo>
                    <a:pt x="184487" y="12"/>
                  </a:lnTo>
                  <a:lnTo>
                    <a:pt x="0" y="12"/>
                  </a:lnTo>
                  <a:cubicBezTo>
                    <a:pt x="3992" y="-216"/>
                    <a:pt x="7409" y="2838"/>
                    <a:pt x="7623" y="6830"/>
                  </a:cubicBezTo>
                  <a:cubicBezTo>
                    <a:pt x="7637" y="6964"/>
                    <a:pt x="7637" y="7112"/>
                    <a:pt x="7637" y="7246"/>
                  </a:cubicBezTo>
                  <a:close/>
                </a:path>
              </a:pathLst>
            </a:custGeom>
            <a:solidFill>
              <a:srgbClr val="000000"/>
            </a:solidFill>
            <a:ln w="12700" cap="flat">
              <a:noFill/>
              <a:prstDash val="solid"/>
              <a:miter/>
            </a:ln>
          </p:spPr>
          <p:txBody>
            <a:bodyPr rtlCol="0" anchor="ctr"/>
            <a:lstStyle/>
            <a:p>
              <a:endParaRPr lang="en-US"/>
            </a:p>
          </p:txBody>
        </p:sp>
        <p:sp>
          <p:nvSpPr>
            <p:cNvPr id="1488" name="Freeform: Shape 1487">
              <a:extLst>
                <a:ext uri="{FF2B5EF4-FFF2-40B4-BE49-F238E27FC236}">
                  <a16:creationId xmlns:a16="http://schemas.microsoft.com/office/drawing/2014/main" id="{EAD819B6-30FE-4249-9762-63FC05AB2714}"/>
                </a:ext>
              </a:extLst>
            </p:cNvPr>
            <p:cNvSpPr/>
            <p:nvPr/>
          </p:nvSpPr>
          <p:spPr>
            <a:xfrm>
              <a:off x="10683815" y="6472204"/>
              <a:ext cx="14157" cy="14601"/>
            </a:xfrm>
            <a:custGeom>
              <a:avLst/>
              <a:gdLst>
                <a:gd name="connsiteX0" fmla="*/ 224 w 14157"/>
                <a:gd name="connsiteY0" fmla="*/ 7234 h 14601"/>
                <a:gd name="connsiteX1" fmla="*/ 224 w 14157"/>
                <a:gd name="connsiteY1" fmla="*/ 9645 h 14601"/>
                <a:gd name="connsiteX2" fmla="*/ 224 w 14157"/>
                <a:gd name="connsiteY2" fmla="*/ 10315 h 14601"/>
                <a:gd name="connsiteX3" fmla="*/ 1162 w 14157"/>
                <a:gd name="connsiteY3" fmla="*/ 11520 h 14601"/>
                <a:gd name="connsiteX4" fmla="*/ 6923 w 14157"/>
                <a:gd name="connsiteY4" fmla="*/ 14601 h 14601"/>
                <a:gd name="connsiteX5" fmla="*/ 6923 w 14157"/>
                <a:gd name="connsiteY5" fmla="*/ 14601 h 14601"/>
                <a:gd name="connsiteX6" fmla="*/ 14158 w 14157"/>
                <a:gd name="connsiteY6" fmla="*/ 7234 h 14601"/>
                <a:gd name="connsiteX7" fmla="*/ 6923 w 14157"/>
                <a:gd name="connsiteY7" fmla="*/ 0 h 14601"/>
                <a:gd name="connsiteX8" fmla="*/ 6923 w 14157"/>
                <a:gd name="connsiteY8" fmla="*/ 0 h 14601"/>
                <a:gd name="connsiteX9" fmla="*/ 90 w 14157"/>
                <a:gd name="connsiteY9" fmla="*/ 4957 h 14601"/>
                <a:gd name="connsiteX10" fmla="*/ 90 w 14157"/>
                <a:gd name="connsiteY10" fmla="*/ 6966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7" h="14601">
                  <a:moveTo>
                    <a:pt x="224" y="7234"/>
                  </a:moveTo>
                  <a:cubicBezTo>
                    <a:pt x="90" y="8037"/>
                    <a:pt x="90" y="8841"/>
                    <a:pt x="224" y="9645"/>
                  </a:cubicBezTo>
                  <a:cubicBezTo>
                    <a:pt x="237" y="9873"/>
                    <a:pt x="237" y="10087"/>
                    <a:pt x="224" y="10315"/>
                  </a:cubicBezTo>
                  <a:lnTo>
                    <a:pt x="1162" y="11520"/>
                  </a:lnTo>
                  <a:cubicBezTo>
                    <a:pt x="2435" y="13463"/>
                    <a:pt x="4605" y="14615"/>
                    <a:pt x="6923" y="14601"/>
                  </a:cubicBezTo>
                  <a:lnTo>
                    <a:pt x="6923" y="14601"/>
                  </a:lnTo>
                  <a:cubicBezTo>
                    <a:pt x="10942" y="14534"/>
                    <a:pt x="14158" y="11252"/>
                    <a:pt x="14158" y="7234"/>
                  </a:cubicBezTo>
                  <a:cubicBezTo>
                    <a:pt x="14158" y="3242"/>
                    <a:pt x="10915" y="0"/>
                    <a:pt x="6923" y="0"/>
                  </a:cubicBezTo>
                  <a:lnTo>
                    <a:pt x="6923" y="0"/>
                  </a:lnTo>
                  <a:cubicBezTo>
                    <a:pt x="3815" y="13"/>
                    <a:pt x="1068" y="2009"/>
                    <a:pt x="90" y="4957"/>
                  </a:cubicBezTo>
                  <a:cubicBezTo>
                    <a:pt x="-30" y="5626"/>
                    <a:pt x="-30" y="6296"/>
                    <a:pt x="90" y="6966"/>
                  </a:cubicBezTo>
                  <a:close/>
                </a:path>
              </a:pathLst>
            </a:custGeom>
            <a:solidFill>
              <a:srgbClr val="000000"/>
            </a:solidFill>
            <a:ln w="12700" cap="flat">
              <a:noFill/>
              <a:prstDash val="solid"/>
              <a:miter/>
            </a:ln>
          </p:spPr>
          <p:txBody>
            <a:bodyPr rtlCol="0" anchor="ctr"/>
            <a:lstStyle/>
            <a:p>
              <a:endParaRPr lang="en-US"/>
            </a:p>
          </p:txBody>
        </p:sp>
        <p:sp>
          <p:nvSpPr>
            <p:cNvPr id="1489" name="Freeform: Shape 1488">
              <a:extLst>
                <a:ext uri="{FF2B5EF4-FFF2-40B4-BE49-F238E27FC236}">
                  <a16:creationId xmlns:a16="http://schemas.microsoft.com/office/drawing/2014/main" id="{AFCDC48F-4FDC-46F9-8142-CE302B3DAE1C}"/>
                </a:ext>
              </a:extLst>
            </p:cNvPr>
            <p:cNvSpPr/>
            <p:nvPr/>
          </p:nvSpPr>
          <p:spPr>
            <a:xfrm>
              <a:off x="9930354" y="5794546"/>
              <a:ext cx="10779" cy="8410"/>
            </a:xfrm>
            <a:custGeom>
              <a:avLst/>
              <a:gdLst>
                <a:gd name="connsiteX0" fmla="*/ 7028 w 10779"/>
                <a:gd name="connsiteY0" fmla="*/ 106 h 8410"/>
                <a:gd name="connsiteX1" fmla="*/ 9306 w 10779"/>
                <a:gd name="connsiteY1" fmla="*/ 106 h 8410"/>
                <a:gd name="connsiteX2" fmla="*/ 10780 w 10779"/>
                <a:gd name="connsiteY2" fmla="*/ 106 h 8410"/>
                <a:gd name="connsiteX3" fmla="*/ 10780 w 10779"/>
                <a:gd name="connsiteY3" fmla="*/ 106 h 8410"/>
                <a:gd name="connsiteX4" fmla="*/ 9440 w 10779"/>
                <a:gd name="connsiteY4" fmla="*/ 106 h 8410"/>
                <a:gd name="connsiteX5" fmla="*/ 7296 w 10779"/>
                <a:gd name="connsiteY5" fmla="*/ 106 h 8410"/>
                <a:gd name="connsiteX6" fmla="*/ 62 w 10779"/>
                <a:gd name="connsiteY6" fmla="*/ 7339 h 8410"/>
                <a:gd name="connsiteX7" fmla="*/ 62 w 10779"/>
                <a:gd name="connsiteY7" fmla="*/ 8411 h 8410"/>
                <a:gd name="connsiteX8" fmla="*/ 6425 w 10779"/>
                <a:gd name="connsiteY8" fmla="*/ 159 h 8410"/>
                <a:gd name="connsiteX9" fmla="*/ 7028 w 10779"/>
                <a:gd name="connsiteY9" fmla="*/ 106 h 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79" h="8410">
                  <a:moveTo>
                    <a:pt x="7028" y="106"/>
                  </a:moveTo>
                  <a:cubicBezTo>
                    <a:pt x="7779" y="-16"/>
                    <a:pt x="8556" y="-16"/>
                    <a:pt x="9306" y="106"/>
                  </a:cubicBezTo>
                  <a:lnTo>
                    <a:pt x="10780" y="106"/>
                  </a:lnTo>
                  <a:lnTo>
                    <a:pt x="10780" y="106"/>
                  </a:lnTo>
                  <a:lnTo>
                    <a:pt x="9440" y="106"/>
                  </a:lnTo>
                  <a:cubicBezTo>
                    <a:pt x="8730" y="-35"/>
                    <a:pt x="8007" y="-35"/>
                    <a:pt x="7296" y="106"/>
                  </a:cubicBezTo>
                  <a:cubicBezTo>
                    <a:pt x="3304" y="106"/>
                    <a:pt x="62" y="3345"/>
                    <a:pt x="62" y="7339"/>
                  </a:cubicBezTo>
                  <a:lnTo>
                    <a:pt x="62" y="8411"/>
                  </a:lnTo>
                  <a:cubicBezTo>
                    <a:pt x="-461" y="4376"/>
                    <a:pt x="2393" y="680"/>
                    <a:pt x="6425" y="159"/>
                  </a:cubicBezTo>
                  <a:cubicBezTo>
                    <a:pt x="6626" y="132"/>
                    <a:pt x="6828" y="115"/>
                    <a:pt x="7028" y="106"/>
                  </a:cubicBezTo>
                  <a:close/>
                </a:path>
              </a:pathLst>
            </a:custGeom>
            <a:solidFill>
              <a:srgbClr val="000000"/>
            </a:solidFill>
            <a:ln w="12700" cap="flat">
              <a:noFill/>
              <a:prstDash val="solid"/>
              <a:miter/>
            </a:ln>
          </p:spPr>
          <p:txBody>
            <a:bodyPr rtlCol="0" anchor="ctr"/>
            <a:lstStyle/>
            <a:p>
              <a:endParaRPr lang="en-US"/>
            </a:p>
          </p:txBody>
        </p:sp>
        <p:sp>
          <p:nvSpPr>
            <p:cNvPr id="1490" name="Freeform: Shape 1489">
              <a:extLst>
                <a:ext uri="{FF2B5EF4-FFF2-40B4-BE49-F238E27FC236}">
                  <a16:creationId xmlns:a16="http://schemas.microsoft.com/office/drawing/2014/main" id="{7CE1C92D-E55D-47A4-A49B-84F5F07AD6AF}"/>
                </a:ext>
              </a:extLst>
            </p:cNvPr>
            <p:cNvSpPr/>
            <p:nvPr/>
          </p:nvSpPr>
          <p:spPr>
            <a:xfrm>
              <a:off x="9928540" y="5795095"/>
              <a:ext cx="9512" cy="108195"/>
            </a:xfrm>
            <a:custGeom>
              <a:avLst/>
              <a:gdLst>
                <a:gd name="connsiteX0" fmla="*/ 1608 w 9512"/>
                <a:gd name="connsiteY0" fmla="*/ 101900 h 108195"/>
                <a:gd name="connsiteX1" fmla="*/ 1608 w 9512"/>
                <a:gd name="connsiteY1" fmla="*/ 101900 h 108195"/>
                <a:gd name="connsiteX2" fmla="*/ 1608 w 9512"/>
                <a:gd name="connsiteY2" fmla="*/ 103105 h 108195"/>
                <a:gd name="connsiteX3" fmla="*/ 1608 w 9512"/>
                <a:gd name="connsiteY3" fmla="*/ 104043 h 108195"/>
                <a:gd name="connsiteX4" fmla="*/ 1608 w 9512"/>
                <a:gd name="connsiteY4" fmla="*/ 105248 h 108195"/>
                <a:gd name="connsiteX5" fmla="*/ 2411 w 9512"/>
                <a:gd name="connsiteY5" fmla="*/ 106454 h 108195"/>
                <a:gd name="connsiteX6" fmla="*/ 3349 w 9512"/>
                <a:gd name="connsiteY6" fmla="*/ 107392 h 108195"/>
                <a:gd name="connsiteX7" fmla="*/ 4421 w 9512"/>
                <a:gd name="connsiteY7" fmla="*/ 108195 h 108195"/>
                <a:gd name="connsiteX8" fmla="*/ 5895 w 9512"/>
                <a:gd name="connsiteY8" fmla="*/ 108195 h 108195"/>
                <a:gd name="connsiteX9" fmla="*/ 5895 w 9512"/>
                <a:gd name="connsiteY9" fmla="*/ 108195 h 108195"/>
                <a:gd name="connsiteX10" fmla="*/ 7234 w 9512"/>
                <a:gd name="connsiteY10" fmla="*/ 108195 h 108195"/>
                <a:gd name="connsiteX11" fmla="*/ 8172 w 9512"/>
                <a:gd name="connsiteY11" fmla="*/ 108195 h 108195"/>
                <a:gd name="connsiteX12" fmla="*/ 4421 w 9512"/>
                <a:gd name="connsiteY12" fmla="*/ 102033 h 108195"/>
                <a:gd name="connsiteX13" fmla="*/ 4421 w 9512"/>
                <a:gd name="connsiteY13" fmla="*/ 6924 h 108195"/>
                <a:gd name="connsiteX14" fmla="*/ 9513 w 9512"/>
                <a:gd name="connsiteY14" fmla="*/ 92 h 108195"/>
                <a:gd name="connsiteX15" fmla="*/ 7234 w 9512"/>
                <a:gd name="connsiteY15" fmla="*/ 92 h 108195"/>
                <a:gd name="connsiteX16" fmla="*/ 0 w 9512"/>
                <a:gd name="connsiteY16" fmla="*/ 7460 h 108195"/>
                <a:gd name="connsiteX17" fmla="*/ 0 w 9512"/>
                <a:gd name="connsiteY17" fmla="*/ 102435 h 10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12" h="108195">
                  <a:moveTo>
                    <a:pt x="1608" y="101900"/>
                  </a:moveTo>
                  <a:lnTo>
                    <a:pt x="1608" y="101900"/>
                  </a:lnTo>
                  <a:cubicBezTo>
                    <a:pt x="1608" y="101900"/>
                    <a:pt x="1608" y="102703"/>
                    <a:pt x="1608" y="103105"/>
                  </a:cubicBezTo>
                  <a:cubicBezTo>
                    <a:pt x="1608" y="103507"/>
                    <a:pt x="1608" y="103105"/>
                    <a:pt x="1608" y="104043"/>
                  </a:cubicBezTo>
                  <a:cubicBezTo>
                    <a:pt x="1555" y="104443"/>
                    <a:pt x="1555" y="104848"/>
                    <a:pt x="1608" y="105248"/>
                  </a:cubicBezTo>
                  <a:cubicBezTo>
                    <a:pt x="1822" y="105680"/>
                    <a:pt x="2103" y="106084"/>
                    <a:pt x="2411" y="106454"/>
                  </a:cubicBezTo>
                  <a:lnTo>
                    <a:pt x="3349" y="107392"/>
                  </a:lnTo>
                  <a:lnTo>
                    <a:pt x="4421" y="108195"/>
                  </a:lnTo>
                  <a:lnTo>
                    <a:pt x="5895" y="108195"/>
                  </a:lnTo>
                  <a:lnTo>
                    <a:pt x="5895" y="108195"/>
                  </a:lnTo>
                  <a:lnTo>
                    <a:pt x="7234" y="108195"/>
                  </a:lnTo>
                  <a:lnTo>
                    <a:pt x="8172" y="108195"/>
                  </a:lnTo>
                  <a:cubicBezTo>
                    <a:pt x="5895" y="106976"/>
                    <a:pt x="4462" y="104617"/>
                    <a:pt x="4421" y="102033"/>
                  </a:cubicBezTo>
                  <a:lnTo>
                    <a:pt x="4421" y="6924"/>
                  </a:lnTo>
                  <a:cubicBezTo>
                    <a:pt x="4462" y="3783"/>
                    <a:pt x="6512" y="1023"/>
                    <a:pt x="9513" y="92"/>
                  </a:cubicBezTo>
                  <a:cubicBezTo>
                    <a:pt x="8762" y="-31"/>
                    <a:pt x="7985" y="-31"/>
                    <a:pt x="7234" y="92"/>
                  </a:cubicBezTo>
                  <a:cubicBezTo>
                    <a:pt x="3215" y="166"/>
                    <a:pt x="0" y="3443"/>
                    <a:pt x="0" y="7460"/>
                  </a:cubicBezTo>
                  <a:lnTo>
                    <a:pt x="0" y="102435"/>
                  </a:lnTo>
                  <a:close/>
                </a:path>
              </a:pathLst>
            </a:custGeom>
            <a:solidFill>
              <a:srgbClr val="000000"/>
            </a:solidFill>
            <a:ln w="12700" cap="flat">
              <a:noFill/>
              <a:prstDash val="solid"/>
              <a:miter/>
            </a:ln>
          </p:spPr>
          <p:txBody>
            <a:bodyPr rtlCol="0" anchor="ctr"/>
            <a:lstStyle/>
            <a:p>
              <a:endParaRPr lang="en-US"/>
            </a:p>
          </p:txBody>
        </p:sp>
        <p:sp>
          <p:nvSpPr>
            <p:cNvPr id="1491" name="Freeform: Shape 1490">
              <a:extLst>
                <a:ext uri="{FF2B5EF4-FFF2-40B4-BE49-F238E27FC236}">
                  <a16:creationId xmlns:a16="http://schemas.microsoft.com/office/drawing/2014/main" id="{72CBD142-7D71-4A83-8DF2-701BA79760C7}"/>
                </a:ext>
              </a:extLst>
            </p:cNvPr>
            <p:cNvSpPr/>
            <p:nvPr/>
          </p:nvSpPr>
          <p:spPr>
            <a:xfrm>
              <a:off x="9950378" y="5894393"/>
              <a:ext cx="14603" cy="585045"/>
            </a:xfrm>
            <a:custGeom>
              <a:avLst/>
              <a:gdLst>
                <a:gd name="connsiteX0" fmla="*/ 0 w 14603"/>
                <a:gd name="connsiteY0" fmla="*/ 6352 h 585045"/>
                <a:gd name="connsiteX1" fmla="*/ 0 w 14603"/>
                <a:gd name="connsiteY1" fmla="*/ 585045 h 585045"/>
                <a:gd name="connsiteX2" fmla="*/ 7234 w 14603"/>
                <a:gd name="connsiteY2" fmla="*/ 577811 h 585045"/>
                <a:gd name="connsiteX3" fmla="*/ 14604 w 14603"/>
                <a:gd name="connsiteY3" fmla="*/ 585045 h 585045"/>
                <a:gd name="connsiteX4" fmla="*/ 14604 w 14603"/>
                <a:gd name="connsiteY4" fmla="*/ 6352 h 585045"/>
                <a:gd name="connsiteX5" fmla="*/ 14604 w 14603"/>
                <a:gd name="connsiteY5" fmla="*/ 5682 h 585045"/>
                <a:gd name="connsiteX6" fmla="*/ 13666 w 14603"/>
                <a:gd name="connsiteY6" fmla="*/ 3003 h 585045"/>
                <a:gd name="connsiteX7" fmla="*/ 12995 w 14603"/>
                <a:gd name="connsiteY7" fmla="*/ 1798 h 585045"/>
                <a:gd name="connsiteX8" fmla="*/ 11924 w 14603"/>
                <a:gd name="connsiteY8" fmla="*/ 860 h 585045"/>
                <a:gd name="connsiteX9" fmla="*/ 10852 w 14603"/>
                <a:gd name="connsiteY9" fmla="*/ 56 h 585045"/>
                <a:gd name="connsiteX10" fmla="*/ 9513 w 14603"/>
                <a:gd name="connsiteY10" fmla="*/ 56 h 585045"/>
                <a:gd name="connsiteX11" fmla="*/ 7369 w 14603"/>
                <a:gd name="connsiteY11" fmla="*/ 56 h 585045"/>
                <a:gd name="connsiteX12" fmla="*/ 0 w 14603"/>
                <a:gd name="connsiteY12" fmla="*/ 6352 h 5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3" h="585045">
                  <a:moveTo>
                    <a:pt x="0" y="6352"/>
                  </a:moveTo>
                  <a:lnTo>
                    <a:pt x="0" y="585045"/>
                  </a:lnTo>
                  <a:cubicBezTo>
                    <a:pt x="0" y="581053"/>
                    <a:pt x="3242" y="577811"/>
                    <a:pt x="7234" y="577811"/>
                  </a:cubicBezTo>
                  <a:cubicBezTo>
                    <a:pt x="11254" y="577811"/>
                    <a:pt x="14537" y="581026"/>
                    <a:pt x="14604" y="585045"/>
                  </a:cubicBezTo>
                  <a:lnTo>
                    <a:pt x="14604" y="6352"/>
                  </a:lnTo>
                  <a:cubicBezTo>
                    <a:pt x="14604" y="6352"/>
                    <a:pt x="14604" y="6352"/>
                    <a:pt x="14604" y="5682"/>
                  </a:cubicBezTo>
                  <a:cubicBezTo>
                    <a:pt x="14430" y="4747"/>
                    <a:pt x="14108" y="3843"/>
                    <a:pt x="13666" y="3003"/>
                  </a:cubicBezTo>
                  <a:cubicBezTo>
                    <a:pt x="13492" y="2575"/>
                    <a:pt x="13264" y="2170"/>
                    <a:pt x="12995" y="1798"/>
                  </a:cubicBezTo>
                  <a:lnTo>
                    <a:pt x="11924" y="860"/>
                  </a:lnTo>
                  <a:lnTo>
                    <a:pt x="10852" y="56"/>
                  </a:lnTo>
                  <a:lnTo>
                    <a:pt x="9513" y="56"/>
                  </a:lnTo>
                  <a:cubicBezTo>
                    <a:pt x="8802" y="-19"/>
                    <a:pt x="8079" y="-19"/>
                    <a:pt x="7369" y="56"/>
                  </a:cubicBezTo>
                  <a:cubicBezTo>
                    <a:pt x="3658" y="-43"/>
                    <a:pt x="482" y="2675"/>
                    <a:pt x="0" y="6352"/>
                  </a:cubicBezTo>
                  <a:close/>
                </a:path>
              </a:pathLst>
            </a:custGeom>
            <a:solidFill>
              <a:srgbClr val="000000"/>
            </a:solidFill>
            <a:ln w="12700" cap="flat">
              <a:noFill/>
              <a:prstDash val="solid"/>
              <a:miter/>
            </a:ln>
          </p:spPr>
          <p:txBody>
            <a:bodyPr rtlCol="0" anchor="ctr"/>
            <a:lstStyle/>
            <a:p>
              <a:endParaRPr lang="en-US"/>
            </a:p>
          </p:txBody>
        </p:sp>
        <p:sp>
          <p:nvSpPr>
            <p:cNvPr id="1492" name="Freeform: Shape 1491">
              <a:extLst>
                <a:ext uri="{FF2B5EF4-FFF2-40B4-BE49-F238E27FC236}">
                  <a16:creationId xmlns:a16="http://schemas.microsoft.com/office/drawing/2014/main" id="{DF1A4917-A736-4138-9F3D-026BD150DAD6}"/>
                </a:ext>
              </a:extLst>
            </p:cNvPr>
            <p:cNvSpPr/>
            <p:nvPr/>
          </p:nvSpPr>
          <p:spPr>
            <a:xfrm>
              <a:off x="9949172" y="6470731"/>
              <a:ext cx="14603" cy="15689"/>
            </a:xfrm>
            <a:custGeom>
              <a:avLst/>
              <a:gdLst>
                <a:gd name="connsiteX0" fmla="*/ 1206 w 14603"/>
                <a:gd name="connsiteY0" fmla="*/ 9779 h 15689"/>
                <a:gd name="connsiteX1" fmla="*/ 1206 w 14603"/>
                <a:gd name="connsiteY1" fmla="*/ 9779 h 15689"/>
                <a:gd name="connsiteX2" fmla="*/ 1206 w 14603"/>
                <a:gd name="connsiteY2" fmla="*/ 11386 h 15689"/>
                <a:gd name="connsiteX3" fmla="*/ 1206 w 14603"/>
                <a:gd name="connsiteY3" fmla="*/ 11386 h 15689"/>
                <a:gd name="connsiteX4" fmla="*/ 1206 w 14603"/>
                <a:gd name="connsiteY4" fmla="*/ 12324 h 15689"/>
                <a:gd name="connsiteX5" fmla="*/ 2144 w 14603"/>
                <a:gd name="connsiteY5" fmla="*/ 13664 h 15689"/>
                <a:gd name="connsiteX6" fmla="*/ 2144 w 14603"/>
                <a:gd name="connsiteY6" fmla="*/ 14601 h 15689"/>
                <a:gd name="connsiteX7" fmla="*/ 3752 w 14603"/>
                <a:gd name="connsiteY7" fmla="*/ 15539 h 15689"/>
                <a:gd name="connsiteX8" fmla="*/ 4556 w 14603"/>
                <a:gd name="connsiteY8" fmla="*/ 15539 h 15689"/>
                <a:gd name="connsiteX9" fmla="*/ 7235 w 14603"/>
                <a:gd name="connsiteY9" fmla="*/ 15539 h 15689"/>
                <a:gd name="connsiteX10" fmla="*/ 14604 w 14603"/>
                <a:gd name="connsiteY10" fmla="*/ 8305 h 15689"/>
                <a:gd name="connsiteX11" fmla="*/ 14604 w 14603"/>
                <a:gd name="connsiteY11" fmla="*/ 7234 h 15689"/>
                <a:gd name="connsiteX12" fmla="*/ 7235 w 14603"/>
                <a:gd name="connsiteY12" fmla="*/ 0 h 15689"/>
                <a:gd name="connsiteX13" fmla="*/ 0 w 14603"/>
                <a:gd name="connsiteY13" fmla="*/ 7234 h 15689"/>
                <a:gd name="connsiteX14" fmla="*/ 0 w 14603"/>
                <a:gd name="connsiteY14" fmla="*/ 7234 h 1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03" h="15689">
                  <a:moveTo>
                    <a:pt x="1206" y="9779"/>
                  </a:moveTo>
                  <a:lnTo>
                    <a:pt x="1206" y="9779"/>
                  </a:lnTo>
                  <a:cubicBezTo>
                    <a:pt x="1126" y="10315"/>
                    <a:pt x="1126" y="10850"/>
                    <a:pt x="1206" y="11386"/>
                  </a:cubicBezTo>
                  <a:lnTo>
                    <a:pt x="1206" y="11386"/>
                  </a:lnTo>
                  <a:cubicBezTo>
                    <a:pt x="1206" y="11386"/>
                    <a:pt x="1206" y="12056"/>
                    <a:pt x="1206" y="12324"/>
                  </a:cubicBezTo>
                  <a:cubicBezTo>
                    <a:pt x="1433" y="12820"/>
                    <a:pt x="1756" y="13275"/>
                    <a:pt x="2144" y="13664"/>
                  </a:cubicBezTo>
                  <a:lnTo>
                    <a:pt x="2144" y="14601"/>
                  </a:lnTo>
                  <a:lnTo>
                    <a:pt x="3752" y="15539"/>
                  </a:lnTo>
                  <a:lnTo>
                    <a:pt x="4556" y="15539"/>
                  </a:lnTo>
                  <a:cubicBezTo>
                    <a:pt x="5440" y="15740"/>
                    <a:pt x="6351" y="15740"/>
                    <a:pt x="7235" y="15539"/>
                  </a:cubicBezTo>
                  <a:cubicBezTo>
                    <a:pt x="11254" y="15539"/>
                    <a:pt x="14537" y="12324"/>
                    <a:pt x="14604" y="8305"/>
                  </a:cubicBezTo>
                  <a:lnTo>
                    <a:pt x="14604" y="7234"/>
                  </a:lnTo>
                  <a:cubicBezTo>
                    <a:pt x="14537" y="3215"/>
                    <a:pt x="11254" y="0"/>
                    <a:pt x="7235" y="0"/>
                  </a:cubicBezTo>
                  <a:cubicBezTo>
                    <a:pt x="3242" y="0"/>
                    <a:pt x="0" y="3242"/>
                    <a:pt x="0" y="7234"/>
                  </a:cubicBezTo>
                  <a:lnTo>
                    <a:pt x="0" y="7234"/>
                  </a:lnTo>
                  <a:close/>
                </a:path>
              </a:pathLst>
            </a:custGeom>
            <a:solidFill>
              <a:srgbClr val="000000"/>
            </a:solidFill>
            <a:ln w="12700" cap="flat">
              <a:noFill/>
              <a:prstDash val="solid"/>
              <a:miter/>
            </a:ln>
          </p:spPr>
          <p:txBody>
            <a:bodyPr rtlCol="0" anchor="ctr"/>
            <a:lstStyle/>
            <a:p>
              <a:endParaRPr lang="en-US"/>
            </a:p>
          </p:txBody>
        </p:sp>
        <p:sp>
          <p:nvSpPr>
            <p:cNvPr id="1493" name="Freeform: Shape 1492">
              <a:extLst>
                <a:ext uri="{FF2B5EF4-FFF2-40B4-BE49-F238E27FC236}">
                  <a16:creationId xmlns:a16="http://schemas.microsoft.com/office/drawing/2014/main" id="{4F5431EA-F63C-4337-B347-87237D035E7B}"/>
                </a:ext>
              </a:extLst>
            </p:cNvPr>
            <p:cNvSpPr/>
            <p:nvPr/>
          </p:nvSpPr>
          <p:spPr>
            <a:xfrm>
              <a:off x="12663909" y="6080113"/>
              <a:ext cx="14520" cy="332614"/>
            </a:xfrm>
            <a:custGeom>
              <a:avLst/>
              <a:gdLst>
                <a:gd name="connsiteX0" fmla="*/ 854 w 14520"/>
                <a:gd name="connsiteY0" fmla="*/ 2009 h 332614"/>
                <a:gd name="connsiteX1" fmla="*/ 854 w 14520"/>
                <a:gd name="connsiteY1" fmla="*/ 0 h 332614"/>
                <a:gd name="connsiteX2" fmla="*/ 50 w 14520"/>
                <a:gd name="connsiteY2" fmla="*/ 1072 h 332614"/>
                <a:gd name="connsiteX3" fmla="*/ 50 w 14520"/>
                <a:gd name="connsiteY3" fmla="*/ 3885 h 332614"/>
                <a:gd name="connsiteX4" fmla="*/ 50 w 14520"/>
                <a:gd name="connsiteY4" fmla="*/ 325381 h 332614"/>
                <a:gd name="connsiteX5" fmla="*/ 7286 w 14520"/>
                <a:gd name="connsiteY5" fmla="*/ 325381 h 332614"/>
                <a:gd name="connsiteX6" fmla="*/ 14520 w 14520"/>
                <a:gd name="connsiteY6" fmla="*/ 332614 h 332614"/>
                <a:gd name="connsiteX7" fmla="*/ 14520 w 14520"/>
                <a:gd name="connsiteY7" fmla="*/ 9377 h 332614"/>
                <a:gd name="connsiteX8" fmla="*/ 8357 w 14520"/>
                <a:gd name="connsiteY8" fmla="*/ 9377 h 332614"/>
                <a:gd name="connsiteX9" fmla="*/ 854 w 14520"/>
                <a:gd name="connsiteY9" fmla="*/ 2145 h 332614"/>
                <a:gd name="connsiteX10" fmla="*/ 854 w 14520"/>
                <a:gd name="connsiteY10" fmla="*/ 2009 h 3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0" h="332614">
                  <a:moveTo>
                    <a:pt x="854" y="2009"/>
                  </a:moveTo>
                  <a:cubicBezTo>
                    <a:pt x="734" y="1345"/>
                    <a:pt x="734" y="664"/>
                    <a:pt x="854" y="0"/>
                  </a:cubicBezTo>
                  <a:cubicBezTo>
                    <a:pt x="854" y="0"/>
                    <a:pt x="184" y="0"/>
                    <a:pt x="50" y="1072"/>
                  </a:cubicBezTo>
                  <a:cubicBezTo>
                    <a:pt x="-17" y="2008"/>
                    <a:pt x="-17" y="2948"/>
                    <a:pt x="50" y="3885"/>
                  </a:cubicBezTo>
                  <a:lnTo>
                    <a:pt x="50" y="325381"/>
                  </a:lnTo>
                  <a:lnTo>
                    <a:pt x="7286" y="325381"/>
                  </a:lnTo>
                  <a:cubicBezTo>
                    <a:pt x="11278" y="325381"/>
                    <a:pt x="14520" y="328623"/>
                    <a:pt x="14520" y="332614"/>
                  </a:cubicBezTo>
                  <a:lnTo>
                    <a:pt x="14520" y="9377"/>
                  </a:lnTo>
                  <a:lnTo>
                    <a:pt x="8357" y="9377"/>
                  </a:lnTo>
                  <a:cubicBezTo>
                    <a:pt x="4285" y="9451"/>
                    <a:pt x="935" y="6213"/>
                    <a:pt x="854" y="2145"/>
                  </a:cubicBezTo>
                  <a:cubicBezTo>
                    <a:pt x="854" y="2099"/>
                    <a:pt x="854" y="2055"/>
                    <a:pt x="854" y="2009"/>
                  </a:cubicBezTo>
                  <a:close/>
                </a:path>
              </a:pathLst>
            </a:custGeom>
            <a:solidFill>
              <a:srgbClr val="000000"/>
            </a:solidFill>
            <a:ln w="12700" cap="flat">
              <a:noFill/>
              <a:prstDash val="solid"/>
              <a:miter/>
            </a:ln>
          </p:spPr>
          <p:txBody>
            <a:bodyPr rtlCol="0" anchor="ctr"/>
            <a:lstStyle/>
            <a:p>
              <a:endParaRPr lang="en-US"/>
            </a:p>
          </p:txBody>
        </p:sp>
        <p:sp>
          <p:nvSpPr>
            <p:cNvPr id="1494" name="Freeform: Shape 1493">
              <a:extLst>
                <a:ext uri="{FF2B5EF4-FFF2-40B4-BE49-F238E27FC236}">
                  <a16:creationId xmlns:a16="http://schemas.microsoft.com/office/drawing/2014/main" id="{AC782FAD-E3A9-4592-A70D-F3BB7B49D63F}"/>
                </a:ext>
              </a:extLst>
            </p:cNvPr>
            <p:cNvSpPr/>
            <p:nvPr/>
          </p:nvSpPr>
          <p:spPr>
            <a:xfrm>
              <a:off x="12668649" y="6415005"/>
              <a:ext cx="8842" cy="4788"/>
            </a:xfrm>
            <a:custGeom>
              <a:avLst/>
              <a:gdLst>
                <a:gd name="connsiteX0" fmla="*/ 2277 w 8842"/>
                <a:gd name="connsiteY0" fmla="*/ 4688 h 4788"/>
                <a:gd name="connsiteX1" fmla="*/ 0 w 8842"/>
                <a:gd name="connsiteY1" fmla="*/ 4688 h 4788"/>
                <a:gd name="connsiteX2" fmla="*/ 2277 w 8842"/>
                <a:gd name="connsiteY2" fmla="*/ 4688 h 4788"/>
                <a:gd name="connsiteX3" fmla="*/ 8842 w 8842"/>
                <a:gd name="connsiteY3" fmla="*/ 0 h 4788"/>
                <a:gd name="connsiteX4" fmla="*/ 2277 w 8842"/>
                <a:gd name="connsiteY4" fmla="*/ 4688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2277" y="4688"/>
                  </a:moveTo>
                  <a:lnTo>
                    <a:pt x="0" y="4688"/>
                  </a:lnTo>
                  <a:cubicBezTo>
                    <a:pt x="750" y="4822"/>
                    <a:pt x="1527" y="4822"/>
                    <a:pt x="2277" y="4688"/>
                  </a:cubicBezTo>
                  <a:cubicBezTo>
                    <a:pt x="5225" y="4635"/>
                    <a:pt x="7837" y="2773"/>
                    <a:pt x="8842" y="0"/>
                  </a:cubicBezTo>
                  <a:cubicBezTo>
                    <a:pt x="7784" y="2733"/>
                    <a:pt x="5198" y="4568"/>
                    <a:pt x="2277" y="4688"/>
                  </a:cubicBezTo>
                  <a:close/>
                </a:path>
              </a:pathLst>
            </a:custGeom>
            <a:solidFill>
              <a:srgbClr val="000000"/>
            </a:solidFill>
            <a:ln w="12700" cap="flat">
              <a:noFill/>
              <a:prstDash val="solid"/>
              <a:miter/>
            </a:ln>
          </p:spPr>
          <p:txBody>
            <a:bodyPr rtlCol="0" anchor="ctr"/>
            <a:lstStyle/>
            <a:p>
              <a:endParaRPr lang="en-US"/>
            </a:p>
          </p:txBody>
        </p:sp>
        <p:sp>
          <p:nvSpPr>
            <p:cNvPr id="1495" name="Freeform: Shape 1494">
              <a:extLst>
                <a:ext uri="{FF2B5EF4-FFF2-40B4-BE49-F238E27FC236}">
                  <a16:creationId xmlns:a16="http://schemas.microsoft.com/office/drawing/2014/main" id="{59BBA755-D964-4680-AECD-2037475E0AFC}"/>
                </a:ext>
              </a:extLst>
            </p:cNvPr>
            <p:cNvSpPr/>
            <p:nvPr/>
          </p:nvSpPr>
          <p:spPr>
            <a:xfrm>
              <a:off x="12677893" y="6412861"/>
              <a:ext cx="150" cy="2545"/>
            </a:xfrm>
            <a:custGeom>
              <a:avLst/>
              <a:gdLst>
                <a:gd name="connsiteX0" fmla="*/ 0 w 150"/>
                <a:gd name="connsiteY0" fmla="*/ 1742 h 2545"/>
                <a:gd name="connsiteX1" fmla="*/ 0 w 150"/>
                <a:gd name="connsiteY1" fmla="*/ 0 h 2545"/>
                <a:gd name="connsiteX2" fmla="*/ 0 w 150"/>
                <a:gd name="connsiteY2" fmla="*/ 0 h 2545"/>
                <a:gd name="connsiteX3" fmla="*/ 0 w 150"/>
                <a:gd name="connsiteY3" fmla="*/ 2545 h 2545"/>
              </a:gdLst>
              <a:ahLst/>
              <a:cxnLst>
                <a:cxn ang="0">
                  <a:pos x="connsiteX0" y="connsiteY0"/>
                </a:cxn>
                <a:cxn ang="0">
                  <a:pos x="connsiteX1" y="connsiteY1"/>
                </a:cxn>
                <a:cxn ang="0">
                  <a:pos x="connsiteX2" y="connsiteY2"/>
                </a:cxn>
                <a:cxn ang="0">
                  <a:pos x="connsiteX3" y="connsiteY3"/>
                </a:cxn>
              </a:cxnLst>
              <a:rect l="l" t="t" r="r" b="b"/>
              <a:pathLst>
                <a:path w="150" h="2545">
                  <a:moveTo>
                    <a:pt x="0" y="1742"/>
                  </a:moveTo>
                  <a:cubicBezTo>
                    <a:pt x="80" y="1165"/>
                    <a:pt x="80" y="576"/>
                    <a:pt x="0" y="0"/>
                  </a:cubicBezTo>
                  <a:lnTo>
                    <a:pt x="0" y="0"/>
                  </a:lnTo>
                  <a:cubicBezTo>
                    <a:pt x="200" y="831"/>
                    <a:pt x="200" y="1715"/>
                    <a:pt x="0" y="2545"/>
                  </a:cubicBezTo>
                  <a:close/>
                </a:path>
              </a:pathLst>
            </a:custGeom>
            <a:solidFill>
              <a:srgbClr val="000000"/>
            </a:solidFill>
            <a:ln w="12700" cap="flat">
              <a:noFill/>
              <a:prstDash val="solid"/>
              <a:miter/>
            </a:ln>
          </p:spPr>
          <p:txBody>
            <a:bodyPr rtlCol="0" anchor="ctr"/>
            <a:lstStyle/>
            <a:p>
              <a:endParaRPr lang="en-US"/>
            </a:p>
          </p:txBody>
        </p:sp>
        <p:sp>
          <p:nvSpPr>
            <p:cNvPr id="1496" name="Freeform: Shape 1495">
              <a:extLst>
                <a:ext uri="{FF2B5EF4-FFF2-40B4-BE49-F238E27FC236}">
                  <a16:creationId xmlns:a16="http://schemas.microsoft.com/office/drawing/2014/main" id="{00191B02-DDBB-4AAA-A765-2C1A596DFABD}"/>
                </a:ext>
              </a:extLst>
            </p:cNvPr>
            <p:cNvSpPr/>
            <p:nvPr/>
          </p:nvSpPr>
          <p:spPr>
            <a:xfrm>
              <a:off x="10890364" y="6481179"/>
              <a:ext cx="50" cy="1607"/>
            </a:xfrm>
            <a:custGeom>
              <a:avLst/>
              <a:gdLst>
                <a:gd name="connsiteX0" fmla="*/ 0 w 50"/>
                <a:gd name="connsiteY0" fmla="*/ 0 h 1607"/>
                <a:gd name="connsiteX1" fmla="*/ 0 w 50"/>
                <a:gd name="connsiteY1" fmla="*/ 1608 h 1607"/>
                <a:gd name="connsiteX2" fmla="*/ 0 w 50"/>
                <a:gd name="connsiteY2" fmla="*/ 1608 h 1607"/>
                <a:gd name="connsiteX3" fmla="*/ 0 w 50"/>
                <a:gd name="connsiteY3" fmla="*/ 536 h 1607"/>
              </a:gdLst>
              <a:ahLst/>
              <a:cxnLst>
                <a:cxn ang="0">
                  <a:pos x="connsiteX0" y="connsiteY0"/>
                </a:cxn>
                <a:cxn ang="0">
                  <a:pos x="connsiteX1" y="connsiteY1"/>
                </a:cxn>
                <a:cxn ang="0">
                  <a:pos x="connsiteX2" y="connsiteY2"/>
                </a:cxn>
                <a:cxn ang="0">
                  <a:pos x="connsiteX3" y="connsiteY3"/>
                </a:cxn>
              </a:cxnLst>
              <a:rect l="l" t="t" r="r" b="b"/>
              <a:pathLst>
                <a:path w="50" h="1607">
                  <a:moveTo>
                    <a:pt x="0" y="0"/>
                  </a:moveTo>
                  <a:cubicBezTo>
                    <a:pt x="67" y="536"/>
                    <a:pt x="67" y="1072"/>
                    <a:pt x="0" y="1608"/>
                  </a:cubicBezTo>
                  <a:cubicBezTo>
                    <a:pt x="0" y="1608"/>
                    <a:pt x="0" y="1608"/>
                    <a:pt x="0" y="1608"/>
                  </a:cubicBezTo>
                  <a:cubicBezTo>
                    <a:pt x="0" y="1608"/>
                    <a:pt x="0" y="1608"/>
                    <a:pt x="0" y="536"/>
                  </a:cubicBezTo>
                  <a:close/>
                </a:path>
              </a:pathLst>
            </a:custGeom>
            <a:solidFill>
              <a:srgbClr val="000000"/>
            </a:solidFill>
            <a:ln w="12700" cap="flat">
              <a:noFill/>
              <a:prstDash val="solid"/>
              <a:miter/>
            </a:ln>
          </p:spPr>
          <p:txBody>
            <a:bodyPr rtlCol="0" anchor="ctr"/>
            <a:lstStyle/>
            <a:p>
              <a:endParaRPr lang="en-US"/>
            </a:p>
          </p:txBody>
        </p:sp>
        <p:sp>
          <p:nvSpPr>
            <p:cNvPr id="1497" name="Freeform: Shape 1496">
              <a:extLst>
                <a:ext uri="{FF2B5EF4-FFF2-40B4-BE49-F238E27FC236}">
                  <a16:creationId xmlns:a16="http://schemas.microsoft.com/office/drawing/2014/main" id="{A474050B-D39A-4134-BF44-4F62807287CE}"/>
                </a:ext>
              </a:extLst>
            </p:cNvPr>
            <p:cNvSpPr/>
            <p:nvPr/>
          </p:nvSpPr>
          <p:spPr>
            <a:xfrm>
              <a:off x="10875745" y="6481179"/>
              <a:ext cx="150" cy="3289"/>
            </a:xfrm>
            <a:custGeom>
              <a:avLst/>
              <a:gdLst>
                <a:gd name="connsiteX0" fmla="*/ 151 w 150"/>
                <a:gd name="connsiteY0" fmla="*/ 0 h 3289"/>
                <a:gd name="connsiteX1" fmla="*/ 151 w 150"/>
                <a:gd name="connsiteY1" fmla="*/ 1742 h 3289"/>
                <a:gd name="connsiteX2" fmla="*/ 151 w 150"/>
                <a:gd name="connsiteY2" fmla="*/ 2813 h 3289"/>
                <a:gd name="connsiteX3" fmla="*/ 151 w 150"/>
                <a:gd name="connsiteY3" fmla="*/ 2813 h 3289"/>
                <a:gd name="connsiteX4" fmla="*/ 151 w 150"/>
                <a:gd name="connsiteY4" fmla="*/ 0 h 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 h="3289">
                  <a:moveTo>
                    <a:pt x="151" y="0"/>
                  </a:moveTo>
                  <a:lnTo>
                    <a:pt x="151" y="1742"/>
                  </a:lnTo>
                  <a:cubicBezTo>
                    <a:pt x="151" y="1742"/>
                    <a:pt x="151" y="1742"/>
                    <a:pt x="151" y="2813"/>
                  </a:cubicBezTo>
                  <a:cubicBezTo>
                    <a:pt x="151" y="3885"/>
                    <a:pt x="151" y="2813"/>
                    <a:pt x="151" y="2813"/>
                  </a:cubicBezTo>
                  <a:cubicBezTo>
                    <a:pt x="-50" y="1889"/>
                    <a:pt x="-50" y="924"/>
                    <a:pt x="151" y="0"/>
                  </a:cubicBezTo>
                  <a:close/>
                </a:path>
              </a:pathLst>
            </a:custGeom>
            <a:solidFill>
              <a:srgbClr val="000000"/>
            </a:solidFill>
            <a:ln w="12700" cap="flat">
              <a:noFill/>
              <a:prstDash val="solid"/>
              <a:miter/>
            </a:ln>
          </p:spPr>
          <p:txBody>
            <a:bodyPr rtlCol="0" anchor="ctr"/>
            <a:lstStyle/>
            <a:p>
              <a:endParaRPr lang="en-US"/>
            </a:p>
          </p:txBody>
        </p:sp>
        <p:sp>
          <p:nvSpPr>
            <p:cNvPr id="1498" name="Freeform: Shape 1497">
              <a:extLst>
                <a:ext uri="{FF2B5EF4-FFF2-40B4-BE49-F238E27FC236}">
                  <a16:creationId xmlns:a16="http://schemas.microsoft.com/office/drawing/2014/main" id="{BFE477D8-AC4B-4DFD-88D1-69A33E596056}"/>
                </a:ext>
              </a:extLst>
            </p:cNvPr>
            <p:cNvSpPr/>
            <p:nvPr/>
          </p:nvSpPr>
          <p:spPr>
            <a:xfrm>
              <a:off x="9540005" y="6480777"/>
              <a:ext cx="14603" cy="372935"/>
            </a:xfrm>
            <a:custGeom>
              <a:avLst/>
              <a:gdLst>
                <a:gd name="connsiteX0" fmla="*/ 0 w 14603"/>
                <a:gd name="connsiteY0" fmla="*/ 39651 h 372935"/>
                <a:gd name="connsiteX1" fmla="*/ 0 w 14603"/>
                <a:gd name="connsiteY1" fmla="*/ 372935 h 372935"/>
                <a:gd name="connsiteX2" fmla="*/ 14604 w 14603"/>
                <a:gd name="connsiteY2" fmla="*/ 372935 h 372935"/>
                <a:gd name="connsiteX3" fmla="*/ 14604 w 14603"/>
                <a:gd name="connsiteY3" fmla="*/ 7234 h 372935"/>
                <a:gd name="connsiteX4" fmla="*/ 7369 w 14603"/>
                <a:gd name="connsiteY4" fmla="*/ 0 h 372935"/>
                <a:gd name="connsiteX5" fmla="*/ 5761 w 14603"/>
                <a:gd name="connsiteY5" fmla="*/ 0 h 372935"/>
                <a:gd name="connsiteX6" fmla="*/ 4421 w 14603"/>
                <a:gd name="connsiteY6" fmla="*/ 0 h 372935"/>
                <a:gd name="connsiteX7" fmla="*/ 3215 w 14603"/>
                <a:gd name="connsiteY7" fmla="*/ 804 h 372935"/>
                <a:gd name="connsiteX8" fmla="*/ 2143 w 14603"/>
                <a:gd name="connsiteY8" fmla="*/ 1608 h 372935"/>
                <a:gd name="connsiteX9" fmla="*/ 1339 w 14603"/>
                <a:gd name="connsiteY9" fmla="*/ 2813 h 372935"/>
                <a:gd name="connsiteX10" fmla="*/ 1339 w 14603"/>
                <a:gd name="connsiteY10" fmla="*/ 4019 h 372935"/>
                <a:gd name="connsiteX11" fmla="*/ 1339 w 14603"/>
                <a:gd name="connsiteY11" fmla="*/ 5358 h 372935"/>
                <a:gd name="connsiteX12" fmla="*/ 1339 w 14603"/>
                <a:gd name="connsiteY12" fmla="*/ 6698 h 372935"/>
                <a:gd name="connsiteX13" fmla="*/ 1339 w 14603"/>
                <a:gd name="connsiteY13" fmla="*/ 39115 h 37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3" h="372935">
                  <a:moveTo>
                    <a:pt x="0" y="39651"/>
                  </a:moveTo>
                  <a:lnTo>
                    <a:pt x="0" y="372935"/>
                  </a:lnTo>
                  <a:lnTo>
                    <a:pt x="14604" y="372935"/>
                  </a:lnTo>
                  <a:lnTo>
                    <a:pt x="14604" y="7234"/>
                  </a:lnTo>
                  <a:cubicBezTo>
                    <a:pt x="14604" y="3242"/>
                    <a:pt x="11362" y="0"/>
                    <a:pt x="7369" y="0"/>
                  </a:cubicBezTo>
                  <a:lnTo>
                    <a:pt x="5761" y="0"/>
                  </a:lnTo>
                  <a:lnTo>
                    <a:pt x="4421" y="0"/>
                  </a:lnTo>
                  <a:lnTo>
                    <a:pt x="3215" y="804"/>
                  </a:lnTo>
                  <a:lnTo>
                    <a:pt x="2143" y="1608"/>
                  </a:lnTo>
                  <a:cubicBezTo>
                    <a:pt x="1836" y="1983"/>
                    <a:pt x="1555" y="2385"/>
                    <a:pt x="1339" y="2813"/>
                  </a:cubicBezTo>
                  <a:cubicBezTo>
                    <a:pt x="1299" y="3215"/>
                    <a:pt x="1299" y="3617"/>
                    <a:pt x="1339" y="4019"/>
                  </a:cubicBezTo>
                  <a:cubicBezTo>
                    <a:pt x="1286" y="4461"/>
                    <a:pt x="1286" y="4916"/>
                    <a:pt x="1339" y="5358"/>
                  </a:cubicBezTo>
                  <a:cubicBezTo>
                    <a:pt x="1339" y="5358"/>
                    <a:pt x="1339" y="6296"/>
                    <a:pt x="1339" y="6698"/>
                  </a:cubicBezTo>
                  <a:lnTo>
                    <a:pt x="1339" y="39115"/>
                  </a:lnTo>
                  <a:close/>
                </a:path>
              </a:pathLst>
            </a:custGeom>
            <a:solidFill>
              <a:srgbClr val="000000"/>
            </a:solidFill>
            <a:ln w="12700" cap="flat">
              <a:noFill/>
              <a:prstDash val="solid"/>
              <a:miter/>
            </a:ln>
          </p:spPr>
          <p:txBody>
            <a:bodyPr rtlCol="0" anchor="ctr"/>
            <a:lstStyle/>
            <a:p>
              <a:endParaRPr lang="en-US"/>
            </a:p>
          </p:txBody>
        </p:sp>
        <p:sp>
          <p:nvSpPr>
            <p:cNvPr id="1499" name="Freeform: Shape 1498">
              <a:extLst>
                <a:ext uri="{FF2B5EF4-FFF2-40B4-BE49-F238E27FC236}">
                  <a16:creationId xmlns:a16="http://schemas.microsoft.com/office/drawing/2014/main" id="{063D8A3B-9C55-47B4-A7CB-FEB2E5EA2C69}"/>
                </a:ext>
              </a:extLst>
            </p:cNvPr>
            <p:cNvSpPr/>
            <p:nvPr/>
          </p:nvSpPr>
          <p:spPr>
            <a:xfrm>
              <a:off x="12346566" y="5772013"/>
              <a:ext cx="7235" cy="14467"/>
            </a:xfrm>
            <a:custGeom>
              <a:avLst/>
              <a:gdLst>
                <a:gd name="connsiteX0" fmla="*/ 7235 w 7235"/>
                <a:gd name="connsiteY0" fmla="*/ 7234 h 14467"/>
                <a:gd name="connsiteX1" fmla="*/ 0 w 7235"/>
                <a:gd name="connsiteY1" fmla="*/ 14467 h 14467"/>
                <a:gd name="connsiteX2" fmla="*/ 0 w 7235"/>
                <a:gd name="connsiteY2" fmla="*/ 14467 h 14467"/>
                <a:gd name="connsiteX3" fmla="*/ 7235 w 7235"/>
                <a:gd name="connsiteY3" fmla="*/ 7234 h 14467"/>
                <a:gd name="connsiteX4" fmla="*/ 0 w 7235"/>
                <a:gd name="connsiteY4" fmla="*/ 0 h 14467"/>
                <a:gd name="connsiteX5" fmla="*/ 0 w 7235"/>
                <a:gd name="connsiteY5" fmla="*/ 0 h 14467"/>
                <a:gd name="connsiteX6" fmla="*/ 7235 w 7235"/>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 h="14467">
                  <a:moveTo>
                    <a:pt x="7235" y="7234"/>
                  </a:moveTo>
                  <a:cubicBezTo>
                    <a:pt x="7235" y="11228"/>
                    <a:pt x="3993" y="14467"/>
                    <a:pt x="0" y="14467"/>
                  </a:cubicBezTo>
                  <a:lnTo>
                    <a:pt x="0" y="14467"/>
                  </a:lnTo>
                  <a:cubicBezTo>
                    <a:pt x="3993" y="14467"/>
                    <a:pt x="7235" y="11228"/>
                    <a:pt x="7235" y="7234"/>
                  </a:cubicBezTo>
                  <a:cubicBezTo>
                    <a:pt x="7235" y="3239"/>
                    <a:pt x="3993" y="0"/>
                    <a:pt x="0" y="0"/>
                  </a:cubicBezTo>
                  <a:lnTo>
                    <a:pt x="0" y="0"/>
                  </a:lnTo>
                  <a:cubicBezTo>
                    <a:pt x="3993" y="0"/>
                    <a:pt x="7235" y="3239"/>
                    <a:pt x="7235" y="7234"/>
                  </a:cubicBezTo>
                  <a:close/>
                </a:path>
              </a:pathLst>
            </a:custGeom>
            <a:solidFill>
              <a:srgbClr val="000000"/>
            </a:solidFill>
            <a:ln w="12700" cap="flat">
              <a:noFill/>
              <a:prstDash val="solid"/>
              <a:miter/>
            </a:ln>
          </p:spPr>
          <p:txBody>
            <a:bodyPr rtlCol="0" anchor="ctr"/>
            <a:lstStyle/>
            <a:p>
              <a:endParaRPr lang="en-US"/>
            </a:p>
          </p:txBody>
        </p:sp>
        <p:sp>
          <p:nvSpPr>
            <p:cNvPr id="1500" name="Freeform: Shape 1499">
              <a:extLst>
                <a:ext uri="{FF2B5EF4-FFF2-40B4-BE49-F238E27FC236}">
                  <a16:creationId xmlns:a16="http://schemas.microsoft.com/office/drawing/2014/main" id="{2762A9F6-78D1-4CEE-91FF-209BA5787A00}"/>
                </a:ext>
              </a:extLst>
            </p:cNvPr>
            <p:cNvSpPr/>
            <p:nvPr/>
          </p:nvSpPr>
          <p:spPr>
            <a:xfrm>
              <a:off x="11777162" y="6480510"/>
              <a:ext cx="14603" cy="7903"/>
            </a:xfrm>
            <a:custGeom>
              <a:avLst/>
              <a:gdLst>
                <a:gd name="connsiteX0" fmla="*/ 7369 w 14603"/>
                <a:gd name="connsiteY0" fmla="*/ 7903 h 7903"/>
                <a:gd name="connsiteX1" fmla="*/ 14604 w 14603"/>
                <a:gd name="connsiteY1" fmla="*/ 670 h 7903"/>
                <a:gd name="connsiteX2" fmla="*/ 14604 w 14603"/>
                <a:gd name="connsiteY2" fmla="*/ 670 h 7903"/>
                <a:gd name="connsiteX3" fmla="*/ 14604 w 14603"/>
                <a:gd name="connsiteY3" fmla="*/ 0 h 7903"/>
                <a:gd name="connsiteX4" fmla="*/ 7369 w 14603"/>
                <a:gd name="connsiteY4" fmla="*/ 7234 h 7903"/>
                <a:gd name="connsiteX5" fmla="*/ 0 w 14603"/>
                <a:gd name="connsiteY5" fmla="*/ 0 h 7903"/>
                <a:gd name="connsiteX6" fmla="*/ 0 w 14603"/>
                <a:gd name="connsiteY6" fmla="*/ 670 h 7903"/>
                <a:gd name="connsiteX7" fmla="*/ 7369 w 14603"/>
                <a:gd name="connsiteY7" fmla="*/ 7903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7903">
                  <a:moveTo>
                    <a:pt x="7369" y="7903"/>
                  </a:moveTo>
                  <a:cubicBezTo>
                    <a:pt x="11362" y="7903"/>
                    <a:pt x="14604" y="4662"/>
                    <a:pt x="14604" y="670"/>
                  </a:cubicBezTo>
                  <a:lnTo>
                    <a:pt x="14604" y="670"/>
                  </a:lnTo>
                  <a:lnTo>
                    <a:pt x="14604" y="0"/>
                  </a:lnTo>
                  <a:cubicBezTo>
                    <a:pt x="14604" y="3992"/>
                    <a:pt x="11362" y="7234"/>
                    <a:pt x="7369" y="7234"/>
                  </a:cubicBezTo>
                  <a:cubicBezTo>
                    <a:pt x="3349" y="7234"/>
                    <a:pt x="67" y="4019"/>
                    <a:pt x="0" y="0"/>
                  </a:cubicBezTo>
                  <a:lnTo>
                    <a:pt x="0" y="670"/>
                  </a:lnTo>
                  <a:cubicBezTo>
                    <a:pt x="67" y="4688"/>
                    <a:pt x="3349" y="7903"/>
                    <a:pt x="7369" y="7903"/>
                  </a:cubicBezTo>
                  <a:close/>
                </a:path>
              </a:pathLst>
            </a:custGeom>
            <a:solidFill>
              <a:srgbClr val="000000"/>
            </a:solidFill>
            <a:ln w="12700" cap="flat">
              <a:noFill/>
              <a:prstDash val="solid"/>
              <a:miter/>
            </a:ln>
          </p:spPr>
          <p:txBody>
            <a:bodyPr rtlCol="0" anchor="ctr"/>
            <a:lstStyle/>
            <a:p>
              <a:endParaRPr lang="en-US"/>
            </a:p>
          </p:txBody>
        </p:sp>
        <p:sp>
          <p:nvSpPr>
            <p:cNvPr id="1501" name="Freeform: Shape 1500">
              <a:extLst>
                <a:ext uri="{FF2B5EF4-FFF2-40B4-BE49-F238E27FC236}">
                  <a16:creationId xmlns:a16="http://schemas.microsoft.com/office/drawing/2014/main" id="{ECA5A3C1-7135-4B66-B67F-E1D44D4392F7}"/>
                </a:ext>
              </a:extLst>
            </p:cNvPr>
            <p:cNvSpPr/>
            <p:nvPr/>
          </p:nvSpPr>
          <p:spPr>
            <a:xfrm>
              <a:off x="12340270" y="6405226"/>
              <a:ext cx="337372" cy="14467"/>
            </a:xfrm>
            <a:custGeom>
              <a:avLst/>
              <a:gdLst>
                <a:gd name="connsiteX0" fmla="*/ 330657 w 337372"/>
                <a:gd name="connsiteY0" fmla="*/ 0 h 14467"/>
                <a:gd name="connsiteX1" fmla="*/ 0 w 337372"/>
                <a:gd name="connsiteY1" fmla="*/ 0 h 14467"/>
                <a:gd name="connsiteX2" fmla="*/ 7234 w 337372"/>
                <a:gd name="connsiteY2" fmla="*/ 7234 h 14467"/>
                <a:gd name="connsiteX3" fmla="*/ 0 w 337372"/>
                <a:gd name="connsiteY3" fmla="*/ 14467 h 14467"/>
                <a:gd name="connsiteX4" fmla="*/ 330657 w 337372"/>
                <a:gd name="connsiteY4" fmla="*/ 14467 h 14467"/>
                <a:gd name="connsiteX5" fmla="*/ 337221 w 337372"/>
                <a:gd name="connsiteY5" fmla="*/ 10315 h 14467"/>
                <a:gd name="connsiteX6" fmla="*/ 337221 w 337372"/>
                <a:gd name="connsiteY6" fmla="*/ 10315 h 14467"/>
                <a:gd name="connsiteX7" fmla="*/ 337221 w 337372"/>
                <a:gd name="connsiteY7" fmla="*/ 7770 h 14467"/>
                <a:gd name="connsiteX8" fmla="*/ 330657 w 337372"/>
                <a:gd name="connsiteY8" fmla="*/ 0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372" h="14467">
                  <a:moveTo>
                    <a:pt x="330657" y="0"/>
                  </a:moveTo>
                  <a:lnTo>
                    <a:pt x="0" y="0"/>
                  </a:lnTo>
                  <a:cubicBezTo>
                    <a:pt x="3992" y="0"/>
                    <a:pt x="7234" y="3242"/>
                    <a:pt x="7234" y="7234"/>
                  </a:cubicBezTo>
                  <a:cubicBezTo>
                    <a:pt x="7234" y="11226"/>
                    <a:pt x="3992" y="14467"/>
                    <a:pt x="0" y="14467"/>
                  </a:cubicBezTo>
                  <a:lnTo>
                    <a:pt x="330657" y="14467"/>
                  </a:lnTo>
                  <a:cubicBezTo>
                    <a:pt x="333456" y="14441"/>
                    <a:pt x="336002" y="12833"/>
                    <a:pt x="337221" y="10315"/>
                  </a:cubicBezTo>
                  <a:cubicBezTo>
                    <a:pt x="337221" y="10315"/>
                    <a:pt x="337221" y="10315"/>
                    <a:pt x="337221" y="10315"/>
                  </a:cubicBezTo>
                  <a:cubicBezTo>
                    <a:pt x="337422" y="9484"/>
                    <a:pt x="337422" y="8600"/>
                    <a:pt x="337221" y="7770"/>
                  </a:cubicBezTo>
                  <a:cubicBezTo>
                    <a:pt x="337530" y="3818"/>
                    <a:pt x="334609" y="348"/>
                    <a:pt x="330657" y="0"/>
                  </a:cubicBezTo>
                  <a:close/>
                </a:path>
              </a:pathLst>
            </a:custGeom>
            <a:solidFill>
              <a:srgbClr val="000000"/>
            </a:solidFill>
            <a:ln w="12700" cap="flat">
              <a:noFill/>
              <a:prstDash val="solid"/>
              <a:miter/>
            </a:ln>
          </p:spPr>
          <p:txBody>
            <a:bodyPr rtlCol="0" anchor="ctr"/>
            <a:lstStyle/>
            <a:p>
              <a:endParaRPr lang="en-US"/>
            </a:p>
          </p:txBody>
        </p:sp>
        <p:sp>
          <p:nvSpPr>
            <p:cNvPr id="1502" name="Freeform: Shape 1501">
              <a:extLst>
                <a:ext uri="{FF2B5EF4-FFF2-40B4-BE49-F238E27FC236}">
                  <a16:creationId xmlns:a16="http://schemas.microsoft.com/office/drawing/2014/main" id="{FE76420E-EDDE-40B1-9243-B4ECD2C4B83F}"/>
                </a:ext>
              </a:extLst>
            </p:cNvPr>
            <p:cNvSpPr/>
            <p:nvPr/>
          </p:nvSpPr>
          <p:spPr>
            <a:xfrm>
              <a:off x="12336251" y="6405226"/>
              <a:ext cx="11253" cy="14467"/>
            </a:xfrm>
            <a:custGeom>
              <a:avLst/>
              <a:gdLst>
                <a:gd name="connsiteX0" fmla="*/ 11254 w 11253"/>
                <a:gd name="connsiteY0" fmla="*/ 7234 h 14467"/>
                <a:gd name="connsiteX1" fmla="*/ 4019 w 11253"/>
                <a:gd name="connsiteY1" fmla="*/ 0 h 14467"/>
                <a:gd name="connsiteX2" fmla="*/ 0 w 11253"/>
                <a:gd name="connsiteY2" fmla="*/ 0 h 14467"/>
                <a:gd name="connsiteX3" fmla="*/ 7234 w 11253"/>
                <a:gd name="connsiteY3" fmla="*/ 7234 h 14467"/>
                <a:gd name="connsiteX4" fmla="*/ 0 w 11253"/>
                <a:gd name="connsiteY4" fmla="*/ 14467 h 14467"/>
                <a:gd name="connsiteX5" fmla="*/ 4019 w 11253"/>
                <a:gd name="connsiteY5" fmla="*/ 14467 h 14467"/>
                <a:gd name="connsiteX6" fmla="*/ 11254 w 11253"/>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3" h="14467">
                  <a:moveTo>
                    <a:pt x="11254" y="7234"/>
                  </a:moveTo>
                  <a:cubicBezTo>
                    <a:pt x="11254" y="3242"/>
                    <a:pt x="8011" y="0"/>
                    <a:pt x="4019" y="0"/>
                  </a:cubicBezTo>
                  <a:lnTo>
                    <a:pt x="0" y="0"/>
                  </a:lnTo>
                  <a:cubicBezTo>
                    <a:pt x="3992" y="0"/>
                    <a:pt x="7234" y="3242"/>
                    <a:pt x="7234" y="7234"/>
                  </a:cubicBezTo>
                  <a:cubicBezTo>
                    <a:pt x="7234" y="11226"/>
                    <a:pt x="3992" y="14467"/>
                    <a:pt x="0" y="14467"/>
                  </a:cubicBezTo>
                  <a:lnTo>
                    <a:pt x="4019" y="14467"/>
                  </a:lnTo>
                  <a:cubicBezTo>
                    <a:pt x="8011" y="14467"/>
                    <a:pt x="11254" y="11226"/>
                    <a:pt x="11254" y="7234"/>
                  </a:cubicBezTo>
                  <a:close/>
                </a:path>
              </a:pathLst>
            </a:custGeom>
            <a:solidFill>
              <a:srgbClr val="000000"/>
            </a:solidFill>
            <a:ln w="12700" cap="flat">
              <a:noFill/>
              <a:prstDash val="solid"/>
              <a:miter/>
            </a:ln>
          </p:spPr>
          <p:txBody>
            <a:bodyPr rtlCol="0" anchor="ctr"/>
            <a:lstStyle/>
            <a:p>
              <a:endParaRPr lang="en-US"/>
            </a:p>
          </p:txBody>
        </p:sp>
        <p:sp>
          <p:nvSpPr>
            <p:cNvPr id="1503" name="Freeform: Shape 1502">
              <a:extLst>
                <a:ext uri="{FF2B5EF4-FFF2-40B4-BE49-F238E27FC236}">
                  <a16:creationId xmlns:a16="http://schemas.microsoft.com/office/drawing/2014/main" id="{9D2B042D-C0D9-4479-85B1-2ADB9621C7F4}"/>
                </a:ext>
              </a:extLst>
            </p:cNvPr>
            <p:cNvSpPr/>
            <p:nvPr/>
          </p:nvSpPr>
          <p:spPr>
            <a:xfrm>
              <a:off x="12131264" y="6405226"/>
              <a:ext cx="212220" cy="14467"/>
            </a:xfrm>
            <a:custGeom>
              <a:avLst/>
              <a:gdLst>
                <a:gd name="connsiteX0" fmla="*/ 212221 w 212220"/>
                <a:gd name="connsiteY0" fmla="*/ 7234 h 14467"/>
                <a:gd name="connsiteX1" fmla="*/ 204986 w 212220"/>
                <a:gd name="connsiteY1" fmla="*/ 0 h 14467"/>
                <a:gd name="connsiteX2" fmla="*/ 0 w 212220"/>
                <a:gd name="connsiteY2" fmla="*/ 0 h 14467"/>
                <a:gd name="connsiteX3" fmla="*/ 7235 w 212220"/>
                <a:gd name="connsiteY3" fmla="*/ 7234 h 14467"/>
                <a:gd name="connsiteX4" fmla="*/ 0 w 212220"/>
                <a:gd name="connsiteY4" fmla="*/ 14467 h 14467"/>
                <a:gd name="connsiteX5" fmla="*/ 204986 w 212220"/>
                <a:gd name="connsiteY5" fmla="*/ 14467 h 14467"/>
                <a:gd name="connsiteX6" fmla="*/ 212221 w 212220"/>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20" h="14467">
                  <a:moveTo>
                    <a:pt x="212221" y="7234"/>
                  </a:moveTo>
                  <a:cubicBezTo>
                    <a:pt x="212221" y="3242"/>
                    <a:pt x="208978" y="0"/>
                    <a:pt x="204986" y="0"/>
                  </a:cubicBezTo>
                  <a:lnTo>
                    <a:pt x="0" y="0"/>
                  </a:lnTo>
                  <a:cubicBezTo>
                    <a:pt x="3993" y="0"/>
                    <a:pt x="7235" y="3242"/>
                    <a:pt x="7235" y="7234"/>
                  </a:cubicBezTo>
                  <a:cubicBezTo>
                    <a:pt x="7235" y="11226"/>
                    <a:pt x="3993" y="14467"/>
                    <a:pt x="0" y="14467"/>
                  </a:cubicBezTo>
                  <a:lnTo>
                    <a:pt x="204986" y="14467"/>
                  </a:lnTo>
                  <a:cubicBezTo>
                    <a:pt x="208978" y="14467"/>
                    <a:pt x="212221" y="11226"/>
                    <a:pt x="212221" y="7234"/>
                  </a:cubicBezTo>
                  <a:close/>
                </a:path>
              </a:pathLst>
            </a:custGeom>
            <a:solidFill>
              <a:srgbClr val="000000"/>
            </a:solidFill>
            <a:ln w="12700" cap="flat">
              <a:noFill/>
              <a:prstDash val="solid"/>
              <a:miter/>
            </a:ln>
          </p:spPr>
          <p:txBody>
            <a:bodyPr rtlCol="0" anchor="ctr"/>
            <a:lstStyle/>
            <a:p>
              <a:endParaRPr lang="en-US"/>
            </a:p>
          </p:txBody>
        </p:sp>
        <p:sp>
          <p:nvSpPr>
            <p:cNvPr id="1504" name="Freeform: Shape 1503">
              <a:extLst>
                <a:ext uri="{FF2B5EF4-FFF2-40B4-BE49-F238E27FC236}">
                  <a16:creationId xmlns:a16="http://schemas.microsoft.com/office/drawing/2014/main" id="{CCF5266F-C54D-4AA2-B3F5-E399108A1E43}"/>
                </a:ext>
              </a:extLst>
            </p:cNvPr>
            <p:cNvSpPr/>
            <p:nvPr/>
          </p:nvSpPr>
          <p:spPr>
            <a:xfrm>
              <a:off x="12034399" y="6405226"/>
              <a:ext cx="103966" cy="14467"/>
            </a:xfrm>
            <a:custGeom>
              <a:avLst/>
              <a:gdLst>
                <a:gd name="connsiteX0" fmla="*/ 103967 w 103966"/>
                <a:gd name="connsiteY0" fmla="*/ 7234 h 14467"/>
                <a:gd name="connsiteX1" fmla="*/ 96732 w 103966"/>
                <a:gd name="connsiteY1" fmla="*/ 0 h 14467"/>
                <a:gd name="connsiteX2" fmla="*/ 6967 w 103966"/>
                <a:gd name="connsiteY2" fmla="*/ 0 h 14467"/>
                <a:gd name="connsiteX3" fmla="*/ 2144 w 103966"/>
                <a:gd name="connsiteY3" fmla="*/ 2009 h 14467"/>
                <a:gd name="connsiteX4" fmla="*/ 0 w 103966"/>
                <a:gd name="connsiteY4" fmla="*/ 7234 h 14467"/>
                <a:gd name="connsiteX5" fmla="*/ 7235 w 103966"/>
                <a:gd name="connsiteY5" fmla="*/ 14467 h 14467"/>
                <a:gd name="connsiteX6" fmla="*/ 96732 w 103966"/>
                <a:gd name="connsiteY6" fmla="*/ 14467 h 14467"/>
                <a:gd name="connsiteX7" fmla="*/ 103967 w 103966"/>
                <a:gd name="connsiteY7"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66" h="14467">
                  <a:moveTo>
                    <a:pt x="103967" y="7234"/>
                  </a:moveTo>
                  <a:cubicBezTo>
                    <a:pt x="103967" y="3242"/>
                    <a:pt x="100725" y="0"/>
                    <a:pt x="96732" y="0"/>
                  </a:cubicBezTo>
                  <a:lnTo>
                    <a:pt x="6967" y="0"/>
                  </a:lnTo>
                  <a:cubicBezTo>
                    <a:pt x="5172" y="94"/>
                    <a:pt x="3471" y="804"/>
                    <a:pt x="2144" y="2009"/>
                  </a:cubicBezTo>
                  <a:cubicBezTo>
                    <a:pt x="764" y="3403"/>
                    <a:pt x="-13" y="5278"/>
                    <a:pt x="0" y="7234"/>
                  </a:cubicBezTo>
                  <a:cubicBezTo>
                    <a:pt x="134" y="11172"/>
                    <a:pt x="3296" y="14333"/>
                    <a:pt x="7235" y="14467"/>
                  </a:cubicBezTo>
                  <a:lnTo>
                    <a:pt x="96732" y="14467"/>
                  </a:lnTo>
                  <a:cubicBezTo>
                    <a:pt x="100725" y="14467"/>
                    <a:pt x="103967" y="11226"/>
                    <a:pt x="103967" y="7234"/>
                  </a:cubicBezTo>
                  <a:close/>
                </a:path>
              </a:pathLst>
            </a:custGeom>
            <a:solidFill>
              <a:srgbClr val="000000"/>
            </a:solidFill>
            <a:ln w="12700" cap="flat">
              <a:noFill/>
              <a:prstDash val="solid"/>
              <a:miter/>
            </a:ln>
          </p:spPr>
          <p:txBody>
            <a:bodyPr rtlCol="0" anchor="ctr"/>
            <a:lstStyle/>
            <a:p>
              <a:endParaRPr lang="en-US"/>
            </a:p>
          </p:txBody>
        </p:sp>
        <p:sp>
          <p:nvSpPr>
            <p:cNvPr id="1505" name="Freeform: Shape 1504">
              <a:extLst>
                <a:ext uri="{FF2B5EF4-FFF2-40B4-BE49-F238E27FC236}">
                  <a16:creationId xmlns:a16="http://schemas.microsoft.com/office/drawing/2014/main" id="{BF5E684D-4543-4CCF-8F13-07340A9BBA5B}"/>
                </a:ext>
              </a:extLst>
            </p:cNvPr>
            <p:cNvSpPr/>
            <p:nvPr/>
          </p:nvSpPr>
          <p:spPr>
            <a:xfrm>
              <a:off x="10890364" y="6480510"/>
              <a:ext cx="90" cy="2009"/>
            </a:xfrm>
            <a:custGeom>
              <a:avLst/>
              <a:gdLst>
                <a:gd name="connsiteX0" fmla="*/ 0 w 90"/>
                <a:gd name="connsiteY0" fmla="*/ 0 h 2009"/>
                <a:gd name="connsiteX1" fmla="*/ 0 w 90"/>
                <a:gd name="connsiteY1" fmla="*/ 2009 h 2009"/>
                <a:gd name="connsiteX2" fmla="*/ 0 w 90"/>
                <a:gd name="connsiteY2" fmla="*/ 2009 h 2009"/>
                <a:gd name="connsiteX3" fmla="*/ 0 w 90"/>
                <a:gd name="connsiteY3" fmla="*/ 402 h 2009"/>
              </a:gdLst>
              <a:ahLst/>
              <a:cxnLst>
                <a:cxn ang="0">
                  <a:pos x="connsiteX0" y="connsiteY0"/>
                </a:cxn>
                <a:cxn ang="0">
                  <a:pos x="connsiteX1" y="connsiteY1"/>
                </a:cxn>
                <a:cxn ang="0">
                  <a:pos x="connsiteX2" y="connsiteY2"/>
                </a:cxn>
                <a:cxn ang="0">
                  <a:pos x="connsiteX3" y="connsiteY3"/>
                </a:cxn>
              </a:cxnLst>
              <a:rect l="l" t="t" r="r" b="b"/>
              <a:pathLst>
                <a:path w="90" h="2009">
                  <a:moveTo>
                    <a:pt x="0" y="0"/>
                  </a:moveTo>
                  <a:cubicBezTo>
                    <a:pt x="121" y="670"/>
                    <a:pt x="121" y="1339"/>
                    <a:pt x="0" y="2009"/>
                  </a:cubicBezTo>
                  <a:lnTo>
                    <a:pt x="0" y="2009"/>
                  </a:lnTo>
                  <a:cubicBezTo>
                    <a:pt x="67" y="1473"/>
                    <a:pt x="67" y="938"/>
                    <a:pt x="0" y="402"/>
                  </a:cubicBezTo>
                  <a:close/>
                </a:path>
              </a:pathLst>
            </a:custGeom>
            <a:solidFill>
              <a:srgbClr val="000000"/>
            </a:solidFill>
            <a:ln w="12700" cap="flat">
              <a:noFill/>
              <a:prstDash val="solid"/>
              <a:miter/>
            </a:ln>
          </p:spPr>
          <p:txBody>
            <a:bodyPr rtlCol="0" anchor="ctr"/>
            <a:lstStyle/>
            <a:p>
              <a:endParaRPr lang="en-US"/>
            </a:p>
          </p:txBody>
        </p:sp>
        <p:sp>
          <p:nvSpPr>
            <p:cNvPr id="1506" name="Freeform: Shape 1505">
              <a:extLst>
                <a:ext uri="{FF2B5EF4-FFF2-40B4-BE49-F238E27FC236}">
                  <a16:creationId xmlns:a16="http://schemas.microsoft.com/office/drawing/2014/main" id="{D4ADA5F7-2A35-4F49-8ADE-77B4C00FBE7D}"/>
                </a:ext>
              </a:extLst>
            </p:cNvPr>
            <p:cNvSpPr/>
            <p:nvPr/>
          </p:nvSpPr>
          <p:spPr>
            <a:xfrm>
              <a:off x="10876113" y="6480912"/>
              <a:ext cx="50" cy="2277"/>
            </a:xfrm>
            <a:custGeom>
              <a:avLst/>
              <a:gdLst>
                <a:gd name="connsiteX0" fmla="*/ 50 w 50"/>
                <a:gd name="connsiteY0" fmla="*/ 2009 h 2277"/>
                <a:gd name="connsiteX1" fmla="*/ 50 w 50"/>
                <a:gd name="connsiteY1" fmla="*/ 0 h 2277"/>
                <a:gd name="connsiteX2" fmla="*/ 50 w 50"/>
                <a:gd name="connsiteY2" fmla="*/ 670 h 2277"/>
                <a:gd name="connsiteX3" fmla="*/ 50 w 50"/>
                <a:gd name="connsiteY3" fmla="*/ 2277 h 2277"/>
              </a:gdLst>
              <a:ahLst/>
              <a:cxnLst>
                <a:cxn ang="0">
                  <a:pos x="connsiteX0" y="connsiteY0"/>
                </a:cxn>
                <a:cxn ang="0">
                  <a:pos x="connsiteX1" y="connsiteY1"/>
                </a:cxn>
                <a:cxn ang="0">
                  <a:pos x="connsiteX2" y="connsiteY2"/>
                </a:cxn>
                <a:cxn ang="0">
                  <a:pos x="connsiteX3" y="connsiteY3"/>
                </a:cxn>
              </a:cxnLst>
              <a:rect l="l" t="t" r="r" b="b"/>
              <a:pathLst>
                <a:path w="50" h="2277">
                  <a:moveTo>
                    <a:pt x="50" y="2009"/>
                  </a:moveTo>
                  <a:cubicBezTo>
                    <a:pt x="-17" y="1339"/>
                    <a:pt x="-17" y="670"/>
                    <a:pt x="50" y="0"/>
                  </a:cubicBezTo>
                  <a:lnTo>
                    <a:pt x="50" y="670"/>
                  </a:lnTo>
                  <a:cubicBezTo>
                    <a:pt x="-17" y="1206"/>
                    <a:pt x="-17" y="1741"/>
                    <a:pt x="50" y="2277"/>
                  </a:cubicBezTo>
                  <a:close/>
                </a:path>
              </a:pathLst>
            </a:custGeom>
            <a:solidFill>
              <a:srgbClr val="000000"/>
            </a:solidFill>
            <a:ln w="12700" cap="flat">
              <a:noFill/>
              <a:prstDash val="solid"/>
              <a:miter/>
            </a:ln>
          </p:spPr>
          <p:txBody>
            <a:bodyPr rtlCol="0" anchor="ctr"/>
            <a:lstStyle/>
            <a:p>
              <a:endParaRPr lang="en-US"/>
            </a:p>
          </p:txBody>
        </p:sp>
        <p:sp>
          <p:nvSpPr>
            <p:cNvPr id="1507" name="Freeform: Shape 1506">
              <a:extLst>
                <a:ext uri="{FF2B5EF4-FFF2-40B4-BE49-F238E27FC236}">
                  <a16:creationId xmlns:a16="http://schemas.microsoft.com/office/drawing/2014/main" id="{199D4FCD-1E38-4B1A-85E9-B6E8FD1464F5}"/>
                </a:ext>
              </a:extLst>
            </p:cNvPr>
            <p:cNvSpPr/>
            <p:nvPr/>
          </p:nvSpPr>
          <p:spPr>
            <a:xfrm>
              <a:off x="11307705" y="6482921"/>
              <a:ext cx="14603" cy="371327"/>
            </a:xfrm>
            <a:custGeom>
              <a:avLst/>
              <a:gdLst>
                <a:gd name="connsiteX0" fmla="*/ 14336 w 14603"/>
                <a:gd name="connsiteY0" fmla="*/ 0 h 371327"/>
                <a:gd name="connsiteX1" fmla="*/ 7101 w 14603"/>
                <a:gd name="connsiteY1" fmla="*/ 7368 h 371327"/>
                <a:gd name="connsiteX2" fmla="*/ 0 w 14603"/>
                <a:gd name="connsiteY2" fmla="*/ 0 h 371327"/>
                <a:gd name="connsiteX3" fmla="*/ 0 w 14603"/>
                <a:gd name="connsiteY3" fmla="*/ 371328 h 371327"/>
                <a:gd name="connsiteX4" fmla="*/ 14604 w 14603"/>
                <a:gd name="connsiteY4" fmla="*/ 371328 h 371327"/>
                <a:gd name="connsiteX5" fmla="*/ 14604 w 14603"/>
                <a:gd name="connsiteY5" fmla="*/ 0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71327">
                  <a:moveTo>
                    <a:pt x="14336" y="0"/>
                  </a:moveTo>
                  <a:cubicBezTo>
                    <a:pt x="14336" y="4019"/>
                    <a:pt x="11120" y="7301"/>
                    <a:pt x="7101" y="7368"/>
                  </a:cubicBezTo>
                  <a:cubicBezTo>
                    <a:pt x="3135" y="7220"/>
                    <a:pt x="0" y="3965"/>
                    <a:pt x="0" y="0"/>
                  </a:cubicBezTo>
                  <a:lnTo>
                    <a:pt x="0" y="371328"/>
                  </a:lnTo>
                  <a:lnTo>
                    <a:pt x="14604" y="371328"/>
                  </a:lnTo>
                  <a:lnTo>
                    <a:pt x="14604" y="0"/>
                  </a:lnTo>
                  <a:close/>
                </a:path>
              </a:pathLst>
            </a:custGeom>
            <a:solidFill>
              <a:srgbClr val="000000"/>
            </a:solidFill>
            <a:ln w="12700" cap="flat">
              <a:noFill/>
              <a:prstDash val="solid"/>
              <a:miter/>
            </a:ln>
          </p:spPr>
          <p:txBody>
            <a:bodyPr rtlCol="0" anchor="ctr"/>
            <a:lstStyle/>
            <a:p>
              <a:endParaRPr lang="en-US"/>
            </a:p>
          </p:txBody>
        </p:sp>
        <p:sp>
          <p:nvSpPr>
            <p:cNvPr id="1508" name="Freeform: Shape 1507">
              <a:extLst>
                <a:ext uri="{FF2B5EF4-FFF2-40B4-BE49-F238E27FC236}">
                  <a16:creationId xmlns:a16="http://schemas.microsoft.com/office/drawing/2014/main" id="{4832FE6D-1E99-4F8F-85A2-7968F472CDE1}"/>
                </a:ext>
              </a:extLst>
            </p:cNvPr>
            <p:cNvSpPr/>
            <p:nvPr/>
          </p:nvSpPr>
          <p:spPr>
            <a:xfrm>
              <a:off x="11886086" y="6822367"/>
              <a:ext cx="14603" cy="31345"/>
            </a:xfrm>
            <a:custGeom>
              <a:avLst/>
              <a:gdLst>
                <a:gd name="connsiteX0" fmla="*/ 7369 w 14603"/>
                <a:gd name="connsiteY0" fmla="*/ 7234 h 31345"/>
                <a:gd name="connsiteX1" fmla="*/ 0 w 14603"/>
                <a:gd name="connsiteY1" fmla="*/ 0 h 31345"/>
                <a:gd name="connsiteX2" fmla="*/ 0 w 14603"/>
                <a:gd name="connsiteY2" fmla="*/ 31346 h 31345"/>
                <a:gd name="connsiteX3" fmla="*/ 14604 w 14603"/>
                <a:gd name="connsiteY3" fmla="*/ 31346 h 31345"/>
                <a:gd name="connsiteX4" fmla="*/ 14604 w 14603"/>
                <a:gd name="connsiteY4" fmla="*/ 0 h 31345"/>
                <a:gd name="connsiteX5" fmla="*/ 7369 w 14603"/>
                <a:gd name="connsiteY5" fmla="*/ 7234 h 3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1345">
                  <a:moveTo>
                    <a:pt x="7369" y="7234"/>
                  </a:moveTo>
                  <a:cubicBezTo>
                    <a:pt x="3349" y="7234"/>
                    <a:pt x="67" y="4019"/>
                    <a:pt x="0" y="0"/>
                  </a:cubicBezTo>
                  <a:lnTo>
                    <a:pt x="0" y="31346"/>
                  </a:lnTo>
                  <a:lnTo>
                    <a:pt x="14604" y="31346"/>
                  </a:lnTo>
                  <a:lnTo>
                    <a:pt x="14604" y="0"/>
                  </a:lnTo>
                  <a:cubicBezTo>
                    <a:pt x="14604" y="3992"/>
                    <a:pt x="11362" y="7234"/>
                    <a:pt x="7369" y="7234"/>
                  </a:cubicBezTo>
                  <a:close/>
                </a:path>
              </a:pathLst>
            </a:custGeom>
            <a:solidFill>
              <a:srgbClr val="000000"/>
            </a:solidFill>
            <a:ln w="12700" cap="flat">
              <a:noFill/>
              <a:prstDash val="solid"/>
              <a:miter/>
            </a:ln>
          </p:spPr>
          <p:txBody>
            <a:bodyPr rtlCol="0" anchor="ctr"/>
            <a:lstStyle/>
            <a:p>
              <a:endParaRPr lang="en-US"/>
            </a:p>
          </p:txBody>
        </p:sp>
        <p:sp>
          <p:nvSpPr>
            <p:cNvPr id="1509" name="Freeform: Shape 1508">
              <a:extLst>
                <a:ext uri="{FF2B5EF4-FFF2-40B4-BE49-F238E27FC236}">
                  <a16:creationId xmlns:a16="http://schemas.microsoft.com/office/drawing/2014/main" id="{162A238C-1D71-43AC-8B09-04799D9D2186}"/>
                </a:ext>
              </a:extLst>
            </p:cNvPr>
            <p:cNvSpPr/>
            <p:nvPr/>
          </p:nvSpPr>
          <p:spPr>
            <a:xfrm>
              <a:off x="12345361" y="5772013"/>
              <a:ext cx="8574" cy="14467"/>
            </a:xfrm>
            <a:custGeom>
              <a:avLst/>
              <a:gdLst>
                <a:gd name="connsiteX0" fmla="*/ 7369 w 8574"/>
                <a:gd name="connsiteY0" fmla="*/ 7234 h 14467"/>
                <a:gd name="connsiteX1" fmla="*/ 0 w 8574"/>
                <a:gd name="connsiteY1" fmla="*/ 14467 h 14467"/>
                <a:gd name="connsiteX2" fmla="*/ 1339 w 8574"/>
                <a:gd name="connsiteY2" fmla="*/ 14467 h 14467"/>
                <a:gd name="connsiteX3" fmla="*/ 8575 w 8574"/>
                <a:gd name="connsiteY3" fmla="*/ 7234 h 14467"/>
                <a:gd name="connsiteX4" fmla="*/ 1339 w 8574"/>
                <a:gd name="connsiteY4" fmla="*/ 0 h 14467"/>
                <a:gd name="connsiteX5" fmla="*/ 0 w 8574"/>
                <a:gd name="connsiteY5" fmla="*/ 0 h 14467"/>
                <a:gd name="connsiteX6" fmla="*/ 7369 w 8574"/>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4" h="14467">
                  <a:moveTo>
                    <a:pt x="7369" y="7234"/>
                  </a:moveTo>
                  <a:cubicBezTo>
                    <a:pt x="7302" y="11250"/>
                    <a:pt x="4019" y="14467"/>
                    <a:pt x="0" y="14467"/>
                  </a:cubicBezTo>
                  <a:lnTo>
                    <a:pt x="1339" y="14467"/>
                  </a:lnTo>
                  <a:cubicBezTo>
                    <a:pt x="5332" y="14467"/>
                    <a:pt x="8575" y="11228"/>
                    <a:pt x="8575" y="7234"/>
                  </a:cubicBezTo>
                  <a:cubicBezTo>
                    <a:pt x="8575" y="3239"/>
                    <a:pt x="5332" y="0"/>
                    <a:pt x="1339" y="0"/>
                  </a:cubicBezTo>
                  <a:lnTo>
                    <a:pt x="0" y="0"/>
                  </a:lnTo>
                  <a:cubicBezTo>
                    <a:pt x="4019" y="0"/>
                    <a:pt x="7302" y="3218"/>
                    <a:pt x="7369" y="7234"/>
                  </a:cubicBezTo>
                  <a:close/>
                </a:path>
              </a:pathLst>
            </a:custGeom>
            <a:solidFill>
              <a:srgbClr val="000000"/>
            </a:solidFill>
            <a:ln w="12700" cap="flat">
              <a:noFill/>
              <a:prstDash val="solid"/>
              <a:miter/>
            </a:ln>
          </p:spPr>
          <p:txBody>
            <a:bodyPr rtlCol="0" anchor="ctr"/>
            <a:lstStyle/>
            <a:p>
              <a:endParaRPr lang="en-US"/>
            </a:p>
          </p:txBody>
        </p:sp>
        <p:sp>
          <p:nvSpPr>
            <p:cNvPr id="1510" name="Freeform: Shape 1509">
              <a:extLst>
                <a:ext uri="{FF2B5EF4-FFF2-40B4-BE49-F238E27FC236}">
                  <a16:creationId xmlns:a16="http://schemas.microsoft.com/office/drawing/2014/main" id="{4C887BED-E56A-4DD9-98CB-F9CF20B12E43}"/>
                </a:ext>
              </a:extLst>
            </p:cNvPr>
            <p:cNvSpPr/>
            <p:nvPr/>
          </p:nvSpPr>
          <p:spPr>
            <a:xfrm>
              <a:off x="12333443" y="5771784"/>
              <a:ext cx="19420" cy="14561"/>
            </a:xfrm>
            <a:custGeom>
              <a:avLst/>
              <a:gdLst>
                <a:gd name="connsiteX0" fmla="*/ 5889 w 19420"/>
                <a:gd name="connsiteY0" fmla="*/ 14562 h 14561"/>
                <a:gd name="connsiteX1" fmla="*/ 7228 w 19420"/>
                <a:gd name="connsiteY1" fmla="*/ 14562 h 14561"/>
                <a:gd name="connsiteX2" fmla="*/ 12185 w 19420"/>
                <a:gd name="connsiteY2" fmla="*/ 14562 h 14561"/>
                <a:gd name="connsiteX3" fmla="*/ 19420 w 19420"/>
                <a:gd name="connsiteY3" fmla="*/ 7328 h 14561"/>
                <a:gd name="connsiteX4" fmla="*/ 12185 w 19420"/>
                <a:gd name="connsiteY4" fmla="*/ 94 h 14561"/>
                <a:gd name="connsiteX5" fmla="*/ 7228 w 19420"/>
                <a:gd name="connsiteY5" fmla="*/ 94 h 14561"/>
                <a:gd name="connsiteX6" fmla="*/ 5889 w 19420"/>
                <a:gd name="connsiteY6" fmla="*/ 94 h 14561"/>
                <a:gd name="connsiteX7" fmla="*/ 4549 w 19420"/>
                <a:gd name="connsiteY7" fmla="*/ 94 h 14561"/>
                <a:gd name="connsiteX8" fmla="*/ 1869 w 19420"/>
                <a:gd name="connsiteY8" fmla="*/ 1836 h 14561"/>
                <a:gd name="connsiteX9" fmla="*/ 1869 w 19420"/>
                <a:gd name="connsiteY9" fmla="*/ 11749 h 14561"/>
                <a:gd name="connsiteX10" fmla="*/ 4549 w 19420"/>
                <a:gd name="connsiteY10" fmla="*/ 13490 h 14561"/>
                <a:gd name="connsiteX11" fmla="*/ 5889 w 19420"/>
                <a:gd name="connsiteY11" fmla="*/ 14562 h 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20" h="14561">
                  <a:moveTo>
                    <a:pt x="5889" y="14562"/>
                  </a:moveTo>
                  <a:lnTo>
                    <a:pt x="7228" y="14562"/>
                  </a:lnTo>
                  <a:lnTo>
                    <a:pt x="12185" y="14562"/>
                  </a:lnTo>
                  <a:cubicBezTo>
                    <a:pt x="16178" y="14562"/>
                    <a:pt x="19420" y="11323"/>
                    <a:pt x="19420" y="7328"/>
                  </a:cubicBezTo>
                  <a:cubicBezTo>
                    <a:pt x="19420" y="3333"/>
                    <a:pt x="16178" y="94"/>
                    <a:pt x="12185" y="94"/>
                  </a:cubicBezTo>
                  <a:lnTo>
                    <a:pt x="7228" y="94"/>
                  </a:lnTo>
                  <a:lnTo>
                    <a:pt x="5889" y="94"/>
                  </a:lnTo>
                  <a:cubicBezTo>
                    <a:pt x="5446" y="-31"/>
                    <a:pt x="4991" y="-31"/>
                    <a:pt x="4549" y="94"/>
                  </a:cubicBezTo>
                  <a:cubicBezTo>
                    <a:pt x="3557" y="515"/>
                    <a:pt x="2659" y="1104"/>
                    <a:pt x="1869" y="1836"/>
                  </a:cubicBezTo>
                  <a:cubicBezTo>
                    <a:pt x="-623" y="4669"/>
                    <a:pt x="-623" y="8915"/>
                    <a:pt x="1869" y="11749"/>
                  </a:cubicBezTo>
                  <a:cubicBezTo>
                    <a:pt x="2619" y="12526"/>
                    <a:pt x="3530" y="13120"/>
                    <a:pt x="4549" y="13490"/>
                  </a:cubicBezTo>
                  <a:cubicBezTo>
                    <a:pt x="4843" y="13999"/>
                    <a:pt x="5326" y="14381"/>
                    <a:pt x="5889" y="14562"/>
                  </a:cubicBezTo>
                  <a:close/>
                </a:path>
              </a:pathLst>
            </a:custGeom>
            <a:solidFill>
              <a:srgbClr val="000000"/>
            </a:solidFill>
            <a:ln w="12700" cap="flat">
              <a:noFill/>
              <a:prstDash val="solid"/>
              <a:miter/>
            </a:ln>
          </p:spPr>
          <p:txBody>
            <a:bodyPr rtlCol="0" anchor="ctr"/>
            <a:lstStyle/>
            <a:p>
              <a:endParaRPr lang="en-US"/>
            </a:p>
          </p:txBody>
        </p:sp>
        <p:sp>
          <p:nvSpPr>
            <p:cNvPr id="1511" name="Freeform: Shape 1510">
              <a:extLst>
                <a:ext uri="{FF2B5EF4-FFF2-40B4-BE49-F238E27FC236}">
                  <a16:creationId xmlns:a16="http://schemas.microsoft.com/office/drawing/2014/main" id="{54E4D827-8495-42F8-88C3-500E6CA2DBB7}"/>
                </a:ext>
              </a:extLst>
            </p:cNvPr>
            <p:cNvSpPr/>
            <p:nvPr/>
          </p:nvSpPr>
          <p:spPr>
            <a:xfrm>
              <a:off x="10595212" y="6482921"/>
              <a:ext cx="14469" cy="371327"/>
            </a:xfrm>
            <a:custGeom>
              <a:avLst/>
              <a:gdLst>
                <a:gd name="connsiteX0" fmla="*/ 14470 w 14469"/>
                <a:gd name="connsiteY0" fmla="*/ 0 h 371327"/>
                <a:gd name="connsiteX1" fmla="*/ 7234 w 14469"/>
                <a:gd name="connsiteY1" fmla="*/ 7234 h 371327"/>
                <a:gd name="connsiteX2" fmla="*/ 0 w 14469"/>
                <a:gd name="connsiteY2" fmla="*/ 0 h 371327"/>
                <a:gd name="connsiteX3" fmla="*/ 0 w 14469"/>
                <a:gd name="connsiteY3" fmla="*/ 371328 h 371327"/>
                <a:gd name="connsiteX4" fmla="*/ 14470 w 14469"/>
                <a:gd name="connsiteY4" fmla="*/ 371328 h 371327"/>
                <a:gd name="connsiteX5" fmla="*/ 14470 w 14469"/>
                <a:gd name="connsiteY5" fmla="*/ 0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71327">
                  <a:moveTo>
                    <a:pt x="14470" y="0"/>
                  </a:moveTo>
                  <a:cubicBezTo>
                    <a:pt x="14470" y="3992"/>
                    <a:pt x="11227" y="7234"/>
                    <a:pt x="7234" y="7234"/>
                  </a:cubicBezTo>
                  <a:cubicBezTo>
                    <a:pt x="3242" y="7234"/>
                    <a:pt x="0" y="3992"/>
                    <a:pt x="0" y="0"/>
                  </a:cubicBezTo>
                  <a:lnTo>
                    <a:pt x="0" y="371328"/>
                  </a:lnTo>
                  <a:lnTo>
                    <a:pt x="14470" y="371328"/>
                  </a:lnTo>
                  <a:lnTo>
                    <a:pt x="14470" y="0"/>
                  </a:lnTo>
                  <a:close/>
                </a:path>
              </a:pathLst>
            </a:custGeom>
            <a:solidFill>
              <a:srgbClr val="000000"/>
            </a:solidFill>
            <a:ln w="12700" cap="flat">
              <a:noFill/>
              <a:prstDash val="solid"/>
              <a:miter/>
            </a:ln>
          </p:spPr>
          <p:txBody>
            <a:bodyPr rtlCol="0" anchor="ctr"/>
            <a:lstStyle/>
            <a:p>
              <a:endParaRPr lang="en-US"/>
            </a:p>
          </p:txBody>
        </p:sp>
        <p:sp>
          <p:nvSpPr>
            <p:cNvPr id="1512" name="Freeform: Shape 1511">
              <a:extLst>
                <a:ext uri="{FF2B5EF4-FFF2-40B4-BE49-F238E27FC236}">
                  <a16:creationId xmlns:a16="http://schemas.microsoft.com/office/drawing/2014/main" id="{C9BE2907-E313-4705-866A-B223B7E02C88}"/>
                </a:ext>
              </a:extLst>
            </p:cNvPr>
            <p:cNvSpPr/>
            <p:nvPr/>
          </p:nvSpPr>
          <p:spPr>
            <a:xfrm>
              <a:off x="11777162" y="6479438"/>
              <a:ext cx="14603" cy="8305"/>
            </a:xfrm>
            <a:custGeom>
              <a:avLst/>
              <a:gdLst>
                <a:gd name="connsiteX0" fmla="*/ 7369 w 14603"/>
                <a:gd name="connsiteY0" fmla="*/ 8305 h 8305"/>
                <a:gd name="connsiteX1" fmla="*/ 14604 w 14603"/>
                <a:gd name="connsiteY1" fmla="*/ 1072 h 8305"/>
                <a:gd name="connsiteX2" fmla="*/ 14604 w 14603"/>
                <a:gd name="connsiteY2" fmla="*/ 0 h 8305"/>
                <a:gd name="connsiteX3" fmla="*/ 7369 w 14603"/>
                <a:gd name="connsiteY3" fmla="*/ 7367 h 8305"/>
                <a:gd name="connsiteX4" fmla="*/ 0 w 14603"/>
                <a:gd name="connsiteY4" fmla="*/ 0 h 8305"/>
                <a:gd name="connsiteX5" fmla="*/ 0 w 14603"/>
                <a:gd name="connsiteY5" fmla="*/ 1072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62" y="8305"/>
                    <a:pt x="14604" y="5063"/>
                    <a:pt x="14604" y="1072"/>
                  </a:cubicBezTo>
                  <a:lnTo>
                    <a:pt x="14604" y="0"/>
                  </a:lnTo>
                  <a:cubicBezTo>
                    <a:pt x="14604" y="4019"/>
                    <a:pt x="11389" y="7301"/>
                    <a:pt x="7369" y="7367"/>
                  </a:cubicBezTo>
                  <a:cubicBezTo>
                    <a:pt x="3296" y="7367"/>
                    <a:pt x="0" y="4072"/>
                    <a:pt x="0" y="0"/>
                  </a:cubicBezTo>
                  <a:lnTo>
                    <a:pt x="0" y="1072"/>
                  </a:lnTo>
                  <a:cubicBezTo>
                    <a:pt x="67" y="5090"/>
                    <a:pt x="3349" y="8305"/>
                    <a:pt x="7369" y="8305"/>
                  </a:cubicBezTo>
                  <a:close/>
                </a:path>
              </a:pathLst>
            </a:custGeom>
            <a:solidFill>
              <a:srgbClr val="000000"/>
            </a:solidFill>
            <a:ln w="12700" cap="flat">
              <a:noFill/>
              <a:prstDash val="solid"/>
              <a:miter/>
            </a:ln>
          </p:spPr>
          <p:txBody>
            <a:bodyPr rtlCol="0" anchor="ctr"/>
            <a:lstStyle/>
            <a:p>
              <a:endParaRPr lang="en-US"/>
            </a:p>
          </p:txBody>
        </p:sp>
        <p:sp>
          <p:nvSpPr>
            <p:cNvPr id="1513" name="Freeform: Shape 1512">
              <a:extLst>
                <a:ext uri="{FF2B5EF4-FFF2-40B4-BE49-F238E27FC236}">
                  <a16:creationId xmlns:a16="http://schemas.microsoft.com/office/drawing/2014/main" id="{95A72842-7CE1-470F-8820-E66FE42E9EE5}"/>
                </a:ext>
              </a:extLst>
            </p:cNvPr>
            <p:cNvSpPr/>
            <p:nvPr/>
          </p:nvSpPr>
          <p:spPr>
            <a:xfrm>
              <a:off x="10876565" y="6483338"/>
              <a:ext cx="14469" cy="370375"/>
            </a:xfrm>
            <a:custGeom>
              <a:avLst/>
              <a:gdLst>
                <a:gd name="connsiteX0" fmla="*/ 13799 w 14469"/>
                <a:gd name="connsiteY0" fmla="*/ 1057 h 370375"/>
                <a:gd name="connsiteX1" fmla="*/ 13799 w 14469"/>
                <a:gd name="connsiteY1" fmla="*/ 119 h 370375"/>
                <a:gd name="connsiteX2" fmla="*/ 13799 w 14469"/>
                <a:gd name="connsiteY2" fmla="*/ 119 h 370375"/>
                <a:gd name="connsiteX3" fmla="*/ 13799 w 14469"/>
                <a:gd name="connsiteY3" fmla="*/ 119 h 370375"/>
                <a:gd name="connsiteX4" fmla="*/ 6967 w 14469"/>
                <a:gd name="connsiteY4" fmla="*/ 5343 h 370375"/>
                <a:gd name="connsiteX5" fmla="*/ 0 w 14469"/>
                <a:gd name="connsiteY5" fmla="*/ 119 h 370375"/>
                <a:gd name="connsiteX6" fmla="*/ 0 w 14469"/>
                <a:gd name="connsiteY6" fmla="*/ 119 h 370375"/>
                <a:gd name="connsiteX7" fmla="*/ 0 w 14469"/>
                <a:gd name="connsiteY7" fmla="*/ 119 h 370375"/>
                <a:gd name="connsiteX8" fmla="*/ 0 w 14469"/>
                <a:gd name="connsiteY8" fmla="*/ 1057 h 370375"/>
                <a:gd name="connsiteX9" fmla="*/ 0 w 14469"/>
                <a:gd name="connsiteY9" fmla="*/ 370375 h 370375"/>
                <a:gd name="connsiteX10" fmla="*/ 14470 w 14469"/>
                <a:gd name="connsiteY10" fmla="*/ 370375 h 370375"/>
                <a:gd name="connsiteX11" fmla="*/ 14470 w 14469"/>
                <a:gd name="connsiteY11" fmla="*/ 1057 h 37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370375">
                  <a:moveTo>
                    <a:pt x="13799" y="1057"/>
                  </a:moveTo>
                  <a:cubicBezTo>
                    <a:pt x="13799" y="1057"/>
                    <a:pt x="13799" y="387"/>
                    <a:pt x="13799" y="119"/>
                  </a:cubicBezTo>
                  <a:cubicBezTo>
                    <a:pt x="13799" y="-149"/>
                    <a:pt x="13799" y="119"/>
                    <a:pt x="13799" y="119"/>
                  </a:cubicBezTo>
                  <a:lnTo>
                    <a:pt x="13799" y="119"/>
                  </a:lnTo>
                  <a:cubicBezTo>
                    <a:pt x="12955" y="3200"/>
                    <a:pt x="10155" y="5330"/>
                    <a:pt x="6967" y="5343"/>
                  </a:cubicBezTo>
                  <a:cubicBezTo>
                    <a:pt x="3751" y="5303"/>
                    <a:pt x="938" y="3187"/>
                    <a:pt x="0" y="119"/>
                  </a:cubicBezTo>
                  <a:lnTo>
                    <a:pt x="0" y="119"/>
                  </a:lnTo>
                  <a:cubicBezTo>
                    <a:pt x="0" y="119"/>
                    <a:pt x="0" y="119"/>
                    <a:pt x="0" y="119"/>
                  </a:cubicBezTo>
                  <a:cubicBezTo>
                    <a:pt x="0" y="119"/>
                    <a:pt x="0" y="119"/>
                    <a:pt x="0" y="1057"/>
                  </a:cubicBezTo>
                  <a:lnTo>
                    <a:pt x="0" y="370375"/>
                  </a:lnTo>
                  <a:lnTo>
                    <a:pt x="14470" y="370375"/>
                  </a:lnTo>
                  <a:lnTo>
                    <a:pt x="14470" y="1057"/>
                  </a:lnTo>
                  <a:close/>
                </a:path>
              </a:pathLst>
            </a:custGeom>
            <a:solidFill>
              <a:srgbClr val="000000"/>
            </a:solidFill>
            <a:ln w="12700" cap="flat">
              <a:noFill/>
              <a:prstDash val="solid"/>
              <a:miter/>
            </a:ln>
          </p:spPr>
          <p:txBody>
            <a:bodyPr rtlCol="0" anchor="ctr"/>
            <a:lstStyle/>
            <a:p>
              <a:endParaRPr lang="en-US"/>
            </a:p>
          </p:txBody>
        </p:sp>
        <p:sp>
          <p:nvSpPr>
            <p:cNvPr id="1514" name="Freeform: Shape 1513">
              <a:extLst>
                <a:ext uri="{FF2B5EF4-FFF2-40B4-BE49-F238E27FC236}">
                  <a16:creationId xmlns:a16="http://schemas.microsoft.com/office/drawing/2014/main" id="{090E475A-D5A5-4F12-94B6-5574A3075AD4}"/>
                </a:ext>
              </a:extLst>
            </p:cNvPr>
            <p:cNvSpPr/>
            <p:nvPr/>
          </p:nvSpPr>
          <p:spPr>
            <a:xfrm>
              <a:off x="10875443" y="6479438"/>
              <a:ext cx="14610" cy="8327"/>
            </a:xfrm>
            <a:custGeom>
              <a:avLst/>
              <a:gdLst>
                <a:gd name="connsiteX0" fmla="*/ 7687 w 14610"/>
                <a:gd name="connsiteY0" fmla="*/ 8305 h 8327"/>
                <a:gd name="connsiteX1" fmla="*/ 14520 w 14610"/>
                <a:gd name="connsiteY1" fmla="*/ 3081 h 8327"/>
                <a:gd name="connsiteX2" fmla="*/ 14520 w 14610"/>
                <a:gd name="connsiteY2" fmla="*/ 1072 h 8327"/>
                <a:gd name="connsiteX3" fmla="*/ 14520 w 14610"/>
                <a:gd name="connsiteY3" fmla="*/ 0 h 8327"/>
                <a:gd name="connsiteX4" fmla="*/ 7286 w 14610"/>
                <a:gd name="connsiteY4" fmla="*/ 7234 h 8327"/>
                <a:gd name="connsiteX5" fmla="*/ 50 w 14610"/>
                <a:gd name="connsiteY5" fmla="*/ 0 h 8327"/>
                <a:gd name="connsiteX6" fmla="*/ 50 w 14610"/>
                <a:gd name="connsiteY6" fmla="*/ 1072 h 8327"/>
                <a:gd name="connsiteX7" fmla="*/ 50 w 14610"/>
                <a:gd name="connsiteY7" fmla="*/ 3081 h 8327"/>
                <a:gd name="connsiteX8" fmla="*/ 7687 w 14610"/>
                <a:gd name="connsiteY8" fmla="*/ 8305 h 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10" h="8327">
                  <a:moveTo>
                    <a:pt x="7687" y="8305"/>
                  </a:moveTo>
                  <a:cubicBezTo>
                    <a:pt x="10875" y="8292"/>
                    <a:pt x="13676" y="6162"/>
                    <a:pt x="14520" y="3081"/>
                  </a:cubicBezTo>
                  <a:cubicBezTo>
                    <a:pt x="14640" y="2411"/>
                    <a:pt x="14640" y="1741"/>
                    <a:pt x="14520" y="1072"/>
                  </a:cubicBezTo>
                  <a:lnTo>
                    <a:pt x="14520" y="0"/>
                  </a:lnTo>
                  <a:cubicBezTo>
                    <a:pt x="14520" y="3992"/>
                    <a:pt x="11278" y="7234"/>
                    <a:pt x="7286" y="7234"/>
                  </a:cubicBezTo>
                  <a:cubicBezTo>
                    <a:pt x="3293" y="7234"/>
                    <a:pt x="50" y="3992"/>
                    <a:pt x="50" y="0"/>
                  </a:cubicBezTo>
                  <a:lnTo>
                    <a:pt x="50" y="1072"/>
                  </a:lnTo>
                  <a:cubicBezTo>
                    <a:pt x="-17" y="1741"/>
                    <a:pt x="-17" y="2411"/>
                    <a:pt x="50" y="3081"/>
                  </a:cubicBezTo>
                  <a:cubicBezTo>
                    <a:pt x="1055" y="6403"/>
                    <a:pt x="4231" y="8573"/>
                    <a:pt x="7687" y="8305"/>
                  </a:cubicBezTo>
                  <a:close/>
                </a:path>
              </a:pathLst>
            </a:custGeom>
            <a:solidFill>
              <a:srgbClr val="000000"/>
            </a:solidFill>
            <a:ln w="12700" cap="flat">
              <a:noFill/>
              <a:prstDash val="solid"/>
              <a:miter/>
            </a:ln>
          </p:spPr>
          <p:txBody>
            <a:bodyPr rtlCol="0" anchor="ctr"/>
            <a:lstStyle/>
            <a:p>
              <a:endParaRPr lang="en-US"/>
            </a:p>
          </p:txBody>
        </p:sp>
        <p:sp>
          <p:nvSpPr>
            <p:cNvPr id="1515" name="Freeform: Shape 1514">
              <a:extLst>
                <a:ext uri="{FF2B5EF4-FFF2-40B4-BE49-F238E27FC236}">
                  <a16:creationId xmlns:a16="http://schemas.microsoft.com/office/drawing/2014/main" id="{309C49C6-84C7-4C49-8BE6-A3937CEA647E}"/>
                </a:ext>
              </a:extLst>
            </p:cNvPr>
            <p:cNvSpPr/>
            <p:nvPr/>
          </p:nvSpPr>
          <p:spPr>
            <a:xfrm>
              <a:off x="10877278" y="6391830"/>
              <a:ext cx="13136" cy="94975"/>
            </a:xfrm>
            <a:custGeom>
              <a:avLst/>
              <a:gdLst>
                <a:gd name="connsiteX0" fmla="*/ 5852 w 13136"/>
                <a:gd name="connsiteY0" fmla="*/ 94975 h 94975"/>
                <a:gd name="connsiteX1" fmla="*/ 13086 w 13136"/>
                <a:gd name="connsiteY1" fmla="*/ 87608 h 94975"/>
                <a:gd name="connsiteX2" fmla="*/ 13086 w 13136"/>
                <a:gd name="connsiteY2" fmla="*/ 7234 h 94975"/>
                <a:gd name="connsiteX3" fmla="*/ 13086 w 13136"/>
                <a:gd name="connsiteY3" fmla="*/ 6028 h 94975"/>
                <a:gd name="connsiteX4" fmla="*/ 6120 w 13136"/>
                <a:gd name="connsiteY4" fmla="*/ 0 h 94975"/>
                <a:gd name="connsiteX5" fmla="*/ 4646 w 13136"/>
                <a:gd name="connsiteY5" fmla="*/ 0 h 94975"/>
                <a:gd name="connsiteX6" fmla="*/ 3172 w 13136"/>
                <a:gd name="connsiteY6" fmla="*/ 0 h 94975"/>
                <a:gd name="connsiteX7" fmla="*/ 2101 w 13136"/>
                <a:gd name="connsiteY7" fmla="*/ 670 h 94975"/>
                <a:gd name="connsiteX8" fmla="*/ 895 w 13136"/>
                <a:gd name="connsiteY8" fmla="*/ 1474 h 94975"/>
                <a:gd name="connsiteX9" fmla="*/ 895 w 13136"/>
                <a:gd name="connsiteY9" fmla="*/ 2679 h 94975"/>
                <a:gd name="connsiteX10" fmla="*/ 91 w 13136"/>
                <a:gd name="connsiteY10" fmla="*/ 3885 h 94975"/>
                <a:gd name="connsiteX11" fmla="*/ 91 w 13136"/>
                <a:gd name="connsiteY11" fmla="*/ 5224 h 94975"/>
                <a:gd name="connsiteX12" fmla="*/ 91 w 13136"/>
                <a:gd name="connsiteY12" fmla="*/ 6564 h 94975"/>
                <a:gd name="connsiteX13" fmla="*/ 91 w 13136"/>
                <a:gd name="connsiteY13" fmla="*/ 86938 h 94975"/>
                <a:gd name="connsiteX14" fmla="*/ 5852 w 13136"/>
                <a:gd name="connsiteY14" fmla="*/ 94975 h 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36" h="94975">
                  <a:moveTo>
                    <a:pt x="5852" y="94975"/>
                  </a:moveTo>
                  <a:cubicBezTo>
                    <a:pt x="9871" y="94908"/>
                    <a:pt x="13086" y="91626"/>
                    <a:pt x="13086" y="87608"/>
                  </a:cubicBezTo>
                  <a:lnTo>
                    <a:pt x="13086" y="7234"/>
                  </a:lnTo>
                  <a:cubicBezTo>
                    <a:pt x="13153" y="6832"/>
                    <a:pt x="13153" y="6430"/>
                    <a:pt x="13086" y="6028"/>
                  </a:cubicBezTo>
                  <a:cubicBezTo>
                    <a:pt x="12564" y="2585"/>
                    <a:pt x="9603" y="27"/>
                    <a:pt x="6120" y="0"/>
                  </a:cubicBezTo>
                  <a:lnTo>
                    <a:pt x="4646" y="0"/>
                  </a:lnTo>
                  <a:lnTo>
                    <a:pt x="3172" y="0"/>
                  </a:lnTo>
                  <a:lnTo>
                    <a:pt x="2101" y="670"/>
                  </a:lnTo>
                  <a:lnTo>
                    <a:pt x="895" y="1474"/>
                  </a:lnTo>
                  <a:cubicBezTo>
                    <a:pt x="855" y="1875"/>
                    <a:pt x="855" y="2277"/>
                    <a:pt x="895" y="2679"/>
                  </a:cubicBezTo>
                  <a:cubicBezTo>
                    <a:pt x="895" y="2679"/>
                    <a:pt x="895" y="2679"/>
                    <a:pt x="91" y="3885"/>
                  </a:cubicBezTo>
                  <a:cubicBezTo>
                    <a:pt x="-30" y="4327"/>
                    <a:pt x="-30" y="4782"/>
                    <a:pt x="91" y="5224"/>
                  </a:cubicBezTo>
                  <a:cubicBezTo>
                    <a:pt x="37" y="5666"/>
                    <a:pt x="37" y="6122"/>
                    <a:pt x="91" y="6564"/>
                  </a:cubicBezTo>
                  <a:lnTo>
                    <a:pt x="91" y="86938"/>
                  </a:lnTo>
                  <a:cubicBezTo>
                    <a:pt x="-338" y="90702"/>
                    <a:pt x="2154" y="94172"/>
                    <a:pt x="5852" y="94975"/>
                  </a:cubicBezTo>
                  <a:close/>
                </a:path>
              </a:pathLst>
            </a:custGeom>
            <a:solidFill>
              <a:srgbClr val="000000"/>
            </a:solidFill>
            <a:ln w="12700" cap="flat">
              <a:noFill/>
              <a:prstDash val="solid"/>
              <a:miter/>
            </a:ln>
          </p:spPr>
          <p:txBody>
            <a:bodyPr rtlCol="0" anchor="ctr"/>
            <a:lstStyle/>
            <a:p>
              <a:endParaRPr lang="en-US"/>
            </a:p>
          </p:txBody>
        </p:sp>
        <p:sp>
          <p:nvSpPr>
            <p:cNvPr id="1516" name="Freeform: Shape 1515">
              <a:extLst>
                <a:ext uri="{FF2B5EF4-FFF2-40B4-BE49-F238E27FC236}">
                  <a16:creationId xmlns:a16="http://schemas.microsoft.com/office/drawing/2014/main" id="{A793C3CF-D2B3-424F-B91F-F975AB90F0BA}"/>
                </a:ext>
              </a:extLst>
            </p:cNvPr>
            <p:cNvSpPr/>
            <p:nvPr/>
          </p:nvSpPr>
          <p:spPr>
            <a:xfrm>
              <a:off x="11307437" y="6481179"/>
              <a:ext cx="14603" cy="9109"/>
            </a:xfrm>
            <a:custGeom>
              <a:avLst/>
              <a:gdLst>
                <a:gd name="connsiteX0" fmla="*/ 14604 w 14603"/>
                <a:gd name="connsiteY0" fmla="*/ 0 h 9109"/>
                <a:gd name="connsiteX1" fmla="*/ 7369 w 14603"/>
                <a:gd name="connsiteY1" fmla="*/ 7234 h 9109"/>
                <a:gd name="connsiteX2" fmla="*/ 0 w 14603"/>
                <a:gd name="connsiteY2" fmla="*/ 0 h 9109"/>
                <a:gd name="connsiteX3" fmla="*/ 0 w 14603"/>
                <a:gd name="connsiteY3" fmla="*/ 1742 h 9109"/>
                <a:gd name="connsiteX4" fmla="*/ 7369 w 14603"/>
                <a:gd name="connsiteY4" fmla="*/ 9109 h 9109"/>
                <a:gd name="connsiteX5" fmla="*/ 14604 w 14603"/>
                <a:gd name="connsiteY5" fmla="*/ 1742 h 9109"/>
                <a:gd name="connsiteX6" fmla="*/ 14604 w 14603"/>
                <a:gd name="connsiteY6" fmla="*/ 536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9109">
                  <a:moveTo>
                    <a:pt x="14604" y="0"/>
                  </a:moveTo>
                  <a:cubicBezTo>
                    <a:pt x="14604" y="3992"/>
                    <a:pt x="11362" y="7234"/>
                    <a:pt x="7369" y="7234"/>
                  </a:cubicBezTo>
                  <a:cubicBezTo>
                    <a:pt x="3349" y="7234"/>
                    <a:pt x="67" y="4019"/>
                    <a:pt x="0" y="0"/>
                  </a:cubicBezTo>
                  <a:lnTo>
                    <a:pt x="0" y="1742"/>
                  </a:lnTo>
                  <a:cubicBezTo>
                    <a:pt x="0" y="5814"/>
                    <a:pt x="3296" y="9109"/>
                    <a:pt x="7369" y="9109"/>
                  </a:cubicBezTo>
                  <a:cubicBezTo>
                    <a:pt x="11389" y="9042"/>
                    <a:pt x="14604" y="5760"/>
                    <a:pt x="14604" y="1742"/>
                  </a:cubicBezTo>
                  <a:lnTo>
                    <a:pt x="14604" y="536"/>
                  </a:lnTo>
                  <a:close/>
                </a:path>
              </a:pathLst>
            </a:custGeom>
            <a:solidFill>
              <a:srgbClr val="000000"/>
            </a:solidFill>
            <a:ln w="12700" cap="flat">
              <a:noFill/>
              <a:prstDash val="solid"/>
              <a:miter/>
            </a:ln>
          </p:spPr>
          <p:txBody>
            <a:bodyPr rtlCol="0" anchor="ctr"/>
            <a:lstStyle/>
            <a:p>
              <a:endParaRPr lang="en-US"/>
            </a:p>
          </p:txBody>
        </p:sp>
        <p:sp>
          <p:nvSpPr>
            <p:cNvPr id="1517" name="Freeform: Shape 1516">
              <a:extLst>
                <a:ext uri="{FF2B5EF4-FFF2-40B4-BE49-F238E27FC236}">
                  <a16:creationId xmlns:a16="http://schemas.microsoft.com/office/drawing/2014/main" id="{C2DA2B6D-2976-42E3-AA46-55B6B0296091}"/>
                </a:ext>
              </a:extLst>
            </p:cNvPr>
            <p:cNvSpPr/>
            <p:nvPr/>
          </p:nvSpPr>
          <p:spPr>
            <a:xfrm>
              <a:off x="10036124" y="6482385"/>
              <a:ext cx="14603" cy="371327"/>
            </a:xfrm>
            <a:custGeom>
              <a:avLst/>
              <a:gdLst>
                <a:gd name="connsiteX0" fmla="*/ 7234 w 14603"/>
                <a:gd name="connsiteY0" fmla="*/ 7367 h 371327"/>
                <a:gd name="connsiteX1" fmla="*/ 0 w 14603"/>
                <a:gd name="connsiteY1" fmla="*/ 0 h 371327"/>
                <a:gd name="connsiteX2" fmla="*/ 0 w 14603"/>
                <a:gd name="connsiteY2" fmla="*/ 371328 h 371327"/>
                <a:gd name="connsiteX3" fmla="*/ 14603 w 14603"/>
                <a:gd name="connsiteY3" fmla="*/ 371328 h 371327"/>
                <a:gd name="connsiteX4" fmla="*/ 14603 w 14603"/>
                <a:gd name="connsiteY4" fmla="*/ 536 h 371327"/>
                <a:gd name="connsiteX5" fmla="*/ 7234 w 14603"/>
                <a:gd name="connsiteY5" fmla="*/ 7367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71327">
                  <a:moveTo>
                    <a:pt x="7234" y="7367"/>
                  </a:moveTo>
                  <a:cubicBezTo>
                    <a:pt x="3215" y="7301"/>
                    <a:pt x="0" y="4019"/>
                    <a:pt x="0" y="0"/>
                  </a:cubicBezTo>
                  <a:lnTo>
                    <a:pt x="0" y="371328"/>
                  </a:lnTo>
                  <a:lnTo>
                    <a:pt x="14603" y="371328"/>
                  </a:lnTo>
                  <a:lnTo>
                    <a:pt x="14603" y="536"/>
                  </a:lnTo>
                  <a:cubicBezTo>
                    <a:pt x="14322" y="4394"/>
                    <a:pt x="11106" y="7381"/>
                    <a:pt x="7234" y="7367"/>
                  </a:cubicBezTo>
                  <a:close/>
                </a:path>
              </a:pathLst>
            </a:custGeom>
            <a:solidFill>
              <a:srgbClr val="000000"/>
            </a:solidFill>
            <a:ln w="12700" cap="flat">
              <a:noFill/>
              <a:prstDash val="solid"/>
              <a:miter/>
            </a:ln>
          </p:spPr>
          <p:txBody>
            <a:bodyPr rtlCol="0" anchor="ctr"/>
            <a:lstStyle/>
            <a:p>
              <a:endParaRPr lang="en-US"/>
            </a:p>
          </p:txBody>
        </p:sp>
        <p:sp>
          <p:nvSpPr>
            <p:cNvPr id="1518" name="Freeform: Shape 1517">
              <a:extLst>
                <a:ext uri="{FF2B5EF4-FFF2-40B4-BE49-F238E27FC236}">
                  <a16:creationId xmlns:a16="http://schemas.microsoft.com/office/drawing/2014/main" id="{0EE97E5F-543E-4767-BED0-A5017B44A19D}"/>
                </a:ext>
              </a:extLst>
            </p:cNvPr>
            <p:cNvSpPr/>
            <p:nvPr/>
          </p:nvSpPr>
          <p:spPr>
            <a:xfrm>
              <a:off x="11886086" y="6800800"/>
              <a:ext cx="14603" cy="28800"/>
            </a:xfrm>
            <a:custGeom>
              <a:avLst/>
              <a:gdLst>
                <a:gd name="connsiteX0" fmla="*/ 7369 w 14603"/>
                <a:gd name="connsiteY0" fmla="*/ 7234 h 28800"/>
                <a:gd name="connsiteX1" fmla="*/ 0 w 14603"/>
                <a:gd name="connsiteY1" fmla="*/ 0 h 28800"/>
                <a:gd name="connsiteX2" fmla="*/ 0 w 14603"/>
                <a:gd name="connsiteY2" fmla="*/ 21567 h 28800"/>
                <a:gd name="connsiteX3" fmla="*/ 7369 w 14603"/>
                <a:gd name="connsiteY3" fmla="*/ 28801 h 28800"/>
                <a:gd name="connsiteX4" fmla="*/ 14604 w 14603"/>
                <a:gd name="connsiteY4" fmla="*/ 21567 h 28800"/>
                <a:gd name="connsiteX5" fmla="*/ 14604 w 14603"/>
                <a:gd name="connsiteY5" fmla="*/ 0 h 28800"/>
                <a:gd name="connsiteX6" fmla="*/ 7369 w 14603"/>
                <a:gd name="connsiteY6" fmla="*/ 7234 h 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28800">
                  <a:moveTo>
                    <a:pt x="7369" y="7234"/>
                  </a:moveTo>
                  <a:cubicBezTo>
                    <a:pt x="3349" y="7234"/>
                    <a:pt x="67" y="4019"/>
                    <a:pt x="0" y="0"/>
                  </a:cubicBezTo>
                  <a:lnTo>
                    <a:pt x="0" y="21567"/>
                  </a:lnTo>
                  <a:cubicBezTo>
                    <a:pt x="67" y="25586"/>
                    <a:pt x="3349" y="28801"/>
                    <a:pt x="7369" y="28801"/>
                  </a:cubicBezTo>
                  <a:cubicBezTo>
                    <a:pt x="11362" y="28801"/>
                    <a:pt x="14604" y="25559"/>
                    <a:pt x="14604" y="21567"/>
                  </a:cubicBezTo>
                  <a:lnTo>
                    <a:pt x="14604" y="0"/>
                  </a:lnTo>
                  <a:cubicBezTo>
                    <a:pt x="14604" y="3992"/>
                    <a:pt x="11362" y="7234"/>
                    <a:pt x="7369" y="7234"/>
                  </a:cubicBezTo>
                  <a:close/>
                </a:path>
              </a:pathLst>
            </a:custGeom>
            <a:solidFill>
              <a:srgbClr val="000000"/>
            </a:solidFill>
            <a:ln w="12700" cap="flat">
              <a:noFill/>
              <a:prstDash val="solid"/>
              <a:miter/>
            </a:ln>
          </p:spPr>
          <p:txBody>
            <a:bodyPr rtlCol="0" anchor="ctr"/>
            <a:lstStyle/>
            <a:p>
              <a:endParaRPr lang="en-US"/>
            </a:p>
          </p:txBody>
        </p:sp>
        <p:sp>
          <p:nvSpPr>
            <p:cNvPr id="1519" name="Freeform: Shape 1518">
              <a:extLst>
                <a:ext uri="{FF2B5EF4-FFF2-40B4-BE49-F238E27FC236}">
                  <a16:creationId xmlns:a16="http://schemas.microsoft.com/office/drawing/2014/main" id="{B572AD2D-6693-425A-868D-393760D30B1D}"/>
                </a:ext>
              </a:extLst>
            </p:cNvPr>
            <p:cNvSpPr/>
            <p:nvPr/>
          </p:nvSpPr>
          <p:spPr>
            <a:xfrm>
              <a:off x="10595212" y="6442734"/>
              <a:ext cx="14469" cy="47420"/>
            </a:xfrm>
            <a:custGeom>
              <a:avLst/>
              <a:gdLst>
                <a:gd name="connsiteX0" fmla="*/ 0 w 14469"/>
                <a:gd name="connsiteY0" fmla="*/ 0 h 47420"/>
                <a:gd name="connsiteX1" fmla="*/ 0 w 14469"/>
                <a:gd name="connsiteY1" fmla="*/ 40187 h 47420"/>
                <a:gd name="connsiteX2" fmla="*/ 7234 w 14469"/>
                <a:gd name="connsiteY2" fmla="*/ 47421 h 47420"/>
                <a:gd name="connsiteX3" fmla="*/ 14470 w 14469"/>
                <a:gd name="connsiteY3" fmla="*/ 40187 h 47420"/>
                <a:gd name="connsiteX4" fmla="*/ 14470 w 14469"/>
                <a:gd name="connsiteY4" fmla="*/ 5358 h 47420"/>
                <a:gd name="connsiteX5" fmla="*/ 12057 w 14469"/>
                <a:gd name="connsiteY5" fmla="*/ 5358 h 47420"/>
                <a:gd name="connsiteX6" fmla="*/ 7234 w 14469"/>
                <a:gd name="connsiteY6" fmla="*/ 7234 h 47420"/>
                <a:gd name="connsiteX7" fmla="*/ 0 w 14469"/>
                <a:gd name="connsiteY7" fmla="*/ 0 h 4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47420">
                  <a:moveTo>
                    <a:pt x="0" y="0"/>
                  </a:moveTo>
                  <a:lnTo>
                    <a:pt x="0" y="40187"/>
                  </a:lnTo>
                  <a:cubicBezTo>
                    <a:pt x="0" y="44179"/>
                    <a:pt x="3242" y="47421"/>
                    <a:pt x="7234" y="47421"/>
                  </a:cubicBezTo>
                  <a:cubicBezTo>
                    <a:pt x="11227" y="47421"/>
                    <a:pt x="14470" y="44179"/>
                    <a:pt x="14470" y="40187"/>
                  </a:cubicBezTo>
                  <a:lnTo>
                    <a:pt x="14470" y="5358"/>
                  </a:lnTo>
                  <a:lnTo>
                    <a:pt x="12057" y="5358"/>
                  </a:lnTo>
                  <a:cubicBezTo>
                    <a:pt x="10718" y="6524"/>
                    <a:pt x="9016" y="7194"/>
                    <a:pt x="7234" y="7234"/>
                  </a:cubicBezTo>
                  <a:cubicBezTo>
                    <a:pt x="3269" y="7167"/>
                    <a:pt x="67" y="3965"/>
                    <a:pt x="0" y="0"/>
                  </a:cubicBezTo>
                  <a:close/>
                </a:path>
              </a:pathLst>
            </a:custGeom>
            <a:solidFill>
              <a:srgbClr val="000000"/>
            </a:solidFill>
            <a:ln w="12700" cap="flat">
              <a:noFill/>
              <a:prstDash val="solid"/>
              <a:miter/>
            </a:ln>
          </p:spPr>
          <p:txBody>
            <a:bodyPr rtlCol="0" anchor="ctr"/>
            <a:lstStyle/>
            <a:p>
              <a:endParaRPr lang="en-US"/>
            </a:p>
          </p:txBody>
        </p:sp>
        <p:sp>
          <p:nvSpPr>
            <p:cNvPr id="1520" name="Freeform: Shape 1519">
              <a:extLst>
                <a:ext uri="{FF2B5EF4-FFF2-40B4-BE49-F238E27FC236}">
                  <a16:creationId xmlns:a16="http://schemas.microsoft.com/office/drawing/2014/main" id="{766966CF-21ED-4BFB-B0A7-F0739CABAD67}"/>
                </a:ext>
              </a:extLst>
            </p:cNvPr>
            <p:cNvSpPr/>
            <p:nvPr/>
          </p:nvSpPr>
          <p:spPr>
            <a:xfrm>
              <a:off x="11307437" y="6480510"/>
              <a:ext cx="14603" cy="7903"/>
            </a:xfrm>
            <a:custGeom>
              <a:avLst/>
              <a:gdLst>
                <a:gd name="connsiteX0" fmla="*/ 7369 w 14603"/>
                <a:gd name="connsiteY0" fmla="*/ 7903 h 7903"/>
                <a:gd name="connsiteX1" fmla="*/ 14604 w 14603"/>
                <a:gd name="connsiteY1" fmla="*/ 670 h 7903"/>
                <a:gd name="connsiteX2" fmla="*/ 14604 w 14603"/>
                <a:gd name="connsiteY2" fmla="*/ 0 h 7903"/>
                <a:gd name="connsiteX3" fmla="*/ 7369 w 14603"/>
                <a:gd name="connsiteY3" fmla="*/ 7234 h 7903"/>
                <a:gd name="connsiteX4" fmla="*/ 0 w 14603"/>
                <a:gd name="connsiteY4" fmla="*/ 0 h 7903"/>
                <a:gd name="connsiteX5" fmla="*/ 0 w 14603"/>
                <a:gd name="connsiteY5" fmla="*/ 670 h 7903"/>
                <a:gd name="connsiteX6" fmla="*/ 7369 w 14603"/>
                <a:gd name="connsiteY6" fmla="*/ 7903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903">
                  <a:moveTo>
                    <a:pt x="7369" y="7903"/>
                  </a:moveTo>
                  <a:cubicBezTo>
                    <a:pt x="11362" y="7903"/>
                    <a:pt x="14604" y="4662"/>
                    <a:pt x="14604" y="670"/>
                  </a:cubicBezTo>
                  <a:lnTo>
                    <a:pt x="14604" y="0"/>
                  </a:lnTo>
                  <a:cubicBezTo>
                    <a:pt x="14604" y="3992"/>
                    <a:pt x="11362" y="7234"/>
                    <a:pt x="7369" y="7234"/>
                  </a:cubicBezTo>
                  <a:cubicBezTo>
                    <a:pt x="3349" y="7234"/>
                    <a:pt x="67" y="4019"/>
                    <a:pt x="0" y="0"/>
                  </a:cubicBezTo>
                  <a:lnTo>
                    <a:pt x="0" y="670"/>
                  </a:lnTo>
                  <a:cubicBezTo>
                    <a:pt x="67" y="4688"/>
                    <a:pt x="3349" y="7903"/>
                    <a:pt x="7369" y="7903"/>
                  </a:cubicBezTo>
                  <a:close/>
                </a:path>
              </a:pathLst>
            </a:custGeom>
            <a:solidFill>
              <a:srgbClr val="000000"/>
            </a:solidFill>
            <a:ln w="12700" cap="flat">
              <a:noFill/>
              <a:prstDash val="solid"/>
              <a:miter/>
            </a:ln>
          </p:spPr>
          <p:txBody>
            <a:bodyPr rtlCol="0" anchor="ctr"/>
            <a:lstStyle/>
            <a:p>
              <a:endParaRPr lang="en-US"/>
            </a:p>
          </p:txBody>
        </p:sp>
        <p:sp>
          <p:nvSpPr>
            <p:cNvPr id="1521" name="Freeform: Shape 1520">
              <a:extLst>
                <a:ext uri="{FF2B5EF4-FFF2-40B4-BE49-F238E27FC236}">
                  <a16:creationId xmlns:a16="http://schemas.microsoft.com/office/drawing/2014/main" id="{5B2915A5-41DF-4BD2-BA6D-834CA5A56C3B}"/>
                </a:ext>
              </a:extLst>
            </p:cNvPr>
            <p:cNvSpPr/>
            <p:nvPr/>
          </p:nvSpPr>
          <p:spPr>
            <a:xfrm>
              <a:off x="10036124" y="6481179"/>
              <a:ext cx="14603" cy="9109"/>
            </a:xfrm>
            <a:custGeom>
              <a:avLst/>
              <a:gdLst>
                <a:gd name="connsiteX0" fmla="*/ 7234 w 14603"/>
                <a:gd name="connsiteY0" fmla="*/ 7234 h 9109"/>
                <a:gd name="connsiteX1" fmla="*/ 0 w 14603"/>
                <a:gd name="connsiteY1" fmla="*/ 0 h 9109"/>
                <a:gd name="connsiteX2" fmla="*/ 0 w 14603"/>
                <a:gd name="connsiteY2" fmla="*/ 1742 h 9109"/>
                <a:gd name="connsiteX3" fmla="*/ 7234 w 14603"/>
                <a:gd name="connsiteY3" fmla="*/ 9109 h 9109"/>
                <a:gd name="connsiteX4" fmla="*/ 14603 w 14603"/>
                <a:gd name="connsiteY4" fmla="*/ 1742 h 9109"/>
                <a:gd name="connsiteX5" fmla="*/ 14603 w 14603"/>
                <a:gd name="connsiteY5" fmla="*/ 536 h 9109"/>
                <a:gd name="connsiteX6" fmla="*/ 7234 w 14603"/>
                <a:gd name="connsiteY6" fmla="*/ 7234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9109">
                  <a:moveTo>
                    <a:pt x="7234" y="7234"/>
                  </a:moveTo>
                  <a:cubicBezTo>
                    <a:pt x="3241" y="7234"/>
                    <a:pt x="0" y="3992"/>
                    <a:pt x="0" y="0"/>
                  </a:cubicBezTo>
                  <a:lnTo>
                    <a:pt x="0" y="1742"/>
                  </a:lnTo>
                  <a:cubicBezTo>
                    <a:pt x="0" y="5760"/>
                    <a:pt x="3215" y="9042"/>
                    <a:pt x="7234" y="9109"/>
                  </a:cubicBezTo>
                  <a:cubicBezTo>
                    <a:pt x="11308" y="9109"/>
                    <a:pt x="14603" y="5814"/>
                    <a:pt x="14603" y="1742"/>
                  </a:cubicBezTo>
                  <a:lnTo>
                    <a:pt x="14603" y="536"/>
                  </a:lnTo>
                  <a:cubicBezTo>
                    <a:pt x="14255" y="4340"/>
                    <a:pt x="11052" y="7247"/>
                    <a:pt x="7234" y="7234"/>
                  </a:cubicBezTo>
                  <a:close/>
                </a:path>
              </a:pathLst>
            </a:custGeom>
            <a:solidFill>
              <a:srgbClr val="000000"/>
            </a:solidFill>
            <a:ln w="12700" cap="flat">
              <a:noFill/>
              <a:prstDash val="solid"/>
              <a:miter/>
            </a:ln>
          </p:spPr>
          <p:txBody>
            <a:bodyPr rtlCol="0" anchor="ctr"/>
            <a:lstStyle/>
            <a:p>
              <a:endParaRPr lang="en-US"/>
            </a:p>
          </p:txBody>
        </p:sp>
        <p:sp>
          <p:nvSpPr>
            <p:cNvPr id="1522" name="Freeform: Shape 1521">
              <a:extLst>
                <a:ext uri="{FF2B5EF4-FFF2-40B4-BE49-F238E27FC236}">
                  <a16:creationId xmlns:a16="http://schemas.microsoft.com/office/drawing/2014/main" id="{04DC2E3B-274C-4DDF-9075-CB0609C34D1C}"/>
                </a:ext>
              </a:extLst>
            </p:cNvPr>
            <p:cNvSpPr/>
            <p:nvPr/>
          </p:nvSpPr>
          <p:spPr>
            <a:xfrm>
              <a:off x="11886086" y="6405628"/>
              <a:ext cx="14623" cy="77292"/>
            </a:xfrm>
            <a:custGeom>
              <a:avLst/>
              <a:gdLst>
                <a:gd name="connsiteX0" fmla="*/ 7369 w 14623"/>
                <a:gd name="connsiteY0" fmla="*/ 0 h 77292"/>
                <a:gd name="connsiteX1" fmla="*/ 0 w 14623"/>
                <a:gd name="connsiteY1" fmla="*/ 7234 h 77292"/>
                <a:gd name="connsiteX2" fmla="*/ 0 w 14623"/>
                <a:gd name="connsiteY2" fmla="*/ 77293 h 77292"/>
                <a:gd name="connsiteX3" fmla="*/ 7369 w 14623"/>
                <a:gd name="connsiteY3" fmla="*/ 70059 h 77292"/>
                <a:gd name="connsiteX4" fmla="*/ 14604 w 14623"/>
                <a:gd name="connsiteY4" fmla="*/ 77293 h 77292"/>
                <a:gd name="connsiteX5" fmla="*/ 14604 w 14623"/>
                <a:gd name="connsiteY5" fmla="*/ 7769 h 77292"/>
                <a:gd name="connsiteX6" fmla="*/ 7918 w 14623"/>
                <a:gd name="connsiteY6" fmla="*/ 13 h 77292"/>
                <a:gd name="connsiteX7" fmla="*/ 7369 w 14623"/>
                <a:gd name="connsiteY7" fmla="*/ 0 h 7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23" h="77292">
                  <a:moveTo>
                    <a:pt x="7369" y="0"/>
                  </a:moveTo>
                  <a:cubicBezTo>
                    <a:pt x="3349" y="0"/>
                    <a:pt x="67" y="3215"/>
                    <a:pt x="0" y="7234"/>
                  </a:cubicBezTo>
                  <a:lnTo>
                    <a:pt x="0" y="77293"/>
                  </a:lnTo>
                  <a:cubicBezTo>
                    <a:pt x="67" y="73274"/>
                    <a:pt x="3349" y="70059"/>
                    <a:pt x="7369" y="70059"/>
                  </a:cubicBezTo>
                  <a:cubicBezTo>
                    <a:pt x="11362" y="70059"/>
                    <a:pt x="14604" y="73301"/>
                    <a:pt x="14604" y="77293"/>
                  </a:cubicBezTo>
                  <a:lnTo>
                    <a:pt x="14604" y="7769"/>
                  </a:lnTo>
                  <a:cubicBezTo>
                    <a:pt x="14898" y="3791"/>
                    <a:pt x="11911" y="321"/>
                    <a:pt x="7918" y="13"/>
                  </a:cubicBezTo>
                  <a:cubicBezTo>
                    <a:pt x="7744" y="0"/>
                    <a:pt x="7557" y="0"/>
                    <a:pt x="7369" y="0"/>
                  </a:cubicBezTo>
                  <a:close/>
                </a:path>
              </a:pathLst>
            </a:custGeom>
            <a:solidFill>
              <a:srgbClr val="000000"/>
            </a:solidFill>
            <a:ln w="12700" cap="flat">
              <a:noFill/>
              <a:prstDash val="solid"/>
              <a:miter/>
            </a:ln>
          </p:spPr>
          <p:txBody>
            <a:bodyPr rtlCol="0" anchor="ctr"/>
            <a:lstStyle/>
            <a:p>
              <a:endParaRPr lang="en-US"/>
            </a:p>
          </p:txBody>
        </p:sp>
        <p:sp>
          <p:nvSpPr>
            <p:cNvPr id="1523" name="Freeform: Shape 1522">
              <a:extLst>
                <a:ext uri="{FF2B5EF4-FFF2-40B4-BE49-F238E27FC236}">
                  <a16:creationId xmlns:a16="http://schemas.microsoft.com/office/drawing/2014/main" id="{2A6DDF6A-3294-46D7-A248-7FCA43492C1C}"/>
                </a:ext>
              </a:extLst>
            </p:cNvPr>
            <p:cNvSpPr/>
            <p:nvPr/>
          </p:nvSpPr>
          <p:spPr>
            <a:xfrm>
              <a:off x="11886086" y="6475151"/>
              <a:ext cx="14623" cy="332882"/>
            </a:xfrm>
            <a:custGeom>
              <a:avLst/>
              <a:gdLst>
                <a:gd name="connsiteX0" fmla="*/ 7369 w 14623"/>
                <a:gd name="connsiteY0" fmla="*/ 0 h 332882"/>
                <a:gd name="connsiteX1" fmla="*/ 0 w 14623"/>
                <a:gd name="connsiteY1" fmla="*/ 7234 h 332882"/>
                <a:gd name="connsiteX2" fmla="*/ 0 w 14623"/>
                <a:gd name="connsiteY2" fmla="*/ 325649 h 332882"/>
                <a:gd name="connsiteX3" fmla="*/ 7369 w 14623"/>
                <a:gd name="connsiteY3" fmla="*/ 332882 h 332882"/>
                <a:gd name="connsiteX4" fmla="*/ 14604 w 14623"/>
                <a:gd name="connsiteY4" fmla="*/ 325649 h 332882"/>
                <a:gd name="connsiteX5" fmla="*/ 14604 w 14623"/>
                <a:gd name="connsiteY5" fmla="*/ 7770 h 332882"/>
                <a:gd name="connsiteX6" fmla="*/ 7918 w 14623"/>
                <a:gd name="connsiteY6" fmla="*/ 13 h 332882"/>
                <a:gd name="connsiteX7" fmla="*/ 7369 w 14623"/>
                <a:gd name="connsiteY7" fmla="*/ 0 h 33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23" h="332882">
                  <a:moveTo>
                    <a:pt x="7369" y="0"/>
                  </a:moveTo>
                  <a:cubicBezTo>
                    <a:pt x="3349" y="0"/>
                    <a:pt x="67" y="3215"/>
                    <a:pt x="0" y="7234"/>
                  </a:cubicBezTo>
                  <a:lnTo>
                    <a:pt x="0" y="325649"/>
                  </a:lnTo>
                  <a:cubicBezTo>
                    <a:pt x="67" y="329667"/>
                    <a:pt x="3349" y="332882"/>
                    <a:pt x="7369" y="332882"/>
                  </a:cubicBezTo>
                  <a:cubicBezTo>
                    <a:pt x="11362" y="332882"/>
                    <a:pt x="14604" y="329641"/>
                    <a:pt x="14604" y="325649"/>
                  </a:cubicBezTo>
                  <a:lnTo>
                    <a:pt x="14604" y="7770"/>
                  </a:lnTo>
                  <a:cubicBezTo>
                    <a:pt x="14898" y="3791"/>
                    <a:pt x="11911" y="322"/>
                    <a:pt x="7918" y="13"/>
                  </a:cubicBezTo>
                  <a:cubicBezTo>
                    <a:pt x="7744" y="0"/>
                    <a:pt x="7557" y="0"/>
                    <a:pt x="7369" y="0"/>
                  </a:cubicBezTo>
                  <a:close/>
                </a:path>
              </a:pathLst>
            </a:custGeom>
            <a:solidFill>
              <a:srgbClr val="000000"/>
            </a:solidFill>
            <a:ln w="12700" cap="flat">
              <a:noFill/>
              <a:prstDash val="solid"/>
              <a:miter/>
            </a:ln>
          </p:spPr>
          <p:txBody>
            <a:bodyPr rtlCol="0" anchor="ctr"/>
            <a:lstStyle/>
            <a:p>
              <a:endParaRPr lang="en-US"/>
            </a:p>
          </p:txBody>
        </p:sp>
        <p:sp>
          <p:nvSpPr>
            <p:cNvPr id="1524" name="Freeform: Shape 1523">
              <a:extLst>
                <a:ext uri="{FF2B5EF4-FFF2-40B4-BE49-F238E27FC236}">
                  <a16:creationId xmlns:a16="http://schemas.microsoft.com/office/drawing/2014/main" id="{33DDB783-E776-462A-98B7-D3D70DB577FA}"/>
                </a:ext>
              </a:extLst>
            </p:cNvPr>
            <p:cNvSpPr/>
            <p:nvPr/>
          </p:nvSpPr>
          <p:spPr>
            <a:xfrm>
              <a:off x="10595212" y="6440724"/>
              <a:ext cx="12057" cy="9243"/>
            </a:xfrm>
            <a:custGeom>
              <a:avLst/>
              <a:gdLst>
                <a:gd name="connsiteX0" fmla="*/ 7234 w 12057"/>
                <a:gd name="connsiteY0" fmla="*/ 9243 h 9243"/>
                <a:gd name="connsiteX1" fmla="*/ 12057 w 12057"/>
                <a:gd name="connsiteY1" fmla="*/ 7368 h 9243"/>
                <a:gd name="connsiteX2" fmla="*/ 7234 w 12057"/>
                <a:gd name="connsiteY2" fmla="*/ 7368 h 9243"/>
                <a:gd name="connsiteX3" fmla="*/ 0 w 12057"/>
                <a:gd name="connsiteY3" fmla="*/ 0 h 9243"/>
                <a:gd name="connsiteX4" fmla="*/ 0 w 12057"/>
                <a:gd name="connsiteY4" fmla="*/ 2009 h 9243"/>
                <a:gd name="connsiteX5" fmla="*/ 7234 w 12057"/>
                <a:gd name="connsiteY5" fmla="*/ 9243 h 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7" h="9243">
                  <a:moveTo>
                    <a:pt x="7234" y="9243"/>
                  </a:moveTo>
                  <a:cubicBezTo>
                    <a:pt x="9016" y="9203"/>
                    <a:pt x="10718" y="8533"/>
                    <a:pt x="12057" y="7368"/>
                  </a:cubicBezTo>
                  <a:lnTo>
                    <a:pt x="7234" y="7368"/>
                  </a:lnTo>
                  <a:cubicBezTo>
                    <a:pt x="3215" y="7301"/>
                    <a:pt x="0" y="4019"/>
                    <a:pt x="0" y="0"/>
                  </a:cubicBezTo>
                  <a:lnTo>
                    <a:pt x="0" y="2009"/>
                  </a:lnTo>
                  <a:cubicBezTo>
                    <a:pt x="67" y="5974"/>
                    <a:pt x="3269" y="9176"/>
                    <a:pt x="7234" y="9243"/>
                  </a:cubicBezTo>
                  <a:close/>
                </a:path>
              </a:pathLst>
            </a:custGeom>
            <a:solidFill>
              <a:srgbClr val="000000"/>
            </a:solidFill>
            <a:ln w="12700" cap="flat">
              <a:noFill/>
              <a:prstDash val="solid"/>
              <a:miter/>
            </a:ln>
          </p:spPr>
          <p:txBody>
            <a:bodyPr rtlCol="0" anchor="ctr"/>
            <a:lstStyle/>
            <a:p>
              <a:endParaRPr lang="en-US"/>
            </a:p>
          </p:txBody>
        </p:sp>
        <p:sp>
          <p:nvSpPr>
            <p:cNvPr id="1525" name="Freeform: Shape 1524">
              <a:extLst>
                <a:ext uri="{FF2B5EF4-FFF2-40B4-BE49-F238E27FC236}">
                  <a16:creationId xmlns:a16="http://schemas.microsoft.com/office/drawing/2014/main" id="{19DBAEF1-AE5B-446C-9BB0-2D3084A220AB}"/>
                </a:ext>
              </a:extLst>
            </p:cNvPr>
            <p:cNvSpPr/>
            <p:nvPr/>
          </p:nvSpPr>
          <p:spPr>
            <a:xfrm>
              <a:off x="10595212" y="5848714"/>
              <a:ext cx="14529" cy="592010"/>
            </a:xfrm>
            <a:custGeom>
              <a:avLst/>
              <a:gdLst>
                <a:gd name="connsiteX0" fmla="*/ 0 w 14529"/>
                <a:gd name="connsiteY0" fmla="*/ 6218 h 592010"/>
                <a:gd name="connsiteX1" fmla="*/ 0 w 14529"/>
                <a:gd name="connsiteY1" fmla="*/ 592011 h 592010"/>
                <a:gd name="connsiteX2" fmla="*/ 7234 w 14529"/>
                <a:gd name="connsiteY2" fmla="*/ 584777 h 592010"/>
                <a:gd name="connsiteX3" fmla="*/ 14470 w 14529"/>
                <a:gd name="connsiteY3" fmla="*/ 584777 h 592010"/>
                <a:gd name="connsiteX4" fmla="*/ 14470 w 14529"/>
                <a:gd name="connsiteY4" fmla="*/ 5816 h 592010"/>
                <a:gd name="connsiteX5" fmla="*/ 14470 w 14529"/>
                <a:gd name="connsiteY5" fmla="*/ 4343 h 592010"/>
                <a:gd name="connsiteX6" fmla="*/ 14470 w 14529"/>
                <a:gd name="connsiteY6" fmla="*/ 3003 h 592010"/>
                <a:gd name="connsiteX7" fmla="*/ 13666 w 14529"/>
                <a:gd name="connsiteY7" fmla="*/ 1932 h 592010"/>
                <a:gd name="connsiteX8" fmla="*/ 12862 w 14529"/>
                <a:gd name="connsiteY8" fmla="*/ 860 h 592010"/>
                <a:gd name="connsiteX9" fmla="*/ 11656 w 14529"/>
                <a:gd name="connsiteY9" fmla="*/ 56 h 592010"/>
                <a:gd name="connsiteX10" fmla="*/ 10317 w 14529"/>
                <a:gd name="connsiteY10" fmla="*/ 56 h 592010"/>
                <a:gd name="connsiteX11" fmla="*/ 8038 w 14529"/>
                <a:gd name="connsiteY11" fmla="*/ 56 h 592010"/>
                <a:gd name="connsiteX12" fmla="*/ 0 w 14529"/>
                <a:gd name="connsiteY12" fmla="*/ 6218 h 59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29" h="592010">
                  <a:moveTo>
                    <a:pt x="0" y="6218"/>
                  </a:moveTo>
                  <a:lnTo>
                    <a:pt x="0" y="592011"/>
                  </a:lnTo>
                  <a:cubicBezTo>
                    <a:pt x="0" y="588019"/>
                    <a:pt x="3242" y="584777"/>
                    <a:pt x="7234" y="584777"/>
                  </a:cubicBezTo>
                  <a:lnTo>
                    <a:pt x="14470" y="584777"/>
                  </a:lnTo>
                  <a:lnTo>
                    <a:pt x="14470" y="5816"/>
                  </a:lnTo>
                  <a:lnTo>
                    <a:pt x="14470" y="4343"/>
                  </a:lnTo>
                  <a:cubicBezTo>
                    <a:pt x="14550" y="3899"/>
                    <a:pt x="14550" y="3447"/>
                    <a:pt x="14470" y="3003"/>
                  </a:cubicBezTo>
                  <a:cubicBezTo>
                    <a:pt x="14282" y="2593"/>
                    <a:pt x="14000" y="2229"/>
                    <a:pt x="13666" y="1932"/>
                  </a:cubicBezTo>
                  <a:lnTo>
                    <a:pt x="12862" y="860"/>
                  </a:lnTo>
                  <a:lnTo>
                    <a:pt x="11656" y="56"/>
                  </a:lnTo>
                  <a:lnTo>
                    <a:pt x="10317" y="56"/>
                  </a:lnTo>
                  <a:cubicBezTo>
                    <a:pt x="9566" y="-19"/>
                    <a:pt x="8802" y="-19"/>
                    <a:pt x="8038" y="56"/>
                  </a:cubicBezTo>
                  <a:cubicBezTo>
                    <a:pt x="4126" y="-421"/>
                    <a:pt x="550" y="2319"/>
                    <a:pt x="0" y="6218"/>
                  </a:cubicBezTo>
                  <a:close/>
                </a:path>
              </a:pathLst>
            </a:custGeom>
            <a:solidFill>
              <a:srgbClr val="000000"/>
            </a:solidFill>
            <a:ln w="12700" cap="flat">
              <a:noFill/>
              <a:prstDash val="solid"/>
              <a:miter/>
            </a:ln>
          </p:spPr>
          <p:txBody>
            <a:bodyPr rtlCol="0" anchor="ctr"/>
            <a:lstStyle/>
            <a:p>
              <a:endParaRPr lang="en-US"/>
            </a:p>
          </p:txBody>
        </p:sp>
        <p:sp>
          <p:nvSpPr>
            <p:cNvPr id="1526" name="Freeform: Shape 1525">
              <a:extLst>
                <a:ext uri="{FF2B5EF4-FFF2-40B4-BE49-F238E27FC236}">
                  <a16:creationId xmlns:a16="http://schemas.microsoft.com/office/drawing/2014/main" id="{C06DC830-DCCC-4E4E-BDA1-E22C1BFBCF60}"/>
                </a:ext>
              </a:extLst>
            </p:cNvPr>
            <p:cNvSpPr/>
            <p:nvPr/>
          </p:nvSpPr>
          <p:spPr>
            <a:xfrm>
              <a:off x="12724517" y="6074887"/>
              <a:ext cx="133977" cy="14602"/>
            </a:xfrm>
            <a:custGeom>
              <a:avLst/>
              <a:gdLst>
                <a:gd name="connsiteX0" fmla="*/ 0 w 133977"/>
                <a:gd name="connsiteY0" fmla="*/ 1 h 14602"/>
                <a:gd name="connsiteX1" fmla="*/ 7369 w 133977"/>
                <a:gd name="connsiteY1" fmla="*/ 7100 h 14602"/>
                <a:gd name="connsiteX2" fmla="*/ 7369 w 133977"/>
                <a:gd name="connsiteY2" fmla="*/ 7235 h 14602"/>
                <a:gd name="connsiteX3" fmla="*/ 0 w 133977"/>
                <a:gd name="connsiteY3" fmla="*/ 14602 h 14602"/>
                <a:gd name="connsiteX4" fmla="*/ 133978 w 133977"/>
                <a:gd name="connsiteY4" fmla="*/ 14602 h 14602"/>
                <a:gd name="connsiteX5" fmla="*/ 133978 w 133977"/>
                <a:gd name="connsiteY5" fmla="*/ 1 h 14602"/>
                <a:gd name="connsiteX6" fmla="*/ 0 w 133977"/>
                <a:gd name="connsiteY6" fmla="*/ 1 h 1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77" h="14602">
                  <a:moveTo>
                    <a:pt x="0" y="1"/>
                  </a:moveTo>
                  <a:cubicBezTo>
                    <a:pt x="3992" y="-72"/>
                    <a:pt x="7288" y="3105"/>
                    <a:pt x="7369" y="7100"/>
                  </a:cubicBezTo>
                  <a:cubicBezTo>
                    <a:pt x="7369" y="7145"/>
                    <a:pt x="7369" y="7189"/>
                    <a:pt x="7369" y="7235"/>
                  </a:cubicBezTo>
                  <a:cubicBezTo>
                    <a:pt x="7369" y="11304"/>
                    <a:pt x="4073" y="14602"/>
                    <a:pt x="0" y="14602"/>
                  </a:cubicBezTo>
                  <a:lnTo>
                    <a:pt x="133978" y="14602"/>
                  </a:lnTo>
                  <a:lnTo>
                    <a:pt x="133978" y="1"/>
                  </a:lnTo>
                  <a:lnTo>
                    <a:pt x="0" y="1"/>
                  </a:lnTo>
                  <a:close/>
                </a:path>
              </a:pathLst>
            </a:custGeom>
            <a:solidFill>
              <a:srgbClr val="000000"/>
            </a:solidFill>
            <a:ln w="12700" cap="flat">
              <a:noFill/>
              <a:prstDash val="solid"/>
              <a:miter/>
            </a:ln>
          </p:spPr>
          <p:txBody>
            <a:bodyPr rtlCol="0" anchor="ctr"/>
            <a:lstStyle/>
            <a:p>
              <a:endParaRPr lang="en-US"/>
            </a:p>
          </p:txBody>
        </p:sp>
        <p:sp>
          <p:nvSpPr>
            <p:cNvPr id="1527" name="Freeform: Shape 1526">
              <a:extLst>
                <a:ext uri="{FF2B5EF4-FFF2-40B4-BE49-F238E27FC236}">
                  <a16:creationId xmlns:a16="http://schemas.microsoft.com/office/drawing/2014/main" id="{40DC0647-98E1-4D3A-B9F5-45AD0A3AD43D}"/>
                </a:ext>
              </a:extLst>
            </p:cNvPr>
            <p:cNvSpPr/>
            <p:nvPr/>
          </p:nvSpPr>
          <p:spPr>
            <a:xfrm>
              <a:off x="11307437" y="6479438"/>
              <a:ext cx="14603" cy="8305"/>
            </a:xfrm>
            <a:custGeom>
              <a:avLst/>
              <a:gdLst>
                <a:gd name="connsiteX0" fmla="*/ 7369 w 14603"/>
                <a:gd name="connsiteY0" fmla="*/ 8305 h 8305"/>
                <a:gd name="connsiteX1" fmla="*/ 14604 w 14603"/>
                <a:gd name="connsiteY1" fmla="*/ 1072 h 8305"/>
                <a:gd name="connsiteX2" fmla="*/ 14604 w 14603"/>
                <a:gd name="connsiteY2" fmla="*/ 0 h 8305"/>
                <a:gd name="connsiteX3" fmla="*/ 7369 w 14603"/>
                <a:gd name="connsiteY3" fmla="*/ 7367 h 8305"/>
                <a:gd name="connsiteX4" fmla="*/ 0 w 14603"/>
                <a:gd name="connsiteY4" fmla="*/ 0 h 8305"/>
                <a:gd name="connsiteX5" fmla="*/ 0 w 14603"/>
                <a:gd name="connsiteY5" fmla="*/ 1072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62" y="8305"/>
                    <a:pt x="14604" y="5063"/>
                    <a:pt x="14604" y="1072"/>
                  </a:cubicBezTo>
                  <a:lnTo>
                    <a:pt x="14604" y="0"/>
                  </a:lnTo>
                  <a:cubicBezTo>
                    <a:pt x="14604" y="4019"/>
                    <a:pt x="11389" y="7301"/>
                    <a:pt x="7369" y="7367"/>
                  </a:cubicBezTo>
                  <a:cubicBezTo>
                    <a:pt x="3296" y="7367"/>
                    <a:pt x="0" y="4072"/>
                    <a:pt x="0" y="0"/>
                  </a:cubicBezTo>
                  <a:lnTo>
                    <a:pt x="0" y="1072"/>
                  </a:lnTo>
                  <a:cubicBezTo>
                    <a:pt x="67" y="5090"/>
                    <a:pt x="3349" y="8305"/>
                    <a:pt x="7369" y="8305"/>
                  </a:cubicBezTo>
                  <a:close/>
                </a:path>
              </a:pathLst>
            </a:custGeom>
            <a:solidFill>
              <a:srgbClr val="000000"/>
            </a:solidFill>
            <a:ln w="12700" cap="flat">
              <a:noFill/>
              <a:prstDash val="solid"/>
              <a:miter/>
            </a:ln>
          </p:spPr>
          <p:txBody>
            <a:bodyPr rtlCol="0" anchor="ctr"/>
            <a:lstStyle/>
            <a:p>
              <a:endParaRPr lang="en-US"/>
            </a:p>
          </p:txBody>
        </p:sp>
        <p:sp>
          <p:nvSpPr>
            <p:cNvPr id="1528" name="Freeform: Shape 1527">
              <a:extLst>
                <a:ext uri="{FF2B5EF4-FFF2-40B4-BE49-F238E27FC236}">
                  <a16:creationId xmlns:a16="http://schemas.microsoft.com/office/drawing/2014/main" id="{811124BC-AF2A-42C1-A2AD-DDBA09F0B751}"/>
                </a:ext>
              </a:extLst>
            </p:cNvPr>
            <p:cNvSpPr/>
            <p:nvPr/>
          </p:nvSpPr>
          <p:spPr>
            <a:xfrm>
              <a:off x="11307705" y="6390913"/>
              <a:ext cx="14603" cy="95892"/>
            </a:xfrm>
            <a:custGeom>
              <a:avLst/>
              <a:gdLst>
                <a:gd name="connsiteX0" fmla="*/ 0 w 14603"/>
                <a:gd name="connsiteY0" fmla="*/ 5873 h 95892"/>
                <a:gd name="connsiteX1" fmla="*/ 0 w 14603"/>
                <a:gd name="connsiteY1" fmla="*/ 6945 h 95892"/>
                <a:gd name="connsiteX2" fmla="*/ 0 w 14603"/>
                <a:gd name="connsiteY2" fmla="*/ 88525 h 95892"/>
                <a:gd name="connsiteX3" fmla="*/ 7369 w 14603"/>
                <a:gd name="connsiteY3" fmla="*/ 95892 h 95892"/>
                <a:gd name="connsiteX4" fmla="*/ 14604 w 14603"/>
                <a:gd name="connsiteY4" fmla="*/ 88525 h 95892"/>
                <a:gd name="connsiteX5" fmla="*/ 14604 w 14603"/>
                <a:gd name="connsiteY5" fmla="*/ 6945 h 95892"/>
                <a:gd name="connsiteX6" fmla="*/ 7087 w 14603"/>
                <a:gd name="connsiteY6" fmla="*/ 6 h 95892"/>
                <a:gd name="connsiteX7" fmla="*/ 268 w 14603"/>
                <a:gd name="connsiteY7" fmla="*/ 5873 h 9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95892">
                  <a:moveTo>
                    <a:pt x="0" y="5873"/>
                  </a:moveTo>
                  <a:cubicBezTo>
                    <a:pt x="0" y="5873"/>
                    <a:pt x="0" y="6543"/>
                    <a:pt x="0" y="6945"/>
                  </a:cubicBezTo>
                  <a:lnTo>
                    <a:pt x="0" y="88525"/>
                  </a:lnTo>
                  <a:cubicBezTo>
                    <a:pt x="0" y="92597"/>
                    <a:pt x="3295" y="95892"/>
                    <a:pt x="7369" y="95892"/>
                  </a:cubicBezTo>
                  <a:cubicBezTo>
                    <a:pt x="11388" y="95825"/>
                    <a:pt x="14604" y="92543"/>
                    <a:pt x="14604" y="88525"/>
                  </a:cubicBezTo>
                  <a:lnTo>
                    <a:pt x="14604" y="6945"/>
                  </a:lnTo>
                  <a:cubicBezTo>
                    <a:pt x="14443" y="2953"/>
                    <a:pt x="11080" y="-155"/>
                    <a:pt x="7087" y="6"/>
                  </a:cubicBezTo>
                  <a:cubicBezTo>
                    <a:pt x="3725" y="140"/>
                    <a:pt x="898" y="2564"/>
                    <a:pt x="268" y="5873"/>
                  </a:cubicBezTo>
                  <a:close/>
                </a:path>
              </a:pathLst>
            </a:custGeom>
            <a:solidFill>
              <a:srgbClr val="000000"/>
            </a:solidFill>
            <a:ln w="12700" cap="flat">
              <a:noFill/>
              <a:prstDash val="solid"/>
              <a:miter/>
            </a:ln>
          </p:spPr>
          <p:txBody>
            <a:bodyPr rtlCol="0" anchor="ctr"/>
            <a:lstStyle/>
            <a:p>
              <a:endParaRPr lang="en-US"/>
            </a:p>
          </p:txBody>
        </p:sp>
        <p:sp>
          <p:nvSpPr>
            <p:cNvPr id="1529" name="Freeform: Shape 1528">
              <a:extLst>
                <a:ext uri="{FF2B5EF4-FFF2-40B4-BE49-F238E27FC236}">
                  <a16:creationId xmlns:a16="http://schemas.microsoft.com/office/drawing/2014/main" id="{90C2D359-D219-482B-A59E-2C9119D25E5E}"/>
                </a:ext>
              </a:extLst>
            </p:cNvPr>
            <p:cNvSpPr/>
            <p:nvPr/>
          </p:nvSpPr>
          <p:spPr>
            <a:xfrm>
              <a:off x="10036124" y="6480510"/>
              <a:ext cx="14603" cy="7903"/>
            </a:xfrm>
            <a:custGeom>
              <a:avLst/>
              <a:gdLst>
                <a:gd name="connsiteX0" fmla="*/ 7234 w 14603"/>
                <a:gd name="connsiteY0" fmla="*/ 7234 h 7903"/>
                <a:gd name="connsiteX1" fmla="*/ 0 w 14603"/>
                <a:gd name="connsiteY1" fmla="*/ 0 h 7903"/>
                <a:gd name="connsiteX2" fmla="*/ 0 w 14603"/>
                <a:gd name="connsiteY2" fmla="*/ 670 h 7903"/>
                <a:gd name="connsiteX3" fmla="*/ 7234 w 14603"/>
                <a:gd name="connsiteY3" fmla="*/ 7903 h 7903"/>
                <a:gd name="connsiteX4" fmla="*/ 14603 w 14603"/>
                <a:gd name="connsiteY4" fmla="*/ 670 h 7903"/>
                <a:gd name="connsiteX5" fmla="*/ 14603 w 14603"/>
                <a:gd name="connsiteY5" fmla="*/ 0 h 7903"/>
                <a:gd name="connsiteX6" fmla="*/ 7234 w 14603"/>
                <a:gd name="connsiteY6" fmla="*/ 7234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903">
                  <a:moveTo>
                    <a:pt x="7234" y="7234"/>
                  </a:moveTo>
                  <a:cubicBezTo>
                    <a:pt x="3241" y="7234"/>
                    <a:pt x="0" y="3992"/>
                    <a:pt x="0" y="0"/>
                  </a:cubicBezTo>
                  <a:lnTo>
                    <a:pt x="0" y="670"/>
                  </a:lnTo>
                  <a:cubicBezTo>
                    <a:pt x="0" y="4662"/>
                    <a:pt x="3241" y="7903"/>
                    <a:pt x="7234" y="7903"/>
                  </a:cubicBezTo>
                  <a:cubicBezTo>
                    <a:pt x="11254" y="7903"/>
                    <a:pt x="14536" y="4688"/>
                    <a:pt x="14603" y="670"/>
                  </a:cubicBezTo>
                  <a:lnTo>
                    <a:pt x="14603" y="0"/>
                  </a:lnTo>
                  <a:cubicBezTo>
                    <a:pt x="14536" y="4019"/>
                    <a:pt x="11254" y="7234"/>
                    <a:pt x="7234" y="7234"/>
                  </a:cubicBezTo>
                  <a:close/>
                </a:path>
              </a:pathLst>
            </a:custGeom>
            <a:solidFill>
              <a:srgbClr val="000000"/>
            </a:solidFill>
            <a:ln w="12700" cap="flat">
              <a:noFill/>
              <a:prstDash val="solid"/>
              <a:miter/>
            </a:ln>
          </p:spPr>
          <p:txBody>
            <a:bodyPr rtlCol="0" anchor="ctr"/>
            <a:lstStyle/>
            <a:p>
              <a:endParaRPr lang="en-US"/>
            </a:p>
          </p:txBody>
        </p:sp>
        <p:sp>
          <p:nvSpPr>
            <p:cNvPr id="1530" name="Freeform: Shape 1529">
              <a:extLst>
                <a:ext uri="{FF2B5EF4-FFF2-40B4-BE49-F238E27FC236}">
                  <a16:creationId xmlns:a16="http://schemas.microsoft.com/office/drawing/2014/main" id="{F4CDBFCC-01B9-4197-BF0C-1AD8FB9FAB24}"/>
                </a:ext>
              </a:extLst>
            </p:cNvPr>
            <p:cNvSpPr/>
            <p:nvPr/>
          </p:nvSpPr>
          <p:spPr>
            <a:xfrm>
              <a:off x="12683789" y="6074887"/>
              <a:ext cx="47561" cy="14602"/>
            </a:xfrm>
            <a:custGeom>
              <a:avLst/>
              <a:gdLst>
                <a:gd name="connsiteX0" fmla="*/ 1339 w 47561"/>
                <a:gd name="connsiteY0" fmla="*/ 1 h 14602"/>
                <a:gd name="connsiteX1" fmla="*/ 0 w 47561"/>
                <a:gd name="connsiteY1" fmla="*/ 1 h 14602"/>
                <a:gd name="connsiteX2" fmla="*/ 7234 w 47561"/>
                <a:gd name="connsiteY2" fmla="*/ 7235 h 14602"/>
                <a:gd name="connsiteX3" fmla="*/ 0 w 47561"/>
                <a:gd name="connsiteY3" fmla="*/ 14603 h 14602"/>
                <a:gd name="connsiteX4" fmla="*/ 40193 w 47561"/>
                <a:gd name="connsiteY4" fmla="*/ 14603 h 14602"/>
                <a:gd name="connsiteX5" fmla="*/ 47562 w 47561"/>
                <a:gd name="connsiteY5" fmla="*/ 7235 h 14602"/>
                <a:gd name="connsiteX6" fmla="*/ 40327 w 47561"/>
                <a:gd name="connsiteY6" fmla="*/ 0 h 14602"/>
                <a:gd name="connsiteX7" fmla="*/ 40193 w 47561"/>
                <a:gd name="connsiteY7" fmla="*/ 1 h 14602"/>
                <a:gd name="connsiteX8" fmla="*/ 804 w 47561"/>
                <a:gd name="connsiteY8" fmla="*/ 1 h 1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61" h="14602">
                  <a:moveTo>
                    <a:pt x="1339" y="1"/>
                  </a:moveTo>
                  <a:lnTo>
                    <a:pt x="0" y="1"/>
                  </a:lnTo>
                  <a:cubicBezTo>
                    <a:pt x="3992" y="1"/>
                    <a:pt x="7234" y="3240"/>
                    <a:pt x="7234" y="7235"/>
                  </a:cubicBezTo>
                  <a:cubicBezTo>
                    <a:pt x="7234" y="11252"/>
                    <a:pt x="4019" y="14529"/>
                    <a:pt x="0" y="14603"/>
                  </a:cubicBezTo>
                  <a:lnTo>
                    <a:pt x="40193" y="14603"/>
                  </a:lnTo>
                  <a:cubicBezTo>
                    <a:pt x="44266" y="14603"/>
                    <a:pt x="47562" y="11305"/>
                    <a:pt x="47562" y="7235"/>
                  </a:cubicBezTo>
                  <a:cubicBezTo>
                    <a:pt x="47562" y="3240"/>
                    <a:pt x="44320" y="1"/>
                    <a:pt x="40327" y="0"/>
                  </a:cubicBezTo>
                  <a:cubicBezTo>
                    <a:pt x="40286" y="0"/>
                    <a:pt x="40233" y="0"/>
                    <a:pt x="40193" y="1"/>
                  </a:cubicBezTo>
                  <a:lnTo>
                    <a:pt x="804" y="1"/>
                  </a:lnTo>
                  <a:close/>
                </a:path>
              </a:pathLst>
            </a:custGeom>
            <a:solidFill>
              <a:srgbClr val="000000"/>
            </a:solidFill>
            <a:ln w="12700" cap="flat">
              <a:noFill/>
              <a:prstDash val="solid"/>
              <a:miter/>
            </a:ln>
          </p:spPr>
          <p:txBody>
            <a:bodyPr rtlCol="0" anchor="ctr"/>
            <a:lstStyle/>
            <a:p>
              <a:endParaRPr lang="en-US"/>
            </a:p>
          </p:txBody>
        </p:sp>
        <p:sp>
          <p:nvSpPr>
            <p:cNvPr id="1531" name="Freeform: Shape 1530">
              <a:extLst>
                <a:ext uri="{FF2B5EF4-FFF2-40B4-BE49-F238E27FC236}">
                  <a16:creationId xmlns:a16="http://schemas.microsoft.com/office/drawing/2014/main" id="{36B5908D-0207-4E4E-8708-E7E63F753DA4}"/>
                </a:ext>
              </a:extLst>
            </p:cNvPr>
            <p:cNvSpPr/>
            <p:nvPr/>
          </p:nvSpPr>
          <p:spPr>
            <a:xfrm>
              <a:off x="10036124" y="6479438"/>
              <a:ext cx="14603" cy="8305"/>
            </a:xfrm>
            <a:custGeom>
              <a:avLst/>
              <a:gdLst>
                <a:gd name="connsiteX0" fmla="*/ 7234 w 14603"/>
                <a:gd name="connsiteY0" fmla="*/ 8305 h 8305"/>
                <a:gd name="connsiteX1" fmla="*/ 14603 w 14603"/>
                <a:gd name="connsiteY1" fmla="*/ 1072 h 8305"/>
                <a:gd name="connsiteX2" fmla="*/ 14603 w 14603"/>
                <a:gd name="connsiteY2" fmla="*/ 0 h 8305"/>
                <a:gd name="connsiteX3" fmla="*/ 7234 w 14603"/>
                <a:gd name="connsiteY3" fmla="*/ 7367 h 8305"/>
                <a:gd name="connsiteX4" fmla="*/ 0 w 14603"/>
                <a:gd name="connsiteY4" fmla="*/ 0 h 8305"/>
                <a:gd name="connsiteX5" fmla="*/ 0 w 14603"/>
                <a:gd name="connsiteY5" fmla="*/ 1072 h 8305"/>
                <a:gd name="connsiteX6" fmla="*/ 7234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234" y="8305"/>
                  </a:moveTo>
                  <a:cubicBezTo>
                    <a:pt x="11254" y="8305"/>
                    <a:pt x="14536" y="5090"/>
                    <a:pt x="14603" y="1072"/>
                  </a:cubicBezTo>
                  <a:lnTo>
                    <a:pt x="14603" y="0"/>
                  </a:lnTo>
                  <a:cubicBezTo>
                    <a:pt x="14603" y="4072"/>
                    <a:pt x="11308" y="7367"/>
                    <a:pt x="7234" y="7367"/>
                  </a:cubicBezTo>
                  <a:cubicBezTo>
                    <a:pt x="3215" y="7301"/>
                    <a:pt x="0" y="4019"/>
                    <a:pt x="0" y="0"/>
                  </a:cubicBezTo>
                  <a:lnTo>
                    <a:pt x="0" y="1072"/>
                  </a:lnTo>
                  <a:cubicBezTo>
                    <a:pt x="0" y="5063"/>
                    <a:pt x="3241" y="8305"/>
                    <a:pt x="7234" y="8305"/>
                  </a:cubicBezTo>
                  <a:close/>
                </a:path>
              </a:pathLst>
            </a:custGeom>
            <a:solidFill>
              <a:srgbClr val="000000"/>
            </a:solidFill>
            <a:ln w="12700" cap="flat">
              <a:noFill/>
              <a:prstDash val="solid"/>
              <a:miter/>
            </a:ln>
          </p:spPr>
          <p:txBody>
            <a:bodyPr rtlCol="0" anchor="ctr"/>
            <a:lstStyle/>
            <a:p>
              <a:endParaRPr lang="en-US"/>
            </a:p>
          </p:txBody>
        </p:sp>
        <p:sp>
          <p:nvSpPr>
            <p:cNvPr id="1532" name="Freeform: Shape 1531">
              <a:extLst>
                <a:ext uri="{FF2B5EF4-FFF2-40B4-BE49-F238E27FC236}">
                  <a16:creationId xmlns:a16="http://schemas.microsoft.com/office/drawing/2014/main" id="{38E4894C-6994-4795-8BB3-23921A8030D8}"/>
                </a:ext>
              </a:extLst>
            </p:cNvPr>
            <p:cNvSpPr/>
            <p:nvPr/>
          </p:nvSpPr>
          <p:spPr>
            <a:xfrm>
              <a:off x="10036124" y="5830552"/>
              <a:ext cx="14603" cy="656253"/>
            </a:xfrm>
            <a:custGeom>
              <a:avLst/>
              <a:gdLst>
                <a:gd name="connsiteX0" fmla="*/ 0 w 14603"/>
                <a:gd name="connsiteY0" fmla="*/ 648886 h 656253"/>
                <a:gd name="connsiteX1" fmla="*/ 7234 w 14603"/>
                <a:gd name="connsiteY1" fmla="*/ 656254 h 656253"/>
                <a:gd name="connsiteX2" fmla="*/ 14603 w 14603"/>
                <a:gd name="connsiteY2" fmla="*/ 648886 h 656253"/>
                <a:gd name="connsiteX3" fmla="*/ 14603 w 14603"/>
                <a:gd name="connsiteY3" fmla="*/ 7234 h 656253"/>
                <a:gd name="connsiteX4" fmla="*/ 7234 w 14603"/>
                <a:gd name="connsiteY4" fmla="*/ 0 h 656253"/>
                <a:gd name="connsiteX5" fmla="*/ 0 w 14603"/>
                <a:gd name="connsiteY5" fmla="*/ 7234 h 656253"/>
                <a:gd name="connsiteX6" fmla="*/ 0 w 14603"/>
                <a:gd name="connsiteY6" fmla="*/ 648886 h 65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6253">
                  <a:moveTo>
                    <a:pt x="0" y="648886"/>
                  </a:moveTo>
                  <a:cubicBezTo>
                    <a:pt x="0" y="652905"/>
                    <a:pt x="3215" y="656187"/>
                    <a:pt x="7234" y="656254"/>
                  </a:cubicBezTo>
                  <a:cubicBezTo>
                    <a:pt x="11308" y="656254"/>
                    <a:pt x="14603" y="652959"/>
                    <a:pt x="14603" y="648886"/>
                  </a:cubicBezTo>
                  <a:lnTo>
                    <a:pt x="14603" y="7234"/>
                  </a:lnTo>
                  <a:cubicBezTo>
                    <a:pt x="14536" y="3218"/>
                    <a:pt x="11254" y="-1"/>
                    <a:pt x="7234" y="0"/>
                  </a:cubicBezTo>
                  <a:cubicBezTo>
                    <a:pt x="3241" y="0"/>
                    <a:pt x="0" y="3239"/>
                    <a:pt x="0" y="7234"/>
                  </a:cubicBezTo>
                  <a:lnTo>
                    <a:pt x="0" y="648886"/>
                  </a:lnTo>
                  <a:close/>
                </a:path>
              </a:pathLst>
            </a:custGeom>
            <a:solidFill>
              <a:srgbClr val="000000"/>
            </a:solidFill>
            <a:ln w="12700" cap="flat">
              <a:noFill/>
              <a:prstDash val="solid"/>
              <a:miter/>
            </a:ln>
          </p:spPr>
          <p:txBody>
            <a:bodyPr rtlCol="0" anchor="ctr"/>
            <a:lstStyle/>
            <a:p>
              <a:endParaRPr lang="en-US"/>
            </a:p>
          </p:txBody>
        </p:sp>
        <p:sp>
          <p:nvSpPr>
            <p:cNvPr id="1533" name="Freeform: Shape 1532">
              <a:extLst>
                <a:ext uri="{FF2B5EF4-FFF2-40B4-BE49-F238E27FC236}">
                  <a16:creationId xmlns:a16="http://schemas.microsoft.com/office/drawing/2014/main" id="{66480E1B-DD2F-425F-AE66-6D29A3088A99}"/>
                </a:ext>
              </a:extLst>
            </p:cNvPr>
            <p:cNvSpPr/>
            <p:nvPr/>
          </p:nvSpPr>
          <p:spPr>
            <a:xfrm>
              <a:off x="12680439" y="6074889"/>
              <a:ext cx="10583" cy="14601"/>
            </a:xfrm>
            <a:custGeom>
              <a:avLst/>
              <a:gdLst>
                <a:gd name="connsiteX0" fmla="*/ 10584 w 10583"/>
                <a:gd name="connsiteY0" fmla="*/ 7234 h 14601"/>
                <a:gd name="connsiteX1" fmla="*/ 3349 w 10583"/>
                <a:gd name="connsiteY1" fmla="*/ 0 h 14601"/>
                <a:gd name="connsiteX2" fmla="*/ 0 w 10583"/>
                <a:gd name="connsiteY2" fmla="*/ 0 h 14601"/>
                <a:gd name="connsiteX3" fmla="*/ 7234 w 10583"/>
                <a:gd name="connsiteY3" fmla="*/ 7234 h 14601"/>
                <a:gd name="connsiteX4" fmla="*/ 0 w 10583"/>
                <a:gd name="connsiteY4" fmla="*/ 14601 h 14601"/>
                <a:gd name="connsiteX5" fmla="*/ 3349 w 10583"/>
                <a:gd name="connsiteY5" fmla="*/ 14601 h 14601"/>
                <a:gd name="connsiteX6" fmla="*/ 10584 w 10583"/>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3" h="14601">
                  <a:moveTo>
                    <a:pt x="10584" y="7234"/>
                  </a:moveTo>
                  <a:cubicBezTo>
                    <a:pt x="10584" y="3239"/>
                    <a:pt x="7342" y="0"/>
                    <a:pt x="3349" y="0"/>
                  </a:cubicBezTo>
                  <a:lnTo>
                    <a:pt x="0" y="0"/>
                  </a:lnTo>
                  <a:cubicBezTo>
                    <a:pt x="3992" y="0"/>
                    <a:pt x="7234" y="3239"/>
                    <a:pt x="7234" y="7234"/>
                  </a:cubicBezTo>
                  <a:cubicBezTo>
                    <a:pt x="7234" y="11251"/>
                    <a:pt x="4019" y="14528"/>
                    <a:pt x="0" y="14601"/>
                  </a:cubicBezTo>
                  <a:lnTo>
                    <a:pt x="3349" y="14601"/>
                  </a:lnTo>
                  <a:cubicBezTo>
                    <a:pt x="7369" y="14528"/>
                    <a:pt x="10584" y="11251"/>
                    <a:pt x="10584" y="7234"/>
                  </a:cubicBezTo>
                  <a:close/>
                </a:path>
              </a:pathLst>
            </a:custGeom>
            <a:solidFill>
              <a:srgbClr val="000000"/>
            </a:solidFill>
            <a:ln w="12700" cap="flat">
              <a:noFill/>
              <a:prstDash val="solid"/>
              <a:miter/>
            </a:ln>
          </p:spPr>
          <p:txBody>
            <a:bodyPr rtlCol="0" anchor="ctr"/>
            <a:lstStyle/>
            <a:p>
              <a:endParaRPr lang="en-US"/>
            </a:p>
          </p:txBody>
        </p:sp>
        <p:sp>
          <p:nvSpPr>
            <p:cNvPr id="1534" name="Freeform: Shape 1533">
              <a:extLst>
                <a:ext uri="{FF2B5EF4-FFF2-40B4-BE49-F238E27FC236}">
                  <a16:creationId xmlns:a16="http://schemas.microsoft.com/office/drawing/2014/main" id="{CB6A7CFD-6344-4FDD-B0D0-28FFA0A0C68A}"/>
                </a:ext>
              </a:extLst>
            </p:cNvPr>
            <p:cNvSpPr/>
            <p:nvPr/>
          </p:nvSpPr>
          <p:spPr>
            <a:xfrm>
              <a:off x="12665075" y="6074889"/>
              <a:ext cx="22598" cy="13395"/>
            </a:xfrm>
            <a:custGeom>
              <a:avLst/>
              <a:gdLst>
                <a:gd name="connsiteX0" fmla="*/ 22599 w 22598"/>
                <a:gd name="connsiteY0" fmla="*/ 7234 h 13395"/>
                <a:gd name="connsiteX1" fmla="*/ 15364 w 22598"/>
                <a:gd name="connsiteY1" fmla="*/ 0 h 13395"/>
                <a:gd name="connsiteX2" fmla="*/ 6924 w 22598"/>
                <a:gd name="connsiteY2" fmla="*/ 0 h 13395"/>
                <a:gd name="connsiteX3" fmla="*/ 5852 w 22598"/>
                <a:gd name="connsiteY3" fmla="*/ 0 h 13395"/>
                <a:gd name="connsiteX4" fmla="*/ 4378 w 22598"/>
                <a:gd name="connsiteY4" fmla="*/ 0 h 13395"/>
                <a:gd name="connsiteX5" fmla="*/ 3172 w 22598"/>
                <a:gd name="connsiteY5" fmla="*/ 0 h 13395"/>
                <a:gd name="connsiteX6" fmla="*/ 1967 w 22598"/>
                <a:gd name="connsiteY6" fmla="*/ 804 h 13395"/>
                <a:gd name="connsiteX7" fmla="*/ 1029 w 22598"/>
                <a:gd name="connsiteY7" fmla="*/ 2009 h 13395"/>
                <a:gd name="connsiteX8" fmla="*/ 91 w 22598"/>
                <a:gd name="connsiteY8" fmla="*/ 4019 h 13395"/>
                <a:gd name="connsiteX9" fmla="*/ 91 w 22598"/>
                <a:gd name="connsiteY9" fmla="*/ 6028 h 13395"/>
                <a:gd name="connsiteX10" fmla="*/ 7325 w 22598"/>
                <a:gd name="connsiteY10" fmla="*/ 13396 h 13395"/>
                <a:gd name="connsiteX11" fmla="*/ 15766 w 22598"/>
                <a:gd name="connsiteY11" fmla="*/ 13396 h 13395"/>
                <a:gd name="connsiteX12" fmla="*/ 22599 w 22598"/>
                <a:gd name="connsiteY12" fmla="*/ 7234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98" h="13395">
                  <a:moveTo>
                    <a:pt x="22599" y="7234"/>
                  </a:moveTo>
                  <a:cubicBezTo>
                    <a:pt x="22599" y="3239"/>
                    <a:pt x="19357" y="0"/>
                    <a:pt x="15364" y="0"/>
                  </a:cubicBezTo>
                  <a:lnTo>
                    <a:pt x="6924" y="0"/>
                  </a:lnTo>
                  <a:lnTo>
                    <a:pt x="5852" y="0"/>
                  </a:lnTo>
                  <a:lnTo>
                    <a:pt x="4378" y="0"/>
                  </a:lnTo>
                  <a:lnTo>
                    <a:pt x="3172" y="0"/>
                  </a:lnTo>
                  <a:cubicBezTo>
                    <a:pt x="2743" y="221"/>
                    <a:pt x="2341" y="490"/>
                    <a:pt x="1967" y="804"/>
                  </a:cubicBezTo>
                  <a:lnTo>
                    <a:pt x="1029" y="2009"/>
                  </a:lnTo>
                  <a:cubicBezTo>
                    <a:pt x="559" y="2595"/>
                    <a:pt x="238" y="3283"/>
                    <a:pt x="91" y="4019"/>
                  </a:cubicBezTo>
                  <a:cubicBezTo>
                    <a:pt x="-30" y="4683"/>
                    <a:pt x="-30" y="5365"/>
                    <a:pt x="91" y="6028"/>
                  </a:cubicBezTo>
                  <a:cubicBezTo>
                    <a:pt x="91" y="10045"/>
                    <a:pt x="3306" y="13323"/>
                    <a:pt x="7325" y="13396"/>
                  </a:cubicBezTo>
                  <a:lnTo>
                    <a:pt x="15766" y="13396"/>
                  </a:lnTo>
                  <a:cubicBezTo>
                    <a:pt x="19209" y="13191"/>
                    <a:pt x="22036" y="10632"/>
                    <a:pt x="22599" y="7234"/>
                  </a:cubicBezTo>
                  <a:close/>
                </a:path>
              </a:pathLst>
            </a:custGeom>
            <a:solidFill>
              <a:srgbClr val="000000"/>
            </a:solidFill>
            <a:ln w="12700" cap="flat">
              <a:noFill/>
              <a:prstDash val="solid"/>
              <a:miter/>
            </a:ln>
          </p:spPr>
          <p:txBody>
            <a:bodyPr rtlCol="0" anchor="ctr"/>
            <a:lstStyle/>
            <a:p>
              <a:endParaRPr lang="en-US"/>
            </a:p>
          </p:txBody>
        </p:sp>
        <p:sp>
          <p:nvSpPr>
            <p:cNvPr id="1535" name="Freeform: Shape 1534">
              <a:extLst>
                <a:ext uri="{FF2B5EF4-FFF2-40B4-BE49-F238E27FC236}">
                  <a16:creationId xmlns:a16="http://schemas.microsoft.com/office/drawing/2014/main" id="{99E4DD64-D9CF-472D-9B06-5E557C0B60F5}"/>
                </a:ext>
              </a:extLst>
            </p:cNvPr>
            <p:cNvSpPr/>
            <p:nvPr/>
          </p:nvSpPr>
          <p:spPr>
            <a:xfrm>
              <a:off x="10595212" y="6433491"/>
              <a:ext cx="103430" cy="14601"/>
            </a:xfrm>
            <a:custGeom>
              <a:avLst/>
              <a:gdLst>
                <a:gd name="connsiteX0" fmla="*/ 0 w 103430"/>
                <a:gd name="connsiteY0" fmla="*/ 7234 h 14601"/>
                <a:gd name="connsiteX1" fmla="*/ 7234 w 103430"/>
                <a:gd name="connsiteY1" fmla="*/ 14601 h 14601"/>
                <a:gd name="connsiteX2" fmla="*/ 96196 w 103430"/>
                <a:gd name="connsiteY2" fmla="*/ 14601 h 14601"/>
                <a:gd name="connsiteX3" fmla="*/ 103430 w 103430"/>
                <a:gd name="connsiteY3" fmla="*/ 7234 h 14601"/>
                <a:gd name="connsiteX4" fmla="*/ 96196 w 103430"/>
                <a:gd name="connsiteY4" fmla="*/ 0 h 14601"/>
                <a:gd name="connsiteX5" fmla="*/ 6833 w 103430"/>
                <a:gd name="connsiteY5" fmla="*/ 0 h 14601"/>
                <a:gd name="connsiteX6" fmla="*/ 0 w 103430"/>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430" h="14601">
                  <a:moveTo>
                    <a:pt x="0" y="7234"/>
                  </a:moveTo>
                  <a:cubicBezTo>
                    <a:pt x="0" y="11252"/>
                    <a:pt x="3215" y="14534"/>
                    <a:pt x="7234" y="14601"/>
                  </a:cubicBezTo>
                  <a:lnTo>
                    <a:pt x="96196" y="14601"/>
                  </a:lnTo>
                  <a:cubicBezTo>
                    <a:pt x="100215" y="14534"/>
                    <a:pt x="103430" y="11252"/>
                    <a:pt x="103430" y="7234"/>
                  </a:cubicBezTo>
                  <a:cubicBezTo>
                    <a:pt x="103430" y="3242"/>
                    <a:pt x="100188" y="0"/>
                    <a:pt x="96196" y="0"/>
                  </a:cubicBezTo>
                  <a:lnTo>
                    <a:pt x="6833" y="0"/>
                  </a:lnTo>
                  <a:cubicBezTo>
                    <a:pt x="3001" y="214"/>
                    <a:pt x="0" y="3389"/>
                    <a:pt x="0" y="7234"/>
                  </a:cubicBezTo>
                  <a:close/>
                </a:path>
              </a:pathLst>
            </a:custGeom>
            <a:solidFill>
              <a:srgbClr val="000000"/>
            </a:solidFill>
            <a:ln w="12700" cap="flat">
              <a:noFill/>
              <a:prstDash val="solid"/>
              <a:miter/>
            </a:ln>
          </p:spPr>
          <p:txBody>
            <a:bodyPr rtlCol="0" anchor="ctr"/>
            <a:lstStyle/>
            <a:p>
              <a:endParaRPr lang="en-US"/>
            </a:p>
          </p:txBody>
        </p:sp>
        <p:sp>
          <p:nvSpPr>
            <p:cNvPr id="1536" name="Freeform: Shape 1535">
              <a:extLst>
                <a:ext uri="{FF2B5EF4-FFF2-40B4-BE49-F238E27FC236}">
                  <a16:creationId xmlns:a16="http://schemas.microsoft.com/office/drawing/2014/main" id="{47B15547-AA83-4940-8474-C2F8D522FA07}"/>
                </a:ext>
              </a:extLst>
            </p:cNvPr>
            <p:cNvSpPr/>
            <p:nvPr/>
          </p:nvSpPr>
          <p:spPr>
            <a:xfrm>
              <a:off x="9910855" y="6481702"/>
              <a:ext cx="2545" cy="372547"/>
            </a:xfrm>
            <a:custGeom>
              <a:avLst/>
              <a:gdLst>
                <a:gd name="connsiteX0" fmla="*/ 2546 w 2545"/>
                <a:gd name="connsiteY0" fmla="*/ 7783 h 372547"/>
                <a:gd name="connsiteX1" fmla="*/ 2546 w 2545"/>
                <a:gd name="connsiteY1" fmla="*/ 1219 h 372547"/>
                <a:gd name="connsiteX2" fmla="*/ 1353 w 2545"/>
                <a:gd name="connsiteY2" fmla="*/ 0 h 372547"/>
                <a:gd name="connsiteX3" fmla="*/ 1206 w 2545"/>
                <a:gd name="connsiteY3" fmla="*/ 13 h 372547"/>
                <a:gd name="connsiteX4" fmla="*/ 0 w 2545"/>
                <a:gd name="connsiteY4" fmla="*/ 1219 h 372547"/>
                <a:gd name="connsiteX5" fmla="*/ 0 w 2545"/>
                <a:gd name="connsiteY5" fmla="*/ 8319 h 372547"/>
                <a:gd name="connsiteX6" fmla="*/ 0 w 2545"/>
                <a:gd name="connsiteY6" fmla="*/ 8319 h 372547"/>
                <a:gd name="connsiteX7" fmla="*/ 0 w 2545"/>
                <a:gd name="connsiteY7" fmla="*/ 372547 h 372547"/>
                <a:gd name="connsiteX8" fmla="*/ 2546 w 2545"/>
                <a:gd name="connsiteY8" fmla="*/ 372547 h 372547"/>
                <a:gd name="connsiteX9" fmla="*/ 2546 w 2545"/>
                <a:gd name="connsiteY9" fmla="*/ 7917 h 37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5" h="372547">
                  <a:moveTo>
                    <a:pt x="2546" y="7783"/>
                  </a:moveTo>
                  <a:lnTo>
                    <a:pt x="2546" y="1219"/>
                  </a:lnTo>
                  <a:cubicBezTo>
                    <a:pt x="2546" y="549"/>
                    <a:pt x="2010" y="13"/>
                    <a:pt x="1353" y="0"/>
                  </a:cubicBezTo>
                  <a:cubicBezTo>
                    <a:pt x="1299" y="0"/>
                    <a:pt x="1246" y="13"/>
                    <a:pt x="1206" y="13"/>
                  </a:cubicBezTo>
                  <a:cubicBezTo>
                    <a:pt x="536" y="13"/>
                    <a:pt x="0" y="549"/>
                    <a:pt x="0" y="1219"/>
                  </a:cubicBezTo>
                  <a:lnTo>
                    <a:pt x="0" y="8319"/>
                  </a:lnTo>
                  <a:lnTo>
                    <a:pt x="0" y="8319"/>
                  </a:lnTo>
                  <a:lnTo>
                    <a:pt x="0" y="372547"/>
                  </a:lnTo>
                  <a:lnTo>
                    <a:pt x="2546" y="372547"/>
                  </a:lnTo>
                  <a:lnTo>
                    <a:pt x="2546" y="7917"/>
                  </a:lnTo>
                  <a:close/>
                </a:path>
              </a:pathLst>
            </a:custGeom>
            <a:solidFill>
              <a:srgbClr val="000000"/>
            </a:solidFill>
            <a:ln w="12700" cap="flat">
              <a:noFill/>
              <a:prstDash val="solid"/>
              <a:miter/>
            </a:ln>
          </p:spPr>
          <p:txBody>
            <a:bodyPr rtlCol="0" anchor="ctr"/>
            <a:lstStyle/>
            <a:p>
              <a:endParaRPr lang="en-US"/>
            </a:p>
          </p:txBody>
        </p:sp>
        <p:sp>
          <p:nvSpPr>
            <p:cNvPr id="1537" name="Freeform: Shape 1536">
              <a:extLst>
                <a:ext uri="{FF2B5EF4-FFF2-40B4-BE49-F238E27FC236}">
                  <a16:creationId xmlns:a16="http://schemas.microsoft.com/office/drawing/2014/main" id="{B3C432A1-CA89-4F3B-BDC4-CE410CA14B2A}"/>
                </a:ext>
              </a:extLst>
            </p:cNvPr>
            <p:cNvSpPr/>
            <p:nvPr/>
          </p:nvSpPr>
          <p:spPr>
            <a:xfrm>
              <a:off x="11776626" y="5788087"/>
              <a:ext cx="14603" cy="698718"/>
            </a:xfrm>
            <a:custGeom>
              <a:avLst/>
              <a:gdLst>
                <a:gd name="connsiteX0" fmla="*/ 0 w 14603"/>
                <a:gd name="connsiteY0" fmla="*/ 691351 h 698718"/>
                <a:gd name="connsiteX1" fmla="*/ 7369 w 14603"/>
                <a:gd name="connsiteY1" fmla="*/ 698718 h 698718"/>
                <a:gd name="connsiteX2" fmla="*/ 14604 w 14603"/>
                <a:gd name="connsiteY2" fmla="*/ 691351 h 698718"/>
                <a:gd name="connsiteX3" fmla="*/ 14604 w 14603"/>
                <a:gd name="connsiteY3" fmla="*/ 7234 h 698718"/>
                <a:gd name="connsiteX4" fmla="*/ 7369 w 14603"/>
                <a:gd name="connsiteY4" fmla="*/ 0 h 698718"/>
                <a:gd name="connsiteX5" fmla="*/ 0 w 14603"/>
                <a:gd name="connsiteY5" fmla="*/ 7234 h 698718"/>
                <a:gd name="connsiteX6" fmla="*/ 0 w 14603"/>
                <a:gd name="connsiteY6" fmla="*/ 691351 h 69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98718">
                  <a:moveTo>
                    <a:pt x="0" y="691351"/>
                  </a:moveTo>
                  <a:cubicBezTo>
                    <a:pt x="0" y="695423"/>
                    <a:pt x="3295" y="698718"/>
                    <a:pt x="7369" y="698718"/>
                  </a:cubicBezTo>
                  <a:cubicBezTo>
                    <a:pt x="11388" y="698651"/>
                    <a:pt x="14604" y="695369"/>
                    <a:pt x="14604" y="691351"/>
                  </a:cubicBezTo>
                  <a:lnTo>
                    <a:pt x="14604" y="7234"/>
                  </a:lnTo>
                  <a:cubicBezTo>
                    <a:pt x="14604" y="3239"/>
                    <a:pt x="11362" y="0"/>
                    <a:pt x="7369" y="0"/>
                  </a:cubicBezTo>
                  <a:cubicBezTo>
                    <a:pt x="3349" y="0"/>
                    <a:pt x="67" y="3218"/>
                    <a:pt x="0" y="7234"/>
                  </a:cubicBezTo>
                  <a:lnTo>
                    <a:pt x="0" y="691351"/>
                  </a:lnTo>
                  <a:close/>
                </a:path>
              </a:pathLst>
            </a:custGeom>
            <a:solidFill>
              <a:srgbClr val="000000"/>
            </a:solidFill>
            <a:ln w="12700" cap="flat">
              <a:noFill/>
              <a:prstDash val="solid"/>
              <a:miter/>
            </a:ln>
          </p:spPr>
          <p:txBody>
            <a:bodyPr rtlCol="0" anchor="ctr"/>
            <a:lstStyle/>
            <a:p>
              <a:endParaRPr lang="en-US"/>
            </a:p>
          </p:txBody>
        </p:sp>
        <p:sp>
          <p:nvSpPr>
            <p:cNvPr id="1538" name="Freeform: Shape 1537">
              <a:extLst>
                <a:ext uri="{FF2B5EF4-FFF2-40B4-BE49-F238E27FC236}">
                  <a16:creationId xmlns:a16="http://schemas.microsoft.com/office/drawing/2014/main" id="{BF86655E-1029-4ADF-A97C-F778F8D00379}"/>
                </a:ext>
              </a:extLst>
            </p:cNvPr>
            <p:cNvSpPr/>
            <p:nvPr/>
          </p:nvSpPr>
          <p:spPr>
            <a:xfrm>
              <a:off x="9934569" y="5794785"/>
              <a:ext cx="12922" cy="109851"/>
            </a:xfrm>
            <a:custGeom>
              <a:avLst/>
              <a:gdLst>
                <a:gd name="connsiteX0" fmla="*/ 6565 w 12922"/>
                <a:gd name="connsiteY0" fmla="*/ 0 h 109851"/>
                <a:gd name="connsiteX1" fmla="*/ 6565 w 12922"/>
                <a:gd name="connsiteY1" fmla="*/ 0 h 109851"/>
                <a:gd name="connsiteX2" fmla="*/ 5091 w 12922"/>
                <a:gd name="connsiteY2" fmla="*/ 0 h 109851"/>
                <a:gd name="connsiteX3" fmla="*/ 0 w 12922"/>
                <a:gd name="connsiteY3" fmla="*/ 6832 h 109851"/>
                <a:gd name="connsiteX4" fmla="*/ 0 w 12922"/>
                <a:gd name="connsiteY4" fmla="*/ 102745 h 109851"/>
                <a:gd name="connsiteX5" fmla="*/ 3751 w 12922"/>
                <a:gd name="connsiteY5" fmla="*/ 108907 h 109851"/>
                <a:gd name="connsiteX6" fmla="*/ 3751 w 12922"/>
                <a:gd name="connsiteY6" fmla="*/ 108907 h 109851"/>
                <a:gd name="connsiteX7" fmla="*/ 7100 w 12922"/>
                <a:gd name="connsiteY7" fmla="*/ 109711 h 109851"/>
                <a:gd name="connsiteX8" fmla="*/ 9780 w 12922"/>
                <a:gd name="connsiteY8" fmla="*/ 109711 h 109851"/>
                <a:gd name="connsiteX9" fmla="*/ 9780 w 12922"/>
                <a:gd name="connsiteY9" fmla="*/ 109711 h 109851"/>
                <a:gd name="connsiteX10" fmla="*/ 11254 w 12922"/>
                <a:gd name="connsiteY10" fmla="*/ 108773 h 109851"/>
                <a:gd name="connsiteX11" fmla="*/ 11924 w 12922"/>
                <a:gd name="connsiteY11" fmla="*/ 107969 h 109851"/>
                <a:gd name="connsiteX12" fmla="*/ 12861 w 12922"/>
                <a:gd name="connsiteY12" fmla="*/ 106630 h 109851"/>
                <a:gd name="connsiteX13" fmla="*/ 12861 w 12922"/>
                <a:gd name="connsiteY13" fmla="*/ 105558 h 109851"/>
                <a:gd name="connsiteX14" fmla="*/ 12861 w 12922"/>
                <a:gd name="connsiteY14" fmla="*/ 104084 h 109851"/>
                <a:gd name="connsiteX15" fmla="*/ 12861 w 12922"/>
                <a:gd name="connsiteY15" fmla="*/ 7234 h 109851"/>
                <a:gd name="connsiteX16" fmla="*/ 12861 w 12922"/>
                <a:gd name="connsiteY16" fmla="*/ 5760 h 109851"/>
                <a:gd name="connsiteX17" fmla="*/ 12861 w 12922"/>
                <a:gd name="connsiteY17" fmla="*/ 4555 h 109851"/>
                <a:gd name="connsiteX18" fmla="*/ 12057 w 12922"/>
                <a:gd name="connsiteY18" fmla="*/ 3349 h 109851"/>
                <a:gd name="connsiteX19" fmla="*/ 11120 w 12922"/>
                <a:gd name="connsiteY19" fmla="*/ 2411 h 109851"/>
                <a:gd name="connsiteX20" fmla="*/ 10048 w 12922"/>
                <a:gd name="connsiteY20" fmla="*/ 1608 h 109851"/>
                <a:gd name="connsiteX21" fmla="*/ 8708 w 12922"/>
                <a:gd name="connsiteY21" fmla="*/ 1608 h 109851"/>
                <a:gd name="connsiteX22" fmla="*/ 6565 w 12922"/>
                <a:gd name="connsiteY22" fmla="*/ 1608 h 1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22" h="109851">
                  <a:moveTo>
                    <a:pt x="6565" y="0"/>
                  </a:moveTo>
                  <a:lnTo>
                    <a:pt x="6565" y="0"/>
                  </a:lnTo>
                  <a:lnTo>
                    <a:pt x="5091" y="0"/>
                  </a:lnTo>
                  <a:cubicBezTo>
                    <a:pt x="2090" y="931"/>
                    <a:pt x="40" y="3691"/>
                    <a:pt x="0" y="6832"/>
                  </a:cubicBezTo>
                  <a:lnTo>
                    <a:pt x="0" y="102745"/>
                  </a:lnTo>
                  <a:cubicBezTo>
                    <a:pt x="40" y="105329"/>
                    <a:pt x="1474" y="107688"/>
                    <a:pt x="3751" y="108907"/>
                  </a:cubicBezTo>
                  <a:cubicBezTo>
                    <a:pt x="3751" y="108907"/>
                    <a:pt x="3751" y="108907"/>
                    <a:pt x="3751" y="108907"/>
                  </a:cubicBezTo>
                  <a:cubicBezTo>
                    <a:pt x="4810" y="109377"/>
                    <a:pt x="5948" y="109649"/>
                    <a:pt x="7100" y="109711"/>
                  </a:cubicBezTo>
                  <a:cubicBezTo>
                    <a:pt x="7985" y="109898"/>
                    <a:pt x="8896" y="109898"/>
                    <a:pt x="9780" y="109711"/>
                  </a:cubicBezTo>
                  <a:lnTo>
                    <a:pt x="9780" y="109711"/>
                  </a:lnTo>
                  <a:lnTo>
                    <a:pt x="11254" y="108773"/>
                  </a:lnTo>
                  <a:lnTo>
                    <a:pt x="11924" y="107969"/>
                  </a:lnTo>
                  <a:cubicBezTo>
                    <a:pt x="12286" y="107555"/>
                    <a:pt x="12594" y="107106"/>
                    <a:pt x="12861" y="106630"/>
                  </a:cubicBezTo>
                  <a:lnTo>
                    <a:pt x="12861" y="105558"/>
                  </a:lnTo>
                  <a:cubicBezTo>
                    <a:pt x="12915" y="105068"/>
                    <a:pt x="12915" y="104575"/>
                    <a:pt x="12861" y="104084"/>
                  </a:cubicBezTo>
                  <a:lnTo>
                    <a:pt x="12861" y="7234"/>
                  </a:lnTo>
                  <a:cubicBezTo>
                    <a:pt x="12942" y="6745"/>
                    <a:pt x="12942" y="6249"/>
                    <a:pt x="12861" y="5760"/>
                  </a:cubicBezTo>
                  <a:cubicBezTo>
                    <a:pt x="12915" y="5360"/>
                    <a:pt x="12915" y="4955"/>
                    <a:pt x="12861" y="4555"/>
                  </a:cubicBezTo>
                  <a:cubicBezTo>
                    <a:pt x="12687" y="4096"/>
                    <a:pt x="12420" y="3684"/>
                    <a:pt x="12057" y="3349"/>
                  </a:cubicBezTo>
                  <a:cubicBezTo>
                    <a:pt x="11817" y="2973"/>
                    <a:pt x="11495" y="2652"/>
                    <a:pt x="11120" y="2411"/>
                  </a:cubicBezTo>
                  <a:cubicBezTo>
                    <a:pt x="10825" y="2071"/>
                    <a:pt x="10464" y="1798"/>
                    <a:pt x="10048" y="1608"/>
                  </a:cubicBezTo>
                  <a:lnTo>
                    <a:pt x="8708" y="1608"/>
                  </a:lnTo>
                  <a:cubicBezTo>
                    <a:pt x="7998" y="1486"/>
                    <a:pt x="7275" y="1486"/>
                    <a:pt x="6565" y="1608"/>
                  </a:cubicBezTo>
                  <a:close/>
                </a:path>
              </a:pathLst>
            </a:custGeom>
            <a:solidFill>
              <a:srgbClr val="000000"/>
            </a:solidFill>
            <a:ln w="12700" cap="flat">
              <a:noFill/>
              <a:prstDash val="solid"/>
              <a:miter/>
            </a:ln>
          </p:spPr>
          <p:txBody>
            <a:bodyPr rtlCol="0" anchor="ctr"/>
            <a:lstStyle/>
            <a:p>
              <a:endParaRPr lang="en-US"/>
            </a:p>
          </p:txBody>
        </p:sp>
        <p:sp>
          <p:nvSpPr>
            <p:cNvPr id="1539" name="Freeform: Shape 1538">
              <a:extLst>
                <a:ext uri="{FF2B5EF4-FFF2-40B4-BE49-F238E27FC236}">
                  <a16:creationId xmlns:a16="http://schemas.microsoft.com/office/drawing/2014/main" id="{EA80D821-815C-4341-8640-0ACFB12AFB1F}"/>
                </a:ext>
              </a:extLst>
            </p:cNvPr>
            <p:cNvSpPr/>
            <p:nvPr/>
          </p:nvSpPr>
          <p:spPr>
            <a:xfrm>
              <a:off x="0" y="6482117"/>
              <a:ext cx="316321" cy="371595"/>
            </a:xfrm>
            <a:custGeom>
              <a:avLst/>
              <a:gdLst>
                <a:gd name="connsiteX0" fmla="*/ 316321 w 316321"/>
                <a:gd name="connsiteY0" fmla="*/ 3483 h 371595"/>
                <a:gd name="connsiteX1" fmla="*/ 313240 w 316321"/>
                <a:gd name="connsiteY1" fmla="*/ 4287 h 371595"/>
                <a:gd name="connsiteX2" fmla="*/ 308818 w 316321"/>
                <a:gd name="connsiteY2" fmla="*/ 2679 h 371595"/>
                <a:gd name="connsiteX3" fmla="*/ 158361 w 316321"/>
                <a:gd name="connsiteY3" fmla="*/ 2679 h 371595"/>
                <a:gd name="connsiteX4" fmla="*/ 153404 w 316321"/>
                <a:gd name="connsiteY4" fmla="*/ 4688 h 371595"/>
                <a:gd name="connsiteX5" fmla="*/ 146705 w 316321"/>
                <a:gd name="connsiteY5" fmla="*/ 0 h 371595"/>
                <a:gd name="connsiteX6" fmla="*/ 0 w 316321"/>
                <a:gd name="connsiteY6" fmla="*/ 0 h 371595"/>
                <a:gd name="connsiteX7" fmla="*/ 0 w 316321"/>
                <a:gd name="connsiteY7" fmla="*/ 371596 h 371595"/>
                <a:gd name="connsiteX8" fmla="*/ 316321 w 316321"/>
                <a:gd name="connsiteY8" fmla="*/ 371596 h 37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321" h="371595">
                  <a:moveTo>
                    <a:pt x="316321" y="3483"/>
                  </a:moveTo>
                  <a:cubicBezTo>
                    <a:pt x="315387" y="4032"/>
                    <a:pt x="314321" y="4300"/>
                    <a:pt x="313240" y="4287"/>
                  </a:cubicBezTo>
                  <a:cubicBezTo>
                    <a:pt x="311629" y="4246"/>
                    <a:pt x="310076" y="3684"/>
                    <a:pt x="308818" y="2679"/>
                  </a:cubicBezTo>
                  <a:lnTo>
                    <a:pt x="158361" y="2679"/>
                  </a:lnTo>
                  <a:cubicBezTo>
                    <a:pt x="157012" y="3938"/>
                    <a:pt x="155248" y="4648"/>
                    <a:pt x="153404" y="4688"/>
                  </a:cubicBezTo>
                  <a:cubicBezTo>
                    <a:pt x="150418" y="4662"/>
                    <a:pt x="147756" y="2800"/>
                    <a:pt x="146705" y="0"/>
                  </a:cubicBezTo>
                  <a:lnTo>
                    <a:pt x="0" y="0"/>
                  </a:lnTo>
                  <a:lnTo>
                    <a:pt x="0" y="371596"/>
                  </a:lnTo>
                  <a:lnTo>
                    <a:pt x="316321" y="371596"/>
                  </a:lnTo>
                  <a:close/>
                </a:path>
              </a:pathLst>
            </a:custGeom>
            <a:solidFill>
              <a:srgbClr val="0A4054"/>
            </a:solidFill>
            <a:ln w="12700" cap="flat">
              <a:noFill/>
              <a:prstDash val="solid"/>
              <a:miter/>
            </a:ln>
          </p:spPr>
          <p:txBody>
            <a:bodyPr rtlCol="0" anchor="ctr"/>
            <a:lstStyle/>
            <a:p>
              <a:endParaRPr lang="en-US"/>
            </a:p>
          </p:txBody>
        </p:sp>
        <p:sp>
          <p:nvSpPr>
            <p:cNvPr id="1540" name="Freeform: Shape 1539">
              <a:extLst>
                <a:ext uri="{FF2B5EF4-FFF2-40B4-BE49-F238E27FC236}">
                  <a16:creationId xmlns:a16="http://schemas.microsoft.com/office/drawing/2014/main" id="{7E779099-794E-4696-A599-C2061F27A422}"/>
                </a:ext>
              </a:extLst>
            </p:cNvPr>
            <p:cNvSpPr/>
            <p:nvPr/>
          </p:nvSpPr>
          <p:spPr>
            <a:xfrm>
              <a:off x="2807633" y="6463095"/>
              <a:ext cx="23044" cy="390617"/>
            </a:xfrm>
            <a:custGeom>
              <a:avLst/>
              <a:gdLst>
                <a:gd name="connsiteX0" fmla="*/ 23044 w 23044"/>
                <a:gd name="connsiteY0" fmla="*/ 72203 h 390617"/>
                <a:gd name="connsiteX1" fmla="*/ 23044 w 23044"/>
                <a:gd name="connsiteY1" fmla="*/ 0 h 390617"/>
                <a:gd name="connsiteX2" fmla="*/ 0 w 23044"/>
                <a:gd name="connsiteY2" fmla="*/ 0 h 390617"/>
                <a:gd name="connsiteX3" fmla="*/ 0 w 23044"/>
                <a:gd name="connsiteY3" fmla="*/ 390618 h 390617"/>
                <a:gd name="connsiteX4" fmla="*/ 17015 w 23044"/>
                <a:gd name="connsiteY4" fmla="*/ 390618 h 390617"/>
                <a:gd name="connsiteX5" fmla="*/ 17015 w 23044"/>
                <a:gd name="connsiteY5" fmla="*/ 79168 h 390617"/>
                <a:gd name="connsiteX6" fmla="*/ 23044 w 23044"/>
                <a:gd name="connsiteY6" fmla="*/ 72203 h 39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44" h="390617">
                  <a:moveTo>
                    <a:pt x="23044" y="72203"/>
                  </a:moveTo>
                  <a:lnTo>
                    <a:pt x="23044" y="0"/>
                  </a:lnTo>
                  <a:lnTo>
                    <a:pt x="0" y="0"/>
                  </a:lnTo>
                  <a:lnTo>
                    <a:pt x="0" y="390618"/>
                  </a:lnTo>
                  <a:lnTo>
                    <a:pt x="17015" y="390618"/>
                  </a:lnTo>
                  <a:lnTo>
                    <a:pt x="17015" y="79168"/>
                  </a:lnTo>
                  <a:cubicBezTo>
                    <a:pt x="17096" y="75699"/>
                    <a:pt x="19628" y="72779"/>
                    <a:pt x="23044" y="72203"/>
                  </a:cubicBezTo>
                  <a:close/>
                </a:path>
              </a:pathLst>
            </a:custGeom>
            <a:solidFill>
              <a:srgbClr val="E8E7E3"/>
            </a:solidFill>
            <a:ln w="12700" cap="flat">
              <a:noFill/>
              <a:prstDash val="solid"/>
              <a:miter/>
            </a:ln>
          </p:spPr>
          <p:txBody>
            <a:bodyPr rtlCol="0" anchor="ctr"/>
            <a:lstStyle/>
            <a:p>
              <a:endParaRPr lang="en-US"/>
            </a:p>
          </p:txBody>
        </p:sp>
        <p:sp>
          <p:nvSpPr>
            <p:cNvPr id="1541" name="Freeform: Shape 1540">
              <a:extLst>
                <a:ext uri="{FF2B5EF4-FFF2-40B4-BE49-F238E27FC236}">
                  <a16:creationId xmlns:a16="http://schemas.microsoft.com/office/drawing/2014/main" id="{CA56C8ED-07D8-4688-AD30-2BED68B0D8A3}"/>
                </a:ext>
              </a:extLst>
            </p:cNvPr>
            <p:cNvSpPr/>
            <p:nvPr/>
          </p:nvSpPr>
          <p:spPr>
            <a:xfrm>
              <a:off x="2833223" y="6463095"/>
              <a:ext cx="391482" cy="71934"/>
            </a:xfrm>
            <a:custGeom>
              <a:avLst/>
              <a:gdLst>
                <a:gd name="connsiteX0" fmla="*/ 0 w 391482"/>
                <a:gd name="connsiteY0" fmla="*/ 0 h 71934"/>
                <a:gd name="connsiteX1" fmla="*/ 0 w 391482"/>
                <a:gd name="connsiteY1" fmla="*/ 71935 h 71934"/>
                <a:gd name="connsiteX2" fmla="*/ 357050 w 391482"/>
                <a:gd name="connsiteY2" fmla="*/ 71935 h 71934"/>
                <a:gd name="connsiteX3" fmla="*/ 391482 w 391482"/>
                <a:gd name="connsiteY3" fmla="*/ 71935 h 71934"/>
                <a:gd name="connsiteX4" fmla="*/ 391482 w 391482"/>
                <a:gd name="connsiteY4" fmla="*/ 536 h 71934"/>
                <a:gd name="connsiteX5" fmla="*/ 356916 w 391482"/>
                <a:gd name="connsiteY5" fmla="*/ 0 h 71934"/>
                <a:gd name="connsiteX6" fmla="*/ 0 w 391482"/>
                <a:gd name="connsiteY6" fmla="*/ 0 h 7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482" h="71934">
                  <a:moveTo>
                    <a:pt x="0" y="0"/>
                  </a:moveTo>
                  <a:lnTo>
                    <a:pt x="0" y="71935"/>
                  </a:lnTo>
                  <a:lnTo>
                    <a:pt x="357050" y="71935"/>
                  </a:lnTo>
                  <a:lnTo>
                    <a:pt x="391482" y="71935"/>
                  </a:lnTo>
                  <a:lnTo>
                    <a:pt x="391482" y="536"/>
                  </a:lnTo>
                  <a:lnTo>
                    <a:pt x="356916" y="0"/>
                  </a:lnTo>
                  <a:lnTo>
                    <a:pt x="0" y="0"/>
                  </a:lnTo>
                  <a:close/>
                </a:path>
              </a:pathLst>
            </a:custGeom>
            <a:solidFill>
              <a:schemeClr val="bg1">
                <a:lumMod val="95000"/>
              </a:schemeClr>
            </a:solidFill>
            <a:ln w="12700" cap="flat">
              <a:noFill/>
              <a:prstDash val="solid"/>
              <a:miter/>
            </a:ln>
          </p:spPr>
          <p:txBody>
            <a:bodyPr rtlCol="0" anchor="ctr"/>
            <a:lstStyle/>
            <a:p>
              <a:endParaRPr lang="en-US"/>
            </a:p>
          </p:txBody>
        </p:sp>
        <p:sp>
          <p:nvSpPr>
            <p:cNvPr id="1542" name="Freeform: Shape 1541">
              <a:extLst>
                <a:ext uri="{FF2B5EF4-FFF2-40B4-BE49-F238E27FC236}">
                  <a16:creationId xmlns:a16="http://schemas.microsoft.com/office/drawing/2014/main" id="{6618218A-FFF0-429C-8228-DEFF5575AC59}"/>
                </a:ext>
              </a:extLst>
            </p:cNvPr>
            <p:cNvSpPr/>
            <p:nvPr/>
          </p:nvSpPr>
          <p:spPr>
            <a:xfrm>
              <a:off x="1397921" y="5621445"/>
              <a:ext cx="29609" cy="201470"/>
            </a:xfrm>
            <a:custGeom>
              <a:avLst/>
              <a:gdLst>
                <a:gd name="connsiteX0" fmla="*/ 29609 w 29609"/>
                <a:gd name="connsiteY0" fmla="*/ 201471 h 201470"/>
                <a:gd name="connsiteX1" fmla="*/ 29609 w 29609"/>
                <a:gd name="connsiteY1" fmla="*/ 10984 h 201470"/>
                <a:gd name="connsiteX2" fmla="*/ 27465 w 29609"/>
                <a:gd name="connsiteY2" fmla="*/ 0 h 201470"/>
                <a:gd name="connsiteX3" fmla="*/ 0 w 29609"/>
                <a:gd name="connsiteY3" fmla="*/ 0 h 201470"/>
                <a:gd name="connsiteX4" fmla="*/ 0 w 29609"/>
                <a:gd name="connsiteY4" fmla="*/ 10181 h 201470"/>
                <a:gd name="connsiteX5" fmla="*/ 0 w 29609"/>
                <a:gd name="connsiteY5" fmla="*/ 201471 h 201470"/>
                <a:gd name="connsiteX6" fmla="*/ 29609 w 29609"/>
                <a:gd name="connsiteY6" fmla="*/ 201471 h 20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9" h="201470">
                  <a:moveTo>
                    <a:pt x="29609" y="201471"/>
                  </a:moveTo>
                  <a:lnTo>
                    <a:pt x="29609" y="10984"/>
                  </a:lnTo>
                  <a:lnTo>
                    <a:pt x="27465" y="0"/>
                  </a:lnTo>
                  <a:lnTo>
                    <a:pt x="0" y="0"/>
                  </a:lnTo>
                  <a:lnTo>
                    <a:pt x="0" y="10181"/>
                  </a:lnTo>
                  <a:lnTo>
                    <a:pt x="0" y="201471"/>
                  </a:lnTo>
                  <a:lnTo>
                    <a:pt x="29609" y="201471"/>
                  </a:lnTo>
                  <a:close/>
                </a:path>
              </a:pathLst>
            </a:custGeom>
            <a:solidFill>
              <a:schemeClr val="accent5"/>
            </a:solidFill>
            <a:ln w="12700" cap="flat">
              <a:noFill/>
              <a:prstDash val="solid"/>
              <a:miter/>
            </a:ln>
          </p:spPr>
          <p:txBody>
            <a:bodyPr rtlCol="0" anchor="ctr"/>
            <a:lstStyle/>
            <a:p>
              <a:endParaRPr lang="en-US"/>
            </a:p>
          </p:txBody>
        </p:sp>
        <p:sp>
          <p:nvSpPr>
            <p:cNvPr id="1543" name="Freeform: Shape 1542">
              <a:extLst>
                <a:ext uri="{FF2B5EF4-FFF2-40B4-BE49-F238E27FC236}">
                  <a16:creationId xmlns:a16="http://schemas.microsoft.com/office/drawing/2014/main" id="{8F03AB67-9F08-4833-BADB-802B2FC2AF5B}"/>
                </a:ext>
              </a:extLst>
            </p:cNvPr>
            <p:cNvSpPr/>
            <p:nvPr/>
          </p:nvSpPr>
          <p:spPr>
            <a:xfrm>
              <a:off x="128618" y="5434174"/>
              <a:ext cx="17417" cy="1044862"/>
            </a:xfrm>
            <a:custGeom>
              <a:avLst/>
              <a:gdLst>
                <a:gd name="connsiteX0" fmla="*/ 17417 w 17417"/>
                <a:gd name="connsiteY0" fmla="*/ 1044192 h 1044862"/>
                <a:gd name="connsiteX1" fmla="*/ 17417 w 17417"/>
                <a:gd name="connsiteY1" fmla="*/ 1043255 h 1044862"/>
                <a:gd name="connsiteX2" fmla="*/ 17417 w 17417"/>
                <a:gd name="connsiteY2" fmla="*/ 164365 h 1044862"/>
                <a:gd name="connsiteX3" fmla="*/ 17417 w 17417"/>
                <a:gd name="connsiteY3" fmla="*/ 12056 h 1044862"/>
                <a:gd name="connsiteX4" fmla="*/ 0 w 17417"/>
                <a:gd name="connsiteY4" fmla="*/ 0 h 1044862"/>
                <a:gd name="connsiteX5" fmla="*/ 0 w 17417"/>
                <a:gd name="connsiteY5" fmla="*/ 1044862 h 1044862"/>
                <a:gd name="connsiteX6" fmla="*/ 17417 w 17417"/>
                <a:gd name="connsiteY6" fmla="*/ 1044192 h 104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7" h="1044862">
                  <a:moveTo>
                    <a:pt x="17417" y="1044192"/>
                  </a:moveTo>
                  <a:lnTo>
                    <a:pt x="17417" y="1043255"/>
                  </a:lnTo>
                  <a:lnTo>
                    <a:pt x="17417" y="164365"/>
                  </a:lnTo>
                  <a:lnTo>
                    <a:pt x="17417" y="12056"/>
                  </a:lnTo>
                  <a:lnTo>
                    <a:pt x="0" y="0"/>
                  </a:lnTo>
                  <a:lnTo>
                    <a:pt x="0" y="1044862"/>
                  </a:lnTo>
                  <a:lnTo>
                    <a:pt x="17417" y="1044192"/>
                  </a:lnTo>
                  <a:close/>
                </a:path>
              </a:pathLst>
            </a:custGeom>
            <a:solidFill>
              <a:srgbClr val="E8E7E3"/>
            </a:solidFill>
            <a:ln w="12700" cap="flat">
              <a:noFill/>
              <a:prstDash val="solid"/>
              <a:miter/>
            </a:ln>
          </p:spPr>
          <p:txBody>
            <a:bodyPr rtlCol="0" anchor="ctr"/>
            <a:lstStyle/>
            <a:p>
              <a:endParaRPr lang="en-US"/>
            </a:p>
          </p:txBody>
        </p:sp>
        <p:sp>
          <p:nvSpPr>
            <p:cNvPr id="1544" name="Freeform: Shape 1543">
              <a:extLst>
                <a:ext uri="{FF2B5EF4-FFF2-40B4-BE49-F238E27FC236}">
                  <a16:creationId xmlns:a16="http://schemas.microsoft.com/office/drawing/2014/main" id="{03BE86F0-C17B-4165-8910-BC40FC261EEB}"/>
                </a:ext>
              </a:extLst>
            </p:cNvPr>
            <p:cNvSpPr/>
            <p:nvPr/>
          </p:nvSpPr>
          <p:spPr>
            <a:xfrm>
              <a:off x="0" y="5431629"/>
              <a:ext cx="125938" cy="1047407"/>
            </a:xfrm>
            <a:custGeom>
              <a:avLst/>
              <a:gdLst>
                <a:gd name="connsiteX0" fmla="*/ 125939 w 125938"/>
                <a:gd name="connsiteY0" fmla="*/ 670 h 1047407"/>
                <a:gd name="connsiteX1" fmla="*/ 125001 w 125938"/>
                <a:gd name="connsiteY1" fmla="*/ 0 h 1047407"/>
                <a:gd name="connsiteX2" fmla="*/ 0 w 125938"/>
                <a:gd name="connsiteY2" fmla="*/ 0 h 1047407"/>
                <a:gd name="connsiteX3" fmla="*/ 0 w 125938"/>
                <a:gd name="connsiteY3" fmla="*/ 1047407 h 1047407"/>
                <a:gd name="connsiteX4" fmla="*/ 125939 w 125938"/>
                <a:gd name="connsiteY4" fmla="*/ 1047407 h 1047407"/>
                <a:gd name="connsiteX5" fmla="*/ 125939 w 125938"/>
                <a:gd name="connsiteY5" fmla="*/ 670 h 104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38" h="1047407">
                  <a:moveTo>
                    <a:pt x="125939" y="670"/>
                  </a:moveTo>
                  <a:lnTo>
                    <a:pt x="125001" y="0"/>
                  </a:lnTo>
                  <a:lnTo>
                    <a:pt x="0" y="0"/>
                  </a:lnTo>
                  <a:lnTo>
                    <a:pt x="0" y="1047407"/>
                  </a:lnTo>
                  <a:lnTo>
                    <a:pt x="125939" y="1047407"/>
                  </a:lnTo>
                  <a:lnTo>
                    <a:pt x="125939" y="670"/>
                  </a:lnTo>
                  <a:close/>
                </a:path>
              </a:pathLst>
            </a:custGeom>
            <a:solidFill>
              <a:schemeClr val="accent1"/>
            </a:solidFill>
            <a:ln w="12700" cap="flat">
              <a:noFill/>
              <a:prstDash val="solid"/>
              <a:miter/>
            </a:ln>
          </p:spPr>
          <p:txBody>
            <a:bodyPr rtlCol="0" anchor="ctr"/>
            <a:lstStyle/>
            <a:p>
              <a:endParaRPr lang="en-US"/>
            </a:p>
          </p:txBody>
        </p:sp>
        <p:sp>
          <p:nvSpPr>
            <p:cNvPr id="1545" name="Freeform: Shape 1544">
              <a:extLst>
                <a:ext uri="{FF2B5EF4-FFF2-40B4-BE49-F238E27FC236}">
                  <a16:creationId xmlns:a16="http://schemas.microsoft.com/office/drawing/2014/main" id="{D7A429DD-2048-4BAF-9A01-576B4171B2F1}"/>
                </a:ext>
              </a:extLst>
            </p:cNvPr>
            <p:cNvSpPr/>
            <p:nvPr/>
          </p:nvSpPr>
          <p:spPr>
            <a:xfrm>
              <a:off x="174974" y="5607648"/>
              <a:ext cx="14737" cy="862547"/>
            </a:xfrm>
            <a:custGeom>
              <a:avLst/>
              <a:gdLst>
                <a:gd name="connsiteX0" fmla="*/ 14738 w 14737"/>
                <a:gd name="connsiteY0" fmla="*/ 862547 h 862547"/>
                <a:gd name="connsiteX1" fmla="*/ 14738 w 14737"/>
                <a:gd name="connsiteY1" fmla="*/ 8707 h 862547"/>
                <a:gd name="connsiteX2" fmla="*/ 0 w 14737"/>
                <a:gd name="connsiteY2" fmla="*/ 0 h 862547"/>
                <a:gd name="connsiteX3" fmla="*/ 0 w 14737"/>
                <a:gd name="connsiteY3" fmla="*/ 862547 h 862547"/>
                <a:gd name="connsiteX4" fmla="*/ 14738 w 14737"/>
                <a:gd name="connsiteY4" fmla="*/ 862547 h 862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7" h="862547">
                  <a:moveTo>
                    <a:pt x="14738" y="862547"/>
                  </a:moveTo>
                  <a:lnTo>
                    <a:pt x="14738" y="8707"/>
                  </a:lnTo>
                  <a:lnTo>
                    <a:pt x="0" y="0"/>
                  </a:lnTo>
                  <a:lnTo>
                    <a:pt x="0" y="862547"/>
                  </a:lnTo>
                  <a:lnTo>
                    <a:pt x="14738" y="862547"/>
                  </a:lnTo>
                  <a:close/>
                </a:path>
              </a:pathLst>
            </a:custGeom>
            <a:solidFill>
              <a:srgbClr val="7E121D"/>
            </a:solidFill>
            <a:ln w="12700" cap="flat">
              <a:noFill/>
              <a:prstDash val="solid"/>
              <a:miter/>
            </a:ln>
          </p:spPr>
          <p:txBody>
            <a:bodyPr rtlCol="0" anchor="ctr"/>
            <a:lstStyle/>
            <a:p>
              <a:endParaRPr lang="en-US"/>
            </a:p>
          </p:txBody>
        </p:sp>
        <p:sp>
          <p:nvSpPr>
            <p:cNvPr id="1546" name="Freeform: Shape 1545">
              <a:extLst>
                <a:ext uri="{FF2B5EF4-FFF2-40B4-BE49-F238E27FC236}">
                  <a16:creationId xmlns:a16="http://schemas.microsoft.com/office/drawing/2014/main" id="{BD9DA02A-E1DC-478E-AD64-BC3A63A04D3D}"/>
                </a:ext>
              </a:extLst>
            </p:cNvPr>
            <p:cNvSpPr/>
            <p:nvPr/>
          </p:nvSpPr>
          <p:spPr>
            <a:xfrm>
              <a:off x="160639" y="5605772"/>
              <a:ext cx="11790" cy="864422"/>
            </a:xfrm>
            <a:custGeom>
              <a:avLst/>
              <a:gdLst>
                <a:gd name="connsiteX0" fmla="*/ 11790 w 11790"/>
                <a:gd name="connsiteY0" fmla="*/ 864423 h 864422"/>
                <a:gd name="connsiteX1" fmla="*/ 11790 w 11790"/>
                <a:gd name="connsiteY1" fmla="*/ 402 h 864422"/>
                <a:gd name="connsiteX2" fmla="*/ 10986 w 11790"/>
                <a:gd name="connsiteY2" fmla="*/ 0 h 864422"/>
                <a:gd name="connsiteX3" fmla="*/ 0 w 11790"/>
                <a:gd name="connsiteY3" fmla="*/ 0 h 864422"/>
                <a:gd name="connsiteX4" fmla="*/ 0 w 11790"/>
                <a:gd name="connsiteY4" fmla="*/ 864423 h 864422"/>
                <a:gd name="connsiteX5" fmla="*/ 11790 w 11790"/>
                <a:gd name="connsiteY5" fmla="*/ 864423 h 86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 h="864422">
                  <a:moveTo>
                    <a:pt x="11790" y="864423"/>
                  </a:moveTo>
                  <a:lnTo>
                    <a:pt x="11790" y="402"/>
                  </a:lnTo>
                  <a:lnTo>
                    <a:pt x="10986" y="0"/>
                  </a:lnTo>
                  <a:lnTo>
                    <a:pt x="0" y="0"/>
                  </a:lnTo>
                  <a:lnTo>
                    <a:pt x="0" y="864423"/>
                  </a:lnTo>
                  <a:lnTo>
                    <a:pt x="11790" y="864423"/>
                  </a:lnTo>
                  <a:close/>
                </a:path>
              </a:pathLst>
            </a:custGeom>
            <a:solidFill>
              <a:srgbClr val="7E121D"/>
            </a:solidFill>
            <a:ln w="12700" cap="flat">
              <a:noFill/>
              <a:prstDash val="solid"/>
              <a:miter/>
            </a:ln>
          </p:spPr>
          <p:txBody>
            <a:bodyPr rtlCol="0" anchor="ctr"/>
            <a:lstStyle/>
            <a:p>
              <a:endParaRPr lang="en-US"/>
            </a:p>
          </p:txBody>
        </p:sp>
        <p:sp>
          <p:nvSpPr>
            <p:cNvPr id="1547" name="Freeform: Shape 1546">
              <a:extLst>
                <a:ext uri="{FF2B5EF4-FFF2-40B4-BE49-F238E27FC236}">
                  <a16:creationId xmlns:a16="http://schemas.microsoft.com/office/drawing/2014/main" id="{66EDA005-91D9-45F1-BA73-F74F803D97E3}"/>
                </a:ext>
              </a:extLst>
            </p:cNvPr>
            <p:cNvSpPr/>
            <p:nvPr/>
          </p:nvSpPr>
          <p:spPr>
            <a:xfrm>
              <a:off x="330924" y="6476625"/>
              <a:ext cx="362543" cy="377222"/>
            </a:xfrm>
            <a:custGeom>
              <a:avLst/>
              <a:gdLst>
                <a:gd name="connsiteX0" fmla="*/ 34566 w 362543"/>
                <a:gd name="connsiteY0" fmla="*/ 0 h 377222"/>
                <a:gd name="connsiteX1" fmla="*/ 26796 w 362543"/>
                <a:gd name="connsiteY1" fmla="*/ 0 h 377222"/>
                <a:gd name="connsiteX2" fmla="*/ 0 w 362543"/>
                <a:gd name="connsiteY2" fmla="*/ 804 h 377222"/>
                <a:gd name="connsiteX3" fmla="*/ 0 w 362543"/>
                <a:gd name="connsiteY3" fmla="*/ 2545 h 377222"/>
                <a:gd name="connsiteX4" fmla="*/ 0 w 362543"/>
                <a:gd name="connsiteY4" fmla="*/ 4287 h 377222"/>
                <a:gd name="connsiteX5" fmla="*/ 0 w 362543"/>
                <a:gd name="connsiteY5" fmla="*/ 377222 h 377222"/>
                <a:gd name="connsiteX6" fmla="*/ 362543 w 362543"/>
                <a:gd name="connsiteY6" fmla="*/ 377222 h 377222"/>
                <a:gd name="connsiteX7" fmla="*/ 362543 w 362543"/>
                <a:gd name="connsiteY7" fmla="*/ 0 h 377222"/>
                <a:gd name="connsiteX8" fmla="*/ 34566 w 362543"/>
                <a:gd name="connsiteY8" fmla="*/ 0 h 3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543" h="377222">
                  <a:moveTo>
                    <a:pt x="34566" y="0"/>
                  </a:moveTo>
                  <a:lnTo>
                    <a:pt x="26796" y="0"/>
                  </a:lnTo>
                  <a:lnTo>
                    <a:pt x="0" y="804"/>
                  </a:lnTo>
                  <a:lnTo>
                    <a:pt x="0" y="2545"/>
                  </a:lnTo>
                  <a:lnTo>
                    <a:pt x="0" y="4287"/>
                  </a:lnTo>
                  <a:lnTo>
                    <a:pt x="0" y="377222"/>
                  </a:lnTo>
                  <a:lnTo>
                    <a:pt x="362543" y="377222"/>
                  </a:lnTo>
                  <a:lnTo>
                    <a:pt x="362543" y="0"/>
                  </a:lnTo>
                  <a:lnTo>
                    <a:pt x="34566" y="0"/>
                  </a:lnTo>
                  <a:close/>
                </a:path>
              </a:pathLst>
            </a:custGeom>
            <a:solidFill>
              <a:schemeClr val="bg1">
                <a:lumMod val="95000"/>
              </a:schemeClr>
            </a:solidFill>
            <a:ln w="12700" cap="flat">
              <a:noFill/>
              <a:prstDash val="solid"/>
              <a:miter/>
            </a:ln>
          </p:spPr>
          <p:txBody>
            <a:bodyPr rtlCol="0" anchor="ctr"/>
            <a:lstStyle/>
            <a:p>
              <a:endParaRPr lang="en-US"/>
            </a:p>
          </p:txBody>
        </p:sp>
        <p:sp>
          <p:nvSpPr>
            <p:cNvPr id="1548" name="Freeform: Shape 1547">
              <a:extLst>
                <a:ext uri="{FF2B5EF4-FFF2-40B4-BE49-F238E27FC236}">
                  <a16:creationId xmlns:a16="http://schemas.microsoft.com/office/drawing/2014/main" id="{5B136746-8F30-41D4-BFB8-0F23EE8CDD19}"/>
                </a:ext>
              </a:extLst>
            </p:cNvPr>
            <p:cNvSpPr/>
            <p:nvPr/>
          </p:nvSpPr>
          <p:spPr>
            <a:xfrm>
              <a:off x="320608" y="5606978"/>
              <a:ext cx="372859" cy="168115"/>
            </a:xfrm>
            <a:custGeom>
              <a:avLst/>
              <a:gdLst>
                <a:gd name="connsiteX0" fmla="*/ 372860 w 372859"/>
                <a:gd name="connsiteY0" fmla="*/ 0 h 168115"/>
                <a:gd name="connsiteX1" fmla="*/ 308148 w 372859"/>
                <a:gd name="connsiteY1" fmla="*/ 0 h 168115"/>
                <a:gd name="connsiteX2" fmla="*/ 267285 w 372859"/>
                <a:gd name="connsiteY2" fmla="*/ 0 h 168115"/>
                <a:gd name="connsiteX3" fmla="*/ 144562 w 372859"/>
                <a:gd name="connsiteY3" fmla="*/ 0 h 168115"/>
                <a:gd name="connsiteX4" fmla="*/ 96732 w 372859"/>
                <a:gd name="connsiteY4" fmla="*/ 0 h 168115"/>
                <a:gd name="connsiteX5" fmla="*/ 0 w 372859"/>
                <a:gd name="connsiteY5" fmla="*/ 0 h 168115"/>
                <a:gd name="connsiteX6" fmla="*/ 0 w 372859"/>
                <a:gd name="connsiteY6" fmla="*/ 168116 h 168115"/>
                <a:gd name="connsiteX7" fmla="*/ 372860 w 372859"/>
                <a:gd name="connsiteY7" fmla="*/ 168116 h 168115"/>
                <a:gd name="connsiteX8" fmla="*/ 372860 w 372859"/>
                <a:gd name="connsiteY8" fmla="*/ 0 h 16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859" h="168115">
                  <a:moveTo>
                    <a:pt x="372860" y="0"/>
                  </a:moveTo>
                  <a:lnTo>
                    <a:pt x="308148" y="0"/>
                  </a:lnTo>
                  <a:lnTo>
                    <a:pt x="267285" y="0"/>
                  </a:lnTo>
                  <a:lnTo>
                    <a:pt x="144562" y="0"/>
                  </a:lnTo>
                  <a:lnTo>
                    <a:pt x="96732" y="0"/>
                  </a:lnTo>
                  <a:lnTo>
                    <a:pt x="0" y="0"/>
                  </a:lnTo>
                  <a:lnTo>
                    <a:pt x="0" y="168116"/>
                  </a:lnTo>
                  <a:lnTo>
                    <a:pt x="372860" y="168116"/>
                  </a:lnTo>
                  <a:lnTo>
                    <a:pt x="372860" y="0"/>
                  </a:lnTo>
                  <a:close/>
                </a:path>
              </a:pathLst>
            </a:custGeom>
            <a:solidFill>
              <a:schemeClr val="accent2">
                <a:lumMod val="75000"/>
              </a:schemeClr>
            </a:solidFill>
            <a:ln w="12700" cap="flat">
              <a:noFill/>
              <a:prstDash val="solid"/>
              <a:miter/>
            </a:ln>
          </p:spPr>
          <p:txBody>
            <a:bodyPr rtlCol="0" anchor="ctr"/>
            <a:lstStyle/>
            <a:p>
              <a:endParaRPr lang="en-US"/>
            </a:p>
          </p:txBody>
        </p:sp>
        <p:sp>
          <p:nvSpPr>
            <p:cNvPr id="1549" name="Freeform: Shape 1548">
              <a:extLst>
                <a:ext uri="{FF2B5EF4-FFF2-40B4-BE49-F238E27FC236}">
                  <a16:creationId xmlns:a16="http://schemas.microsoft.com/office/drawing/2014/main" id="{93D6D089-E4B1-4F3D-92F1-EFBDECDCB429}"/>
                </a:ext>
              </a:extLst>
            </p:cNvPr>
            <p:cNvSpPr/>
            <p:nvPr/>
          </p:nvSpPr>
          <p:spPr>
            <a:xfrm>
              <a:off x="319804" y="6109450"/>
              <a:ext cx="38317" cy="354315"/>
            </a:xfrm>
            <a:custGeom>
              <a:avLst/>
              <a:gdLst>
                <a:gd name="connsiteX0" fmla="*/ 2412 w 38317"/>
                <a:gd name="connsiteY0" fmla="*/ 353914 h 354315"/>
                <a:gd name="connsiteX1" fmla="*/ 3617 w 38317"/>
                <a:gd name="connsiteY1" fmla="*/ 353914 h 354315"/>
                <a:gd name="connsiteX2" fmla="*/ 37648 w 38317"/>
                <a:gd name="connsiteY2" fmla="*/ 352842 h 354315"/>
                <a:gd name="connsiteX3" fmla="*/ 38318 w 38317"/>
                <a:gd name="connsiteY3" fmla="*/ 352842 h 354315"/>
                <a:gd name="connsiteX4" fmla="*/ 38318 w 38317"/>
                <a:gd name="connsiteY4" fmla="*/ 0 h 354315"/>
                <a:gd name="connsiteX5" fmla="*/ 0 w 38317"/>
                <a:gd name="connsiteY5" fmla="*/ 0 h 354315"/>
                <a:gd name="connsiteX6" fmla="*/ 804 w 38317"/>
                <a:gd name="connsiteY6" fmla="*/ 3081 h 354315"/>
                <a:gd name="connsiteX7" fmla="*/ 804 w 38317"/>
                <a:gd name="connsiteY7" fmla="*/ 354315 h 354315"/>
                <a:gd name="connsiteX8" fmla="*/ 804 w 38317"/>
                <a:gd name="connsiteY8" fmla="*/ 354315 h 354315"/>
                <a:gd name="connsiteX9" fmla="*/ 2412 w 38317"/>
                <a:gd name="connsiteY9" fmla="*/ 353914 h 35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317" h="354315">
                  <a:moveTo>
                    <a:pt x="2412" y="353914"/>
                  </a:moveTo>
                  <a:lnTo>
                    <a:pt x="3617" y="353914"/>
                  </a:lnTo>
                  <a:lnTo>
                    <a:pt x="37648" y="352842"/>
                  </a:lnTo>
                  <a:lnTo>
                    <a:pt x="38318" y="352842"/>
                  </a:lnTo>
                  <a:lnTo>
                    <a:pt x="38318" y="0"/>
                  </a:lnTo>
                  <a:lnTo>
                    <a:pt x="0" y="0"/>
                  </a:lnTo>
                  <a:cubicBezTo>
                    <a:pt x="470" y="964"/>
                    <a:pt x="744" y="2009"/>
                    <a:pt x="804" y="3081"/>
                  </a:cubicBezTo>
                  <a:lnTo>
                    <a:pt x="804" y="354315"/>
                  </a:lnTo>
                  <a:lnTo>
                    <a:pt x="804" y="354315"/>
                  </a:lnTo>
                  <a:cubicBezTo>
                    <a:pt x="1312" y="354088"/>
                    <a:pt x="1856" y="353954"/>
                    <a:pt x="2412" y="353914"/>
                  </a:cubicBezTo>
                  <a:close/>
                </a:path>
              </a:pathLst>
            </a:custGeom>
            <a:solidFill>
              <a:srgbClr val="F39896"/>
            </a:solidFill>
            <a:ln w="12700" cap="flat">
              <a:noFill/>
              <a:prstDash val="solid"/>
              <a:miter/>
            </a:ln>
          </p:spPr>
          <p:txBody>
            <a:bodyPr rtlCol="0" anchor="ctr"/>
            <a:lstStyle/>
            <a:p>
              <a:endParaRPr lang="en-US"/>
            </a:p>
          </p:txBody>
        </p:sp>
        <p:sp>
          <p:nvSpPr>
            <p:cNvPr id="1550" name="Freeform: Shape 1549">
              <a:extLst>
                <a:ext uri="{FF2B5EF4-FFF2-40B4-BE49-F238E27FC236}">
                  <a16:creationId xmlns:a16="http://schemas.microsoft.com/office/drawing/2014/main" id="{CF4492E1-5028-4474-9B9F-BA4809CED128}"/>
                </a:ext>
              </a:extLst>
            </p:cNvPr>
            <p:cNvSpPr/>
            <p:nvPr/>
          </p:nvSpPr>
          <p:spPr>
            <a:xfrm>
              <a:off x="296492" y="6109450"/>
              <a:ext cx="9646" cy="2411"/>
            </a:xfrm>
            <a:custGeom>
              <a:avLst/>
              <a:gdLst>
                <a:gd name="connsiteX0" fmla="*/ 0 w 9646"/>
                <a:gd name="connsiteY0" fmla="*/ 0 h 2411"/>
                <a:gd name="connsiteX1" fmla="*/ 9646 w 9646"/>
                <a:gd name="connsiteY1" fmla="*/ 2411 h 2411"/>
                <a:gd name="connsiteX2" fmla="*/ 9646 w 9646"/>
                <a:gd name="connsiteY2" fmla="*/ 0 h 2411"/>
              </a:gdLst>
              <a:ahLst/>
              <a:cxnLst>
                <a:cxn ang="0">
                  <a:pos x="connsiteX0" y="connsiteY0"/>
                </a:cxn>
                <a:cxn ang="0">
                  <a:pos x="connsiteX1" y="connsiteY1"/>
                </a:cxn>
                <a:cxn ang="0">
                  <a:pos x="connsiteX2" y="connsiteY2"/>
                </a:cxn>
              </a:cxnLst>
              <a:rect l="l" t="t" r="r" b="b"/>
              <a:pathLst>
                <a:path w="9646" h="2411">
                  <a:moveTo>
                    <a:pt x="0" y="0"/>
                  </a:moveTo>
                  <a:lnTo>
                    <a:pt x="9646" y="2411"/>
                  </a:lnTo>
                  <a:cubicBezTo>
                    <a:pt x="9508" y="1607"/>
                    <a:pt x="9508" y="804"/>
                    <a:pt x="9646" y="0"/>
                  </a:cubicBezTo>
                  <a:close/>
                </a:path>
              </a:pathLst>
            </a:custGeom>
            <a:solidFill>
              <a:srgbClr val="F39896"/>
            </a:solidFill>
            <a:ln w="12700" cap="flat">
              <a:noFill/>
              <a:prstDash val="solid"/>
              <a:miter/>
            </a:ln>
          </p:spPr>
          <p:txBody>
            <a:bodyPr rtlCol="0" anchor="ctr"/>
            <a:lstStyle/>
            <a:p>
              <a:endParaRPr lang="en-US"/>
            </a:p>
          </p:txBody>
        </p:sp>
        <p:sp>
          <p:nvSpPr>
            <p:cNvPr id="1551" name="Freeform: Shape 1550">
              <a:extLst>
                <a:ext uri="{FF2B5EF4-FFF2-40B4-BE49-F238E27FC236}">
                  <a16:creationId xmlns:a16="http://schemas.microsoft.com/office/drawing/2014/main" id="{40F621AA-1EAD-4351-BD09-155262096755}"/>
                </a:ext>
              </a:extLst>
            </p:cNvPr>
            <p:cNvSpPr/>
            <p:nvPr/>
          </p:nvSpPr>
          <p:spPr>
            <a:xfrm>
              <a:off x="1432621" y="5844215"/>
              <a:ext cx="937" cy="288810"/>
            </a:xfrm>
            <a:custGeom>
              <a:avLst/>
              <a:gdLst>
                <a:gd name="connsiteX0" fmla="*/ 938 w 937"/>
                <a:gd name="connsiteY0" fmla="*/ 288543 h 288810"/>
                <a:gd name="connsiteX1" fmla="*/ 938 w 937"/>
                <a:gd name="connsiteY1" fmla="*/ 0 h 288810"/>
                <a:gd name="connsiteX2" fmla="*/ 0 w 937"/>
                <a:gd name="connsiteY2" fmla="*/ 0 h 288810"/>
                <a:gd name="connsiteX3" fmla="*/ 0 w 937"/>
                <a:gd name="connsiteY3" fmla="*/ 288811 h 288810"/>
              </a:gdLst>
              <a:ahLst/>
              <a:cxnLst>
                <a:cxn ang="0">
                  <a:pos x="connsiteX0" y="connsiteY0"/>
                </a:cxn>
                <a:cxn ang="0">
                  <a:pos x="connsiteX1" y="connsiteY1"/>
                </a:cxn>
                <a:cxn ang="0">
                  <a:pos x="connsiteX2" y="connsiteY2"/>
                </a:cxn>
                <a:cxn ang="0">
                  <a:pos x="connsiteX3" y="connsiteY3"/>
                </a:cxn>
              </a:cxnLst>
              <a:rect l="l" t="t" r="r" b="b"/>
              <a:pathLst>
                <a:path w="937" h="288810">
                  <a:moveTo>
                    <a:pt x="938" y="288543"/>
                  </a:moveTo>
                  <a:lnTo>
                    <a:pt x="938" y="0"/>
                  </a:lnTo>
                  <a:lnTo>
                    <a:pt x="0" y="0"/>
                  </a:lnTo>
                  <a:lnTo>
                    <a:pt x="0" y="288811"/>
                  </a:lnTo>
                  <a:close/>
                </a:path>
              </a:pathLst>
            </a:custGeom>
            <a:solidFill>
              <a:srgbClr val="F4F5F3"/>
            </a:solidFill>
            <a:ln w="12700" cap="flat">
              <a:noFill/>
              <a:prstDash val="solid"/>
              <a:miter/>
            </a:ln>
          </p:spPr>
          <p:txBody>
            <a:bodyPr rtlCol="0" anchor="ctr"/>
            <a:lstStyle/>
            <a:p>
              <a:endParaRPr lang="en-US"/>
            </a:p>
          </p:txBody>
        </p:sp>
        <p:sp>
          <p:nvSpPr>
            <p:cNvPr id="1552" name="Freeform: Shape 1551">
              <a:extLst>
                <a:ext uri="{FF2B5EF4-FFF2-40B4-BE49-F238E27FC236}">
                  <a16:creationId xmlns:a16="http://schemas.microsoft.com/office/drawing/2014/main" id="{024A8B92-9FB2-4D73-9FD5-C904BD0E6762}"/>
                </a:ext>
              </a:extLst>
            </p:cNvPr>
            <p:cNvSpPr/>
            <p:nvPr/>
          </p:nvSpPr>
          <p:spPr>
            <a:xfrm>
              <a:off x="1436105" y="5844483"/>
              <a:ext cx="335613" cy="617540"/>
            </a:xfrm>
            <a:custGeom>
              <a:avLst/>
              <a:gdLst>
                <a:gd name="connsiteX0" fmla="*/ 7101 w 335613"/>
                <a:gd name="connsiteY0" fmla="*/ 288275 h 617540"/>
                <a:gd name="connsiteX1" fmla="*/ 8039 w 335613"/>
                <a:gd name="connsiteY1" fmla="*/ 288275 h 617540"/>
                <a:gd name="connsiteX2" fmla="*/ 9646 w 335613"/>
                <a:gd name="connsiteY2" fmla="*/ 288275 h 617540"/>
                <a:gd name="connsiteX3" fmla="*/ 10852 w 335613"/>
                <a:gd name="connsiteY3" fmla="*/ 288275 h 617540"/>
                <a:gd name="connsiteX4" fmla="*/ 11924 w 335613"/>
                <a:gd name="connsiteY4" fmla="*/ 289079 h 617540"/>
                <a:gd name="connsiteX5" fmla="*/ 12996 w 335613"/>
                <a:gd name="connsiteY5" fmla="*/ 290284 h 617540"/>
                <a:gd name="connsiteX6" fmla="*/ 12996 w 335613"/>
                <a:gd name="connsiteY6" fmla="*/ 291088 h 617540"/>
                <a:gd name="connsiteX7" fmla="*/ 14068 w 335613"/>
                <a:gd name="connsiteY7" fmla="*/ 293231 h 617540"/>
                <a:gd name="connsiteX8" fmla="*/ 14068 w 335613"/>
                <a:gd name="connsiteY8" fmla="*/ 293231 h 617540"/>
                <a:gd name="connsiteX9" fmla="*/ 14068 w 335613"/>
                <a:gd name="connsiteY9" fmla="*/ 294705 h 617540"/>
                <a:gd name="connsiteX10" fmla="*/ 14068 w 335613"/>
                <a:gd name="connsiteY10" fmla="*/ 296044 h 617540"/>
                <a:gd name="connsiteX11" fmla="*/ 14068 w 335613"/>
                <a:gd name="connsiteY11" fmla="*/ 617540 h 617540"/>
                <a:gd name="connsiteX12" fmla="*/ 335614 w 335613"/>
                <a:gd name="connsiteY12" fmla="*/ 617540 h 617540"/>
                <a:gd name="connsiteX13" fmla="*/ 335614 w 335613"/>
                <a:gd name="connsiteY13" fmla="*/ 0 h 617540"/>
                <a:gd name="connsiteX14" fmla="*/ 0 w 335613"/>
                <a:gd name="connsiteY14" fmla="*/ 0 h 617540"/>
                <a:gd name="connsiteX15" fmla="*/ 0 w 335613"/>
                <a:gd name="connsiteY15" fmla="*/ 288275 h 6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613" h="617540">
                  <a:moveTo>
                    <a:pt x="7101" y="288275"/>
                  </a:moveTo>
                  <a:lnTo>
                    <a:pt x="8039" y="288275"/>
                  </a:lnTo>
                  <a:lnTo>
                    <a:pt x="9646" y="288275"/>
                  </a:lnTo>
                  <a:lnTo>
                    <a:pt x="10852" y="288275"/>
                  </a:lnTo>
                  <a:lnTo>
                    <a:pt x="11924" y="289079"/>
                  </a:lnTo>
                  <a:lnTo>
                    <a:pt x="12996" y="290284"/>
                  </a:lnTo>
                  <a:lnTo>
                    <a:pt x="12996" y="291088"/>
                  </a:lnTo>
                  <a:lnTo>
                    <a:pt x="14068" y="293231"/>
                  </a:lnTo>
                  <a:lnTo>
                    <a:pt x="14068" y="293231"/>
                  </a:lnTo>
                  <a:lnTo>
                    <a:pt x="14068" y="294705"/>
                  </a:lnTo>
                  <a:cubicBezTo>
                    <a:pt x="14135" y="295147"/>
                    <a:pt x="14135" y="295602"/>
                    <a:pt x="14068" y="296044"/>
                  </a:cubicBezTo>
                  <a:lnTo>
                    <a:pt x="14068" y="617540"/>
                  </a:lnTo>
                  <a:lnTo>
                    <a:pt x="335614" y="617540"/>
                  </a:lnTo>
                  <a:lnTo>
                    <a:pt x="335614" y="0"/>
                  </a:lnTo>
                  <a:lnTo>
                    <a:pt x="0" y="0"/>
                  </a:lnTo>
                  <a:lnTo>
                    <a:pt x="0" y="288275"/>
                  </a:lnTo>
                  <a:close/>
                </a:path>
              </a:pathLst>
            </a:custGeom>
            <a:solidFill>
              <a:schemeClr val="accent3"/>
            </a:solidFill>
            <a:ln w="12700" cap="flat">
              <a:noFill/>
              <a:prstDash val="solid"/>
              <a:miter/>
            </a:ln>
          </p:spPr>
          <p:txBody>
            <a:bodyPr rtlCol="0" anchor="ctr"/>
            <a:lstStyle/>
            <a:p>
              <a:endParaRPr lang="en-US"/>
            </a:p>
          </p:txBody>
        </p:sp>
        <p:sp>
          <p:nvSpPr>
            <p:cNvPr id="1553" name="Freeform: Shape 1552">
              <a:extLst>
                <a:ext uri="{FF2B5EF4-FFF2-40B4-BE49-F238E27FC236}">
                  <a16:creationId xmlns:a16="http://schemas.microsoft.com/office/drawing/2014/main" id="{641044B0-A5A8-4C8B-819B-6C5771DCD74A}"/>
                </a:ext>
              </a:extLst>
            </p:cNvPr>
            <p:cNvSpPr/>
            <p:nvPr/>
          </p:nvSpPr>
          <p:spPr>
            <a:xfrm>
              <a:off x="4336049" y="6550703"/>
              <a:ext cx="224546" cy="303144"/>
            </a:xfrm>
            <a:custGeom>
              <a:avLst/>
              <a:gdLst>
                <a:gd name="connsiteX0" fmla="*/ 167874 w 224546"/>
                <a:gd name="connsiteY0" fmla="*/ 0 h 303144"/>
                <a:gd name="connsiteX1" fmla="*/ 88827 w 224546"/>
                <a:gd name="connsiteY1" fmla="*/ 0 h 303144"/>
                <a:gd name="connsiteX2" fmla="*/ 0 w 224546"/>
                <a:gd name="connsiteY2" fmla="*/ 0 h 303144"/>
                <a:gd name="connsiteX3" fmla="*/ 0 w 224546"/>
                <a:gd name="connsiteY3" fmla="*/ 303144 h 303144"/>
                <a:gd name="connsiteX4" fmla="*/ 224546 w 224546"/>
                <a:gd name="connsiteY4" fmla="*/ 303144 h 303144"/>
                <a:gd name="connsiteX5" fmla="*/ 224546 w 224546"/>
                <a:gd name="connsiteY5" fmla="*/ 2143 h 303144"/>
                <a:gd name="connsiteX6" fmla="*/ 167874 w 224546"/>
                <a:gd name="connsiteY6" fmla="*/ 0 h 30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546" h="303144">
                  <a:moveTo>
                    <a:pt x="167874" y="0"/>
                  </a:moveTo>
                  <a:lnTo>
                    <a:pt x="88827" y="0"/>
                  </a:lnTo>
                  <a:lnTo>
                    <a:pt x="0" y="0"/>
                  </a:lnTo>
                  <a:lnTo>
                    <a:pt x="0" y="303144"/>
                  </a:lnTo>
                  <a:lnTo>
                    <a:pt x="224546" y="303144"/>
                  </a:lnTo>
                  <a:lnTo>
                    <a:pt x="224546" y="2143"/>
                  </a:lnTo>
                  <a:lnTo>
                    <a:pt x="167874" y="0"/>
                  </a:lnTo>
                  <a:close/>
                </a:path>
              </a:pathLst>
            </a:custGeom>
            <a:solidFill>
              <a:schemeClr val="accent1"/>
            </a:solidFill>
            <a:ln w="12700" cap="flat">
              <a:noFill/>
              <a:prstDash val="solid"/>
              <a:miter/>
            </a:ln>
          </p:spPr>
          <p:txBody>
            <a:bodyPr rtlCol="0" anchor="ctr"/>
            <a:lstStyle/>
            <a:p>
              <a:endParaRPr lang="en-US"/>
            </a:p>
          </p:txBody>
        </p:sp>
        <p:sp>
          <p:nvSpPr>
            <p:cNvPr id="1554" name="Freeform: Shape 1553">
              <a:extLst>
                <a:ext uri="{FF2B5EF4-FFF2-40B4-BE49-F238E27FC236}">
                  <a16:creationId xmlns:a16="http://schemas.microsoft.com/office/drawing/2014/main" id="{064DE8CB-7A22-4F2F-A0A1-2ADB752ED679}"/>
                </a:ext>
              </a:extLst>
            </p:cNvPr>
            <p:cNvSpPr/>
            <p:nvPr/>
          </p:nvSpPr>
          <p:spPr>
            <a:xfrm>
              <a:off x="4277367" y="6550703"/>
              <a:ext cx="56136" cy="303010"/>
            </a:xfrm>
            <a:custGeom>
              <a:avLst/>
              <a:gdLst>
                <a:gd name="connsiteX0" fmla="*/ 0 w 56136"/>
                <a:gd name="connsiteY0" fmla="*/ 0 h 303010"/>
                <a:gd name="connsiteX1" fmla="*/ 56137 w 56136"/>
                <a:gd name="connsiteY1" fmla="*/ 0 h 303010"/>
                <a:gd name="connsiteX2" fmla="*/ 56137 w 56136"/>
                <a:gd name="connsiteY2" fmla="*/ 303010 h 303010"/>
                <a:gd name="connsiteX3" fmla="*/ 0 w 56136"/>
                <a:gd name="connsiteY3" fmla="*/ 303010 h 303010"/>
              </a:gdLst>
              <a:ahLst/>
              <a:cxnLst>
                <a:cxn ang="0">
                  <a:pos x="connsiteX0" y="connsiteY0"/>
                </a:cxn>
                <a:cxn ang="0">
                  <a:pos x="connsiteX1" y="connsiteY1"/>
                </a:cxn>
                <a:cxn ang="0">
                  <a:pos x="connsiteX2" y="connsiteY2"/>
                </a:cxn>
                <a:cxn ang="0">
                  <a:pos x="connsiteX3" y="connsiteY3"/>
                </a:cxn>
              </a:cxnLst>
              <a:rect l="l" t="t" r="r" b="b"/>
              <a:pathLst>
                <a:path w="56136" h="303010">
                  <a:moveTo>
                    <a:pt x="0" y="0"/>
                  </a:moveTo>
                  <a:lnTo>
                    <a:pt x="56137" y="0"/>
                  </a:lnTo>
                  <a:lnTo>
                    <a:pt x="56137" y="303010"/>
                  </a:lnTo>
                  <a:lnTo>
                    <a:pt x="0" y="303010"/>
                  </a:lnTo>
                  <a:close/>
                </a:path>
              </a:pathLst>
            </a:custGeom>
            <a:solidFill>
              <a:srgbClr val="F39896"/>
            </a:solidFill>
            <a:ln w="12700" cap="flat">
              <a:noFill/>
              <a:prstDash val="solid"/>
              <a:miter/>
            </a:ln>
          </p:spPr>
          <p:txBody>
            <a:bodyPr rtlCol="0" anchor="ctr"/>
            <a:lstStyle/>
            <a:p>
              <a:endParaRPr lang="en-US"/>
            </a:p>
          </p:txBody>
        </p:sp>
        <p:sp>
          <p:nvSpPr>
            <p:cNvPr id="1555" name="Freeform: Shape 1554">
              <a:extLst>
                <a:ext uri="{FF2B5EF4-FFF2-40B4-BE49-F238E27FC236}">
                  <a16:creationId xmlns:a16="http://schemas.microsoft.com/office/drawing/2014/main" id="{4B36DAC1-DBAE-41F9-BD3C-9033A1811153}"/>
                </a:ext>
              </a:extLst>
            </p:cNvPr>
            <p:cNvSpPr/>
            <p:nvPr/>
          </p:nvSpPr>
          <p:spPr>
            <a:xfrm>
              <a:off x="4210378" y="5951649"/>
              <a:ext cx="207263" cy="584453"/>
            </a:xfrm>
            <a:custGeom>
              <a:avLst/>
              <a:gdLst>
                <a:gd name="connsiteX0" fmla="*/ 0 w 207263"/>
                <a:gd name="connsiteY0" fmla="*/ 3349 h 584453"/>
                <a:gd name="connsiteX1" fmla="*/ 0 w 207263"/>
                <a:gd name="connsiteY1" fmla="*/ 581774 h 584453"/>
                <a:gd name="connsiteX2" fmla="*/ 65917 w 207263"/>
                <a:gd name="connsiteY2" fmla="*/ 584453 h 584453"/>
                <a:gd name="connsiteX3" fmla="*/ 207263 w 207263"/>
                <a:gd name="connsiteY3" fmla="*/ 584453 h 584453"/>
                <a:gd name="connsiteX4" fmla="*/ 207263 w 207263"/>
                <a:gd name="connsiteY4" fmla="*/ 0 h 584453"/>
                <a:gd name="connsiteX5" fmla="*/ 0 w 207263"/>
                <a:gd name="connsiteY5" fmla="*/ 0 h 584453"/>
                <a:gd name="connsiteX6" fmla="*/ 0 w 207263"/>
                <a:gd name="connsiteY6" fmla="*/ 3349 h 5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63" h="584453">
                  <a:moveTo>
                    <a:pt x="0" y="3349"/>
                  </a:moveTo>
                  <a:lnTo>
                    <a:pt x="0" y="581774"/>
                  </a:lnTo>
                  <a:lnTo>
                    <a:pt x="65917" y="584453"/>
                  </a:lnTo>
                  <a:lnTo>
                    <a:pt x="207263" y="584453"/>
                  </a:lnTo>
                  <a:lnTo>
                    <a:pt x="207263" y="0"/>
                  </a:lnTo>
                  <a:lnTo>
                    <a:pt x="0" y="0"/>
                  </a:lnTo>
                  <a:lnTo>
                    <a:pt x="0" y="3349"/>
                  </a:lnTo>
                  <a:close/>
                </a:path>
              </a:pathLst>
            </a:custGeom>
            <a:solidFill>
              <a:schemeClr val="bg1">
                <a:lumMod val="95000"/>
              </a:schemeClr>
            </a:solidFill>
            <a:ln w="12700" cap="flat">
              <a:noFill/>
              <a:prstDash val="solid"/>
              <a:miter/>
            </a:ln>
          </p:spPr>
          <p:txBody>
            <a:bodyPr rtlCol="0" anchor="ctr"/>
            <a:lstStyle/>
            <a:p>
              <a:endParaRPr lang="en-US"/>
            </a:p>
          </p:txBody>
        </p:sp>
        <p:sp>
          <p:nvSpPr>
            <p:cNvPr id="1556" name="Freeform: Shape 1555">
              <a:extLst>
                <a:ext uri="{FF2B5EF4-FFF2-40B4-BE49-F238E27FC236}">
                  <a16:creationId xmlns:a16="http://schemas.microsoft.com/office/drawing/2014/main" id="{A4EC55DB-88D6-411F-A4A9-BA3C40ABACE3}"/>
                </a:ext>
              </a:extLst>
            </p:cNvPr>
            <p:cNvSpPr/>
            <p:nvPr/>
          </p:nvSpPr>
          <p:spPr>
            <a:xfrm>
              <a:off x="1775738" y="5662168"/>
              <a:ext cx="182075" cy="135028"/>
            </a:xfrm>
            <a:custGeom>
              <a:avLst/>
              <a:gdLst>
                <a:gd name="connsiteX0" fmla="*/ 134 w 182075"/>
                <a:gd name="connsiteY0" fmla="*/ 133957 h 135028"/>
                <a:gd name="connsiteX1" fmla="*/ 1340 w 182075"/>
                <a:gd name="connsiteY1" fmla="*/ 133957 h 135028"/>
                <a:gd name="connsiteX2" fmla="*/ 2814 w 182075"/>
                <a:gd name="connsiteY2" fmla="*/ 133957 h 135028"/>
                <a:gd name="connsiteX3" fmla="*/ 182076 w 182075"/>
                <a:gd name="connsiteY3" fmla="*/ 133957 h 135028"/>
                <a:gd name="connsiteX4" fmla="*/ 182076 w 182075"/>
                <a:gd name="connsiteY4" fmla="*/ 0 h 135028"/>
                <a:gd name="connsiteX5" fmla="*/ 0 w 182075"/>
                <a:gd name="connsiteY5" fmla="*/ 0 h 135028"/>
                <a:gd name="connsiteX6" fmla="*/ 0 w 182075"/>
                <a:gd name="connsiteY6" fmla="*/ 1072 h 135028"/>
                <a:gd name="connsiteX7" fmla="*/ 0 w 182075"/>
                <a:gd name="connsiteY7" fmla="*/ 135028 h 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075" h="135028">
                  <a:moveTo>
                    <a:pt x="134" y="133957"/>
                  </a:moveTo>
                  <a:lnTo>
                    <a:pt x="1340" y="133957"/>
                  </a:lnTo>
                  <a:lnTo>
                    <a:pt x="2814" y="133957"/>
                  </a:lnTo>
                  <a:lnTo>
                    <a:pt x="182076" y="133957"/>
                  </a:lnTo>
                  <a:lnTo>
                    <a:pt x="182076" y="0"/>
                  </a:lnTo>
                  <a:lnTo>
                    <a:pt x="0" y="0"/>
                  </a:lnTo>
                  <a:lnTo>
                    <a:pt x="0" y="1072"/>
                  </a:lnTo>
                  <a:lnTo>
                    <a:pt x="0" y="135028"/>
                  </a:lnTo>
                  <a:close/>
                </a:path>
              </a:pathLst>
            </a:custGeom>
            <a:solidFill>
              <a:schemeClr val="accent5"/>
            </a:solidFill>
            <a:ln w="12700" cap="flat">
              <a:noFill/>
              <a:prstDash val="solid"/>
              <a:miter/>
            </a:ln>
          </p:spPr>
          <p:txBody>
            <a:bodyPr rtlCol="0" anchor="ctr"/>
            <a:lstStyle/>
            <a:p>
              <a:endParaRPr lang="en-US"/>
            </a:p>
          </p:txBody>
        </p:sp>
        <p:sp>
          <p:nvSpPr>
            <p:cNvPr id="1557" name="Freeform: Shape 1556">
              <a:extLst>
                <a:ext uri="{FF2B5EF4-FFF2-40B4-BE49-F238E27FC236}">
                  <a16:creationId xmlns:a16="http://schemas.microsoft.com/office/drawing/2014/main" id="{5A0B8979-1F26-451E-8371-BA9F2DF2F559}"/>
                </a:ext>
              </a:extLst>
            </p:cNvPr>
            <p:cNvSpPr/>
            <p:nvPr/>
          </p:nvSpPr>
          <p:spPr>
            <a:xfrm>
              <a:off x="1226028" y="5638994"/>
              <a:ext cx="158227" cy="493764"/>
            </a:xfrm>
            <a:custGeom>
              <a:avLst/>
              <a:gdLst>
                <a:gd name="connsiteX0" fmla="*/ 4019 w 158227"/>
                <a:gd name="connsiteY0" fmla="*/ 201605 h 493764"/>
                <a:gd name="connsiteX1" fmla="*/ 3215 w 158227"/>
                <a:gd name="connsiteY1" fmla="*/ 202810 h 493764"/>
                <a:gd name="connsiteX2" fmla="*/ 2144 w 158227"/>
                <a:gd name="connsiteY2" fmla="*/ 203748 h 493764"/>
                <a:gd name="connsiteX3" fmla="*/ 2144 w 158227"/>
                <a:gd name="connsiteY3" fmla="*/ 204418 h 493764"/>
                <a:gd name="connsiteX4" fmla="*/ 2144 w 158227"/>
                <a:gd name="connsiteY4" fmla="*/ 204418 h 493764"/>
                <a:gd name="connsiteX5" fmla="*/ 0 w 158227"/>
                <a:gd name="connsiteY5" fmla="*/ 205222 h 493764"/>
                <a:gd name="connsiteX6" fmla="*/ 0 w 158227"/>
                <a:gd name="connsiteY6" fmla="*/ 493764 h 493764"/>
                <a:gd name="connsiteX7" fmla="*/ 158227 w 158227"/>
                <a:gd name="connsiteY7" fmla="*/ 493764 h 493764"/>
                <a:gd name="connsiteX8" fmla="*/ 158227 w 158227"/>
                <a:gd name="connsiteY8" fmla="*/ 0 h 493764"/>
                <a:gd name="connsiteX9" fmla="*/ 5091 w 158227"/>
                <a:gd name="connsiteY9" fmla="*/ 0 h 493764"/>
                <a:gd name="connsiteX10" fmla="*/ 5091 w 158227"/>
                <a:gd name="connsiteY10" fmla="*/ 198122 h 493764"/>
                <a:gd name="connsiteX11" fmla="*/ 5091 w 158227"/>
                <a:gd name="connsiteY11" fmla="*/ 198926 h 493764"/>
                <a:gd name="connsiteX12" fmla="*/ 4153 w 158227"/>
                <a:gd name="connsiteY12" fmla="*/ 201605 h 49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227" h="493764">
                  <a:moveTo>
                    <a:pt x="4019" y="201605"/>
                  </a:moveTo>
                  <a:cubicBezTo>
                    <a:pt x="3846" y="202063"/>
                    <a:pt x="3572" y="202476"/>
                    <a:pt x="3215" y="202810"/>
                  </a:cubicBezTo>
                  <a:cubicBezTo>
                    <a:pt x="2923" y="203191"/>
                    <a:pt x="2559" y="203510"/>
                    <a:pt x="2144" y="203748"/>
                  </a:cubicBezTo>
                  <a:lnTo>
                    <a:pt x="2144" y="204418"/>
                  </a:lnTo>
                  <a:lnTo>
                    <a:pt x="2144" y="204418"/>
                  </a:lnTo>
                  <a:cubicBezTo>
                    <a:pt x="1488" y="204824"/>
                    <a:pt x="760" y="205097"/>
                    <a:pt x="0" y="205222"/>
                  </a:cubicBezTo>
                  <a:lnTo>
                    <a:pt x="0" y="493764"/>
                  </a:lnTo>
                  <a:lnTo>
                    <a:pt x="158227" y="493764"/>
                  </a:lnTo>
                  <a:lnTo>
                    <a:pt x="158227" y="0"/>
                  </a:lnTo>
                  <a:lnTo>
                    <a:pt x="5091" y="0"/>
                  </a:lnTo>
                  <a:lnTo>
                    <a:pt x="5091" y="198122"/>
                  </a:lnTo>
                  <a:cubicBezTo>
                    <a:pt x="5091" y="198122"/>
                    <a:pt x="5091" y="198122"/>
                    <a:pt x="5091" y="198926"/>
                  </a:cubicBezTo>
                  <a:cubicBezTo>
                    <a:pt x="4917" y="199861"/>
                    <a:pt x="4599" y="200765"/>
                    <a:pt x="4153" y="201605"/>
                  </a:cubicBez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558" name="Freeform: Shape 1557">
              <a:extLst>
                <a:ext uri="{FF2B5EF4-FFF2-40B4-BE49-F238E27FC236}">
                  <a16:creationId xmlns:a16="http://schemas.microsoft.com/office/drawing/2014/main" id="{4056C959-51E2-4EB3-B413-4D32B9D31871}"/>
                </a:ext>
              </a:extLst>
            </p:cNvPr>
            <p:cNvSpPr/>
            <p:nvPr/>
          </p:nvSpPr>
          <p:spPr>
            <a:xfrm>
              <a:off x="429398" y="5571078"/>
              <a:ext cx="151126" cy="21299"/>
            </a:xfrm>
            <a:custGeom>
              <a:avLst/>
              <a:gdLst>
                <a:gd name="connsiteX0" fmla="*/ 35772 w 151126"/>
                <a:gd name="connsiteY0" fmla="*/ 21299 h 21299"/>
                <a:gd name="connsiteX1" fmla="*/ 151127 w 151126"/>
                <a:gd name="connsiteY1" fmla="*/ 21299 h 21299"/>
                <a:gd name="connsiteX2" fmla="*/ 151127 w 151126"/>
                <a:gd name="connsiteY2" fmla="*/ 0 h 21299"/>
                <a:gd name="connsiteX3" fmla="*/ 0 w 151126"/>
                <a:gd name="connsiteY3" fmla="*/ 0 h 21299"/>
                <a:gd name="connsiteX4" fmla="*/ 28805 w 151126"/>
                <a:gd name="connsiteY4" fmla="*/ 21299 h 21299"/>
                <a:gd name="connsiteX5" fmla="*/ 35772 w 151126"/>
                <a:gd name="connsiteY5" fmla="*/ 21299 h 2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126" h="21299">
                  <a:moveTo>
                    <a:pt x="35772" y="21299"/>
                  </a:moveTo>
                  <a:lnTo>
                    <a:pt x="151127" y="21299"/>
                  </a:lnTo>
                  <a:lnTo>
                    <a:pt x="151127" y="0"/>
                  </a:lnTo>
                  <a:lnTo>
                    <a:pt x="0" y="0"/>
                  </a:lnTo>
                  <a:lnTo>
                    <a:pt x="28805" y="21299"/>
                  </a:lnTo>
                  <a:lnTo>
                    <a:pt x="35772" y="21299"/>
                  </a:lnTo>
                  <a:close/>
                </a:path>
              </a:pathLst>
            </a:custGeom>
            <a:solidFill>
              <a:srgbClr val="F9C996"/>
            </a:solidFill>
            <a:ln w="12700" cap="flat">
              <a:noFill/>
              <a:prstDash val="solid"/>
              <a:miter/>
            </a:ln>
          </p:spPr>
          <p:txBody>
            <a:bodyPr rtlCol="0" anchor="ctr"/>
            <a:lstStyle/>
            <a:p>
              <a:endParaRPr lang="en-US"/>
            </a:p>
          </p:txBody>
        </p:sp>
        <p:sp>
          <p:nvSpPr>
            <p:cNvPr id="1559" name="Freeform: Shape 1558">
              <a:extLst>
                <a:ext uri="{FF2B5EF4-FFF2-40B4-BE49-F238E27FC236}">
                  <a16:creationId xmlns:a16="http://schemas.microsoft.com/office/drawing/2014/main" id="{4C8AC44C-305C-433F-9DF4-23E0B4046ACD}"/>
                </a:ext>
              </a:extLst>
            </p:cNvPr>
            <p:cNvSpPr/>
            <p:nvPr/>
          </p:nvSpPr>
          <p:spPr>
            <a:xfrm>
              <a:off x="424708" y="5571078"/>
              <a:ext cx="29207" cy="21299"/>
            </a:xfrm>
            <a:custGeom>
              <a:avLst/>
              <a:gdLst>
                <a:gd name="connsiteX0" fmla="*/ 402 w 29207"/>
                <a:gd name="connsiteY0" fmla="*/ 0 h 21299"/>
                <a:gd name="connsiteX1" fmla="*/ 0 w 29207"/>
                <a:gd name="connsiteY1" fmla="*/ 0 h 21299"/>
                <a:gd name="connsiteX2" fmla="*/ 0 w 29207"/>
                <a:gd name="connsiteY2" fmla="*/ 21299 h 21299"/>
                <a:gd name="connsiteX3" fmla="*/ 29207 w 29207"/>
                <a:gd name="connsiteY3" fmla="*/ 21299 h 21299"/>
                <a:gd name="connsiteX4" fmla="*/ 402 w 29207"/>
                <a:gd name="connsiteY4" fmla="*/ 0 h 21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07" h="21299">
                  <a:moveTo>
                    <a:pt x="402" y="0"/>
                  </a:moveTo>
                  <a:lnTo>
                    <a:pt x="0" y="0"/>
                  </a:lnTo>
                  <a:lnTo>
                    <a:pt x="0" y="21299"/>
                  </a:lnTo>
                  <a:lnTo>
                    <a:pt x="29207" y="21299"/>
                  </a:lnTo>
                  <a:lnTo>
                    <a:pt x="402" y="0"/>
                  </a:lnTo>
                  <a:close/>
                </a:path>
              </a:pathLst>
            </a:custGeom>
            <a:solidFill>
              <a:srgbClr val="DD2A27"/>
            </a:solidFill>
            <a:ln w="12700" cap="flat">
              <a:noFill/>
              <a:prstDash val="solid"/>
              <a:miter/>
            </a:ln>
          </p:spPr>
          <p:txBody>
            <a:bodyPr rtlCol="0" anchor="ctr"/>
            <a:lstStyle/>
            <a:p>
              <a:endParaRPr lang="en-US"/>
            </a:p>
          </p:txBody>
        </p:sp>
        <p:sp>
          <p:nvSpPr>
            <p:cNvPr id="1560" name="Freeform: Shape 1559">
              <a:extLst>
                <a:ext uri="{FF2B5EF4-FFF2-40B4-BE49-F238E27FC236}">
                  <a16:creationId xmlns:a16="http://schemas.microsoft.com/office/drawing/2014/main" id="{4D5657FB-72BB-47A9-ADDE-63B86C9AE91C}"/>
                </a:ext>
              </a:extLst>
            </p:cNvPr>
            <p:cNvSpPr/>
            <p:nvPr/>
          </p:nvSpPr>
          <p:spPr>
            <a:xfrm>
              <a:off x="4204349" y="6547756"/>
              <a:ext cx="70472" cy="306091"/>
            </a:xfrm>
            <a:custGeom>
              <a:avLst/>
              <a:gdLst>
                <a:gd name="connsiteX0" fmla="*/ 0 w 70472"/>
                <a:gd name="connsiteY0" fmla="*/ 0 h 306091"/>
                <a:gd name="connsiteX1" fmla="*/ 0 w 70472"/>
                <a:gd name="connsiteY1" fmla="*/ 306091 h 306091"/>
                <a:gd name="connsiteX2" fmla="*/ 70472 w 70472"/>
                <a:gd name="connsiteY2" fmla="*/ 306091 h 306091"/>
                <a:gd name="connsiteX3" fmla="*/ 70472 w 70472"/>
                <a:gd name="connsiteY3" fmla="*/ 2947 h 306091"/>
                <a:gd name="connsiteX4" fmla="*/ 0 w 70472"/>
                <a:gd name="connsiteY4" fmla="*/ 0 h 30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72" h="306091">
                  <a:moveTo>
                    <a:pt x="0" y="0"/>
                  </a:moveTo>
                  <a:lnTo>
                    <a:pt x="0" y="306091"/>
                  </a:lnTo>
                  <a:lnTo>
                    <a:pt x="70472" y="306091"/>
                  </a:lnTo>
                  <a:lnTo>
                    <a:pt x="70472" y="2947"/>
                  </a:lnTo>
                  <a:lnTo>
                    <a:pt x="0" y="0"/>
                  </a:lnTo>
                  <a:close/>
                </a:path>
              </a:pathLst>
            </a:custGeom>
            <a:solidFill>
              <a:srgbClr val="088A8F"/>
            </a:solidFill>
            <a:ln w="12700" cap="flat">
              <a:noFill/>
              <a:prstDash val="solid"/>
              <a:miter/>
            </a:ln>
          </p:spPr>
          <p:txBody>
            <a:bodyPr rtlCol="0" anchor="ctr"/>
            <a:lstStyle/>
            <a:p>
              <a:endParaRPr lang="en-US"/>
            </a:p>
          </p:txBody>
        </p:sp>
        <p:sp>
          <p:nvSpPr>
            <p:cNvPr id="1561" name="Freeform: Shape 1560">
              <a:extLst>
                <a:ext uri="{FF2B5EF4-FFF2-40B4-BE49-F238E27FC236}">
                  <a16:creationId xmlns:a16="http://schemas.microsoft.com/office/drawing/2014/main" id="{A0047F2F-C352-4CA2-8E5B-000DE3B67183}"/>
                </a:ext>
              </a:extLst>
            </p:cNvPr>
            <p:cNvSpPr/>
            <p:nvPr/>
          </p:nvSpPr>
          <p:spPr>
            <a:xfrm>
              <a:off x="4079616" y="6541594"/>
              <a:ext cx="122723" cy="311047"/>
            </a:xfrm>
            <a:custGeom>
              <a:avLst/>
              <a:gdLst>
                <a:gd name="connsiteX0" fmla="*/ 97938 w 122723"/>
                <a:gd name="connsiteY0" fmla="*/ 4956 h 311047"/>
                <a:gd name="connsiteX1" fmla="*/ 91373 w 122723"/>
                <a:gd name="connsiteY1" fmla="*/ 0 h 311047"/>
                <a:gd name="connsiteX2" fmla="*/ 84406 w 122723"/>
                <a:gd name="connsiteY2" fmla="*/ 0 h 311047"/>
                <a:gd name="connsiteX3" fmla="*/ 83602 w 122723"/>
                <a:gd name="connsiteY3" fmla="*/ 1206 h 311047"/>
                <a:gd name="connsiteX4" fmla="*/ 82932 w 122723"/>
                <a:gd name="connsiteY4" fmla="*/ 2009 h 311047"/>
                <a:gd name="connsiteX5" fmla="*/ 81458 w 122723"/>
                <a:gd name="connsiteY5" fmla="*/ 3081 h 311047"/>
                <a:gd name="connsiteX6" fmla="*/ 80654 w 122723"/>
                <a:gd name="connsiteY6" fmla="*/ 3081 h 311047"/>
                <a:gd name="connsiteX7" fmla="*/ 77841 w 122723"/>
                <a:gd name="connsiteY7" fmla="*/ 3081 h 311047"/>
                <a:gd name="connsiteX8" fmla="*/ 77841 w 122723"/>
                <a:gd name="connsiteY8" fmla="*/ 3081 h 311047"/>
                <a:gd name="connsiteX9" fmla="*/ 53591 w 122723"/>
                <a:gd name="connsiteY9" fmla="*/ 2009 h 311047"/>
                <a:gd name="connsiteX10" fmla="*/ 0 w 122723"/>
                <a:gd name="connsiteY10" fmla="*/ 2009 h 311047"/>
                <a:gd name="connsiteX11" fmla="*/ 0 w 122723"/>
                <a:gd name="connsiteY11" fmla="*/ 311047 h 311047"/>
                <a:gd name="connsiteX12" fmla="*/ 122723 w 122723"/>
                <a:gd name="connsiteY12" fmla="*/ 311047 h 311047"/>
                <a:gd name="connsiteX13" fmla="*/ 122723 w 122723"/>
                <a:gd name="connsiteY13" fmla="*/ 6028 h 311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3" h="311047">
                  <a:moveTo>
                    <a:pt x="97938" y="4956"/>
                  </a:moveTo>
                  <a:cubicBezTo>
                    <a:pt x="94936" y="4836"/>
                    <a:pt x="92324" y="2853"/>
                    <a:pt x="91373" y="0"/>
                  </a:cubicBezTo>
                  <a:lnTo>
                    <a:pt x="84406" y="0"/>
                  </a:lnTo>
                  <a:lnTo>
                    <a:pt x="83602" y="1206"/>
                  </a:lnTo>
                  <a:lnTo>
                    <a:pt x="82932" y="2009"/>
                  </a:lnTo>
                  <a:lnTo>
                    <a:pt x="81458" y="3081"/>
                  </a:lnTo>
                  <a:lnTo>
                    <a:pt x="80654" y="3081"/>
                  </a:lnTo>
                  <a:cubicBezTo>
                    <a:pt x="79717" y="3228"/>
                    <a:pt x="78779" y="3228"/>
                    <a:pt x="77841" y="3081"/>
                  </a:cubicBezTo>
                  <a:lnTo>
                    <a:pt x="77841" y="3081"/>
                  </a:lnTo>
                  <a:lnTo>
                    <a:pt x="53591" y="2009"/>
                  </a:lnTo>
                  <a:lnTo>
                    <a:pt x="0" y="2009"/>
                  </a:lnTo>
                  <a:lnTo>
                    <a:pt x="0" y="311047"/>
                  </a:lnTo>
                  <a:lnTo>
                    <a:pt x="122723" y="311047"/>
                  </a:lnTo>
                  <a:lnTo>
                    <a:pt x="122723" y="6028"/>
                  </a:lnTo>
                  <a:close/>
                </a:path>
              </a:pathLst>
            </a:custGeom>
            <a:solidFill>
              <a:schemeClr val="accent4"/>
            </a:solidFill>
            <a:ln w="12700" cap="flat">
              <a:noFill/>
              <a:prstDash val="solid"/>
              <a:miter/>
            </a:ln>
          </p:spPr>
          <p:txBody>
            <a:bodyPr rtlCol="0" anchor="ctr"/>
            <a:lstStyle/>
            <a:p>
              <a:endParaRPr lang="en-US"/>
            </a:p>
          </p:txBody>
        </p:sp>
        <p:sp>
          <p:nvSpPr>
            <p:cNvPr id="1562" name="Freeform: Shape 1561">
              <a:extLst>
                <a:ext uri="{FF2B5EF4-FFF2-40B4-BE49-F238E27FC236}">
                  <a16:creationId xmlns:a16="http://schemas.microsoft.com/office/drawing/2014/main" id="{9F40CD13-B591-407F-92E5-7D20C598A450}"/>
                </a:ext>
              </a:extLst>
            </p:cNvPr>
            <p:cNvSpPr/>
            <p:nvPr/>
          </p:nvSpPr>
          <p:spPr>
            <a:xfrm>
              <a:off x="595128" y="5579785"/>
              <a:ext cx="14603" cy="12591"/>
            </a:xfrm>
            <a:custGeom>
              <a:avLst/>
              <a:gdLst>
                <a:gd name="connsiteX0" fmla="*/ 0 w 14603"/>
                <a:gd name="connsiteY0" fmla="*/ 0 h 12591"/>
                <a:gd name="connsiteX1" fmla="*/ 0 w 14603"/>
                <a:gd name="connsiteY1" fmla="*/ 12592 h 12591"/>
                <a:gd name="connsiteX2" fmla="*/ 14604 w 14603"/>
                <a:gd name="connsiteY2" fmla="*/ 12592 h 12591"/>
                <a:gd name="connsiteX3" fmla="*/ 0 w 14603"/>
                <a:gd name="connsiteY3" fmla="*/ 0 h 12591"/>
              </a:gdLst>
              <a:ahLst/>
              <a:cxnLst>
                <a:cxn ang="0">
                  <a:pos x="connsiteX0" y="connsiteY0"/>
                </a:cxn>
                <a:cxn ang="0">
                  <a:pos x="connsiteX1" y="connsiteY1"/>
                </a:cxn>
                <a:cxn ang="0">
                  <a:pos x="connsiteX2" y="connsiteY2"/>
                </a:cxn>
                <a:cxn ang="0">
                  <a:pos x="connsiteX3" y="connsiteY3"/>
                </a:cxn>
              </a:cxnLst>
              <a:rect l="l" t="t" r="r" b="b"/>
              <a:pathLst>
                <a:path w="14603" h="12591">
                  <a:moveTo>
                    <a:pt x="0" y="0"/>
                  </a:moveTo>
                  <a:lnTo>
                    <a:pt x="0" y="12592"/>
                  </a:lnTo>
                  <a:lnTo>
                    <a:pt x="14604" y="12592"/>
                  </a:lnTo>
                  <a:lnTo>
                    <a:pt x="0" y="0"/>
                  </a:lnTo>
                  <a:close/>
                </a:path>
              </a:pathLst>
            </a:custGeom>
            <a:solidFill>
              <a:srgbClr val="9FD1D0"/>
            </a:solidFill>
            <a:ln w="12700" cap="flat">
              <a:noFill/>
              <a:prstDash val="solid"/>
              <a:miter/>
            </a:ln>
          </p:spPr>
          <p:txBody>
            <a:bodyPr rtlCol="0" anchor="ctr"/>
            <a:lstStyle/>
            <a:p>
              <a:endParaRPr lang="en-US"/>
            </a:p>
          </p:txBody>
        </p:sp>
        <p:sp>
          <p:nvSpPr>
            <p:cNvPr id="1563" name="Freeform: Shape 1562">
              <a:extLst>
                <a:ext uri="{FF2B5EF4-FFF2-40B4-BE49-F238E27FC236}">
                  <a16:creationId xmlns:a16="http://schemas.microsoft.com/office/drawing/2014/main" id="{57C71069-7387-4A85-8E3F-A6E70808F891}"/>
                </a:ext>
              </a:extLst>
            </p:cNvPr>
            <p:cNvSpPr/>
            <p:nvPr/>
          </p:nvSpPr>
          <p:spPr>
            <a:xfrm>
              <a:off x="3191613" y="6549631"/>
              <a:ext cx="33226" cy="304215"/>
            </a:xfrm>
            <a:custGeom>
              <a:avLst/>
              <a:gdLst>
                <a:gd name="connsiteX0" fmla="*/ 0 w 33226"/>
                <a:gd name="connsiteY0" fmla="*/ 0 h 304215"/>
                <a:gd name="connsiteX1" fmla="*/ 33226 w 33226"/>
                <a:gd name="connsiteY1" fmla="*/ 0 h 304215"/>
                <a:gd name="connsiteX2" fmla="*/ 33226 w 33226"/>
                <a:gd name="connsiteY2" fmla="*/ 304216 h 304215"/>
                <a:gd name="connsiteX3" fmla="*/ 0 w 33226"/>
                <a:gd name="connsiteY3" fmla="*/ 304216 h 304215"/>
              </a:gdLst>
              <a:ahLst/>
              <a:cxnLst>
                <a:cxn ang="0">
                  <a:pos x="connsiteX0" y="connsiteY0"/>
                </a:cxn>
                <a:cxn ang="0">
                  <a:pos x="connsiteX1" y="connsiteY1"/>
                </a:cxn>
                <a:cxn ang="0">
                  <a:pos x="connsiteX2" y="connsiteY2"/>
                </a:cxn>
                <a:cxn ang="0">
                  <a:pos x="connsiteX3" y="connsiteY3"/>
                </a:cxn>
              </a:cxnLst>
              <a:rect l="l" t="t" r="r" b="b"/>
              <a:pathLst>
                <a:path w="33226" h="304215">
                  <a:moveTo>
                    <a:pt x="0" y="0"/>
                  </a:moveTo>
                  <a:lnTo>
                    <a:pt x="33226" y="0"/>
                  </a:lnTo>
                  <a:lnTo>
                    <a:pt x="33226" y="304216"/>
                  </a:lnTo>
                  <a:lnTo>
                    <a:pt x="0" y="304216"/>
                  </a:lnTo>
                  <a:close/>
                </a:path>
              </a:pathLst>
            </a:custGeom>
            <a:solidFill>
              <a:srgbClr val="0A4054"/>
            </a:solidFill>
            <a:ln w="12700" cap="flat">
              <a:noFill/>
              <a:prstDash val="solid"/>
              <a:miter/>
            </a:ln>
          </p:spPr>
          <p:txBody>
            <a:bodyPr rtlCol="0" anchor="ctr"/>
            <a:lstStyle/>
            <a:p>
              <a:endParaRPr lang="en-US"/>
            </a:p>
          </p:txBody>
        </p:sp>
        <p:sp>
          <p:nvSpPr>
            <p:cNvPr id="1564" name="Freeform: Shape 1563">
              <a:extLst>
                <a:ext uri="{FF2B5EF4-FFF2-40B4-BE49-F238E27FC236}">
                  <a16:creationId xmlns:a16="http://schemas.microsoft.com/office/drawing/2014/main" id="{57EBF22D-45FF-4DE3-821E-87F437224E1A}"/>
                </a:ext>
              </a:extLst>
            </p:cNvPr>
            <p:cNvSpPr/>
            <p:nvPr/>
          </p:nvSpPr>
          <p:spPr>
            <a:xfrm>
              <a:off x="2839252" y="6549631"/>
              <a:ext cx="349681" cy="304215"/>
            </a:xfrm>
            <a:custGeom>
              <a:avLst/>
              <a:gdLst>
                <a:gd name="connsiteX0" fmla="*/ 0 w 349681"/>
                <a:gd name="connsiteY0" fmla="*/ 0 h 304215"/>
                <a:gd name="connsiteX1" fmla="*/ 349681 w 349681"/>
                <a:gd name="connsiteY1" fmla="*/ 0 h 304215"/>
                <a:gd name="connsiteX2" fmla="*/ 349681 w 349681"/>
                <a:gd name="connsiteY2" fmla="*/ 304216 h 304215"/>
                <a:gd name="connsiteX3" fmla="*/ 0 w 349681"/>
                <a:gd name="connsiteY3" fmla="*/ 304216 h 304215"/>
              </a:gdLst>
              <a:ahLst/>
              <a:cxnLst>
                <a:cxn ang="0">
                  <a:pos x="connsiteX0" y="connsiteY0"/>
                </a:cxn>
                <a:cxn ang="0">
                  <a:pos x="connsiteX1" y="connsiteY1"/>
                </a:cxn>
                <a:cxn ang="0">
                  <a:pos x="connsiteX2" y="connsiteY2"/>
                </a:cxn>
                <a:cxn ang="0">
                  <a:pos x="connsiteX3" y="connsiteY3"/>
                </a:cxn>
              </a:cxnLst>
              <a:rect l="l" t="t" r="r" b="b"/>
              <a:pathLst>
                <a:path w="349681" h="304215">
                  <a:moveTo>
                    <a:pt x="0" y="0"/>
                  </a:moveTo>
                  <a:lnTo>
                    <a:pt x="349681" y="0"/>
                  </a:lnTo>
                  <a:lnTo>
                    <a:pt x="349681" y="304216"/>
                  </a:lnTo>
                  <a:lnTo>
                    <a:pt x="0" y="304216"/>
                  </a:lnTo>
                  <a:close/>
                </a:path>
              </a:pathLst>
            </a:custGeom>
            <a:solidFill>
              <a:schemeClr val="bg1">
                <a:lumMod val="95000"/>
              </a:schemeClr>
            </a:solidFill>
            <a:ln w="12700" cap="flat">
              <a:noFill/>
              <a:prstDash val="solid"/>
              <a:miter/>
            </a:ln>
          </p:spPr>
          <p:txBody>
            <a:bodyPr rtlCol="0" anchor="ctr"/>
            <a:lstStyle/>
            <a:p>
              <a:endParaRPr lang="en-US"/>
            </a:p>
          </p:txBody>
        </p:sp>
        <p:sp>
          <p:nvSpPr>
            <p:cNvPr id="1565" name="Freeform: Shape 1564">
              <a:extLst>
                <a:ext uri="{FF2B5EF4-FFF2-40B4-BE49-F238E27FC236}">
                  <a16:creationId xmlns:a16="http://schemas.microsoft.com/office/drawing/2014/main" id="{BEDF085C-A828-43FA-BB8A-94E4458069FC}"/>
                </a:ext>
              </a:extLst>
            </p:cNvPr>
            <p:cNvSpPr/>
            <p:nvPr/>
          </p:nvSpPr>
          <p:spPr>
            <a:xfrm>
              <a:off x="2089781" y="6478098"/>
              <a:ext cx="124733" cy="375078"/>
            </a:xfrm>
            <a:custGeom>
              <a:avLst/>
              <a:gdLst>
                <a:gd name="connsiteX0" fmla="*/ 124733 w 124733"/>
                <a:gd name="connsiteY0" fmla="*/ 0 h 375078"/>
                <a:gd name="connsiteX1" fmla="*/ 68463 w 124733"/>
                <a:gd name="connsiteY1" fmla="*/ 0 h 375078"/>
                <a:gd name="connsiteX2" fmla="*/ 66989 w 124733"/>
                <a:gd name="connsiteY2" fmla="*/ 0 h 375078"/>
                <a:gd name="connsiteX3" fmla="*/ 0 w 124733"/>
                <a:gd name="connsiteY3" fmla="*/ 0 h 375078"/>
                <a:gd name="connsiteX4" fmla="*/ 0 w 124733"/>
                <a:gd name="connsiteY4" fmla="*/ 375079 h 375078"/>
                <a:gd name="connsiteX5" fmla="*/ 124197 w 124733"/>
                <a:gd name="connsiteY5" fmla="*/ 375079 h 375078"/>
                <a:gd name="connsiteX6" fmla="*/ 124197 w 124733"/>
                <a:gd name="connsiteY6" fmla="*/ 0 h 37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733" h="375078">
                  <a:moveTo>
                    <a:pt x="124733" y="0"/>
                  </a:moveTo>
                  <a:lnTo>
                    <a:pt x="68463" y="0"/>
                  </a:lnTo>
                  <a:lnTo>
                    <a:pt x="66989" y="0"/>
                  </a:lnTo>
                  <a:lnTo>
                    <a:pt x="0" y="0"/>
                  </a:lnTo>
                  <a:lnTo>
                    <a:pt x="0" y="375079"/>
                  </a:lnTo>
                  <a:lnTo>
                    <a:pt x="124197" y="375079"/>
                  </a:lnTo>
                  <a:lnTo>
                    <a:pt x="124197" y="0"/>
                  </a:lnTo>
                  <a:close/>
                </a:path>
              </a:pathLst>
            </a:custGeom>
            <a:solidFill>
              <a:schemeClr val="bg1">
                <a:lumMod val="95000"/>
              </a:schemeClr>
            </a:solidFill>
            <a:ln w="12700" cap="flat">
              <a:noFill/>
              <a:prstDash val="solid"/>
              <a:miter/>
            </a:ln>
          </p:spPr>
          <p:txBody>
            <a:bodyPr rtlCol="0" anchor="ctr"/>
            <a:lstStyle/>
            <a:p>
              <a:endParaRPr lang="en-US"/>
            </a:p>
          </p:txBody>
        </p:sp>
        <p:sp>
          <p:nvSpPr>
            <p:cNvPr id="1566" name="Freeform: Shape 1565">
              <a:extLst>
                <a:ext uri="{FF2B5EF4-FFF2-40B4-BE49-F238E27FC236}">
                  <a16:creationId xmlns:a16="http://schemas.microsoft.com/office/drawing/2014/main" id="{A0DE594C-6404-488B-B07F-B7976C426F8B}"/>
                </a:ext>
              </a:extLst>
            </p:cNvPr>
            <p:cNvSpPr/>
            <p:nvPr/>
          </p:nvSpPr>
          <p:spPr>
            <a:xfrm>
              <a:off x="1991308" y="5860558"/>
              <a:ext cx="331460" cy="678088"/>
            </a:xfrm>
            <a:custGeom>
              <a:avLst/>
              <a:gdLst>
                <a:gd name="connsiteX0" fmla="*/ 81994 w 331460"/>
                <a:gd name="connsiteY0" fmla="*/ 602537 h 678088"/>
                <a:gd name="connsiteX1" fmla="*/ 82664 w 331460"/>
                <a:gd name="connsiteY1" fmla="*/ 602537 h 678088"/>
                <a:gd name="connsiteX2" fmla="*/ 87889 w 331460"/>
                <a:gd name="connsiteY2" fmla="*/ 602537 h 678088"/>
                <a:gd name="connsiteX3" fmla="*/ 230441 w 331460"/>
                <a:gd name="connsiteY3" fmla="*/ 602537 h 678088"/>
                <a:gd name="connsiteX4" fmla="*/ 237676 w 331460"/>
                <a:gd name="connsiteY4" fmla="*/ 609905 h 678088"/>
                <a:gd name="connsiteX5" fmla="*/ 237676 w 331460"/>
                <a:gd name="connsiteY5" fmla="*/ 678089 h 678088"/>
                <a:gd name="connsiteX6" fmla="*/ 331460 w 331460"/>
                <a:gd name="connsiteY6" fmla="*/ 678089 h 678088"/>
                <a:gd name="connsiteX7" fmla="*/ 331460 w 331460"/>
                <a:gd name="connsiteY7" fmla="*/ 0 h 678088"/>
                <a:gd name="connsiteX8" fmla="*/ 0 w 331460"/>
                <a:gd name="connsiteY8" fmla="*/ 0 h 678088"/>
                <a:gd name="connsiteX9" fmla="*/ 0 w 331460"/>
                <a:gd name="connsiteY9" fmla="*/ 602805 h 67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460" h="678088">
                  <a:moveTo>
                    <a:pt x="81994" y="602537"/>
                  </a:moveTo>
                  <a:lnTo>
                    <a:pt x="82664" y="602537"/>
                  </a:lnTo>
                  <a:lnTo>
                    <a:pt x="87889" y="602537"/>
                  </a:lnTo>
                  <a:lnTo>
                    <a:pt x="230441" y="602537"/>
                  </a:lnTo>
                  <a:cubicBezTo>
                    <a:pt x="234461" y="602604"/>
                    <a:pt x="237676" y="605886"/>
                    <a:pt x="237676" y="609905"/>
                  </a:cubicBezTo>
                  <a:lnTo>
                    <a:pt x="237676" y="678089"/>
                  </a:lnTo>
                  <a:lnTo>
                    <a:pt x="331460" y="678089"/>
                  </a:lnTo>
                  <a:lnTo>
                    <a:pt x="331460" y="0"/>
                  </a:lnTo>
                  <a:lnTo>
                    <a:pt x="0" y="0"/>
                  </a:lnTo>
                  <a:lnTo>
                    <a:pt x="0" y="602805"/>
                  </a:lnTo>
                  <a:close/>
                </a:path>
              </a:pathLst>
            </a:custGeom>
            <a:solidFill>
              <a:schemeClr val="accent5">
                <a:lumMod val="50000"/>
              </a:schemeClr>
            </a:solidFill>
            <a:ln w="12700" cap="flat">
              <a:noFill/>
              <a:prstDash val="solid"/>
              <a:miter/>
            </a:ln>
          </p:spPr>
          <p:txBody>
            <a:bodyPr rtlCol="0" anchor="ctr"/>
            <a:lstStyle/>
            <a:p>
              <a:endParaRPr lang="en-US"/>
            </a:p>
          </p:txBody>
        </p:sp>
        <p:sp>
          <p:nvSpPr>
            <p:cNvPr id="1567" name="Freeform: Shape 1566">
              <a:extLst>
                <a:ext uri="{FF2B5EF4-FFF2-40B4-BE49-F238E27FC236}">
                  <a16:creationId xmlns:a16="http://schemas.microsoft.com/office/drawing/2014/main" id="{4366BB9B-A698-4BCA-887D-56D9DC901C8C}"/>
                </a:ext>
              </a:extLst>
            </p:cNvPr>
            <p:cNvSpPr/>
            <p:nvPr/>
          </p:nvSpPr>
          <p:spPr>
            <a:xfrm>
              <a:off x="2332013" y="6544675"/>
              <a:ext cx="461150" cy="309037"/>
            </a:xfrm>
            <a:custGeom>
              <a:avLst/>
              <a:gdLst>
                <a:gd name="connsiteX0" fmla="*/ 4421 w 461150"/>
                <a:gd name="connsiteY0" fmla="*/ 0 h 309037"/>
                <a:gd name="connsiteX1" fmla="*/ 0 w 461150"/>
                <a:gd name="connsiteY1" fmla="*/ 2679 h 309037"/>
                <a:gd name="connsiteX2" fmla="*/ 0 w 461150"/>
                <a:gd name="connsiteY2" fmla="*/ 306895 h 309037"/>
                <a:gd name="connsiteX3" fmla="*/ 2278 w 461150"/>
                <a:gd name="connsiteY3" fmla="*/ 307699 h 309037"/>
                <a:gd name="connsiteX4" fmla="*/ 4823 w 461150"/>
                <a:gd name="connsiteY4" fmla="*/ 309038 h 309037"/>
                <a:gd name="connsiteX5" fmla="*/ 461151 w 461150"/>
                <a:gd name="connsiteY5" fmla="*/ 309038 h 309037"/>
                <a:gd name="connsiteX6" fmla="*/ 461151 w 461150"/>
                <a:gd name="connsiteY6" fmla="*/ 0 h 30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150" h="309037">
                  <a:moveTo>
                    <a:pt x="4421" y="0"/>
                  </a:moveTo>
                  <a:cubicBezTo>
                    <a:pt x="3363" y="1447"/>
                    <a:pt x="1769" y="2411"/>
                    <a:pt x="0" y="2679"/>
                  </a:cubicBezTo>
                  <a:lnTo>
                    <a:pt x="0" y="306895"/>
                  </a:lnTo>
                  <a:cubicBezTo>
                    <a:pt x="804" y="307015"/>
                    <a:pt x="1581" y="307297"/>
                    <a:pt x="2278" y="307699"/>
                  </a:cubicBezTo>
                  <a:lnTo>
                    <a:pt x="4823" y="309038"/>
                  </a:lnTo>
                  <a:lnTo>
                    <a:pt x="461151" y="309038"/>
                  </a:lnTo>
                  <a:lnTo>
                    <a:pt x="461151" y="0"/>
                  </a:lnTo>
                  <a:close/>
                </a:path>
              </a:pathLst>
            </a:custGeom>
            <a:solidFill>
              <a:schemeClr val="accent5">
                <a:lumMod val="50000"/>
              </a:schemeClr>
            </a:solidFill>
            <a:ln w="12700" cap="flat">
              <a:noFill/>
              <a:prstDash val="solid"/>
              <a:miter/>
            </a:ln>
          </p:spPr>
          <p:txBody>
            <a:bodyPr rtlCol="0" anchor="ctr"/>
            <a:lstStyle/>
            <a:p>
              <a:endParaRPr lang="en-US"/>
            </a:p>
          </p:txBody>
        </p:sp>
        <p:sp>
          <p:nvSpPr>
            <p:cNvPr id="1568" name="Freeform: Shape 1567">
              <a:extLst>
                <a:ext uri="{FF2B5EF4-FFF2-40B4-BE49-F238E27FC236}">
                  <a16:creationId xmlns:a16="http://schemas.microsoft.com/office/drawing/2014/main" id="{93D6CB37-ED35-44C2-B71D-F5EDC27D9AC5}"/>
                </a:ext>
              </a:extLst>
            </p:cNvPr>
            <p:cNvSpPr/>
            <p:nvPr/>
          </p:nvSpPr>
          <p:spPr>
            <a:xfrm>
              <a:off x="2228984" y="6541594"/>
              <a:ext cx="100349" cy="312118"/>
            </a:xfrm>
            <a:custGeom>
              <a:avLst/>
              <a:gdLst>
                <a:gd name="connsiteX0" fmla="*/ 100349 w 100349"/>
                <a:gd name="connsiteY0" fmla="*/ 309976 h 312118"/>
                <a:gd name="connsiteX1" fmla="*/ 100349 w 100349"/>
                <a:gd name="connsiteY1" fmla="*/ 5760 h 312118"/>
                <a:gd name="connsiteX2" fmla="*/ 94722 w 100349"/>
                <a:gd name="connsiteY2" fmla="*/ 0 h 312118"/>
                <a:gd name="connsiteX3" fmla="*/ 0 w 100349"/>
                <a:gd name="connsiteY3" fmla="*/ 0 h 312118"/>
                <a:gd name="connsiteX4" fmla="*/ 0 w 100349"/>
                <a:gd name="connsiteY4" fmla="*/ 312119 h 312118"/>
                <a:gd name="connsiteX5" fmla="*/ 96598 w 100349"/>
                <a:gd name="connsiteY5" fmla="*/ 312119 h 312118"/>
                <a:gd name="connsiteX6" fmla="*/ 100349 w 100349"/>
                <a:gd name="connsiteY6" fmla="*/ 309976 h 31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49" h="312118">
                  <a:moveTo>
                    <a:pt x="100349" y="309976"/>
                  </a:moveTo>
                  <a:lnTo>
                    <a:pt x="100349" y="5760"/>
                  </a:lnTo>
                  <a:cubicBezTo>
                    <a:pt x="97442" y="5224"/>
                    <a:pt x="95191" y="2920"/>
                    <a:pt x="94722" y="0"/>
                  </a:cubicBezTo>
                  <a:lnTo>
                    <a:pt x="0" y="0"/>
                  </a:lnTo>
                  <a:lnTo>
                    <a:pt x="0" y="312119"/>
                  </a:lnTo>
                  <a:lnTo>
                    <a:pt x="96598" y="312119"/>
                  </a:lnTo>
                  <a:cubicBezTo>
                    <a:pt x="97589" y="311034"/>
                    <a:pt x="98902" y="310284"/>
                    <a:pt x="100349" y="309976"/>
                  </a:cubicBezTo>
                  <a:close/>
                </a:path>
              </a:pathLst>
            </a:custGeom>
            <a:solidFill>
              <a:srgbClr val="0A4054"/>
            </a:solidFill>
            <a:ln w="12700" cap="flat">
              <a:noFill/>
              <a:prstDash val="solid"/>
              <a:miter/>
            </a:ln>
          </p:spPr>
          <p:txBody>
            <a:bodyPr rtlCol="0" anchor="ctr"/>
            <a:lstStyle/>
            <a:p>
              <a:endParaRPr lang="en-US"/>
            </a:p>
          </p:txBody>
        </p:sp>
        <p:sp>
          <p:nvSpPr>
            <p:cNvPr id="1569" name="Freeform: Shape 1568">
              <a:extLst>
                <a:ext uri="{FF2B5EF4-FFF2-40B4-BE49-F238E27FC236}">
                  <a16:creationId xmlns:a16="http://schemas.microsoft.com/office/drawing/2014/main" id="{4C372955-023D-4A64-82A4-601FFAB34A59}"/>
                </a:ext>
              </a:extLst>
            </p:cNvPr>
            <p:cNvSpPr/>
            <p:nvPr/>
          </p:nvSpPr>
          <p:spPr>
            <a:xfrm>
              <a:off x="708071" y="6478098"/>
              <a:ext cx="1607" cy="375614"/>
            </a:xfrm>
            <a:custGeom>
              <a:avLst/>
              <a:gdLst>
                <a:gd name="connsiteX0" fmla="*/ 0 w 1607"/>
                <a:gd name="connsiteY0" fmla="*/ 0 h 375614"/>
                <a:gd name="connsiteX1" fmla="*/ 1608 w 1607"/>
                <a:gd name="connsiteY1" fmla="*/ 0 h 375614"/>
                <a:gd name="connsiteX2" fmla="*/ 1608 w 1607"/>
                <a:gd name="connsiteY2" fmla="*/ 375614 h 375614"/>
                <a:gd name="connsiteX3" fmla="*/ 0 w 1607"/>
                <a:gd name="connsiteY3" fmla="*/ 375614 h 375614"/>
              </a:gdLst>
              <a:ahLst/>
              <a:cxnLst>
                <a:cxn ang="0">
                  <a:pos x="connsiteX0" y="connsiteY0"/>
                </a:cxn>
                <a:cxn ang="0">
                  <a:pos x="connsiteX1" y="connsiteY1"/>
                </a:cxn>
                <a:cxn ang="0">
                  <a:pos x="connsiteX2" y="connsiteY2"/>
                </a:cxn>
                <a:cxn ang="0">
                  <a:pos x="connsiteX3" y="connsiteY3"/>
                </a:cxn>
              </a:cxnLst>
              <a:rect l="l" t="t" r="r" b="b"/>
              <a:pathLst>
                <a:path w="1607" h="375614">
                  <a:moveTo>
                    <a:pt x="0" y="0"/>
                  </a:moveTo>
                  <a:lnTo>
                    <a:pt x="1608" y="0"/>
                  </a:lnTo>
                  <a:lnTo>
                    <a:pt x="1608" y="375614"/>
                  </a:lnTo>
                  <a:lnTo>
                    <a:pt x="0" y="375614"/>
                  </a:lnTo>
                  <a:close/>
                </a:path>
              </a:pathLst>
            </a:custGeom>
            <a:solidFill>
              <a:srgbClr val="F9C996"/>
            </a:solidFill>
            <a:ln w="12700" cap="flat">
              <a:noFill/>
              <a:prstDash val="solid"/>
              <a:miter/>
            </a:ln>
          </p:spPr>
          <p:txBody>
            <a:bodyPr rtlCol="0" anchor="ctr"/>
            <a:lstStyle/>
            <a:p>
              <a:endParaRPr lang="en-US"/>
            </a:p>
          </p:txBody>
        </p:sp>
        <p:sp>
          <p:nvSpPr>
            <p:cNvPr id="1570" name="Freeform: Shape 1569">
              <a:extLst>
                <a:ext uri="{FF2B5EF4-FFF2-40B4-BE49-F238E27FC236}">
                  <a16:creationId xmlns:a16="http://schemas.microsoft.com/office/drawing/2014/main" id="{E8E8C5E0-7E4A-44FB-B79F-0523D6CB3ABF}"/>
                </a:ext>
              </a:extLst>
            </p:cNvPr>
            <p:cNvSpPr/>
            <p:nvPr/>
          </p:nvSpPr>
          <p:spPr>
            <a:xfrm>
              <a:off x="712224" y="6478098"/>
              <a:ext cx="253887" cy="375614"/>
            </a:xfrm>
            <a:custGeom>
              <a:avLst/>
              <a:gdLst>
                <a:gd name="connsiteX0" fmla="*/ 0 w 253887"/>
                <a:gd name="connsiteY0" fmla="*/ 0 h 375614"/>
                <a:gd name="connsiteX1" fmla="*/ 253887 w 253887"/>
                <a:gd name="connsiteY1" fmla="*/ 0 h 375614"/>
                <a:gd name="connsiteX2" fmla="*/ 253887 w 253887"/>
                <a:gd name="connsiteY2" fmla="*/ 375614 h 375614"/>
                <a:gd name="connsiteX3" fmla="*/ 0 w 253887"/>
                <a:gd name="connsiteY3" fmla="*/ 375614 h 375614"/>
              </a:gdLst>
              <a:ahLst/>
              <a:cxnLst>
                <a:cxn ang="0">
                  <a:pos x="connsiteX0" y="connsiteY0"/>
                </a:cxn>
                <a:cxn ang="0">
                  <a:pos x="connsiteX1" y="connsiteY1"/>
                </a:cxn>
                <a:cxn ang="0">
                  <a:pos x="connsiteX2" y="connsiteY2"/>
                </a:cxn>
                <a:cxn ang="0">
                  <a:pos x="connsiteX3" y="connsiteY3"/>
                </a:cxn>
              </a:cxnLst>
              <a:rect l="l" t="t" r="r" b="b"/>
              <a:pathLst>
                <a:path w="253887" h="375614">
                  <a:moveTo>
                    <a:pt x="0" y="0"/>
                  </a:moveTo>
                  <a:lnTo>
                    <a:pt x="253887" y="0"/>
                  </a:lnTo>
                  <a:lnTo>
                    <a:pt x="253887" y="375614"/>
                  </a:lnTo>
                  <a:lnTo>
                    <a:pt x="0" y="375614"/>
                  </a:lnTo>
                  <a:close/>
                </a:path>
              </a:pathLst>
            </a:custGeom>
            <a:solidFill>
              <a:srgbClr val="0A4054"/>
            </a:solidFill>
            <a:ln w="12700" cap="flat">
              <a:noFill/>
              <a:prstDash val="solid"/>
              <a:miter/>
            </a:ln>
          </p:spPr>
          <p:txBody>
            <a:bodyPr rtlCol="0" anchor="ctr"/>
            <a:lstStyle/>
            <a:p>
              <a:endParaRPr lang="en-US"/>
            </a:p>
          </p:txBody>
        </p:sp>
        <p:sp>
          <p:nvSpPr>
            <p:cNvPr id="1571" name="Freeform: Shape 1570">
              <a:extLst>
                <a:ext uri="{FF2B5EF4-FFF2-40B4-BE49-F238E27FC236}">
                  <a16:creationId xmlns:a16="http://schemas.microsoft.com/office/drawing/2014/main" id="{A471D032-1E1A-4AAD-9B9C-CD611F8C9181}"/>
                </a:ext>
              </a:extLst>
            </p:cNvPr>
            <p:cNvSpPr/>
            <p:nvPr/>
          </p:nvSpPr>
          <p:spPr>
            <a:xfrm>
              <a:off x="1397921" y="5825461"/>
              <a:ext cx="32154" cy="307296"/>
            </a:xfrm>
            <a:custGeom>
              <a:avLst/>
              <a:gdLst>
                <a:gd name="connsiteX0" fmla="*/ 0 w 32154"/>
                <a:gd name="connsiteY0" fmla="*/ 0 h 307296"/>
                <a:gd name="connsiteX1" fmla="*/ 0 w 32154"/>
                <a:gd name="connsiteY1" fmla="*/ 307297 h 307296"/>
                <a:gd name="connsiteX2" fmla="*/ 32155 w 32154"/>
                <a:gd name="connsiteY2" fmla="*/ 307297 h 307296"/>
                <a:gd name="connsiteX3" fmla="*/ 32155 w 32154"/>
                <a:gd name="connsiteY3" fmla="*/ 17146 h 307296"/>
                <a:gd name="connsiteX4" fmla="*/ 29609 w 32154"/>
                <a:gd name="connsiteY4" fmla="*/ 11654 h 307296"/>
                <a:gd name="connsiteX5" fmla="*/ 29609 w 32154"/>
                <a:gd name="connsiteY5" fmla="*/ 0 h 30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54" h="307296">
                  <a:moveTo>
                    <a:pt x="0" y="0"/>
                  </a:moveTo>
                  <a:lnTo>
                    <a:pt x="0" y="307297"/>
                  </a:lnTo>
                  <a:lnTo>
                    <a:pt x="32155" y="307297"/>
                  </a:lnTo>
                  <a:lnTo>
                    <a:pt x="32155" y="17146"/>
                  </a:lnTo>
                  <a:cubicBezTo>
                    <a:pt x="30560" y="15765"/>
                    <a:pt x="29636" y="13765"/>
                    <a:pt x="29609" y="11654"/>
                  </a:cubicBezTo>
                  <a:lnTo>
                    <a:pt x="29609" y="0"/>
                  </a:lnTo>
                  <a:close/>
                </a:path>
              </a:pathLst>
            </a:custGeom>
            <a:solidFill>
              <a:srgbClr val="F2494C"/>
            </a:solidFill>
            <a:ln w="12700" cap="flat">
              <a:noFill/>
              <a:prstDash val="solid"/>
              <a:miter/>
            </a:ln>
          </p:spPr>
          <p:txBody>
            <a:bodyPr rtlCol="0" anchor="ctr"/>
            <a:lstStyle/>
            <a:p>
              <a:endParaRPr lang="en-US"/>
            </a:p>
          </p:txBody>
        </p:sp>
        <p:sp>
          <p:nvSpPr>
            <p:cNvPr id="1572" name="Freeform: Shape 1571">
              <a:extLst>
                <a:ext uri="{FF2B5EF4-FFF2-40B4-BE49-F238E27FC236}">
                  <a16:creationId xmlns:a16="http://schemas.microsoft.com/office/drawing/2014/main" id="{43602285-A778-4C53-9B4D-1A50B23728D7}"/>
                </a:ext>
              </a:extLst>
            </p:cNvPr>
            <p:cNvSpPr/>
            <p:nvPr/>
          </p:nvSpPr>
          <p:spPr>
            <a:xfrm>
              <a:off x="1776274" y="5843947"/>
              <a:ext cx="1339" cy="619147"/>
            </a:xfrm>
            <a:custGeom>
              <a:avLst/>
              <a:gdLst>
                <a:gd name="connsiteX0" fmla="*/ 0 w 1339"/>
                <a:gd name="connsiteY0" fmla="*/ 268 h 619147"/>
                <a:gd name="connsiteX1" fmla="*/ 0 w 1339"/>
                <a:gd name="connsiteY1" fmla="*/ 619148 h 619147"/>
                <a:gd name="connsiteX2" fmla="*/ 1340 w 1339"/>
                <a:gd name="connsiteY2" fmla="*/ 619148 h 619147"/>
                <a:gd name="connsiteX3" fmla="*/ 1340 w 1339"/>
                <a:gd name="connsiteY3" fmla="*/ 0 h 619147"/>
              </a:gdLst>
              <a:ahLst/>
              <a:cxnLst>
                <a:cxn ang="0">
                  <a:pos x="connsiteX0" y="connsiteY0"/>
                </a:cxn>
                <a:cxn ang="0">
                  <a:pos x="connsiteX1" y="connsiteY1"/>
                </a:cxn>
                <a:cxn ang="0">
                  <a:pos x="connsiteX2" y="connsiteY2"/>
                </a:cxn>
                <a:cxn ang="0">
                  <a:pos x="connsiteX3" y="connsiteY3"/>
                </a:cxn>
              </a:cxnLst>
              <a:rect l="l" t="t" r="r" b="b"/>
              <a:pathLst>
                <a:path w="1339" h="619147">
                  <a:moveTo>
                    <a:pt x="0" y="268"/>
                  </a:moveTo>
                  <a:lnTo>
                    <a:pt x="0" y="619148"/>
                  </a:lnTo>
                  <a:lnTo>
                    <a:pt x="1340" y="619148"/>
                  </a:lnTo>
                  <a:lnTo>
                    <a:pt x="1340" y="0"/>
                  </a:lnTo>
                  <a:close/>
                </a:path>
              </a:pathLst>
            </a:custGeom>
            <a:solidFill>
              <a:srgbClr val="F9AA19"/>
            </a:solidFill>
            <a:ln w="12700" cap="flat">
              <a:noFill/>
              <a:prstDash val="solid"/>
              <a:miter/>
            </a:ln>
          </p:spPr>
          <p:txBody>
            <a:bodyPr rtlCol="0" anchor="ctr"/>
            <a:lstStyle/>
            <a:p>
              <a:endParaRPr lang="en-US"/>
            </a:p>
          </p:txBody>
        </p:sp>
        <p:sp>
          <p:nvSpPr>
            <p:cNvPr id="1573" name="Freeform: Shape 1572">
              <a:extLst>
                <a:ext uri="{FF2B5EF4-FFF2-40B4-BE49-F238E27FC236}">
                  <a16:creationId xmlns:a16="http://schemas.microsoft.com/office/drawing/2014/main" id="{76287D77-FA6A-4812-9DE8-F12C18F2CC3D}"/>
                </a:ext>
              </a:extLst>
            </p:cNvPr>
            <p:cNvSpPr/>
            <p:nvPr/>
          </p:nvSpPr>
          <p:spPr>
            <a:xfrm>
              <a:off x="1780293" y="5809922"/>
              <a:ext cx="196410" cy="653172"/>
            </a:xfrm>
            <a:custGeom>
              <a:avLst/>
              <a:gdLst>
                <a:gd name="connsiteX0" fmla="*/ 1608 w 196410"/>
                <a:gd name="connsiteY0" fmla="*/ 8171 h 653172"/>
                <a:gd name="connsiteX1" fmla="*/ 1608 w 196410"/>
                <a:gd name="connsiteY1" fmla="*/ 8171 h 653172"/>
                <a:gd name="connsiteX2" fmla="*/ 0 w 196410"/>
                <a:gd name="connsiteY2" fmla="*/ 13798 h 653172"/>
                <a:gd name="connsiteX3" fmla="*/ 0 w 196410"/>
                <a:gd name="connsiteY3" fmla="*/ 22371 h 653172"/>
                <a:gd name="connsiteX4" fmla="*/ 1876 w 196410"/>
                <a:gd name="connsiteY4" fmla="*/ 27193 h 653172"/>
                <a:gd name="connsiteX5" fmla="*/ 0 w 196410"/>
                <a:gd name="connsiteY5" fmla="*/ 32150 h 653172"/>
                <a:gd name="connsiteX6" fmla="*/ 0 w 196410"/>
                <a:gd name="connsiteY6" fmla="*/ 653173 h 653172"/>
                <a:gd name="connsiteX7" fmla="*/ 196411 w 196410"/>
                <a:gd name="connsiteY7" fmla="*/ 653173 h 653172"/>
                <a:gd name="connsiteX8" fmla="*/ 196411 w 196410"/>
                <a:gd name="connsiteY8" fmla="*/ 0 h 653172"/>
                <a:gd name="connsiteX9" fmla="*/ 4019 w 196410"/>
                <a:gd name="connsiteY9" fmla="*/ 0 h 6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410" h="653172">
                  <a:moveTo>
                    <a:pt x="1608" y="8171"/>
                  </a:moveTo>
                  <a:lnTo>
                    <a:pt x="1608" y="8171"/>
                  </a:lnTo>
                  <a:lnTo>
                    <a:pt x="0" y="13798"/>
                  </a:lnTo>
                  <a:lnTo>
                    <a:pt x="0" y="22371"/>
                  </a:lnTo>
                  <a:cubicBezTo>
                    <a:pt x="1192" y="23698"/>
                    <a:pt x="1849" y="25412"/>
                    <a:pt x="1876" y="27193"/>
                  </a:cubicBezTo>
                  <a:cubicBezTo>
                    <a:pt x="1849" y="29014"/>
                    <a:pt x="1192" y="30768"/>
                    <a:pt x="0" y="32150"/>
                  </a:cubicBezTo>
                  <a:lnTo>
                    <a:pt x="0" y="653173"/>
                  </a:lnTo>
                  <a:lnTo>
                    <a:pt x="196411" y="653173"/>
                  </a:lnTo>
                  <a:lnTo>
                    <a:pt x="196411" y="0"/>
                  </a:lnTo>
                  <a:lnTo>
                    <a:pt x="4019" y="0"/>
                  </a:ln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574" name="Freeform: Shape 1573">
              <a:extLst>
                <a:ext uri="{FF2B5EF4-FFF2-40B4-BE49-F238E27FC236}">
                  <a16:creationId xmlns:a16="http://schemas.microsoft.com/office/drawing/2014/main" id="{23AF2108-200C-402B-9C64-5957E91947DD}"/>
                </a:ext>
              </a:extLst>
            </p:cNvPr>
            <p:cNvSpPr/>
            <p:nvPr/>
          </p:nvSpPr>
          <p:spPr>
            <a:xfrm>
              <a:off x="3430629" y="6505292"/>
              <a:ext cx="41800" cy="33087"/>
            </a:xfrm>
            <a:custGeom>
              <a:avLst/>
              <a:gdLst>
                <a:gd name="connsiteX0" fmla="*/ 10852 w 41800"/>
                <a:gd name="connsiteY0" fmla="*/ 31882 h 33087"/>
                <a:gd name="connsiteX1" fmla="*/ 11790 w 41800"/>
                <a:gd name="connsiteY1" fmla="*/ 31882 h 33087"/>
                <a:gd name="connsiteX2" fmla="*/ 22106 w 41800"/>
                <a:gd name="connsiteY2" fmla="*/ 31882 h 33087"/>
                <a:gd name="connsiteX3" fmla="*/ 23433 w 41800"/>
                <a:gd name="connsiteY3" fmla="*/ 32940 h 33087"/>
                <a:gd name="connsiteX4" fmla="*/ 23446 w 41800"/>
                <a:gd name="connsiteY4" fmla="*/ 33087 h 33087"/>
                <a:gd name="connsiteX5" fmla="*/ 41801 w 41800"/>
                <a:gd name="connsiteY5" fmla="*/ 33087 h 33087"/>
                <a:gd name="connsiteX6" fmla="*/ 41801 w 41800"/>
                <a:gd name="connsiteY6" fmla="*/ 0 h 33087"/>
                <a:gd name="connsiteX7" fmla="*/ 0 w 41800"/>
                <a:gd name="connsiteY7" fmla="*/ 0 h 33087"/>
                <a:gd name="connsiteX8" fmla="*/ 0 w 41800"/>
                <a:gd name="connsiteY8" fmla="*/ 29203 h 33087"/>
                <a:gd name="connsiteX9" fmla="*/ 0 w 41800"/>
                <a:gd name="connsiteY9" fmla="*/ 31212 h 3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00" h="33087">
                  <a:moveTo>
                    <a:pt x="10852" y="31882"/>
                  </a:moveTo>
                  <a:cubicBezTo>
                    <a:pt x="11147" y="31734"/>
                    <a:pt x="11495" y="31734"/>
                    <a:pt x="11790" y="31882"/>
                  </a:cubicBezTo>
                  <a:lnTo>
                    <a:pt x="22106" y="31882"/>
                  </a:lnTo>
                  <a:cubicBezTo>
                    <a:pt x="22763" y="31801"/>
                    <a:pt x="23366" y="32284"/>
                    <a:pt x="23433" y="32940"/>
                  </a:cubicBezTo>
                  <a:cubicBezTo>
                    <a:pt x="23446" y="32993"/>
                    <a:pt x="23446" y="33034"/>
                    <a:pt x="23446" y="33087"/>
                  </a:cubicBezTo>
                  <a:lnTo>
                    <a:pt x="41801" y="33087"/>
                  </a:lnTo>
                  <a:lnTo>
                    <a:pt x="41801" y="0"/>
                  </a:lnTo>
                  <a:lnTo>
                    <a:pt x="0" y="0"/>
                  </a:lnTo>
                  <a:lnTo>
                    <a:pt x="0" y="29203"/>
                  </a:lnTo>
                  <a:cubicBezTo>
                    <a:pt x="161" y="29859"/>
                    <a:pt x="161" y="30556"/>
                    <a:pt x="0" y="31212"/>
                  </a:cubicBezTo>
                  <a:close/>
                </a:path>
              </a:pathLst>
            </a:custGeom>
            <a:solidFill>
              <a:srgbClr val="F9C996"/>
            </a:solidFill>
            <a:ln w="12700" cap="flat">
              <a:noFill/>
              <a:prstDash val="solid"/>
              <a:miter/>
            </a:ln>
          </p:spPr>
          <p:txBody>
            <a:bodyPr rtlCol="0" anchor="ctr"/>
            <a:lstStyle/>
            <a:p>
              <a:endParaRPr lang="en-US"/>
            </a:p>
          </p:txBody>
        </p:sp>
        <p:sp>
          <p:nvSpPr>
            <p:cNvPr id="1575" name="Freeform: Shape 1574">
              <a:extLst>
                <a:ext uri="{FF2B5EF4-FFF2-40B4-BE49-F238E27FC236}">
                  <a16:creationId xmlns:a16="http://schemas.microsoft.com/office/drawing/2014/main" id="{FFA7DFF3-03F5-4A83-8D60-89DD9328C032}"/>
                </a:ext>
              </a:extLst>
            </p:cNvPr>
            <p:cNvSpPr/>
            <p:nvPr/>
          </p:nvSpPr>
          <p:spPr>
            <a:xfrm>
              <a:off x="3474975" y="6505961"/>
              <a:ext cx="30412" cy="33087"/>
            </a:xfrm>
            <a:custGeom>
              <a:avLst/>
              <a:gdLst>
                <a:gd name="connsiteX0" fmla="*/ 0 w 30412"/>
                <a:gd name="connsiteY0" fmla="*/ 0 h 33087"/>
                <a:gd name="connsiteX1" fmla="*/ 30413 w 30412"/>
                <a:gd name="connsiteY1" fmla="*/ 0 h 33087"/>
                <a:gd name="connsiteX2" fmla="*/ 30413 w 30412"/>
                <a:gd name="connsiteY2" fmla="*/ 33087 h 33087"/>
                <a:gd name="connsiteX3" fmla="*/ 0 w 30412"/>
                <a:gd name="connsiteY3" fmla="*/ 33087 h 33087"/>
              </a:gdLst>
              <a:ahLst/>
              <a:cxnLst>
                <a:cxn ang="0">
                  <a:pos x="connsiteX0" y="connsiteY0"/>
                </a:cxn>
                <a:cxn ang="0">
                  <a:pos x="connsiteX1" y="connsiteY1"/>
                </a:cxn>
                <a:cxn ang="0">
                  <a:pos x="connsiteX2" y="connsiteY2"/>
                </a:cxn>
                <a:cxn ang="0">
                  <a:pos x="connsiteX3" y="connsiteY3"/>
                </a:cxn>
              </a:cxnLst>
              <a:rect l="l" t="t" r="r" b="b"/>
              <a:pathLst>
                <a:path w="30412" h="33087">
                  <a:moveTo>
                    <a:pt x="0" y="0"/>
                  </a:moveTo>
                  <a:lnTo>
                    <a:pt x="30413" y="0"/>
                  </a:lnTo>
                  <a:lnTo>
                    <a:pt x="30413" y="33087"/>
                  </a:lnTo>
                  <a:lnTo>
                    <a:pt x="0" y="33087"/>
                  </a:lnTo>
                  <a:close/>
                </a:path>
              </a:pathLst>
            </a:custGeom>
            <a:solidFill>
              <a:srgbClr val="0A4054"/>
            </a:solidFill>
            <a:ln w="12700" cap="flat">
              <a:noFill/>
              <a:prstDash val="solid"/>
              <a:miter/>
            </a:ln>
          </p:spPr>
          <p:txBody>
            <a:bodyPr rtlCol="0" anchor="ctr"/>
            <a:lstStyle/>
            <a:p>
              <a:endParaRPr lang="en-US"/>
            </a:p>
          </p:txBody>
        </p:sp>
        <p:sp>
          <p:nvSpPr>
            <p:cNvPr id="1576" name="Freeform: Shape 1575">
              <a:extLst>
                <a:ext uri="{FF2B5EF4-FFF2-40B4-BE49-F238E27FC236}">
                  <a16:creationId xmlns:a16="http://schemas.microsoft.com/office/drawing/2014/main" id="{BBAF80DD-5A06-47AB-AA1A-852C891AC5B6}"/>
                </a:ext>
              </a:extLst>
            </p:cNvPr>
            <p:cNvSpPr/>
            <p:nvPr/>
          </p:nvSpPr>
          <p:spPr>
            <a:xfrm>
              <a:off x="3239309" y="6541594"/>
              <a:ext cx="266213" cy="312118"/>
            </a:xfrm>
            <a:custGeom>
              <a:avLst/>
              <a:gdLst>
                <a:gd name="connsiteX0" fmla="*/ 190516 w 266213"/>
                <a:gd name="connsiteY0" fmla="*/ 0 h 312118"/>
                <a:gd name="connsiteX1" fmla="*/ 184755 w 266213"/>
                <a:gd name="connsiteY1" fmla="*/ 3081 h 312118"/>
                <a:gd name="connsiteX2" fmla="*/ 0 w 266213"/>
                <a:gd name="connsiteY2" fmla="*/ 3081 h 312118"/>
                <a:gd name="connsiteX3" fmla="*/ 0 w 266213"/>
                <a:gd name="connsiteY3" fmla="*/ 312119 h 312118"/>
                <a:gd name="connsiteX4" fmla="*/ 266213 w 266213"/>
                <a:gd name="connsiteY4" fmla="*/ 312119 h 312118"/>
                <a:gd name="connsiteX5" fmla="*/ 266213 w 266213"/>
                <a:gd name="connsiteY5" fmla="*/ 0 h 31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13" h="312118">
                  <a:moveTo>
                    <a:pt x="190516" y="0"/>
                  </a:moveTo>
                  <a:cubicBezTo>
                    <a:pt x="189230" y="1915"/>
                    <a:pt x="187073" y="3067"/>
                    <a:pt x="184755" y="3081"/>
                  </a:cubicBezTo>
                  <a:lnTo>
                    <a:pt x="0" y="3081"/>
                  </a:lnTo>
                  <a:lnTo>
                    <a:pt x="0" y="312119"/>
                  </a:lnTo>
                  <a:lnTo>
                    <a:pt x="266213" y="312119"/>
                  </a:lnTo>
                  <a:lnTo>
                    <a:pt x="266213" y="0"/>
                  </a:lnTo>
                  <a:close/>
                </a:path>
              </a:pathLst>
            </a:custGeom>
            <a:solidFill>
              <a:schemeClr val="accent5">
                <a:lumMod val="50000"/>
              </a:schemeClr>
            </a:solidFill>
            <a:ln w="12700" cap="flat">
              <a:noFill/>
              <a:prstDash val="solid"/>
              <a:miter/>
            </a:ln>
          </p:spPr>
          <p:txBody>
            <a:bodyPr rtlCol="0" anchor="ctr"/>
            <a:lstStyle/>
            <a:p>
              <a:endParaRPr lang="en-US"/>
            </a:p>
          </p:txBody>
        </p:sp>
        <p:sp>
          <p:nvSpPr>
            <p:cNvPr id="1577" name="Freeform: Shape 1576">
              <a:extLst>
                <a:ext uri="{FF2B5EF4-FFF2-40B4-BE49-F238E27FC236}">
                  <a16:creationId xmlns:a16="http://schemas.microsoft.com/office/drawing/2014/main" id="{77666A66-75D6-4EBA-9CA9-25A2B6BF9251}"/>
                </a:ext>
              </a:extLst>
            </p:cNvPr>
            <p:cNvSpPr/>
            <p:nvPr/>
          </p:nvSpPr>
          <p:spPr>
            <a:xfrm>
              <a:off x="3577602" y="5903022"/>
              <a:ext cx="486874" cy="950824"/>
            </a:xfrm>
            <a:custGeom>
              <a:avLst/>
              <a:gdLst>
                <a:gd name="connsiteX0" fmla="*/ 486874 w 486874"/>
                <a:gd name="connsiteY0" fmla="*/ 636026 h 950824"/>
                <a:gd name="connsiteX1" fmla="*/ 486874 w 486874"/>
                <a:gd name="connsiteY1" fmla="*/ 635357 h 950824"/>
                <a:gd name="connsiteX2" fmla="*/ 486874 w 486874"/>
                <a:gd name="connsiteY2" fmla="*/ 634419 h 950824"/>
                <a:gd name="connsiteX3" fmla="*/ 486874 w 486874"/>
                <a:gd name="connsiteY3" fmla="*/ 0 h 950824"/>
                <a:gd name="connsiteX4" fmla="*/ 0 w 486874"/>
                <a:gd name="connsiteY4" fmla="*/ 0 h 950824"/>
                <a:gd name="connsiteX5" fmla="*/ 0 w 486874"/>
                <a:gd name="connsiteY5" fmla="*/ 950825 h 950824"/>
                <a:gd name="connsiteX6" fmla="*/ 486874 w 486874"/>
                <a:gd name="connsiteY6" fmla="*/ 950825 h 950824"/>
                <a:gd name="connsiteX7" fmla="*/ 486874 w 486874"/>
                <a:gd name="connsiteY7" fmla="*/ 637366 h 950824"/>
                <a:gd name="connsiteX8" fmla="*/ 486874 w 486874"/>
                <a:gd name="connsiteY8" fmla="*/ 636026 h 95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74" h="950824">
                  <a:moveTo>
                    <a:pt x="486874" y="636026"/>
                  </a:moveTo>
                  <a:lnTo>
                    <a:pt x="486874" y="635357"/>
                  </a:lnTo>
                  <a:lnTo>
                    <a:pt x="486874" y="634419"/>
                  </a:lnTo>
                  <a:lnTo>
                    <a:pt x="486874" y="0"/>
                  </a:lnTo>
                  <a:lnTo>
                    <a:pt x="0" y="0"/>
                  </a:lnTo>
                  <a:lnTo>
                    <a:pt x="0" y="950825"/>
                  </a:lnTo>
                  <a:lnTo>
                    <a:pt x="486874" y="950825"/>
                  </a:lnTo>
                  <a:lnTo>
                    <a:pt x="486874" y="637366"/>
                  </a:lnTo>
                  <a:lnTo>
                    <a:pt x="486874" y="636026"/>
                  </a:lnTo>
                  <a:close/>
                </a:path>
              </a:pathLst>
            </a:custGeom>
            <a:solidFill>
              <a:schemeClr val="accent1"/>
            </a:solidFill>
            <a:ln w="12700" cap="flat">
              <a:noFill/>
              <a:prstDash val="solid"/>
              <a:miter/>
            </a:ln>
          </p:spPr>
          <p:txBody>
            <a:bodyPr rtlCol="0" anchor="ctr"/>
            <a:lstStyle/>
            <a:p>
              <a:endParaRPr lang="en-US"/>
            </a:p>
          </p:txBody>
        </p:sp>
        <p:sp>
          <p:nvSpPr>
            <p:cNvPr id="1578" name="Freeform: Shape 1577">
              <a:extLst>
                <a:ext uri="{FF2B5EF4-FFF2-40B4-BE49-F238E27FC236}">
                  <a16:creationId xmlns:a16="http://schemas.microsoft.com/office/drawing/2014/main" id="{EFEEC024-6822-4F41-A717-B7E637FC1E63}"/>
                </a:ext>
              </a:extLst>
            </p:cNvPr>
            <p:cNvSpPr/>
            <p:nvPr/>
          </p:nvSpPr>
          <p:spPr>
            <a:xfrm>
              <a:off x="3519992" y="5903692"/>
              <a:ext cx="55064" cy="950154"/>
            </a:xfrm>
            <a:custGeom>
              <a:avLst/>
              <a:gdLst>
                <a:gd name="connsiteX0" fmla="*/ 0 w 55064"/>
                <a:gd name="connsiteY0" fmla="*/ 14735 h 950154"/>
                <a:gd name="connsiteX1" fmla="*/ 0 w 55064"/>
                <a:gd name="connsiteY1" fmla="*/ 595036 h 950154"/>
                <a:gd name="connsiteX2" fmla="*/ 0 w 55064"/>
                <a:gd name="connsiteY2" fmla="*/ 596911 h 950154"/>
                <a:gd name="connsiteX3" fmla="*/ 0 w 55064"/>
                <a:gd name="connsiteY3" fmla="*/ 636696 h 950154"/>
                <a:gd name="connsiteX4" fmla="*/ 0 w 55064"/>
                <a:gd name="connsiteY4" fmla="*/ 950155 h 950154"/>
                <a:gd name="connsiteX5" fmla="*/ 55065 w 55064"/>
                <a:gd name="connsiteY5" fmla="*/ 950155 h 950154"/>
                <a:gd name="connsiteX6" fmla="*/ 55065 w 55064"/>
                <a:gd name="connsiteY6" fmla="*/ 0 h 950154"/>
                <a:gd name="connsiteX7" fmla="*/ 0 w 55064"/>
                <a:gd name="connsiteY7" fmla="*/ 14735 h 95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64" h="950154">
                  <a:moveTo>
                    <a:pt x="0" y="14735"/>
                  </a:moveTo>
                  <a:lnTo>
                    <a:pt x="0" y="595036"/>
                  </a:lnTo>
                  <a:lnTo>
                    <a:pt x="0" y="596911"/>
                  </a:lnTo>
                  <a:lnTo>
                    <a:pt x="0" y="636696"/>
                  </a:lnTo>
                  <a:lnTo>
                    <a:pt x="0" y="950155"/>
                  </a:lnTo>
                  <a:lnTo>
                    <a:pt x="55065" y="950155"/>
                  </a:lnTo>
                  <a:lnTo>
                    <a:pt x="55065" y="0"/>
                  </a:lnTo>
                  <a:lnTo>
                    <a:pt x="0" y="14735"/>
                  </a:lnTo>
                  <a:close/>
                </a:path>
              </a:pathLst>
            </a:custGeom>
            <a:solidFill>
              <a:srgbClr val="22B0AE"/>
            </a:solidFill>
            <a:ln w="12700" cap="flat">
              <a:noFill/>
              <a:prstDash val="solid"/>
              <a:miter/>
            </a:ln>
          </p:spPr>
          <p:txBody>
            <a:bodyPr rtlCol="0" anchor="ctr"/>
            <a:lstStyle/>
            <a:p>
              <a:endParaRPr lang="en-US"/>
            </a:p>
          </p:txBody>
        </p:sp>
        <p:sp>
          <p:nvSpPr>
            <p:cNvPr id="1579" name="Freeform: Shape 1578">
              <a:extLst>
                <a:ext uri="{FF2B5EF4-FFF2-40B4-BE49-F238E27FC236}">
                  <a16:creationId xmlns:a16="http://schemas.microsoft.com/office/drawing/2014/main" id="{167A7046-6BA2-454F-AB7C-D10676FF088C}"/>
                </a:ext>
              </a:extLst>
            </p:cNvPr>
            <p:cNvSpPr/>
            <p:nvPr/>
          </p:nvSpPr>
          <p:spPr>
            <a:xfrm>
              <a:off x="1217454" y="5841536"/>
              <a:ext cx="4912" cy="284464"/>
            </a:xfrm>
            <a:custGeom>
              <a:avLst/>
              <a:gdLst>
                <a:gd name="connsiteX0" fmla="*/ 134 w 4912"/>
                <a:gd name="connsiteY0" fmla="*/ 279702 h 284464"/>
                <a:gd name="connsiteX1" fmla="*/ 2814 w 4912"/>
                <a:gd name="connsiteY1" fmla="*/ 281845 h 284464"/>
                <a:gd name="connsiteX2" fmla="*/ 2814 w 4912"/>
                <a:gd name="connsiteY2" fmla="*/ 281845 h 284464"/>
                <a:gd name="connsiteX3" fmla="*/ 3751 w 4912"/>
                <a:gd name="connsiteY3" fmla="*/ 282916 h 284464"/>
                <a:gd name="connsiteX4" fmla="*/ 4555 w 4912"/>
                <a:gd name="connsiteY4" fmla="*/ 283988 h 284464"/>
                <a:gd name="connsiteX5" fmla="*/ 4555 w 4912"/>
                <a:gd name="connsiteY5" fmla="*/ 283988 h 284464"/>
                <a:gd name="connsiteX6" fmla="*/ 4555 w 4912"/>
                <a:gd name="connsiteY6" fmla="*/ 2679 h 284464"/>
                <a:gd name="connsiteX7" fmla="*/ 2680 w 4912"/>
                <a:gd name="connsiteY7" fmla="*/ 2679 h 284464"/>
                <a:gd name="connsiteX8" fmla="*/ 1876 w 4912"/>
                <a:gd name="connsiteY8" fmla="*/ 2679 h 284464"/>
                <a:gd name="connsiteX9" fmla="*/ 0 w 4912"/>
                <a:gd name="connsiteY9" fmla="*/ 938 h 284464"/>
                <a:gd name="connsiteX10" fmla="*/ 0 w 4912"/>
                <a:gd name="connsiteY10" fmla="*/ 938 h 284464"/>
                <a:gd name="connsiteX11" fmla="*/ 0 w 4912"/>
                <a:gd name="connsiteY11" fmla="*/ 0 h 284464"/>
                <a:gd name="connsiteX12" fmla="*/ 0 w 4912"/>
                <a:gd name="connsiteY12" fmla="*/ 281309 h 28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2" h="284464">
                  <a:moveTo>
                    <a:pt x="134" y="279702"/>
                  </a:moveTo>
                  <a:lnTo>
                    <a:pt x="2814" y="281845"/>
                  </a:lnTo>
                  <a:cubicBezTo>
                    <a:pt x="2814" y="281845"/>
                    <a:pt x="2814" y="281845"/>
                    <a:pt x="2814" y="281845"/>
                  </a:cubicBezTo>
                  <a:cubicBezTo>
                    <a:pt x="3194" y="282140"/>
                    <a:pt x="3513" y="282501"/>
                    <a:pt x="3751" y="282916"/>
                  </a:cubicBezTo>
                  <a:cubicBezTo>
                    <a:pt x="3751" y="282916"/>
                    <a:pt x="3751" y="282916"/>
                    <a:pt x="4555" y="283988"/>
                  </a:cubicBezTo>
                  <a:cubicBezTo>
                    <a:pt x="5359" y="285060"/>
                    <a:pt x="4555" y="283988"/>
                    <a:pt x="4555" y="283988"/>
                  </a:cubicBezTo>
                  <a:lnTo>
                    <a:pt x="4555" y="2679"/>
                  </a:lnTo>
                  <a:lnTo>
                    <a:pt x="2680" y="2679"/>
                  </a:lnTo>
                  <a:lnTo>
                    <a:pt x="1876" y="2679"/>
                  </a:lnTo>
                  <a:cubicBezTo>
                    <a:pt x="1187" y="2170"/>
                    <a:pt x="559" y="1586"/>
                    <a:pt x="0" y="938"/>
                  </a:cubicBezTo>
                  <a:cubicBezTo>
                    <a:pt x="0" y="938"/>
                    <a:pt x="0" y="938"/>
                    <a:pt x="0" y="938"/>
                  </a:cubicBezTo>
                  <a:lnTo>
                    <a:pt x="0" y="0"/>
                  </a:lnTo>
                  <a:lnTo>
                    <a:pt x="0" y="281309"/>
                  </a:lnTo>
                  <a:close/>
                </a:path>
              </a:pathLst>
            </a:custGeom>
            <a:solidFill>
              <a:srgbClr val="F9C996"/>
            </a:solidFill>
            <a:ln w="12700" cap="flat">
              <a:noFill/>
              <a:prstDash val="solid"/>
              <a:miter/>
            </a:ln>
          </p:spPr>
          <p:txBody>
            <a:bodyPr rtlCol="0" anchor="ctr"/>
            <a:lstStyle/>
            <a:p>
              <a:endParaRPr lang="en-US"/>
            </a:p>
          </p:txBody>
        </p:sp>
        <p:sp>
          <p:nvSpPr>
            <p:cNvPr id="1580" name="Freeform: Shape 1579">
              <a:extLst>
                <a:ext uri="{FF2B5EF4-FFF2-40B4-BE49-F238E27FC236}">
                  <a16:creationId xmlns:a16="http://schemas.microsoft.com/office/drawing/2014/main" id="{DD0177BE-44C9-4F15-B7A2-84898AECD32D}"/>
                </a:ext>
              </a:extLst>
            </p:cNvPr>
            <p:cNvSpPr/>
            <p:nvPr/>
          </p:nvSpPr>
          <p:spPr>
            <a:xfrm>
              <a:off x="1214372" y="5835776"/>
              <a:ext cx="134" cy="283988"/>
            </a:xfrm>
            <a:custGeom>
              <a:avLst/>
              <a:gdLst>
                <a:gd name="connsiteX0" fmla="*/ 134 w 134"/>
                <a:gd name="connsiteY0" fmla="*/ 283988 h 283988"/>
                <a:gd name="connsiteX1" fmla="*/ 134 w 134"/>
                <a:gd name="connsiteY1" fmla="*/ 134 h 283988"/>
                <a:gd name="connsiteX2" fmla="*/ 0 w 134"/>
                <a:gd name="connsiteY2" fmla="*/ 0 h 283988"/>
                <a:gd name="connsiteX3" fmla="*/ 0 w 134"/>
                <a:gd name="connsiteY3" fmla="*/ 283988 h 283988"/>
                <a:gd name="connsiteX4" fmla="*/ 134 w 134"/>
                <a:gd name="connsiteY4" fmla="*/ 283988 h 283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 h="283988">
                  <a:moveTo>
                    <a:pt x="134" y="283988"/>
                  </a:moveTo>
                  <a:lnTo>
                    <a:pt x="134" y="134"/>
                  </a:lnTo>
                  <a:lnTo>
                    <a:pt x="0" y="0"/>
                  </a:lnTo>
                  <a:lnTo>
                    <a:pt x="0" y="283988"/>
                  </a:lnTo>
                  <a:lnTo>
                    <a:pt x="134" y="283988"/>
                  </a:lnTo>
                  <a:close/>
                </a:path>
              </a:pathLst>
            </a:custGeom>
            <a:solidFill>
              <a:srgbClr val="F9AA19"/>
            </a:solidFill>
            <a:ln w="12700" cap="flat">
              <a:noFill/>
              <a:prstDash val="solid"/>
              <a:miter/>
            </a:ln>
          </p:spPr>
          <p:txBody>
            <a:bodyPr rtlCol="0" anchor="ctr"/>
            <a:lstStyle/>
            <a:p>
              <a:endParaRPr lang="en-US"/>
            </a:p>
          </p:txBody>
        </p:sp>
        <p:sp>
          <p:nvSpPr>
            <p:cNvPr id="1581" name="Freeform: Shape 1580">
              <a:extLst>
                <a:ext uri="{FF2B5EF4-FFF2-40B4-BE49-F238E27FC236}">
                  <a16:creationId xmlns:a16="http://schemas.microsoft.com/office/drawing/2014/main" id="{485AF665-ACD0-4466-8093-7B5C1282DCFB}"/>
                </a:ext>
              </a:extLst>
            </p:cNvPr>
            <p:cNvSpPr/>
            <p:nvPr/>
          </p:nvSpPr>
          <p:spPr>
            <a:xfrm>
              <a:off x="267955" y="5789561"/>
              <a:ext cx="425512" cy="317343"/>
            </a:xfrm>
            <a:custGeom>
              <a:avLst/>
              <a:gdLst>
                <a:gd name="connsiteX0" fmla="*/ 45284 w 425512"/>
                <a:gd name="connsiteY0" fmla="*/ 315602 h 317343"/>
                <a:gd name="connsiteX1" fmla="*/ 49706 w 425512"/>
                <a:gd name="connsiteY1" fmla="*/ 317343 h 317343"/>
                <a:gd name="connsiteX2" fmla="*/ 89899 w 425512"/>
                <a:gd name="connsiteY2" fmla="*/ 317343 h 317343"/>
                <a:gd name="connsiteX3" fmla="*/ 89899 w 425512"/>
                <a:gd name="connsiteY3" fmla="*/ 201337 h 317343"/>
                <a:gd name="connsiteX4" fmla="*/ 97268 w 425512"/>
                <a:gd name="connsiteY4" fmla="*/ 193969 h 317343"/>
                <a:gd name="connsiteX5" fmla="*/ 425513 w 425512"/>
                <a:gd name="connsiteY5" fmla="*/ 193969 h 317343"/>
                <a:gd name="connsiteX6" fmla="*/ 425513 w 425512"/>
                <a:gd name="connsiteY6" fmla="*/ 0 h 317343"/>
                <a:gd name="connsiteX7" fmla="*/ 0 w 425512"/>
                <a:gd name="connsiteY7" fmla="*/ 0 h 317343"/>
                <a:gd name="connsiteX8" fmla="*/ 0 w 425512"/>
                <a:gd name="connsiteY8" fmla="*/ 312923 h 317343"/>
                <a:gd name="connsiteX9" fmla="*/ 18355 w 425512"/>
                <a:gd name="connsiteY9" fmla="*/ 317343 h 317343"/>
                <a:gd name="connsiteX10" fmla="*/ 41399 w 425512"/>
                <a:gd name="connsiteY10" fmla="*/ 317343 h 317343"/>
                <a:gd name="connsiteX11" fmla="*/ 45284 w 425512"/>
                <a:gd name="connsiteY11" fmla="*/ 315602 h 3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5512" h="317343">
                  <a:moveTo>
                    <a:pt x="45284" y="315602"/>
                  </a:moveTo>
                  <a:cubicBezTo>
                    <a:pt x="46912" y="315669"/>
                    <a:pt x="48470" y="316285"/>
                    <a:pt x="49706" y="317343"/>
                  </a:cubicBezTo>
                  <a:lnTo>
                    <a:pt x="89899" y="317343"/>
                  </a:lnTo>
                  <a:lnTo>
                    <a:pt x="89899" y="201337"/>
                  </a:lnTo>
                  <a:cubicBezTo>
                    <a:pt x="89899" y="197267"/>
                    <a:pt x="93197" y="193969"/>
                    <a:pt x="97268" y="193969"/>
                  </a:cubicBezTo>
                  <a:lnTo>
                    <a:pt x="425513" y="193969"/>
                  </a:lnTo>
                  <a:lnTo>
                    <a:pt x="425513" y="0"/>
                  </a:lnTo>
                  <a:lnTo>
                    <a:pt x="0" y="0"/>
                  </a:lnTo>
                  <a:lnTo>
                    <a:pt x="0" y="312923"/>
                  </a:lnTo>
                  <a:lnTo>
                    <a:pt x="18355" y="317343"/>
                  </a:lnTo>
                  <a:lnTo>
                    <a:pt x="41399" y="317343"/>
                  </a:lnTo>
                  <a:cubicBezTo>
                    <a:pt x="42490" y="316392"/>
                    <a:pt x="43844" y="315776"/>
                    <a:pt x="45284" y="315602"/>
                  </a:cubicBezTo>
                  <a:close/>
                </a:path>
              </a:pathLst>
            </a:custGeom>
            <a:solidFill>
              <a:schemeClr val="accent1"/>
            </a:solidFill>
            <a:ln w="12700" cap="flat">
              <a:noFill/>
              <a:prstDash val="solid"/>
              <a:miter/>
            </a:ln>
          </p:spPr>
          <p:txBody>
            <a:bodyPr rtlCol="0" anchor="ctr"/>
            <a:lstStyle/>
            <a:p>
              <a:endParaRPr lang="en-US"/>
            </a:p>
          </p:txBody>
        </p:sp>
        <p:sp>
          <p:nvSpPr>
            <p:cNvPr id="1582" name="Freeform: Shape 1581">
              <a:extLst>
                <a:ext uri="{FF2B5EF4-FFF2-40B4-BE49-F238E27FC236}">
                  <a16:creationId xmlns:a16="http://schemas.microsoft.com/office/drawing/2014/main" id="{05CDB7F4-900E-4B40-B29E-4BEBE9150DD7}"/>
                </a:ext>
              </a:extLst>
            </p:cNvPr>
            <p:cNvSpPr/>
            <p:nvPr/>
          </p:nvSpPr>
          <p:spPr>
            <a:xfrm>
              <a:off x="372725" y="5998131"/>
              <a:ext cx="322350" cy="463892"/>
            </a:xfrm>
            <a:custGeom>
              <a:avLst/>
              <a:gdLst>
                <a:gd name="connsiteX0" fmla="*/ 320206 w 322350"/>
                <a:gd name="connsiteY0" fmla="*/ 270459 h 463892"/>
                <a:gd name="connsiteX1" fmla="*/ 320206 w 322350"/>
                <a:gd name="connsiteY1" fmla="*/ 270459 h 463892"/>
                <a:gd name="connsiteX2" fmla="*/ 318733 w 322350"/>
                <a:gd name="connsiteY2" fmla="*/ 270459 h 463892"/>
                <a:gd name="connsiteX3" fmla="*/ 317661 w 322350"/>
                <a:gd name="connsiteY3" fmla="*/ 269655 h 463892"/>
                <a:gd name="connsiteX4" fmla="*/ 316723 w 322350"/>
                <a:gd name="connsiteY4" fmla="*/ 268717 h 463892"/>
                <a:gd name="connsiteX5" fmla="*/ 315919 w 322350"/>
                <a:gd name="connsiteY5" fmla="*/ 267512 h 463892"/>
                <a:gd name="connsiteX6" fmla="*/ 315919 w 322350"/>
                <a:gd name="connsiteY6" fmla="*/ 266306 h 463892"/>
                <a:gd name="connsiteX7" fmla="*/ 315919 w 322350"/>
                <a:gd name="connsiteY7" fmla="*/ 264832 h 463892"/>
                <a:gd name="connsiteX8" fmla="*/ 315919 w 322350"/>
                <a:gd name="connsiteY8" fmla="*/ 144271 h 463892"/>
                <a:gd name="connsiteX9" fmla="*/ 322350 w 322350"/>
                <a:gd name="connsiteY9" fmla="*/ 137172 h 463892"/>
                <a:gd name="connsiteX10" fmla="*/ 322350 w 322350"/>
                <a:gd name="connsiteY10" fmla="*/ 0 h 463892"/>
                <a:gd name="connsiteX11" fmla="*/ 0 w 322350"/>
                <a:gd name="connsiteY11" fmla="*/ 0 h 463892"/>
                <a:gd name="connsiteX12" fmla="*/ 0 w 322350"/>
                <a:gd name="connsiteY12" fmla="*/ 463892 h 463892"/>
                <a:gd name="connsiteX13" fmla="*/ 320742 w 322350"/>
                <a:gd name="connsiteY13" fmla="*/ 463892 h 463892"/>
                <a:gd name="connsiteX14" fmla="*/ 320742 w 322350"/>
                <a:gd name="connsiteY14" fmla="*/ 270459 h 46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350" h="463892">
                  <a:moveTo>
                    <a:pt x="320206" y="270459"/>
                  </a:moveTo>
                  <a:lnTo>
                    <a:pt x="320206" y="270459"/>
                  </a:lnTo>
                  <a:lnTo>
                    <a:pt x="318733" y="270459"/>
                  </a:lnTo>
                  <a:lnTo>
                    <a:pt x="317661" y="269655"/>
                  </a:lnTo>
                  <a:lnTo>
                    <a:pt x="316723" y="268717"/>
                  </a:lnTo>
                  <a:cubicBezTo>
                    <a:pt x="316409" y="268342"/>
                    <a:pt x="316140" y="267940"/>
                    <a:pt x="315919" y="267512"/>
                  </a:cubicBezTo>
                  <a:cubicBezTo>
                    <a:pt x="315868" y="267110"/>
                    <a:pt x="315868" y="266708"/>
                    <a:pt x="315919" y="266306"/>
                  </a:cubicBezTo>
                  <a:cubicBezTo>
                    <a:pt x="315856" y="265810"/>
                    <a:pt x="315856" y="265328"/>
                    <a:pt x="315919" y="264832"/>
                  </a:cubicBezTo>
                  <a:lnTo>
                    <a:pt x="315919" y="144271"/>
                  </a:lnTo>
                  <a:cubicBezTo>
                    <a:pt x="315903" y="140601"/>
                    <a:pt x="318692" y="137520"/>
                    <a:pt x="322350" y="137172"/>
                  </a:cubicBezTo>
                  <a:lnTo>
                    <a:pt x="322350" y="0"/>
                  </a:lnTo>
                  <a:lnTo>
                    <a:pt x="0" y="0"/>
                  </a:lnTo>
                  <a:lnTo>
                    <a:pt x="0" y="463892"/>
                  </a:lnTo>
                  <a:lnTo>
                    <a:pt x="320742" y="463892"/>
                  </a:lnTo>
                  <a:lnTo>
                    <a:pt x="320742" y="270459"/>
                  </a:lnTo>
                  <a:close/>
                </a:path>
              </a:pathLst>
            </a:custGeom>
            <a:solidFill>
              <a:schemeClr val="accent3"/>
            </a:solidFill>
            <a:ln w="12700" cap="flat">
              <a:noFill/>
              <a:prstDash val="solid"/>
              <a:miter/>
            </a:ln>
          </p:spPr>
          <p:txBody>
            <a:bodyPr rtlCol="0" anchor="ctr"/>
            <a:lstStyle/>
            <a:p>
              <a:endParaRPr lang="en-US"/>
            </a:p>
          </p:txBody>
        </p:sp>
        <p:sp>
          <p:nvSpPr>
            <p:cNvPr id="1583" name="Freeform: Shape 1582">
              <a:extLst>
                <a:ext uri="{FF2B5EF4-FFF2-40B4-BE49-F238E27FC236}">
                  <a16:creationId xmlns:a16="http://schemas.microsoft.com/office/drawing/2014/main" id="{40E6C97C-E40B-4471-956C-A26CD1DBD6EA}"/>
                </a:ext>
              </a:extLst>
            </p:cNvPr>
            <p:cNvSpPr/>
            <p:nvPr/>
          </p:nvSpPr>
          <p:spPr>
            <a:xfrm>
              <a:off x="1191194" y="5798268"/>
              <a:ext cx="20632" cy="321228"/>
            </a:xfrm>
            <a:custGeom>
              <a:avLst/>
              <a:gdLst>
                <a:gd name="connsiteX0" fmla="*/ 14871 w 20632"/>
                <a:gd name="connsiteY0" fmla="*/ 321228 h 321228"/>
                <a:gd name="connsiteX1" fmla="*/ 20632 w 20632"/>
                <a:gd name="connsiteY1" fmla="*/ 321228 h 321228"/>
                <a:gd name="connsiteX2" fmla="*/ 20632 w 20632"/>
                <a:gd name="connsiteY2" fmla="*/ 33355 h 321228"/>
                <a:gd name="connsiteX3" fmla="*/ 18355 w 20632"/>
                <a:gd name="connsiteY3" fmla="*/ 29738 h 321228"/>
                <a:gd name="connsiteX4" fmla="*/ 18355 w 20632"/>
                <a:gd name="connsiteY4" fmla="*/ 29738 h 321228"/>
                <a:gd name="connsiteX5" fmla="*/ 15675 w 20632"/>
                <a:gd name="connsiteY5" fmla="*/ 25452 h 321228"/>
                <a:gd name="connsiteX6" fmla="*/ 15675 w 20632"/>
                <a:gd name="connsiteY6" fmla="*/ 25452 h 321228"/>
                <a:gd name="connsiteX7" fmla="*/ 0 w 20632"/>
                <a:gd name="connsiteY7" fmla="*/ 0 h 321228"/>
                <a:gd name="connsiteX8" fmla="*/ 0 w 20632"/>
                <a:gd name="connsiteY8" fmla="*/ 309306 h 321228"/>
                <a:gd name="connsiteX9" fmla="*/ 14871 w 20632"/>
                <a:gd name="connsiteY9" fmla="*/ 321228 h 32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32" h="321228">
                  <a:moveTo>
                    <a:pt x="14871" y="321228"/>
                  </a:moveTo>
                  <a:lnTo>
                    <a:pt x="20632" y="321228"/>
                  </a:lnTo>
                  <a:lnTo>
                    <a:pt x="20632" y="33355"/>
                  </a:lnTo>
                  <a:lnTo>
                    <a:pt x="18355" y="29738"/>
                  </a:lnTo>
                  <a:lnTo>
                    <a:pt x="18355" y="29738"/>
                  </a:lnTo>
                  <a:lnTo>
                    <a:pt x="15675" y="25452"/>
                  </a:lnTo>
                  <a:lnTo>
                    <a:pt x="15675" y="25452"/>
                  </a:lnTo>
                  <a:lnTo>
                    <a:pt x="0" y="0"/>
                  </a:lnTo>
                  <a:lnTo>
                    <a:pt x="0" y="309306"/>
                  </a:lnTo>
                  <a:lnTo>
                    <a:pt x="14871" y="321228"/>
                  </a:lnTo>
                  <a:close/>
                </a:path>
              </a:pathLst>
            </a:custGeom>
            <a:solidFill>
              <a:srgbClr val="A45950"/>
            </a:solidFill>
            <a:ln w="12700" cap="flat">
              <a:noFill/>
              <a:prstDash val="solid"/>
              <a:miter/>
            </a:ln>
          </p:spPr>
          <p:txBody>
            <a:bodyPr rtlCol="0" anchor="ctr"/>
            <a:lstStyle/>
            <a:p>
              <a:endParaRPr lang="en-US"/>
            </a:p>
          </p:txBody>
        </p:sp>
        <p:sp>
          <p:nvSpPr>
            <p:cNvPr id="1584" name="Freeform: Shape 1583">
              <a:extLst>
                <a:ext uri="{FF2B5EF4-FFF2-40B4-BE49-F238E27FC236}">
                  <a16:creationId xmlns:a16="http://schemas.microsoft.com/office/drawing/2014/main" id="{1EECA298-5142-4C21-88CF-ADD145F3CA99}"/>
                </a:ext>
              </a:extLst>
            </p:cNvPr>
            <p:cNvSpPr/>
            <p:nvPr/>
          </p:nvSpPr>
          <p:spPr>
            <a:xfrm>
              <a:off x="992773" y="5789561"/>
              <a:ext cx="195741" cy="316137"/>
            </a:xfrm>
            <a:custGeom>
              <a:avLst/>
              <a:gdLst>
                <a:gd name="connsiteX0" fmla="*/ 0 w 195741"/>
                <a:gd name="connsiteY0" fmla="*/ 0 h 316137"/>
                <a:gd name="connsiteX1" fmla="*/ 0 w 195741"/>
                <a:gd name="connsiteY1" fmla="*/ 230941 h 316137"/>
                <a:gd name="connsiteX2" fmla="*/ 10048 w 195741"/>
                <a:gd name="connsiteY2" fmla="*/ 237639 h 316137"/>
                <a:gd name="connsiteX3" fmla="*/ 10048 w 195741"/>
                <a:gd name="connsiteY3" fmla="*/ 237639 h 316137"/>
                <a:gd name="connsiteX4" fmla="*/ 11120 w 195741"/>
                <a:gd name="connsiteY4" fmla="*/ 238711 h 316137"/>
                <a:gd name="connsiteX5" fmla="*/ 11924 w 195741"/>
                <a:gd name="connsiteY5" fmla="*/ 239782 h 316137"/>
                <a:gd name="connsiteX6" fmla="*/ 11924 w 195741"/>
                <a:gd name="connsiteY6" fmla="*/ 241122 h 316137"/>
                <a:gd name="connsiteX7" fmla="*/ 11924 w 195741"/>
                <a:gd name="connsiteY7" fmla="*/ 242596 h 316137"/>
                <a:gd name="connsiteX8" fmla="*/ 11924 w 195741"/>
                <a:gd name="connsiteY8" fmla="*/ 316138 h 316137"/>
                <a:gd name="connsiteX9" fmla="*/ 195741 w 195741"/>
                <a:gd name="connsiteY9" fmla="*/ 316138 h 316137"/>
                <a:gd name="connsiteX10" fmla="*/ 195741 w 195741"/>
                <a:gd name="connsiteY10" fmla="*/ 4555 h 316137"/>
                <a:gd name="connsiteX11" fmla="*/ 193062 w 195741"/>
                <a:gd name="connsiteY11" fmla="*/ 0 h 316137"/>
                <a:gd name="connsiteX12" fmla="*/ 0 w 195741"/>
                <a:gd name="connsiteY12" fmla="*/ 0 h 31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741" h="316137">
                  <a:moveTo>
                    <a:pt x="0" y="0"/>
                  </a:moveTo>
                  <a:lnTo>
                    <a:pt x="0" y="230941"/>
                  </a:lnTo>
                  <a:lnTo>
                    <a:pt x="10048" y="237639"/>
                  </a:lnTo>
                  <a:cubicBezTo>
                    <a:pt x="10048" y="237639"/>
                    <a:pt x="10048" y="237639"/>
                    <a:pt x="10048" y="237639"/>
                  </a:cubicBezTo>
                  <a:cubicBezTo>
                    <a:pt x="10438" y="237962"/>
                    <a:pt x="10797" y="238321"/>
                    <a:pt x="11120" y="238711"/>
                  </a:cubicBezTo>
                  <a:lnTo>
                    <a:pt x="11924" y="239782"/>
                  </a:lnTo>
                  <a:lnTo>
                    <a:pt x="11924" y="241122"/>
                  </a:lnTo>
                  <a:lnTo>
                    <a:pt x="11924" y="242596"/>
                  </a:lnTo>
                  <a:lnTo>
                    <a:pt x="11924" y="316138"/>
                  </a:lnTo>
                  <a:lnTo>
                    <a:pt x="195741" y="316138"/>
                  </a:lnTo>
                  <a:lnTo>
                    <a:pt x="195741" y="4555"/>
                  </a:lnTo>
                  <a:lnTo>
                    <a:pt x="193062" y="0"/>
                  </a:lnTo>
                  <a:lnTo>
                    <a:pt x="0" y="0"/>
                  </a:lnTo>
                  <a:close/>
                </a:path>
              </a:pathLst>
            </a:custGeom>
            <a:solidFill>
              <a:schemeClr val="accent5"/>
            </a:solidFill>
            <a:ln w="12700" cap="flat">
              <a:noFill/>
              <a:prstDash val="solid"/>
              <a:miter/>
            </a:ln>
          </p:spPr>
          <p:txBody>
            <a:bodyPr rtlCol="0" anchor="ctr"/>
            <a:lstStyle/>
            <a:p>
              <a:endParaRPr lang="en-US"/>
            </a:p>
          </p:txBody>
        </p:sp>
        <p:sp>
          <p:nvSpPr>
            <p:cNvPr id="1585" name="Freeform: Shape 1584">
              <a:extLst>
                <a:ext uri="{FF2B5EF4-FFF2-40B4-BE49-F238E27FC236}">
                  <a16:creationId xmlns:a16="http://schemas.microsoft.com/office/drawing/2014/main" id="{30C920B9-E58F-4478-91F8-6E7D0A5A3094}"/>
                </a:ext>
              </a:extLst>
            </p:cNvPr>
            <p:cNvSpPr/>
            <p:nvPr/>
          </p:nvSpPr>
          <p:spPr>
            <a:xfrm>
              <a:off x="1006171" y="6109450"/>
              <a:ext cx="195741" cy="10046"/>
            </a:xfrm>
            <a:custGeom>
              <a:avLst/>
              <a:gdLst>
                <a:gd name="connsiteX0" fmla="*/ 195741 w 195741"/>
                <a:gd name="connsiteY0" fmla="*/ 10047 h 10046"/>
                <a:gd name="connsiteX1" fmla="*/ 183147 w 195741"/>
                <a:gd name="connsiteY1" fmla="*/ 0 h 10046"/>
                <a:gd name="connsiteX2" fmla="*/ 0 w 195741"/>
                <a:gd name="connsiteY2" fmla="*/ 0 h 10046"/>
                <a:gd name="connsiteX3" fmla="*/ 0 w 195741"/>
                <a:gd name="connsiteY3" fmla="*/ 10047 h 10046"/>
                <a:gd name="connsiteX4" fmla="*/ 195741 w 195741"/>
                <a:gd name="connsiteY4" fmla="*/ 10047 h 1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741" h="10046">
                  <a:moveTo>
                    <a:pt x="195741" y="10047"/>
                  </a:moveTo>
                  <a:lnTo>
                    <a:pt x="183147" y="0"/>
                  </a:lnTo>
                  <a:lnTo>
                    <a:pt x="0" y="0"/>
                  </a:lnTo>
                  <a:lnTo>
                    <a:pt x="0" y="10047"/>
                  </a:lnTo>
                  <a:lnTo>
                    <a:pt x="195741" y="10047"/>
                  </a:lnTo>
                  <a:close/>
                </a:path>
              </a:pathLst>
            </a:custGeom>
            <a:solidFill>
              <a:srgbClr val="A45950"/>
            </a:solidFill>
            <a:ln w="12700" cap="flat">
              <a:noFill/>
              <a:prstDash val="solid"/>
              <a:miter/>
            </a:ln>
          </p:spPr>
          <p:txBody>
            <a:bodyPr rtlCol="0" anchor="ctr"/>
            <a:lstStyle/>
            <a:p>
              <a:endParaRPr lang="en-US"/>
            </a:p>
          </p:txBody>
        </p:sp>
        <p:sp>
          <p:nvSpPr>
            <p:cNvPr id="1586" name="Freeform: Shape 1585">
              <a:extLst>
                <a:ext uri="{FF2B5EF4-FFF2-40B4-BE49-F238E27FC236}">
                  <a16:creationId xmlns:a16="http://schemas.microsoft.com/office/drawing/2014/main" id="{6A71300A-364A-4CF1-BF10-C0DA79540C4C}"/>
                </a:ext>
              </a:extLst>
            </p:cNvPr>
            <p:cNvSpPr/>
            <p:nvPr/>
          </p:nvSpPr>
          <p:spPr>
            <a:xfrm>
              <a:off x="4204349" y="5860558"/>
              <a:ext cx="213292" cy="88545"/>
            </a:xfrm>
            <a:custGeom>
              <a:avLst/>
              <a:gdLst>
                <a:gd name="connsiteX0" fmla="*/ 5761 w 213292"/>
                <a:gd name="connsiteY0" fmla="*/ 88545 h 88545"/>
                <a:gd name="connsiteX1" fmla="*/ 213292 w 213292"/>
                <a:gd name="connsiteY1" fmla="*/ 88545 h 88545"/>
                <a:gd name="connsiteX2" fmla="*/ 213292 w 213292"/>
                <a:gd name="connsiteY2" fmla="*/ 0 h 88545"/>
                <a:gd name="connsiteX3" fmla="*/ 0 w 213292"/>
                <a:gd name="connsiteY3" fmla="*/ 0 h 88545"/>
                <a:gd name="connsiteX4" fmla="*/ 0 w 213292"/>
                <a:gd name="connsiteY4" fmla="*/ 82785 h 88545"/>
                <a:gd name="connsiteX5" fmla="*/ 5761 w 213292"/>
                <a:gd name="connsiteY5" fmla="*/ 88545 h 8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292" h="88545">
                  <a:moveTo>
                    <a:pt x="5761" y="88545"/>
                  </a:moveTo>
                  <a:lnTo>
                    <a:pt x="213292" y="88545"/>
                  </a:lnTo>
                  <a:lnTo>
                    <a:pt x="213292" y="0"/>
                  </a:lnTo>
                  <a:lnTo>
                    <a:pt x="0" y="0"/>
                  </a:lnTo>
                  <a:lnTo>
                    <a:pt x="0" y="82785"/>
                  </a:lnTo>
                  <a:cubicBezTo>
                    <a:pt x="2934" y="83304"/>
                    <a:pt x="5238" y="85605"/>
                    <a:pt x="5761" y="88545"/>
                  </a:cubicBezTo>
                  <a:close/>
                </a:path>
              </a:pathLst>
            </a:custGeom>
            <a:solidFill>
              <a:schemeClr val="accent6">
                <a:lumMod val="60000"/>
                <a:lumOff val="40000"/>
              </a:schemeClr>
            </a:solidFill>
            <a:ln w="12700" cap="flat">
              <a:noFill/>
              <a:prstDash val="solid"/>
              <a:miter/>
            </a:ln>
          </p:spPr>
          <p:txBody>
            <a:bodyPr rtlCol="0" anchor="ctr"/>
            <a:lstStyle/>
            <a:p>
              <a:endParaRPr lang="en-US"/>
            </a:p>
          </p:txBody>
        </p:sp>
        <p:sp>
          <p:nvSpPr>
            <p:cNvPr id="1587" name="Freeform: Shape 1586">
              <a:extLst>
                <a:ext uri="{FF2B5EF4-FFF2-40B4-BE49-F238E27FC236}">
                  <a16:creationId xmlns:a16="http://schemas.microsoft.com/office/drawing/2014/main" id="{65F570FC-EAA0-45D3-B47E-52F8AB64E968}"/>
                </a:ext>
              </a:extLst>
            </p:cNvPr>
            <p:cNvSpPr/>
            <p:nvPr/>
          </p:nvSpPr>
          <p:spPr>
            <a:xfrm>
              <a:off x="4185056" y="5860960"/>
              <a:ext cx="16747" cy="91358"/>
            </a:xfrm>
            <a:custGeom>
              <a:avLst/>
              <a:gdLst>
                <a:gd name="connsiteX0" fmla="*/ 10718 w 16747"/>
                <a:gd name="connsiteY0" fmla="*/ 89349 h 91358"/>
                <a:gd name="connsiteX1" fmla="*/ 10718 w 16747"/>
                <a:gd name="connsiteY1" fmla="*/ 89349 h 91358"/>
                <a:gd name="connsiteX2" fmla="*/ 16747 w 16747"/>
                <a:gd name="connsiteY2" fmla="*/ 82383 h 91358"/>
                <a:gd name="connsiteX3" fmla="*/ 16747 w 16747"/>
                <a:gd name="connsiteY3" fmla="*/ 0 h 91358"/>
                <a:gd name="connsiteX4" fmla="*/ 0 w 16747"/>
                <a:gd name="connsiteY4" fmla="*/ 3751 h 91358"/>
                <a:gd name="connsiteX5" fmla="*/ 0 w 16747"/>
                <a:gd name="connsiteY5" fmla="*/ 91358 h 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47" h="91358">
                  <a:moveTo>
                    <a:pt x="10718" y="89349"/>
                  </a:moveTo>
                  <a:lnTo>
                    <a:pt x="10718" y="89349"/>
                  </a:lnTo>
                  <a:cubicBezTo>
                    <a:pt x="10799" y="85882"/>
                    <a:pt x="13331" y="82961"/>
                    <a:pt x="16747" y="82383"/>
                  </a:cubicBezTo>
                  <a:lnTo>
                    <a:pt x="16747" y="0"/>
                  </a:lnTo>
                  <a:lnTo>
                    <a:pt x="0" y="3751"/>
                  </a:lnTo>
                  <a:lnTo>
                    <a:pt x="0" y="91358"/>
                  </a:lnTo>
                  <a:close/>
                </a:path>
              </a:pathLst>
            </a:custGeom>
            <a:solidFill>
              <a:srgbClr val="F4F5F3"/>
            </a:solidFill>
            <a:ln w="12700" cap="flat">
              <a:noFill/>
              <a:prstDash val="solid"/>
              <a:miter/>
            </a:ln>
          </p:spPr>
          <p:txBody>
            <a:bodyPr rtlCol="0" anchor="ctr"/>
            <a:lstStyle/>
            <a:p>
              <a:endParaRPr lang="en-US"/>
            </a:p>
          </p:txBody>
        </p:sp>
        <p:sp>
          <p:nvSpPr>
            <p:cNvPr id="1588" name="Freeform: Shape 1587">
              <a:extLst>
                <a:ext uri="{FF2B5EF4-FFF2-40B4-BE49-F238E27FC236}">
                  <a16:creationId xmlns:a16="http://schemas.microsoft.com/office/drawing/2014/main" id="{DCDD6C04-0ECE-4736-809E-5C2DBCC5EF3F}"/>
                </a:ext>
              </a:extLst>
            </p:cNvPr>
            <p:cNvSpPr/>
            <p:nvPr/>
          </p:nvSpPr>
          <p:spPr>
            <a:xfrm>
              <a:off x="4164825" y="5963437"/>
              <a:ext cx="7101" cy="574272"/>
            </a:xfrm>
            <a:custGeom>
              <a:avLst/>
              <a:gdLst>
                <a:gd name="connsiteX0" fmla="*/ 6029 w 7101"/>
                <a:gd name="connsiteY0" fmla="*/ 574272 h 574272"/>
                <a:gd name="connsiteX1" fmla="*/ 7101 w 7101"/>
                <a:gd name="connsiteY1" fmla="*/ 571727 h 574272"/>
                <a:gd name="connsiteX2" fmla="*/ 7101 w 7101"/>
                <a:gd name="connsiteY2" fmla="*/ 0 h 574272"/>
                <a:gd name="connsiteX3" fmla="*/ 0 w 7101"/>
                <a:gd name="connsiteY3" fmla="*/ 1340 h 574272"/>
                <a:gd name="connsiteX4" fmla="*/ 0 w 7101"/>
                <a:gd name="connsiteY4" fmla="*/ 574005 h 574272"/>
                <a:gd name="connsiteX5" fmla="*/ 0 w 7101"/>
                <a:gd name="connsiteY5" fmla="*/ 574005 h 57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1" h="574272">
                  <a:moveTo>
                    <a:pt x="6029" y="574272"/>
                  </a:moveTo>
                  <a:cubicBezTo>
                    <a:pt x="6217" y="573361"/>
                    <a:pt x="6579" y="572504"/>
                    <a:pt x="7101" y="571727"/>
                  </a:cubicBezTo>
                  <a:lnTo>
                    <a:pt x="7101" y="0"/>
                  </a:lnTo>
                  <a:lnTo>
                    <a:pt x="0" y="1340"/>
                  </a:lnTo>
                  <a:lnTo>
                    <a:pt x="0" y="574005"/>
                  </a:lnTo>
                  <a:lnTo>
                    <a:pt x="0" y="574005"/>
                  </a:lnTo>
                  <a:close/>
                </a:path>
              </a:pathLst>
            </a:custGeom>
            <a:solidFill>
              <a:srgbClr val="F9C996"/>
            </a:solidFill>
            <a:ln w="12700" cap="flat">
              <a:noFill/>
              <a:prstDash val="solid"/>
              <a:miter/>
            </a:ln>
          </p:spPr>
          <p:txBody>
            <a:bodyPr rtlCol="0" anchor="ctr"/>
            <a:lstStyle/>
            <a:p>
              <a:endParaRPr lang="en-US"/>
            </a:p>
          </p:txBody>
        </p:sp>
        <p:sp>
          <p:nvSpPr>
            <p:cNvPr id="1589" name="Freeform: Shape 1588">
              <a:extLst>
                <a:ext uri="{FF2B5EF4-FFF2-40B4-BE49-F238E27FC236}">
                  <a16:creationId xmlns:a16="http://schemas.microsoft.com/office/drawing/2014/main" id="{C7E6A50F-B14A-4E98-A641-8577C9570A6B}"/>
                </a:ext>
              </a:extLst>
            </p:cNvPr>
            <p:cNvSpPr/>
            <p:nvPr/>
          </p:nvSpPr>
          <p:spPr>
            <a:xfrm>
              <a:off x="4174606" y="5962633"/>
              <a:ext cx="1875" cy="569851"/>
            </a:xfrm>
            <a:custGeom>
              <a:avLst/>
              <a:gdLst>
                <a:gd name="connsiteX0" fmla="*/ 1876 w 1875"/>
                <a:gd name="connsiteY0" fmla="*/ 0 h 569851"/>
                <a:gd name="connsiteX1" fmla="*/ 0 w 1875"/>
                <a:gd name="connsiteY1" fmla="*/ 0 h 569851"/>
                <a:gd name="connsiteX2" fmla="*/ 0 w 1875"/>
                <a:gd name="connsiteY2" fmla="*/ 0 h 569851"/>
                <a:gd name="connsiteX3" fmla="*/ 0 w 1875"/>
                <a:gd name="connsiteY3" fmla="*/ 569852 h 569851"/>
                <a:gd name="connsiteX4" fmla="*/ 1876 w 1875"/>
                <a:gd name="connsiteY4" fmla="*/ 569852 h 56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 h="569851">
                  <a:moveTo>
                    <a:pt x="1876" y="0"/>
                  </a:moveTo>
                  <a:lnTo>
                    <a:pt x="0" y="0"/>
                  </a:lnTo>
                  <a:lnTo>
                    <a:pt x="0" y="0"/>
                  </a:lnTo>
                  <a:lnTo>
                    <a:pt x="0" y="569852"/>
                  </a:lnTo>
                  <a:lnTo>
                    <a:pt x="1876" y="569852"/>
                  </a:lnTo>
                  <a:close/>
                </a:path>
              </a:pathLst>
            </a:custGeom>
            <a:solidFill>
              <a:srgbClr val="E8E7E3"/>
            </a:solidFill>
            <a:ln w="12700" cap="flat">
              <a:noFill/>
              <a:prstDash val="solid"/>
              <a:miter/>
            </a:ln>
          </p:spPr>
          <p:txBody>
            <a:bodyPr rtlCol="0" anchor="ctr"/>
            <a:lstStyle/>
            <a:p>
              <a:endParaRPr lang="en-US"/>
            </a:p>
          </p:txBody>
        </p:sp>
        <p:sp>
          <p:nvSpPr>
            <p:cNvPr id="1590" name="Freeform: Shape 1589">
              <a:extLst>
                <a:ext uri="{FF2B5EF4-FFF2-40B4-BE49-F238E27FC236}">
                  <a16:creationId xmlns:a16="http://schemas.microsoft.com/office/drawing/2014/main" id="{F81A0138-CC44-4AE7-BF76-896F62C80597}"/>
                </a:ext>
              </a:extLst>
            </p:cNvPr>
            <p:cNvSpPr/>
            <p:nvPr/>
          </p:nvSpPr>
          <p:spPr>
            <a:xfrm>
              <a:off x="4179965" y="5956203"/>
              <a:ext cx="16613" cy="575745"/>
            </a:xfrm>
            <a:custGeom>
              <a:avLst/>
              <a:gdLst>
                <a:gd name="connsiteX0" fmla="*/ 15810 w 16613"/>
                <a:gd name="connsiteY0" fmla="*/ 0 h 575745"/>
                <a:gd name="connsiteX1" fmla="*/ 4957 w 16613"/>
                <a:gd name="connsiteY1" fmla="*/ 0 h 575745"/>
                <a:gd name="connsiteX2" fmla="*/ 4957 w 16613"/>
                <a:gd name="connsiteY2" fmla="*/ 938 h 575745"/>
                <a:gd name="connsiteX3" fmla="*/ 4957 w 16613"/>
                <a:gd name="connsiteY3" fmla="*/ 2277 h 575745"/>
                <a:gd name="connsiteX4" fmla="*/ 4153 w 16613"/>
                <a:gd name="connsiteY4" fmla="*/ 3349 h 575745"/>
                <a:gd name="connsiteX5" fmla="*/ 3216 w 16613"/>
                <a:gd name="connsiteY5" fmla="*/ 4287 h 575745"/>
                <a:gd name="connsiteX6" fmla="*/ 2010 w 16613"/>
                <a:gd name="connsiteY6" fmla="*/ 5090 h 575745"/>
                <a:gd name="connsiteX7" fmla="*/ 670 w 16613"/>
                <a:gd name="connsiteY7" fmla="*/ 5090 h 575745"/>
                <a:gd name="connsiteX8" fmla="*/ 0 w 16613"/>
                <a:gd name="connsiteY8" fmla="*/ 5090 h 575745"/>
                <a:gd name="connsiteX9" fmla="*/ 0 w 16613"/>
                <a:gd name="connsiteY9" fmla="*/ 5090 h 575745"/>
                <a:gd name="connsiteX10" fmla="*/ 0 w 16613"/>
                <a:gd name="connsiteY10" fmla="*/ 575076 h 575745"/>
                <a:gd name="connsiteX11" fmla="*/ 16613 w 16613"/>
                <a:gd name="connsiteY11" fmla="*/ 575746 h 57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13" h="575745">
                  <a:moveTo>
                    <a:pt x="15810" y="0"/>
                  </a:moveTo>
                  <a:lnTo>
                    <a:pt x="4957" y="0"/>
                  </a:lnTo>
                  <a:cubicBezTo>
                    <a:pt x="5038" y="308"/>
                    <a:pt x="5038" y="630"/>
                    <a:pt x="4957" y="938"/>
                  </a:cubicBezTo>
                  <a:cubicBezTo>
                    <a:pt x="5038" y="1381"/>
                    <a:pt x="5038" y="1834"/>
                    <a:pt x="4957" y="2277"/>
                  </a:cubicBezTo>
                  <a:lnTo>
                    <a:pt x="4153" y="3349"/>
                  </a:lnTo>
                  <a:cubicBezTo>
                    <a:pt x="3912" y="3725"/>
                    <a:pt x="3591" y="4046"/>
                    <a:pt x="3216" y="4287"/>
                  </a:cubicBezTo>
                  <a:lnTo>
                    <a:pt x="2010" y="5090"/>
                  </a:lnTo>
                  <a:lnTo>
                    <a:pt x="670" y="5090"/>
                  </a:lnTo>
                  <a:lnTo>
                    <a:pt x="0" y="5090"/>
                  </a:lnTo>
                  <a:lnTo>
                    <a:pt x="0" y="5090"/>
                  </a:lnTo>
                  <a:lnTo>
                    <a:pt x="0" y="575076"/>
                  </a:lnTo>
                  <a:lnTo>
                    <a:pt x="16613" y="575746"/>
                  </a:lnTo>
                  <a:close/>
                </a:path>
              </a:pathLst>
            </a:custGeom>
            <a:solidFill>
              <a:srgbClr val="9FD1D0"/>
            </a:solidFill>
            <a:ln w="12700" cap="flat">
              <a:noFill/>
              <a:prstDash val="solid"/>
              <a:miter/>
            </a:ln>
          </p:spPr>
          <p:txBody>
            <a:bodyPr rtlCol="0" anchor="ctr"/>
            <a:lstStyle/>
            <a:p>
              <a:endParaRPr lang="en-US"/>
            </a:p>
          </p:txBody>
        </p:sp>
        <p:sp>
          <p:nvSpPr>
            <p:cNvPr id="1591" name="Freeform: Shape 1590">
              <a:extLst>
                <a:ext uri="{FF2B5EF4-FFF2-40B4-BE49-F238E27FC236}">
                  <a16:creationId xmlns:a16="http://schemas.microsoft.com/office/drawing/2014/main" id="{AD1146E5-D902-45E5-B462-1BAE318D1BBA}"/>
                </a:ext>
              </a:extLst>
            </p:cNvPr>
            <p:cNvSpPr/>
            <p:nvPr/>
          </p:nvSpPr>
          <p:spPr>
            <a:xfrm>
              <a:off x="4192023" y="5952988"/>
              <a:ext cx="3751" cy="669"/>
            </a:xfrm>
            <a:custGeom>
              <a:avLst/>
              <a:gdLst>
                <a:gd name="connsiteX0" fmla="*/ 0 w 3751"/>
                <a:gd name="connsiteY0" fmla="*/ 670 h 669"/>
                <a:gd name="connsiteX1" fmla="*/ 3751 w 3751"/>
                <a:gd name="connsiteY1" fmla="*/ 670 h 669"/>
                <a:gd name="connsiteX2" fmla="*/ 3751 w 3751"/>
                <a:gd name="connsiteY2" fmla="*/ 0 h 669"/>
                <a:gd name="connsiteX3" fmla="*/ 0 w 3751"/>
                <a:gd name="connsiteY3" fmla="*/ 670 h 669"/>
              </a:gdLst>
              <a:ahLst/>
              <a:cxnLst>
                <a:cxn ang="0">
                  <a:pos x="connsiteX0" y="connsiteY0"/>
                </a:cxn>
                <a:cxn ang="0">
                  <a:pos x="connsiteX1" y="connsiteY1"/>
                </a:cxn>
                <a:cxn ang="0">
                  <a:pos x="connsiteX2" y="connsiteY2"/>
                </a:cxn>
                <a:cxn ang="0">
                  <a:pos x="connsiteX3" y="connsiteY3"/>
                </a:cxn>
              </a:cxnLst>
              <a:rect l="l" t="t" r="r" b="b"/>
              <a:pathLst>
                <a:path w="3751" h="669">
                  <a:moveTo>
                    <a:pt x="0" y="670"/>
                  </a:moveTo>
                  <a:lnTo>
                    <a:pt x="3751" y="670"/>
                  </a:lnTo>
                  <a:lnTo>
                    <a:pt x="3751" y="0"/>
                  </a:lnTo>
                  <a:lnTo>
                    <a:pt x="0" y="670"/>
                  </a:lnTo>
                  <a:close/>
                </a:path>
              </a:pathLst>
            </a:custGeom>
            <a:solidFill>
              <a:srgbClr val="088A8F"/>
            </a:solidFill>
            <a:ln w="12700" cap="flat">
              <a:noFill/>
              <a:prstDash val="solid"/>
              <a:miter/>
            </a:ln>
          </p:spPr>
          <p:txBody>
            <a:bodyPr rtlCol="0" anchor="ctr"/>
            <a:lstStyle/>
            <a:p>
              <a:endParaRPr lang="en-US"/>
            </a:p>
          </p:txBody>
        </p:sp>
        <p:sp>
          <p:nvSpPr>
            <p:cNvPr id="1592" name="Freeform: Shape 1591">
              <a:extLst>
                <a:ext uri="{FF2B5EF4-FFF2-40B4-BE49-F238E27FC236}">
                  <a16:creationId xmlns:a16="http://schemas.microsoft.com/office/drawing/2014/main" id="{3C1A5B2A-25DB-470E-83FC-3F653D738478}"/>
                </a:ext>
              </a:extLst>
            </p:cNvPr>
            <p:cNvSpPr/>
            <p:nvPr/>
          </p:nvSpPr>
          <p:spPr>
            <a:xfrm>
              <a:off x="986878" y="6034032"/>
              <a:ext cx="4689" cy="98726"/>
            </a:xfrm>
            <a:custGeom>
              <a:avLst/>
              <a:gdLst>
                <a:gd name="connsiteX0" fmla="*/ 4689 w 4689"/>
                <a:gd name="connsiteY0" fmla="*/ 98726 h 98726"/>
                <a:gd name="connsiteX1" fmla="*/ 4689 w 4689"/>
                <a:gd name="connsiteY1" fmla="*/ 94975 h 98726"/>
                <a:gd name="connsiteX2" fmla="*/ 4689 w 4689"/>
                <a:gd name="connsiteY2" fmla="*/ 92832 h 98726"/>
                <a:gd name="connsiteX3" fmla="*/ 4689 w 4689"/>
                <a:gd name="connsiteY3" fmla="*/ 74212 h 98726"/>
                <a:gd name="connsiteX4" fmla="*/ 4689 w 4689"/>
                <a:gd name="connsiteY4" fmla="*/ 3215 h 98726"/>
                <a:gd name="connsiteX5" fmla="*/ 0 w 4689"/>
                <a:gd name="connsiteY5" fmla="*/ 0 h 98726"/>
                <a:gd name="connsiteX6" fmla="*/ 0 w 4689"/>
                <a:gd name="connsiteY6" fmla="*/ 98726 h 98726"/>
                <a:gd name="connsiteX7" fmla="*/ 4689 w 4689"/>
                <a:gd name="connsiteY7" fmla="*/ 98726 h 9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9" h="98726">
                  <a:moveTo>
                    <a:pt x="4689" y="98726"/>
                  </a:moveTo>
                  <a:lnTo>
                    <a:pt x="4689" y="94975"/>
                  </a:lnTo>
                  <a:lnTo>
                    <a:pt x="4689" y="92832"/>
                  </a:lnTo>
                  <a:lnTo>
                    <a:pt x="4689" y="74212"/>
                  </a:lnTo>
                  <a:lnTo>
                    <a:pt x="4689" y="3215"/>
                  </a:lnTo>
                  <a:lnTo>
                    <a:pt x="0" y="0"/>
                  </a:lnTo>
                  <a:lnTo>
                    <a:pt x="0" y="98726"/>
                  </a:lnTo>
                  <a:lnTo>
                    <a:pt x="4689" y="98726"/>
                  </a:lnTo>
                  <a:close/>
                </a:path>
              </a:pathLst>
            </a:custGeom>
            <a:solidFill>
              <a:srgbClr val="9FD1D0"/>
            </a:solidFill>
            <a:ln w="12700" cap="flat">
              <a:noFill/>
              <a:prstDash val="solid"/>
              <a:miter/>
            </a:ln>
          </p:spPr>
          <p:txBody>
            <a:bodyPr rtlCol="0" anchor="ctr"/>
            <a:lstStyle/>
            <a:p>
              <a:endParaRPr lang="en-US"/>
            </a:p>
          </p:txBody>
        </p:sp>
        <p:sp>
          <p:nvSpPr>
            <p:cNvPr id="1593" name="Freeform: Shape 1592">
              <a:extLst>
                <a:ext uri="{FF2B5EF4-FFF2-40B4-BE49-F238E27FC236}">
                  <a16:creationId xmlns:a16="http://schemas.microsoft.com/office/drawing/2014/main" id="{18009B10-74F3-43D7-85EF-657C5B2AA149}"/>
                </a:ext>
              </a:extLst>
            </p:cNvPr>
            <p:cNvSpPr/>
            <p:nvPr/>
          </p:nvSpPr>
          <p:spPr>
            <a:xfrm>
              <a:off x="701506" y="6148029"/>
              <a:ext cx="735402" cy="321496"/>
            </a:xfrm>
            <a:custGeom>
              <a:avLst/>
              <a:gdLst>
                <a:gd name="connsiteX0" fmla="*/ 733259 w 735402"/>
                <a:gd name="connsiteY0" fmla="*/ 0 h 321496"/>
                <a:gd name="connsiteX1" fmla="*/ 0 w 735402"/>
                <a:gd name="connsiteY1" fmla="*/ 0 h 321496"/>
                <a:gd name="connsiteX2" fmla="*/ 0 w 735402"/>
                <a:gd name="connsiteY2" fmla="*/ 107165 h 321496"/>
                <a:gd name="connsiteX3" fmla="*/ 0 w 735402"/>
                <a:gd name="connsiteY3" fmla="*/ 107165 h 321496"/>
                <a:gd name="connsiteX4" fmla="*/ 804 w 735402"/>
                <a:gd name="connsiteY4" fmla="*/ 107165 h 321496"/>
                <a:gd name="connsiteX5" fmla="*/ 2144 w 735402"/>
                <a:gd name="connsiteY5" fmla="*/ 107165 h 321496"/>
                <a:gd name="connsiteX6" fmla="*/ 3215 w 735402"/>
                <a:gd name="connsiteY6" fmla="*/ 107969 h 321496"/>
                <a:gd name="connsiteX7" fmla="*/ 4287 w 735402"/>
                <a:gd name="connsiteY7" fmla="*/ 108907 h 321496"/>
                <a:gd name="connsiteX8" fmla="*/ 4957 w 735402"/>
                <a:gd name="connsiteY8" fmla="*/ 110112 h 321496"/>
                <a:gd name="connsiteX9" fmla="*/ 4957 w 735402"/>
                <a:gd name="connsiteY9" fmla="*/ 111050 h 321496"/>
                <a:gd name="connsiteX10" fmla="*/ 265544 w 735402"/>
                <a:gd name="connsiteY10" fmla="*/ 111050 h 321496"/>
                <a:gd name="connsiteX11" fmla="*/ 272510 w 735402"/>
                <a:gd name="connsiteY11" fmla="*/ 105022 h 321496"/>
                <a:gd name="connsiteX12" fmla="*/ 279879 w 735402"/>
                <a:gd name="connsiteY12" fmla="*/ 112390 h 321496"/>
                <a:gd name="connsiteX13" fmla="*/ 279879 w 735402"/>
                <a:gd name="connsiteY13" fmla="*/ 321496 h 321496"/>
                <a:gd name="connsiteX14" fmla="*/ 735403 w 735402"/>
                <a:gd name="connsiteY14" fmla="*/ 321496 h 321496"/>
                <a:gd name="connsiteX15" fmla="*/ 735403 w 735402"/>
                <a:gd name="connsiteY15" fmla="*/ 0 h 32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5402" h="321496">
                  <a:moveTo>
                    <a:pt x="733259" y="0"/>
                  </a:moveTo>
                  <a:lnTo>
                    <a:pt x="0" y="0"/>
                  </a:lnTo>
                  <a:lnTo>
                    <a:pt x="0" y="107165"/>
                  </a:lnTo>
                  <a:lnTo>
                    <a:pt x="0" y="107165"/>
                  </a:lnTo>
                  <a:lnTo>
                    <a:pt x="804" y="107165"/>
                  </a:lnTo>
                  <a:lnTo>
                    <a:pt x="2144" y="107165"/>
                  </a:lnTo>
                  <a:lnTo>
                    <a:pt x="3215" y="107969"/>
                  </a:lnTo>
                  <a:lnTo>
                    <a:pt x="4287" y="108907"/>
                  </a:lnTo>
                  <a:cubicBezTo>
                    <a:pt x="4561" y="109282"/>
                    <a:pt x="4786" y="109684"/>
                    <a:pt x="4957" y="110112"/>
                  </a:cubicBezTo>
                  <a:cubicBezTo>
                    <a:pt x="5027" y="110420"/>
                    <a:pt x="5027" y="110742"/>
                    <a:pt x="4957" y="111050"/>
                  </a:cubicBezTo>
                  <a:lnTo>
                    <a:pt x="265544" y="111050"/>
                  </a:lnTo>
                  <a:cubicBezTo>
                    <a:pt x="266121" y="107634"/>
                    <a:pt x="269043" y="105102"/>
                    <a:pt x="272510" y="105022"/>
                  </a:cubicBezTo>
                  <a:cubicBezTo>
                    <a:pt x="276581" y="105022"/>
                    <a:pt x="279879" y="108317"/>
                    <a:pt x="279879" y="112390"/>
                  </a:cubicBezTo>
                  <a:lnTo>
                    <a:pt x="279879" y="321496"/>
                  </a:lnTo>
                  <a:lnTo>
                    <a:pt x="735403" y="321496"/>
                  </a:lnTo>
                  <a:lnTo>
                    <a:pt x="735403" y="0"/>
                  </a:lnTo>
                  <a:close/>
                </a:path>
              </a:pathLst>
            </a:custGeom>
            <a:solidFill>
              <a:srgbClr val="088A8F"/>
            </a:solidFill>
            <a:ln w="12700" cap="flat">
              <a:noFill/>
              <a:prstDash val="solid"/>
              <a:miter/>
            </a:ln>
          </p:spPr>
          <p:txBody>
            <a:bodyPr rtlCol="0" anchor="ctr"/>
            <a:lstStyle/>
            <a:p>
              <a:endParaRPr lang="en-US"/>
            </a:p>
          </p:txBody>
        </p:sp>
        <p:sp>
          <p:nvSpPr>
            <p:cNvPr id="1594" name="Freeform: Shape 1593">
              <a:extLst>
                <a:ext uri="{FF2B5EF4-FFF2-40B4-BE49-F238E27FC236}">
                  <a16:creationId xmlns:a16="http://schemas.microsoft.com/office/drawing/2014/main" id="{A1198C55-C1B3-4E30-9B03-8DBFF8C0264C}"/>
                </a:ext>
              </a:extLst>
            </p:cNvPr>
            <p:cNvSpPr/>
            <p:nvPr/>
          </p:nvSpPr>
          <p:spPr>
            <a:xfrm>
              <a:off x="708071" y="6263500"/>
              <a:ext cx="258710" cy="199997"/>
            </a:xfrm>
            <a:custGeom>
              <a:avLst/>
              <a:gdLst>
                <a:gd name="connsiteX0" fmla="*/ 0 w 258710"/>
                <a:gd name="connsiteY0" fmla="*/ 0 h 199997"/>
                <a:gd name="connsiteX1" fmla="*/ 0 w 258710"/>
                <a:gd name="connsiteY1" fmla="*/ 199997 h 199997"/>
                <a:gd name="connsiteX2" fmla="*/ 2814 w 258710"/>
                <a:gd name="connsiteY2" fmla="*/ 199997 h 199997"/>
                <a:gd name="connsiteX3" fmla="*/ 258711 w 258710"/>
                <a:gd name="connsiteY3" fmla="*/ 199997 h 199997"/>
                <a:gd name="connsiteX4" fmla="*/ 258711 w 258710"/>
                <a:gd name="connsiteY4" fmla="*/ 0 h 199997"/>
                <a:gd name="connsiteX5" fmla="*/ 0 w 258710"/>
                <a:gd name="connsiteY5" fmla="*/ 0 h 19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710" h="199997">
                  <a:moveTo>
                    <a:pt x="0" y="0"/>
                  </a:moveTo>
                  <a:lnTo>
                    <a:pt x="0" y="199997"/>
                  </a:lnTo>
                  <a:lnTo>
                    <a:pt x="2814" y="199997"/>
                  </a:lnTo>
                  <a:lnTo>
                    <a:pt x="258711" y="199997"/>
                  </a:lnTo>
                  <a:lnTo>
                    <a:pt x="258711" y="0"/>
                  </a:lnTo>
                  <a:lnTo>
                    <a:pt x="0" y="0"/>
                  </a:lnTo>
                  <a:close/>
                </a:path>
              </a:pathLst>
            </a:custGeom>
            <a:solidFill>
              <a:srgbClr val="0A4054"/>
            </a:solidFill>
            <a:ln w="12700" cap="flat">
              <a:noFill/>
              <a:prstDash val="solid"/>
              <a:miter/>
            </a:ln>
          </p:spPr>
          <p:txBody>
            <a:bodyPr rtlCol="0" anchor="ctr"/>
            <a:lstStyle/>
            <a:p>
              <a:endParaRPr lang="en-US"/>
            </a:p>
          </p:txBody>
        </p:sp>
        <p:sp>
          <p:nvSpPr>
            <p:cNvPr id="1595" name="Freeform: Shape 1594">
              <a:extLst>
                <a:ext uri="{FF2B5EF4-FFF2-40B4-BE49-F238E27FC236}">
                  <a16:creationId xmlns:a16="http://schemas.microsoft.com/office/drawing/2014/main" id="{9053143D-217F-4536-A28D-8BD511C85621}"/>
                </a:ext>
              </a:extLst>
            </p:cNvPr>
            <p:cNvSpPr/>
            <p:nvPr/>
          </p:nvSpPr>
          <p:spPr>
            <a:xfrm>
              <a:off x="980447" y="6029343"/>
              <a:ext cx="4421" cy="103950"/>
            </a:xfrm>
            <a:custGeom>
              <a:avLst/>
              <a:gdLst>
                <a:gd name="connsiteX0" fmla="*/ 3751 w 4421"/>
                <a:gd name="connsiteY0" fmla="*/ 2947 h 103950"/>
                <a:gd name="connsiteX1" fmla="*/ 1072 w 4421"/>
                <a:gd name="connsiteY1" fmla="*/ 1072 h 103950"/>
                <a:gd name="connsiteX2" fmla="*/ 1072 w 4421"/>
                <a:gd name="connsiteY2" fmla="*/ 1072 h 103950"/>
                <a:gd name="connsiteX3" fmla="*/ 0 w 4421"/>
                <a:gd name="connsiteY3" fmla="*/ 0 h 103950"/>
                <a:gd name="connsiteX4" fmla="*/ 0 w 4421"/>
                <a:gd name="connsiteY4" fmla="*/ 0 h 103950"/>
                <a:gd name="connsiteX5" fmla="*/ 0 w 4421"/>
                <a:gd name="connsiteY5" fmla="*/ 103950 h 103950"/>
                <a:gd name="connsiteX6" fmla="*/ 4421 w 4421"/>
                <a:gd name="connsiteY6" fmla="*/ 103950 h 10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1" h="103950">
                  <a:moveTo>
                    <a:pt x="3751" y="2947"/>
                  </a:moveTo>
                  <a:lnTo>
                    <a:pt x="1072" y="1072"/>
                  </a:lnTo>
                  <a:lnTo>
                    <a:pt x="1072" y="1072"/>
                  </a:lnTo>
                  <a:lnTo>
                    <a:pt x="0" y="0"/>
                  </a:lnTo>
                  <a:lnTo>
                    <a:pt x="0" y="0"/>
                  </a:lnTo>
                  <a:lnTo>
                    <a:pt x="0" y="103950"/>
                  </a:lnTo>
                  <a:lnTo>
                    <a:pt x="4421" y="103950"/>
                  </a:lnTo>
                  <a:close/>
                </a:path>
              </a:pathLst>
            </a:custGeom>
            <a:solidFill>
              <a:srgbClr val="66B2B0"/>
            </a:solidFill>
            <a:ln w="12700" cap="flat">
              <a:noFill/>
              <a:prstDash val="solid"/>
              <a:miter/>
            </a:ln>
          </p:spPr>
          <p:txBody>
            <a:bodyPr rtlCol="0" anchor="ctr"/>
            <a:lstStyle/>
            <a:p>
              <a:endParaRPr lang="en-US"/>
            </a:p>
          </p:txBody>
        </p:sp>
        <p:sp>
          <p:nvSpPr>
            <p:cNvPr id="1596" name="Freeform: Shape 1595">
              <a:extLst>
                <a:ext uri="{FF2B5EF4-FFF2-40B4-BE49-F238E27FC236}">
                  <a16:creationId xmlns:a16="http://schemas.microsoft.com/office/drawing/2014/main" id="{6EEFA5D4-796F-49FE-A229-6564EF2053B2}"/>
                </a:ext>
              </a:extLst>
            </p:cNvPr>
            <p:cNvSpPr/>
            <p:nvPr/>
          </p:nvSpPr>
          <p:spPr>
            <a:xfrm>
              <a:off x="708071" y="4959699"/>
              <a:ext cx="269160" cy="1173058"/>
            </a:xfrm>
            <a:custGeom>
              <a:avLst/>
              <a:gdLst>
                <a:gd name="connsiteX0" fmla="*/ 0 w 269160"/>
                <a:gd name="connsiteY0" fmla="*/ 1031199 h 1173058"/>
                <a:gd name="connsiteX1" fmla="*/ 0 w 269160"/>
                <a:gd name="connsiteY1" fmla="*/ 1173059 h 1173058"/>
                <a:gd name="connsiteX2" fmla="*/ 269161 w 269160"/>
                <a:gd name="connsiteY2" fmla="*/ 1173059 h 1173058"/>
                <a:gd name="connsiteX3" fmla="*/ 269161 w 269160"/>
                <a:gd name="connsiteY3" fmla="*/ 8707 h 1173058"/>
                <a:gd name="connsiteX4" fmla="*/ 265544 w 269160"/>
                <a:gd name="connsiteY4" fmla="*/ 0 h 1173058"/>
                <a:gd name="connsiteX5" fmla="*/ 171759 w 269160"/>
                <a:gd name="connsiteY5" fmla="*/ 0 h 1173058"/>
                <a:gd name="connsiteX6" fmla="*/ 0 w 269160"/>
                <a:gd name="connsiteY6" fmla="*/ 0 h 1173058"/>
                <a:gd name="connsiteX7" fmla="*/ 0 w 269160"/>
                <a:gd name="connsiteY7" fmla="*/ 639911 h 1173058"/>
                <a:gd name="connsiteX8" fmla="*/ 0 w 269160"/>
                <a:gd name="connsiteY8" fmla="*/ 822628 h 1173058"/>
                <a:gd name="connsiteX9" fmla="*/ 0 w 269160"/>
                <a:gd name="connsiteY9" fmla="*/ 1031199 h 117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160" h="1173058">
                  <a:moveTo>
                    <a:pt x="0" y="1031199"/>
                  </a:moveTo>
                  <a:lnTo>
                    <a:pt x="0" y="1173059"/>
                  </a:lnTo>
                  <a:lnTo>
                    <a:pt x="269161" y="1173059"/>
                  </a:lnTo>
                  <a:lnTo>
                    <a:pt x="269161" y="8707"/>
                  </a:lnTo>
                  <a:lnTo>
                    <a:pt x="265544" y="0"/>
                  </a:lnTo>
                  <a:lnTo>
                    <a:pt x="171759" y="0"/>
                  </a:lnTo>
                  <a:lnTo>
                    <a:pt x="0" y="0"/>
                  </a:lnTo>
                  <a:lnTo>
                    <a:pt x="0" y="639911"/>
                  </a:lnTo>
                  <a:lnTo>
                    <a:pt x="0" y="822628"/>
                  </a:lnTo>
                  <a:lnTo>
                    <a:pt x="0" y="1031199"/>
                  </a:lnTo>
                  <a:close/>
                </a:path>
              </a:pathLst>
            </a:custGeom>
            <a:solidFill>
              <a:schemeClr val="accent2">
                <a:lumMod val="75000"/>
              </a:schemeClr>
            </a:solidFill>
            <a:ln w="12700" cap="flat">
              <a:noFill/>
              <a:prstDash val="solid"/>
              <a:miter/>
            </a:ln>
          </p:spPr>
          <p:txBody>
            <a:bodyPr rtlCol="0" anchor="ctr"/>
            <a:lstStyle/>
            <a:p>
              <a:endParaRPr lang="en-US"/>
            </a:p>
          </p:txBody>
        </p:sp>
        <p:sp>
          <p:nvSpPr>
            <p:cNvPr id="1597" name="Freeform: Shape 1596">
              <a:extLst>
                <a:ext uri="{FF2B5EF4-FFF2-40B4-BE49-F238E27FC236}">
                  <a16:creationId xmlns:a16="http://schemas.microsoft.com/office/drawing/2014/main" id="{6BBE130D-0896-4BAD-93AF-FDFB56AF50FF}"/>
                </a:ext>
              </a:extLst>
            </p:cNvPr>
            <p:cNvSpPr/>
            <p:nvPr/>
          </p:nvSpPr>
          <p:spPr>
            <a:xfrm>
              <a:off x="982591" y="6473008"/>
              <a:ext cx="1094998" cy="380838"/>
            </a:xfrm>
            <a:custGeom>
              <a:avLst/>
              <a:gdLst>
                <a:gd name="connsiteX0" fmla="*/ 1090443 w 1094998"/>
                <a:gd name="connsiteY0" fmla="*/ 4689 h 380838"/>
                <a:gd name="connsiteX1" fmla="*/ 464366 w 1094998"/>
                <a:gd name="connsiteY1" fmla="*/ 4689 h 380838"/>
                <a:gd name="connsiteX2" fmla="*/ 462089 w 1094998"/>
                <a:gd name="connsiteY2" fmla="*/ 4689 h 380838"/>
                <a:gd name="connsiteX3" fmla="*/ 455524 w 1094998"/>
                <a:gd name="connsiteY3" fmla="*/ 0 h 380838"/>
                <a:gd name="connsiteX4" fmla="*/ 455524 w 1094998"/>
                <a:gd name="connsiteY4" fmla="*/ 0 h 380838"/>
                <a:gd name="connsiteX5" fmla="*/ 455524 w 1094998"/>
                <a:gd name="connsiteY5" fmla="*/ 0 h 380838"/>
                <a:gd name="connsiteX6" fmla="*/ 0 w 1094998"/>
                <a:gd name="connsiteY6" fmla="*/ 0 h 380838"/>
                <a:gd name="connsiteX7" fmla="*/ 0 w 1094998"/>
                <a:gd name="connsiteY7" fmla="*/ 1206 h 380838"/>
                <a:gd name="connsiteX8" fmla="*/ 0 w 1094998"/>
                <a:gd name="connsiteY8" fmla="*/ 1206 h 380838"/>
                <a:gd name="connsiteX9" fmla="*/ 0 w 1094998"/>
                <a:gd name="connsiteY9" fmla="*/ 380839 h 380838"/>
                <a:gd name="connsiteX10" fmla="*/ 1094999 w 1094998"/>
                <a:gd name="connsiteY10" fmla="*/ 380839 h 380838"/>
                <a:gd name="connsiteX11" fmla="*/ 1094999 w 1094998"/>
                <a:gd name="connsiteY11" fmla="*/ 4822 h 38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98" h="380838">
                  <a:moveTo>
                    <a:pt x="1090443" y="4689"/>
                  </a:moveTo>
                  <a:lnTo>
                    <a:pt x="464366" y="4689"/>
                  </a:lnTo>
                  <a:cubicBezTo>
                    <a:pt x="463616" y="4822"/>
                    <a:pt x="462839" y="4822"/>
                    <a:pt x="462089" y="4689"/>
                  </a:cubicBezTo>
                  <a:cubicBezTo>
                    <a:pt x="459141" y="4635"/>
                    <a:pt x="456529" y="2773"/>
                    <a:pt x="455524" y="0"/>
                  </a:cubicBezTo>
                  <a:cubicBezTo>
                    <a:pt x="455524" y="0"/>
                    <a:pt x="455524" y="0"/>
                    <a:pt x="455524" y="0"/>
                  </a:cubicBezTo>
                  <a:lnTo>
                    <a:pt x="455524" y="0"/>
                  </a:lnTo>
                  <a:lnTo>
                    <a:pt x="0" y="0"/>
                  </a:lnTo>
                  <a:cubicBezTo>
                    <a:pt x="0" y="0"/>
                    <a:pt x="0" y="804"/>
                    <a:pt x="0" y="1206"/>
                  </a:cubicBezTo>
                  <a:lnTo>
                    <a:pt x="0" y="1206"/>
                  </a:lnTo>
                  <a:lnTo>
                    <a:pt x="0" y="380839"/>
                  </a:lnTo>
                  <a:lnTo>
                    <a:pt x="1094999" y="380839"/>
                  </a:lnTo>
                  <a:lnTo>
                    <a:pt x="1094999" y="4822"/>
                  </a:lnTo>
                  <a:close/>
                </a:path>
              </a:pathLst>
            </a:custGeom>
            <a:solidFill>
              <a:schemeClr val="accent1"/>
            </a:solidFill>
            <a:ln w="12700" cap="flat">
              <a:noFill/>
              <a:prstDash val="solid"/>
              <a:miter/>
            </a:ln>
          </p:spPr>
          <p:txBody>
            <a:bodyPr rtlCol="0" anchor="ctr"/>
            <a:lstStyle/>
            <a:p>
              <a:endParaRPr lang="en-US"/>
            </a:p>
          </p:txBody>
        </p:sp>
        <p:sp>
          <p:nvSpPr>
            <p:cNvPr id="1598" name="Freeform: Shape 1597">
              <a:extLst>
                <a:ext uri="{FF2B5EF4-FFF2-40B4-BE49-F238E27FC236}">
                  <a16:creationId xmlns:a16="http://schemas.microsoft.com/office/drawing/2014/main" id="{1FE2A2F7-5C11-475B-8455-D147031FFB72}"/>
                </a:ext>
              </a:extLst>
            </p:cNvPr>
            <p:cNvSpPr/>
            <p:nvPr/>
          </p:nvSpPr>
          <p:spPr>
            <a:xfrm>
              <a:off x="709679" y="6478098"/>
              <a:ext cx="2545" cy="375748"/>
            </a:xfrm>
            <a:custGeom>
              <a:avLst/>
              <a:gdLst>
                <a:gd name="connsiteX0" fmla="*/ 1206 w 2545"/>
                <a:gd name="connsiteY0" fmla="*/ 0 h 375748"/>
                <a:gd name="connsiteX1" fmla="*/ 0 w 2545"/>
                <a:gd name="connsiteY1" fmla="*/ 0 h 375748"/>
                <a:gd name="connsiteX2" fmla="*/ 0 w 2545"/>
                <a:gd name="connsiteY2" fmla="*/ 375749 h 375748"/>
                <a:gd name="connsiteX3" fmla="*/ 2546 w 2545"/>
                <a:gd name="connsiteY3" fmla="*/ 375749 h 375748"/>
                <a:gd name="connsiteX4" fmla="*/ 2546 w 2545"/>
                <a:gd name="connsiteY4" fmla="*/ 0 h 375748"/>
                <a:gd name="connsiteX5" fmla="*/ 1206 w 2545"/>
                <a:gd name="connsiteY5" fmla="*/ 0 h 37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75748">
                  <a:moveTo>
                    <a:pt x="1206" y="0"/>
                  </a:moveTo>
                  <a:lnTo>
                    <a:pt x="0" y="0"/>
                  </a:lnTo>
                  <a:lnTo>
                    <a:pt x="0" y="375749"/>
                  </a:lnTo>
                  <a:lnTo>
                    <a:pt x="2546" y="375749"/>
                  </a:lnTo>
                  <a:lnTo>
                    <a:pt x="2546" y="0"/>
                  </a:lnTo>
                  <a:lnTo>
                    <a:pt x="1206" y="0"/>
                  </a:lnTo>
                  <a:close/>
                </a:path>
              </a:pathLst>
            </a:custGeom>
            <a:solidFill>
              <a:srgbClr val="000000"/>
            </a:solidFill>
            <a:ln w="12700" cap="flat">
              <a:noFill/>
              <a:prstDash val="solid"/>
              <a:miter/>
            </a:ln>
          </p:spPr>
          <p:txBody>
            <a:bodyPr rtlCol="0" anchor="ctr"/>
            <a:lstStyle/>
            <a:p>
              <a:endParaRPr lang="en-US"/>
            </a:p>
          </p:txBody>
        </p:sp>
        <p:sp>
          <p:nvSpPr>
            <p:cNvPr id="1599" name="Freeform: Shape 1598">
              <a:extLst>
                <a:ext uri="{FF2B5EF4-FFF2-40B4-BE49-F238E27FC236}">
                  <a16:creationId xmlns:a16="http://schemas.microsoft.com/office/drawing/2014/main" id="{BCF70BAE-71D5-47A9-ADCA-54B948D4A9E3}"/>
                </a:ext>
              </a:extLst>
            </p:cNvPr>
            <p:cNvSpPr/>
            <p:nvPr/>
          </p:nvSpPr>
          <p:spPr>
            <a:xfrm>
              <a:off x="365490" y="5983530"/>
              <a:ext cx="327977" cy="14601"/>
            </a:xfrm>
            <a:custGeom>
              <a:avLst/>
              <a:gdLst>
                <a:gd name="connsiteX0" fmla="*/ 7235 w 327977"/>
                <a:gd name="connsiteY0" fmla="*/ 7368 h 14601"/>
                <a:gd name="connsiteX1" fmla="*/ 7235 w 327977"/>
                <a:gd name="connsiteY1" fmla="*/ 14601 h 14601"/>
                <a:gd name="connsiteX2" fmla="*/ 327977 w 327977"/>
                <a:gd name="connsiteY2" fmla="*/ 14601 h 14601"/>
                <a:gd name="connsiteX3" fmla="*/ 327977 w 327977"/>
                <a:gd name="connsiteY3" fmla="*/ 0 h 14601"/>
                <a:gd name="connsiteX4" fmla="*/ 0 w 327977"/>
                <a:gd name="connsiteY4" fmla="*/ 0 h 14601"/>
                <a:gd name="connsiteX5" fmla="*/ 7235 w 327977"/>
                <a:gd name="connsiteY5"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77" h="14601">
                  <a:moveTo>
                    <a:pt x="7235" y="7368"/>
                  </a:moveTo>
                  <a:lnTo>
                    <a:pt x="7235" y="14601"/>
                  </a:lnTo>
                  <a:lnTo>
                    <a:pt x="327977" y="14601"/>
                  </a:lnTo>
                  <a:lnTo>
                    <a:pt x="327977" y="0"/>
                  </a:lnTo>
                  <a:lnTo>
                    <a:pt x="0" y="0"/>
                  </a:lnTo>
                  <a:cubicBezTo>
                    <a:pt x="4017" y="74"/>
                    <a:pt x="7236" y="3350"/>
                    <a:pt x="7235" y="7368"/>
                  </a:cubicBezTo>
                  <a:close/>
                </a:path>
              </a:pathLst>
            </a:custGeom>
            <a:solidFill>
              <a:srgbClr val="000000"/>
            </a:solidFill>
            <a:ln w="12700" cap="flat">
              <a:noFill/>
              <a:prstDash val="solid"/>
              <a:miter/>
            </a:ln>
          </p:spPr>
          <p:txBody>
            <a:bodyPr rtlCol="0" anchor="ctr"/>
            <a:lstStyle/>
            <a:p>
              <a:endParaRPr lang="en-US"/>
            </a:p>
          </p:txBody>
        </p:sp>
        <p:sp>
          <p:nvSpPr>
            <p:cNvPr id="1600" name="Freeform: Shape 1599">
              <a:extLst>
                <a:ext uri="{FF2B5EF4-FFF2-40B4-BE49-F238E27FC236}">
                  <a16:creationId xmlns:a16="http://schemas.microsoft.com/office/drawing/2014/main" id="{CD38153B-29A3-4535-A32E-27181B28E9D4}"/>
                </a:ext>
              </a:extLst>
            </p:cNvPr>
            <p:cNvSpPr/>
            <p:nvPr/>
          </p:nvSpPr>
          <p:spPr>
            <a:xfrm>
              <a:off x="0" y="6481045"/>
              <a:ext cx="147375" cy="178"/>
            </a:xfrm>
            <a:custGeom>
              <a:avLst/>
              <a:gdLst>
                <a:gd name="connsiteX0" fmla="*/ 146437 w 147375"/>
                <a:gd name="connsiteY0" fmla="*/ 0 h 178"/>
                <a:gd name="connsiteX1" fmla="*/ 127279 w 147375"/>
                <a:gd name="connsiteY1" fmla="*/ 0 h 178"/>
                <a:gd name="connsiteX2" fmla="*/ 0 w 147375"/>
                <a:gd name="connsiteY2" fmla="*/ 0 h 178"/>
                <a:gd name="connsiteX3" fmla="*/ 0 w 147375"/>
                <a:gd name="connsiteY3" fmla="*/ 0 h 178"/>
                <a:gd name="connsiteX4" fmla="*/ 147375 w 147375"/>
                <a:gd name="connsiteY4" fmla="*/ 0 h 178"/>
                <a:gd name="connsiteX5" fmla="*/ 146437 w 147375"/>
                <a:gd name="connsiteY5" fmla="*/ 0 h 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5" h="178">
                  <a:moveTo>
                    <a:pt x="146437" y="0"/>
                  </a:moveTo>
                  <a:lnTo>
                    <a:pt x="127279" y="0"/>
                  </a:lnTo>
                  <a:lnTo>
                    <a:pt x="0" y="0"/>
                  </a:lnTo>
                  <a:lnTo>
                    <a:pt x="0" y="0"/>
                  </a:lnTo>
                  <a:lnTo>
                    <a:pt x="147375" y="0"/>
                  </a:lnTo>
                  <a:cubicBezTo>
                    <a:pt x="147375" y="0"/>
                    <a:pt x="146571" y="402"/>
                    <a:pt x="146437" y="0"/>
                  </a:cubicBezTo>
                  <a:close/>
                </a:path>
              </a:pathLst>
            </a:custGeom>
            <a:solidFill>
              <a:srgbClr val="000000"/>
            </a:solidFill>
            <a:ln w="12700" cap="flat">
              <a:noFill/>
              <a:prstDash val="solid"/>
              <a:miter/>
            </a:ln>
          </p:spPr>
          <p:txBody>
            <a:bodyPr rtlCol="0" anchor="ctr"/>
            <a:lstStyle/>
            <a:p>
              <a:endParaRPr lang="en-US"/>
            </a:p>
          </p:txBody>
        </p:sp>
        <p:sp>
          <p:nvSpPr>
            <p:cNvPr id="1601" name="Freeform: Shape 1600">
              <a:extLst>
                <a:ext uri="{FF2B5EF4-FFF2-40B4-BE49-F238E27FC236}">
                  <a16:creationId xmlns:a16="http://schemas.microsoft.com/office/drawing/2014/main" id="{DBCD69F1-AB6B-4CFB-9D08-2AA9DFF67947}"/>
                </a:ext>
              </a:extLst>
            </p:cNvPr>
            <p:cNvSpPr/>
            <p:nvPr/>
          </p:nvSpPr>
          <p:spPr>
            <a:xfrm>
              <a:off x="3190407" y="6449123"/>
              <a:ext cx="43140" cy="6068"/>
            </a:xfrm>
            <a:custGeom>
              <a:avLst/>
              <a:gdLst>
                <a:gd name="connsiteX0" fmla="*/ 6967 w 43140"/>
                <a:gd name="connsiteY0" fmla="*/ 6068 h 6068"/>
                <a:gd name="connsiteX1" fmla="*/ 34566 w 43140"/>
                <a:gd name="connsiteY1" fmla="*/ 6068 h 6068"/>
                <a:gd name="connsiteX2" fmla="*/ 41667 w 43140"/>
                <a:gd name="connsiteY2" fmla="*/ 40 h 6068"/>
                <a:gd name="connsiteX3" fmla="*/ 43141 w 43140"/>
                <a:gd name="connsiteY3" fmla="*/ 40 h 6068"/>
                <a:gd name="connsiteX4" fmla="*/ 41801 w 43140"/>
                <a:gd name="connsiteY4" fmla="*/ 40 h 6068"/>
                <a:gd name="connsiteX5" fmla="*/ 0 w 43140"/>
                <a:gd name="connsiteY5" fmla="*/ 40 h 6068"/>
                <a:gd name="connsiteX6" fmla="*/ 0 w 43140"/>
                <a:gd name="connsiteY6" fmla="*/ 40 h 6068"/>
                <a:gd name="connsiteX7" fmla="*/ 6967 w 43140"/>
                <a:gd name="connsiteY7" fmla="*/ 6068 h 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0" h="6068">
                  <a:moveTo>
                    <a:pt x="6967" y="6068"/>
                  </a:moveTo>
                  <a:lnTo>
                    <a:pt x="34566" y="6068"/>
                  </a:lnTo>
                  <a:cubicBezTo>
                    <a:pt x="35196" y="2626"/>
                    <a:pt x="38170" y="107"/>
                    <a:pt x="41667" y="40"/>
                  </a:cubicBezTo>
                  <a:cubicBezTo>
                    <a:pt x="42163" y="-13"/>
                    <a:pt x="42645" y="-13"/>
                    <a:pt x="43141" y="40"/>
                  </a:cubicBezTo>
                  <a:lnTo>
                    <a:pt x="41801" y="40"/>
                  </a:lnTo>
                  <a:lnTo>
                    <a:pt x="0" y="40"/>
                  </a:lnTo>
                  <a:lnTo>
                    <a:pt x="0" y="40"/>
                  </a:lnTo>
                  <a:cubicBezTo>
                    <a:pt x="3483" y="67"/>
                    <a:pt x="6444" y="2626"/>
                    <a:pt x="6967" y="6068"/>
                  </a:cubicBezTo>
                  <a:close/>
                </a:path>
              </a:pathLst>
            </a:custGeom>
            <a:solidFill>
              <a:srgbClr val="000000"/>
            </a:solidFill>
            <a:ln w="12700" cap="flat">
              <a:noFill/>
              <a:prstDash val="solid"/>
              <a:miter/>
            </a:ln>
          </p:spPr>
          <p:txBody>
            <a:bodyPr rtlCol="0" anchor="ctr"/>
            <a:lstStyle/>
            <a:p>
              <a:endParaRPr lang="en-US"/>
            </a:p>
          </p:txBody>
        </p:sp>
        <p:sp>
          <p:nvSpPr>
            <p:cNvPr id="1602" name="Freeform: Shape 1601">
              <a:extLst>
                <a:ext uri="{FF2B5EF4-FFF2-40B4-BE49-F238E27FC236}">
                  <a16:creationId xmlns:a16="http://schemas.microsoft.com/office/drawing/2014/main" id="{5B99B527-5DA2-43EA-AAD3-A1AD9F0973E4}"/>
                </a:ext>
              </a:extLst>
            </p:cNvPr>
            <p:cNvSpPr/>
            <p:nvPr/>
          </p:nvSpPr>
          <p:spPr>
            <a:xfrm>
              <a:off x="3190273" y="6457201"/>
              <a:ext cx="34700" cy="5894"/>
            </a:xfrm>
            <a:custGeom>
              <a:avLst/>
              <a:gdLst>
                <a:gd name="connsiteX0" fmla="*/ 0 w 34700"/>
                <a:gd name="connsiteY0" fmla="*/ 5894 h 5894"/>
                <a:gd name="connsiteX1" fmla="*/ 0 w 34700"/>
                <a:gd name="connsiteY1" fmla="*/ 5894 h 5894"/>
                <a:gd name="connsiteX2" fmla="*/ 34700 w 34700"/>
                <a:gd name="connsiteY2" fmla="*/ 5894 h 5894"/>
                <a:gd name="connsiteX3" fmla="*/ 34700 w 34700"/>
                <a:gd name="connsiteY3" fmla="*/ 0 h 5894"/>
                <a:gd name="connsiteX4" fmla="*/ 6967 w 34700"/>
                <a:gd name="connsiteY4" fmla="*/ 0 h 5894"/>
                <a:gd name="connsiteX5" fmla="*/ 0 w 34700"/>
                <a:gd name="connsiteY5" fmla="*/ 5894 h 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00" h="5894">
                  <a:moveTo>
                    <a:pt x="0" y="5894"/>
                  </a:moveTo>
                  <a:lnTo>
                    <a:pt x="0" y="5894"/>
                  </a:lnTo>
                  <a:lnTo>
                    <a:pt x="34700" y="5894"/>
                  </a:lnTo>
                  <a:lnTo>
                    <a:pt x="34700" y="0"/>
                  </a:lnTo>
                  <a:lnTo>
                    <a:pt x="6967" y="0"/>
                  </a:lnTo>
                  <a:cubicBezTo>
                    <a:pt x="6377" y="3389"/>
                    <a:pt x="3443" y="5881"/>
                    <a:pt x="0" y="5894"/>
                  </a:cubicBezTo>
                  <a:close/>
                </a:path>
              </a:pathLst>
            </a:custGeom>
            <a:solidFill>
              <a:srgbClr val="000000"/>
            </a:solidFill>
            <a:ln w="12700" cap="flat">
              <a:noFill/>
              <a:prstDash val="solid"/>
              <a:miter/>
            </a:ln>
          </p:spPr>
          <p:txBody>
            <a:bodyPr rtlCol="0" anchor="ctr"/>
            <a:lstStyle/>
            <a:p>
              <a:endParaRPr lang="en-US"/>
            </a:p>
          </p:txBody>
        </p:sp>
        <p:sp>
          <p:nvSpPr>
            <p:cNvPr id="1603" name="Freeform: Shape 1602">
              <a:extLst>
                <a:ext uri="{FF2B5EF4-FFF2-40B4-BE49-F238E27FC236}">
                  <a16:creationId xmlns:a16="http://schemas.microsoft.com/office/drawing/2014/main" id="{58F19AB2-69B1-4CDD-AB43-7B2D5D63546A}"/>
                </a:ext>
              </a:extLst>
            </p:cNvPr>
            <p:cNvSpPr/>
            <p:nvPr/>
          </p:nvSpPr>
          <p:spPr>
            <a:xfrm>
              <a:off x="2800130" y="6447958"/>
              <a:ext cx="397243" cy="6697"/>
            </a:xfrm>
            <a:custGeom>
              <a:avLst/>
              <a:gdLst>
                <a:gd name="connsiteX0" fmla="*/ 7369 w 397243"/>
                <a:gd name="connsiteY0" fmla="*/ 6698 h 6697"/>
                <a:gd name="connsiteX1" fmla="*/ 31887 w 397243"/>
                <a:gd name="connsiteY1" fmla="*/ 6698 h 6697"/>
                <a:gd name="connsiteX2" fmla="*/ 397243 w 397243"/>
                <a:gd name="connsiteY2" fmla="*/ 6698 h 6697"/>
                <a:gd name="connsiteX3" fmla="*/ 390143 w 397243"/>
                <a:gd name="connsiteY3" fmla="*/ 0 h 6697"/>
                <a:gd name="connsiteX4" fmla="*/ 0 w 397243"/>
                <a:gd name="connsiteY4" fmla="*/ 0 h 6697"/>
                <a:gd name="connsiteX5" fmla="*/ 7369 w 397243"/>
                <a:gd name="connsiteY5"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243" h="6697">
                  <a:moveTo>
                    <a:pt x="7369" y="6698"/>
                  </a:moveTo>
                  <a:lnTo>
                    <a:pt x="31887" y="6698"/>
                  </a:lnTo>
                  <a:lnTo>
                    <a:pt x="397243" y="6698"/>
                  </a:lnTo>
                  <a:cubicBezTo>
                    <a:pt x="397029" y="2934"/>
                    <a:pt x="393907" y="0"/>
                    <a:pt x="390143" y="0"/>
                  </a:cubicBezTo>
                  <a:lnTo>
                    <a:pt x="0" y="0"/>
                  </a:lnTo>
                  <a:cubicBezTo>
                    <a:pt x="3818" y="-13"/>
                    <a:pt x="7020" y="2894"/>
                    <a:pt x="7369" y="6698"/>
                  </a:cubicBezTo>
                  <a:close/>
                </a:path>
              </a:pathLst>
            </a:custGeom>
            <a:solidFill>
              <a:srgbClr val="000000"/>
            </a:solidFill>
            <a:ln w="12700" cap="flat">
              <a:noFill/>
              <a:prstDash val="solid"/>
              <a:miter/>
            </a:ln>
          </p:spPr>
          <p:txBody>
            <a:bodyPr rtlCol="0" anchor="ctr"/>
            <a:lstStyle/>
            <a:p>
              <a:endParaRPr lang="en-US"/>
            </a:p>
          </p:txBody>
        </p:sp>
        <p:sp>
          <p:nvSpPr>
            <p:cNvPr id="1604" name="Freeform: Shape 1603">
              <a:extLst>
                <a:ext uri="{FF2B5EF4-FFF2-40B4-BE49-F238E27FC236}">
                  <a16:creationId xmlns:a16="http://schemas.microsoft.com/office/drawing/2014/main" id="{D1072E30-E0BC-4559-A386-F002ADD0CB40}"/>
                </a:ext>
              </a:extLst>
            </p:cNvPr>
            <p:cNvSpPr/>
            <p:nvPr/>
          </p:nvSpPr>
          <p:spPr>
            <a:xfrm>
              <a:off x="2807633" y="6457201"/>
              <a:ext cx="23044" cy="5894"/>
            </a:xfrm>
            <a:custGeom>
              <a:avLst/>
              <a:gdLst>
                <a:gd name="connsiteX0" fmla="*/ 23044 w 23044"/>
                <a:gd name="connsiteY0" fmla="*/ 536 h 5894"/>
                <a:gd name="connsiteX1" fmla="*/ 0 w 23044"/>
                <a:gd name="connsiteY1" fmla="*/ 0 h 5894"/>
                <a:gd name="connsiteX2" fmla="*/ 0 w 23044"/>
                <a:gd name="connsiteY2" fmla="*/ 5894 h 5894"/>
                <a:gd name="connsiteX3" fmla="*/ 23044 w 23044"/>
                <a:gd name="connsiteY3" fmla="*/ 5894 h 5894"/>
                <a:gd name="connsiteX4" fmla="*/ 23044 w 23044"/>
                <a:gd name="connsiteY4" fmla="*/ 536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4" h="5894">
                  <a:moveTo>
                    <a:pt x="23044" y="536"/>
                  </a:moveTo>
                  <a:lnTo>
                    <a:pt x="0" y="0"/>
                  </a:lnTo>
                  <a:lnTo>
                    <a:pt x="0" y="5894"/>
                  </a:lnTo>
                  <a:lnTo>
                    <a:pt x="23044" y="5894"/>
                  </a:lnTo>
                  <a:lnTo>
                    <a:pt x="23044" y="536"/>
                  </a:lnTo>
                  <a:close/>
                </a:path>
              </a:pathLst>
            </a:custGeom>
            <a:solidFill>
              <a:srgbClr val="000000"/>
            </a:solidFill>
            <a:ln w="12700" cap="flat">
              <a:noFill/>
              <a:prstDash val="solid"/>
              <a:miter/>
            </a:ln>
          </p:spPr>
          <p:txBody>
            <a:bodyPr rtlCol="0" anchor="ctr"/>
            <a:lstStyle/>
            <a:p>
              <a:endParaRPr lang="en-US"/>
            </a:p>
          </p:txBody>
        </p:sp>
        <p:sp>
          <p:nvSpPr>
            <p:cNvPr id="1605" name="Freeform: Shape 1604">
              <a:extLst>
                <a:ext uri="{FF2B5EF4-FFF2-40B4-BE49-F238E27FC236}">
                  <a16:creationId xmlns:a16="http://schemas.microsoft.com/office/drawing/2014/main" id="{E4DB6F0E-6E84-4A1F-B2C5-1DD6AB39584A}"/>
                </a:ext>
              </a:extLst>
            </p:cNvPr>
            <p:cNvSpPr/>
            <p:nvPr/>
          </p:nvSpPr>
          <p:spPr>
            <a:xfrm>
              <a:off x="2833223" y="6457737"/>
              <a:ext cx="363748" cy="5358"/>
            </a:xfrm>
            <a:custGeom>
              <a:avLst/>
              <a:gdLst>
                <a:gd name="connsiteX0" fmla="*/ 356916 w 363748"/>
                <a:gd name="connsiteY0" fmla="*/ 5358 h 5358"/>
                <a:gd name="connsiteX1" fmla="*/ 356916 w 363748"/>
                <a:gd name="connsiteY1" fmla="*/ 5358 h 5358"/>
                <a:gd name="connsiteX2" fmla="*/ 363749 w 363748"/>
                <a:gd name="connsiteY2" fmla="*/ 0 h 5358"/>
                <a:gd name="connsiteX3" fmla="*/ 0 w 363748"/>
                <a:gd name="connsiteY3" fmla="*/ 0 h 5358"/>
                <a:gd name="connsiteX4" fmla="*/ 0 w 363748"/>
                <a:gd name="connsiteY4" fmla="*/ 5358 h 5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748" h="5358">
                  <a:moveTo>
                    <a:pt x="356916" y="5358"/>
                  </a:moveTo>
                  <a:lnTo>
                    <a:pt x="356916" y="5358"/>
                  </a:lnTo>
                  <a:cubicBezTo>
                    <a:pt x="360145" y="5331"/>
                    <a:pt x="362959" y="3134"/>
                    <a:pt x="363749" y="0"/>
                  </a:cubicBezTo>
                  <a:lnTo>
                    <a:pt x="0" y="0"/>
                  </a:lnTo>
                  <a:lnTo>
                    <a:pt x="0" y="5358"/>
                  </a:lnTo>
                  <a:close/>
                </a:path>
              </a:pathLst>
            </a:custGeom>
            <a:solidFill>
              <a:srgbClr val="000000"/>
            </a:solidFill>
            <a:ln w="12700" cap="flat">
              <a:noFill/>
              <a:prstDash val="solid"/>
              <a:miter/>
            </a:ln>
          </p:spPr>
          <p:txBody>
            <a:bodyPr rtlCol="0" anchor="ctr"/>
            <a:lstStyle/>
            <a:p>
              <a:endParaRPr lang="en-US"/>
            </a:p>
          </p:txBody>
        </p:sp>
        <p:sp>
          <p:nvSpPr>
            <p:cNvPr id="1606" name="Freeform: Shape 1605">
              <a:extLst>
                <a:ext uri="{FF2B5EF4-FFF2-40B4-BE49-F238E27FC236}">
                  <a16:creationId xmlns:a16="http://schemas.microsoft.com/office/drawing/2014/main" id="{FC80BD6B-F22C-4859-BE82-8456B81FC095}"/>
                </a:ext>
              </a:extLst>
            </p:cNvPr>
            <p:cNvSpPr/>
            <p:nvPr/>
          </p:nvSpPr>
          <p:spPr>
            <a:xfrm>
              <a:off x="2807499" y="6454780"/>
              <a:ext cx="24517" cy="2555"/>
            </a:xfrm>
            <a:custGeom>
              <a:avLst/>
              <a:gdLst>
                <a:gd name="connsiteX0" fmla="*/ 23178 w 24517"/>
                <a:gd name="connsiteY0" fmla="*/ 1350 h 2555"/>
                <a:gd name="connsiteX1" fmla="*/ 24236 w 24517"/>
                <a:gd name="connsiteY1" fmla="*/ 10 h 2555"/>
                <a:gd name="connsiteX2" fmla="*/ 24518 w 24517"/>
                <a:gd name="connsiteY2" fmla="*/ 10 h 2555"/>
                <a:gd name="connsiteX3" fmla="*/ 24518 w 24517"/>
                <a:gd name="connsiteY3" fmla="*/ 10 h 2555"/>
                <a:gd name="connsiteX4" fmla="*/ 0 w 24517"/>
                <a:gd name="connsiteY4" fmla="*/ 10 h 2555"/>
                <a:gd name="connsiteX5" fmla="*/ 0 w 24517"/>
                <a:gd name="connsiteY5" fmla="*/ 1216 h 2555"/>
                <a:gd name="connsiteX6" fmla="*/ 0 w 24517"/>
                <a:gd name="connsiteY6" fmla="*/ 2555 h 2555"/>
                <a:gd name="connsiteX7" fmla="*/ 23044 w 24517"/>
                <a:gd name="connsiteY7" fmla="*/ 2555 h 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17" h="2555">
                  <a:moveTo>
                    <a:pt x="23178" y="1350"/>
                  </a:moveTo>
                  <a:cubicBezTo>
                    <a:pt x="23098" y="693"/>
                    <a:pt x="23567" y="90"/>
                    <a:pt x="24236" y="10"/>
                  </a:cubicBezTo>
                  <a:cubicBezTo>
                    <a:pt x="24330" y="-3"/>
                    <a:pt x="24424" y="-3"/>
                    <a:pt x="24518" y="10"/>
                  </a:cubicBezTo>
                  <a:lnTo>
                    <a:pt x="24518" y="10"/>
                  </a:lnTo>
                  <a:lnTo>
                    <a:pt x="0" y="10"/>
                  </a:lnTo>
                  <a:cubicBezTo>
                    <a:pt x="0" y="10"/>
                    <a:pt x="0" y="814"/>
                    <a:pt x="0" y="1216"/>
                  </a:cubicBezTo>
                  <a:lnTo>
                    <a:pt x="0" y="2555"/>
                  </a:lnTo>
                  <a:lnTo>
                    <a:pt x="23044" y="2555"/>
                  </a:lnTo>
                  <a:close/>
                </a:path>
              </a:pathLst>
            </a:custGeom>
            <a:solidFill>
              <a:srgbClr val="000000"/>
            </a:solidFill>
            <a:ln w="12700" cap="flat">
              <a:noFill/>
              <a:prstDash val="solid"/>
              <a:miter/>
            </a:ln>
          </p:spPr>
          <p:txBody>
            <a:bodyPr rtlCol="0" anchor="ctr"/>
            <a:lstStyle/>
            <a:p>
              <a:endParaRPr lang="en-US"/>
            </a:p>
          </p:txBody>
        </p:sp>
        <p:sp>
          <p:nvSpPr>
            <p:cNvPr id="1607" name="Freeform: Shape 1606">
              <a:extLst>
                <a:ext uri="{FF2B5EF4-FFF2-40B4-BE49-F238E27FC236}">
                  <a16:creationId xmlns:a16="http://schemas.microsoft.com/office/drawing/2014/main" id="{12CC64E3-6971-400A-8CAC-959C8F10F929}"/>
                </a:ext>
              </a:extLst>
            </p:cNvPr>
            <p:cNvSpPr/>
            <p:nvPr/>
          </p:nvSpPr>
          <p:spPr>
            <a:xfrm>
              <a:off x="2832017" y="6454790"/>
              <a:ext cx="392822" cy="2545"/>
            </a:xfrm>
            <a:custGeom>
              <a:avLst/>
              <a:gdLst>
                <a:gd name="connsiteX0" fmla="*/ 1206 w 392822"/>
                <a:gd name="connsiteY0" fmla="*/ 1340 h 2545"/>
                <a:gd name="connsiteX1" fmla="*/ 1206 w 392822"/>
                <a:gd name="connsiteY1" fmla="*/ 2545 h 2545"/>
                <a:gd name="connsiteX2" fmla="*/ 392822 w 392822"/>
                <a:gd name="connsiteY2" fmla="*/ 2545 h 2545"/>
                <a:gd name="connsiteX3" fmla="*/ 392822 w 392822"/>
                <a:gd name="connsiteY3" fmla="*/ 1340 h 2545"/>
                <a:gd name="connsiteX4" fmla="*/ 392822 w 392822"/>
                <a:gd name="connsiteY4" fmla="*/ 0 h 2545"/>
                <a:gd name="connsiteX5" fmla="*/ 0 w 392822"/>
                <a:gd name="connsiteY5" fmla="*/ 0 h 2545"/>
                <a:gd name="connsiteX6" fmla="*/ 1219 w 392822"/>
                <a:gd name="connsiteY6" fmla="*/ 1192 h 2545"/>
                <a:gd name="connsiteX7" fmla="*/ 1206 w 392822"/>
                <a:gd name="connsiteY7"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822" h="2545">
                  <a:moveTo>
                    <a:pt x="1206" y="1340"/>
                  </a:moveTo>
                  <a:lnTo>
                    <a:pt x="1206" y="2545"/>
                  </a:lnTo>
                  <a:lnTo>
                    <a:pt x="392822" y="2545"/>
                  </a:lnTo>
                  <a:lnTo>
                    <a:pt x="392822" y="1340"/>
                  </a:lnTo>
                  <a:cubicBezTo>
                    <a:pt x="392822" y="1340"/>
                    <a:pt x="392822" y="402"/>
                    <a:pt x="392822" y="0"/>
                  </a:cubicBezTo>
                  <a:lnTo>
                    <a:pt x="0" y="0"/>
                  </a:lnTo>
                  <a:cubicBezTo>
                    <a:pt x="670" y="0"/>
                    <a:pt x="1206" y="536"/>
                    <a:pt x="1219" y="1192"/>
                  </a:cubicBezTo>
                  <a:cubicBezTo>
                    <a:pt x="1219" y="1246"/>
                    <a:pt x="1206" y="1286"/>
                    <a:pt x="1206" y="1340"/>
                  </a:cubicBezTo>
                  <a:close/>
                </a:path>
              </a:pathLst>
            </a:custGeom>
            <a:solidFill>
              <a:srgbClr val="000000"/>
            </a:solidFill>
            <a:ln w="12700" cap="flat">
              <a:noFill/>
              <a:prstDash val="solid"/>
              <a:miter/>
            </a:ln>
          </p:spPr>
          <p:txBody>
            <a:bodyPr rtlCol="0" anchor="ctr"/>
            <a:lstStyle/>
            <a:p>
              <a:endParaRPr lang="en-US"/>
            </a:p>
          </p:txBody>
        </p:sp>
        <p:sp>
          <p:nvSpPr>
            <p:cNvPr id="1608" name="Freeform: Shape 1607">
              <a:extLst>
                <a:ext uri="{FF2B5EF4-FFF2-40B4-BE49-F238E27FC236}">
                  <a16:creationId xmlns:a16="http://schemas.microsoft.com/office/drawing/2014/main" id="{8A2253C3-D012-40D2-A04B-216EDD8D497B}"/>
                </a:ext>
              </a:extLst>
            </p:cNvPr>
            <p:cNvSpPr/>
            <p:nvPr/>
          </p:nvSpPr>
          <p:spPr>
            <a:xfrm>
              <a:off x="3188933" y="6549631"/>
              <a:ext cx="2679" cy="304215"/>
            </a:xfrm>
            <a:custGeom>
              <a:avLst/>
              <a:gdLst>
                <a:gd name="connsiteX0" fmla="*/ 1340 w 2679"/>
                <a:gd name="connsiteY0" fmla="*/ 0 h 304215"/>
                <a:gd name="connsiteX1" fmla="*/ 0 w 2679"/>
                <a:gd name="connsiteY1" fmla="*/ 0 h 304215"/>
                <a:gd name="connsiteX2" fmla="*/ 0 w 2679"/>
                <a:gd name="connsiteY2" fmla="*/ 304216 h 304215"/>
                <a:gd name="connsiteX3" fmla="*/ 2680 w 2679"/>
                <a:gd name="connsiteY3" fmla="*/ 304216 h 304215"/>
                <a:gd name="connsiteX4" fmla="*/ 2680 w 2679"/>
                <a:gd name="connsiteY4" fmla="*/ 0 h 304215"/>
                <a:gd name="connsiteX5" fmla="*/ 1340 w 2679"/>
                <a:gd name="connsiteY5" fmla="*/ 0 h 30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04215">
                  <a:moveTo>
                    <a:pt x="1340" y="0"/>
                  </a:moveTo>
                  <a:lnTo>
                    <a:pt x="0" y="0"/>
                  </a:lnTo>
                  <a:lnTo>
                    <a:pt x="0" y="304216"/>
                  </a:lnTo>
                  <a:lnTo>
                    <a:pt x="2680" y="304216"/>
                  </a:lnTo>
                  <a:lnTo>
                    <a:pt x="2680" y="0"/>
                  </a:lnTo>
                  <a:lnTo>
                    <a:pt x="1340" y="0"/>
                  </a:lnTo>
                  <a:close/>
                </a:path>
              </a:pathLst>
            </a:custGeom>
            <a:solidFill>
              <a:srgbClr val="000000"/>
            </a:solidFill>
            <a:ln w="12700" cap="flat">
              <a:noFill/>
              <a:prstDash val="solid"/>
              <a:miter/>
            </a:ln>
          </p:spPr>
          <p:txBody>
            <a:bodyPr rtlCol="0" anchor="ctr"/>
            <a:lstStyle/>
            <a:p>
              <a:endParaRPr lang="en-US"/>
            </a:p>
          </p:txBody>
        </p:sp>
        <p:sp>
          <p:nvSpPr>
            <p:cNvPr id="1609" name="Freeform: Shape 1608">
              <a:extLst>
                <a:ext uri="{FF2B5EF4-FFF2-40B4-BE49-F238E27FC236}">
                  <a16:creationId xmlns:a16="http://schemas.microsoft.com/office/drawing/2014/main" id="{879F0EBE-85D0-4FFD-BE19-2631F76E1725}"/>
                </a:ext>
              </a:extLst>
            </p:cNvPr>
            <p:cNvSpPr/>
            <p:nvPr/>
          </p:nvSpPr>
          <p:spPr>
            <a:xfrm>
              <a:off x="2830667" y="6454781"/>
              <a:ext cx="2564" cy="80249"/>
            </a:xfrm>
            <a:custGeom>
              <a:avLst/>
              <a:gdLst>
                <a:gd name="connsiteX0" fmla="*/ 2556 w 2564"/>
                <a:gd name="connsiteY0" fmla="*/ 80249 h 80249"/>
                <a:gd name="connsiteX1" fmla="*/ 2556 w 2564"/>
                <a:gd name="connsiteY1" fmla="*/ 1349 h 80249"/>
                <a:gd name="connsiteX2" fmla="*/ 1497 w 2564"/>
                <a:gd name="connsiteY2" fmla="*/ 22 h 80249"/>
                <a:gd name="connsiteX3" fmla="*/ 1350 w 2564"/>
                <a:gd name="connsiteY3" fmla="*/ 9 h 80249"/>
                <a:gd name="connsiteX4" fmla="*/ 10 w 2564"/>
                <a:gd name="connsiteY4" fmla="*/ 1067 h 80249"/>
                <a:gd name="connsiteX5" fmla="*/ 10 w 2564"/>
                <a:gd name="connsiteY5" fmla="*/ 1349 h 80249"/>
                <a:gd name="connsiteX6" fmla="*/ 10 w 2564"/>
                <a:gd name="connsiteY6" fmla="*/ 80115 h 80249"/>
                <a:gd name="connsiteX7" fmla="*/ 1350 w 2564"/>
                <a:gd name="connsiteY7" fmla="*/ 80115 h 8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 h="80249">
                  <a:moveTo>
                    <a:pt x="2556" y="80249"/>
                  </a:moveTo>
                  <a:lnTo>
                    <a:pt x="2556" y="1349"/>
                  </a:lnTo>
                  <a:cubicBezTo>
                    <a:pt x="2636" y="692"/>
                    <a:pt x="2154" y="89"/>
                    <a:pt x="1497" y="22"/>
                  </a:cubicBezTo>
                  <a:cubicBezTo>
                    <a:pt x="1443" y="9"/>
                    <a:pt x="1403" y="9"/>
                    <a:pt x="1350" y="9"/>
                  </a:cubicBezTo>
                  <a:cubicBezTo>
                    <a:pt x="693" y="-71"/>
                    <a:pt x="90" y="397"/>
                    <a:pt x="10" y="1067"/>
                  </a:cubicBezTo>
                  <a:cubicBezTo>
                    <a:pt x="-3" y="1161"/>
                    <a:pt x="-3" y="1255"/>
                    <a:pt x="10" y="1349"/>
                  </a:cubicBezTo>
                  <a:lnTo>
                    <a:pt x="10" y="80115"/>
                  </a:lnTo>
                  <a:lnTo>
                    <a:pt x="1350" y="80115"/>
                  </a:lnTo>
                  <a:close/>
                </a:path>
              </a:pathLst>
            </a:custGeom>
            <a:solidFill>
              <a:srgbClr val="000000"/>
            </a:solidFill>
            <a:ln w="12700" cap="flat">
              <a:noFill/>
              <a:prstDash val="solid"/>
              <a:miter/>
            </a:ln>
          </p:spPr>
          <p:txBody>
            <a:bodyPr rtlCol="0" anchor="ctr"/>
            <a:lstStyle/>
            <a:p>
              <a:endParaRPr lang="en-US"/>
            </a:p>
          </p:txBody>
        </p:sp>
        <p:sp>
          <p:nvSpPr>
            <p:cNvPr id="1610" name="Freeform: Shape 1609">
              <a:extLst>
                <a:ext uri="{FF2B5EF4-FFF2-40B4-BE49-F238E27FC236}">
                  <a16:creationId xmlns:a16="http://schemas.microsoft.com/office/drawing/2014/main" id="{9C378180-5C72-4C72-87EB-78F33B0920A9}"/>
                </a:ext>
              </a:extLst>
            </p:cNvPr>
            <p:cNvSpPr/>
            <p:nvPr/>
          </p:nvSpPr>
          <p:spPr>
            <a:xfrm>
              <a:off x="3472430" y="6505961"/>
              <a:ext cx="2545" cy="33087"/>
            </a:xfrm>
            <a:custGeom>
              <a:avLst/>
              <a:gdLst>
                <a:gd name="connsiteX0" fmla="*/ 0 w 2545"/>
                <a:gd name="connsiteY0" fmla="*/ 0 h 33087"/>
                <a:gd name="connsiteX1" fmla="*/ 2546 w 2545"/>
                <a:gd name="connsiteY1" fmla="*/ 0 h 33087"/>
                <a:gd name="connsiteX2" fmla="*/ 2546 w 2545"/>
                <a:gd name="connsiteY2" fmla="*/ 33087 h 33087"/>
                <a:gd name="connsiteX3" fmla="*/ 0 w 2545"/>
                <a:gd name="connsiteY3" fmla="*/ 33087 h 33087"/>
              </a:gdLst>
              <a:ahLst/>
              <a:cxnLst>
                <a:cxn ang="0">
                  <a:pos x="connsiteX0" y="connsiteY0"/>
                </a:cxn>
                <a:cxn ang="0">
                  <a:pos x="connsiteX1" y="connsiteY1"/>
                </a:cxn>
                <a:cxn ang="0">
                  <a:pos x="connsiteX2" y="connsiteY2"/>
                </a:cxn>
                <a:cxn ang="0">
                  <a:pos x="connsiteX3" y="connsiteY3"/>
                </a:cxn>
              </a:cxnLst>
              <a:rect l="l" t="t" r="r" b="b"/>
              <a:pathLst>
                <a:path w="2545" h="33087">
                  <a:moveTo>
                    <a:pt x="0" y="0"/>
                  </a:moveTo>
                  <a:lnTo>
                    <a:pt x="2546" y="0"/>
                  </a:lnTo>
                  <a:lnTo>
                    <a:pt x="2546" y="33087"/>
                  </a:lnTo>
                  <a:lnTo>
                    <a:pt x="0" y="33087"/>
                  </a:lnTo>
                  <a:close/>
                </a:path>
              </a:pathLst>
            </a:custGeom>
            <a:solidFill>
              <a:srgbClr val="000000"/>
            </a:solidFill>
            <a:ln w="12700" cap="flat">
              <a:noFill/>
              <a:prstDash val="solid"/>
              <a:miter/>
            </a:ln>
          </p:spPr>
          <p:txBody>
            <a:bodyPr rtlCol="0" anchor="ctr"/>
            <a:lstStyle/>
            <a:p>
              <a:endParaRPr lang="en-US"/>
            </a:p>
          </p:txBody>
        </p:sp>
        <p:sp>
          <p:nvSpPr>
            <p:cNvPr id="1611" name="Freeform: Shape 1610">
              <a:extLst>
                <a:ext uri="{FF2B5EF4-FFF2-40B4-BE49-F238E27FC236}">
                  <a16:creationId xmlns:a16="http://schemas.microsoft.com/office/drawing/2014/main" id="{1BC2513D-09C0-426A-985E-D611C923E723}"/>
                </a:ext>
              </a:extLst>
            </p:cNvPr>
            <p:cNvSpPr/>
            <p:nvPr/>
          </p:nvSpPr>
          <p:spPr>
            <a:xfrm>
              <a:off x="1389883" y="5606961"/>
              <a:ext cx="41533" cy="14484"/>
            </a:xfrm>
            <a:custGeom>
              <a:avLst/>
              <a:gdLst>
                <a:gd name="connsiteX0" fmla="*/ 8039 w 41533"/>
                <a:gd name="connsiteY0" fmla="*/ 7250 h 14484"/>
                <a:gd name="connsiteX1" fmla="*/ 8039 w 41533"/>
                <a:gd name="connsiteY1" fmla="*/ 14484 h 14484"/>
                <a:gd name="connsiteX2" fmla="*/ 34834 w 41533"/>
                <a:gd name="connsiteY2" fmla="*/ 14484 h 14484"/>
                <a:gd name="connsiteX3" fmla="*/ 33628 w 41533"/>
                <a:gd name="connsiteY3" fmla="*/ 8590 h 14484"/>
                <a:gd name="connsiteX4" fmla="*/ 39389 w 41533"/>
                <a:gd name="connsiteY4" fmla="*/ 151 h 14484"/>
                <a:gd name="connsiteX5" fmla="*/ 41533 w 41533"/>
                <a:gd name="connsiteY5" fmla="*/ 151 h 14484"/>
                <a:gd name="connsiteX6" fmla="*/ 0 w 41533"/>
                <a:gd name="connsiteY6" fmla="*/ 151 h 14484"/>
                <a:gd name="connsiteX7" fmla="*/ 8012 w 41533"/>
                <a:gd name="connsiteY7" fmla="*/ 6814 h 14484"/>
                <a:gd name="connsiteX8" fmla="*/ 8039 w 41533"/>
                <a:gd name="connsiteY8" fmla="*/ 7250 h 1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3" h="14484">
                  <a:moveTo>
                    <a:pt x="8039" y="7250"/>
                  </a:moveTo>
                  <a:lnTo>
                    <a:pt x="8039" y="14484"/>
                  </a:lnTo>
                  <a:lnTo>
                    <a:pt x="34834" y="14484"/>
                  </a:lnTo>
                  <a:lnTo>
                    <a:pt x="33628" y="8590"/>
                  </a:lnTo>
                  <a:cubicBezTo>
                    <a:pt x="32892" y="4670"/>
                    <a:pt x="35477" y="895"/>
                    <a:pt x="39389" y="151"/>
                  </a:cubicBezTo>
                  <a:cubicBezTo>
                    <a:pt x="40086" y="-50"/>
                    <a:pt x="40836" y="-50"/>
                    <a:pt x="41533" y="151"/>
                  </a:cubicBezTo>
                  <a:lnTo>
                    <a:pt x="0" y="151"/>
                  </a:lnTo>
                  <a:cubicBezTo>
                    <a:pt x="4046" y="-222"/>
                    <a:pt x="7637" y="2762"/>
                    <a:pt x="8012" y="6814"/>
                  </a:cubicBezTo>
                  <a:cubicBezTo>
                    <a:pt x="8025" y="6960"/>
                    <a:pt x="8039" y="7104"/>
                    <a:pt x="8039" y="7250"/>
                  </a:cubicBezTo>
                  <a:close/>
                </a:path>
              </a:pathLst>
            </a:custGeom>
            <a:solidFill>
              <a:srgbClr val="000000"/>
            </a:solidFill>
            <a:ln w="12700" cap="flat">
              <a:noFill/>
              <a:prstDash val="solid"/>
              <a:miter/>
            </a:ln>
          </p:spPr>
          <p:txBody>
            <a:bodyPr rtlCol="0" anchor="ctr"/>
            <a:lstStyle/>
            <a:p>
              <a:endParaRPr lang="en-US"/>
            </a:p>
          </p:txBody>
        </p:sp>
        <p:sp>
          <p:nvSpPr>
            <p:cNvPr id="1612" name="Freeform: Shape 1611">
              <a:extLst>
                <a:ext uri="{FF2B5EF4-FFF2-40B4-BE49-F238E27FC236}">
                  <a16:creationId xmlns:a16="http://schemas.microsoft.com/office/drawing/2014/main" id="{37AC13CC-3234-4969-AF9E-1E440C6D464D}"/>
                </a:ext>
              </a:extLst>
            </p:cNvPr>
            <p:cNvSpPr/>
            <p:nvPr/>
          </p:nvSpPr>
          <p:spPr>
            <a:xfrm>
              <a:off x="127278" y="6478366"/>
              <a:ext cx="19158" cy="3348"/>
            </a:xfrm>
            <a:custGeom>
              <a:avLst/>
              <a:gdLst>
                <a:gd name="connsiteX0" fmla="*/ 18891 w 19158"/>
                <a:gd name="connsiteY0" fmla="*/ 0 h 3348"/>
                <a:gd name="connsiteX1" fmla="*/ 1340 w 19158"/>
                <a:gd name="connsiteY1" fmla="*/ 670 h 3348"/>
                <a:gd name="connsiteX2" fmla="*/ 1340 w 19158"/>
                <a:gd name="connsiteY2" fmla="*/ 2009 h 3348"/>
                <a:gd name="connsiteX3" fmla="*/ 0 w 19158"/>
                <a:gd name="connsiteY3" fmla="*/ 3349 h 3348"/>
                <a:gd name="connsiteX4" fmla="*/ 0 w 19158"/>
                <a:gd name="connsiteY4" fmla="*/ 3349 h 3348"/>
                <a:gd name="connsiteX5" fmla="*/ 19159 w 19158"/>
                <a:gd name="connsiteY5" fmla="*/ 3349 h 3348"/>
                <a:gd name="connsiteX6" fmla="*/ 19159 w 19158"/>
                <a:gd name="connsiteY6" fmla="*/ 1741 h 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58" h="3348">
                  <a:moveTo>
                    <a:pt x="18891" y="0"/>
                  </a:moveTo>
                  <a:lnTo>
                    <a:pt x="1340" y="670"/>
                  </a:lnTo>
                  <a:lnTo>
                    <a:pt x="1340" y="2009"/>
                  </a:lnTo>
                  <a:cubicBezTo>
                    <a:pt x="1277" y="2719"/>
                    <a:pt x="712" y="3282"/>
                    <a:pt x="0" y="3349"/>
                  </a:cubicBezTo>
                  <a:lnTo>
                    <a:pt x="0" y="3349"/>
                  </a:lnTo>
                  <a:lnTo>
                    <a:pt x="19159" y="3349"/>
                  </a:lnTo>
                  <a:cubicBezTo>
                    <a:pt x="19094" y="2813"/>
                    <a:pt x="19094" y="2277"/>
                    <a:pt x="19159" y="1741"/>
                  </a:cubicBezTo>
                  <a:close/>
                </a:path>
              </a:pathLst>
            </a:custGeom>
            <a:solidFill>
              <a:srgbClr val="000000"/>
            </a:solidFill>
            <a:ln w="12700" cap="flat">
              <a:noFill/>
              <a:prstDash val="solid"/>
              <a:miter/>
            </a:ln>
          </p:spPr>
          <p:txBody>
            <a:bodyPr rtlCol="0" anchor="ctr"/>
            <a:lstStyle/>
            <a:p>
              <a:endParaRPr lang="en-US"/>
            </a:p>
          </p:txBody>
        </p:sp>
        <p:sp>
          <p:nvSpPr>
            <p:cNvPr id="1613" name="Freeform: Shape 1612">
              <a:extLst>
                <a:ext uri="{FF2B5EF4-FFF2-40B4-BE49-F238E27FC236}">
                  <a16:creationId xmlns:a16="http://schemas.microsoft.com/office/drawing/2014/main" id="{66EA2F80-2183-4A04-B369-F162368F19A2}"/>
                </a:ext>
              </a:extLst>
            </p:cNvPr>
            <p:cNvSpPr/>
            <p:nvPr/>
          </p:nvSpPr>
          <p:spPr>
            <a:xfrm>
              <a:off x="0" y="6479036"/>
              <a:ext cx="127278" cy="2679"/>
            </a:xfrm>
            <a:custGeom>
              <a:avLst/>
              <a:gdLst>
                <a:gd name="connsiteX0" fmla="*/ 125939 w 127278"/>
                <a:gd name="connsiteY0" fmla="*/ 1339 h 2679"/>
                <a:gd name="connsiteX1" fmla="*/ 125939 w 127278"/>
                <a:gd name="connsiteY1" fmla="*/ 0 h 2679"/>
                <a:gd name="connsiteX2" fmla="*/ 0 w 127278"/>
                <a:gd name="connsiteY2" fmla="*/ 0 h 2679"/>
                <a:gd name="connsiteX3" fmla="*/ 0 w 127278"/>
                <a:gd name="connsiteY3" fmla="*/ 2679 h 2679"/>
                <a:gd name="connsiteX4" fmla="*/ 127279 w 127278"/>
                <a:gd name="connsiteY4" fmla="*/ 2679 h 2679"/>
                <a:gd name="connsiteX5" fmla="*/ 125939 w 127278"/>
                <a:gd name="connsiteY5" fmla="*/ 133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278" h="2679">
                  <a:moveTo>
                    <a:pt x="125939" y="1339"/>
                  </a:moveTo>
                  <a:lnTo>
                    <a:pt x="125939" y="0"/>
                  </a:lnTo>
                  <a:lnTo>
                    <a:pt x="0" y="0"/>
                  </a:lnTo>
                  <a:lnTo>
                    <a:pt x="0" y="2679"/>
                  </a:lnTo>
                  <a:lnTo>
                    <a:pt x="127279" y="2679"/>
                  </a:lnTo>
                  <a:cubicBezTo>
                    <a:pt x="126566" y="2612"/>
                    <a:pt x="126001" y="2050"/>
                    <a:pt x="125939" y="1339"/>
                  </a:cubicBezTo>
                  <a:close/>
                </a:path>
              </a:pathLst>
            </a:custGeom>
            <a:solidFill>
              <a:srgbClr val="000000"/>
            </a:solidFill>
            <a:ln w="12700" cap="flat">
              <a:noFill/>
              <a:prstDash val="solid"/>
              <a:miter/>
            </a:ln>
          </p:spPr>
          <p:txBody>
            <a:bodyPr rtlCol="0" anchor="ctr"/>
            <a:lstStyle/>
            <a:p>
              <a:endParaRPr lang="en-US"/>
            </a:p>
          </p:txBody>
        </p:sp>
        <p:sp>
          <p:nvSpPr>
            <p:cNvPr id="1614" name="Freeform: Shape 1613">
              <a:extLst>
                <a:ext uri="{FF2B5EF4-FFF2-40B4-BE49-F238E27FC236}">
                  <a16:creationId xmlns:a16="http://schemas.microsoft.com/office/drawing/2014/main" id="{3F963F7D-ABC1-4EF6-90DB-862A6FC1D324}"/>
                </a:ext>
              </a:extLst>
            </p:cNvPr>
            <p:cNvSpPr/>
            <p:nvPr/>
          </p:nvSpPr>
          <p:spPr>
            <a:xfrm>
              <a:off x="127278" y="6480376"/>
              <a:ext cx="1339" cy="1339"/>
            </a:xfrm>
            <a:custGeom>
              <a:avLst/>
              <a:gdLst>
                <a:gd name="connsiteX0" fmla="*/ 1340 w 1339"/>
                <a:gd name="connsiteY0" fmla="*/ 0 h 1339"/>
                <a:gd name="connsiteX1" fmla="*/ 0 w 1339"/>
                <a:gd name="connsiteY1" fmla="*/ 1340 h 1339"/>
                <a:gd name="connsiteX2" fmla="*/ 1340 w 1339"/>
                <a:gd name="connsiteY2" fmla="*/ 0 h 1339"/>
              </a:gdLst>
              <a:ahLst/>
              <a:cxnLst>
                <a:cxn ang="0">
                  <a:pos x="connsiteX0" y="connsiteY0"/>
                </a:cxn>
                <a:cxn ang="0">
                  <a:pos x="connsiteX1" y="connsiteY1"/>
                </a:cxn>
                <a:cxn ang="0">
                  <a:pos x="connsiteX2" y="connsiteY2"/>
                </a:cxn>
              </a:cxnLst>
              <a:rect l="l" t="t" r="r" b="b"/>
              <a:pathLst>
                <a:path w="1339" h="1339">
                  <a:moveTo>
                    <a:pt x="1340" y="0"/>
                  </a:moveTo>
                  <a:cubicBezTo>
                    <a:pt x="1277" y="710"/>
                    <a:pt x="712" y="1273"/>
                    <a:pt x="0" y="1340"/>
                  </a:cubicBezTo>
                  <a:cubicBezTo>
                    <a:pt x="712" y="1273"/>
                    <a:pt x="1277" y="710"/>
                    <a:pt x="1340" y="0"/>
                  </a:cubicBezTo>
                  <a:close/>
                </a:path>
              </a:pathLst>
            </a:custGeom>
            <a:solidFill>
              <a:srgbClr val="000000"/>
            </a:solidFill>
            <a:ln w="12700" cap="flat">
              <a:noFill/>
              <a:prstDash val="solid"/>
              <a:miter/>
            </a:ln>
          </p:spPr>
          <p:txBody>
            <a:bodyPr rtlCol="0" anchor="ctr"/>
            <a:lstStyle/>
            <a:p>
              <a:endParaRPr lang="en-US"/>
            </a:p>
          </p:txBody>
        </p:sp>
        <p:sp>
          <p:nvSpPr>
            <p:cNvPr id="1615" name="Freeform: Shape 1614">
              <a:extLst>
                <a:ext uri="{FF2B5EF4-FFF2-40B4-BE49-F238E27FC236}">
                  <a16:creationId xmlns:a16="http://schemas.microsoft.com/office/drawing/2014/main" id="{F35DA54B-71FA-43EC-A0D8-BA04803F3469}"/>
                </a:ext>
              </a:extLst>
            </p:cNvPr>
            <p:cNvSpPr/>
            <p:nvPr/>
          </p:nvSpPr>
          <p:spPr>
            <a:xfrm>
              <a:off x="0" y="5417238"/>
              <a:ext cx="127948" cy="14524"/>
            </a:xfrm>
            <a:custGeom>
              <a:avLst/>
              <a:gdLst>
                <a:gd name="connsiteX0" fmla="*/ 123125 w 127948"/>
                <a:gd name="connsiteY0" fmla="*/ 13185 h 14524"/>
                <a:gd name="connsiteX1" fmla="*/ 121250 w 127948"/>
                <a:gd name="connsiteY1" fmla="*/ 3004 h 14524"/>
                <a:gd name="connsiteX2" fmla="*/ 127949 w 127948"/>
                <a:gd name="connsiteY2" fmla="*/ 57 h 14524"/>
                <a:gd name="connsiteX3" fmla="*/ 0 w 127948"/>
                <a:gd name="connsiteY3" fmla="*/ 57 h 14524"/>
                <a:gd name="connsiteX4" fmla="*/ 0 w 127948"/>
                <a:gd name="connsiteY4" fmla="*/ 14524 h 14524"/>
                <a:gd name="connsiteX5" fmla="*/ 125001 w 127948"/>
                <a:gd name="connsiteY5" fmla="*/ 14524 h 1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48" h="14524">
                  <a:moveTo>
                    <a:pt x="123125" y="13185"/>
                  </a:moveTo>
                  <a:cubicBezTo>
                    <a:pt x="119819" y="10877"/>
                    <a:pt x="118983" y="6340"/>
                    <a:pt x="121250" y="3004"/>
                  </a:cubicBezTo>
                  <a:cubicBezTo>
                    <a:pt x="122765" y="858"/>
                    <a:pt x="125342" y="-275"/>
                    <a:pt x="127949" y="57"/>
                  </a:cubicBezTo>
                  <a:lnTo>
                    <a:pt x="0" y="57"/>
                  </a:lnTo>
                  <a:lnTo>
                    <a:pt x="0" y="14524"/>
                  </a:lnTo>
                  <a:lnTo>
                    <a:pt x="125001" y="14524"/>
                  </a:lnTo>
                  <a:close/>
                </a:path>
              </a:pathLst>
            </a:custGeom>
            <a:solidFill>
              <a:srgbClr val="000000"/>
            </a:solidFill>
            <a:ln w="12700" cap="flat">
              <a:noFill/>
              <a:prstDash val="solid"/>
              <a:miter/>
            </a:ln>
          </p:spPr>
          <p:txBody>
            <a:bodyPr rtlCol="0" anchor="ctr"/>
            <a:lstStyle/>
            <a:p>
              <a:endParaRPr lang="en-US"/>
            </a:p>
          </p:txBody>
        </p:sp>
        <p:sp>
          <p:nvSpPr>
            <p:cNvPr id="1616" name="Freeform: Shape 1615">
              <a:extLst>
                <a:ext uri="{FF2B5EF4-FFF2-40B4-BE49-F238E27FC236}">
                  <a16:creationId xmlns:a16="http://schemas.microsoft.com/office/drawing/2014/main" id="{2F149B19-6947-4D1A-A1C5-E7ED031AC51E}"/>
                </a:ext>
              </a:extLst>
            </p:cNvPr>
            <p:cNvSpPr/>
            <p:nvPr/>
          </p:nvSpPr>
          <p:spPr>
            <a:xfrm>
              <a:off x="120416" y="5418310"/>
              <a:ext cx="37542" cy="28188"/>
            </a:xfrm>
            <a:custGeom>
              <a:avLst/>
              <a:gdLst>
                <a:gd name="connsiteX0" fmla="*/ 2709 w 37542"/>
                <a:gd name="connsiteY0" fmla="*/ 12113 h 28188"/>
                <a:gd name="connsiteX1" fmla="*/ 4584 w 37542"/>
                <a:gd name="connsiteY1" fmla="*/ 13319 h 28188"/>
                <a:gd name="connsiteX2" fmla="*/ 5522 w 37542"/>
                <a:gd name="connsiteY2" fmla="*/ 13319 h 28188"/>
                <a:gd name="connsiteX3" fmla="*/ 5522 w 37542"/>
                <a:gd name="connsiteY3" fmla="*/ 6353 h 28188"/>
                <a:gd name="connsiteX4" fmla="*/ 6862 w 37542"/>
                <a:gd name="connsiteY4" fmla="*/ 5014 h 28188"/>
                <a:gd name="connsiteX5" fmla="*/ 8202 w 37542"/>
                <a:gd name="connsiteY5" fmla="*/ 6353 h 28188"/>
                <a:gd name="connsiteX6" fmla="*/ 8202 w 37542"/>
                <a:gd name="connsiteY6" fmla="*/ 16132 h 28188"/>
                <a:gd name="connsiteX7" fmla="*/ 25753 w 37542"/>
                <a:gd name="connsiteY7" fmla="*/ 28188 h 28188"/>
                <a:gd name="connsiteX8" fmla="*/ 25753 w 37542"/>
                <a:gd name="connsiteY8" fmla="*/ 24303 h 28188"/>
                <a:gd name="connsiteX9" fmla="*/ 32988 w 37542"/>
                <a:gd name="connsiteY9" fmla="*/ 17070 h 28188"/>
                <a:gd name="connsiteX10" fmla="*/ 37543 w 37542"/>
                <a:gd name="connsiteY10" fmla="*/ 18811 h 28188"/>
                <a:gd name="connsiteX11" fmla="*/ 37543 w 37542"/>
                <a:gd name="connsiteY11" fmla="*/ 18811 h 28188"/>
                <a:gd name="connsiteX12" fmla="*/ 11015 w 37542"/>
                <a:gd name="connsiteY12" fmla="*/ 57 h 28188"/>
                <a:gd name="connsiteX13" fmla="*/ 10345 w 37542"/>
                <a:gd name="connsiteY13" fmla="*/ 57 h 28188"/>
                <a:gd name="connsiteX14" fmla="*/ 9006 w 37542"/>
                <a:gd name="connsiteY14" fmla="*/ 57 h 28188"/>
                <a:gd name="connsiteX15" fmla="*/ 7532 w 37542"/>
                <a:gd name="connsiteY15" fmla="*/ 57 h 28188"/>
                <a:gd name="connsiteX16" fmla="*/ 833 w 37542"/>
                <a:gd name="connsiteY16" fmla="*/ 3004 h 28188"/>
                <a:gd name="connsiteX17" fmla="*/ 2709 w 37542"/>
                <a:gd name="connsiteY17" fmla="*/ 12113 h 2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542" h="28188">
                  <a:moveTo>
                    <a:pt x="2709" y="12113"/>
                  </a:moveTo>
                  <a:lnTo>
                    <a:pt x="4584" y="13319"/>
                  </a:lnTo>
                  <a:lnTo>
                    <a:pt x="5522" y="13319"/>
                  </a:lnTo>
                  <a:lnTo>
                    <a:pt x="5522" y="6353"/>
                  </a:lnTo>
                  <a:cubicBezTo>
                    <a:pt x="5522" y="5614"/>
                    <a:pt x="6122" y="5014"/>
                    <a:pt x="6862" y="5014"/>
                  </a:cubicBezTo>
                  <a:cubicBezTo>
                    <a:pt x="7602" y="5014"/>
                    <a:pt x="8202" y="5614"/>
                    <a:pt x="8202" y="6353"/>
                  </a:cubicBezTo>
                  <a:lnTo>
                    <a:pt x="8202" y="16132"/>
                  </a:lnTo>
                  <a:lnTo>
                    <a:pt x="25753" y="28188"/>
                  </a:lnTo>
                  <a:lnTo>
                    <a:pt x="25753" y="24303"/>
                  </a:lnTo>
                  <a:cubicBezTo>
                    <a:pt x="25753" y="20309"/>
                    <a:pt x="28992" y="17070"/>
                    <a:pt x="32988" y="17070"/>
                  </a:cubicBezTo>
                  <a:cubicBezTo>
                    <a:pt x="34669" y="17070"/>
                    <a:pt x="36290" y="17690"/>
                    <a:pt x="37543" y="18811"/>
                  </a:cubicBezTo>
                  <a:lnTo>
                    <a:pt x="37543" y="18811"/>
                  </a:lnTo>
                  <a:lnTo>
                    <a:pt x="11015" y="57"/>
                  </a:lnTo>
                  <a:lnTo>
                    <a:pt x="10345" y="57"/>
                  </a:lnTo>
                  <a:lnTo>
                    <a:pt x="9006" y="57"/>
                  </a:lnTo>
                  <a:lnTo>
                    <a:pt x="7532" y="57"/>
                  </a:lnTo>
                  <a:cubicBezTo>
                    <a:pt x="4926" y="-275"/>
                    <a:pt x="2349" y="858"/>
                    <a:pt x="833" y="3004"/>
                  </a:cubicBezTo>
                  <a:cubicBezTo>
                    <a:pt x="-779" y="6101"/>
                    <a:pt x="4" y="9904"/>
                    <a:pt x="2709" y="12113"/>
                  </a:cubicBezTo>
                  <a:close/>
                </a:path>
              </a:pathLst>
            </a:custGeom>
            <a:solidFill>
              <a:srgbClr val="000000"/>
            </a:solidFill>
            <a:ln w="12700" cap="flat">
              <a:noFill/>
              <a:prstDash val="solid"/>
              <a:miter/>
            </a:ln>
          </p:spPr>
          <p:txBody>
            <a:bodyPr rtlCol="0" anchor="ctr"/>
            <a:lstStyle/>
            <a:p>
              <a:endParaRPr lang="en-US"/>
            </a:p>
          </p:txBody>
        </p:sp>
        <p:sp>
          <p:nvSpPr>
            <p:cNvPr id="1617" name="Freeform: Shape 1616">
              <a:extLst>
                <a:ext uri="{FF2B5EF4-FFF2-40B4-BE49-F238E27FC236}">
                  <a16:creationId xmlns:a16="http://schemas.microsoft.com/office/drawing/2014/main" id="{B5709948-9D31-40A9-8506-484C0A2B5806}"/>
                </a:ext>
              </a:extLst>
            </p:cNvPr>
            <p:cNvSpPr/>
            <p:nvPr/>
          </p:nvSpPr>
          <p:spPr>
            <a:xfrm>
              <a:off x="125938" y="5423323"/>
              <a:ext cx="2679" cy="1058659"/>
            </a:xfrm>
            <a:custGeom>
              <a:avLst/>
              <a:gdLst>
                <a:gd name="connsiteX0" fmla="*/ 2680 w 2679"/>
                <a:gd name="connsiteY0" fmla="*/ 1057052 h 1058659"/>
                <a:gd name="connsiteX1" fmla="*/ 2680 w 2679"/>
                <a:gd name="connsiteY1" fmla="*/ 1340 h 1058659"/>
                <a:gd name="connsiteX2" fmla="*/ 1340 w 2679"/>
                <a:gd name="connsiteY2" fmla="*/ 0 h 1058659"/>
                <a:gd name="connsiteX3" fmla="*/ 0 w 2679"/>
                <a:gd name="connsiteY3" fmla="*/ 1340 h 1058659"/>
                <a:gd name="connsiteX4" fmla="*/ 0 w 2679"/>
                <a:gd name="connsiteY4" fmla="*/ 1057320 h 1058659"/>
                <a:gd name="connsiteX5" fmla="*/ 1340 w 2679"/>
                <a:gd name="connsiteY5" fmla="*/ 1058660 h 1058659"/>
                <a:gd name="connsiteX6" fmla="*/ 2680 w 2679"/>
                <a:gd name="connsiteY6" fmla="*/ 1057320 h 105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9" h="1058659">
                  <a:moveTo>
                    <a:pt x="2680" y="1057052"/>
                  </a:moveTo>
                  <a:lnTo>
                    <a:pt x="2680" y="1340"/>
                  </a:lnTo>
                  <a:cubicBezTo>
                    <a:pt x="2680" y="600"/>
                    <a:pt x="2080" y="0"/>
                    <a:pt x="1340" y="0"/>
                  </a:cubicBezTo>
                  <a:cubicBezTo>
                    <a:pt x="600" y="0"/>
                    <a:pt x="0" y="600"/>
                    <a:pt x="0" y="1340"/>
                  </a:cubicBezTo>
                  <a:lnTo>
                    <a:pt x="0" y="1057320"/>
                  </a:lnTo>
                  <a:cubicBezTo>
                    <a:pt x="0" y="1058057"/>
                    <a:pt x="600" y="1058660"/>
                    <a:pt x="1340" y="1058660"/>
                  </a:cubicBezTo>
                  <a:cubicBezTo>
                    <a:pt x="2080" y="1058660"/>
                    <a:pt x="2680" y="1058057"/>
                    <a:pt x="2680" y="1057320"/>
                  </a:cubicBezTo>
                  <a:close/>
                </a:path>
              </a:pathLst>
            </a:custGeom>
            <a:solidFill>
              <a:srgbClr val="000000"/>
            </a:solidFill>
            <a:ln w="12700" cap="flat">
              <a:noFill/>
              <a:prstDash val="solid"/>
              <a:miter/>
            </a:ln>
          </p:spPr>
          <p:txBody>
            <a:bodyPr rtlCol="0" anchor="ctr"/>
            <a:lstStyle/>
            <a:p>
              <a:endParaRPr lang="en-US"/>
            </a:p>
          </p:txBody>
        </p:sp>
        <p:sp>
          <p:nvSpPr>
            <p:cNvPr id="1618" name="Freeform: Shape 1617">
              <a:extLst>
                <a:ext uri="{FF2B5EF4-FFF2-40B4-BE49-F238E27FC236}">
                  <a16:creationId xmlns:a16="http://schemas.microsoft.com/office/drawing/2014/main" id="{55050E55-DE73-4135-B664-D5B59F49396E}"/>
                </a:ext>
              </a:extLst>
            </p:cNvPr>
            <p:cNvSpPr/>
            <p:nvPr/>
          </p:nvSpPr>
          <p:spPr>
            <a:xfrm>
              <a:off x="174974" y="5593046"/>
              <a:ext cx="26393" cy="23710"/>
            </a:xfrm>
            <a:custGeom>
              <a:avLst/>
              <a:gdLst>
                <a:gd name="connsiteX0" fmla="*/ 6029 w 26393"/>
                <a:gd name="connsiteY0" fmla="*/ 5760 h 23710"/>
                <a:gd name="connsiteX1" fmla="*/ 0 w 26393"/>
                <a:gd name="connsiteY1" fmla="*/ 12860 h 23710"/>
                <a:gd name="connsiteX2" fmla="*/ 0 w 26393"/>
                <a:gd name="connsiteY2" fmla="*/ 15003 h 23710"/>
                <a:gd name="connsiteX3" fmla="*/ 14738 w 26393"/>
                <a:gd name="connsiteY3" fmla="*/ 23710 h 23710"/>
                <a:gd name="connsiteX4" fmla="*/ 14738 w 26393"/>
                <a:gd name="connsiteY4" fmla="*/ 19156 h 23710"/>
                <a:gd name="connsiteX5" fmla="*/ 21972 w 26393"/>
                <a:gd name="connsiteY5" fmla="*/ 11788 h 23710"/>
                <a:gd name="connsiteX6" fmla="*/ 26394 w 26393"/>
                <a:gd name="connsiteY6" fmla="*/ 13396 h 23710"/>
                <a:gd name="connsiteX7" fmla="*/ 26394 w 26393"/>
                <a:gd name="connsiteY7" fmla="*/ 13396 h 23710"/>
                <a:gd name="connsiteX8" fmla="*/ 3081 w 26393"/>
                <a:gd name="connsiteY8" fmla="*/ 0 h 23710"/>
                <a:gd name="connsiteX9" fmla="*/ 3081 w 26393"/>
                <a:gd name="connsiteY9" fmla="*/ 0 h 23710"/>
                <a:gd name="connsiteX10" fmla="*/ 6029 w 26393"/>
                <a:gd name="connsiteY10" fmla="*/ 5760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93" h="23710">
                  <a:moveTo>
                    <a:pt x="6029" y="5760"/>
                  </a:moveTo>
                  <a:cubicBezTo>
                    <a:pt x="5959" y="9258"/>
                    <a:pt x="3441" y="12225"/>
                    <a:pt x="0" y="12860"/>
                  </a:cubicBezTo>
                  <a:lnTo>
                    <a:pt x="0" y="15003"/>
                  </a:lnTo>
                  <a:lnTo>
                    <a:pt x="14738" y="23710"/>
                  </a:lnTo>
                  <a:lnTo>
                    <a:pt x="14738" y="19156"/>
                  </a:lnTo>
                  <a:cubicBezTo>
                    <a:pt x="14738" y="15138"/>
                    <a:pt x="17956" y="11862"/>
                    <a:pt x="21972" y="11788"/>
                  </a:cubicBezTo>
                  <a:cubicBezTo>
                    <a:pt x="23585" y="11806"/>
                    <a:pt x="25145" y="12374"/>
                    <a:pt x="26394" y="13396"/>
                  </a:cubicBezTo>
                  <a:lnTo>
                    <a:pt x="26394" y="13396"/>
                  </a:lnTo>
                  <a:lnTo>
                    <a:pt x="3081" y="0"/>
                  </a:lnTo>
                  <a:lnTo>
                    <a:pt x="3081" y="0"/>
                  </a:lnTo>
                  <a:cubicBezTo>
                    <a:pt x="4900" y="1362"/>
                    <a:pt x="5987" y="3488"/>
                    <a:pt x="6029" y="5760"/>
                  </a:cubicBezTo>
                  <a:close/>
                </a:path>
              </a:pathLst>
            </a:custGeom>
            <a:solidFill>
              <a:srgbClr val="000000"/>
            </a:solidFill>
            <a:ln w="12700" cap="flat">
              <a:noFill/>
              <a:prstDash val="solid"/>
              <a:miter/>
            </a:ln>
          </p:spPr>
          <p:txBody>
            <a:bodyPr rtlCol="0" anchor="ctr"/>
            <a:lstStyle/>
            <a:p>
              <a:endParaRPr lang="en-US"/>
            </a:p>
          </p:txBody>
        </p:sp>
        <p:sp>
          <p:nvSpPr>
            <p:cNvPr id="1619" name="Freeform: Shape 1618">
              <a:extLst>
                <a:ext uri="{FF2B5EF4-FFF2-40B4-BE49-F238E27FC236}">
                  <a16:creationId xmlns:a16="http://schemas.microsoft.com/office/drawing/2014/main" id="{F9E54C11-244C-4B85-97AB-A350C3D4FBF8}"/>
                </a:ext>
              </a:extLst>
            </p:cNvPr>
            <p:cNvSpPr/>
            <p:nvPr/>
          </p:nvSpPr>
          <p:spPr>
            <a:xfrm>
              <a:off x="171625" y="5605772"/>
              <a:ext cx="803" cy="401"/>
            </a:xfrm>
            <a:custGeom>
              <a:avLst/>
              <a:gdLst>
                <a:gd name="connsiteX0" fmla="*/ 804 w 803"/>
                <a:gd name="connsiteY0" fmla="*/ 0 h 401"/>
                <a:gd name="connsiteX1" fmla="*/ 0 w 803"/>
                <a:gd name="connsiteY1" fmla="*/ 0 h 401"/>
                <a:gd name="connsiteX2" fmla="*/ 804 w 803"/>
                <a:gd name="connsiteY2" fmla="*/ 402 h 401"/>
                <a:gd name="connsiteX3" fmla="*/ 804 w 803"/>
                <a:gd name="connsiteY3" fmla="*/ 0 h 401"/>
              </a:gdLst>
              <a:ahLst/>
              <a:cxnLst>
                <a:cxn ang="0">
                  <a:pos x="connsiteX0" y="connsiteY0"/>
                </a:cxn>
                <a:cxn ang="0">
                  <a:pos x="connsiteX1" y="connsiteY1"/>
                </a:cxn>
                <a:cxn ang="0">
                  <a:pos x="connsiteX2" y="connsiteY2"/>
                </a:cxn>
                <a:cxn ang="0">
                  <a:pos x="connsiteX3" y="connsiteY3"/>
                </a:cxn>
              </a:cxnLst>
              <a:rect l="l" t="t" r="r" b="b"/>
              <a:pathLst>
                <a:path w="803" h="401">
                  <a:moveTo>
                    <a:pt x="804" y="0"/>
                  </a:moveTo>
                  <a:lnTo>
                    <a:pt x="0" y="0"/>
                  </a:lnTo>
                  <a:lnTo>
                    <a:pt x="804" y="402"/>
                  </a:lnTo>
                  <a:lnTo>
                    <a:pt x="804" y="0"/>
                  </a:lnTo>
                  <a:close/>
                </a:path>
              </a:pathLst>
            </a:custGeom>
            <a:solidFill>
              <a:srgbClr val="000000"/>
            </a:solidFill>
            <a:ln w="12700" cap="flat">
              <a:noFill/>
              <a:prstDash val="solid"/>
              <a:miter/>
            </a:ln>
          </p:spPr>
          <p:txBody>
            <a:bodyPr rtlCol="0" anchor="ctr"/>
            <a:lstStyle/>
            <a:p>
              <a:endParaRPr lang="en-US"/>
            </a:p>
          </p:txBody>
        </p:sp>
        <p:sp>
          <p:nvSpPr>
            <p:cNvPr id="1620" name="Freeform: Shape 1619">
              <a:extLst>
                <a:ext uri="{FF2B5EF4-FFF2-40B4-BE49-F238E27FC236}">
                  <a16:creationId xmlns:a16="http://schemas.microsoft.com/office/drawing/2014/main" id="{5043A9F6-16DD-42D7-9B11-046C86E75DDF}"/>
                </a:ext>
              </a:extLst>
            </p:cNvPr>
            <p:cNvSpPr/>
            <p:nvPr/>
          </p:nvSpPr>
          <p:spPr>
            <a:xfrm>
              <a:off x="160773" y="5592377"/>
              <a:ext cx="20364" cy="14601"/>
            </a:xfrm>
            <a:custGeom>
              <a:avLst/>
              <a:gdLst>
                <a:gd name="connsiteX0" fmla="*/ 0 w 20364"/>
                <a:gd name="connsiteY0" fmla="*/ 13396 h 14601"/>
                <a:gd name="connsiteX1" fmla="*/ 11790 w 20364"/>
                <a:gd name="connsiteY1" fmla="*/ 13396 h 14601"/>
                <a:gd name="connsiteX2" fmla="*/ 11790 w 20364"/>
                <a:gd name="connsiteY2" fmla="*/ 6430 h 14601"/>
                <a:gd name="connsiteX3" fmla="*/ 12996 w 20364"/>
                <a:gd name="connsiteY3" fmla="*/ 5224 h 14601"/>
                <a:gd name="connsiteX4" fmla="*/ 14328 w 20364"/>
                <a:gd name="connsiteY4" fmla="*/ 6288 h 14601"/>
                <a:gd name="connsiteX5" fmla="*/ 14336 w 20364"/>
                <a:gd name="connsiteY5" fmla="*/ 6430 h 14601"/>
                <a:gd name="connsiteX6" fmla="*/ 14336 w 20364"/>
                <a:gd name="connsiteY6" fmla="*/ 13530 h 14601"/>
                <a:gd name="connsiteX7" fmla="*/ 20365 w 20364"/>
                <a:gd name="connsiteY7" fmla="*/ 6430 h 14601"/>
                <a:gd name="connsiteX8" fmla="*/ 16345 w 20364"/>
                <a:gd name="connsiteY8" fmla="*/ 0 h 14601"/>
                <a:gd name="connsiteX9" fmla="*/ 14872 w 20364"/>
                <a:gd name="connsiteY9" fmla="*/ 0 h 14601"/>
                <a:gd name="connsiteX10" fmla="*/ 13532 w 20364"/>
                <a:gd name="connsiteY10" fmla="*/ 0 h 14601"/>
                <a:gd name="connsiteX11" fmla="*/ 0 w 20364"/>
                <a:gd name="connsiteY11" fmla="*/ 0 h 14601"/>
                <a:gd name="connsiteX12" fmla="*/ 0 w 20364"/>
                <a:gd name="connsiteY12"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4" h="14601">
                  <a:moveTo>
                    <a:pt x="0" y="13396"/>
                  </a:moveTo>
                  <a:lnTo>
                    <a:pt x="11790" y="13396"/>
                  </a:lnTo>
                  <a:lnTo>
                    <a:pt x="11790" y="6430"/>
                  </a:lnTo>
                  <a:cubicBezTo>
                    <a:pt x="11790" y="5764"/>
                    <a:pt x="12330" y="5224"/>
                    <a:pt x="12996" y="5224"/>
                  </a:cubicBezTo>
                  <a:cubicBezTo>
                    <a:pt x="13658" y="5151"/>
                    <a:pt x="14254" y="5626"/>
                    <a:pt x="14328" y="6288"/>
                  </a:cubicBezTo>
                  <a:cubicBezTo>
                    <a:pt x="14333" y="6335"/>
                    <a:pt x="14336" y="6383"/>
                    <a:pt x="14336" y="6430"/>
                  </a:cubicBezTo>
                  <a:lnTo>
                    <a:pt x="14336" y="13530"/>
                  </a:lnTo>
                  <a:cubicBezTo>
                    <a:pt x="17776" y="12895"/>
                    <a:pt x="20295" y="9928"/>
                    <a:pt x="20365" y="6430"/>
                  </a:cubicBezTo>
                  <a:cubicBezTo>
                    <a:pt x="20315" y="3709"/>
                    <a:pt x="18770" y="1236"/>
                    <a:pt x="16345" y="0"/>
                  </a:cubicBezTo>
                  <a:lnTo>
                    <a:pt x="14872" y="0"/>
                  </a:lnTo>
                  <a:lnTo>
                    <a:pt x="13532" y="0"/>
                  </a:lnTo>
                  <a:lnTo>
                    <a:pt x="0" y="0"/>
                  </a:lnTo>
                  <a:lnTo>
                    <a:pt x="0" y="14601"/>
                  </a:lnTo>
                  <a:close/>
                </a:path>
              </a:pathLst>
            </a:custGeom>
            <a:solidFill>
              <a:srgbClr val="000000"/>
            </a:solidFill>
            <a:ln w="12700" cap="flat">
              <a:noFill/>
              <a:prstDash val="solid"/>
              <a:miter/>
            </a:ln>
          </p:spPr>
          <p:txBody>
            <a:bodyPr rtlCol="0" anchor="ctr"/>
            <a:lstStyle/>
            <a:p>
              <a:endParaRPr lang="en-US"/>
            </a:p>
          </p:txBody>
        </p:sp>
        <p:sp>
          <p:nvSpPr>
            <p:cNvPr id="1621" name="Freeform: Shape 1620">
              <a:extLst>
                <a:ext uri="{FF2B5EF4-FFF2-40B4-BE49-F238E27FC236}">
                  <a16:creationId xmlns:a16="http://schemas.microsoft.com/office/drawing/2014/main" id="{AAFF1929-5DBE-4E2A-A6AD-733C0C4CEC11}"/>
                </a:ext>
              </a:extLst>
            </p:cNvPr>
            <p:cNvSpPr/>
            <p:nvPr/>
          </p:nvSpPr>
          <p:spPr>
            <a:xfrm>
              <a:off x="189711" y="5604774"/>
              <a:ext cx="14649" cy="865421"/>
            </a:xfrm>
            <a:custGeom>
              <a:avLst/>
              <a:gdLst>
                <a:gd name="connsiteX0" fmla="*/ 0 w 14649"/>
                <a:gd name="connsiteY0" fmla="*/ 7428 h 865421"/>
                <a:gd name="connsiteX1" fmla="*/ 0 w 14649"/>
                <a:gd name="connsiteY1" fmla="*/ 865421 h 865421"/>
                <a:gd name="connsiteX2" fmla="*/ 14604 w 14649"/>
                <a:gd name="connsiteY2" fmla="*/ 865421 h 865421"/>
                <a:gd name="connsiteX3" fmla="*/ 14604 w 14649"/>
                <a:gd name="connsiteY3" fmla="*/ 7428 h 865421"/>
                <a:gd name="connsiteX4" fmla="*/ 14604 w 14649"/>
                <a:gd name="connsiteY4" fmla="*/ 6491 h 865421"/>
                <a:gd name="connsiteX5" fmla="*/ 14604 w 14649"/>
                <a:gd name="connsiteY5" fmla="*/ 5017 h 865421"/>
                <a:gd name="connsiteX6" fmla="*/ 14604 w 14649"/>
                <a:gd name="connsiteY6" fmla="*/ 3812 h 865421"/>
                <a:gd name="connsiteX7" fmla="*/ 13800 w 14649"/>
                <a:gd name="connsiteY7" fmla="*/ 2740 h 865421"/>
                <a:gd name="connsiteX8" fmla="*/ 12728 w 14649"/>
                <a:gd name="connsiteY8" fmla="*/ 1668 h 865421"/>
                <a:gd name="connsiteX9" fmla="*/ 8307 w 14649"/>
                <a:gd name="connsiteY9" fmla="*/ 61 h 865421"/>
                <a:gd name="connsiteX10" fmla="*/ 61 w 14649"/>
                <a:gd name="connsiteY10" fmla="*/ 6430 h 865421"/>
                <a:gd name="connsiteX11" fmla="*/ 0 w 14649"/>
                <a:gd name="connsiteY11" fmla="*/ 7428 h 86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49" h="865421">
                  <a:moveTo>
                    <a:pt x="0" y="7428"/>
                  </a:moveTo>
                  <a:lnTo>
                    <a:pt x="0" y="865421"/>
                  </a:lnTo>
                  <a:lnTo>
                    <a:pt x="14604" y="865421"/>
                  </a:lnTo>
                  <a:lnTo>
                    <a:pt x="14604" y="7428"/>
                  </a:lnTo>
                  <a:cubicBezTo>
                    <a:pt x="14604" y="7428"/>
                    <a:pt x="14604" y="7428"/>
                    <a:pt x="14604" y="6491"/>
                  </a:cubicBezTo>
                  <a:cubicBezTo>
                    <a:pt x="14664" y="6002"/>
                    <a:pt x="14664" y="5506"/>
                    <a:pt x="14604" y="5017"/>
                  </a:cubicBezTo>
                  <a:cubicBezTo>
                    <a:pt x="14655" y="4617"/>
                    <a:pt x="14655" y="4212"/>
                    <a:pt x="14604" y="3812"/>
                  </a:cubicBezTo>
                  <a:lnTo>
                    <a:pt x="13800" y="2740"/>
                  </a:lnTo>
                  <a:cubicBezTo>
                    <a:pt x="13513" y="2318"/>
                    <a:pt x="13150" y="1955"/>
                    <a:pt x="12728" y="1668"/>
                  </a:cubicBezTo>
                  <a:cubicBezTo>
                    <a:pt x="11479" y="646"/>
                    <a:pt x="9920" y="78"/>
                    <a:pt x="8307" y="61"/>
                  </a:cubicBezTo>
                  <a:cubicBezTo>
                    <a:pt x="4270" y="-458"/>
                    <a:pt x="578" y="2394"/>
                    <a:pt x="61" y="6430"/>
                  </a:cubicBezTo>
                  <a:cubicBezTo>
                    <a:pt x="18" y="6761"/>
                    <a:pt x="-2" y="7095"/>
                    <a:pt x="0" y="7428"/>
                  </a:cubicBezTo>
                  <a:close/>
                </a:path>
              </a:pathLst>
            </a:custGeom>
            <a:solidFill>
              <a:srgbClr val="000000"/>
            </a:solidFill>
            <a:ln w="12700" cap="flat">
              <a:noFill/>
              <a:prstDash val="solid"/>
              <a:miter/>
            </a:ln>
          </p:spPr>
          <p:txBody>
            <a:bodyPr rtlCol="0" anchor="ctr"/>
            <a:lstStyle/>
            <a:p>
              <a:endParaRPr lang="en-US"/>
            </a:p>
          </p:txBody>
        </p:sp>
        <p:sp>
          <p:nvSpPr>
            <p:cNvPr id="1622" name="Freeform: Shape 1621">
              <a:extLst>
                <a:ext uri="{FF2B5EF4-FFF2-40B4-BE49-F238E27FC236}">
                  <a16:creationId xmlns:a16="http://schemas.microsoft.com/office/drawing/2014/main" id="{3FC0A3E1-71F1-46F6-9050-53CBAFC18A7B}"/>
                </a:ext>
              </a:extLst>
            </p:cNvPr>
            <p:cNvSpPr/>
            <p:nvPr/>
          </p:nvSpPr>
          <p:spPr>
            <a:xfrm>
              <a:off x="172429" y="5597593"/>
              <a:ext cx="2545" cy="873003"/>
            </a:xfrm>
            <a:custGeom>
              <a:avLst/>
              <a:gdLst>
                <a:gd name="connsiteX0" fmla="*/ 0 w 2545"/>
                <a:gd name="connsiteY0" fmla="*/ 872602 h 873003"/>
                <a:gd name="connsiteX1" fmla="*/ 2546 w 2545"/>
                <a:gd name="connsiteY1" fmla="*/ 872602 h 873003"/>
                <a:gd name="connsiteX2" fmla="*/ 2546 w 2545"/>
                <a:gd name="connsiteY2" fmla="*/ 1214 h 873003"/>
                <a:gd name="connsiteX3" fmla="*/ 1348 w 2545"/>
                <a:gd name="connsiteY3" fmla="*/ 0 h 873003"/>
                <a:gd name="connsiteX4" fmla="*/ 1206 w 2545"/>
                <a:gd name="connsiteY4" fmla="*/ 8 h 873003"/>
                <a:gd name="connsiteX5" fmla="*/ 0 w 2545"/>
                <a:gd name="connsiteY5" fmla="*/ 1214 h 873003"/>
                <a:gd name="connsiteX6" fmla="*/ 0 w 2545"/>
                <a:gd name="connsiteY6" fmla="*/ 873004 h 8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73003">
                  <a:moveTo>
                    <a:pt x="0" y="872602"/>
                  </a:moveTo>
                  <a:lnTo>
                    <a:pt x="2546" y="872602"/>
                  </a:lnTo>
                  <a:lnTo>
                    <a:pt x="2546" y="1214"/>
                  </a:lnTo>
                  <a:cubicBezTo>
                    <a:pt x="2550" y="548"/>
                    <a:pt x="2014" y="5"/>
                    <a:pt x="1348" y="0"/>
                  </a:cubicBezTo>
                  <a:cubicBezTo>
                    <a:pt x="1300" y="0"/>
                    <a:pt x="1253" y="3"/>
                    <a:pt x="1206" y="8"/>
                  </a:cubicBezTo>
                  <a:cubicBezTo>
                    <a:pt x="540" y="8"/>
                    <a:pt x="0" y="548"/>
                    <a:pt x="0" y="1214"/>
                  </a:cubicBezTo>
                  <a:lnTo>
                    <a:pt x="0" y="873004"/>
                  </a:lnTo>
                  <a:close/>
                </a:path>
              </a:pathLst>
            </a:custGeom>
            <a:solidFill>
              <a:srgbClr val="000000"/>
            </a:solidFill>
            <a:ln w="12700" cap="flat">
              <a:noFill/>
              <a:prstDash val="solid"/>
              <a:miter/>
            </a:ln>
          </p:spPr>
          <p:txBody>
            <a:bodyPr rtlCol="0" anchor="ctr"/>
            <a:lstStyle/>
            <a:p>
              <a:endParaRPr lang="en-US"/>
            </a:p>
          </p:txBody>
        </p:sp>
        <p:sp>
          <p:nvSpPr>
            <p:cNvPr id="1623" name="Freeform: Shape 1622">
              <a:extLst>
                <a:ext uri="{FF2B5EF4-FFF2-40B4-BE49-F238E27FC236}">
                  <a16:creationId xmlns:a16="http://schemas.microsoft.com/office/drawing/2014/main" id="{FAD06596-C402-4FE0-BAEC-BEB74378E848}"/>
                </a:ext>
              </a:extLst>
            </p:cNvPr>
            <p:cNvSpPr/>
            <p:nvPr/>
          </p:nvSpPr>
          <p:spPr>
            <a:xfrm>
              <a:off x="306004" y="5599610"/>
              <a:ext cx="14603" cy="175483"/>
            </a:xfrm>
            <a:custGeom>
              <a:avLst/>
              <a:gdLst>
                <a:gd name="connsiteX0" fmla="*/ 14604 w 14603"/>
                <a:gd name="connsiteY0" fmla="*/ 175483 h 175483"/>
                <a:gd name="connsiteX1" fmla="*/ 14604 w 14603"/>
                <a:gd name="connsiteY1" fmla="*/ 7368 h 175483"/>
                <a:gd name="connsiteX2" fmla="*/ 7235 w 14603"/>
                <a:gd name="connsiteY2" fmla="*/ 7368 h 175483"/>
                <a:gd name="connsiteX3" fmla="*/ 0 w 14603"/>
                <a:gd name="connsiteY3" fmla="*/ 0 h 175483"/>
                <a:gd name="connsiteX4" fmla="*/ 0 w 14603"/>
                <a:gd name="connsiteY4" fmla="*/ 175483 h 175483"/>
                <a:gd name="connsiteX5" fmla="*/ 14604 w 14603"/>
                <a:gd name="connsiteY5" fmla="*/ 175483 h 17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75483">
                  <a:moveTo>
                    <a:pt x="14604" y="175483"/>
                  </a:moveTo>
                  <a:lnTo>
                    <a:pt x="14604" y="7368"/>
                  </a:lnTo>
                  <a:lnTo>
                    <a:pt x="7235" y="7368"/>
                  </a:lnTo>
                  <a:cubicBezTo>
                    <a:pt x="3218" y="7294"/>
                    <a:pt x="-1" y="4017"/>
                    <a:pt x="0" y="0"/>
                  </a:cubicBezTo>
                  <a:lnTo>
                    <a:pt x="0" y="175483"/>
                  </a:lnTo>
                  <a:lnTo>
                    <a:pt x="14604" y="175483"/>
                  </a:lnTo>
                  <a:close/>
                </a:path>
              </a:pathLst>
            </a:custGeom>
            <a:solidFill>
              <a:srgbClr val="000000"/>
            </a:solidFill>
            <a:ln w="12700" cap="flat">
              <a:noFill/>
              <a:prstDash val="solid"/>
              <a:miter/>
            </a:ln>
          </p:spPr>
          <p:txBody>
            <a:bodyPr rtlCol="0" anchor="ctr"/>
            <a:lstStyle/>
            <a:p>
              <a:endParaRPr lang="en-US"/>
            </a:p>
          </p:txBody>
        </p:sp>
        <p:sp>
          <p:nvSpPr>
            <p:cNvPr id="1624" name="Freeform: Shape 1623">
              <a:extLst>
                <a:ext uri="{FF2B5EF4-FFF2-40B4-BE49-F238E27FC236}">
                  <a16:creationId xmlns:a16="http://schemas.microsoft.com/office/drawing/2014/main" id="{9BE80829-17D8-4DC4-8185-FAC99F2EA9A2}"/>
                </a:ext>
              </a:extLst>
            </p:cNvPr>
            <p:cNvSpPr/>
            <p:nvPr/>
          </p:nvSpPr>
          <p:spPr>
            <a:xfrm>
              <a:off x="330924" y="6471668"/>
              <a:ext cx="26795" cy="5760"/>
            </a:xfrm>
            <a:custGeom>
              <a:avLst/>
              <a:gdLst>
                <a:gd name="connsiteX0" fmla="*/ 19963 w 26795"/>
                <a:gd name="connsiteY0" fmla="*/ 0 h 5760"/>
                <a:gd name="connsiteX1" fmla="*/ 0 w 26795"/>
                <a:gd name="connsiteY1" fmla="*/ 0 h 5760"/>
                <a:gd name="connsiteX2" fmla="*/ 0 w 26795"/>
                <a:gd name="connsiteY2" fmla="*/ 5760 h 5760"/>
                <a:gd name="connsiteX3" fmla="*/ 26796 w 26795"/>
                <a:gd name="connsiteY3" fmla="*/ 4956 h 5760"/>
                <a:gd name="connsiteX4" fmla="*/ 26796 w 26795"/>
                <a:gd name="connsiteY4" fmla="*/ 4956 h 5760"/>
                <a:gd name="connsiteX5" fmla="*/ 19963 w 26795"/>
                <a:gd name="connsiteY5" fmla="*/ 0 h 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5" h="5760">
                  <a:moveTo>
                    <a:pt x="19963" y="0"/>
                  </a:moveTo>
                  <a:lnTo>
                    <a:pt x="0" y="0"/>
                  </a:lnTo>
                  <a:lnTo>
                    <a:pt x="0" y="5760"/>
                  </a:lnTo>
                  <a:lnTo>
                    <a:pt x="26796" y="4956"/>
                  </a:lnTo>
                  <a:lnTo>
                    <a:pt x="26796" y="4956"/>
                  </a:lnTo>
                  <a:cubicBezTo>
                    <a:pt x="23690" y="4943"/>
                    <a:pt x="20941" y="2947"/>
                    <a:pt x="19963" y="0"/>
                  </a:cubicBezTo>
                  <a:close/>
                </a:path>
              </a:pathLst>
            </a:custGeom>
            <a:solidFill>
              <a:srgbClr val="000000"/>
            </a:solidFill>
            <a:ln w="12700" cap="flat">
              <a:noFill/>
              <a:prstDash val="solid"/>
              <a:miter/>
            </a:ln>
          </p:spPr>
          <p:txBody>
            <a:bodyPr rtlCol="0" anchor="ctr"/>
            <a:lstStyle/>
            <a:p>
              <a:endParaRPr lang="en-US"/>
            </a:p>
          </p:txBody>
        </p:sp>
        <p:sp>
          <p:nvSpPr>
            <p:cNvPr id="1625" name="Freeform: Shape 1624">
              <a:extLst>
                <a:ext uri="{FF2B5EF4-FFF2-40B4-BE49-F238E27FC236}">
                  <a16:creationId xmlns:a16="http://schemas.microsoft.com/office/drawing/2014/main" id="{51CBBF20-128A-40B4-A10F-A736060DD99A}"/>
                </a:ext>
              </a:extLst>
            </p:cNvPr>
            <p:cNvSpPr/>
            <p:nvPr/>
          </p:nvSpPr>
          <p:spPr>
            <a:xfrm>
              <a:off x="320608" y="6463765"/>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endParaRPr lang="en-US"/>
            </a:p>
          </p:txBody>
        </p:sp>
        <p:sp>
          <p:nvSpPr>
            <p:cNvPr id="1626" name="Freeform: Shape 1625">
              <a:extLst>
                <a:ext uri="{FF2B5EF4-FFF2-40B4-BE49-F238E27FC236}">
                  <a16:creationId xmlns:a16="http://schemas.microsoft.com/office/drawing/2014/main" id="{1733B2C1-A1EA-4935-9C78-60316A480083}"/>
                </a:ext>
              </a:extLst>
            </p:cNvPr>
            <p:cNvSpPr/>
            <p:nvPr/>
          </p:nvSpPr>
          <p:spPr>
            <a:xfrm>
              <a:off x="322349" y="6462024"/>
              <a:ext cx="35236" cy="7099"/>
            </a:xfrm>
            <a:custGeom>
              <a:avLst/>
              <a:gdLst>
                <a:gd name="connsiteX0" fmla="*/ 35236 w 35236"/>
                <a:gd name="connsiteY0" fmla="*/ 0 h 7099"/>
                <a:gd name="connsiteX1" fmla="*/ 35236 w 35236"/>
                <a:gd name="connsiteY1" fmla="*/ 0 h 7099"/>
                <a:gd name="connsiteX2" fmla="*/ 1206 w 35236"/>
                <a:gd name="connsiteY2" fmla="*/ 1072 h 7099"/>
                <a:gd name="connsiteX3" fmla="*/ 0 w 35236"/>
                <a:gd name="connsiteY3" fmla="*/ 1072 h 7099"/>
                <a:gd name="connsiteX4" fmla="*/ 1474 w 35236"/>
                <a:gd name="connsiteY4" fmla="*/ 1072 h 7099"/>
                <a:gd name="connsiteX5" fmla="*/ 8441 w 35236"/>
                <a:gd name="connsiteY5" fmla="*/ 7100 h 7099"/>
                <a:gd name="connsiteX6" fmla="*/ 28269 w 35236"/>
                <a:gd name="connsiteY6" fmla="*/ 7100 h 7099"/>
                <a:gd name="connsiteX7" fmla="*/ 35236 w 35236"/>
                <a:gd name="connsiteY7" fmla="*/ 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36" h="7099">
                  <a:moveTo>
                    <a:pt x="35236" y="0"/>
                  </a:moveTo>
                  <a:lnTo>
                    <a:pt x="35236" y="0"/>
                  </a:lnTo>
                  <a:lnTo>
                    <a:pt x="1206" y="1072"/>
                  </a:lnTo>
                  <a:lnTo>
                    <a:pt x="0" y="1072"/>
                  </a:lnTo>
                  <a:lnTo>
                    <a:pt x="1474" y="1072"/>
                  </a:lnTo>
                  <a:cubicBezTo>
                    <a:pt x="4961" y="1098"/>
                    <a:pt x="7914" y="3657"/>
                    <a:pt x="8441" y="7100"/>
                  </a:cubicBezTo>
                  <a:lnTo>
                    <a:pt x="28269" y="7100"/>
                  </a:lnTo>
                  <a:cubicBezTo>
                    <a:pt x="28402" y="3282"/>
                    <a:pt x="31426" y="201"/>
                    <a:pt x="35236" y="0"/>
                  </a:cubicBezTo>
                  <a:close/>
                </a:path>
              </a:pathLst>
            </a:custGeom>
            <a:solidFill>
              <a:srgbClr val="000000"/>
            </a:solidFill>
            <a:ln w="12700" cap="flat">
              <a:noFill/>
              <a:prstDash val="solid"/>
              <a:miter/>
            </a:ln>
          </p:spPr>
          <p:txBody>
            <a:bodyPr rtlCol="0" anchor="ctr"/>
            <a:lstStyle/>
            <a:p>
              <a:endParaRPr lang="en-US"/>
            </a:p>
          </p:txBody>
        </p:sp>
        <p:sp>
          <p:nvSpPr>
            <p:cNvPr id="1627" name="Freeform: Shape 1626">
              <a:extLst>
                <a:ext uri="{FF2B5EF4-FFF2-40B4-BE49-F238E27FC236}">
                  <a16:creationId xmlns:a16="http://schemas.microsoft.com/office/drawing/2014/main" id="{D12A812F-E180-4EF6-AF49-8DCBB82CD3EE}"/>
                </a:ext>
              </a:extLst>
            </p:cNvPr>
            <p:cNvSpPr/>
            <p:nvPr/>
          </p:nvSpPr>
          <p:spPr>
            <a:xfrm>
              <a:off x="330656" y="6469525"/>
              <a:ext cx="19962" cy="2545"/>
            </a:xfrm>
            <a:custGeom>
              <a:avLst/>
              <a:gdLst>
                <a:gd name="connsiteX0" fmla="*/ 19695 w 19962"/>
                <a:gd name="connsiteY0" fmla="*/ 0 h 2545"/>
                <a:gd name="connsiteX1" fmla="*/ 0 w 19962"/>
                <a:gd name="connsiteY1" fmla="*/ 0 h 2545"/>
                <a:gd name="connsiteX2" fmla="*/ 0 w 19962"/>
                <a:gd name="connsiteY2" fmla="*/ 1206 h 2545"/>
                <a:gd name="connsiteX3" fmla="*/ 0 w 19962"/>
                <a:gd name="connsiteY3" fmla="*/ 2545 h 2545"/>
                <a:gd name="connsiteX4" fmla="*/ 19963 w 19962"/>
                <a:gd name="connsiteY4" fmla="*/ 2545 h 2545"/>
                <a:gd name="connsiteX5" fmla="*/ 19695 w 19962"/>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2" h="2545">
                  <a:moveTo>
                    <a:pt x="19695" y="0"/>
                  </a:moveTo>
                  <a:lnTo>
                    <a:pt x="0" y="0"/>
                  </a:lnTo>
                  <a:cubicBezTo>
                    <a:pt x="63" y="402"/>
                    <a:pt x="63" y="804"/>
                    <a:pt x="0" y="1206"/>
                  </a:cubicBezTo>
                  <a:lnTo>
                    <a:pt x="0" y="2545"/>
                  </a:lnTo>
                  <a:lnTo>
                    <a:pt x="19963" y="2545"/>
                  </a:lnTo>
                  <a:cubicBezTo>
                    <a:pt x="19720" y="1715"/>
                    <a:pt x="19629" y="857"/>
                    <a:pt x="19695" y="0"/>
                  </a:cubicBezTo>
                  <a:close/>
                </a:path>
              </a:pathLst>
            </a:custGeom>
            <a:solidFill>
              <a:srgbClr val="000000"/>
            </a:solidFill>
            <a:ln w="12700" cap="flat">
              <a:noFill/>
              <a:prstDash val="solid"/>
              <a:miter/>
            </a:ln>
          </p:spPr>
          <p:txBody>
            <a:bodyPr rtlCol="0" anchor="ctr"/>
            <a:lstStyle/>
            <a:p>
              <a:endParaRPr lang="en-US"/>
            </a:p>
          </p:txBody>
        </p:sp>
        <p:sp>
          <p:nvSpPr>
            <p:cNvPr id="1628" name="Freeform: Shape 1627">
              <a:extLst>
                <a:ext uri="{FF2B5EF4-FFF2-40B4-BE49-F238E27FC236}">
                  <a16:creationId xmlns:a16="http://schemas.microsoft.com/office/drawing/2014/main" id="{0B003950-58F9-4BF5-A67E-B6894CB43062}"/>
                </a:ext>
              </a:extLst>
            </p:cNvPr>
            <p:cNvSpPr/>
            <p:nvPr/>
          </p:nvSpPr>
          <p:spPr>
            <a:xfrm>
              <a:off x="4333503" y="6550703"/>
              <a:ext cx="2545" cy="303010"/>
            </a:xfrm>
            <a:custGeom>
              <a:avLst/>
              <a:gdLst>
                <a:gd name="connsiteX0" fmla="*/ 0 w 2545"/>
                <a:gd name="connsiteY0" fmla="*/ 0 h 303010"/>
                <a:gd name="connsiteX1" fmla="*/ 2546 w 2545"/>
                <a:gd name="connsiteY1" fmla="*/ 0 h 303010"/>
                <a:gd name="connsiteX2" fmla="*/ 2546 w 2545"/>
                <a:gd name="connsiteY2" fmla="*/ 303010 h 303010"/>
                <a:gd name="connsiteX3" fmla="*/ 0 w 2545"/>
                <a:gd name="connsiteY3" fmla="*/ 303010 h 303010"/>
              </a:gdLst>
              <a:ahLst/>
              <a:cxnLst>
                <a:cxn ang="0">
                  <a:pos x="connsiteX0" y="connsiteY0"/>
                </a:cxn>
                <a:cxn ang="0">
                  <a:pos x="connsiteX1" y="connsiteY1"/>
                </a:cxn>
                <a:cxn ang="0">
                  <a:pos x="connsiteX2" y="connsiteY2"/>
                </a:cxn>
                <a:cxn ang="0">
                  <a:pos x="connsiteX3" y="connsiteY3"/>
                </a:cxn>
              </a:cxnLst>
              <a:rect l="l" t="t" r="r" b="b"/>
              <a:pathLst>
                <a:path w="2545" h="303010">
                  <a:moveTo>
                    <a:pt x="0" y="0"/>
                  </a:moveTo>
                  <a:lnTo>
                    <a:pt x="2546" y="0"/>
                  </a:lnTo>
                  <a:lnTo>
                    <a:pt x="2546" y="303010"/>
                  </a:lnTo>
                  <a:lnTo>
                    <a:pt x="0" y="303010"/>
                  </a:lnTo>
                  <a:close/>
                </a:path>
              </a:pathLst>
            </a:custGeom>
            <a:solidFill>
              <a:srgbClr val="000000"/>
            </a:solidFill>
            <a:ln w="12700" cap="flat">
              <a:noFill/>
              <a:prstDash val="solid"/>
              <a:miter/>
            </a:ln>
          </p:spPr>
          <p:txBody>
            <a:bodyPr rtlCol="0" anchor="ctr"/>
            <a:lstStyle/>
            <a:p>
              <a:endParaRPr lang="en-US"/>
            </a:p>
          </p:txBody>
        </p:sp>
        <p:sp>
          <p:nvSpPr>
            <p:cNvPr id="1629" name="Freeform: Shape 1628">
              <a:extLst>
                <a:ext uri="{FF2B5EF4-FFF2-40B4-BE49-F238E27FC236}">
                  <a16:creationId xmlns:a16="http://schemas.microsoft.com/office/drawing/2014/main" id="{CCB783C2-A6B3-4017-81DB-296CF553F779}"/>
                </a:ext>
              </a:extLst>
            </p:cNvPr>
            <p:cNvSpPr/>
            <p:nvPr/>
          </p:nvSpPr>
          <p:spPr>
            <a:xfrm>
              <a:off x="2153153" y="6463453"/>
              <a:ext cx="68596" cy="12233"/>
            </a:xfrm>
            <a:custGeom>
              <a:avLst/>
              <a:gdLst>
                <a:gd name="connsiteX0" fmla="*/ 68596 w 68596"/>
                <a:gd name="connsiteY0" fmla="*/ 44 h 12233"/>
                <a:gd name="connsiteX1" fmla="*/ 0 w 68596"/>
                <a:gd name="connsiteY1" fmla="*/ 44 h 12233"/>
                <a:gd name="connsiteX2" fmla="*/ 4019 w 68596"/>
                <a:gd name="connsiteY2" fmla="*/ 44 h 12233"/>
                <a:gd name="connsiteX3" fmla="*/ 5225 w 68596"/>
                <a:gd name="connsiteY3" fmla="*/ 44 h 12233"/>
                <a:gd name="connsiteX4" fmla="*/ 6565 w 68596"/>
                <a:gd name="connsiteY4" fmla="*/ 44 h 12233"/>
                <a:gd name="connsiteX5" fmla="*/ 7771 w 68596"/>
                <a:gd name="connsiteY5" fmla="*/ 848 h 12233"/>
                <a:gd name="connsiteX6" fmla="*/ 8842 w 68596"/>
                <a:gd name="connsiteY6" fmla="*/ 1651 h 12233"/>
                <a:gd name="connsiteX7" fmla="*/ 9646 w 68596"/>
                <a:gd name="connsiteY7" fmla="*/ 2857 h 12233"/>
                <a:gd name="connsiteX8" fmla="*/ 9646 w 68596"/>
                <a:gd name="connsiteY8" fmla="*/ 4062 h 12233"/>
                <a:gd name="connsiteX9" fmla="*/ 9646 w 68596"/>
                <a:gd name="connsiteY9" fmla="*/ 5402 h 12233"/>
                <a:gd name="connsiteX10" fmla="*/ 9646 w 68596"/>
                <a:gd name="connsiteY10" fmla="*/ 6608 h 12233"/>
                <a:gd name="connsiteX11" fmla="*/ 9646 w 68596"/>
                <a:gd name="connsiteY11" fmla="*/ 6608 h 12233"/>
                <a:gd name="connsiteX12" fmla="*/ 9646 w 68596"/>
                <a:gd name="connsiteY12" fmla="*/ 6608 h 12233"/>
                <a:gd name="connsiteX13" fmla="*/ 9646 w 68596"/>
                <a:gd name="connsiteY13" fmla="*/ 7947 h 12233"/>
                <a:gd name="connsiteX14" fmla="*/ 9646 w 68596"/>
                <a:gd name="connsiteY14" fmla="*/ 9019 h 12233"/>
                <a:gd name="connsiteX15" fmla="*/ 8708 w 68596"/>
                <a:gd name="connsiteY15" fmla="*/ 10359 h 12233"/>
                <a:gd name="connsiteX16" fmla="*/ 8039 w 68596"/>
                <a:gd name="connsiteY16" fmla="*/ 11296 h 12233"/>
                <a:gd name="connsiteX17" fmla="*/ 6565 w 68596"/>
                <a:gd name="connsiteY17" fmla="*/ 12234 h 12233"/>
                <a:gd name="connsiteX18" fmla="*/ 5761 w 68596"/>
                <a:gd name="connsiteY18" fmla="*/ 12234 h 12233"/>
                <a:gd name="connsiteX19" fmla="*/ 4555 w 68596"/>
                <a:gd name="connsiteY19" fmla="*/ 12234 h 12233"/>
                <a:gd name="connsiteX20" fmla="*/ 60826 w 68596"/>
                <a:gd name="connsiteY20" fmla="*/ 12234 h 12233"/>
                <a:gd name="connsiteX21" fmla="*/ 60826 w 68596"/>
                <a:gd name="connsiteY21" fmla="*/ 5000 h 12233"/>
                <a:gd name="connsiteX22" fmla="*/ 68596 w 68596"/>
                <a:gd name="connsiteY22" fmla="*/ 44 h 1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96" h="12233">
                  <a:moveTo>
                    <a:pt x="68596" y="44"/>
                  </a:moveTo>
                  <a:lnTo>
                    <a:pt x="0" y="44"/>
                  </a:lnTo>
                  <a:lnTo>
                    <a:pt x="4019" y="44"/>
                  </a:lnTo>
                  <a:lnTo>
                    <a:pt x="5225" y="44"/>
                  </a:lnTo>
                  <a:lnTo>
                    <a:pt x="6565" y="44"/>
                  </a:lnTo>
                  <a:lnTo>
                    <a:pt x="7771" y="848"/>
                  </a:lnTo>
                  <a:lnTo>
                    <a:pt x="8842" y="1651"/>
                  </a:lnTo>
                  <a:lnTo>
                    <a:pt x="9646" y="2857"/>
                  </a:lnTo>
                  <a:cubicBezTo>
                    <a:pt x="9713" y="3259"/>
                    <a:pt x="9713" y="3661"/>
                    <a:pt x="9646" y="4062"/>
                  </a:cubicBezTo>
                  <a:cubicBezTo>
                    <a:pt x="9713" y="4505"/>
                    <a:pt x="9713" y="4960"/>
                    <a:pt x="9646" y="5402"/>
                  </a:cubicBezTo>
                  <a:cubicBezTo>
                    <a:pt x="9713" y="5804"/>
                    <a:pt x="9713" y="6206"/>
                    <a:pt x="9646" y="6608"/>
                  </a:cubicBezTo>
                  <a:lnTo>
                    <a:pt x="9646" y="6608"/>
                  </a:lnTo>
                  <a:cubicBezTo>
                    <a:pt x="9646" y="6608"/>
                    <a:pt x="9646" y="6608"/>
                    <a:pt x="9646" y="6608"/>
                  </a:cubicBezTo>
                  <a:lnTo>
                    <a:pt x="9646" y="7947"/>
                  </a:lnTo>
                  <a:cubicBezTo>
                    <a:pt x="9646" y="7947"/>
                    <a:pt x="9646" y="8751"/>
                    <a:pt x="9646" y="9019"/>
                  </a:cubicBezTo>
                  <a:cubicBezTo>
                    <a:pt x="9365" y="9488"/>
                    <a:pt x="9057" y="9930"/>
                    <a:pt x="8708" y="10359"/>
                  </a:cubicBezTo>
                  <a:lnTo>
                    <a:pt x="8039" y="11296"/>
                  </a:lnTo>
                  <a:cubicBezTo>
                    <a:pt x="7596" y="11685"/>
                    <a:pt x="7101" y="12006"/>
                    <a:pt x="6565" y="12234"/>
                  </a:cubicBezTo>
                  <a:lnTo>
                    <a:pt x="5761" y="12234"/>
                  </a:lnTo>
                  <a:lnTo>
                    <a:pt x="4555" y="12234"/>
                  </a:lnTo>
                  <a:lnTo>
                    <a:pt x="60826" y="12234"/>
                  </a:lnTo>
                  <a:lnTo>
                    <a:pt x="60826" y="5000"/>
                  </a:lnTo>
                  <a:cubicBezTo>
                    <a:pt x="61938" y="1732"/>
                    <a:pt x="65167" y="-331"/>
                    <a:pt x="68596" y="44"/>
                  </a:cubicBezTo>
                  <a:close/>
                </a:path>
              </a:pathLst>
            </a:custGeom>
            <a:solidFill>
              <a:srgbClr val="000000"/>
            </a:solidFill>
            <a:ln w="12700" cap="flat">
              <a:noFill/>
              <a:prstDash val="solid"/>
              <a:miter/>
            </a:ln>
          </p:spPr>
          <p:txBody>
            <a:bodyPr rtlCol="0" anchor="ctr"/>
            <a:lstStyle/>
            <a:p>
              <a:endParaRPr lang="en-US"/>
            </a:p>
          </p:txBody>
        </p:sp>
        <p:sp>
          <p:nvSpPr>
            <p:cNvPr id="1630" name="Freeform: Shape 1629">
              <a:extLst>
                <a:ext uri="{FF2B5EF4-FFF2-40B4-BE49-F238E27FC236}">
                  <a16:creationId xmlns:a16="http://schemas.microsoft.com/office/drawing/2014/main" id="{A559DF59-B793-4447-8027-8F9C0BCF19B2}"/>
                </a:ext>
              </a:extLst>
            </p:cNvPr>
            <p:cNvSpPr/>
            <p:nvPr/>
          </p:nvSpPr>
          <p:spPr>
            <a:xfrm>
              <a:off x="1433559" y="5844483"/>
              <a:ext cx="2545" cy="288542"/>
            </a:xfrm>
            <a:custGeom>
              <a:avLst/>
              <a:gdLst>
                <a:gd name="connsiteX0" fmla="*/ 1206 w 2545"/>
                <a:gd name="connsiteY0" fmla="*/ 288275 h 288542"/>
                <a:gd name="connsiteX1" fmla="*/ 2546 w 2545"/>
                <a:gd name="connsiteY1" fmla="*/ 288275 h 288542"/>
                <a:gd name="connsiteX2" fmla="*/ 2546 w 2545"/>
                <a:gd name="connsiteY2" fmla="*/ 0 h 288542"/>
                <a:gd name="connsiteX3" fmla="*/ 1206 w 2545"/>
                <a:gd name="connsiteY3" fmla="*/ 0 h 288542"/>
                <a:gd name="connsiteX4" fmla="*/ 0 w 2545"/>
                <a:gd name="connsiteY4" fmla="*/ 0 h 288542"/>
                <a:gd name="connsiteX5" fmla="*/ 0 w 2545"/>
                <a:gd name="connsiteY5" fmla="*/ 288543 h 28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542">
                  <a:moveTo>
                    <a:pt x="1206" y="288275"/>
                  </a:moveTo>
                  <a:lnTo>
                    <a:pt x="2546" y="288275"/>
                  </a:lnTo>
                  <a:lnTo>
                    <a:pt x="2546" y="0"/>
                  </a:lnTo>
                  <a:lnTo>
                    <a:pt x="1206" y="0"/>
                  </a:lnTo>
                  <a:lnTo>
                    <a:pt x="0" y="0"/>
                  </a:lnTo>
                  <a:lnTo>
                    <a:pt x="0" y="288543"/>
                  </a:lnTo>
                  <a:close/>
                </a:path>
              </a:pathLst>
            </a:custGeom>
            <a:solidFill>
              <a:srgbClr val="000000"/>
            </a:solidFill>
            <a:ln w="12700" cap="flat">
              <a:noFill/>
              <a:prstDash val="solid"/>
              <a:miter/>
            </a:ln>
          </p:spPr>
          <p:txBody>
            <a:bodyPr rtlCol="0" anchor="ctr"/>
            <a:lstStyle/>
            <a:p>
              <a:endParaRPr lang="en-US"/>
            </a:p>
          </p:txBody>
        </p:sp>
        <p:sp>
          <p:nvSpPr>
            <p:cNvPr id="1631" name="Freeform: Shape 1630">
              <a:extLst>
                <a:ext uri="{FF2B5EF4-FFF2-40B4-BE49-F238E27FC236}">
                  <a16:creationId xmlns:a16="http://schemas.microsoft.com/office/drawing/2014/main" id="{E84FB8F9-DB05-456B-A06B-1D9703579114}"/>
                </a:ext>
              </a:extLst>
            </p:cNvPr>
            <p:cNvSpPr/>
            <p:nvPr/>
          </p:nvSpPr>
          <p:spPr>
            <a:xfrm>
              <a:off x="1424175" y="5607899"/>
              <a:ext cx="17825" cy="24530"/>
            </a:xfrm>
            <a:custGeom>
              <a:avLst/>
              <a:gdLst>
                <a:gd name="connsiteX0" fmla="*/ 6 w 17825"/>
                <a:gd name="connsiteY0" fmla="*/ 7652 h 24530"/>
                <a:gd name="connsiteX1" fmla="*/ 1212 w 17825"/>
                <a:gd name="connsiteY1" fmla="*/ 13546 h 24530"/>
                <a:gd name="connsiteX2" fmla="*/ 3356 w 17825"/>
                <a:gd name="connsiteY2" fmla="*/ 24531 h 24530"/>
                <a:gd name="connsiteX3" fmla="*/ 3356 w 17825"/>
                <a:gd name="connsiteY3" fmla="*/ 23727 h 24530"/>
                <a:gd name="connsiteX4" fmla="*/ 5901 w 17825"/>
                <a:gd name="connsiteY4" fmla="*/ 18369 h 24530"/>
                <a:gd name="connsiteX5" fmla="*/ 5901 w 17825"/>
                <a:gd name="connsiteY5" fmla="*/ 6313 h 24530"/>
                <a:gd name="connsiteX6" fmla="*/ 7241 w 17825"/>
                <a:gd name="connsiteY6" fmla="*/ 4973 h 24530"/>
                <a:gd name="connsiteX7" fmla="*/ 8447 w 17825"/>
                <a:gd name="connsiteY7" fmla="*/ 6313 h 24530"/>
                <a:gd name="connsiteX8" fmla="*/ 8447 w 17825"/>
                <a:gd name="connsiteY8" fmla="*/ 16895 h 24530"/>
                <a:gd name="connsiteX9" fmla="*/ 10591 w 17825"/>
                <a:gd name="connsiteY9" fmla="*/ 16895 h 24530"/>
                <a:gd name="connsiteX10" fmla="*/ 17825 w 17825"/>
                <a:gd name="connsiteY10" fmla="*/ 23459 h 24530"/>
                <a:gd name="connsiteX11" fmla="*/ 17825 w 17825"/>
                <a:gd name="connsiteY11" fmla="*/ 22789 h 24530"/>
                <a:gd name="connsiteX12" fmla="*/ 14342 w 17825"/>
                <a:gd name="connsiteY12" fmla="*/ 4303 h 24530"/>
                <a:gd name="connsiteX13" fmla="*/ 14342 w 17825"/>
                <a:gd name="connsiteY13" fmla="*/ 3634 h 24530"/>
                <a:gd name="connsiteX14" fmla="*/ 14342 w 17825"/>
                <a:gd name="connsiteY14" fmla="*/ 2294 h 24530"/>
                <a:gd name="connsiteX15" fmla="*/ 13538 w 17825"/>
                <a:gd name="connsiteY15" fmla="*/ 1222 h 24530"/>
                <a:gd name="connsiteX16" fmla="*/ 12600 w 17825"/>
                <a:gd name="connsiteY16" fmla="*/ 151 h 24530"/>
                <a:gd name="connsiteX17" fmla="*/ 11394 w 17825"/>
                <a:gd name="connsiteY17" fmla="*/ 151 h 24530"/>
                <a:gd name="connsiteX18" fmla="*/ 10189 w 17825"/>
                <a:gd name="connsiteY18" fmla="*/ 151 h 24530"/>
                <a:gd name="connsiteX19" fmla="*/ 8715 w 17825"/>
                <a:gd name="connsiteY19" fmla="*/ 151 h 24530"/>
                <a:gd name="connsiteX20" fmla="*/ 6571 w 17825"/>
                <a:gd name="connsiteY20" fmla="*/ 151 h 24530"/>
                <a:gd name="connsiteX21" fmla="*/ 6 w 17825"/>
                <a:gd name="connsiteY21" fmla="*/ 7652 h 2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825" h="24530">
                  <a:moveTo>
                    <a:pt x="6" y="7652"/>
                  </a:moveTo>
                  <a:lnTo>
                    <a:pt x="1212" y="13546"/>
                  </a:lnTo>
                  <a:lnTo>
                    <a:pt x="3356" y="24531"/>
                  </a:lnTo>
                  <a:lnTo>
                    <a:pt x="3356" y="23727"/>
                  </a:lnTo>
                  <a:cubicBezTo>
                    <a:pt x="3409" y="21663"/>
                    <a:pt x="4334" y="19719"/>
                    <a:pt x="5901" y="18369"/>
                  </a:cubicBezTo>
                  <a:lnTo>
                    <a:pt x="5901" y="6313"/>
                  </a:lnTo>
                  <a:cubicBezTo>
                    <a:pt x="5901" y="5573"/>
                    <a:pt x="6504" y="4973"/>
                    <a:pt x="7241" y="4973"/>
                  </a:cubicBezTo>
                  <a:cubicBezTo>
                    <a:pt x="7924" y="5043"/>
                    <a:pt x="8447" y="5623"/>
                    <a:pt x="8447" y="6313"/>
                  </a:cubicBezTo>
                  <a:lnTo>
                    <a:pt x="8447" y="16895"/>
                  </a:lnTo>
                  <a:lnTo>
                    <a:pt x="10591" y="16895"/>
                  </a:lnTo>
                  <a:cubicBezTo>
                    <a:pt x="14315" y="16941"/>
                    <a:pt x="17423" y="19758"/>
                    <a:pt x="17825" y="23459"/>
                  </a:cubicBezTo>
                  <a:cubicBezTo>
                    <a:pt x="17825" y="23459"/>
                    <a:pt x="17825" y="23459"/>
                    <a:pt x="17825" y="22789"/>
                  </a:cubicBezTo>
                  <a:lnTo>
                    <a:pt x="14342" y="4303"/>
                  </a:lnTo>
                  <a:cubicBezTo>
                    <a:pt x="14342" y="4303"/>
                    <a:pt x="14342" y="4303"/>
                    <a:pt x="14342" y="3634"/>
                  </a:cubicBezTo>
                  <a:lnTo>
                    <a:pt x="14342" y="2294"/>
                  </a:lnTo>
                  <a:lnTo>
                    <a:pt x="13538" y="1222"/>
                  </a:lnTo>
                  <a:lnTo>
                    <a:pt x="12600" y="151"/>
                  </a:lnTo>
                  <a:lnTo>
                    <a:pt x="11394" y="151"/>
                  </a:lnTo>
                  <a:lnTo>
                    <a:pt x="10189" y="151"/>
                  </a:lnTo>
                  <a:lnTo>
                    <a:pt x="8715" y="151"/>
                  </a:lnTo>
                  <a:cubicBezTo>
                    <a:pt x="8018" y="-50"/>
                    <a:pt x="7268" y="-50"/>
                    <a:pt x="6571" y="151"/>
                  </a:cubicBezTo>
                  <a:cubicBezTo>
                    <a:pt x="2739" y="504"/>
                    <a:pt x="-154" y="3802"/>
                    <a:pt x="6" y="7652"/>
                  </a:cubicBezTo>
                  <a:close/>
                </a:path>
              </a:pathLst>
            </a:custGeom>
            <a:solidFill>
              <a:srgbClr val="000000"/>
            </a:solidFill>
            <a:ln w="12700" cap="flat">
              <a:noFill/>
              <a:prstDash val="solid"/>
              <a:miter/>
            </a:ln>
          </p:spPr>
          <p:txBody>
            <a:bodyPr rtlCol="0" anchor="ctr"/>
            <a:lstStyle/>
            <a:p>
              <a:endParaRPr lang="en-US"/>
            </a:p>
          </p:txBody>
        </p:sp>
        <p:sp>
          <p:nvSpPr>
            <p:cNvPr id="1632" name="Freeform: Shape 1631">
              <a:extLst>
                <a:ext uri="{FF2B5EF4-FFF2-40B4-BE49-F238E27FC236}">
                  <a16:creationId xmlns:a16="http://schemas.microsoft.com/office/drawing/2014/main" id="{D0F3253D-3832-4C64-AFA4-D3292052AB5E}"/>
                </a:ext>
              </a:extLst>
            </p:cNvPr>
            <p:cNvSpPr/>
            <p:nvPr/>
          </p:nvSpPr>
          <p:spPr>
            <a:xfrm>
              <a:off x="1430076" y="5612872"/>
              <a:ext cx="2545" cy="13395"/>
            </a:xfrm>
            <a:custGeom>
              <a:avLst/>
              <a:gdLst>
                <a:gd name="connsiteX0" fmla="*/ 2546 w 2545"/>
                <a:gd name="connsiteY0" fmla="*/ 1340 h 13395"/>
                <a:gd name="connsiteX1" fmla="*/ 1340 w 2545"/>
                <a:gd name="connsiteY1" fmla="*/ 0 h 13395"/>
                <a:gd name="connsiteX2" fmla="*/ 0 w 2545"/>
                <a:gd name="connsiteY2" fmla="*/ 1340 h 13395"/>
                <a:gd name="connsiteX3" fmla="*/ 0 w 2545"/>
                <a:gd name="connsiteY3" fmla="*/ 13396 h 13395"/>
                <a:gd name="connsiteX4" fmla="*/ 2546 w 2545"/>
                <a:gd name="connsiteY4" fmla="*/ 11922 h 1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3395">
                  <a:moveTo>
                    <a:pt x="2546" y="1340"/>
                  </a:moveTo>
                  <a:cubicBezTo>
                    <a:pt x="2546" y="650"/>
                    <a:pt x="2023" y="70"/>
                    <a:pt x="1340" y="0"/>
                  </a:cubicBezTo>
                  <a:cubicBezTo>
                    <a:pt x="603" y="0"/>
                    <a:pt x="0" y="600"/>
                    <a:pt x="0" y="1340"/>
                  </a:cubicBezTo>
                  <a:lnTo>
                    <a:pt x="0" y="13396"/>
                  </a:lnTo>
                  <a:cubicBezTo>
                    <a:pt x="737" y="12729"/>
                    <a:pt x="1608" y="12226"/>
                    <a:pt x="2546" y="11922"/>
                  </a:cubicBezTo>
                  <a:close/>
                </a:path>
              </a:pathLst>
            </a:custGeom>
            <a:solidFill>
              <a:srgbClr val="000000"/>
            </a:solidFill>
            <a:ln w="12700" cap="flat">
              <a:noFill/>
              <a:prstDash val="solid"/>
              <a:miter/>
            </a:ln>
          </p:spPr>
          <p:txBody>
            <a:bodyPr rtlCol="0" anchor="ctr"/>
            <a:lstStyle/>
            <a:p>
              <a:endParaRPr lang="en-US"/>
            </a:p>
          </p:txBody>
        </p:sp>
        <p:sp>
          <p:nvSpPr>
            <p:cNvPr id="1633" name="Freeform: Shape 1632">
              <a:extLst>
                <a:ext uri="{FF2B5EF4-FFF2-40B4-BE49-F238E27FC236}">
                  <a16:creationId xmlns:a16="http://schemas.microsoft.com/office/drawing/2014/main" id="{6DBB8608-DABB-43D9-8793-B5E874855481}"/>
                </a:ext>
              </a:extLst>
            </p:cNvPr>
            <p:cNvSpPr/>
            <p:nvPr/>
          </p:nvSpPr>
          <p:spPr>
            <a:xfrm>
              <a:off x="4504057" y="6536503"/>
              <a:ext cx="65381" cy="16342"/>
            </a:xfrm>
            <a:custGeom>
              <a:avLst/>
              <a:gdLst>
                <a:gd name="connsiteX0" fmla="*/ 7369 w 65381"/>
                <a:gd name="connsiteY0" fmla="*/ 6966 h 16342"/>
                <a:gd name="connsiteX1" fmla="*/ 0 w 65381"/>
                <a:gd name="connsiteY1" fmla="*/ 14199 h 16342"/>
                <a:gd name="connsiteX2" fmla="*/ 0 w 65381"/>
                <a:gd name="connsiteY2" fmla="*/ 14199 h 16342"/>
                <a:gd name="connsiteX3" fmla="*/ 56673 w 65381"/>
                <a:gd name="connsiteY3" fmla="*/ 16343 h 16342"/>
                <a:gd name="connsiteX4" fmla="*/ 56673 w 65381"/>
                <a:gd name="connsiteY4" fmla="*/ 9377 h 16342"/>
                <a:gd name="connsiteX5" fmla="*/ 63908 w 65381"/>
                <a:gd name="connsiteY5" fmla="*/ 2143 h 16342"/>
                <a:gd name="connsiteX6" fmla="*/ 65381 w 65381"/>
                <a:gd name="connsiteY6" fmla="*/ 2143 h 16342"/>
                <a:gd name="connsiteX7" fmla="*/ 64175 w 65381"/>
                <a:gd name="connsiteY7" fmla="*/ 2143 h 16342"/>
                <a:gd name="connsiteX8" fmla="*/ 268 w 65381"/>
                <a:gd name="connsiteY8" fmla="*/ 0 h 16342"/>
                <a:gd name="connsiteX9" fmla="*/ 268 w 65381"/>
                <a:gd name="connsiteY9" fmla="*/ 0 h 16342"/>
                <a:gd name="connsiteX10" fmla="*/ 7369 w 65381"/>
                <a:gd name="connsiteY10" fmla="*/ 6966 h 1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381" h="16342">
                  <a:moveTo>
                    <a:pt x="7369" y="6966"/>
                  </a:moveTo>
                  <a:cubicBezTo>
                    <a:pt x="7302" y="10985"/>
                    <a:pt x="4020" y="14199"/>
                    <a:pt x="0" y="14199"/>
                  </a:cubicBezTo>
                  <a:lnTo>
                    <a:pt x="0" y="14199"/>
                  </a:lnTo>
                  <a:lnTo>
                    <a:pt x="56673" y="16343"/>
                  </a:lnTo>
                  <a:lnTo>
                    <a:pt x="56673" y="9377"/>
                  </a:lnTo>
                  <a:cubicBezTo>
                    <a:pt x="56673" y="5385"/>
                    <a:pt x="59915" y="2143"/>
                    <a:pt x="63908" y="2143"/>
                  </a:cubicBezTo>
                  <a:lnTo>
                    <a:pt x="65381" y="2143"/>
                  </a:lnTo>
                  <a:lnTo>
                    <a:pt x="64175" y="2143"/>
                  </a:lnTo>
                  <a:lnTo>
                    <a:pt x="268" y="0"/>
                  </a:lnTo>
                  <a:lnTo>
                    <a:pt x="268" y="0"/>
                  </a:lnTo>
                  <a:cubicBezTo>
                    <a:pt x="4113" y="67"/>
                    <a:pt x="7221" y="3121"/>
                    <a:pt x="7369" y="6966"/>
                  </a:cubicBezTo>
                  <a:close/>
                </a:path>
              </a:pathLst>
            </a:custGeom>
            <a:solidFill>
              <a:srgbClr val="000000"/>
            </a:solidFill>
            <a:ln w="12700" cap="flat">
              <a:noFill/>
              <a:prstDash val="solid"/>
              <a:miter/>
            </a:ln>
          </p:spPr>
          <p:txBody>
            <a:bodyPr rtlCol="0" anchor="ctr"/>
            <a:lstStyle/>
            <a:p>
              <a:endParaRPr lang="en-US"/>
            </a:p>
          </p:txBody>
        </p:sp>
        <p:sp>
          <p:nvSpPr>
            <p:cNvPr id="1634" name="Freeform: Shape 1633">
              <a:extLst>
                <a:ext uri="{FF2B5EF4-FFF2-40B4-BE49-F238E27FC236}">
                  <a16:creationId xmlns:a16="http://schemas.microsoft.com/office/drawing/2014/main" id="{78D03F95-A1BB-4BD4-BB88-8C9227EEFD1A}"/>
                </a:ext>
              </a:extLst>
            </p:cNvPr>
            <p:cNvSpPr/>
            <p:nvPr/>
          </p:nvSpPr>
          <p:spPr>
            <a:xfrm>
              <a:off x="4417909" y="5950309"/>
              <a:ext cx="14469" cy="586194"/>
            </a:xfrm>
            <a:custGeom>
              <a:avLst/>
              <a:gdLst>
                <a:gd name="connsiteX0" fmla="*/ 6967 w 14469"/>
                <a:gd name="connsiteY0" fmla="*/ 7234 h 586194"/>
                <a:gd name="connsiteX1" fmla="*/ 0 w 14469"/>
                <a:gd name="connsiteY1" fmla="*/ 1340 h 586194"/>
                <a:gd name="connsiteX2" fmla="*/ 0 w 14469"/>
                <a:gd name="connsiteY2" fmla="*/ 1340 h 586194"/>
                <a:gd name="connsiteX3" fmla="*/ 0 w 14469"/>
                <a:gd name="connsiteY3" fmla="*/ 586195 h 586194"/>
                <a:gd name="connsiteX4" fmla="*/ 14469 w 14469"/>
                <a:gd name="connsiteY4" fmla="*/ 586195 h 586194"/>
                <a:gd name="connsiteX5" fmla="*/ 14469 w 14469"/>
                <a:gd name="connsiteY5" fmla="*/ 0 h 586194"/>
                <a:gd name="connsiteX6" fmla="*/ 7235 w 14469"/>
                <a:gd name="connsiteY6" fmla="*/ 7239 h 586194"/>
                <a:gd name="connsiteX7" fmla="*/ 6967 w 14469"/>
                <a:gd name="connsiteY7" fmla="*/ 7234 h 58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586194">
                  <a:moveTo>
                    <a:pt x="6967" y="7234"/>
                  </a:moveTo>
                  <a:cubicBezTo>
                    <a:pt x="3497" y="7275"/>
                    <a:pt x="536" y="4763"/>
                    <a:pt x="0" y="1340"/>
                  </a:cubicBezTo>
                  <a:lnTo>
                    <a:pt x="0" y="1340"/>
                  </a:lnTo>
                  <a:lnTo>
                    <a:pt x="0" y="586195"/>
                  </a:lnTo>
                  <a:lnTo>
                    <a:pt x="14469" y="586195"/>
                  </a:lnTo>
                  <a:lnTo>
                    <a:pt x="14469" y="0"/>
                  </a:lnTo>
                  <a:cubicBezTo>
                    <a:pt x="14469" y="3995"/>
                    <a:pt x="11241" y="7236"/>
                    <a:pt x="7235" y="7239"/>
                  </a:cubicBezTo>
                  <a:cubicBezTo>
                    <a:pt x="7154" y="7239"/>
                    <a:pt x="7061" y="7236"/>
                    <a:pt x="6967" y="7234"/>
                  </a:cubicBezTo>
                  <a:close/>
                </a:path>
              </a:pathLst>
            </a:custGeom>
            <a:solidFill>
              <a:srgbClr val="000000"/>
            </a:solidFill>
            <a:ln w="12700" cap="flat">
              <a:noFill/>
              <a:prstDash val="solid"/>
              <a:miter/>
            </a:ln>
          </p:spPr>
          <p:txBody>
            <a:bodyPr rtlCol="0" anchor="ctr"/>
            <a:lstStyle/>
            <a:p>
              <a:endParaRPr lang="en-US"/>
            </a:p>
          </p:txBody>
        </p:sp>
        <p:sp>
          <p:nvSpPr>
            <p:cNvPr id="1635" name="Freeform: Shape 1634">
              <a:extLst>
                <a:ext uri="{FF2B5EF4-FFF2-40B4-BE49-F238E27FC236}">
                  <a16:creationId xmlns:a16="http://schemas.microsoft.com/office/drawing/2014/main" id="{BC792E41-0BDD-4DAF-AF91-C49FAA827463}"/>
                </a:ext>
              </a:extLst>
            </p:cNvPr>
            <p:cNvSpPr/>
            <p:nvPr/>
          </p:nvSpPr>
          <p:spPr>
            <a:xfrm>
              <a:off x="1769307" y="5645994"/>
              <a:ext cx="195741" cy="14700"/>
            </a:xfrm>
            <a:custGeom>
              <a:avLst/>
              <a:gdLst>
                <a:gd name="connsiteX0" fmla="*/ 7771 w 195741"/>
                <a:gd name="connsiteY0" fmla="*/ 9074 h 14700"/>
                <a:gd name="connsiteX1" fmla="*/ 6431 w 195741"/>
                <a:gd name="connsiteY1" fmla="*/ 14701 h 14700"/>
                <a:gd name="connsiteX2" fmla="*/ 188507 w 195741"/>
                <a:gd name="connsiteY2" fmla="*/ 14701 h 14700"/>
                <a:gd name="connsiteX3" fmla="*/ 188507 w 195741"/>
                <a:gd name="connsiteY3" fmla="*/ 7333 h 14700"/>
                <a:gd name="connsiteX4" fmla="*/ 195741 w 195741"/>
                <a:gd name="connsiteY4" fmla="*/ 99 h 14700"/>
                <a:gd name="connsiteX5" fmla="*/ 0 w 195741"/>
                <a:gd name="connsiteY5" fmla="*/ 99 h 14700"/>
                <a:gd name="connsiteX6" fmla="*/ 2278 w 195741"/>
                <a:gd name="connsiteY6" fmla="*/ 99 h 14700"/>
                <a:gd name="connsiteX7" fmla="*/ 7771 w 195741"/>
                <a:gd name="connsiteY7" fmla="*/ 9074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741" h="14700">
                  <a:moveTo>
                    <a:pt x="7771" y="9074"/>
                  </a:moveTo>
                  <a:lnTo>
                    <a:pt x="6431" y="14701"/>
                  </a:lnTo>
                  <a:lnTo>
                    <a:pt x="188507" y="14701"/>
                  </a:lnTo>
                  <a:lnTo>
                    <a:pt x="188507" y="7333"/>
                  </a:lnTo>
                  <a:cubicBezTo>
                    <a:pt x="188507" y="3338"/>
                    <a:pt x="191749" y="99"/>
                    <a:pt x="195741" y="99"/>
                  </a:cubicBezTo>
                  <a:lnTo>
                    <a:pt x="0" y="99"/>
                  </a:lnTo>
                  <a:cubicBezTo>
                    <a:pt x="750" y="-33"/>
                    <a:pt x="1527" y="-33"/>
                    <a:pt x="2278" y="99"/>
                  </a:cubicBezTo>
                  <a:cubicBezTo>
                    <a:pt x="6257" y="1091"/>
                    <a:pt x="8695" y="5085"/>
                    <a:pt x="7771" y="9074"/>
                  </a:cubicBezTo>
                  <a:close/>
                </a:path>
              </a:pathLst>
            </a:custGeom>
            <a:solidFill>
              <a:srgbClr val="000000"/>
            </a:solidFill>
            <a:ln w="12700" cap="flat">
              <a:noFill/>
              <a:prstDash val="solid"/>
              <a:miter/>
            </a:ln>
          </p:spPr>
          <p:txBody>
            <a:bodyPr rtlCol="0" anchor="ctr"/>
            <a:lstStyle/>
            <a:p>
              <a:endParaRPr lang="en-US"/>
            </a:p>
          </p:txBody>
        </p:sp>
        <p:sp>
          <p:nvSpPr>
            <p:cNvPr id="1636" name="Freeform: Shape 1635">
              <a:extLst>
                <a:ext uri="{FF2B5EF4-FFF2-40B4-BE49-F238E27FC236}">
                  <a16:creationId xmlns:a16="http://schemas.microsoft.com/office/drawing/2014/main" id="{433177A5-7EB6-42FE-B77B-AE207FEC64B6}"/>
                </a:ext>
              </a:extLst>
            </p:cNvPr>
            <p:cNvSpPr/>
            <p:nvPr/>
          </p:nvSpPr>
          <p:spPr>
            <a:xfrm>
              <a:off x="1761536" y="5646396"/>
              <a:ext cx="15307" cy="15638"/>
            </a:xfrm>
            <a:custGeom>
              <a:avLst/>
              <a:gdLst>
                <a:gd name="connsiteX0" fmla="*/ 6967 w 15307"/>
                <a:gd name="connsiteY0" fmla="*/ 7199 h 15638"/>
                <a:gd name="connsiteX1" fmla="*/ 6967 w 15307"/>
                <a:gd name="connsiteY1" fmla="*/ 7199 h 15638"/>
                <a:gd name="connsiteX2" fmla="*/ 6967 w 15307"/>
                <a:gd name="connsiteY2" fmla="*/ 7199 h 15638"/>
                <a:gd name="connsiteX3" fmla="*/ 8159 w 15307"/>
                <a:gd name="connsiteY3" fmla="*/ 5985 h 15638"/>
                <a:gd name="connsiteX4" fmla="*/ 8307 w 15307"/>
                <a:gd name="connsiteY4" fmla="*/ 5994 h 15638"/>
                <a:gd name="connsiteX5" fmla="*/ 9512 w 15307"/>
                <a:gd name="connsiteY5" fmla="*/ 7199 h 15638"/>
                <a:gd name="connsiteX6" fmla="*/ 9512 w 15307"/>
                <a:gd name="connsiteY6" fmla="*/ 8137 h 15638"/>
                <a:gd name="connsiteX7" fmla="*/ 13800 w 15307"/>
                <a:gd name="connsiteY7" fmla="*/ 14701 h 15638"/>
                <a:gd name="connsiteX8" fmla="*/ 13800 w 15307"/>
                <a:gd name="connsiteY8" fmla="*/ 15638 h 15638"/>
                <a:gd name="connsiteX9" fmla="*/ 13800 w 15307"/>
                <a:gd name="connsiteY9" fmla="*/ 14567 h 15638"/>
                <a:gd name="connsiteX10" fmla="*/ 15140 w 15307"/>
                <a:gd name="connsiteY10" fmla="*/ 8941 h 15638"/>
                <a:gd name="connsiteX11" fmla="*/ 9646 w 15307"/>
                <a:gd name="connsiteY11" fmla="*/ 99 h 15638"/>
                <a:gd name="connsiteX12" fmla="*/ 7369 w 15307"/>
                <a:gd name="connsiteY12" fmla="*/ 99 h 15638"/>
                <a:gd name="connsiteX13" fmla="*/ 5895 w 15307"/>
                <a:gd name="connsiteY13" fmla="*/ 99 h 15638"/>
                <a:gd name="connsiteX14" fmla="*/ 4689 w 15307"/>
                <a:gd name="connsiteY14" fmla="*/ 99 h 15638"/>
                <a:gd name="connsiteX15" fmla="*/ 3484 w 15307"/>
                <a:gd name="connsiteY15" fmla="*/ 903 h 15638"/>
                <a:gd name="connsiteX16" fmla="*/ 2546 w 15307"/>
                <a:gd name="connsiteY16" fmla="*/ 1707 h 15638"/>
                <a:gd name="connsiteX17" fmla="*/ 1742 w 15307"/>
                <a:gd name="connsiteY17" fmla="*/ 2912 h 15638"/>
                <a:gd name="connsiteX18" fmla="*/ 1742 w 15307"/>
                <a:gd name="connsiteY18" fmla="*/ 4252 h 15638"/>
                <a:gd name="connsiteX19" fmla="*/ 0 w 15307"/>
                <a:gd name="connsiteY19" fmla="*/ 11754 h 15638"/>
                <a:gd name="connsiteX20" fmla="*/ 0 w 15307"/>
                <a:gd name="connsiteY20" fmla="*/ 12557 h 15638"/>
                <a:gd name="connsiteX21" fmla="*/ 6967 w 15307"/>
                <a:gd name="connsiteY21" fmla="*/ 7199 h 1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07" h="15638">
                  <a:moveTo>
                    <a:pt x="6967" y="7199"/>
                  </a:moveTo>
                  <a:lnTo>
                    <a:pt x="6967" y="7199"/>
                  </a:lnTo>
                  <a:lnTo>
                    <a:pt x="6967" y="7199"/>
                  </a:lnTo>
                  <a:cubicBezTo>
                    <a:pt x="6967" y="6533"/>
                    <a:pt x="7503" y="5990"/>
                    <a:pt x="8159" y="5985"/>
                  </a:cubicBezTo>
                  <a:cubicBezTo>
                    <a:pt x="8213" y="5985"/>
                    <a:pt x="8253" y="5988"/>
                    <a:pt x="8307" y="5994"/>
                  </a:cubicBezTo>
                  <a:cubicBezTo>
                    <a:pt x="8976" y="5994"/>
                    <a:pt x="9512" y="6533"/>
                    <a:pt x="9512" y="7199"/>
                  </a:cubicBezTo>
                  <a:lnTo>
                    <a:pt x="9512" y="8137"/>
                  </a:lnTo>
                  <a:cubicBezTo>
                    <a:pt x="12085" y="9320"/>
                    <a:pt x="13746" y="11872"/>
                    <a:pt x="13800" y="14701"/>
                  </a:cubicBezTo>
                  <a:lnTo>
                    <a:pt x="13800" y="15638"/>
                  </a:lnTo>
                  <a:lnTo>
                    <a:pt x="13800" y="14567"/>
                  </a:lnTo>
                  <a:lnTo>
                    <a:pt x="15140" y="8941"/>
                  </a:lnTo>
                  <a:cubicBezTo>
                    <a:pt x="15984" y="4997"/>
                    <a:pt x="13559" y="1091"/>
                    <a:pt x="9646" y="99"/>
                  </a:cubicBezTo>
                  <a:cubicBezTo>
                    <a:pt x="8896" y="-33"/>
                    <a:pt x="8119" y="-33"/>
                    <a:pt x="7369" y="99"/>
                  </a:cubicBezTo>
                  <a:lnTo>
                    <a:pt x="5895" y="99"/>
                  </a:lnTo>
                  <a:lnTo>
                    <a:pt x="4689" y="99"/>
                  </a:lnTo>
                  <a:cubicBezTo>
                    <a:pt x="4234" y="272"/>
                    <a:pt x="3818" y="547"/>
                    <a:pt x="3484" y="903"/>
                  </a:cubicBezTo>
                  <a:lnTo>
                    <a:pt x="2546" y="1707"/>
                  </a:lnTo>
                  <a:lnTo>
                    <a:pt x="1742" y="2912"/>
                  </a:lnTo>
                  <a:cubicBezTo>
                    <a:pt x="1661" y="3356"/>
                    <a:pt x="1661" y="3809"/>
                    <a:pt x="1742" y="4252"/>
                  </a:cubicBezTo>
                  <a:lnTo>
                    <a:pt x="0" y="11754"/>
                  </a:lnTo>
                  <a:cubicBezTo>
                    <a:pt x="0" y="11754"/>
                    <a:pt x="0" y="11754"/>
                    <a:pt x="0" y="12557"/>
                  </a:cubicBezTo>
                  <a:cubicBezTo>
                    <a:pt x="804" y="9376"/>
                    <a:pt x="3685" y="7160"/>
                    <a:pt x="6967" y="7199"/>
                  </a:cubicBezTo>
                  <a:close/>
                </a:path>
              </a:pathLst>
            </a:custGeom>
            <a:solidFill>
              <a:srgbClr val="000000"/>
            </a:solidFill>
            <a:ln w="12700" cap="flat">
              <a:noFill/>
              <a:prstDash val="solid"/>
              <a:miter/>
            </a:ln>
          </p:spPr>
          <p:txBody>
            <a:bodyPr rtlCol="0" anchor="ctr"/>
            <a:lstStyle/>
            <a:p>
              <a:endParaRPr lang="en-US"/>
            </a:p>
          </p:txBody>
        </p:sp>
        <p:sp>
          <p:nvSpPr>
            <p:cNvPr id="1637" name="Freeform: Shape 1636">
              <a:extLst>
                <a:ext uri="{FF2B5EF4-FFF2-40B4-BE49-F238E27FC236}">
                  <a16:creationId xmlns:a16="http://schemas.microsoft.com/office/drawing/2014/main" id="{2432C7DE-A05A-4CAA-ABF0-59485B81B8DF}"/>
                </a:ext>
              </a:extLst>
            </p:cNvPr>
            <p:cNvSpPr/>
            <p:nvPr/>
          </p:nvSpPr>
          <p:spPr>
            <a:xfrm>
              <a:off x="1223750" y="5624392"/>
              <a:ext cx="159567" cy="14601"/>
            </a:xfrm>
            <a:custGeom>
              <a:avLst/>
              <a:gdLst>
                <a:gd name="connsiteX0" fmla="*/ 7369 w 159567"/>
                <a:gd name="connsiteY0" fmla="*/ 7234 h 14601"/>
                <a:gd name="connsiteX1" fmla="*/ 7369 w 159567"/>
                <a:gd name="connsiteY1" fmla="*/ 14601 h 14601"/>
                <a:gd name="connsiteX2" fmla="*/ 159567 w 159567"/>
                <a:gd name="connsiteY2" fmla="*/ 14601 h 14601"/>
                <a:gd name="connsiteX3" fmla="*/ 159567 w 159567"/>
                <a:gd name="connsiteY3" fmla="*/ 0 h 14601"/>
                <a:gd name="connsiteX4" fmla="*/ 0 w 159567"/>
                <a:gd name="connsiteY4" fmla="*/ 0 h 14601"/>
                <a:gd name="connsiteX5" fmla="*/ 7369 w 159567"/>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567" h="14601">
                  <a:moveTo>
                    <a:pt x="7369" y="7234"/>
                  </a:moveTo>
                  <a:lnTo>
                    <a:pt x="7369" y="14601"/>
                  </a:lnTo>
                  <a:lnTo>
                    <a:pt x="159567" y="14601"/>
                  </a:lnTo>
                  <a:lnTo>
                    <a:pt x="159567" y="0"/>
                  </a:lnTo>
                  <a:lnTo>
                    <a:pt x="0" y="0"/>
                  </a:lnTo>
                  <a:cubicBezTo>
                    <a:pt x="4018" y="0"/>
                    <a:pt x="7295" y="3218"/>
                    <a:pt x="7369" y="7234"/>
                  </a:cubicBezTo>
                  <a:close/>
                </a:path>
              </a:pathLst>
            </a:custGeom>
            <a:solidFill>
              <a:srgbClr val="000000"/>
            </a:solidFill>
            <a:ln w="12700" cap="flat">
              <a:noFill/>
              <a:prstDash val="solid"/>
              <a:miter/>
            </a:ln>
          </p:spPr>
          <p:txBody>
            <a:bodyPr rtlCol="0" anchor="ctr"/>
            <a:lstStyle/>
            <a:p>
              <a:endParaRPr lang="en-US"/>
            </a:p>
          </p:txBody>
        </p:sp>
        <p:sp>
          <p:nvSpPr>
            <p:cNvPr id="1638" name="Freeform: Shape 1637">
              <a:extLst>
                <a:ext uri="{FF2B5EF4-FFF2-40B4-BE49-F238E27FC236}">
                  <a16:creationId xmlns:a16="http://schemas.microsoft.com/office/drawing/2014/main" id="{8289CA2E-8742-43C0-84FD-C67E74B5182C}"/>
                </a:ext>
              </a:extLst>
            </p:cNvPr>
            <p:cNvSpPr/>
            <p:nvPr/>
          </p:nvSpPr>
          <p:spPr>
            <a:xfrm>
              <a:off x="1761362" y="5653729"/>
              <a:ext cx="7140" cy="176153"/>
            </a:xfrm>
            <a:custGeom>
              <a:avLst/>
              <a:gdLst>
                <a:gd name="connsiteX0" fmla="*/ 7141 w 7140"/>
                <a:gd name="connsiteY0" fmla="*/ 160212 h 176153"/>
                <a:gd name="connsiteX1" fmla="*/ 7141 w 7140"/>
                <a:gd name="connsiteY1" fmla="*/ 160212 h 176153"/>
                <a:gd name="connsiteX2" fmla="*/ 7141 w 7140"/>
                <a:gd name="connsiteY2" fmla="*/ 157935 h 176153"/>
                <a:gd name="connsiteX3" fmla="*/ 7141 w 7140"/>
                <a:gd name="connsiteY3" fmla="*/ 0 h 176153"/>
                <a:gd name="connsiteX4" fmla="*/ 7141 w 7140"/>
                <a:gd name="connsiteY4" fmla="*/ 0 h 176153"/>
                <a:gd name="connsiteX5" fmla="*/ 40 w 7140"/>
                <a:gd name="connsiteY5" fmla="*/ 6430 h 176153"/>
                <a:gd name="connsiteX6" fmla="*/ 40 w 7140"/>
                <a:gd name="connsiteY6" fmla="*/ 7234 h 176153"/>
                <a:gd name="connsiteX7" fmla="*/ 40 w 7140"/>
                <a:gd name="connsiteY7" fmla="*/ 176153 h 176153"/>
                <a:gd name="connsiteX8" fmla="*/ 2318 w 7140"/>
                <a:gd name="connsiteY8" fmla="*/ 176153 h 17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0" h="176153">
                  <a:moveTo>
                    <a:pt x="7141" y="160212"/>
                  </a:moveTo>
                  <a:lnTo>
                    <a:pt x="7141" y="160212"/>
                  </a:lnTo>
                  <a:lnTo>
                    <a:pt x="7141" y="157935"/>
                  </a:lnTo>
                  <a:lnTo>
                    <a:pt x="7141" y="0"/>
                  </a:lnTo>
                  <a:lnTo>
                    <a:pt x="7141" y="0"/>
                  </a:lnTo>
                  <a:cubicBezTo>
                    <a:pt x="3470" y="-16"/>
                    <a:pt x="389" y="2773"/>
                    <a:pt x="40" y="6430"/>
                  </a:cubicBezTo>
                  <a:cubicBezTo>
                    <a:pt x="-13" y="6695"/>
                    <a:pt x="-13" y="6969"/>
                    <a:pt x="40" y="7234"/>
                  </a:cubicBezTo>
                  <a:lnTo>
                    <a:pt x="40" y="176153"/>
                  </a:lnTo>
                  <a:lnTo>
                    <a:pt x="2318" y="176153"/>
                  </a:lnTo>
                  <a:close/>
                </a:path>
              </a:pathLst>
            </a:custGeom>
            <a:solidFill>
              <a:srgbClr val="000000"/>
            </a:solidFill>
            <a:ln w="12700" cap="flat">
              <a:noFill/>
              <a:prstDash val="solid"/>
              <a:miter/>
            </a:ln>
          </p:spPr>
          <p:txBody>
            <a:bodyPr rtlCol="0" anchor="ctr"/>
            <a:lstStyle/>
            <a:p>
              <a:endParaRPr lang="en-US"/>
            </a:p>
          </p:txBody>
        </p:sp>
        <p:sp>
          <p:nvSpPr>
            <p:cNvPr id="1639" name="Freeform: Shape 1638">
              <a:extLst>
                <a:ext uri="{FF2B5EF4-FFF2-40B4-BE49-F238E27FC236}">
                  <a16:creationId xmlns:a16="http://schemas.microsoft.com/office/drawing/2014/main" id="{2577E957-ABFD-4AD5-B3C5-B0C534195406}"/>
                </a:ext>
              </a:extLst>
            </p:cNvPr>
            <p:cNvSpPr/>
            <p:nvPr/>
          </p:nvSpPr>
          <p:spPr>
            <a:xfrm>
              <a:off x="1770379" y="5654265"/>
              <a:ext cx="4287" cy="148691"/>
            </a:xfrm>
            <a:custGeom>
              <a:avLst/>
              <a:gdLst>
                <a:gd name="connsiteX0" fmla="*/ 1608 w 4287"/>
                <a:gd name="connsiteY0" fmla="*/ 146281 h 148691"/>
                <a:gd name="connsiteX1" fmla="*/ 1608 w 4287"/>
                <a:gd name="connsiteY1" fmla="*/ 146281 h 148691"/>
                <a:gd name="connsiteX2" fmla="*/ 1608 w 4287"/>
                <a:gd name="connsiteY2" fmla="*/ 144941 h 148691"/>
                <a:gd name="connsiteX3" fmla="*/ 2412 w 4287"/>
                <a:gd name="connsiteY3" fmla="*/ 143869 h 148691"/>
                <a:gd name="connsiteX4" fmla="*/ 3483 w 4287"/>
                <a:gd name="connsiteY4" fmla="*/ 143066 h 148691"/>
                <a:gd name="connsiteX5" fmla="*/ 4287 w 4287"/>
                <a:gd name="connsiteY5" fmla="*/ 142396 h 148691"/>
                <a:gd name="connsiteX6" fmla="*/ 4287 w 4287"/>
                <a:gd name="connsiteY6" fmla="*/ 6564 h 148691"/>
                <a:gd name="connsiteX7" fmla="*/ 0 w 4287"/>
                <a:gd name="connsiteY7" fmla="*/ 0 h 148691"/>
                <a:gd name="connsiteX8" fmla="*/ 0 w 4287"/>
                <a:gd name="connsiteY8" fmla="*/ 148692 h 148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 h="148691">
                  <a:moveTo>
                    <a:pt x="1608" y="146281"/>
                  </a:moveTo>
                  <a:cubicBezTo>
                    <a:pt x="1608" y="146281"/>
                    <a:pt x="1608" y="146281"/>
                    <a:pt x="1608" y="146281"/>
                  </a:cubicBezTo>
                  <a:cubicBezTo>
                    <a:pt x="1581" y="145835"/>
                    <a:pt x="1581" y="145387"/>
                    <a:pt x="1608" y="144941"/>
                  </a:cubicBezTo>
                  <a:lnTo>
                    <a:pt x="2412" y="143869"/>
                  </a:lnTo>
                  <a:lnTo>
                    <a:pt x="3483" y="143066"/>
                  </a:lnTo>
                  <a:lnTo>
                    <a:pt x="4287" y="142396"/>
                  </a:lnTo>
                  <a:lnTo>
                    <a:pt x="4287" y="6564"/>
                  </a:lnTo>
                  <a:cubicBezTo>
                    <a:pt x="4234" y="3735"/>
                    <a:pt x="2572" y="1183"/>
                    <a:pt x="0" y="0"/>
                  </a:cubicBezTo>
                  <a:lnTo>
                    <a:pt x="0" y="148692"/>
                  </a:lnTo>
                  <a:close/>
                </a:path>
              </a:pathLst>
            </a:custGeom>
            <a:solidFill>
              <a:srgbClr val="000000"/>
            </a:solidFill>
            <a:ln w="12700" cap="flat">
              <a:noFill/>
              <a:prstDash val="solid"/>
              <a:miter/>
            </a:ln>
          </p:spPr>
          <p:txBody>
            <a:bodyPr rtlCol="0" anchor="ctr"/>
            <a:lstStyle/>
            <a:p>
              <a:endParaRPr lang="en-US"/>
            </a:p>
          </p:txBody>
        </p:sp>
        <p:sp>
          <p:nvSpPr>
            <p:cNvPr id="1640" name="Freeform: Shape 1639">
              <a:extLst>
                <a:ext uri="{FF2B5EF4-FFF2-40B4-BE49-F238E27FC236}">
                  <a16:creationId xmlns:a16="http://schemas.microsoft.com/office/drawing/2014/main" id="{F7E047E3-9355-4BCA-9B9B-5806083D8B8D}"/>
                </a:ext>
              </a:extLst>
            </p:cNvPr>
            <p:cNvSpPr/>
            <p:nvPr/>
          </p:nvSpPr>
          <p:spPr>
            <a:xfrm>
              <a:off x="1427530" y="5825461"/>
              <a:ext cx="2545" cy="11654"/>
            </a:xfrm>
            <a:custGeom>
              <a:avLst/>
              <a:gdLst>
                <a:gd name="connsiteX0" fmla="*/ 0 w 2545"/>
                <a:gd name="connsiteY0" fmla="*/ 0 h 11654"/>
                <a:gd name="connsiteX1" fmla="*/ 0 w 2545"/>
                <a:gd name="connsiteY1" fmla="*/ 11654 h 11654"/>
                <a:gd name="connsiteX2" fmla="*/ 2546 w 2545"/>
                <a:gd name="connsiteY2" fmla="*/ 6296 h 11654"/>
                <a:gd name="connsiteX3" fmla="*/ 2546 w 2545"/>
                <a:gd name="connsiteY3" fmla="*/ 0 h 11654"/>
              </a:gdLst>
              <a:ahLst/>
              <a:cxnLst>
                <a:cxn ang="0">
                  <a:pos x="connsiteX0" y="connsiteY0"/>
                </a:cxn>
                <a:cxn ang="0">
                  <a:pos x="connsiteX1" y="connsiteY1"/>
                </a:cxn>
                <a:cxn ang="0">
                  <a:pos x="connsiteX2" y="connsiteY2"/>
                </a:cxn>
                <a:cxn ang="0">
                  <a:pos x="connsiteX3" y="connsiteY3"/>
                </a:cxn>
              </a:cxnLst>
              <a:rect l="l" t="t" r="r" b="b"/>
              <a:pathLst>
                <a:path w="2545" h="11654">
                  <a:moveTo>
                    <a:pt x="0" y="0"/>
                  </a:moveTo>
                  <a:lnTo>
                    <a:pt x="0" y="11654"/>
                  </a:lnTo>
                  <a:cubicBezTo>
                    <a:pt x="54" y="9590"/>
                    <a:pt x="978" y="7646"/>
                    <a:pt x="2546" y="6296"/>
                  </a:cubicBezTo>
                  <a:lnTo>
                    <a:pt x="2546" y="0"/>
                  </a:lnTo>
                  <a:close/>
                </a:path>
              </a:pathLst>
            </a:custGeom>
            <a:solidFill>
              <a:srgbClr val="000000"/>
            </a:solidFill>
            <a:ln w="12700" cap="flat">
              <a:noFill/>
              <a:prstDash val="solid"/>
              <a:miter/>
            </a:ln>
          </p:spPr>
          <p:txBody>
            <a:bodyPr rtlCol="0" anchor="ctr"/>
            <a:lstStyle/>
            <a:p>
              <a:endParaRPr lang="en-US"/>
            </a:p>
          </p:txBody>
        </p:sp>
        <p:sp>
          <p:nvSpPr>
            <p:cNvPr id="1641" name="Freeform: Shape 1640">
              <a:extLst>
                <a:ext uri="{FF2B5EF4-FFF2-40B4-BE49-F238E27FC236}">
                  <a16:creationId xmlns:a16="http://schemas.microsoft.com/office/drawing/2014/main" id="{4644C69D-0B85-406C-BA98-159C79620C3B}"/>
                </a:ext>
              </a:extLst>
            </p:cNvPr>
            <p:cNvSpPr/>
            <p:nvPr/>
          </p:nvSpPr>
          <p:spPr>
            <a:xfrm>
              <a:off x="1427530" y="5624392"/>
              <a:ext cx="14603" cy="205891"/>
            </a:xfrm>
            <a:custGeom>
              <a:avLst/>
              <a:gdLst>
                <a:gd name="connsiteX0" fmla="*/ 7235 w 14603"/>
                <a:gd name="connsiteY0" fmla="*/ 0 h 205891"/>
                <a:gd name="connsiteX1" fmla="*/ 5091 w 14603"/>
                <a:gd name="connsiteY1" fmla="*/ 0 h 205891"/>
                <a:gd name="connsiteX2" fmla="*/ 2546 w 14603"/>
                <a:gd name="connsiteY2" fmla="*/ 1473 h 205891"/>
                <a:gd name="connsiteX3" fmla="*/ 0 w 14603"/>
                <a:gd name="connsiteY3" fmla="*/ 6832 h 205891"/>
                <a:gd name="connsiteX4" fmla="*/ 0 w 14603"/>
                <a:gd name="connsiteY4" fmla="*/ 198524 h 205891"/>
                <a:gd name="connsiteX5" fmla="*/ 3885 w 14603"/>
                <a:gd name="connsiteY5" fmla="*/ 198524 h 205891"/>
                <a:gd name="connsiteX6" fmla="*/ 5091 w 14603"/>
                <a:gd name="connsiteY6" fmla="*/ 199729 h 205891"/>
                <a:gd name="connsiteX7" fmla="*/ 5091 w 14603"/>
                <a:gd name="connsiteY7" fmla="*/ 205891 h 205891"/>
                <a:gd name="connsiteX8" fmla="*/ 7235 w 14603"/>
                <a:gd name="connsiteY8" fmla="*/ 205891 h 205891"/>
                <a:gd name="connsiteX9" fmla="*/ 14604 w 14603"/>
                <a:gd name="connsiteY9" fmla="*/ 205891 h 205891"/>
                <a:gd name="connsiteX10" fmla="*/ 14604 w 14603"/>
                <a:gd name="connsiteY10" fmla="*/ 7234 h 205891"/>
                <a:gd name="connsiteX11" fmla="*/ 14604 w 14603"/>
                <a:gd name="connsiteY11" fmla="*/ 7234 h 205891"/>
                <a:gd name="connsiteX12" fmla="*/ 7235 w 14603"/>
                <a:gd name="connsiteY12" fmla="*/ 0 h 20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3" h="205891">
                  <a:moveTo>
                    <a:pt x="7235" y="0"/>
                  </a:moveTo>
                  <a:lnTo>
                    <a:pt x="5091" y="0"/>
                  </a:lnTo>
                  <a:cubicBezTo>
                    <a:pt x="4153" y="304"/>
                    <a:pt x="3282" y="806"/>
                    <a:pt x="2546" y="1473"/>
                  </a:cubicBezTo>
                  <a:cubicBezTo>
                    <a:pt x="978" y="2824"/>
                    <a:pt x="54" y="4767"/>
                    <a:pt x="0" y="6832"/>
                  </a:cubicBezTo>
                  <a:lnTo>
                    <a:pt x="0" y="198524"/>
                  </a:lnTo>
                  <a:lnTo>
                    <a:pt x="3885" y="198524"/>
                  </a:lnTo>
                  <a:cubicBezTo>
                    <a:pt x="4555" y="198524"/>
                    <a:pt x="5091" y="199064"/>
                    <a:pt x="5091" y="199729"/>
                  </a:cubicBezTo>
                  <a:lnTo>
                    <a:pt x="5091" y="205891"/>
                  </a:lnTo>
                  <a:lnTo>
                    <a:pt x="7235" y="205891"/>
                  </a:lnTo>
                  <a:lnTo>
                    <a:pt x="14604" y="205891"/>
                  </a:lnTo>
                  <a:lnTo>
                    <a:pt x="14604" y="7234"/>
                  </a:lnTo>
                  <a:cubicBezTo>
                    <a:pt x="14604" y="7234"/>
                    <a:pt x="14604" y="7234"/>
                    <a:pt x="14604" y="7234"/>
                  </a:cubicBezTo>
                  <a:cubicBezTo>
                    <a:pt x="14537" y="3218"/>
                    <a:pt x="11254" y="0"/>
                    <a:pt x="7235" y="0"/>
                  </a:cubicBezTo>
                  <a:close/>
                </a:path>
              </a:pathLst>
            </a:custGeom>
            <a:solidFill>
              <a:srgbClr val="000000"/>
            </a:solidFill>
            <a:ln w="12700" cap="flat">
              <a:noFill/>
              <a:prstDash val="solid"/>
              <a:miter/>
            </a:ln>
          </p:spPr>
          <p:txBody>
            <a:bodyPr rtlCol="0" anchor="ctr"/>
            <a:lstStyle/>
            <a:p>
              <a:endParaRPr lang="en-US"/>
            </a:p>
          </p:txBody>
        </p:sp>
        <p:sp>
          <p:nvSpPr>
            <p:cNvPr id="1642" name="Freeform: Shape 1641">
              <a:extLst>
                <a:ext uri="{FF2B5EF4-FFF2-40B4-BE49-F238E27FC236}">
                  <a16:creationId xmlns:a16="http://schemas.microsoft.com/office/drawing/2014/main" id="{108FF742-F513-4DBF-BF30-41E018D8FD90}"/>
                </a:ext>
              </a:extLst>
            </p:cNvPr>
            <p:cNvSpPr/>
            <p:nvPr/>
          </p:nvSpPr>
          <p:spPr>
            <a:xfrm>
              <a:off x="1776274" y="5822782"/>
              <a:ext cx="1339" cy="7635"/>
            </a:xfrm>
            <a:custGeom>
              <a:avLst/>
              <a:gdLst>
                <a:gd name="connsiteX0" fmla="*/ 1340 w 1339"/>
                <a:gd name="connsiteY0" fmla="*/ 7636 h 7635"/>
                <a:gd name="connsiteX1" fmla="*/ 1340 w 1339"/>
                <a:gd name="connsiteY1" fmla="*/ 0 h 7635"/>
                <a:gd name="connsiteX2" fmla="*/ 0 w 1339"/>
                <a:gd name="connsiteY2" fmla="*/ 0 h 7635"/>
                <a:gd name="connsiteX3" fmla="*/ 0 w 1339"/>
                <a:gd name="connsiteY3" fmla="*/ 6966 h 7635"/>
              </a:gdLst>
              <a:ahLst/>
              <a:cxnLst>
                <a:cxn ang="0">
                  <a:pos x="connsiteX0" y="connsiteY0"/>
                </a:cxn>
                <a:cxn ang="0">
                  <a:pos x="connsiteX1" y="connsiteY1"/>
                </a:cxn>
                <a:cxn ang="0">
                  <a:pos x="connsiteX2" y="connsiteY2"/>
                </a:cxn>
                <a:cxn ang="0">
                  <a:pos x="connsiteX3" y="connsiteY3"/>
                </a:cxn>
              </a:cxnLst>
              <a:rect l="l" t="t" r="r" b="b"/>
              <a:pathLst>
                <a:path w="1339" h="7635">
                  <a:moveTo>
                    <a:pt x="1340" y="7636"/>
                  </a:moveTo>
                  <a:lnTo>
                    <a:pt x="1340" y="0"/>
                  </a:lnTo>
                  <a:lnTo>
                    <a:pt x="0" y="0"/>
                  </a:lnTo>
                  <a:lnTo>
                    <a:pt x="0" y="6966"/>
                  </a:lnTo>
                  <a:close/>
                </a:path>
              </a:pathLst>
            </a:custGeom>
            <a:solidFill>
              <a:srgbClr val="000000"/>
            </a:solidFill>
            <a:ln w="12700" cap="flat">
              <a:noFill/>
              <a:prstDash val="solid"/>
              <a:miter/>
            </a:ln>
          </p:spPr>
          <p:txBody>
            <a:bodyPr rtlCol="0" anchor="ctr"/>
            <a:lstStyle/>
            <a:p>
              <a:endParaRPr lang="en-US"/>
            </a:p>
          </p:txBody>
        </p:sp>
        <p:sp>
          <p:nvSpPr>
            <p:cNvPr id="1643" name="Freeform: Shape 1642">
              <a:extLst>
                <a:ext uri="{FF2B5EF4-FFF2-40B4-BE49-F238E27FC236}">
                  <a16:creationId xmlns:a16="http://schemas.microsoft.com/office/drawing/2014/main" id="{9594D4BF-3F08-43DA-A487-CF491D9C0DBA}"/>
                </a:ext>
              </a:extLst>
            </p:cNvPr>
            <p:cNvSpPr/>
            <p:nvPr/>
          </p:nvSpPr>
          <p:spPr>
            <a:xfrm>
              <a:off x="1780293" y="5818094"/>
              <a:ext cx="1607" cy="5626"/>
            </a:xfrm>
            <a:custGeom>
              <a:avLst/>
              <a:gdLst>
                <a:gd name="connsiteX0" fmla="*/ 1608 w 1607"/>
                <a:gd name="connsiteY0" fmla="*/ 0 h 5626"/>
                <a:gd name="connsiteX1" fmla="*/ 0 w 1607"/>
                <a:gd name="connsiteY1" fmla="*/ 2813 h 5626"/>
                <a:gd name="connsiteX2" fmla="*/ 0 w 1607"/>
                <a:gd name="connsiteY2" fmla="*/ 5626 h 5626"/>
              </a:gdLst>
              <a:ahLst/>
              <a:cxnLst>
                <a:cxn ang="0">
                  <a:pos x="connsiteX0" y="connsiteY0"/>
                </a:cxn>
                <a:cxn ang="0">
                  <a:pos x="connsiteX1" y="connsiteY1"/>
                </a:cxn>
                <a:cxn ang="0">
                  <a:pos x="connsiteX2" y="connsiteY2"/>
                </a:cxn>
              </a:cxnLst>
              <a:rect l="l" t="t" r="r" b="b"/>
              <a:pathLst>
                <a:path w="1607" h="5626">
                  <a:moveTo>
                    <a:pt x="1608" y="0"/>
                  </a:moveTo>
                  <a:cubicBezTo>
                    <a:pt x="1326" y="1060"/>
                    <a:pt x="764" y="2028"/>
                    <a:pt x="0" y="2813"/>
                  </a:cubicBezTo>
                  <a:lnTo>
                    <a:pt x="0" y="5626"/>
                  </a:lnTo>
                  <a:close/>
                </a:path>
              </a:pathLst>
            </a:custGeom>
            <a:solidFill>
              <a:srgbClr val="000000"/>
            </a:solidFill>
            <a:ln w="12700" cap="flat">
              <a:noFill/>
              <a:prstDash val="solid"/>
              <a:miter/>
            </a:ln>
          </p:spPr>
          <p:txBody>
            <a:bodyPr rtlCol="0" anchor="ctr"/>
            <a:lstStyle/>
            <a:p>
              <a:endParaRPr lang="en-US"/>
            </a:p>
          </p:txBody>
        </p:sp>
        <p:sp>
          <p:nvSpPr>
            <p:cNvPr id="1644" name="Freeform: Shape 1643">
              <a:extLst>
                <a:ext uri="{FF2B5EF4-FFF2-40B4-BE49-F238E27FC236}">
                  <a16:creationId xmlns:a16="http://schemas.microsoft.com/office/drawing/2014/main" id="{A738ABFF-666F-4A4F-848B-8BC3AAAD655B}"/>
                </a:ext>
              </a:extLst>
            </p:cNvPr>
            <p:cNvSpPr/>
            <p:nvPr/>
          </p:nvSpPr>
          <p:spPr>
            <a:xfrm>
              <a:off x="1763680" y="5813941"/>
              <a:ext cx="4823" cy="15940"/>
            </a:xfrm>
            <a:custGeom>
              <a:avLst/>
              <a:gdLst>
                <a:gd name="connsiteX0" fmla="*/ 4823 w 4823"/>
                <a:gd name="connsiteY0" fmla="*/ 15941 h 15940"/>
                <a:gd name="connsiteX1" fmla="*/ 4823 w 4823"/>
                <a:gd name="connsiteY1" fmla="*/ 5760 h 15940"/>
                <a:gd name="connsiteX2" fmla="*/ 4823 w 4823"/>
                <a:gd name="connsiteY2" fmla="*/ 0 h 15940"/>
                <a:gd name="connsiteX3" fmla="*/ 0 w 4823"/>
                <a:gd name="connsiteY3" fmla="*/ 15941 h 15940"/>
                <a:gd name="connsiteX4" fmla="*/ 4823 w 4823"/>
                <a:gd name="connsiteY4" fmla="*/ 15941 h 1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3" h="15940">
                  <a:moveTo>
                    <a:pt x="4823" y="15941"/>
                  </a:moveTo>
                  <a:lnTo>
                    <a:pt x="4823" y="5760"/>
                  </a:lnTo>
                  <a:cubicBezTo>
                    <a:pt x="4019" y="3922"/>
                    <a:pt x="4019" y="1838"/>
                    <a:pt x="4823" y="0"/>
                  </a:cubicBezTo>
                  <a:lnTo>
                    <a:pt x="0" y="15941"/>
                  </a:lnTo>
                  <a:lnTo>
                    <a:pt x="4823" y="15941"/>
                  </a:lnTo>
                  <a:close/>
                </a:path>
              </a:pathLst>
            </a:custGeom>
            <a:solidFill>
              <a:srgbClr val="000000"/>
            </a:solidFill>
            <a:ln w="12700" cap="flat">
              <a:noFill/>
              <a:prstDash val="solid"/>
              <a:miter/>
            </a:ln>
          </p:spPr>
          <p:txBody>
            <a:bodyPr rtlCol="0" anchor="ctr"/>
            <a:lstStyle/>
            <a:p>
              <a:endParaRPr lang="en-US"/>
            </a:p>
          </p:txBody>
        </p:sp>
        <p:sp>
          <p:nvSpPr>
            <p:cNvPr id="1645" name="Freeform: Shape 1644">
              <a:extLst>
                <a:ext uri="{FF2B5EF4-FFF2-40B4-BE49-F238E27FC236}">
                  <a16:creationId xmlns:a16="http://schemas.microsoft.com/office/drawing/2014/main" id="{45E057F7-E25F-4293-8388-8353E31481CE}"/>
                </a:ext>
              </a:extLst>
            </p:cNvPr>
            <p:cNvSpPr/>
            <p:nvPr/>
          </p:nvSpPr>
          <p:spPr>
            <a:xfrm>
              <a:off x="1771183" y="5822380"/>
              <a:ext cx="2411" cy="7635"/>
            </a:xfrm>
            <a:custGeom>
              <a:avLst/>
              <a:gdLst>
                <a:gd name="connsiteX0" fmla="*/ 2412 w 2411"/>
                <a:gd name="connsiteY0" fmla="*/ 7502 h 7635"/>
                <a:gd name="connsiteX1" fmla="*/ 2412 w 2411"/>
                <a:gd name="connsiteY1" fmla="*/ 804 h 7635"/>
                <a:gd name="connsiteX2" fmla="*/ 1608 w 2411"/>
                <a:gd name="connsiteY2" fmla="*/ 804 h 7635"/>
                <a:gd name="connsiteX3" fmla="*/ 0 w 2411"/>
                <a:gd name="connsiteY3" fmla="*/ 0 h 7635"/>
                <a:gd name="connsiteX4" fmla="*/ 0 w 2411"/>
                <a:gd name="connsiteY4" fmla="*/ 7636 h 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635">
                  <a:moveTo>
                    <a:pt x="2412" y="7502"/>
                  </a:moveTo>
                  <a:lnTo>
                    <a:pt x="2412" y="804"/>
                  </a:lnTo>
                  <a:lnTo>
                    <a:pt x="1608" y="804"/>
                  </a:lnTo>
                  <a:cubicBezTo>
                    <a:pt x="1045" y="591"/>
                    <a:pt x="509" y="321"/>
                    <a:pt x="0" y="0"/>
                  </a:cubicBezTo>
                  <a:lnTo>
                    <a:pt x="0" y="7636"/>
                  </a:lnTo>
                  <a:close/>
                </a:path>
              </a:pathLst>
            </a:custGeom>
            <a:solidFill>
              <a:srgbClr val="000000"/>
            </a:solidFill>
            <a:ln w="12700" cap="flat">
              <a:noFill/>
              <a:prstDash val="solid"/>
              <a:miter/>
            </a:ln>
          </p:spPr>
          <p:txBody>
            <a:bodyPr rtlCol="0" anchor="ctr"/>
            <a:lstStyle/>
            <a:p>
              <a:endParaRPr lang="en-US"/>
            </a:p>
          </p:txBody>
        </p:sp>
        <p:sp>
          <p:nvSpPr>
            <p:cNvPr id="1646" name="Freeform: Shape 1645">
              <a:extLst>
                <a:ext uri="{FF2B5EF4-FFF2-40B4-BE49-F238E27FC236}">
                  <a16:creationId xmlns:a16="http://schemas.microsoft.com/office/drawing/2014/main" id="{16701A7C-1739-4793-8759-9F926E10FD25}"/>
                </a:ext>
              </a:extLst>
            </p:cNvPr>
            <p:cNvSpPr/>
            <p:nvPr/>
          </p:nvSpPr>
          <p:spPr>
            <a:xfrm>
              <a:off x="417340" y="5557414"/>
              <a:ext cx="169079" cy="13663"/>
            </a:xfrm>
            <a:custGeom>
              <a:avLst/>
              <a:gdLst>
                <a:gd name="connsiteX0" fmla="*/ 7369 w 169079"/>
                <a:gd name="connsiteY0" fmla="*/ 6430 h 13663"/>
                <a:gd name="connsiteX1" fmla="*/ 7369 w 169079"/>
                <a:gd name="connsiteY1" fmla="*/ 10181 h 13663"/>
                <a:gd name="connsiteX2" fmla="*/ 12058 w 169079"/>
                <a:gd name="connsiteY2" fmla="*/ 13664 h 13663"/>
                <a:gd name="connsiteX3" fmla="*/ 163185 w 169079"/>
                <a:gd name="connsiteY3" fmla="*/ 13664 h 13663"/>
                <a:gd name="connsiteX4" fmla="*/ 163185 w 169079"/>
                <a:gd name="connsiteY4" fmla="*/ 6430 h 13663"/>
                <a:gd name="connsiteX5" fmla="*/ 163185 w 169079"/>
                <a:gd name="connsiteY5" fmla="*/ 5359 h 13663"/>
                <a:gd name="connsiteX6" fmla="*/ 163185 w 169079"/>
                <a:gd name="connsiteY6" fmla="*/ 3885 h 13663"/>
                <a:gd name="connsiteX7" fmla="*/ 163989 w 169079"/>
                <a:gd name="connsiteY7" fmla="*/ 2545 h 13663"/>
                <a:gd name="connsiteX8" fmla="*/ 163989 w 169079"/>
                <a:gd name="connsiteY8" fmla="*/ 1608 h 13663"/>
                <a:gd name="connsiteX9" fmla="*/ 163989 w 169079"/>
                <a:gd name="connsiteY9" fmla="*/ 1608 h 13663"/>
                <a:gd name="connsiteX10" fmla="*/ 165194 w 169079"/>
                <a:gd name="connsiteY10" fmla="*/ 670 h 13663"/>
                <a:gd name="connsiteX11" fmla="*/ 166266 w 169079"/>
                <a:gd name="connsiteY11" fmla="*/ 0 h 13663"/>
                <a:gd name="connsiteX12" fmla="*/ 167472 w 169079"/>
                <a:gd name="connsiteY12" fmla="*/ 0 h 13663"/>
                <a:gd name="connsiteX13" fmla="*/ 169080 w 169079"/>
                <a:gd name="connsiteY13" fmla="*/ 0 h 13663"/>
                <a:gd name="connsiteX14" fmla="*/ 0 w 169079"/>
                <a:gd name="connsiteY14" fmla="*/ 0 h 13663"/>
                <a:gd name="connsiteX15" fmla="*/ 7369 w 169079"/>
                <a:gd name="connsiteY15" fmla="*/ 6430 h 1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079" h="13663">
                  <a:moveTo>
                    <a:pt x="7369" y="6430"/>
                  </a:moveTo>
                  <a:lnTo>
                    <a:pt x="7369" y="10181"/>
                  </a:lnTo>
                  <a:lnTo>
                    <a:pt x="12058" y="13664"/>
                  </a:lnTo>
                  <a:lnTo>
                    <a:pt x="163185" y="13664"/>
                  </a:lnTo>
                  <a:lnTo>
                    <a:pt x="163185" y="6430"/>
                  </a:lnTo>
                  <a:cubicBezTo>
                    <a:pt x="163124" y="6075"/>
                    <a:pt x="163124" y="5713"/>
                    <a:pt x="163185" y="5359"/>
                  </a:cubicBezTo>
                  <a:cubicBezTo>
                    <a:pt x="163132" y="4868"/>
                    <a:pt x="163132" y="4375"/>
                    <a:pt x="163185" y="3885"/>
                  </a:cubicBezTo>
                  <a:lnTo>
                    <a:pt x="163989" y="2545"/>
                  </a:lnTo>
                  <a:cubicBezTo>
                    <a:pt x="163944" y="2235"/>
                    <a:pt x="163944" y="1919"/>
                    <a:pt x="163989" y="1608"/>
                  </a:cubicBezTo>
                  <a:lnTo>
                    <a:pt x="163989" y="1608"/>
                  </a:lnTo>
                  <a:lnTo>
                    <a:pt x="165194" y="670"/>
                  </a:lnTo>
                  <a:lnTo>
                    <a:pt x="166266" y="0"/>
                  </a:lnTo>
                  <a:lnTo>
                    <a:pt x="167472" y="0"/>
                  </a:lnTo>
                  <a:lnTo>
                    <a:pt x="169080" y="0"/>
                  </a:lnTo>
                  <a:lnTo>
                    <a:pt x="0" y="0"/>
                  </a:lnTo>
                  <a:cubicBezTo>
                    <a:pt x="3730" y="-31"/>
                    <a:pt x="6894" y="2732"/>
                    <a:pt x="7369" y="6430"/>
                  </a:cubicBezTo>
                  <a:close/>
                </a:path>
              </a:pathLst>
            </a:custGeom>
            <a:solidFill>
              <a:srgbClr val="000000"/>
            </a:solidFill>
            <a:ln w="12700" cap="flat">
              <a:noFill/>
              <a:prstDash val="solid"/>
              <a:miter/>
            </a:ln>
          </p:spPr>
          <p:txBody>
            <a:bodyPr rtlCol="0" anchor="ctr"/>
            <a:lstStyle/>
            <a:p>
              <a:endParaRPr lang="en-US"/>
            </a:p>
          </p:txBody>
        </p:sp>
        <p:sp>
          <p:nvSpPr>
            <p:cNvPr id="1647" name="Freeform: Shape 1646">
              <a:extLst>
                <a:ext uri="{FF2B5EF4-FFF2-40B4-BE49-F238E27FC236}">
                  <a16:creationId xmlns:a16="http://schemas.microsoft.com/office/drawing/2014/main" id="{0B3D79A1-6E33-445A-BFA8-A32E83588FF8}"/>
                </a:ext>
              </a:extLst>
            </p:cNvPr>
            <p:cNvSpPr/>
            <p:nvPr/>
          </p:nvSpPr>
          <p:spPr>
            <a:xfrm>
              <a:off x="424708" y="5570810"/>
              <a:ext cx="401" cy="267"/>
            </a:xfrm>
            <a:custGeom>
              <a:avLst/>
              <a:gdLst>
                <a:gd name="connsiteX0" fmla="*/ 0 w 401"/>
                <a:gd name="connsiteY0" fmla="*/ 0 h 267"/>
                <a:gd name="connsiteX1" fmla="*/ 0 w 401"/>
                <a:gd name="connsiteY1" fmla="*/ 268 h 267"/>
                <a:gd name="connsiteX2" fmla="*/ 402 w 401"/>
                <a:gd name="connsiteY2" fmla="*/ 268 h 267"/>
                <a:gd name="connsiteX3" fmla="*/ 0 w 401"/>
                <a:gd name="connsiteY3" fmla="*/ 0 h 267"/>
              </a:gdLst>
              <a:ahLst/>
              <a:cxnLst>
                <a:cxn ang="0">
                  <a:pos x="connsiteX0" y="connsiteY0"/>
                </a:cxn>
                <a:cxn ang="0">
                  <a:pos x="connsiteX1" y="connsiteY1"/>
                </a:cxn>
                <a:cxn ang="0">
                  <a:pos x="connsiteX2" y="connsiteY2"/>
                </a:cxn>
                <a:cxn ang="0">
                  <a:pos x="connsiteX3" y="connsiteY3"/>
                </a:cxn>
              </a:cxnLst>
              <a:rect l="l" t="t" r="r" b="b"/>
              <a:pathLst>
                <a:path w="401" h="267">
                  <a:moveTo>
                    <a:pt x="0" y="0"/>
                  </a:moveTo>
                  <a:lnTo>
                    <a:pt x="0" y="268"/>
                  </a:lnTo>
                  <a:lnTo>
                    <a:pt x="402" y="268"/>
                  </a:lnTo>
                  <a:lnTo>
                    <a:pt x="0" y="0"/>
                  </a:lnTo>
                  <a:close/>
                </a:path>
              </a:pathLst>
            </a:custGeom>
            <a:solidFill>
              <a:srgbClr val="000000"/>
            </a:solidFill>
            <a:ln w="12700" cap="flat">
              <a:noFill/>
              <a:prstDash val="solid"/>
              <a:miter/>
            </a:ln>
          </p:spPr>
          <p:txBody>
            <a:bodyPr rtlCol="0" anchor="ctr"/>
            <a:lstStyle/>
            <a:p>
              <a:endParaRPr lang="en-US"/>
            </a:p>
          </p:txBody>
        </p:sp>
        <p:sp>
          <p:nvSpPr>
            <p:cNvPr id="1648" name="Freeform: Shape 1647">
              <a:extLst>
                <a:ext uri="{FF2B5EF4-FFF2-40B4-BE49-F238E27FC236}">
                  <a16:creationId xmlns:a16="http://schemas.microsoft.com/office/drawing/2014/main" id="{5B3B4A97-C70C-4679-B552-1281541E153A}"/>
                </a:ext>
              </a:extLst>
            </p:cNvPr>
            <p:cNvSpPr/>
            <p:nvPr/>
          </p:nvSpPr>
          <p:spPr>
            <a:xfrm>
              <a:off x="424708" y="5567595"/>
              <a:ext cx="33494" cy="24782"/>
            </a:xfrm>
            <a:custGeom>
              <a:avLst/>
              <a:gdLst>
                <a:gd name="connsiteX0" fmla="*/ 29207 w 33494"/>
                <a:gd name="connsiteY0" fmla="*/ 24782 h 24782"/>
                <a:gd name="connsiteX1" fmla="*/ 33494 w 33494"/>
                <a:gd name="connsiteY1" fmla="*/ 24782 h 24782"/>
                <a:gd name="connsiteX2" fmla="*/ 4689 w 33494"/>
                <a:gd name="connsiteY2" fmla="*/ 3483 h 24782"/>
                <a:gd name="connsiteX3" fmla="*/ 0 w 33494"/>
                <a:gd name="connsiteY3" fmla="*/ 0 h 24782"/>
                <a:gd name="connsiteX4" fmla="*/ 0 w 33494"/>
                <a:gd name="connsiteY4" fmla="*/ 3215 h 24782"/>
                <a:gd name="connsiteX5" fmla="*/ 402 w 33494"/>
                <a:gd name="connsiteY5" fmla="*/ 3483 h 24782"/>
                <a:gd name="connsiteX6" fmla="*/ 29207 w 33494"/>
                <a:gd name="connsiteY6" fmla="*/ 24782 h 2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4" h="24782">
                  <a:moveTo>
                    <a:pt x="29207" y="24782"/>
                  </a:moveTo>
                  <a:lnTo>
                    <a:pt x="33494" y="24782"/>
                  </a:lnTo>
                  <a:lnTo>
                    <a:pt x="4689" y="3483"/>
                  </a:lnTo>
                  <a:lnTo>
                    <a:pt x="0" y="0"/>
                  </a:lnTo>
                  <a:lnTo>
                    <a:pt x="0" y="3215"/>
                  </a:lnTo>
                  <a:lnTo>
                    <a:pt x="402" y="3483"/>
                  </a:lnTo>
                  <a:lnTo>
                    <a:pt x="29207" y="24782"/>
                  </a:lnTo>
                  <a:close/>
                </a:path>
              </a:pathLst>
            </a:custGeom>
            <a:solidFill>
              <a:srgbClr val="000000"/>
            </a:solidFill>
            <a:ln w="12700" cap="flat">
              <a:noFill/>
              <a:prstDash val="solid"/>
              <a:miter/>
            </a:ln>
          </p:spPr>
          <p:txBody>
            <a:bodyPr rtlCol="0" anchor="ctr"/>
            <a:lstStyle/>
            <a:p>
              <a:endParaRPr lang="en-US"/>
            </a:p>
          </p:txBody>
        </p:sp>
        <p:sp>
          <p:nvSpPr>
            <p:cNvPr id="1649" name="Freeform: Shape 1648">
              <a:extLst>
                <a:ext uri="{FF2B5EF4-FFF2-40B4-BE49-F238E27FC236}">
                  <a16:creationId xmlns:a16="http://schemas.microsoft.com/office/drawing/2014/main" id="{7440E38F-41D5-4125-A850-C6A4EE4C3EA6}"/>
                </a:ext>
              </a:extLst>
            </p:cNvPr>
            <p:cNvSpPr/>
            <p:nvPr/>
          </p:nvSpPr>
          <p:spPr>
            <a:xfrm>
              <a:off x="410105" y="5556610"/>
              <a:ext cx="14603" cy="35766"/>
            </a:xfrm>
            <a:custGeom>
              <a:avLst/>
              <a:gdLst>
                <a:gd name="connsiteX0" fmla="*/ 14604 w 14603"/>
                <a:gd name="connsiteY0" fmla="*/ 35766 h 35766"/>
                <a:gd name="connsiteX1" fmla="*/ 14604 w 14603"/>
                <a:gd name="connsiteY1" fmla="*/ 7234 h 35766"/>
                <a:gd name="connsiteX2" fmla="*/ 7235 w 14603"/>
                <a:gd name="connsiteY2" fmla="*/ 0 h 35766"/>
                <a:gd name="connsiteX3" fmla="*/ 0 w 14603"/>
                <a:gd name="connsiteY3" fmla="*/ 7234 h 35766"/>
                <a:gd name="connsiteX4" fmla="*/ 0 w 14603"/>
                <a:gd name="connsiteY4" fmla="*/ 35766 h 35766"/>
                <a:gd name="connsiteX5" fmla="*/ 14604 w 14603"/>
                <a:gd name="connsiteY5" fmla="*/ 35766 h 3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5766">
                  <a:moveTo>
                    <a:pt x="14604" y="35766"/>
                  </a:moveTo>
                  <a:lnTo>
                    <a:pt x="14604" y="7234"/>
                  </a:lnTo>
                  <a:cubicBezTo>
                    <a:pt x="14530" y="3218"/>
                    <a:pt x="11253" y="-1"/>
                    <a:pt x="7235" y="0"/>
                  </a:cubicBezTo>
                  <a:cubicBezTo>
                    <a:pt x="3240" y="0"/>
                    <a:pt x="0" y="3239"/>
                    <a:pt x="0" y="7234"/>
                  </a:cubicBezTo>
                  <a:lnTo>
                    <a:pt x="0" y="35766"/>
                  </a:lnTo>
                  <a:lnTo>
                    <a:pt x="14604" y="35766"/>
                  </a:lnTo>
                  <a:close/>
                </a:path>
              </a:pathLst>
            </a:custGeom>
            <a:solidFill>
              <a:srgbClr val="000000"/>
            </a:solidFill>
            <a:ln w="12700" cap="flat">
              <a:noFill/>
              <a:prstDash val="solid"/>
              <a:miter/>
            </a:ln>
          </p:spPr>
          <p:txBody>
            <a:bodyPr rtlCol="0" anchor="ctr"/>
            <a:lstStyle/>
            <a:p>
              <a:endParaRPr lang="en-US"/>
            </a:p>
          </p:txBody>
        </p:sp>
        <p:sp>
          <p:nvSpPr>
            <p:cNvPr id="1650" name="Freeform: Shape 1649">
              <a:extLst>
                <a:ext uri="{FF2B5EF4-FFF2-40B4-BE49-F238E27FC236}">
                  <a16:creationId xmlns:a16="http://schemas.microsoft.com/office/drawing/2014/main" id="{A1BA30DB-501B-4E20-917C-BCB53000E00B}"/>
                </a:ext>
              </a:extLst>
            </p:cNvPr>
            <p:cNvSpPr/>
            <p:nvPr/>
          </p:nvSpPr>
          <p:spPr>
            <a:xfrm>
              <a:off x="4274821" y="6550703"/>
              <a:ext cx="2545" cy="303009"/>
            </a:xfrm>
            <a:custGeom>
              <a:avLst/>
              <a:gdLst>
                <a:gd name="connsiteX0" fmla="*/ 1206 w 2545"/>
                <a:gd name="connsiteY0" fmla="*/ 0 h 303009"/>
                <a:gd name="connsiteX1" fmla="*/ 0 w 2545"/>
                <a:gd name="connsiteY1" fmla="*/ 0 h 303009"/>
                <a:gd name="connsiteX2" fmla="*/ 0 w 2545"/>
                <a:gd name="connsiteY2" fmla="*/ 303010 h 303009"/>
                <a:gd name="connsiteX3" fmla="*/ 2546 w 2545"/>
                <a:gd name="connsiteY3" fmla="*/ 303010 h 303009"/>
                <a:gd name="connsiteX4" fmla="*/ 2546 w 2545"/>
                <a:gd name="connsiteY4" fmla="*/ 0 h 303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303009">
                  <a:moveTo>
                    <a:pt x="1206" y="0"/>
                  </a:moveTo>
                  <a:lnTo>
                    <a:pt x="0" y="0"/>
                  </a:lnTo>
                  <a:lnTo>
                    <a:pt x="0" y="303010"/>
                  </a:lnTo>
                  <a:lnTo>
                    <a:pt x="2546" y="303010"/>
                  </a:lnTo>
                  <a:lnTo>
                    <a:pt x="2546" y="0"/>
                  </a:lnTo>
                  <a:close/>
                </a:path>
              </a:pathLst>
            </a:custGeom>
            <a:solidFill>
              <a:srgbClr val="000000"/>
            </a:solidFill>
            <a:ln w="12700" cap="flat">
              <a:noFill/>
              <a:prstDash val="solid"/>
              <a:miter/>
            </a:ln>
          </p:spPr>
          <p:txBody>
            <a:bodyPr rtlCol="0" anchor="ctr"/>
            <a:lstStyle/>
            <a:p>
              <a:endParaRPr lang="en-US"/>
            </a:p>
          </p:txBody>
        </p:sp>
        <p:sp>
          <p:nvSpPr>
            <p:cNvPr id="1651" name="Freeform: Shape 1650">
              <a:extLst>
                <a:ext uri="{FF2B5EF4-FFF2-40B4-BE49-F238E27FC236}">
                  <a16:creationId xmlns:a16="http://schemas.microsoft.com/office/drawing/2014/main" id="{611ECEF3-813C-449B-9320-43A91CDB21C6}"/>
                </a:ext>
              </a:extLst>
            </p:cNvPr>
            <p:cNvSpPr/>
            <p:nvPr/>
          </p:nvSpPr>
          <p:spPr>
            <a:xfrm>
              <a:off x="4204751" y="6533423"/>
              <a:ext cx="71678" cy="15828"/>
            </a:xfrm>
            <a:custGeom>
              <a:avLst/>
              <a:gdLst>
                <a:gd name="connsiteX0" fmla="*/ 64041 w 71678"/>
                <a:gd name="connsiteY0" fmla="*/ 10047 h 15828"/>
                <a:gd name="connsiteX1" fmla="*/ 71276 w 71678"/>
                <a:gd name="connsiteY1" fmla="*/ 2679 h 15828"/>
                <a:gd name="connsiteX2" fmla="*/ 71276 w 71678"/>
                <a:gd name="connsiteY2" fmla="*/ 2679 h 15828"/>
                <a:gd name="connsiteX3" fmla="*/ 5359 w 71678"/>
                <a:gd name="connsiteY3" fmla="*/ 0 h 15828"/>
                <a:gd name="connsiteX4" fmla="*/ 5359 w 71678"/>
                <a:gd name="connsiteY4" fmla="*/ 6966 h 15828"/>
                <a:gd name="connsiteX5" fmla="*/ 5359 w 71678"/>
                <a:gd name="connsiteY5" fmla="*/ 6966 h 15828"/>
                <a:gd name="connsiteX6" fmla="*/ 5359 w 71678"/>
                <a:gd name="connsiteY6" fmla="*/ 8439 h 15828"/>
                <a:gd name="connsiteX7" fmla="*/ 5359 w 71678"/>
                <a:gd name="connsiteY7" fmla="*/ 9645 h 15828"/>
                <a:gd name="connsiteX8" fmla="*/ 4421 w 71678"/>
                <a:gd name="connsiteY8" fmla="*/ 10984 h 15828"/>
                <a:gd name="connsiteX9" fmla="*/ 3751 w 71678"/>
                <a:gd name="connsiteY9" fmla="*/ 11922 h 15828"/>
                <a:gd name="connsiteX10" fmla="*/ 2278 w 71678"/>
                <a:gd name="connsiteY10" fmla="*/ 12860 h 15828"/>
                <a:gd name="connsiteX11" fmla="*/ 1474 w 71678"/>
                <a:gd name="connsiteY11" fmla="*/ 12860 h 15828"/>
                <a:gd name="connsiteX12" fmla="*/ 0 w 71678"/>
                <a:gd name="connsiteY12" fmla="*/ 12860 h 15828"/>
                <a:gd name="connsiteX13" fmla="*/ 0 w 71678"/>
                <a:gd name="connsiteY13" fmla="*/ 12860 h 15828"/>
                <a:gd name="connsiteX14" fmla="*/ 70472 w 71678"/>
                <a:gd name="connsiteY14" fmla="*/ 15807 h 15828"/>
                <a:gd name="connsiteX15" fmla="*/ 71678 w 71678"/>
                <a:gd name="connsiteY15" fmla="*/ 15807 h 15828"/>
                <a:gd name="connsiteX16" fmla="*/ 64041 w 71678"/>
                <a:gd name="connsiteY16" fmla="*/ 10047 h 1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678" h="15828">
                  <a:moveTo>
                    <a:pt x="64041" y="10047"/>
                  </a:moveTo>
                  <a:cubicBezTo>
                    <a:pt x="64041" y="6028"/>
                    <a:pt x="67257" y="2746"/>
                    <a:pt x="71276" y="2679"/>
                  </a:cubicBezTo>
                  <a:lnTo>
                    <a:pt x="71276" y="2679"/>
                  </a:lnTo>
                  <a:lnTo>
                    <a:pt x="5359" y="0"/>
                  </a:lnTo>
                  <a:lnTo>
                    <a:pt x="5359" y="6966"/>
                  </a:lnTo>
                  <a:lnTo>
                    <a:pt x="5359" y="6966"/>
                  </a:lnTo>
                  <a:cubicBezTo>
                    <a:pt x="5413" y="7461"/>
                    <a:pt x="5413" y="7944"/>
                    <a:pt x="5359" y="8439"/>
                  </a:cubicBezTo>
                  <a:cubicBezTo>
                    <a:pt x="5359" y="8439"/>
                    <a:pt x="5359" y="9243"/>
                    <a:pt x="5359" y="9645"/>
                  </a:cubicBezTo>
                  <a:cubicBezTo>
                    <a:pt x="5091" y="10127"/>
                    <a:pt x="4783" y="10569"/>
                    <a:pt x="4421" y="10984"/>
                  </a:cubicBezTo>
                  <a:lnTo>
                    <a:pt x="3751" y="11922"/>
                  </a:lnTo>
                  <a:cubicBezTo>
                    <a:pt x="3309" y="12311"/>
                    <a:pt x="2813" y="12632"/>
                    <a:pt x="2278" y="12860"/>
                  </a:cubicBezTo>
                  <a:lnTo>
                    <a:pt x="1474" y="12860"/>
                  </a:lnTo>
                  <a:lnTo>
                    <a:pt x="0" y="12860"/>
                  </a:lnTo>
                  <a:lnTo>
                    <a:pt x="0" y="12860"/>
                  </a:lnTo>
                  <a:lnTo>
                    <a:pt x="70472" y="15807"/>
                  </a:lnTo>
                  <a:lnTo>
                    <a:pt x="71678" y="15807"/>
                  </a:lnTo>
                  <a:cubicBezTo>
                    <a:pt x="68047" y="16088"/>
                    <a:pt x="64778" y="13610"/>
                    <a:pt x="64041" y="10047"/>
                  </a:cubicBezTo>
                  <a:close/>
                </a:path>
              </a:pathLst>
            </a:custGeom>
            <a:solidFill>
              <a:srgbClr val="000000"/>
            </a:solidFill>
            <a:ln w="12700" cap="flat">
              <a:noFill/>
              <a:prstDash val="solid"/>
              <a:miter/>
            </a:ln>
          </p:spPr>
          <p:txBody>
            <a:bodyPr rtlCol="0" anchor="ctr"/>
            <a:lstStyle/>
            <a:p>
              <a:endParaRPr lang="en-US"/>
            </a:p>
          </p:txBody>
        </p:sp>
        <p:sp>
          <p:nvSpPr>
            <p:cNvPr id="1652" name="Freeform: Shape 1651">
              <a:extLst>
                <a:ext uri="{FF2B5EF4-FFF2-40B4-BE49-F238E27FC236}">
                  <a16:creationId xmlns:a16="http://schemas.microsoft.com/office/drawing/2014/main" id="{19315A16-EAE3-49C2-9637-6E27F4F7E720}"/>
                </a:ext>
              </a:extLst>
            </p:cNvPr>
            <p:cNvSpPr/>
            <p:nvPr/>
          </p:nvSpPr>
          <p:spPr>
            <a:xfrm>
              <a:off x="2229654" y="6539049"/>
              <a:ext cx="94722" cy="2545"/>
            </a:xfrm>
            <a:custGeom>
              <a:avLst/>
              <a:gdLst>
                <a:gd name="connsiteX0" fmla="*/ 93784 w 94722"/>
                <a:gd name="connsiteY0" fmla="*/ 0 h 2545"/>
                <a:gd name="connsiteX1" fmla="*/ 0 w 94722"/>
                <a:gd name="connsiteY1" fmla="*/ 0 h 2545"/>
                <a:gd name="connsiteX2" fmla="*/ 0 w 94722"/>
                <a:gd name="connsiteY2" fmla="*/ 2545 h 2545"/>
                <a:gd name="connsiteX3" fmla="*/ 94722 w 94722"/>
                <a:gd name="connsiteY3" fmla="*/ 2545 h 2545"/>
                <a:gd name="connsiteX4" fmla="*/ 94722 w 94722"/>
                <a:gd name="connsiteY4" fmla="*/ 1339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722" h="2545">
                  <a:moveTo>
                    <a:pt x="93784" y="0"/>
                  </a:moveTo>
                  <a:lnTo>
                    <a:pt x="0" y="0"/>
                  </a:lnTo>
                  <a:lnTo>
                    <a:pt x="0" y="2545"/>
                  </a:lnTo>
                  <a:lnTo>
                    <a:pt x="94722" y="2545"/>
                  </a:lnTo>
                  <a:cubicBezTo>
                    <a:pt x="94655" y="2143"/>
                    <a:pt x="94655" y="1742"/>
                    <a:pt x="94722" y="1339"/>
                  </a:cubicBezTo>
                  <a:close/>
                </a:path>
              </a:pathLst>
            </a:custGeom>
            <a:solidFill>
              <a:srgbClr val="000000"/>
            </a:solidFill>
            <a:ln w="12700" cap="flat">
              <a:noFill/>
              <a:prstDash val="solid"/>
              <a:miter/>
            </a:ln>
          </p:spPr>
          <p:txBody>
            <a:bodyPr rtlCol="0" anchor="ctr"/>
            <a:lstStyle/>
            <a:p>
              <a:endParaRPr lang="en-US"/>
            </a:p>
          </p:txBody>
        </p:sp>
        <p:sp>
          <p:nvSpPr>
            <p:cNvPr id="1653" name="Freeform: Shape 1652">
              <a:extLst>
                <a:ext uri="{FF2B5EF4-FFF2-40B4-BE49-F238E27FC236}">
                  <a16:creationId xmlns:a16="http://schemas.microsoft.com/office/drawing/2014/main" id="{D20EE187-D4FB-4C0A-93EB-AD94EA8A894E}"/>
                </a:ext>
              </a:extLst>
            </p:cNvPr>
            <p:cNvSpPr/>
            <p:nvPr/>
          </p:nvSpPr>
          <p:spPr>
            <a:xfrm>
              <a:off x="590974" y="5558352"/>
              <a:ext cx="41131" cy="34025"/>
            </a:xfrm>
            <a:custGeom>
              <a:avLst/>
              <a:gdLst>
                <a:gd name="connsiteX0" fmla="*/ 4153 w 41131"/>
                <a:gd name="connsiteY0" fmla="*/ 21433 h 34025"/>
                <a:gd name="connsiteX1" fmla="*/ 18757 w 41131"/>
                <a:gd name="connsiteY1" fmla="*/ 34025 h 34025"/>
                <a:gd name="connsiteX2" fmla="*/ 41131 w 41131"/>
                <a:gd name="connsiteY2" fmla="*/ 34025 h 34025"/>
                <a:gd name="connsiteX3" fmla="*/ 938 w 41131"/>
                <a:gd name="connsiteY3" fmla="*/ 0 h 34025"/>
                <a:gd name="connsiteX4" fmla="*/ 0 w 41131"/>
                <a:gd name="connsiteY4" fmla="*/ 0 h 34025"/>
                <a:gd name="connsiteX5" fmla="*/ 3483 w 41131"/>
                <a:gd name="connsiteY5" fmla="*/ 6028 h 3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1" h="34025">
                  <a:moveTo>
                    <a:pt x="4153" y="21433"/>
                  </a:moveTo>
                  <a:lnTo>
                    <a:pt x="18757" y="34025"/>
                  </a:lnTo>
                  <a:lnTo>
                    <a:pt x="41131" y="34025"/>
                  </a:lnTo>
                  <a:lnTo>
                    <a:pt x="938" y="0"/>
                  </a:lnTo>
                  <a:lnTo>
                    <a:pt x="0" y="0"/>
                  </a:lnTo>
                  <a:cubicBezTo>
                    <a:pt x="2097" y="1299"/>
                    <a:pt x="3404" y="3562"/>
                    <a:pt x="3483" y="6028"/>
                  </a:cubicBezTo>
                  <a:close/>
                </a:path>
              </a:pathLst>
            </a:custGeom>
            <a:solidFill>
              <a:srgbClr val="000000"/>
            </a:solidFill>
            <a:ln w="12700" cap="flat">
              <a:noFill/>
              <a:prstDash val="solid"/>
              <a:miter/>
            </a:ln>
          </p:spPr>
          <p:txBody>
            <a:bodyPr rtlCol="0" anchor="ctr"/>
            <a:lstStyle/>
            <a:p>
              <a:endParaRPr lang="en-US"/>
            </a:p>
          </p:txBody>
        </p:sp>
        <p:sp>
          <p:nvSpPr>
            <p:cNvPr id="1654" name="Freeform: Shape 1653">
              <a:extLst>
                <a:ext uri="{FF2B5EF4-FFF2-40B4-BE49-F238E27FC236}">
                  <a16:creationId xmlns:a16="http://schemas.microsoft.com/office/drawing/2014/main" id="{BF470374-DD05-4EE9-AB45-590A97687054}"/>
                </a:ext>
              </a:extLst>
            </p:cNvPr>
            <p:cNvSpPr/>
            <p:nvPr/>
          </p:nvSpPr>
          <p:spPr>
            <a:xfrm>
              <a:off x="582351" y="5558486"/>
              <a:ext cx="49" cy="1071"/>
            </a:xfrm>
            <a:custGeom>
              <a:avLst/>
              <a:gdLst>
                <a:gd name="connsiteX0" fmla="*/ 49 w 49"/>
                <a:gd name="connsiteY0" fmla="*/ 134 h 1071"/>
                <a:gd name="connsiteX1" fmla="*/ 49 w 49"/>
                <a:gd name="connsiteY1" fmla="*/ 1072 h 1071"/>
                <a:gd name="connsiteX2" fmla="*/ 49 w 49"/>
                <a:gd name="connsiteY2" fmla="*/ 0 h 1071"/>
              </a:gdLst>
              <a:ahLst/>
              <a:cxnLst>
                <a:cxn ang="0">
                  <a:pos x="connsiteX0" y="connsiteY0"/>
                </a:cxn>
                <a:cxn ang="0">
                  <a:pos x="connsiteX1" y="connsiteY1"/>
                </a:cxn>
                <a:cxn ang="0">
                  <a:pos x="connsiteX2" y="connsiteY2"/>
                </a:cxn>
              </a:cxnLst>
              <a:rect l="l" t="t" r="r" b="b"/>
              <a:pathLst>
                <a:path w="49" h="1071">
                  <a:moveTo>
                    <a:pt x="49" y="134"/>
                  </a:moveTo>
                  <a:cubicBezTo>
                    <a:pt x="5" y="445"/>
                    <a:pt x="5" y="761"/>
                    <a:pt x="49" y="1072"/>
                  </a:cubicBezTo>
                  <a:cubicBezTo>
                    <a:pt x="-16" y="718"/>
                    <a:pt x="-16" y="354"/>
                    <a:pt x="49" y="0"/>
                  </a:cubicBezTo>
                  <a:close/>
                </a:path>
              </a:pathLst>
            </a:custGeom>
            <a:solidFill>
              <a:srgbClr val="000000"/>
            </a:solidFill>
            <a:ln w="12700" cap="flat">
              <a:noFill/>
              <a:prstDash val="solid"/>
              <a:miter/>
            </a:ln>
          </p:spPr>
          <p:txBody>
            <a:bodyPr rtlCol="0" anchor="ctr"/>
            <a:lstStyle/>
            <a:p>
              <a:endParaRPr lang="en-US"/>
            </a:p>
          </p:txBody>
        </p:sp>
        <p:sp>
          <p:nvSpPr>
            <p:cNvPr id="1655" name="Freeform: Shape 1654">
              <a:extLst>
                <a:ext uri="{FF2B5EF4-FFF2-40B4-BE49-F238E27FC236}">
                  <a16:creationId xmlns:a16="http://schemas.microsoft.com/office/drawing/2014/main" id="{8A80AA60-0FDB-4446-851E-C2A4F46D59C7}"/>
                </a:ext>
              </a:extLst>
            </p:cNvPr>
            <p:cNvSpPr/>
            <p:nvPr/>
          </p:nvSpPr>
          <p:spPr>
            <a:xfrm>
              <a:off x="1216248" y="5624392"/>
              <a:ext cx="14642" cy="213928"/>
            </a:xfrm>
            <a:custGeom>
              <a:avLst/>
              <a:gdLst>
                <a:gd name="connsiteX0" fmla="*/ 2948 w 14642"/>
                <a:gd name="connsiteY0" fmla="*/ 191558 h 213928"/>
                <a:gd name="connsiteX1" fmla="*/ 5627 w 14642"/>
                <a:gd name="connsiteY1" fmla="*/ 195979 h 213928"/>
                <a:gd name="connsiteX2" fmla="*/ 5627 w 14642"/>
                <a:gd name="connsiteY2" fmla="*/ 195979 h 213928"/>
                <a:gd name="connsiteX3" fmla="*/ 13666 w 14642"/>
                <a:gd name="connsiteY3" fmla="*/ 209374 h 213928"/>
                <a:gd name="connsiteX4" fmla="*/ 14604 w 14642"/>
                <a:gd name="connsiteY4" fmla="*/ 213929 h 213928"/>
                <a:gd name="connsiteX5" fmla="*/ 14604 w 14642"/>
                <a:gd name="connsiteY5" fmla="*/ 213125 h 213928"/>
                <a:gd name="connsiteX6" fmla="*/ 14604 w 14642"/>
                <a:gd name="connsiteY6" fmla="*/ 7234 h 213928"/>
                <a:gd name="connsiteX7" fmla="*/ 7235 w 14642"/>
                <a:gd name="connsiteY7" fmla="*/ 0 h 213928"/>
                <a:gd name="connsiteX8" fmla="*/ 0 w 14642"/>
                <a:gd name="connsiteY8" fmla="*/ 7234 h 213928"/>
                <a:gd name="connsiteX9" fmla="*/ 0 w 14642"/>
                <a:gd name="connsiteY9" fmla="*/ 187137 h 213928"/>
                <a:gd name="connsiteX10" fmla="*/ 2814 w 14642"/>
                <a:gd name="connsiteY10" fmla="*/ 191558 h 21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42" h="213928">
                  <a:moveTo>
                    <a:pt x="2948" y="191558"/>
                  </a:moveTo>
                  <a:lnTo>
                    <a:pt x="5627" y="195979"/>
                  </a:lnTo>
                  <a:lnTo>
                    <a:pt x="5627" y="195979"/>
                  </a:lnTo>
                  <a:lnTo>
                    <a:pt x="13666" y="209374"/>
                  </a:lnTo>
                  <a:cubicBezTo>
                    <a:pt x="14436" y="210761"/>
                    <a:pt x="14763" y="212351"/>
                    <a:pt x="14604" y="213929"/>
                  </a:cubicBezTo>
                  <a:cubicBezTo>
                    <a:pt x="14604" y="213929"/>
                    <a:pt x="14604" y="213929"/>
                    <a:pt x="14604" y="213125"/>
                  </a:cubicBezTo>
                  <a:lnTo>
                    <a:pt x="14604" y="7234"/>
                  </a:lnTo>
                  <a:cubicBezTo>
                    <a:pt x="14530" y="3218"/>
                    <a:pt x="11253" y="0"/>
                    <a:pt x="7235" y="0"/>
                  </a:cubicBezTo>
                  <a:cubicBezTo>
                    <a:pt x="3240" y="0"/>
                    <a:pt x="0" y="3239"/>
                    <a:pt x="0" y="7234"/>
                  </a:cubicBezTo>
                  <a:lnTo>
                    <a:pt x="0" y="187137"/>
                  </a:lnTo>
                  <a:lnTo>
                    <a:pt x="2814" y="191558"/>
                  </a:lnTo>
                  <a:close/>
                </a:path>
              </a:pathLst>
            </a:custGeom>
            <a:solidFill>
              <a:srgbClr val="000000"/>
            </a:solidFill>
            <a:ln w="12700" cap="flat">
              <a:noFill/>
              <a:prstDash val="solid"/>
              <a:miter/>
            </a:ln>
          </p:spPr>
          <p:txBody>
            <a:bodyPr rtlCol="0" anchor="ctr"/>
            <a:lstStyle/>
            <a:p>
              <a:endParaRPr lang="en-US"/>
            </a:p>
          </p:txBody>
        </p:sp>
        <p:sp>
          <p:nvSpPr>
            <p:cNvPr id="1656" name="Freeform: Shape 1655">
              <a:extLst>
                <a:ext uri="{FF2B5EF4-FFF2-40B4-BE49-F238E27FC236}">
                  <a16:creationId xmlns:a16="http://schemas.microsoft.com/office/drawing/2014/main" id="{180341A4-2DA4-4771-9A34-A9647C44D51C}"/>
                </a:ext>
              </a:extLst>
            </p:cNvPr>
            <p:cNvSpPr/>
            <p:nvPr/>
          </p:nvSpPr>
          <p:spPr>
            <a:xfrm>
              <a:off x="1225090" y="5843412"/>
              <a:ext cx="2143" cy="100"/>
            </a:xfrm>
            <a:custGeom>
              <a:avLst/>
              <a:gdLst>
                <a:gd name="connsiteX0" fmla="*/ 2144 w 2143"/>
                <a:gd name="connsiteY0" fmla="*/ 0 h 100"/>
                <a:gd name="connsiteX1" fmla="*/ 0 w 2143"/>
                <a:gd name="connsiteY1" fmla="*/ 0 h 100"/>
                <a:gd name="connsiteX2" fmla="*/ 0 w 2143"/>
                <a:gd name="connsiteY2" fmla="*/ 0 h 100"/>
                <a:gd name="connsiteX3" fmla="*/ 2144 w 2143"/>
                <a:gd name="connsiteY3" fmla="*/ 0 h 100"/>
              </a:gdLst>
              <a:ahLst/>
              <a:cxnLst>
                <a:cxn ang="0">
                  <a:pos x="connsiteX0" y="connsiteY0"/>
                </a:cxn>
                <a:cxn ang="0">
                  <a:pos x="connsiteX1" y="connsiteY1"/>
                </a:cxn>
                <a:cxn ang="0">
                  <a:pos x="connsiteX2" y="connsiteY2"/>
                </a:cxn>
                <a:cxn ang="0">
                  <a:pos x="connsiteX3" y="connsiteY3"/>
                </a:cxn>
              </a:cxnLst>
              <a:rect l="l" t="t" r="r" b="b"/>
              <a:pathLst>
                <a:path w="2143" h="100">
                  <a:moveTo>
                    <a:pt x="2144" y="0"/>
                  </a:moveTo>
                  <a:cubicBezTo>
                    <a:pt x="1435" y="134"/>
                    <a:pt x="709" y="134"/>
                    <a:pt x="0" y="0"/>
                  </a:cubicBezTo>
                  <a:lnTo>
                    <a:pt x="0" y="0"/>
                  </a:lnTo>
                  <a:cubicBezTo>
                    <a:pt x="709" y="131"/>
                    <a:pt x="1435" y="131"/>
                    <a:pt x="2144" y="0"/>
                  </a:cubicBezTo>
                  <a:close/>
                </a:path>
              </a:pathLst>
            </a:custGeom>
            <a:solidFill>
              <a:srgbClr val="000000"/>
            </a:solidFill>
            <a:ln w="12700" cap="flat">
              <a:noFill/>
              <a:prstDash val="solid"/>
              <a:miter/>
            </a:ln>
          </p:spPr>
          <p:txBody>
            <a:bodyPr rtlCol="0" anchor="ctr"/>
            <a:lstStyle/>
            <a:p>
              <a:endParaRPr lang="en-US"/>
            </a:p>
          </p:txBody>
        </p:sp>
        <p:sp>
          <p:nvSpPr>
            <p:cNvPr id="1657" name="Freeform: Shape 1656">
              <a:extLst>
                <a:ext uri="{FF2B5EF4-FFF2-40B4-BE49-F238E27FC236}">
                  <a16:creationId xmlns:a16="http://schemas.microsoft.com/office/drawing/2014/main" id="{8B5AEA7F-171D-4B27-A062-DE2920EB013D}"/>
                </a:ext>
              </a:extLst>
            </p:cNvPr>
            <p:cNvSpPr/>
            <p:nvPr/>
          </p:nvSpPr>
          <p:spPr>
            <a:xfrm>
              <a:off x="1220669" y="5844081"/>
              <a:ext cx="1875" cy="57"/>
            </a:xfrm>
            <a:custGeom>
              <a:avLst/>
              <a:gdLst>
                <a:gd name="connsiteX0" fmla="*/ 1876 w 1875"/>
                <a:gd name="connsiteY0" fmla="*/ 0 h 57"/>
                <a:gd name="connsiteX1" fmla="*/ 0 w 1875"/>
                <a:gd name="connsiteY1" fmla="*/ 0 h 57"/>
                <a:gd name="connsiteX2" fmla="*/ 1876 w 1875"/>
                <a:gd name="connsiteY2" fmla="*/ 0 h 57"/>
              </a:gdLst>
              <a:ahLst/>
              <a:cxnLst>
                <a:cxn ang="0">
                  <a:pos x="connsiteX0" y="connsiteY0"/>
                </a:cxn>
                <a:cxn ang="0">
                  <a:pos x="connsiteX1" y="connsiteY1"/>
                </a:cxn>
                <a:cxn ang="0">
                  <a:pos x="connsiteX2" y="connsiteY2"/>
                </a:cxn>
              </a:cxnLst>
              <a:rect l="l" t="t" r="r" b="b"/>
              <a:pathLst>
                <a:path w="1875" h="57">
                  <a:moveTo>
                    <a:pt x="1876" y="0"/>
                  </a:moveTo>
                  <a:cubicBezTo>
                    <a:pt x="1253" y="76"/>
                    <a:pt x="623" y="76"/>
                    <a:pt x="0" y="0"/>
                  </a:cubicBezTo>
                  <a:lnTo>
                    <a:pt x="1876" y="0"/>
                  </a:lnTo>
                  <a:close/>
                </a:path>
              </a:pathLst>
            </a:custGeom>
            <a:solidFill>
              <a:srgbClr val="000000"/>
            </a:solidFill>
            <a:ln w="12700" cap="flat">
              <a:noFill/>
              <a:prstDash val="solid"/>
              <a:miter/>
            </a:ln>
          </p:spPr>
          <p:txBody>
            <a:bodyPr rtlCol="0" anchor="ctr"/>
            <a:lstStyle/>
            <a:p>
              <a:endParaRPr lang="en-US"/>
            </a:p>
          </p:txBody>
        </p:sp>
        <p:sp>
          <p:nvSpPr>
            <p:cNvPr id="1658" name="Freeform: Shape 1657">
              <a:extLst>
                <a:ext uri="{FF2B5EF4-FFF2-40B4-BE49-F238E27FC236}">
                  <a16:creationId xmlns:a16="http://schemas.microsoft.com/office/drawing/2014/main" id="{1D7A36CB-A895-423B-9A20-9FDC27F7FC55}"/>
                </a:ext>
              </a:extLst>
            </p:cNvPr>
            <p:cNvSpPr/>
            <p:nvPr/>
          </p:nvSpPr>
          <p:spPr>
            <a:xfrm>
              <a:off x="1768637" y="5652114"/>
              <a:ext cx="2545" cy="159549"/>
            </a:xfrm>
            <a:custGeom>
              <a:avLst/>
              <a:gdLst>
                <a:gd name="connsiteX0" fmla="*/ 2546 w 2545"/>
                <a:gd name="connsiteY0" fmla="*/ 2151 h 159549"/>
                <a:gd name="connsiteX1" fmla="*/ 2546 w 2545"/>
                <a:gd name="connsiteY1" fmla="*/ 1213 h 159549"/>
                <a:gd name="connsiteX2" fmla="*/ 1340 w 2545"/>
                <a:gd name="connsiteY2" fmla="*/ 8 h 159549"/>
                <a:gd name="connsiteX3" fmla="*/ 13 w 2545"/>
                <a:gd name="connsiteY3" fmla="*/ 1071 h 159549"/>
                <a:gd name="connsiteX4" fmla="*/ 0 w 2545"/>
                <a:gd name="connsiteY4" fmla="*/ 1213 h 159549"/>
                <a:gd name="connsiteX5" fmla="*/ 0 w 2545"/>
                <a:gd name="connsiteY5" fmla="*/ 159550 h 159549"/>
                <a:gd name="connsiteX6" fmla="*/ 2546 w 2545"/>
                <a:gd name="connsiteY6" fmla="*/ 150843 h 15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159549">
                  <a:moveTo>
                    <a:pt x="2546" y="2151"/>
                  </a:moveTo>
                  <a:lnTo>
                    <a:pt x="2546" y="1213"/>
                  </a:lnTo>
                  <a:cubicBezTo>
                    <a:pt x="2546" y="547"/>
                    <a:pt x="2010" y="8"/>
                    <a:pt x="1340" y="8"/>
                  </a:cubicBezTo>
                  <a:cubicBezTo>
                    <a:pt x="683" y="-66"/>
                    <a:pt x="81" y="409"/>
                    <a:pt x="13" y="1071"/>
                  </a:cubicBezTo>
                  <a:cubicBezTo>
                    <a:pt x="0" y="1119"/>
                    <a:pt x="0" y="1166"/>
                    <a:pt x="0" y="1213"/>
                  </a:cubicBezTo>
                  <a:lnTo>
                    <a:pt x="0" y="159550"/>
                  </a:lnTo>
                  <a:lnTo>
                    <a:pt x="2546" y="150843"/>
                  </a:lnTo>
                  <a:close/>
                </a:path>
              </a:pathLst>
            </a:custGeom>
            <a:solidFill>
              <a:srgbClr val="000000"/>
            </a:solidFill>
            <a:ln w="12700" cap="flat">
              <a:noFill/>
              <a:prstDash val="solid"/>
              <a:miter/>
            </a:ln>
          </p:spPr>
          <p:txBody>
            <a:bodyPr rtlCol="0" anchor="ctr"/>
            <a:lstStyle/>
            <a:p>
              <a:endParaRPr lang="en-US"/>
            </a:p>
          </p:txBody>
        </p:sp>
        <p:sp>
          <p:nvSpPr>
            <p:cNvPr id="1659" name="Freeform: Shape 1658">
              <a:extLst>
                <a:ext uri="{FF2B5EF4-FFF2-40B4-BE49-F238E27FC236}">
                  <a16:creationId xmlns:a16="http://schemas.microsoft.com/office/drawing/2014/main" id="{181748F6-B85E-40D7-B3DE-AB47A0D5B49B}"/>
                </a:ext>
              </a:extLst>
            </p:cNvPr>
            <p:cNvSpPr/>
            <p:nvPr/>
          </p:nvSpPr>
          <p:spPr>
            <a:xfrm>
              <a:off x="1768637" y="5819701"/>
              <a:ext cx="2545" cy="10180"/>
            </a:xfrm>
            <a:custGeom>
              <a:avLst/>
              <a:gdLst>
                <a:gd name="connsiteX0" fmla="*/ 2546 w 2545"/>
                <a:gd name="connsiteY0" fmla="*/ 10181 h 10180"/>
                <a:gd name="connsiteX1" fmla="*/ 2546 w 2545"/>
                <a:gd name="connsiteY1" fmla="*/ 2545 h 10180"/>
                <a:gd name="connsiteX2" fmla="*/ 0 w 2545"/>
                <a:gd name="connsiteY2" fmla="*/ 0 h 10180"/>
                <a:gd name="connsiteX3" fmla="*/ 0 w 2545"/>
                <a:gd name="connsiteY3" fmla="*/ 10181 h 10180"/>
                <a:gd name="connsiteX4" fmla="*/ 2546 w 2545"/>
                <a:gd name="connsiteY4" fmla="*/ 10181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0180">
                  <a:moveTo>
                    <a:pt x="2546" y="10181"/>
                  </a:moveTo>
                  <a:lnTo>
                    <a:pt x="2546" y="2545"/>
                  </a:lnTo>
                  <a:cubicBezTo>
                    <a:pt x="1487" y="1945"/>
                    <a:pt x="603" y="1065"/>
                    <a:pt x="0" y="0"/>
                  </a:cubicBezTo>
                  <a:lnTo>
                    <a:pt x="0" y="10181"/>
                  </a:lnTo>
                  <a:lnTo>
                    <a:pt x="2546" y="10181"/>
                  </a:lnTo>
                  <a:close/>
                </a:path>
              </a:pathLst>
            </a:custGeom>
            <a:solidFill>
              <a:srgbClr val="000000"/>
            </a:solidFill>
            <a:ln w="12700" cap="flat">
              <a:noFill/>
              <a:prstDash val="solid"/>
              <a:miter/>
            </a:ln>
          </p:spPr>
          <p:txBody>
            <a:bodyPr rtlCol="0" anchor="ctr"/>
            <a:lstStyle/>
            <a:p>
              <a:endParaRPr lang="en-US"/>
            </a:p>
          </p:txBody>
        </p:sp>
        <p:sp>
          <p:nvSpPr>
            <p:cNvPr id="1660" name="Freeform: Shape 1659">
              <a:extLst>
                <a:ext uri="{FF2B5EF4-FFF2-40B4-BE49-F238E27FC236}">
                  <a16:creationId xmlns:a16="http://schemas.microsoft.com/office/drawing/2014/main" id="{9A3EE41E-8279-41EB-9854-D8FF700A32D8}"/>
                </a:ext>
              </a:extLst>
            </p:cNvPr>
            <p:cNvSpPr/>
            <p:nvPr/>
          </p:nvSpPr>
          <p:spPr>
            <a:xfrm>
              <a:off x="1397921" y="5822908"/>
              <a:ext cx="33494" cy="2553"/>
            </a:xfrm>
            <a:custGeom>
              <a:avLst/>
              <a:gdLst>
                <a:gd name="connsiteX0" fmla="*/ 0 w 33494"/>
                <a:gd name="connsiteY0" fmla="*/ 1214 h 2553"/>
                <a:gd name="connsiteX1" fmla="*/ 0 w 33494"/>
                <a:gd name="connsiteY1" fmla="*/ 2553 h 2553"/>
                <a:gd name="connsiteX2" fmla="*/ 32155 w 33494"/>
                <a:gd name="connsiteY2" fmla="*/ 2553 h 2553"/>
                <a:gd name="connsiteX3" fmla="*/ 32155 w 33494"/>
                <a:gd name="connsiteY3" fmla="*/ 1214 h 2553"/>
                <a:gd name="connsiteX4" fmla="*/ 33347 w 33494"/>
                <a:gd name="connsiteY4" fmla="*/ 0 h 2553"/>
                <a:gd name="connsiteX5" fmla="*/ 33494 w 33494"/>
                <a:gd name="connsiteY5" fmla="*/ 8 h 2553"/>
                <a:gd name="connsiteX6" fmla="*/ 0 w 33494"/>
                <a:gd name="connsiteY6" fmla="*/ 8 h 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4" h="2553">
                  <a:moveTo>
                    <a:pt x="0" y="1214"/>
                  </a:moveTo>
                  <a:lnTo>
                    <a:pt x="0" y="2553"/>
                  </a:lnTo>
                  <a:lnTo>
                    <a:pt x="32155" y="2553"/>
                  </a:lnTo>
                  <a:lnTo>
                    <a:pt x="32155" y="1214"/>
                  </a:lnTo>
                  <a:cubicBezTo>
                    <a:pt x="32155" y="548"/>
                    <a:pt x="32691" y="5"/>
                    <a:pt x="33347" y="0"/>
                  </a:cubicBezTo>
                  <a:cubicBezTo>
                    <a:pt x="33401" y="0"/>
                    <a:pt x="33441" y="3"/>
                    <a:pt x="33494" y="8"/>
                  </a:cubicBezTo>
                  <a:lnTo>
                    <a:pt x="0" y="8"/>
                  </a:lnTo>
                  <a:close/>
                </a:path>
              </a:pathLst>
            </a:custGeom>
            <a:solidFill>
              <a:srgbClr val="000000"/>
            </a:solidFill>
            <a:ln w="12700" cap="flat">
              <a:noFill/>
              <a:prstDash val="solid"/>
              <a:miter/>
            </a:ln>
          </p:spPr>
          <p:txBody>
            <a:bodyPr rtlCol="0" anchor="ctr"/>
            <a:lstStyle/>
            <a:p>
              <a:endParaRPr lang="en-US"/>
            </a:p>
          </p:txBody>
        </p:sp>
        <p:sp>
          <p:nvSpPr>
            <p:cNvPr id="1661" name="Freeform: Shape 1660">
              <a:extLst>
                <a:ext uri="{FF2B5EF4-FFF2-40B4-BE49-F238E27FC236}">
                  <a16:creationId xmlns:a16="http://schemas.microsoft.com/office/drawing/2014/main" id="{AD2AC418-232A-4BC2-8A53-2C78E7C91A27}"/>
                </a:ext>
              </a:extLst>
            </p:cNvPr>
            <p:cNvSpPr/>
            <p:nvPr/>
          </p:nvSpPr>
          <p:spPr>
            <a:xfrm>
              <a:off x="1383318" y="5824658"/>
              <a:ext cx="14603" cy="308100"/>
            </a:xfrm>
            <a:custGeom>
              <a:avLst/>
              <a:gdLst>
                <a:gd name="connsiteX0" fmla="*/ 14604 w 14603"/>
                <a:gd name="connsiteY0" fmla="*/ 308100 h 308100"/>
                <a:gd name="connsiteX1" fmla="*/ 14604 w 14603"/>
                <a:gd name="connsiteY1" fmla="*/ 0 h 308100"/>
                <a:gd name="connsiteX2" fmla="*/ 7235 w 14603"/>
                <a:gd name="connsiteY2" fmla="*/ 7368 h 308100"/>
                <a:gd name="connsiteX3" fmla="*/ 0 w 14603"/>
                <a:gd name="connsiteY3" fmla="*/ 135 h 308100"/>
                <a:gd name="connsiteX4" fmla="*/ 0 w 14603"/>
                <a:gd name="connsiteY4" fmla="*/ 0 h 308100"/>
                <a:gd name="connsiteX5" fmla="*/ 0 w 14603"/>
                <a:gd name="connsiteY5" fmla="*/ 308100 h 308100"/>
                <a:gd name="connsiteX6" fmla="*/ 14604 w 14603"/>
                <a:gd name="connsiteY6" fmla="*/ 308100 h 30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08100">
                  <a:moveTo>
                    <a:pt x="14604" y="308100"/>
                  </a:moveTo>
                  <a:lnTo>
                    <a:pt x="14604" y="0"/>
                  </a:lnTo>
                  <a:cubicBezTo>
                    <a:pt x="14604" y="4070"/>
                    <a:pt x="11308" y="7368"/>
                    <a:pt x="7235" y="7368"/>
                  </a:cubicBezTo>
                  <a:cubicBezTo>
                    <a:pt x="3242" y="7369"/>
                    <a:pt x="0" y="4130"/>
                    <a:pt x="0" y="135"/>
                  </a:cubicBezTo>
                  <a:cubicBezTo>
                    <a:pt x="0" y="90"/>
                    <a:pt x="0" y="46"/>
                    <a:pt x="0" y="0"/>
                  </a:cubicBezTo>
                  <a:lnTo>
                    <a:pt x="0" y="308100"/>
                  </a:lnTo>
                  <a:lnTo>
                    <a:pt x="14604" y="308100"/>
                  </a:lnTo>
                  <a:close/>
                </a:path>
              </a:pathLst>
            </a:custGeom>
            <a:solidFill>
              <a:srgbClr val="000000"/>
            </a:solidFill>
            <a:ln w="12700" cap="flat">
              <a:noFill/>
              <a:prstDash val="solid"/>
              <a:miter/>
            </a:ln>
          </p:spPr>
          <p:txBody>
            <a:bodyPr rtlCol="0" anchor="ctr"/>
            <a:lstStyle/>
            <a:p>
              <a:endParaRPr lang="en-US"/>
            </a:p>
          </p:txBody>
        </p:sp>
        <p:sp>
          <p:nvSpPr>
            <p:cNvPr id="1662" name="Freeform: Shape 1661">
              <a:extLst>
                <a:ext uri="{FF2B5EF4-FFF2-40B4-BE49-F238E27FC236}">
                  <a16:creationId xmlns:a16="http://schemas.microsoft.com/office/drawing/2014/main" id="{142D92EC-596D-45A4-8539-99FB4811BA20}"/>
                </a:ext>
              </a:extLst>
            </p:cNvPr>
            <p:cNvSpPr/>
            <p:nvPr/>
          </p:nvSpPr>
          <p:spPr>
            <a:xfrm>
              <a:off x="4164424" y="6540120"/>
              <a:ext cx="6967" cy="1205"/>
            </a:xfrm>
            <a:custGeom>
              <a:avLst/>
              <a:gdLst>
                <a:gd name="connsiteX0" fmla="*/ 0 w 6967"/>
                <a:gd name="connsiteY0" fmla="*/ 268 h 1205"/>
                <a:gd name="connsiteX1" fmla="*/ 0 w 6967"/>
                <a:gd name="connsiteY1" fmla="*/ 1206 h 1205"/>
                <a:gd name="connsiteX2" fmla="*/ 0 w 6967"/>
                <a:gd name="connsiteY2" fmla="*/ 1206 h 1205"/>
                <a:gd name="connsiteX3" fmla="*/ 6967 w 6967"/>
                <a:gd name="connsiteY3" fmla="*/ 1206 h 1205"/>
                <a:gd name="connsiteX4" fmla="*/ 6967 w 6967"/>
                <a:gd name="connsiteY4" fmla="*/ 0 h 1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7" h="1205">
                  <a:moveTo>
                    <a:pt x="0" y="268"/>
                  </a:moveTo>
                  <a:cubicBezTo>
                    <a:pt x="0" y="268"/>
                    <a:pt x="0" y="938"/>
                    <a:pt x="0" y="1206"/>
                  </a:cubicBezTo>
                  <a:lnTo>
                    <a:pt x="0" y="1206"/>
                  </a:lnTo>
                  <a:lnTo>
                    <a:pt x="6967" y="1206"/>
                  </a:lnTo>
                  <a:cubicBezTo>
                    <a:pt x="6967" y="1206"/>
                    <a:pt x="6967" y="402"/>
                    <a:pt x="6967" y="0"/>
                  </a:cubicBezTo>
                  <a:close/>
                </a:path>
              </a:pathLst>
            </a:custGeom>
            <a:solidFill>
              <a:srgbClr val="000000"/>
            </a:solidFill>
            <a:ln w="12700" cap="flat">
              <a:noFill/>
              <a:prstDash val="solid"/>
              <a:miter/>
            </a:ln>
          </p:spPr>
          <p:txBody>
            <a:bodyPr rtlCol="0" anchor="ctr"/>
            <a:lstStyle/>
            <a:p>
              <a:endParaRPr lang="en-US"/>
            </a:p>
          </p:txBody>
        </p:sp>
        <p:sp>
          <p:nvSpPr>
            <p:cNvPr id="1663" name="Freeform: Shape 1662">
              <a:extLst>
                <a:ext uri="{FF2B5EF4-FFF2-40B4-BE49-F238E27FC236}">
                  <a16:creationId xmlns:a16="http://schemas.microsoft.com/office/drawing/2014/main" id="{416C8BD1-0F47-4ACA-9661-8F1BA50A53F8}"/>
                </a:ext>
              </a:extLst>
            </p:cNvPr>
            <p:cNvSpPr/>
            <p:nvPr/>
          </p:nvSpPr>
          <p:spPr>
            <a:xfrm>
              <a:off x="3429557" y="6539049"/>
              <a:ext cx="75965" cy="2545"/>
            </a:xfrm>
            <a:custGeom>
              <a:avLst/>
              <a:gdLst>
                <a:gd name="connsiteX0" fmla="*/ 45418 w 75965"/>
                <a:gd name="connsiteY0" fmla="*/ 0 h 2545"/>
                <a:gd name="connsiteX1" fmla="*/ 24518 w 75965"/>
                <a:gd name="connsiteY1" fmla="*/ 0 h 2545"/>
                <a:gd name="connsiteX2" fmla="*/ 23459 w 75965"/>
                <a:gd name="connsiteY2" fmla="*/ 1339 h 2545"/>
                <a:gd name="connsiteX3" fmla="*/ 23178 w 75965"/>
                <a:gd name="connsiteY3" fmla="*/ 1339 h 2545"/>
                <a:gd name="connsiteX4" fmla="*/ 938 w 75965"/>
                <a:gd name="connsiteY4" fmla="*/ 1339 h 2545"/>
                <a:gd name="connsiteX5" fmla="*/ 0 w 75965"/>
                <a:gd name="connsiteY5" fmla="*/ 2545 h 2545"/>
                <a:gd name="connsiteX6" fmla="*/ 75965 w 75965"/>
                <a:gd name="connsiteY6" fmla="*/ 2545 h 2545"/>
                <a:gd name="connsiteX7" fmla="*/ 75965 w 75965"/>
                <a:gd name="connsiteY7"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65" h="2545">
                  <a:moveTo>
                    <a:pt x="45418" y="0"/>
                  </a:moveTo>
                  <a:lnTo>
                    <a:pt x="24518" y="0"/>
                  </a:lnTo>
                  <a:cubicBezTo>
                    <a:pt x="24598" y="656"/>
                    <a:pt x="24129" y="1259"/>
                    <a:pt x="23459" y="1339"/>
                  </a:cubicBezTo>
                  <a:cubicBezTo>
                    <a:pt x="23366" y="1353"/>
                    <a:pt x="23272" y="1353"/>
                    <a:pt x="23178" y="1339"/>
                  </a:cubicBezTo>
                  <a:lnTo>
                    <a:pt x="938" y="1339"/>
                  </a:lnTo>
                  <a:lnTo>
                    <a:pt x="0" y="2545"/>
                  </a:lnTo>
                  <a:lnTo>
                    <a:pt x="75965" y="2545"/>
                  </a:lnTo>
                  <a:lnTo>
                    <a:pt x="75965" y="0"/>
                  </a:lnTo>
                  <a:close/>
                </a:path>
              </a:pathLst>
            </a:custGeom>
            <a:solidFill>
              <a:srgbClr val="000000"/>
            </a:solidFill>
            <a:ln w="12700" cap="flat">
              <a:noFill/>
              <a:prstDash val="solid"/>
              <a:miter/>
            </a:ln>
          </p:spPr>
          <p:txBody>
            <a:bodyPr rtlCol="0" anchor="ctr"/>
            <a:lstStyle/>
            <a:p>
              <a:endParaRPr lang="en-US"/>
            </a:p>
          </p:txBody>
        </p:sp>
        <p:sp>
          <p:nvSpPr>
            <p:cNvPr id="1664" name="Freeform: Shape 1663">
              <a:extLst>
                <a:ext uri="{FF2B5EF4-FFF2-40B4-BE49-F238E27FC236}">
                  <a16:creationId xmlns:a16="http://schemas.microsoft.com/office/drawing/2014/main" id="{D21B7CA6-4DE9-4CA4-A2B7-23FFB6D42E22}"/>
                </a:ext>
              </a:extLst>
            </p:cNvPr>
            <p:cNvSpPr/>
            <p:nvPr/>
          </p:nvSpPr>
          <p:spPr>
            <a:xfrm>
              <a:off x="1777614" y="5842072"/>
              <a:ext cx="2679" cy="621023"/>
            </a:xfrm>
            <a:custGeom>
              <a:avLst/>
              <a:gdLst>
                <a:gd name="connsiteX0" fmla="*/ 0 w 2679"/>
                <a:gd name="connsiteY0" fmla="*/ 621023 h 621023"/>
                <a:gd name="connsiteX1" fmla="*/ 2680 w 2679"/>
                <a:gd name="connsiteY1" fmla="*/ 621023 h 621023"/>
                <a:gd name="connsiteX2" fmla="*/ 2680 w 2679"/>
                <a:gd name="connsiteY2" fmla="*/ 0 h 621023"/>
                <a:gd name="connsiteX3" fmla="*/ 0 w 2679"/>
                <a:gd name="connsiteY3" fmla="*/ 1875 h 621023"/>
              </a:gdLst>
              <a:ahLst/>
              <a:cxnLst>
                <a:cxn ang="0">
                  <a:pos x="connsiteX0" y="connsiteY0"/>
                </a:cxn>
                <a:cxn ang="0">
                  <a:pos x="connsiteX1" y="connsiteY1"/>
                </a:cxn>
                <a:cxn ang="0">
                  <a:pos x="connsiteX2" y="connsiteY2"/>
                </a:cxn>
                <a:cxn ang="0">
                  <a:pos x="connsiteX3" y="connsiteY3"/>
                </a:cxn>
              </a:cxnLst>
              <a:rect l="l" t="t" r="r" b="b"/>
              <a:pathLst>
                <a:path w="2679" h="621023">
                  <a:moveTo>
                    <a:pt x="0" y="621023"/>
                  </a:moveTo>
                  <a:lnTo>
                    <a:pt x="2680" y="621023"/>
                  </a:lnTo>
                  <a:lnTo>
                    <a:pt x="2680" y="0"/>
                  </a:lnTo>
                  <a:cubicBezTo>
                    <a:pt x="1929" y="814"/>
                    <a:pt x="1018" y="1455"/>
                    <a:pt x="0" y="1875"/>
                  </a:cubicBezTo>
                  <a:close/>
                </a:path>
              </a:pathLst>
            </a:custGeom>
            <a:solidFill>
              <a:srgbClr val="000000"/>
            </a:solidFill>
            <a:ln w="12700" cap="flat">
              <a:noFill/>
              <a:prstDash val="solid"/>
              <a:miter/>
            </a:ln>
          </p:spPr>
          <p:txBody>
            <a:bodyPr rtlCol="0" anchor="ctr"/>
            <a:lstStyle/>
            <a:p>
              <a:endParaRPr lang="en-US"/>
            </a:p>
          </p:txBody>
        </p:sp>
        <p:sp>
          <p:nvSpPr>
            <p:cNvPr id="1665" name="Freeform: Shape 1664">
              <a:extLst>
                <a:ext uri="{FF2B5EF4-FFF2-40B4-BE49-F238E27FC236}">
                  <a16:creationId xmlns:a16="http://schemas.microsoft.com/office/drawing/2014/main" id="{23D84D58-D15B-4F7A-A1D2-7969986B4D60}"/>
                </a:ext>
              </a:extLst>
            </p:cNvPr>
            <p:cNvSpPr/>
            <p:nvPr/>
          </p:nvSpPr>
          <p:spPr>
            <a:xfrm>
              <a:off x="1777614" y="5820907"/>
              <a:ext cx="2679" cy="11386"/>
            </a:xfrm>
            <a:custGeom>
              <a:avLst/>
              <a:gdLst>
                <a:gd name="connsiteX0" fmla="*/ 2680 w 2679"/>
                <a:gd name="connsiteY0" fmla="*/ 11386 h 11386"/>
                <a:gd name="connsiteX1" fmla="*/ 2680 w 2679"/>
                <a:gd name="connsiteY1" fmla="*/ 0 h 11386"/>
                <a:gd name="connsiteX2" fmla="*/ 0 w 2679"/>
                <a:gd name="connsiteY2" fmla="*/ 1875 h 11386"/>
                <a:gd name="connsiteX3" fmla="*/ 0 w 2679"/>
                <a:gd name="connsiteY3" fmla="*/ 9511 h 11386"/>
                <a:gd name="connsiteX4" fmla="*/ 2680 w 2679"/>
                <a:gd name="connsiteY4" fmla="*/ 11386 h 11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1386">
                  <a:moveTo>
                    <a:pt x="2680" y="11386"/>
                  </a:moveTo>
                  <a:lnTo>
                    <a:pt x="2680" y="0"/>
                  </a:lnTo>
                  <a:cubicBezTo>
                    <a:pt x="1929" y="814"/>
                    <a:pt x="1018" y="1455"/>
                    <a:pt x="0" y="1875"/>
                  </a:cubicBezTo>
                  <a:lnTo>
                    <a:pt x="0" y="9511"/>
                  </a:lnTo>
                  <a:cubicBezTo>
                    <a:pt x="1018" y="9932"/>
                    <a:pt x="1929" y="10572"/>
                    <a:pt x="2680" y="11386"/>
                  </a:cubicBezTo>
                  <a:close/>
                </a:path>
              </a:pathLst>
            </a:custGeom>
            <a:solidFill>
              <a:srgbClr val="000000"/>
            </a:solidFill>
            <a:ln w="12700" cap="flat">
              <a:noFill/>
              <a:prstDash val="solid"/>
              <a:miter/>
            </a:ln>
          </p:spPr>
          <p:txBody>
            <a:bodyPr rtlCol="0" anchor="ctr"/>
            <a:lstStyle/>
            <a:p>
              <a:endParaRPr lang="en-US"/>
            </a:p>
          </p:txBody>
        </p:sp>
        <p:sp>
          <p:nvSpPr>
            <p:cNvPr id="1666" name="Freeform: Shape 1665">
              <a:extLst>
                <a:ext uri="{FF2B5EF4-FFF2-40B4-BE49-F238E27FC236}">
                  <a16:creationId xmlns:a16="http://schemas.microsoft.com/office/drawing/2014/main" id="{EB153413-2613-4159-9D81-46A342E516CE}"/>
                </a:ext>
              </a:extLst>
            </p:cNvPr>
            <p:cNvSpPr/>
            <p:nvPr/>
          </p:nvSpPr>
          <p:spPr>
            <a:xfrm>
              <a:off x="1773594" y="5822916"/>
              <a:ext cx="2679" cy="6965"/>
            </a:xfrm>
            <a:custGeom>
              <a:avLst/>
              <a:gdLst>
                <a:gd name="connsiteX0" fmla="*/ 1340 w 2679"/>
                <a:gd name="connsiteY0" fmla="*/ 6966 h 6965"/>
                <a:gd name="connsiteX1" fmla="*/ 2680 w 2679"/>
                <a:gd name="connsiteY1" fmla="*/ 6966 h 6965"/>
                <a:gd name="connsiteX2" fmla="*/ 2680 w 2679"/>
                <a:gd name="connsiteY2" fmla="*/ 0 h 6965"/>
                <a:gd name="connsiteX3" fmla="*/ 0 w 2679"/>
                <a:gd name="connsiteY3" fmla="*/ 0 h 6965"/>
                <a:gd name="connsiteX4" fmla="*/ 0 w 2679"/>
                <a:gd name="connsiteY4" fmla="*/ 6698 h 6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965">
                  <a:moveTo>
                    <a:pt x="1340" y="6966"/>
                  </a:moveTo>
                  <a:lnTo>
                    <a:pt x="2680" y="6966"/>
                  </a:lnTo>
                  <a:lnTo>
                    <a:pt x="2680" y="0"/>
                  </a:lnTo>
                  <a:lnTo>
                    <a:pt x="0" y="0"/>
                  </a:lnTo>
                  <a:lnTo>
                    <a:pt x="0" y="6698"/>
                  </a:lnTo>
                  <a:close/>
                </a:path>
              </a:pathLst>
            </a:custGeom>
            <a:solidFill>
              <a:srgbClr val="000000"/>
            </a:solidFill>
            <a:ln w="12700" cap="flat">
              <a:noFill/>
              <a:prstDash val="solid"/>
              <a:miter/>
            </a:ln>
          </p:spPr>
          <p:txBody>
            <a:bodyPr rtlCol="0" anchor="ctr"/>
            <a:lstStyle/>
            <a:p>
              <a:endParaRPr lang="en-US"/>
            </a:p>
          </p:txBody>
        </p:sp>
        <p:sp>
          <p:nvSpPr>
            <p:cNvPr id="1667" name="Freeform: Shape 1666">
              <a:extLst>
                <a:ext uri="{FF2B5EF4-FFF2-40B4-BE49-F238E27FC236}">
                  <a16:creationId xmlns:a16="http://schemas.microsoft.com/office/drawing/2014/main" id="{309DEC02-7894-4610-9863-99881CC2ADB7}"/>
                </a:ext>
              </a:extLst>
            </p:cNvPr>
            <p:cNvSpPr/>
            <p:nvPr/>
          </p:nvSpPr>
          <p:spPr>
            <a:xfrm>
              <a:off x="1774666" y="5796125"/>
              <a:ext cx="1205" cy="803"/>
            </a:xfrm>
            <a:custGeom>
              <a:avLst/>
              <a:gdLst>
                <a:gd name="connsiteX0" fmla="*/ 804 w 1205"/>
                <a:gd name="connsiteY0" fmla="*/ 134 h 803"/>
                <a:gd name="connsiteX1" fmla="*/ 0 w 1205"/>
                <a:gd name="connsiteY1" fmla="*/ 804 h 803"/>
                <a:gd name="connsiteX2" fmla="*/ 1206 w 1205"/>
                <a:gd name="connsiteY2" fmla="*/ 0 h 803"/>
              </a:gdLst>
              <a:ahLst/>
              <a:cxnLst>
                <a:cxn ang="0">
                  <a:pos x="connsiteX0" y="connsiteY0"/>
                </a:cxn>
                <a:cxn ang="0">
                  <a:pos x="connsiteX1" y="connsiteY1"/>
                </a:cxn>
                <a:cxn ang="0">
                  <a:pos x="connsiteX2" y="connsiteY2"/>
                </a:cxn>
              </a:cxnLst>
              <a:rect l="l" t="t" r="r" b="b"/>
              <a:pathLst>
                <a:path w="1205" h="803">
                  <a:moveTo>
                    <a:pt x="804" y="134"/>
                  </a:moveTo>
                  <a:lnTo>
                    <a:pt x="0" y="804"/>
                  </a:lnTo>
                  <a:cubicBezTo>
                    <a:pt x="0" y="804"/>
                    <a:pt x="0" y="134"/>
                    <a:pt x="1206" y="0"/>
                  </a:cubicBezTo>
                  <a:close/>
                </a:path>
              </a:pathLst>
            </a:custGeom>
            <a:solidFill>
              <a:srgbClr val="000000"/>
            </a:solidFill>
            <a:ln w="12700" cap="flat">
              <a:noFill/>
              <a:prstDash val="solid"/>
              <a:miter/>
            </a:ln>
          </p:spPr>
          <p:txBody>
            <a:bodyPr rtlCol="0" anchor="ctr"/>
            <a:lstStyle/>
            <a:p>
              <a:endParaRPr lang="en-US"/>
            </a:p>
          </p:txBody>
        </p:sp>
        <p:sp>
          <p:nvSpPr>
            <p:cNvPr id="1668" name="Freeform: Shape 1667">
              <a:extLst>
                <a:ext uri="{FF2B5EF4-FFF2-40B4-BE49-F238E27FC236}">
                  <a16:creationId xmlns:a16="http://schemas.microsoft.com/office/drawing/2014/main" id="{203A7022-91C4-4BD3-9CA1-1D38F8E61322}"/>
                </a:ext>
              </a:extLst>
            </p:cNvPr>
            <p:cNvSpPr/>
            <p:nvPr/>
          </p:nvSpPr>
          <p:spPr>
            <a:xfrm>
              <a:off x="1767734" y="5800411"/>
              <a:ext cx="16444" cy="22638"/>
            </a:xfrm>
            <a:custGeom>
              <a:avLst/>
              <a:gdLst>
                <a:gd name="connsiteX0" fmla="*/ 769 w 16444"/>
                <a:gd name="connsiteY0" fmla="*/ 19290 h 22638"/>
                <a:gd name="connsiteX1" fmla="*/ 3315 w 16444"/>
                <a:gd name="connsiteY1" fmla="*/ 21835 h 22638"/>
                <a:gd name="connsiteX2" fmla="*/ 4923 w 16444"/>
                <a:gd name="connsiteY2" fmla="*/ 22639 h 22638"/>
                <a:gd name="connsiteX3" fmla="*/ 8406 w 16444"/>
                <a:gd name="connsiteY3" fmla="*/ 22639 h 22638"/>
                <a:gd name="connsiteX4" fmla="*/ 9746 w 16444"/>
                <a:gd name="connsiteY4" fmla="*/ 22639 h 22638"/>
                <a:gd name="connsiteX5" fmla="*/ 12425 w 16444"/>
                <a:gd name="connsiteY5" fmla="*/ 20763 h 22638"/>
                <a:gd name="connsiteX6" fmla="*/ 14033 w 16444"/>
                <a:gd name="connsiteY6" fmla="*/ 17950 h 22638"/>
                <a:gd name="connsiteX7" fmla="*/ 14033 w 16444"/>
                <a:gd name="connsiteY7" fmla="*/ 17950 h 22638"/>
                <a:gd name="connsiteX8" fmla="*/ 16445 w 16444"/>
                <a:gd name="connsiteY8" fmla="*/ 9779 h 22638"/>
                <a:gd name="connsiteX9" fmla="*/ 11086 w 16444"/>
                <a:gd name="connsiteY9" fmla="*/ 9779 h 22638"/>
                <a:gd name="connsiteX10" fmla="*/ 3851 w 16444"/>
                <a:gd name="connsiteY10" fmla="*/ 2545 h 22638"/>
                <a:gd name="connsiteX11" fmla="*/ 3851 w 16444"/>
                <a:gd name="connsiteY11" fmla="*/ 0 h 22638"/>
                <a:gd name="connsiteX12" fmla="*/ 3851 w 16444"/>
                <a:gd name="connsiteY12" fmla="*/ 0 h 22638"/>
                <a:gd name="connsiteX13" fmla="*/ 3047 w 16444"/>
                <a:gd name="connsiteY13" fmla="*/ 2411 h 22638"/>
                <a:gd name="connsiteX14" fmla="*/ 501 w 16444"/>
                <a:gd name="connsiteY14" fmla="*/ 11118 h 22638"/>
                <a:gd name="connsiteX15" fmla="*/ 501 w 16444"/>
                <a:gd name="connsiteY15" fmla="*/ 13396 h 22638"/>
                <a:gd name="connsiteX16" fmla="*/ 501 w 16444"/>
                <a:gd name="connsiteY16" fmla="*/ 13396 h 22638"/>
                <a:gd name="connsiteX17" fmla="*/ 769 w 16444"/>
                <a:gd name="connsiteY17" fmla="*/ 19290 h 22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44" h="22638">
                  <a:moveTo>
                    <a:pt x="769" y="19290"/>
                  </a:moveTo>
                  <a:cubicBezTo>
                    <a:pt x="1372" y="20355"/>
                    <a:pt x="2256" y="21235"/>
                    <a:pt x="3315" y="21835"/>
                  </a:cubicBezTo>
                  <a:cubicBezTo>
                    <a:pt x="3824" y="22156"/>
                    <a:pt x="4360" y="22426"/>
                    <a:pt x="4923" y="22639"/>
                  </a:cubicBezTo>
                  <a:lnTo>
                    <a:pt x="8406" y="22639"/>
                  </a:lnTo>
                  <a:lnTo>
                    <a:pt x="9746" y="22639"/>
                  </a:lnTo>
                  <a:cubicBezTo>
                    <a:pt x="10764" y="22218"/>
                    <a:pt x="11675" y="21578"/>
                    <a:pt x="12425" y="20763"/>
                  </a:cubicBezTo>
                  <a:cubicBezTo>
                    <a:pt x="13189" y="19978"/>
                    <a:pt x="13752" y="19010"/>
                    <a:pt x="14033" y="17950"/>
                  </a:cubicBezTo>
                  <a:lnTo>
                    <a:pt x="14033" y="17950"/>
                  </a:lnTo>
                  <a:lnTo>
                    <a:pt x="16445" y="9779"/>
                  </a:lnTo>
                  <a:lnTo>
                    <a:pt x="11086" y="9779"/>
                  </a:lnTo>
                  <a:cubicBezTo>
                    <a:pt x="7093" y="9779"/>
                    <a:pt x="3851" y="6540"/>
                    <a:pt x="3851" y="2545"/>
                  </a:cubicBezTo>
                  <a:cubicBezTo>
                    <a:pt x="3717" y="1703"/>
                    <a:pt x="3717" y="843"/>
                    <a:pt x="3851" y="0"/>
                  </a:cubicBezTo>
                  <a:cubicBezTo>
                    <a:pt x="3851" y="0"/>
                    <a:pt x="3851" y="0"/>
                    <a:pt x="3851" y="0"/>
                  </a:cubicBezTo>
                  <a:lnTo>
                    <a:pt x="3047" y="2411"/>
                  </a:lnTo>
                  <a:lnTo>
                    <a:pt x="501" y="11118"/>
                  </a:lnTo>
                  <a:lnTo>
                    <a:pt x="501" y="13396"/>
                  </a:lnTo>
                  <a:lnTo>
                    <a:pt x="501" y="13396"/>
                  </a:lnTo>
                  <a:cubicBezTo>
                    <a:pt x="-249" y="15309"/>
                    <a:pt x="-155" y="17452"/>
                    <a:pt x="769" y="19290"/>
                  </a:cubicBezTo>
                  <a:close/>
                </a:path>
              </a:pathLst>
            </a:custGeom>
            <a:solidFill>
              <a:srgbClr val="000000"/>
            </a:solidFill>
            <a:ln w="12700" cap="flat">
              <a:noFill/>
              <a:prstDash val="solid"/>
              <a:miter/>
            </a:ln>
          </p:spPr>
          <p:txBody>
            <a:bodyPr rtlCol="0" anchor="ctr"/>
            <a:lstStyle/>
            <a:p>
              <a:endParaRPr lang="en-US"/>
            </a:p>
          </p:txBody>
        </p:sp>
        <p:sp>
          <p:nvSpPr>
            <p:cNvPr id="1669" name="Freeform: Shape 1668">
              <a:extLst>
                <a:ext uri="{FF2B5EF4-FFF2-40B4-BE49-F238E27FC236}">
                  <a16:creationId xmlns:a16="http://schemas.microsoft.com/office/drawing/2014/main" id="{F673476A-46A9-4D54-95F2-057FF4944897}"/>
                </a:ext>
              </a:extLst>
            </p:cNvPr>
            <p:cNvSpPr/>
            <p:nvPr/>
          </p:nvSpPr>
          <p:spPr>
            <a:xfrm>
              <a:off x="2332013" y="6851570"/>
              <a:ext cx="4823" cy="2143"/>
            </a:xfrm>
            <a:custGeom>
              <a:avLst/>
              <a:gdLst>
                <a:gd name="connsiteX0" fmla="*/ 0 w 4823"/>
                <a:gd name="connsiteY0" fmla="*/ 0 h 2143"/>
                <a:gd name="connsiteX1" fmla="*/ 0 w 4823"/>
                <a:gd name="connsiteY1" fmla="*/ 2143 h 2143"/>
                <a:gd name="connsiteX2" fmla="*/ 4823 w 4823"/>
                <a:gd name="connsiteY2" fmla="*/ 2143 h 2143"/>
                <a:gd name="connsiteX3" fmla="*/ 2278 w 4823"/>
                <a:gd name="connsiteY3" fmla="*/ 804 h 2143"/>
                <a:gd name="connsiteX4" fmla="*/ 0 w 4823"/>
                <a:gd name="connsiteY4" fmla="*/ 0 h 2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3" h="2143">
                  <a:moveTo>
                    <a:pt x="0" y="0"/>
                  </a:moveTo>
                  <a:lnTo>
                    <a:pt x="0" y="2143"/>
                  </a:lnTo>
                  <a:lnTo>
                    <a:pt x="4823" y="2143"/>
                  </a:lnTo>
                  <a:lnTo>
                    <a:pt x="2278" y="804"/>
                  </a:lnTo>
                  <a:cubicBezTo>
                    <a:pt x="1581" y="402"/>
                    <a:pt x="804" y="121"/>
                    <a:pt x="0" y="0"/>
                  </a:cubicBezTo>
                  <a:close/>
                </a:path>
              </a:pathLst>
            </a:custGeom>
            <a:solidFill>
              <a:srgbClr val="000000"/>
            </a:solidFill>
            <a:ln w="12700" cap="flat">
              <a:noFill/>
              <a:prstDash val="solid"/>
              <a:miter/>
            </a:ln>
          </p:spPr>
          <p:txBody>
            <a:bodyPr rtlCol="0" anchor="ctr"/>
            <a:lstStyle/>
            <a:p>
              <a:endParaRPr lang="en-US"/>
            </a:p>
          </p:txBody>
        </p:sp>
        <p:sp>
          <p:nvSpPr>
            <p:cNvPr id="1670" name="Freeform: Shape 1669">
              <a:extLst>
                <a:ext uri="{FF2B5EF4-FFF2-40B4-BE49-F238E27FC236}">
                  <a16:creationId xmlns:a16="http://schemas.microsoft.com/office/drawing/2014/main" id="{4F7B7CE7-60D9-454D-9EC3-04B8E0C1488A}"/>
                </a:ext>
              </a:extLst>
            </p:cNvPr>
            <p:cNvSpPr/>
            <p:nvPr/>
          </p:nvSpPr>
          <p:spPr>
            <a:xfrm>
              <a:off x="2325582" y="6851570"/>
              <a:ext cx="3751" cy="2143"/>
            </a:xfrm>
            <a:custGeom>
              <a:avLst/>
              <a:gdLst>
                <a:gd name="connsiteX0" fmla="*/ 0 w 3751"/>
                <a:gd name="connsiteY0" fmla="*/ 2143 h 2143"/>
                <a:gd name="connsiteX1" fmla="*/ 3751 w 3751"/>
                <a:gd name="connsiteY1" fmla="*/ 2143 h 2143"/>
                <a:gd name="connsiteX2" fmla="*/ 3751 w 3751"/>
                <a:gd name="connsiteY2" fmla="*/ 0 h 2143"/>
                <a:gd name="connsiteX3" fmla="*/ 0 w 3751"/>
                <a:gd name="connsiteY3" fmla="*/ 2143 h 2143"/>
              </a:gdLst>
              <a:ahLst/>
              <a:cxnLst>
                <a:cxn ang="0">
                  <a:pos x="connsiteX0" y="connsiteY0"/>
                </a:cxn>
                <a:cxn ang="0">
                  <a:pos x="connsiteX1" y="connsiteY1"/>
                </a:cxn>
                <a:cxn ang="0">
                  <a:pos x="connsiteX2" y="connsiteY2"/>
                </a:cxn>
                <a:cxn ang="0">
                  <a:pos x="connsiteX3" y="connsiteY3"/>
                </a:cxn>
              </a:cxnLst>
              <a:rect l="l" t="t" r="r" b="b"/>
              <a:pathLst>
                <a:path w="3751" h="2143">
                  <a:moveTo>
                    <a:pt x="0" y="2143"/>
                  </a:moveTo>
                  <a:lnTo>
                    <a:pt x="3751" y="2143"/>
                  </a:lnTo>
                  <a:lnTo>
                    <a:pt x="3751" y="0"/>
                  </a:lnTo>
                  <a:cubicBezTo>
                    <a:pt x="2304" y="308"/>
                    <a:pt x="992" y="1058"/>
                    <a:pt x="0" y="2143"/>
                  </a:cubicBezTo>
                  <a:close/>
                </a:path>
              </a:pathLst>
            </a:custGeom>
            <a:solidFill>
              <a:srgbClr val="000000"/>
            </a:solidFill>
            <a:ln w="12700" cap="flat">
              <a:noFill/>
              <a:prstDash val="solid"/>
              <a:miter/>
            </a:ln>
          </p:spPr>
          <p:txBody>
            <a:bodyPr rtlCol="0" anchor="ctr"/>
            <a:lstStyle/>
            <a:p>
              <a:endParaRPr lang="en-US"/>
            </a:p>
          </p:txBody>
        </p:sp>
        <p:sp>
          <p:nvSpPr>
            <p:cNvPr id="1671" name="Freeform: Shape 1670">
              <a:extLst>
                <a:ext uri="{FF2B5EF4-FFF2-40B4-BE49-F238E27FC236}">
                  <a16:creationId xmlns:a16="http://schemas.microsoft.com/office/drawing/2014/main" id="{361ECC5A-5EA5-4B81-B9CD-5F280A1F3FEE}"/>
                </a:ext>
              </a:extLst>
            </p:cNvPr>
            <p:cNvSpPr/>
            <p:nvPr/>
          </p:nvSpPr>
          <p:spPr>
            <a:xfrm>
              <a:off x="2329333" y="6547354"/>
              <a:ext cx="2679" cy="306358"/>
            </a:xfrm>
            <a:custGeom>
              <a:avLst/>
              <a:gdLst>
                <a:gd name="connsiteX0" fmla="*/ 2680 w 2679"/>
                <a:gd name="connsiteY0" fmla="*/ 0 h 306358"/>
                <a:gd name="connsiteX1" fmla="*/ 1340 w 2679"/>
                <a:gd name="connsiteY1" fmla="*/ 0 h 306358"/>
                <a:gd name="connsiteX2" fmla="*/ 0 w 2679"/>
                <a:gd name="connsiteY2" fmla="*/ 0 h 306358"/>
                <a:gd name="connsiteX3" fmla="*/ 0 w 2679"/>
                <a:gd name="connsiteY3" fmla="*/ 306359 h 306358"/>
                <a:gd name="connsiteX4" fmla="*/ 2680 w 2679"/>
                <a:gd name="connsiteY4" fmla="*/ 306359 h 306358"/>
                <a:gd name="connsiteX5" fmla="*/ 2680 w 2679"/>
                <a:gd name="connsiteY5" fmla="*/ 0 h 30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06358">
                  <a:moveTo>
                    <a:pt x="2680" y="0"/>
                  </a:moveTo>
                  <a:lnTo>
                    <a:pt x="1340" y="0"/>
                  </a:lnTo>
                  <a:lnTo>
                    <a:pt x="0" y="0"/>
                  </a:lnTo>
                  <a:lnTo>
                    <a:pt x="0" y="306359"/>
                  </a:lnTo>
                  <a:lnTo>
                    <a:pt x="2680" y="306359"/>
                  </a:lnTo>
                  <a:lnTo>
                    <a:pt x="2680" y="0"/>
                  </a:lnTo>
                  <a:close/>
                </a:path>
              </a:pathLst>
            </a:custGeom>
            <a:solidFill>
              <a:srgbClr val="000000"/>
            </a:solidFill>
            <a:ln w="12700" cap="flat">
              <a:noFill/>
              <a:prstDash val="solid"/>
              <a:miter/>
            </a:ln>
          </p:spPr>
          <p:txBody>
            <a:bodyPr rtlCol="0" anchor="ctr"/>
            <a:lstStyle/>
            <a:p>
              <a:endParaRPr lang="en-US"/>
            </a:p>
          </p:txBody>
        </p:sp>
        <p:sp>
          <p:nvSpPr>
            <p:cNvPr id="1672" name="Freeform: Shape 1671">
              <a:extLst>
                <a:ext uri="{FF2B5EF4-FFF2-40B4-BE49-F238E27FC236}">
                  <a16:creationId xmlns:a16="http://schemas.microsoft.com/office/drawing/2014/main" id="{54D0CED0-5AE3-4DB2-AF1F-D67D7BBC3B3C}"/>
                </a:ext>
              </a:extLst>
            </p:cNvPr>
            <p:cNvSpPr/>
            <p:nvPr/>
          </p:nvSpPr>
          <p:spPr>
            <a:xfrm>
              <a:off x="708071" y="6262294"/>
              <a:ext cx="258710" cy="1205"/>
            </a:xfrm>
            <a:custGeom>
              <a:avLst/>
              <a:gdLst>
                <a:gd name="connsiteX0" fmla="*/ 0 w 258710"/>
                <a:gd name="connsiteY0" fmla="*/ 0 h 1205"/>
                <a:gd name="connsiteX1" fmla="*/ 258711 w 258710"/>
                <a:gd name="connsiteY1" fmla="*/ 0 h 1205"/>
                <a:gd name="connsiteX2" fmla="*/ 258711 w 258710"/>
                <a:gd name="connsiteY2" fmla="*/ 1206 h 1205"/>
                <a:gd name="connsiteX3" fmla="*/ 0 w 258710"/>
                <a:gd name="connsiteY3" fmla="*/ 1206 h 1205"/>
              </a:gdLst>
              <a:ahLst/>
              <a:cxnLst>
                <a:cxn ang="0">
                  <a:pos x="connsiteX0" y="connsiteY0"/>
                </a:cxn>
                <a:cxn ang="0">
                  <a:pos x="connsiteX1" y="connsiteY1"/>
                </a:cxn>
                <a:cxn ang="0">
                  <a:pos x="connsiteX2" y="connsiteY2"/>
                </a:cxn>
                <a:cxn ang="0">
                  <a:pos x="connsiteX3" y="connsiteY3"/>
                </a:cxn>
              </a:cxnLst>
              <a:rect l="l" t="t" r="r" b="b"/>
              <a:pathLst>
                <a:path w="258710" h="1205">
                  <a:moveTo>
                    <a:pt x="0" y="0"/>
                  </a:moveTo>
                  <a:lnTo>
                    <a:pt x="258711" y="0"/>
                  </a:lnTo>
                  <a:lnTo>
                    <a:pt x="258711" y="1206"/>
                  </a:lnTo>
                  <a:lnTo>
                    <a:pt x="0" y="1206"/>
                  </a:lnTo>
                  <a:close/>
                </a:path>
              </a:pathLst>
            </a:custGeom>
            <a:solidFill>
              <a:srgbClr val="000000"/>
            </a:solidFill>
            <a:ln w="12700" cap="flat">
              <a:noFill/>
              <a:prstDash val="solid"/>
              <a:miter/>
            </a:ln>
          </p:spPr>
          <p:txBody>
            <a:bodyPr rtlCol="0" anchor="ctr"/>
            <a:lstStyle/>
            <a:p>
              <a:endParaRPr lang="en-US"/>
            </a:p>
          </p:txBody>
        </p:sp>
        <p:sp>
          <p:nvSpPr>
            <p:cNvPr id="1673" name="Freeform: Shape 1672">
              <a:extLst>
                <a:ext uri="{FF2B5EF4-FFF2-40B4-BE49-F238E27FC236}">
                  <a16:creationId xmlns:a16="http://schemas.microsoft.com/office/drawing/2014/main" id="{B48E5618-BE92-4746-93DD-82F741AAEFF6}"/>
                </a:ext>
              </a:extLst>
            </p:cNvPr>
            <p:cNvSpPr/>
            <p:nvPr/>
          </p:nvSpPr>
          <p:spPr>
            <a:xfrm>
              <a:off x="1430076" y="5842608"/>
              <a:ext cx="2545" cy="290150"/>
            </a:xfrm>
            <a:custGeom>
              <a:avLst/>
              <a:gdLst>
                <a:gd name="connsiteX0" fmla="*/ 1340 w 2545"/>
                <a:gd name="connsiteY0" fmla="*/ 290150 h 290150"/>
                <a:gd name="connsiteX1" fmla="*/ 2546 w 2545"/>
                <a:gd name="connsiteY1" fmla="*/ 290150 h 290150"/>
                <a:gd name="connsiteX2" fmla="*/ 2546 w 2545"/>
                <a:gd name="connsiteY2" fmla="*/ 1340 h 290150"/>
                <a:gd name="connsiteX3" fmla="*/ 0 w 2545"/>
                <a:gd name="connsiteY3" fmla="*/ 0 h 290150"/>
                <a:gd name="connsiteX4" fmla="*/ 0 w 2545"/>
                <a:gd name="connsiteY4" fmla="*/ 290150 h 29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90150">
                  <a:moveTo>
                    <a:pt x="1340" y="290150"/>
                  </a:moveTo>
                  <a:lnTo>
                    <a:pt x="2546" y="290150"/>
                  </a:lnTo>
                  <a:lnTo>
                    <a:pt x="2546" y="1340"/>
                  </a:lnTo>
                  <a:cubicBezTo>
                    <a:pt x="1608" y="1082"/>
                    <a:pt x="737" y="626"/>
                    <a:pt x="0" y="0"/>
                  </a:cubicBezTo>
                  <a:lnTo>
                    <a:pt x="0" y="290150"/>
                  </a:lnTo>
                  <a:close/>
                </a:path>
              </a:pathLst>
            </a:custGeom>
            <a:solidFill>
              <a:srgbClr val="000000"/>
            </a:solidFill>
            <a:ln w="12700" cap="flat">
              <a:noFill/>
              <a:prstDash val="solid"/>
              <a:miter/>
            </a:ln>
          </p:spPr>
          <p:txBody>
            <a:bodyPr rtlCol="0" anchor="ctr"/>
            <a:lstStyle/>
            <a:p>
              <a:endParaRPr lang="en-US"/>
            </a:p>
          </p:txBody>
        </p:sp>
        <p:sp>
          <p:nvSpPr>
            <p:cNvPr id="1674" name="Freeform: Shape 1673">
              <a:extLst>
                <a:ext uri="{FF2B5EF4-FFF2-40B4-BE49-F238E27FC236}">
                  <a16:creationId xmlns:a16="http://schemas.microsoft.com/office/drawing/2014/main" id="{AA331DD5-31C3-4ED4-BF55-3A0B6673C3E9}"/>
                </a:ext>
              </a:extLst>
            </p:cNvPr>
            <p:cNvSpPr/>
            <p:nvPr/>
          </p:nvSpPr>
          <p:spPr>
            <a:xfrm>
              <a:off x="1430076" y="5822909"/>
              <a:ext cx="2545" cy="8848"/>
            </a:xfrm>
            <a:custGeom>
              <a:avLst/>
              <a:gdLst>
                <a:gd name="connsiteX0" fmla="*/ 0 w 2545"/>
                <a:gd name="connsiteY0" fmla="*/ 1213 h 8848"/>
                <a:gd name="connsiteX1" fmla="*/ 0 w 2545"/>
                <a:gd name="connsiteY1" fmla="*/ 8849 h 8848"/>
                <a:gd name="connsiteX2" fmla="*/ 2546 w 2545"/>
                <a:gd name="connsiteY2" fmla="*/ 7375 h 8848"/>
                <a:gd name="connsiteX3" fmla="*/ 2546 w 2545"/>
                <a:gd name="connsiteY3" fmla="*/ 1213 h 8848"/>
                <a:gd name="connsiteX4" fmla="*/ 1340 w 2545"/>
                <a:gd name="connsiteY4" fmla="*/ 8 h 8848"/>
                <a:gd name="connsiteX5" fmla="*/ 13 w 2545"/>
                <a:gd name="connsiteY5" fmla="*/ 1071 h 8848"/>
                <a:gd name="connsiteX6" fmla="*/ 0 w 2545"/>
                <a:gd name="connsiteY6" fmla="*/ 1213 h 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848">
                  <a:moveTo>
                    <a:pt x="0" y="1213"/>
                  </a:moveTo>
                  <a:lnTo>
                    <a:pt x="0" y="8849"/>
                  </a:lnTo>
                  <a:cubicBezTo>
                    <a:pt x="737" y="8182"/>
                    <a:pt x="1608" y="7679"/>
                    <a:pt x="2546" y="7375"/>
                  </a:cubicBezTo>
                  <a:lnTo>
                    <a:pt x="2546" y="1213"/>
                  </a:lnTo>
                  <a:cubicBezTo>
                    <a:pt x="2546" y="547"/>
                    <a:pt x="2010" y="8"/>
                    <a:pt x="1340" y="8"/>
                  </a:cubicBezTo>
                  <a:cubicBezTo>
                    <a:pt x="683" y="-66"/>
                    <a:pt x="80" y="409"/>
                    <a:pt x="13" y="1071"/>
                  </a:cubicBezTo>
                  <a:cubicBezTo>
                    <a:pt x="0" y="1119"/>
                    <a:pt x="0" y="1166"/>
                    <a:pt x="0" y="1213"/>
                  </a:cubicBezTo>
                  <a:close/>
                </a:path>
              </a:pathLst>
            </a:custGeom>
            <a:solidFill>
              <a:srgbClr val="000000"/>
            </a:solidFill>
            <a:ln w="12700" cap="flat">
              <a:noFill/>
              <a:prstDash val="solid"/>
              <a:miter/>
            </a:ln>
          </p:spPr>
          <p:txBody>
            <a:bodyPr rtlCol="0" anchor="ctr"/>
            <a:lstStyle/>
            <a:p>
              <a:endParaRPr lang="en-US"/>
            </a:p>
          </p:txBody>
        </p:sp>
        <p:sp>
          <p:nvSpPr>
            <p:cNvPr id="1675" name="Freeform: Shape 1674">
              <a:extLst>
                <a:ext uri="{FF2B5EF4-FFF2-40B4-BE49-F238E27FC236}">
                  <a16:creationId xmlns:a16="http://schemas.microsoft.com/office/drawing/2014/main" id="{68811ABA-FA6C-4F22-BB76-788533A2ACEC}"/>
                </a:ext>
              </a:extLst>
            </p:cNvPr>
            <p:cNvSpPr/>
            <p:nvPr/>
          </p:nvSpPr>
          <p:spPr>
            <a:xfrm>
              <a:off x="1773594" y="5844215"/>
              <a:ext cx="2679" cy="618879"/>
            </a:xfrm>
            <a:custGeom>
              <a:avLst/>
              <a:gdLst>
                <a:gd name="connsiteX0" fmla="*/ 2680 w 2679"/>
                <a:gd name="connsiteY0" fmla="*/ 618880 h 618879"/>
                <a:gd name="connsiteX1" fmla="*/ 2680 w 2679"/>
                <a:gd name="connsiteY1" fmla="*/ 0 h 618879"/>
                <a:gd name="connsiteX2" fmla="*/ 1340 w 2679"/>
                <a:gd name="connsiteY2" fmla="*/ 0 h 618879"/>
                <a:gd name="connsiteX3" fmla="*/ 0 w 2679"/>
                <a:gd name="connsiteY3" fmla="*/ 0 h 618879"/>
                <a:gd name="connsiteX4" fmla="*/ 0 w 2679"/>
                <a:gd name="connsiteY4" fmla="*/ 618612 h 618879"/>
                <a:gd name="connsiteX5" fmla="*/ 2680 w 2679"/>
                <a:gd name="connsiteY5" fmla="*/ 618612 h 61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618879">
                  <a:moveTo>
                    <a:pt x="2680" y="618880"/>
                  </a:moveTo>
                  <a:lnTo>
                    <a:pt x="2680" y="0"/>
                  </a:lnTo>
                  <a:lnTo>
                    <a:pt x="1340" y="0"/>
                  </a:lnTo>
                  <a:lnTo>
                    <a:pt x="0" y="0"/>
                  </a:lnTo>
                  <a:lnTo>
                    <a:pt x="0" y="618612"/>
                  </a:lnTo>
                  <a:lnTo>
                    <a:pt x="2680" y="618612"/>
                  </a:lnTo>
                  <a:close/>
                </a:path>
              </a:pathLst>
            </a:custGeom>
            <a:solidFill>
              <a:srgbClr val="000000"/>
            </a:solidFill>
            <a:ln w="12700" cap="flat">
              <a:noFill/>
              <a:prstDash val="solid"/>
              <a:miter/>
            </a:ln>
          </p:spPr>
          <p:txBody>
            <a:bodyPr rtlCol="0" anchor="ctr"/>
            <a:lstStyle/>
            <a:p>
              <a:endParaRPr lang="en-US"/>
            </a:p>
          </p:txBody>
        </p:sp>
        <p:sp>
          <p:nvSpPr>
            <p:cNvPr id="1676" name="Freeform: Shape 1675">
              <a:extLst>
                <a:ext uri="{FF2B5EF4-FFF2-40B4-BE49-F238E27FC236}">
                  <a16:creationId xmlns:a16="http://schemas.microsoft.com/office/drawing/2014/main" id="{62E1E758-8DBD-4334-9795-D72896A3C93D}"/>
                </a:ext>
              </a:extLst>
            </p:cNvPr>
            <p:cNvSpPr/>
            <p:nvPr/>
          </p:nvSpPr>
          <p:spPr>
            <a:xfrm>
              <a:off x="3416025" y="6498728"/>
              <a:ext cx="14603" cy="36436"/>
            </a:xfrm>
            <a:custGeom>
              <a:avLst/>
              <a:gdLst>
                <a:gd name="connsiteX0" fmla="*/ 7771 w 14603"/>
                <a:gd name="connsiteY0" fmla="*/ 31346 h 36436"/>
                <a:gd name="connsiteX1" fmla="*/ 14604 w 14603"/>
                <a:gd name="connsiteY1" fmla="*/ 36436 h 36436"/>
                <a:gd name="connsiteX2" fmla="*/ 14604 w 14603"/>
                <a:gd name="connsiteY2" fmla="*/ 7234 h 36436"/>
                <a:gd name="connsiteX3" fmla="*/ 7369 w 14603"/>
                <a:gd name="connsiteY3" fmla="*/ 7234 h 36436"/>
                <a:gd name="connsiteX4" fmla="*/ 0 w 14603"/>
                <a:gd name="connsiteY4" fmla="*/ 0 h 36436"/>
                <a:gd name="connsiteX5" fmla="*/ 0 w 14603"/>
                <a:gd name="connsiteY5" fmla="*/ 31346 h 36436"/>
                <a:gd name="connsiteX6" fmla="*/ 7771 w 14603"/>
                <a:gd name="connsiteY6" fmla="*/ 31346 h 3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6436">
                  <a:moveTo>
                    <a:pt x="7771" y="31346"/>
                  </a:moveTo>
                  <a:cubicBezTo>
                    <a:pt x="10906" y="31386"/>
                    <a:pt x="13679" y="33436"/>
                    <a:pt x="14604" y="36436"/>
                  </a:cubicBezTo>
                  <a:lnTo>
                    <a:pt x="14604" y="7234"/>
                  </a:lnTo>
                  <a:lnTo>
                    <a:pt x="7369" y="7234"/>
                  </a:lnTo>
                  <a:cubicBezTo>
                    <a:pt x="3349" y="7234"/>
                    <a:pt x="67" y="4019"/>
                    <a:pt x="0" y="0"/>
                  </a:cubicBezTo>
                  <a:lnTo>
                    <a:pt x="0" y="31346"/>
                  </a:lnTo>
                  <a:lnTo>
                    <a:pt x="7771" y="31346"/>
                  </a:lnTo>
                  <a:close/>
                </a:path>
              </a:pathLst>
            </a:custGeom>
            <a:solidFill>
              <a:srgbClr val="000000"/>
            </a:solidFill>
            <a:ln w="12700" cap="flat">
              <a:noFill/>
              <a:prstDash val="solid"/>
              <a:miter/>
            </a:ln>
          </p:spPr>
          <p:txBody>
            <a:bodyPr rtlCol="0" anchor="ctr"/>
            <a:lstStyle/>
            <a:p>
              <a:endParaRPr lang="en-US"/>
            </a:p>
          </p:txBody>
        </p:sp>
        <p:sp>
          <p:nvSpPr>
            <p:cNvPr id="1677" name="Freeform: Shape 1676">
              <a:extLst>
                <a:ext uri="{FF2B5EF4-FFF2-40B4-BE49-F238E27FC236}">
                  <a16:creationId xmlns:a16="http://schemas.microsoft.com/office/drawing/2014/main" id="{5FF85B89-C368-4F5F-A134-87EC95EE0B05}"/>
                </a:ext>
              </a:extLst>
            </p:cNvPr>
            <p:cNvSpPr/>
            <p:nvPr/>
          </p:nvSpPr>
          <p:spPr>
            <a:xfrm>
              <a:off x="1957814" y="5646950"/>
              <a:ext cx="14603" cy="148371"/>
            </a:xfrm>
            <a:custGeom>
              <a:avLst/>
              <a:gdLst>
                <a:gd name="connsiteX0" fmla="*/ 0 w 14603"/>
                <a:gd name="connsiteY0" fmla="*/ 6377 h 148371"/>
                <a:gd name="connsiteX1" fmla="*/ 0 w 14603"/>
                <a:gd name="connsiteY1" fmla="*/ 148371 h 148371"/>
                <a:gd name="connsiteX2" fmla="*/ 14604 w 14603"/>
                <a:gd name="connsiteY2" fmla="*/ 148371 h 148371"/>
                <a:gd name="connsiteX3" fmla="*/ 14604 w 14603"/>
                <a:gd name="connsiteY3" fmla="*/ 6377 h 148371"/>
                <a:gd name="connsiteX4" fmla="*/ 6310 w 14603"/>
                <a:gd name="connsiteY4" fmla="*/ 68 h 148371"/>
                <a:gd name="connsiteX5" fmla="*/ 0 w 14603"/>
                <a:gd name="connsiteY5" fmla="*/ 6377 h 14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48371">
                  <a:moveTo>
                    <a:pt x="0" y="6377"/>
                  </a:moveTo>
                  <a:lnTo>
                    <a:pt x="0" y="148371"/>
                  </a:lnTo>
                  <a:lnTo>
                    <a:pt x="14604" y="148371"/>
                  </a:lnTo>
                  <a:lnTo>
                    <a:pt x="14604" y="6377"/>
                  </a:lnTo>
                  <a:cubicBezTo>
                    <a:pt x="14054" y="2345"/>
                    <a:pt x="10343" y="-480"/>
                    <a:pt x="6310" y="68"/>
                  </a:cubicBezTo>
                  <a:cubicBezTo>
                    <a:pt x="3028" y="514"/>
                    <a:pt x="442" y="3095"/>
                    <a:pt x="0" y="6377"/>
                  </a:cubicBezTo>
                  <a:close/>
                </a:path>
              </a:pathLst>
            </a:custGeom>
            <a:solidFill>
              <a:srgbClr val="000000"/>
            </a:solidFill>
            <a:ln w="12700" cap="flat">
              <a:noFill/>
              <a:prstDash val="solid"/>
              <a:miter/>
            </a:ln>
          </p:spPr>
          <p:txBody>
            <a:bodyPr rtlCol="0" anchor="ctr"/>
            <a:lstStyle/>
            <a:p>
              <a:endParaRPr lang="en-US"/>
            </a:p>
          </p:txBody>
        </p:sp>
        <p:sp>
          <p:nvSpPr>
            <p:cNvPr id="1678" name="Freeform: Shape 1677">
              <a:extLst>
                <a:ext uri="{FF2B5EF4-FFF2-40B4-BE49-F238E27FC236}">
                  <a16:creationId xmlns:a16="http://schemas.microsoft.com/office/drawing/2014/main" id="{24DBFEBF-631A-4274-99F6-38F1B43AE6F1}"/>
                </a:ext>
              </a:extLst>
            </p:cNvPr>
            <p:cNvSpPr/>
            <p:nvPr/>
          </p:nvSpPr>
          <p:spPr>
            <a:xfrm>
              <a:off x="3575191" y="5887651"/>
              <a:ext cx="496654" cy="14701"/>
            </a:xfrm>
            <a:custGeom>
              <a:avLst/>
              <a:gdLst>
                <a:gd name="connsiteX0" fmla="*/ 8172 w 496654"/>
                <a:gd name="connsiteY0" fmla="*/ 5860 h 14701"/>
                <a:gd name="connsiteX1" fmla="*/ 3309 w 496654"/>
                <a:gd name="connsiteY1" fmla="*/ 14641 h 14701"/>
                <a:gd name="connsiteX2" fmla="*/ 3081 w 496654"/>
                <a:gd name="connsiteY2" fmla="*/ 14701 h 14701"/>
                <a:gd name="connsiteX3" fmla="*/ 489286 w 496654"/>
                <a:gd name="connsiteY3" fmla="*/ 14701 h 14701"/>
                <a:gd name="connsiteX4" fmla="*/ 489286 w 496654"/>
                <a:gd name="connsiteY4" fmla="*/ 7468 h 14701"/>
                <a:gd name="connsiteX5" fmla="*/ 496655 w 496654"/>
                <a:gd name="connsiteY5" fmla="*/ 100 h 14701"/>
                <a:gd name="connsiteX6" fmla="*/ 938 w 496654"/>
                <a:gd name="connsiteY6" fmla="*/ 100 h 14701"/>
                <a:gd name="connsiteX7" fmla="*/ 0 w 496654"/>
                <a:gd name="connsiteY7" fmla="*/ 100 h 14701"/>
                <a:gd name="connsiteX8" fmla="*/ 8172 w 496654"/>
                <a:gd name="connsiteY8" fmla="*/ 5860 h 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654" h="14701">
                  <a:moveTo>
                    <a:pt x="8172" y="5860"/>
                  </a:moveTo>
                  <a:cubicBezTo>
                    <a:pt x="9258" y="9630"/>
                    <a:pt x="7074" y="13561"/>
                    <a:pt x="3309" y="14641"/>
                  </a:cubicBezTo>
                  <a:cubicBezTo>
                    <a:pt x="3229" y="14662"/>
                    <a:pt x="3162" y="14683"/>
                    <a:pt x="3081" y="14701"/>
                  </a:cubicBezTo>
                  <a:lnTo>
                    <a:pt x="489286" y="14701"/>
                  </a:lnTo>
                  <a:lnTo>
                    <a:pt x="489286" y="7468"/>
                  </a:lnTo>
                  <a:cubicBezTo>
                    <a:pt x="489286" y="3398"/>
                    <a:pt x="492582" y="100"/>
                    <a:pt x="496655" y="100"/>
                  </a:cubicBezTo>
                  <a:lnTo>
                    <a:pt x="938" y="100"/>
                  </a:lnTo>
                  <a:lnTo>
                    <a:pt x="0" y="100"/>
                  </a:lnTo>
                  <a:cubicBezTo>
                    <a:pt x="3845" y="-548"/>
                    <a:pt x="7489" y="2022"/>
                    <a:pt x="8172" y="5860"/>
                  </a:cubicBezTo>
                  <a:close/>
                </a:path>
              </a:pathLst>
            </a:custGeom>
            <a:solidFill>
              <a:srgbClr val="000000"/>
            </a:solidFill>
            <a:ln w="12700" cap="flat">
              <a:noFill/>
              <a:prstDash val="solid"/>
              <a:miter/>
            </a:ln>
          </p:spPr>
          <p:txBody>
            <a:bodyPr rtlCol="0" anchor="ctr"/>
            <a:lstStyle/>
            <a:p>
              <a:endParaRPr lang="en-US"/>
            </a:p>
          </p:txBody>
        </p:sp>
        <p:sp>
          <p:nvSpPr>
            <p:cNvPr id="1679" name="Freeform: Shape 1678">
              <a:extLst>
                <a:ext uri="{FF2B5EF4-FFF2-40B4-BE49-F238E27FC236}">
                  <a16:creationId xmlns:a16="http://schemas.microsoft.com/office/drawing/2014/main" id="{39BA4E28-3EA6-4F23-8B00-FB6247940F78}"/>
                </a:ext>
              </a:extLst>
            </p:cNvPr>
            <p:cNvSpPr/>
            <p:nvPr/>
          </p:nvSpPr>
          <p:spPr>
            <a:xfrm>
              <a:off x="3510881" y="5888746"/>
              <a:ext cx="72755" cy="29680"/>
            </a:xfrm>
            <a:custGeom>
              <a:avLst/>
              <a:gdLst>
                <a:gd name="connsiteX0" fmla="*/ 9111 w 72755"/>
                <a:gd name="connsiteY0" fmla="*/ 24189 h 29680"/>
                <a:gd name="connsiteX1" fmla="*/ 9111 w 72755"/>
                <a:gd name="connsiteY1" fmla="*/ 29681 h 29680"/>
                <a:gd name="connsiteX2" fmla="*/ 64175 w 72755"/>
                <a:gd name="connsiteY2" fmla="*/ 14946 h 29680"/>
                <a:gd name="connsiteX3" fmla="*/ 64175 w 72755"/>
                <a:gd name="connsiteY3" fmla="*/ 7042 h 29680"/>
                <a:gd name="connsiteX4" fmla="*/ 65234 w 72755"/>
                <a:gd name="connsiteY4" fmla="*/ 5703 h 29680"/>
                <a:gd name="connsiteX5" fmla="*/ 65515 w 72755"/>
                <a:gd name="connsiteY5" fmla="*/ 5703 h 29680"/>
                <a:gd name="connsiteX6" fmla="*/ 66734 w 72755"/>
                <a:gd name="connsiteY6" fmla="*/ 6900 h 29680"/>
                <a:gd name="connsiteX7" fmla="*/ 66721 w 72755"/>
                <a:gd name="connsiteY7" fmla="*/ 7042 h 29680"/>
                <a:gd name="connsiteX8" fmla="*/ 66721 w 72755"/>
                <a:gd name="connsiteY8" fmla="*/ 14142 h 29680"/>
                <a:gd name="connsiteX9" fmla="*/ 67391 w 72755"/>
                <a:gd name="connsiteY9" fmla="*/ 14142 h 29680"/>
                <a:gd name="connsiteX10" fmla="*/ 72535 w 72755"/>
                <a:gd name="connsiteY10" fmla="*/ 5523 h 29680"/>
                <a:gd name="connsiteX11" fmla="*/ 72482 w 72755"/>
                <a:gd name="connsiteY11" fmla="*/ 5301 h 29680"/>
                <a:gd name="connsiteX12" fmla="*/ 64577 w 72755"/>
                <a:gd name="connsiteY12" fmla="*/ 77 h 29680"/>
                <a:gd name="connsiteX13" fmla="*/ 63639 w 72755"/>
                <a:gd name="connsiteY13" fmla="*/ 77 h 29680"/>
                <a:gd name="connsiteX14" fmla="*/ 0 w 72755"/>
                <a:gd name="connsiteY14" fmla="*/ 17223 h 29680"/>
                <a:gd name="connsiteX15" fmla="*/ 0 w 72755"/>
                <a:gd name="connsiteY15" fmla="*/ 17223 h 29680"/>
                <a:gd name="connsiteX16" fmla="*/ 2412 w 72755"/>
                <a:gd name="connsiteY16" fmla="*/ 17223 h 29680"/>
                <a:gd name="connsiteX17" fmla="*/ 9111 w 72755"/>
                <a:gd name="connsiteY17" fmla="*/ 24189 h 2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755" h="29680">
                  <a:moveTo>
                    <a:pt x="9111" y="24189"/>
                  </a:moveTo>
                  <a:lnTo>
                    <a:pt x="9111" y="29681"/>
                  </a:lnTo>
                  <a:lnTo>
                    <a:pt x="64175" y="14946"/>
                  </a:lnTo>
                  <a:lnTo>
                    <a:pt x="64175" y="7042"/>
                  </a:lnTo>
                  <a:cubicBezTo>
                    <a:pt x="64095" y="6381"/>
                    <a:pt x="64564" y="5782"/>
                    <a:pt x="65234" y="5703"/>
                  </a:cubicBezTo>
                  <a:cubicBezTo>
                    <a:pt x="65328" y="5692"/>
                    <a:pt x="65422" y="5692"/>
                    <a:pt x="65515" y="5703"/>
                  </a:cubicBezTo>
                  <a:cubicBezTo>
                    <a:pt x="66185" y="5699"/>
                    <a:pt x="66721" y="6235"/>
                    <a:pt x="66734" y="6900"/>
                  </a:cubicBezTo>
                  <a:cubicBezTo>
                    <a:pt x="66734" y="6949"/>
                    <a:pt x="66721" y="6995"/>
                    <a:pt x="66721" y="7042"/>
                  </a:cubicBezTo>
                  <a:lnTo>
                    <a:pt x="66721" y="14142"/>
                  </a:lnTo>
                  <a:lnTo>
                    <a:pt x="67391" y="14142"/>
                  </a:lnTo>
                  <a:cubicBezTo>
                    <a:pt x="71196" y="13184"/>
                    <a:pt x="73500" y="9325"/>
                    <a:pt x="72535" y="5523"/>
                  </a:cubicBezTo>
                  <a:cubicBezTo>
                    <a:pt x="72522" y="5448"/>
                    <a:pt x="72509" y="5375"/>
                    <a:pt x="72482" y="5301"/>
                  </a:cubicBezTo>
                  <a:cubicBezTo>
                    <a:pt x="71571" y="1799"/>
                    <a:pt x="68154" y="-451"/>
                    <a:pt x="64577" y="77"/>
                  </a:cubicBezTo>
                  <a:lnTo>
                    <a:pt x="63639" y="77"/>
                  </a:lnTo>
                  <a:lnTo>
                    <a:pt x="0" y="17223"/>
                  </a:lnTo>
                  <a:cubicBezTo>
                    <a:pt x="0" y="17223"/>
                    <a:pt x="0" y="17223"/>
                    <a:pt x="0" y="17223"/>
                  </a:cubicBezTo>
                  <a:cubicBezTo>
                    <a:pt x="804" y="17097"/>
                    <a:pt x="1608" y="17097"/>
                    <a:pt x="2412" y="17223"/>
                  </a:cubicBezTo>
                  <a:cubicBezTo>
                    <a:pt x="6069" y="17552"/>
                    <a:pt x="8923" y="20522"/>
                    <a:pt x="9111" y="24189"/>
                  </a:cubicBezTo>
                  <a:close/>
                </a:path>
              </a:pathLst>
            </a:custGeom>
            <a:solidFill>
              <a:srgbClr val="000000"/>
            </a:solidFill>
            <a:ln w="12700" cap="flat">
              <a:noFill/>
              <a:prstDash val="solid"/>
              <a:miter/>
            </a:ln>
          </p:spPr>
          <p:txBody>
            <a:bodyPr rtlCol="0" anchor="ctr"/>
            <a:lstStyle/>
            <a:p>
              <a:endParaRPr lang="en-US"/>
            </a:p>
          </p:txBody>
        </p:sp>
        <p:sp>
          <p:nvSpPr>
            <p:cNvPr id="1680" name="Freeform: Shape 1679">
              <a:extLst>
                <a:ext uri="{FF2B5EF4-FFF2-40B4-BE49-F238E27FC236}">
                  <a16:creationId xmlns:a16="http://schemas.microsoft.com/office/drawing/2014/main" id="{CFD14450-B2A4-4B92-8119-674E4D8F058A}"/>
                </a:ext>
              </a:extLst>
            </p:cNvPr>
            <p:cNvSpPr/>
            <p:nvPr/>
          </p:nvSpPr>
          <p:spPr>
            <a:xfrm>
              <a:off x="3574644" y="5894440"/>
              <a:ext cx="2564" cy="959272"/>
            </a:xfrm>
            <a:custGeom>
              <a:avLst/>
              <a:gdLst>
                <a:gd name="connsiteX0" fmla="*/ 2556 w 2564"/>
                <a:gd name="connsiteY0" fmla="*/ 8448 h 959272"/>
                <a:gd name="connsiteX1" fmla="*/ 2556 w 2564"/>
                <a:gd name="connsiteY1" fmla="*/ 1348 h 959272"/>
                <a:gd name="connsiteX2" fmla="*/ 1497 w 2564"/>
                <a:gd name="connsiteY2" fmla="*/ 17 h 959272"/>
                <a:gd name="connsiteX3" fmla="*/ 1350 w 2564"/>
                <a:gd name="connsiteY3" fmla="*/ 9 h 959272"/>
                <a:gd name="connsiteX4" fmla="*/ 10 w 2564"/>
                <a:gd name="connsiteY4" fmla="*/ 1063 h 959272"/>
                <a:gd name="connsiteX5" fmla="*/ 10 w 2564"/>
                <a:gd name="connsiteY5" fmla="*/ 1348 h 959272"/>
                <a:gd name="connsiteX6" fmla="*/ 10 w 2564"/>
                <a:gd name="connsiteY6" fmla="*/ 959272 h 959272"/>
                <a:gd name="connsiteX7" fmla="*/ 2556 w 2564"/>
                <a:gd name="connsiteY7" fmla="*/ 959272 h 959272"/>
                <a:gd name="connsiteX8" fmla="*/ 2556 w 2564"/>
                <a:gd name="connsiteY8" fmla="*/ 8180 h 95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4" h="959272">
                  <a:moveTo>
                    <a:pt x="2556" y="8448"/>
                  </a:moveTo>
                  <a:lnTo>
                    <a:pt x="2556" y="1348"/>
                  </a:lnTo>
                  <a:cubicBezTo>
                    <a:pt x="2636" y="686"/>
                    <a:pt x="2154" y="90"/>
                    <a:pt x="1497" y="17"/>
                  </a:cubicBezTo>
                  <a:cubicBezTo>
                    <a:pt x="1444" y="11"/>
                    <a:pt x="1404" y="9"/>
                    <a:pt x="1350" y="9"/>
                  </a:cubicBezTo>
                  <a:cubicBezTo>
                    <a:pt x="693" y="-70"/>
                    <a:pt x="91" y="403"/>
                    <a:pt x="10" y="1063"/>
                  </a:cubicBezTo>
                  <a:cubicBezTo>
                    <a:pt x="-3" y="1158"/>
                    <a:pt x="-3" y="1253"/>
                    <a:pt x="10" y="1348"/>
                  </a:cubicBezTo>
                  <a:lnTo>
                    <a:pt x="10" y="959272"/>
                  </a:lnTo>
                  <a:lnTo>
                    <a:pt x="2556" y="959272"/>
                  </a:lnTo>
                  <a:lnTo>
                    <a:pt x="2556" y="8180"/>
                  </a:lnTo>
                  <a:close/>
                </a:path>
              </a:pathLst>
            </a:custGeom>
            <a:solidFill>
              <a:srgbClr val="000000"/>
            </a:solidFill>
            <a:ln w="12700" cap="flat">
              <a:noFill/>
              <a:prstDash val="solid"/>
              <a:miter/>
            </a:ln>
          </p:spPr>
          <p:txBody>
            <a:bodyPr rtlCol="0" anchor="ctr"/>
            <a:lstStyle/>
            <a:p>
              <a:endParaRPr lang="en-US"/>
            </a:p>
          </p:txBody>
        </p:sp>
        <p:sp>
          <p:nvSpPr>
            <p:cNvPr id="1681" name="Freeform: Shape 1680">
              <a:extLst>
                <a:ext uri="{FF2B5EF4-FFF2-40B4-BE49-F238E27FC236}">
                  <a16:creationId xmlns:a16="http://schemas.microsoft.com/office/drawing/2014/main" id="{A7226E98-63B7-4D4B-A108-4F9766022190}"/>
                </a:ext>
              </a:extLst>
            </p:cNvPr>
            <p:cNvSpPr/>
            <p:nvPr/>
          </p:nvSpPr>
          <p:spPr>
            <a:xfrm>
              <a:off x="1222009" y="5844215"/>
              <a:ext cx="2545" cy="288140"/>
            </a:xfrm>
            <a:custGeom>
              <a:avLst/>
              <a:gdLst>
                <a:gd name="connsiteX0" fmla="*/ 536 w 2545"/>
                <a:gd name="connsiteY0" fmla="*/ 282113 h 288140"/>
                <a:gd name="connsiteX1" fmla="*/ 536 w 2545"/>
                <a:gd name="connsiteY1" fmla="*/ 282917 h 288140"/>
                <a:gd name="connsiteX2" fmla="*/ 536 w 2545"/>
                <a:gd name="connsiteY2" fmla="*/ 284390 h 288140"/>
                <a:gd name="connsiteX3" fmla="*/ 536 w 2545"/>
                <a:gd name="connsiteY3" fmla="*/ 284390 h 288140"/>
                <a:gd name="connsiteX4" fmla="*/ 536 w 2545"/>
                <a:gd name="connsiteY4" fmla="*/ 288141 h 288140"/>
                <a:gd name="connsiteX5" fmla="*/ 2546 w 2545"/>
                <a:gd name="connsiteY5" fmla="*/ 288141 h 288140"/>
                <a:gd name="connsiteX6" fmla="*/ 2546 w 2545"/>
                <a:gd name="connsiteY6" fmla="*/ 0 h 288140"/>
                <a:gd name="connsiteX7" fmla="*/ 2546 w 2545"/>
                <a:gd name="connsiteY7" fmla="*/ 0 h 288140"/>
                <a:gd name="connsiteX8" fmla="*/ 1206 w 2545"/>
                <a:gd name="connsiteY8" fmla="*/ 0 h 288140"/>
                <a:gd name="connsiteX9" fmla="*/ 0 w 2545"/>
                <a:gd name="connsiteY9" fmla="*/ 0 h 288140"/>
                <a:gd name="connsiteX10" fmla="*/ 0 w 2545"/>
                <a:gd name="connsiteY10" fmla="*/ 0 h 28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5" h="288140">
                  <a:moveTo>
                    <a:pt x="536" y="282113"/>
                  </a:moveTo>
                  <a:cubicBezTo>
                    <a:pt x="473" y="282381"/>
                    <a:pt x="473" y="282649"/>
                    <a:pt x="536" y="282917"/>
                  </a:cubicBezTo>
                  <a:cubicBezTo>
                    <a:pt x="599" y="283412"/>
                    <a:pt x="599" y="283894"/>
                    <a:pt x="536" y="284390"/>
                  </a:cubicBezTo>
                  <a:cubicBezTo>
                    <a:pt x="536" y="284390"/>
                    <a:pt x="536" y="284390"/>
                    <a:pt x="536" y="284390"/>
                  </a:cubicBezTo>
                  <a:lnTo>
                    <a:pt x="536" y="288141"/>
                  </a:lnTo>
                  <a:lnTo>
                    <a:pt x="2546" y="288141"/>
                  </a:lnTo>
                  <a:lnTo>
                    <a:pt x="2546" y="0"/>
                  </a:lnTo>
                  <a:lnTo>
                    <a:pt x="2546" y="0"/>
                  </a:lnTo>
                  <a:cubicBezTo>
                    <a:pt x="2102" y="78"/>
                    <a:pt x="1649" y="78"/>
                    <a:pt x="1206" y="0"/>
                  </a:cubicBezTo>
                  <a:cubicBezTo>
                    <a:pt x="805" y="56"/>
                    <a:pt x="401" y="56"/>
                    <a:pt x="0" y="0"/>
                  </a:cubicBezTo>
                  <a:lnTo>
                    <a:pt x="0" y="0"/>
                  </a:lnTo>
                  <a:close/>
                </a:path>
              </a:pathLst>
            </a:custGeom>
            <a:solidFill>
              <a:srgbClr val="000000"/>
            </a:solidFill>
            <a:ln w="12700" cap="flat">
              <a:noFill/>
              <a:prstDash val="solid"/>
              <a:miter/>
            </a:ln>
          </p:spPr>
          <p:txBody>
            <a:bodyPr rtlCol="0" anchor="ctr"/>
            <a:lstStyle/>
            <a:p>
              <a:endParaRPr lang="en-US"/>
            </a:p>
          </p:txBody>
        </p:sp>
        <p:sp>
          <p:nvSpPr>
            <p:cNvPr id="1682" name="Freeform: Shape 1681">
              <a:extLst>
                <a:ext uri="{FF2B5EF4-FFF2-40B4-BE49-F238E27FC236}">
                  <a16:creationId xmlns:a16="http://schemas.microsoft.com/office/drawing/2014/main" id="{14FDDAD7-56EA-4DD4-90FD-AFBE2BAEEE4F}"/>
                </a:ext>
              </a:extLst>
            </p:cNvPr>
            <p:cNvSpPr/>
            <p:nvPr/>
          </p:nvSpPr>
          <p:spPr>
            <a:xfrm>
              <a:off x="1214238" y="5835776"/>
              <a:ext cx="2545" cy="284256"/>
            </a:xfrm>
            <a:custGeom>
              <a:avLst/>
              <a:gdLst>
                <a:gd name="connsiteX0" fmla="*/ 1206 w 2545"/>
                <a:gd name="connsiteY0" fmla="*/ 284256 h 284256"/>
                <a:gd name="connsiteX1" fmla="*/ 2546 w 2545"/>
                <a:gd name="connsiteY1" fmla="*/ 284256 h 284256"/>
                <a:gd name="connsiteX2" fmla="*/ 2546 w 2545"/>
                <a:gd name="connsiteY2" fmla="*/ 284256 h 284256"/>
                <a:gd name="connsiteX3" fmla="*/ 2546 w 2545"/>
                <a:gd name="connsiteY3" fmla="*/ 4153 h 284256"/>
                <a:gd name="connsiteX4" fmla="*/ 0 w 2545"/>
                <a:gd name="connsiteY4" fmla="*/ 0 h 284256"/>
                <a:gd name="connsiteX5" fmla="*/ 0 w 2545"/>
                <a:gd name="connsiteY5" fmla="*/ 283854 h 28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4256">
                  <a:moveTo>
                    <a:pt x="1206" y="284256"/>
                  </a:moveTo>
                  <a:cubicBezTo>
                    <a:pt x="1649" y="284189"/>
                    <a:pt x="2102" y="284189"/>
                    <a:pt x="2546" y="284256"/>
                  </a:cubicBezTo>
                  <a:lnTo>
                    <a:pt x="2546" y="284256"/>
                  </a:lnTo>
                  <a:lnTo>
                    <a:pt x="2546" y="4153"/>
                  </a:lnTo>
                  <a:lnTo>
                    <a:pt x="0" y="0"/>
                  </a:lnTo>
                  <a:lnTo>
                    <a:pt x="0" y="283854"/>
                  </a:lnTo>
                  <a:close/>
                </a:path>
              </a:pathLst>
            </a:custGeom>
            <a:solidFill>
              <a:srgbClr val="000000"/>
            </a:solidFill>
            <a:ln w="12700" cap="flat">
              <a:noFill/>
              <a:prstDash val="solid"/>
              <a:miter/>
            </a:ln>
          </p:spPr>
          <p:txBody>
            <a:bodyPr rtlCol="0" anchor="ctr"/>
            <a:lstStyle/>
            <a:p>
              <a:endParaRPr lang="en-US"/>
            </a:p>
          </p:txBody>
        </p:sp>
        <p:sp>
          <p:nvSpPr>
            <p:cNvPr id="1683" name="Freeform: Shape 1682">
              <a:extLst>
                <a:ext uri="{FF2B5EF4-FFF2-40B4-BE49-F238E27FC236}">
                  <a16:creationId xmlns:a16="http://schemas.microsoft.com/office/drawing/2014/main" id="{6B28AAB1-1585-49B6-B0A4-A8825B42A7A0}"/>
                </a:ext>
              </a:extLst>
            </p:cNvPr>
            <p:cNvSpPr/>
            <p:nvPr/>
          </p:nvSpPr>
          <p:spPr>
            <a:xfrm>
              <a:off x="1188112" y="5794116"/>
              <a:ext cx="2545" cy="312788"/>
            </a:xfrm>
            <a:custGeom>
              <a:avLst/>
              <a:gdLst>
                <a:gd name="connsiteX0" fmla="*/ 1742 w 2545"/>
                <a:gd name="connsiteY0" fmla="*/ 312789 h 312788"/>
                <a:gd name="connsiteX1" fmla="*/ 2546 w 2545"/>
                <a:gd name="connsiteY1" fmla="*/ 312789 h 312788"/>
                <a:gd name="connsiteX2" fmla="*/ 2546 w 2545"/>
                <a:gd name="connsiteY2" fmla="*/ 312789 h 312788"/>
                <a:gd name="connsiteX3" fmla="*/ 2546 w 2545"/>
                <a:gd name="connsiteY3" fmla="*/ 4153 h 312788"/>
                <a:gd name="connsiteX4" fmla="*/ 0 w 2545"/>
                <a:gd name="connsiteY4" fmla="*/ 0 h 312788"/>
                <a:gd name="connsiteX5" fmla="*/ 0 w 2545"/>
                <a:gd name="connsiteY5" fmla="*/ 312789 h 3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12788">
                  <a:moveTo>
                    <a:pt x="1742" y="312789"/>
                  </a:moveTo>
                  <a:lnTo>
                    <a:pt x="2546" y="312789"/>
                  </a:lnTo>
                  <a:lnTo>
                    <a:pt x="2546" y="312789"/>
                  </a:lnTo>
                  <a:lnTo>
                    <a:pt x="2546" y="4153"/>
                  </a:lnTo>
                  <a:lnTo>
                    <a:pt x="0" y="0"/>
                  </a:lnTo>
                  <a:lnTo>
                    <a:pt x="0" y="312789"/>
                  </a:lnTo>
                  <a:close/>
                </a:path>
              </a:pathLst>
            </a:custGeom>
            <a:solidFill>
              <a:srgbClr val="000000"/>
            </a:solidFill>
            <a:ln w="12700" cap="flat">
              <a:noFill/>
              <a:prstDash val="solid"/>
              <a:miter/>
            </a:ln>
          </p:spPr>
          <p:txBody>
            <a:bodyPr rtlCol="0" anchor="ctr"/>
            <a:lstStyle/>
            <a:p>
              <a:endParaRPr lang="en-US"/>
            </a:p>
          </p:txBody>
        </p:sp>
        <p:sp>
          <p:nvSpPr>
            <p:cNvPr id="1684" name="Freeform: Shape 1683">
              <a:extLst>
                <a:ext uri="{FF2B5EF4-FFF2-40B4-BE49-F238E27FC236}">
                  <a16:creationId xmlns:a16="http://schemas.microsoft.com/office/drawing/2014/main" id="{A4D1B0EA-0309-4F20-94CB-4B87B6128A5A}"/>
                </a:ext>
              </a:extLst>
            </p:cNvPr>
            <p:cNvSpPr/>
            <p:nvPr/>
          </p:nvSpPr>
          <p:spPr>
            <a:xfrm>
              <a:off x="285774" y="6106904"/>
              <a:ext cx="23044" cy="2545"/>
            </a:xfrm>
            <a:custGeom>
              <a:avLst/>
              <a:gdLst>
                <a:gd name="connsiteX0" fmla="*/ 23044 w 23044"/>
                <a:gd name="connsiteY0" fmla="*/ 0 h 2545"/>
                <a:gd name="connsiteX1" fmla="*/ 0 w 23044"/>
                <a:gd name="connsiteY1" fmla="*/ 0 h 2545"/>
                <a:gd name="connsiteX2" fmla="*/ 10718 w 23044"/>
                <a:gd name="connsiteY2" fmla="*/ 2545 h 2545"/>
                <a:gd name="connsiteX3" fmla="*/ 20900 w 23044"/>
                <a:gd name="connsiteY3" fmla="*/ 2545 h 2545"/>
                <a:gd name="connsiteX4" fmla="*/ 23044 w 23044"/>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4" h="2545">
                  <a:moveTo>
                    <a:pt x="23044" y="0"/>
                  </a:moveTo>
                  <a:lnTo>
                    <a:pt x="0" y="0"/>
                  </a:lnTo>
                  <a:lnTo>
                    <a:pt x="10718" y="2545"/>
                  </a:lnTo>
                  <a:lnTo>
                    <a:pt x="20900" y="2545"/>
                  </a:lnTo>
                  <a:cubicBezTo>
                    <a:pt x="21384" y="1527"/>
                    <a:pt x="22122" y="656"/>
                    <a:pt x="23044" y="0"/>
                  </a:cubicBezTo>
                  <a:close/>
                </a:path>
              </a:pathLst>
            </a:custGeom>
            <a:solidFill>
              <a:srgbClr val="000000"/>
            </a:solidFill>
            <a:ln w="12700" cap="flat">
              <a:noFill/>
              <a:prstDash val="solid"/>
              <a:miter/>
            </a:ln>
          </p:spPr>
          <p:txBody>
            <a:bodyPr rtlCol="0" anchor="ctr"/>
            <a:lstStyle/>
            <a:p>
              <a:endParaRPr lang="en-US"/>
            </a:p>
          </p:txBody>
        </p:sp>
        <p:sp>
          <p:nvSpPr>
            <p:cNvPr id="1685" name="Freeform: Shape 1684">
              <a:extLst>
                <a:ext uri="{FF2B5EF4-FFF2-40B4-BE49-F238E27FC236}">
                  <a16:creationId xmlns:a16="http://schemas.microsoft.com/office/drawing/2014/main" id="{51A0D84A-3F0E-4465-896F-EC31AB1631B3}"/>
                </a:ext>
              </a:extLst>
            </p:cNvPr>
            <p:cNvSpPr/>
            <p:nvPr/>
          </p:nvSpPr>
          <p:spPr>
            <a:xfrm>
              <a:off x="317928" y="6106904"/>
              <a:ext cx="40461" cy="2545"/>
            </a:xfrm>
            <a:custGeom>
              <a:avLst/>
              <a:gdLst>
                <a:gd name="connsiteX0" fmla="*/ 40193 w 40461"/>
                <a:gd name="connsiteY0" fmla="*/ 0 h 2545"/>
                <a:gd name="connsiteX1" fmla="*/ 0 w 40461"/>
                <a:gd name="connsiteY1" fmla="*/ 0 h 2545"/>
                <a:gd name="connsiteX2" fmla="*/ 2144 w 40461"/>
                <a:gd name="connsiteY2" fmla="*/ 2545 h 2545"/>
                <a:gd name="connsiteX3" fmla="*/ 40461 w 40461"/>
                <a:gd name="connsiteY3" fmla="*/ 2545 h 2545"/>
                <a:gd name="connsiteX4" fmla="*/ 40461 w 40461"/>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61" h="2545">
                  <a:moveTo>
                    <a:pt x="40193" y="0"/>
                  </a:moveTo>
                  <a:lnTo>
                    <a:pt x="0" y="0"/>
                  </a:lnTo>
                  <a:cubicBezTo>
                    <a:pt x="955" y="616"/>
                    <a:pt x="1702" y="1500"/>
                    <a:pt x="2144" y="2545"/>
                  </a:cubicBezTo>
                  <a:lnTo>
                    <a:pt x="40461" y="2545"/>
                  </a:lnTo>
                  <a:lnTo>
                    <a:pt x="40461" y="0"/>
                  </a:lnTo>
                  <a:close/>
                </a:path>
              </a:pathLst>
            </a:custGeom>
            <a:solidFill>
              <a:srgbClr val="000000"/>
            </a:solidFill>
            <a:ln w="12700" cap="flat">
              <a:noFill/>
              <a:prstDash val="solid"/>
              <a:miter/>
            </a:ln>
          </p:spPr>
          <p:txBody>
            <a:bodyPr rtlCol="0" anchor="ctr"/>
            <a:lstStyle/>
            <a:p>
              <a:endParaRPr lang="en-US"/>
            </a:p>
          </p:txBody>
        </p:sp>
        <p:sp>
          <p:nvSpPr>
            <p:cNvPr id="1686" name="Freeform: Shape 1685">
              <a:extLst>
                <a:ext uri="{FF2B5EF4-FFF2-40B4-BE49-F238E27FC236}">
                  <a16:creationId xmlns:a16="http://schemas.microsoft.com/office/drawing/2014/main" id="{4061EBE6-EAD8-4396-8F04-E47B48960666}"/>
                </a:ext>
              </a:extLst>
            </p:cNvPr>
            <p:cNvSpPr/>
            <p:nvPr/>
          </p:nvSpPr>
          <p:spPr>
            <a:xfrm>
              <a:off x="1006171" y="6107148"/>
              <a:ext cx="184353" cy="2703"/>
            </a:xfrm>
            <a:custGeom>
              <a:avLst/>
              <a:gdLst>
                <a:gd name="connsiteX0" fmla="*/ 0 w 184353"/>
                <a:gd name="connsiteY0" fmla="*/ 2302 h 2703"/>
                <a:gd name="connsiteX1" fmla="*/ 183147 w 184353"/>
                <a:gd name="connsiteY1" fmla="*/ 2302 h 2703"/>
                <a:gd name="connsiteX2" fmla="*/ 183147 w 184353"/>
                <a:gd name="connsiteY2" fmla="*/ 2302 h 2703"/>
                <a:gd name="connsiteX3" fmla="*/ 182678 w 184353"/>
                <a:gd name="connsiteY3" fmla="*/ 627 h 2703"/>
                <a:gd name="connsiteX4" fmla="*/ 184353 w 184353"/>
                <a:gd name="connsiteY4" fmla="*/ 158 h 2703"/>
                <a:gd name="connsiteX5" fmla="*/ 0 w 184353"/>
                <a:gd name="connsiteY5" fmla="*/ 158 h 2703"/>
                <a:gd name="connsiteX6" fmla="*/ 0 w 184353"/>
                <a:gd name="connsiteY6" fmla="*/ 2704 h 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353" h="2703">
                  <a:moveTo>
                    <a:pt x="0" y="2302"/>
                  </a:moveTo>
                  <a:lnTo>
                    <a:pt x="183147" y="2302"/>
                  </a:lnTo>
                  <a:lnTo>
                    <a:pt x="183147" y="2302"/>
                  </a:lnTo>
                  <a:cubicBezTo>
                    <a:pt x="182555" y="1967"/>
                    <a:pt x="182345" y="1217"/>
                    <a:pt x="182678" y="627"/>
                  </a:cubicBezTo>
                  <a:cubicBezTo>
                    <a:pt x="183011" y="38"/>
                    <a:pt x="183761" y="-176"/>
                    <a:pt x="184353" y="158"/>
                  </a:cubicBezTo>
                  <a:lnTo>
                    <a:pt x="0" y="158"/>
                  </a:lnTo>
                  <a:lnTo>
                    <a:pt x="0" y="2704"/>
                  </a:lnTo>
                  <a:close/>
                </a:path>
              </a:pathLst>
            </a:custGeom>
            <a:solidFill>
              <a:srgbClr val="000000"/>
            </a:solidFill>
            <a:ln w="12700" cap="flat">
              <a:noFill/>
              <a:prstDash val="solid"/>
              <a:miter/>
            </a:ln>
          </p:spPr>
          <p:txBody>
            <a:bodyPr rtlCol="0" anchor="ctr"/>
            <a:lstStyle/>
            <a:p>
              <a:endParaRPr lang="en-US"/>
            </a:p>
          </p:txBody>
        </p:sp>
        <p:sp>
          <p:nvSpPr>
            <p:cNvPr id="1687" name="Freeform: Shape 1686">
              <a:extLst>
                <a:ext uri="{FF2B5EF4-FFF2-40B4-BE49-F238E27FC236}">
                  <a16:creationId xmlns:a16="http://schemas.microsoft.com/office/drawing/2014/main" id="{84B0EB5C-19B1-49F5-B0C8-8EFC596D971E}"/>
                </a:ext>
              </a:extLst>
            </p:cNvPr>
            <p:cNvSpPr/>
            <p:nvPr/>
          </p:nvSpPr>
          <p:spPr>
            <a:xfrm>
              <a:off x="252767" y="5782327"/>
              <a:ext cx="14651" cy="325514"/>
            </a:xfrm>
            <a:custGeom>
              <a:avLst/>
              <a:gdLst>
                <a:gd name="connsiteX0" fmla="*/ 9159 w 14651"/>
                <a:gd name="connsiteY0" fmla="*/ 318817 h 325514"/>
                <a:gd name="connsiteX1" fmla="*/ 14652 w 14651"/>
                <a:gd name="connsiteY1" fmla="*/ 320157 h 325514"/>
                <a:gd name="connsiteX2" fmla="*/ 14652 w 14651"/>
                <a:gd name="connsiteY2" fmla="*/ 7234 h 325514"/>
                <a:gd name="connsiteX3" fmla="*/ 7417 w 14651"/>
                <a:gd name="connsiteY3" fmla="*/ 7234 h 325514"/>
                <a:gd name="connsiteX4" fmla="*/ 48 w 14651"/>
                <a:gd name="connsiteY4" fmla="*/ 0 h 325514"/>
                <a:gd name="connsiteX5" fmla="*/ 48 w 14651"/>
                <a:gd name="connsiteY5" fmla="*/ 325515 h 325514"/>
                <a:gd name="connsiteX6" fmla="*/ 48 w 14651"/>
                <a:gd name="connsiteY6" fmla="*/ 325515 h 325514"/>
                <a:gd name="connsiteX7" fmla="*/ 48 w 14651"/>
                <a:gd name="connsiteY7" fmla="*/ 323238 h 325514"/>
                <a:gd name="connsiteX8" fmla="*/ 9159 w 14651"/>
                <a:gd name="connsiteY8" fmla="*/ 318817 h 32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1" h="325514">
                  <a:moveTo>
                    <a:pt x="9159" y="318817"/>
                  </a:moveTo>
                  <a:lnTo>
                    <a:pt x="14652" y="320157"/>
                  </a:lnTo>
                  <a:lnTo>
                    <a:pt x="14652" y="7234"/>
                  </a:lnTo>
                  <a:lnTo>
                    <a:pt x="7417" y="7234"/>
                  </a:lnTo>
                  <a:cubicBezTo>
                    <a:pt x="3399" y="7234"/>
                    <a:pt x="122" y="4016"/>
                    <a:pt x="48" y="0"/>
                  </a:cubicBezTo>
                  <a:lnTo>
                    <a:pt x="48" y="325515"/>
                  </a:lnTo>
                  <a:cubicBezTo>
                    <a:pt x="48" y="325515"/>
                    <a:pt x="48" y="325515"/>
                    <a:pt x="48" y="325515"/>
                  </a:cubicBezTo>
                  <a:cubicBezTo>
                    <a:pt x="-16" y="324751"/>
                    <a:pt x="-16" y="324001"/>
                    <a:pt x="48" y="323238"/>
                  </a:cubicBezTo>
                  <a:cubicBezTo>
                    <a:pt x="1376" y="319527"/>
                    <a:pt x="5425" y="317571"/>
                    <a:pt x="9159" y="318817"/>
                  </a:cubicBezTo>
                  <a:close/>
                </a:path>
              </a:pathLst>
            </a:custGeom>
            <a:solidFill>
              <a:srgbClr val="000000"/>
            </a:solidFill>
            <a:ln w="12700" cap="flat">
              <a:noFill/>
              <a:prstDash val="solid"/>
              <a:miter/>
            </a:ln>
          </p:spPr>
          <p:txBody>
            <a:bodyPr rtlCol="0" anchor="ctr"/>
            <a:lstStyle/>
            <a:p>
              <a:endParaRPr lang="en-US"/>
            </a:p>
          </p:txBody>
        </p:sp>
        <p:sp>
          <p:nvSpPr>
            <p:cNvPr id="1688" name="Freeform: Shape 1687">
              <a:extLst>
                <a:ext uri="{FF2B5EF4-FFF2-40B4-BE49-F238E27FC236}">
                  <a16:creationId xmlns:a16="http://schemas.microsoft.com/office/drawing/2014/main" id="{9329A2A2-14A1-4979-8B0C-932E9778B579}"/>
                </a:ext>
              </a:extLst>
            </p:cNvPr>
            <p:cNvSpPr/>
            <p:nvPr/>
          </p:nvSpPr>
          <p:spPr>
            <a:xfrm>
              <a:off x="1205797" y="6119764"/>
              <a:ext cx="6028" cy="1875"/>
            </a:xfrm>
            <a:custGeom>
              <a:avLst/>
              <a:gdLst>
                <a:gd name="connsiteX0" fmla="*/ 6029 w 6028"/>
                <a:gd name="connsiteY0" fmla="*/ 0 h 1875"/>
                <a:gd name="connsiteX1" fmla="*/ 6029 w 6028"/>
                <a:gd name="connsiteY1" fmla="*/ 0 h 1875"/>
                <a:gd name="connsiteX2" fmla="*/ 0 w 6028"/>
                <a:gd name="connsiteY2" fmla="*/ 0 h 1875"/>
                <a:gd name="connsiteX3" fmla="*/ 2278 w 6028"/>
                <a:gd name="connsiteY3" fmla="*/ 1875 h 1875"/>
                <a:gd name="connsiteX4" fmla="*/ 6029 w 6028"/>
                <a:gd name="connsiteY4" fmla="*/ 0 h 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1875">
                  <a:moveTo>
                    <a:pt x="6029" y="0"/>
                  </a:moveTo>
                  <a:lnTo>
                    <a:pt x="6029" y="0"/>
                  </a:lnTo>
                  <a:lnTo>
                    <a:pt x="0" y="0"/>
                  </a:lnTo>
                  <a:lnTo>
                    <a:pt x="2278" y="1875"/>
                  </a:lnTo>
                  <a:cubicBezTo>
                    <a:pt x="3347" y="938"/>
                    <a:pt x="4638" y="295"/>
                    <a:pt x="6029" y="0"/>
                  </a:cubicBezTo>
                  <a:close/>
                </a:path>
              </a:pathLst>
            </a:custGeom>
            <a:solidFill>
              <a:srgbClr val="000000"/>
            </a:solidFill>
            <a:ln w="12700" cap="flat">
              <a:noFill/>
              <a:prstDash val="solid"/>
              <a:miter/>
            </a:ln>
          </p:spPr>
          <p:txBody>
            <a:bodyPr rtlCol="0" anchor="ctr"/>
            <a:lstStyle/>
            <a:p>
              <a:endParaRPr lang="en-US"/>
            </a:p>
          </p:txBody>
        </p:sp>
        <p:sp>
          <p:nvSpPr>
            <p:cNvPr id="1689" name="Freeform: Shape 1688">
              <a:extLst>
                <a:ext uri="{FF2B5EF4-FFF2-40B4-BE49-F238E27FC236}">
                  <a16:creationId xmlns:a16="http://schemas.microsoft.com/office/drawing/2014/main" id="{3E7171F8-B4FD-4ECD-82D3-94904F28AF14}"/>
                </a:ext>
              </a:extLst>
            </p:cNvPr>
            <p:cNvSpPr/>
            <p:nvPr/>
          </p:nvSpPr>
          <p:spPr>
            <a:xfrm>
              <a:off x="1006171" y="6119496"/>
              <a:ext cx="199626" cy="8707"/>
            </a:xfrm>
            <a:custGeom>
              <a:avLst/>
              <a:gdLst>
                <a:gd name="connsiteX0" fmla="*/ 0 w 199626"/>
                <a:gd name="connsiteY0" fmla="*/ 7368 h 8707"/>
                <a:gd name="connsiteX1" fmla="*/ 0 w 199626"/>
                <a:gd name="connsiteY1" fmla="*/ 8707 h 8707"/>
                <a:gd name="connsiteX2" fmla="*/ 199627 w 199626"/>
                <a:gd name="connsiteY2" fmla="*/ 8707 h 8707"/>
                <a:gd name="connsiteX3" fmla="*/ 199627 w 199626"/>
                <a:gd name="connsiteY3" fmla="*/ 3885 h 8707"/>
                <a:gd name="connsiteX4" fmla="*/ 194803 w 199626"/>
                <a:gd name="connsiteY4" fmla="*/ 0 h 8707"/>
                <a:gd name="connsiteX5" fmla="*/ 0 w 199626"/>
                <a:gd name="connsiteY5" fmla="*/ 0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26" h="8707">
                  <a:moveTo>
                    <a:pt x="0" y="7368"/>
                  </a:moveTo>
                  <a:lnTo>
                    <a:pt x="0" y="8707"/>
                  </a:lnTo>
                  <a:lnTo>
                    <a:pt x="199627" y="8707"/>
                  </a:lnTo>
                  <a:cubicBezTo>
                    <a:pt x="199040" y="7153"/>
                    <a:pt x="199040" y="5439"/>
                    <a:pt x="199627" y="3885"/>
                  </a:cubicBezTo>
                  <a:lnTo>
                    <a:pt x="194803" y="0"/>
                  </a:lnTo>
                  <a:lnTo>
                    <a:pt x="0" y="0"/>
                  </a:lnTo>
                  <a:close/>
                </a:path>
              </a:pathLst>
            </a:custGeom>
            <a:solidFill>
              <a:srgbClr val="000000"/>
            </a:solidFill>
            <a:ln w="12700" cap="flat">
              <a:noFill/>
              <a:prstDash val="solid"/>
              <a:miter/>
            </a:ln>
          </p:spPr>
          <p:txBody>
            <a:bodyPr rtlCol="0" anchor="ctr"/>
            <a:lstStyle/>
            <a:p>
              <a:endParaRPr lang="en-US"/>
            </a:p>
          </p:txBody>
        </p:sp>
        <p:sp>
          <p:nvSpPr>
            <p:cNvPr id="1690" name="Freeform: Shape 1689">
              <a:extLst>
                <a:ext uri="{FF2B5EF4-FFF2-40B4-BE49-F238E27FC236}">
                  <a16:creationId xmlns:a16="http://schemas.microsoft.com/office/drawing/2014/main" id="{B8F083F3-AB63-4F70-887E-04DD6E2A20B6}"/>
                </a:ext>
              </a:extLst>
            </p:cNvPr>
            <p:cNvSpPr/>
            <p:nvPr/>
          </p:nvSpPr>
          <p:spPr>
            <a:xfrm>
              <a:off x="1211826" y="5831623"/>
              <a:ext cx="2545" cy="288140"/>
            </a:xfrm>
            <a:custGeom>
              <a:avLst/>
              <a:gdLst>
                <a:gd name="connsiteX0" fmla="*/ 2546 w 2545"/>
                <a:gd name="connsiteY0" fmla="*/ 288141 h 288140"/>
                <a:gd name="connsiteX1" fmla="*/ 2546 w 2545"/>
                <a:gd name="connsiteY1" fmla="*/ 4153 h 288140"/>
                <a:gd name="connsiteX2" fmla="*/ 0 w 2545"/>
                <a:gd name="connsiteY2" fmla="*/ 0 h 288140"/>
                <a:gd name="connsiteX3" fmla="*/ 0 w 2545"/>
                <a:gd name="connsiteY3" fmla="*/ 288141 h 288140"/>
                <a:gd name="connsiteX4" fmla="*/ 2546 w 2545"/>
                <a:gd name="connsiteY4" fmla="*/ 288141 h 288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88140">
                  <a:moveTo>
                    <a:pt x="2546" y="288141"/>
                  </a:moveTo>
                  <a:lnTo>
                    <a:pt x="2546" y="4153"/>
                  </a:lnTo>
                  <a:lnTo>
                    <a:pt x="0" y="0"/>
                  </a:lnTo>
                  <a:lnTo>
                    <a:pt x="0" y="288141"/>
                  </a:lnTo>
                  <a:cubicBezTo>
                    <a:pt x="843" y="288007"/>
                    <a:pt x="1702" y="288007"/>
                    <a:pt x="2546" y="288141"/>
                  </a:cubicBezTo>
                  <a:close/>
                </a:path>
              </a:pathLst>
            </a:custGeom>
            <a:solidFill>
              <a:srgbClr val="000000"/>
            </a:solidFill>
            <a:ln w="12700" cap="flat">
              <a:noFill/>
              <a:prstDash val="solid"/>
              <a:miter/>
            </a:ln>
          </p:spPr>
          <p:txBody>
            <a:bodyPr rtlCol="0" anchor="ctr"/>
            <a:lstStyle/>
            <a:p>
              <a:endParaRPr lang="en-US"/>
            </a:p>
          </p:txBody>
        </p:sp>
        <p:sp>
          <p:nvSpPr>
            <p:cNvPr id="1691" name="Freeform: Shape 1690">
              <a:extLst>
                <a:ext uri="{FF2B5EF4-FFF2-40B4-BE49-F238E27FC236}">
                  <a16:creationId xmlns:a16="http://schemas.microsoft.com/office/drawing/2014/main" id="{039BE332-ABB9-4797-A722-1A22FD7B36CF}"/>
                </a:ext>
              </a:extLst>
            </p:cNvPr>
            <p:cNvSpPr/>
            <p:nvPr/>
          </p:nvSpPr>
          <p:spPr>
            <a:xfrm>
              <a:off x="1209147" y="5819165"/>
              <a:ext cx="19466" cy="23542"/>
            </a:xfrm>
            <a:custGeom>
              <a:avLst/>
              <a:gdLst>
                <a:gd name="connsiteX0" fmla="*/ 10048 w 19466"/>
                <a:gd name="connsiteY0" fmla="*/ 11252 h 23542"/>
                <a:gd name="connsiteX1" fmla="*/ 6163 w 19466"/>
                <a:gd name="connsiteY1" fmla="*/ 12324 h 23542"/>
                <a:gd name="connsiteX2" fmla="*/ 0 w 19466"/>
                <a:gd name="connsiteY2" fmla="*/ 8841 h 23542"/>
                <a:gd name="connsiteX3" fmla="*/ 2278 w 19466"/>
                <a:gd name="connsiteY3" fmla="*/ 12458 h 23542"/>
                <a:gd name="connsiteX4" fmla="*/ 4823 w 19466"/>
                <a:gd name="connsiteY4" fmla="*/ 16611 h 23542"/>
                <a:gd name="connsiteX5" fmla="*/ 4823 w 19466"/>
                <a:gd name="connsiteY5" fmla="*/ 16611 h 23542"/>
                <a:gd name="connsiteX6" fmla="*/ 7369 w 19466"/>
                <a:gd name="connsiteY6" fmla="*/ 20763 h 23542"/>
                <a:gd name="connsiteX7" fmla="*/ 7369 w 19466"/>
                <a:gd name="connsiteY7" fmla="*/ 21701 h 23542"/>
                <a:gd name="connsiteX8" fmla="*/ 7369 w 19466"/>
                <a:gd name="connsiteY8" fmla="*/ 21701 h 23542"/>
                <a:gd name="connsiteX9" fmla="*/ 9244 w 19466"/>
                <a:gd name="connsiteY9" fmla="*/ 23442 h 23542"/>
                <a:gd name="connsiteX10" fmla="*/ 10048 w 19466"/>
                <a:gd name="connsiteY10" fmla="*/ 23442 h 23542"/>
                <a:gd name="connsiteX11" fmla="*/ 11924 w 19466"/>
                <a:gd name="connsiteY11" fmla="*/ 23442 h 23542"/>
                <a:gd name="connsiteX12" fmla="*/ 13130 w 19466"/>
                <a:gd name="connsiteY12" fmla="*/ 23442 h 23542"/>
                <a:gd name="connsiteX13" fmla="*/ 14470 w 19466"/>
                <a:gd name="connsiteY13" fmla="*/ 23442 h 23542"/>
                <a:gd name="connsiteX14" fmla="*/ 16613 w 19466"/>
                <a:gd name="connsiteY14" fmla="*/ 23442 h 23542"/>
                <a:gd name="connsiteX15" fmla="*/ 16613 w 19466"/>
                <a:gd name="connsiteY15" fmla="*/ 23442 h 23542"/>
                <a:gd name="connsiteX16" fmla="*/ 16613 w 19466"/>
                <a:gd name="connsiteY16" fmla="*/ 22773 h 23542"/>
                <a:gd name="connsiteX17" fmla="*/ 17685 w 19466"/>
                <a:gd name="connsiteY17" fmla="*/ 21835 h 23542"/>
                <a:gd name="connsiteX18" fmla="*/ 18489 w 19466"/>
                <a:gd name="connsiteY18" fmla="*/ 20629 h 23542"/>
                <a:gd name="connsiteX19" fmla="*/ 19427 w 19466"/>
                <a:gd name="connsiteY19" fmla="*/ 17950 h 23542"/>
                <a:gd name="connsiteX20" fmla="*/ 18489 w 19466"/>
                <a:gd name="connsiteY20" fmla="*/ 13396 h 23542"/>
                <a:gd name="connsiteX21" fmla="*/ 10450 w 19466"/>
                <a:gd name="connsiteY21" fmla="*/ 0 h 23542"/>
                <a:gd name="connsiteX22" fmla="*/ 10450 w 19466"/>
                <a:gd name="connsiteY22" fmla="*/ 0 h 23542"/>
                <a:gd name="connsiteX23" fmla="*/ 10957 w 19466"/>
                <a:gd name="connsiteY23" fmla="*/ 10407 h 23542"/>
                <a:gd name="connsiteX24" fmla="*/ 10048 w 19466"/>
                <a:gd name="connsiteY24" fmla="*/ 11252 h 2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466" h="23542">
                  <a:moveTo>
                    <a:pt x="10048" y="11252"/>
                  </a:moveTo>
                  <a:cubicBezTo>
                    <a:pt x="8865" y="11934"/>
                    <a:pt x="7528" y="12303"/>
                    <a:pt x="6163" y="12324"/>
                  </a:cubicBezTo>
                  <a:cubicBezTo>
                    <a:pt x="3641" y="12316"/>
                    <a:pt x="1308" y="10997"/>
                    <a:pt x="0" y="8841"/>
                  </a:cubicBezTo>
                  <a:lnTo>
                    <a:pt x="2278" y="12458"/>
                  </a:lnTo>
                  <a:lnTo>
                    <a:pt x="4823" y="16611"/>
                  </a:lnTo>
                  <a:lnTo>
                    <a:pt x="4823" y="16611"/>
                  </a:lnTo>
                  <a:lnTo>
                    <a:pt x="7369" y="20763"/>
                  </a:lnTo>
                  <a:lnTo>
                    <a:pt x="7369" y="21701"/>
                  </a:lnTo>
                  <a:cubicBezTo>
                    <a:pt x="7369" y="21701"/>
                    <a:pt x="7369" y="21701"/>
                    <a:pt x="7369" y="21701"/>
                  </a:cubicBezTo>
                  <a:cubicBezTo>
                    <a:pt x="7927" y="22349"/>
                    <a:pt x="8557" y="22933"/>
                    <a:pt x="9244" y="23442"/>
                  </a:cubicBezTo>
                  <a:lnTo>
                    <a:pt x="10048" y="23442"/>
                  </a:lnTo>
                  <a:cubicBezTo>
                    <a:pt x="10671" y="23519"/>
                    <a:pt x="11301" y="23519"/>
                    <a:pt x="11924" y="23442"/>
                  </a:cubicBezTo>
                  <a:cubicBezTo>
                    <a:pt x="12325" y="23499"/>
                    <a:pt x="12729" y="23499"/>
                    <a:pt x="13130" y="23442"/>
                  </a:cubicBezTo>
                  <a:cubicBezTo>
                    <a:pt x="13573" y="23520"/>
                    <a:pt x="14026" y="23520"/>
                    <a:pt x="14470" y="23442"/>
                  </a:cubicBezTo>
                  <a:cubicBezTo>
                    <a:pt x="15178" y="23576"/>
                    <a:pt x="15905" y="23576"/>
                    <a:pt x="16613" y="23442"/>
                  </a:cubicBezTo>
                  <a:lnTo>
                    <a:pt x="16613" y="23442"/>
                  </a:lnTo>
                  <a:lnTo>
                    <a:pt x="16613" y="22773"/>
                  </a:lnTo>
                  <a:cubicBezTo>
                    <a:pt x="17029" y="22534"/>
                    <a:pt x="17393" y="22215"/>
                    <a:pt x="17685" y="21835"/>
                  </a:cubicBezTo>
                  <a:cubicBezTo>
                    <a:pt x="18041" y="21500"/>
                    <a:pt x="18316" y="21088"/>
                    <a:pt x="18489" y="20629"/>
                  </a:cubicBezTo>
                  <a:cubicBezTo>
                    <a:pt x="18935" y="19789"/>
                    <a:pt x="19253" y="18885"/>
                    <a:pt x="19427" y="17950"/>
                  </a:cubicBezTo>
                  <a:cubicBezTo>
                    <a:pt x="19586" y="16372"/>
                    <a:pt x="19259" y="14782"/>
                    <a:pt x="18489" y="13396"/>
                  </a:cubicBezTo>
                  <a:lnTo>
                    <a:pt x="10450" y="0"/>
                  </a:lnTo>
                  <a:lnTo>
                    <a:pt x="10450" y="0"/>
                  </a:lnTo>
                  <a:cubicBezTo>
                    <a:pt x="13465" y="2734"/>
                    <a:pt x="13691" y="7393"/>
                    <a:pt x="10957" y="10407"/>
                  </a:cubicBezTo>
                  <a:cubicBezTo>
                    <a:pt x="10678" y="10714"/>
                    <a:pt x="10374" y="10997"/>
                    <a:pt x="10048" y="11252"/>
                  </a:cubicBezTo>
                  <a:close/>
                </a:path>
              </a:pathLst>
            </a:custGeom>
            <a:solidFill>
              <a:srgbClr val="000000"/>
            </a:solidFill>
            <a:ln w="12700" cap="flat">
              <a:noFill/>
              <a:prstDash val="solid"/>
              <a:miter/>
            </a:ln>
          </p:spPr>
          <p:txBody>
            <a:bodyPr rtlCol="0" anchor="ctr"/>
            <a:lstStyle/>
            <a:p>
              <a:endParaRPr lang="en-US"/>
            </a:p>
          </p:txBody>
        </p:sp>
        <p:sp>
          <p:nvSpPr>
            <p:cNvPr id="1692" name="Freeform: Shape 1691">
              <a:extLst>
                <a:ext uri="{FF2B5EF4-FFF2-40B4-BE49-F238E27FC236}">
                  <a16:creationId xmlns:a16="http://schemas.microsoft.com/office/drawing/2014/main" id="{F8B721B9-E07F-4885-B61C-09EFDC954FC3}"/>
                </a:ext>
              </a:extLst>
            </p:cNvPr>
            <p:cNvSpPr/>
            <p:nvPr/>
          </p:nvSpPr>
          <p:spPr>
            <a:xfrm>
              <a:off x="253571" y="6100916"/>
              <a:ext cx="52433" cy="25679"/>
            </a:xfrm>
            <a:custGeom>
              <a:avLst/>
              <a:gdLst>
                <a:gd name="connsiteX0" fmla="*/ 52433 w 52433"/>
                <a:gd name="connsiteY0" fmla="*/ 11614 h 25679"/>
                <a:gd name="connsiteX1" fmla="*/ 42787 w 52433"/>
                <a:gd name="connsiteY1" fmla="*/ 9203 h 25679"/>
                <a:gd name="connsiteX2" fmla="*/ 32069 w 52433"/>
                <a:gd name="connsiteY2" fmla="*/ 6658 h 25679"/>
                <a:gd name="connsiteX3" fmla="*/ 14384 w 52433"/>
                <a:gd name="connsiteY3" fmla="*/ 1568 h 25679"/>
                <a:gd name="connsiteX4" fmla="*/ 8891 w 52433"/>
                <a:gd name="connsiteY4" fmla="*/ 228 h 25679"/>
                <a:gd name="connsiteX5" fmla="*/ 84 w 52433"/>
                <a:gd name="connsiteY5" fmla="*/ 5439 h 25679"/>
                <a:gd name="connsiteX6" fmla="*/ 48 w 52433"/>
                <a:gd name="connsiteY6" fmla="*/ 5586 h 25679"/>
                <a:gd name="connsiteX7" fmla="*/ 48 w 52433"/>
                <a:gd name="connsiteY7" fmla="*/ 7864 h 25679"/>
                <a:gd name="connsiteX8" fmla="*/ 48 w 52433"/>
                <a:gd name="connsiteY8" fmla="*/ 9337 h 25679"/>
                <a:gd name="connsiteX9" fmla="*/ 48 w 52433"/>
                <a:gd name="connsiteY9" fmla="*/ 10543 h 25679"/>
                <a:gd name="connsiteX10" fmla="*/ 852 w 52433"/>
                <a:gd name="connsiteY10" fmla="*/ 11748 h 25679"/>
                <a:gd name="connsiteX11" fmla="*/ 1790 w 52433"/>
                <a:gd name="connsiteY11" fmla="*/ 12686 h 25679"/>
                <a:gd name="connsiteX12" fmla="*/ 2862 w 52433"/>
                <a:gd name="connsiteY12" fmla="*/ 13490 h 25679"/>
                <a:gd name="connsiteX13" fmla="*/ 4202 w 52433"/>
                <a:gd name="connsiteY13" fmla="*/ 14160 h 25679"/>
                <a:gd name="connsiteX14" fmla="*/ 4202 w 52433"/>
                <a:gd name="connsiteY14" fmla="*/ 14160 h 25679"/>
                <a:gd name="connsiteX15" fmla="*/ 51764 w 52433"/>
                <a:gd name="connsiteY15" fmla="*/ 25680 h 25679"/>
                <a:gd name="connsiteX16" fmla="*/ 51764 w 52433"/>
                <a:gd name="connsiteY16" fmla="*/ 11480 h 2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433" h="25679">
                  <a:moveTo>
                    <a:pt x="52433" y="11614"/>
                  </a:moveTo>
                  <a:lnTo>
                    <a:pt x="42787" y="9203"/>
                  </a:lnTo>
                  <a:lnTo>
                    <a:pt x="32069" y="6658"/>
                  </a:lnTo>
                  <a:lnTo>
                    <a:pt x="14384" y="1568"/>
                  </a:lnTo>
                  <a:lnTo>
                    <a:pt x="8891" y="228"/>
                  </a:lnTo>
                  <a:cubicBezTo>
                    <a:pt x="5020" y="-763"/>
                    <a:pt x="1079" y="1568"/>
                    <a:pt x="84" y="5439"/>
                  </a:cubicBezTo>
                  <a:cubicBezTo>
                    <a:pt x="72" y="5493"/>
                    <a:pt x="60" y="5533"/>
                    <a:pt x="48" y="5586"/>
                  </a:cubicBezTo>
                  <a:cubicBezTo>
                    <a:pt x="-16" y="6350"/>
                    <a:pt x="-16" y="7100"/>
                    <a:pt x="48" y="7864"/>
                  </a:cubicBezTo>
                  <a:cubicBezTo>
                    <a:pt x="-12" y="8359"/>
                    <a:pt x="-12" y="8842"/>
                    <a:pt x="48" y="9337"/>
                  </a:cubicBezTo>
                  <a:cubicBezTo>
                    <a:pt x="-8" y="9739"/>
                    <a:pt x="-8" y="10141"/>
                    <a:pt x="48" y="10543"/>
                  </a:cubicBezTo>
                  <a:lnTo>
                    <a:pt x="852" y="11748"/>
                  </a:lnTo>
                  <a:lnTo>
                    <a:pt x="1790" y="12686"/>
                  </a:lnTo>
                  <a:lnTo>
                    <a:pt x="2862" y="13490"/>
                  </a:lnTo>
                  <a:lnTo>
                    <a:pt x="4202" y="14160"/>
                  </a:lnTo>
                  <a:lnTo>
                    <a:pt x="4202" y="14160"/>
                  </a:lnTo>
                  <a:lnTo>
                    <a:pt x="51764" y="25680"/>
                  </a:lnTo>
                  <a:lnTo>
                    <a:pt x="51764" y="11480"/>
                  </a:lnTo>
                  <a:close/>
                </a:path>
              </a:pathLst>
            </a:custGeom>
            <a:solidFill>
              <a:srgbClr val="000000"/>
            </a:solidFill>
            <a:ln w="12700" cap="flat">
              <a:noFill/>
              <a:prstDash val="solid"/>
              <a:miter/>
            </a:ln>
          </p:spPr>
          <p:txBody>
            <a:bodyPr rtlCol="0" anchor="ctr"/>
            <a:lstStyle/>
            <a:p>
              <a:endParaRPr lang="en-US"/>
            </a:p>
          </p:txBody>
        </p:sp>
        <p:sp>
          <p:nvSpPr>
            <p:cNvPr id="1693" name="Freeform: Shape 1692">
              <a:extLst>
                <a:ext uri="{FF2B5EF4-FFF2-40B4-BE49-F238E27FC236}">
                  <a16:creationId xmlns:a16="http://schemas.microsoft.com/office/drawing/2014/main" id="{0A88A8D2-48DE-4323-BEB0-DDBA6DDFD3FF}"/>
                </a:ext>
              </a:extLst>
            </p:cNvPr>
            <p:cNvSpPr/>
            <p:nvPr/>
          </p:nvSpPr>
          <p:spPr>
            <a:xfrm>
              <a:off x="1205623" y="6123381"/>
              <a:ext cx="3523" cy="4822"/>
            </a:xfrm>
            <a:custGeom>
              <a:avLst/>
              <a:gdLst>
                <a:gd name="connsiteX0" fmla="*/ 174 w 3523"/>
                <a:gd name="connsiteY0" fmla="*/ 4822 h 4822"/>
                <a:gd name="connsiteX1" fmla="*/ 2720 w 3523"/>
                <a:gd name="connsiteY1" fmla="*/ 4822 h 4822"/>
                <a:gd name="connsiteX2" fmla="*/ 3524 w 3523"/>
                <a:gd name="connsiteY2" fmla="*/ 2143 h 4822"/>
                <a:gd name="connsiteX3" fmla="*/ 844 w 3523"/>
                <a:gd name="connsiteY3" fmla="*/ 0 h 4822"/>
                <a:gd name="connsiteX4" fmla="*/ 174 w 3523"/>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 h="4822">
                  <a:moveTo>
                    <a:pt x="174" y="4822"/>
                  </a:moveTo>
                  <a:lnTo>
                    <a:pt x="2720" y="4822"/>
                  </a:lnTo>
                  <a:cubicBezTo>
                    <a:pt x="2844" y="3898"/>
                    <a:pt x="3115" y="2987"/>
                    <a:pt x="3524" y="2143"/>
                  </a:cubicBezTo>
                  <a:lnTo>
                    <a:pt x="844" y="0"/>
                  </a:lnTo>
                  <a:cubicBezTo>
                    <a:pt x="36" y="1473"/>
                    <a:pt x="-202" y="3188"/>
                    <a:pt x="174" y="4822"/>
                  </a:cubicBezTo>
                  <a:close/>
                </a:path>
              </a:pathLst>
            </a:custGeom>
            <a:solidFill>
              <a:srgbClr val="000000"/>
            </a:solidFill>
            <a:ln w="12700" cap="flat">
              <a:noFill/>
              <a:prstDash val="solid"/>
              <a:miter/>
            </a:ln>
          </p:spPr>
          <p:txBody>
            <a:bodyPr rtlCol="0" anchor="ctr"/>
            <a:lstStyle/>
            <a:p>
              <a:endParaRPr lang="en-US"/>
            </a:p>
          </p:txBody>
        </p:sp>
        <p:sp>
          <p:nvSpPr>
            <p:cNvPr id="1694" name="Freeform: Shape 1693">
              <a:extLst>
                <a:ext uri="{FF2B5EF4-FFF2-40B4-BE49-F238E27FC236}">
                  <a16:creationId xmlns:a16="http://schemas.microsoft.com/office/drawing/2014/main" id="{6345297E-E121-44C2-BDE2-1DDCF025A940}"/>
                </a:ext>
              </a:extLst>
            </p:cNvPr>
            <p:cNvSpPr/>
            <p:nvPr/>
          </p:nvSpPr>
          <p:spPr>
            <a:xfrm>
              <a:off x="1209549" y="6121405"/>
              <a:ext cx="10986" cy="3851"/>
            </a:xfrm>
            <a:custGeom>
              <a:avLst/>
              <a:gdLst>
                <a:gd name="connsiteX0" fmla="*/ 10986 w 10986"/>
                <a:gd name="connsiteY0" fmla="*/ 2244 h 3851"/>
                <a:gd name="connsiteX1" fmla="*/ 10986 w 10986"/>
                <a:gd name="connsiteY1" fmla="*/ 2244 h 3851"/>
                <a:gd name="connsiteX2" fmla="*/ 8307 w 10986"/>
                <a:gd name="connsiteY2" fmla="*/ 100 h 3851"/>
                <a:gd name="connsiteX3" fmla="*/ 8307 w 10986"/>
                <a:gd name="connsiteY3" fmla="*/ 100 h 3851"/>
                <a:gd name="connsiteX4" fmla="*/ 8307 w 10986"/>
                <a:gd name="connsiteY4" fmla="*/ 100 h 3851"/>
                <a:gd name="connsiteX5" fmla="*/ 6967 w 10986"/>
                <a:gd name="connsiteY5" fmla="*/ 100 h 3851"/>
                <a:gd name="connsiteX6" fmla="*/ 6029 w 10986"/>
                <a:gd name="connsiteY6" fmla="*/ 100 h 3851"/>
                <a:gd name="connsiteX7" fmla="*/ 6029 w 10986"/>
                <a:gd name="connsiteY7" fmla="*/ 100 h 3851"/>
                <a:gd name="connsiteX8" fmla="*/ 3483 w 10986"/>
                <a:gd name="connsiteY8" fmla="*/ 100 h 3851"/>
                <a:gd name="connsiteX9" fmla="*/ 0 w 10986"/>
                <a:gd name="connsiteY9" fmla="*/ 1708 h 3851"/>
                <a:gd name="connsiteX10" fmla="*/ 2680 w 10986"/>
                <a:gd name="connsiteY10" fmla="*/ 3851 h 3851"/>
                <a:gd name="connsiteX11" fmla="*/ 7369 w 10986"/>
                <a:gd name="connsiteY11" fmla="*/ 1976 h 3851"/>
                <a:gd name="connsiteX12" fmla="*/ 10986 w 10986"/>
                <a:gd name="connsiteY12" fmla="*/ 2244 h 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86" h="3851">
                  <a:moveTo>
                    <a:pt x="10986" y="2244"/>
                  </a:moveTo>
                  <a:cubicBezTo>
                    <a:pt x="10986" y="2244"/>
                    <a:pt x="10986" y="2244"/>
                    <a:pt x="10986" y="2244"/>
                  </a:cubicBezTo>
                  <a:lnTo>
                    <a:pt x="8307" y="100"/>
                  </a:lnTo>
                  <a:lnTo>
                    <a:pt x="8307" y="100"/>
                  </a:lnTo>
                  <a:lnTo>
                    <a:pt x="8307" y="100"/>
                  </a:lnTo>
                  <a:cubicBezTo>
                    <a:pt x="7863" y="33"/>
                    <a:pt x="7410" y="33"/>
                    <a:pt x="6967" y="100"/>
                  </a:cubicBezTo>
                  <a:lnTo>
                    <a:pt x="6029" y="100"/>
                  </a:lnTo>
                  <a:lnTo>
                    <a:pt x="6029" y="100"/>
                  </a:lnTo>
                  <a:cubicBezTo>
                    <a:pt x="5186" y="-33"/>
                    <a:pt x="4327" y="-33"/>
                    <a:pt x="3483" y="100"/>
                  </a:cubicBezTo>
                  <a:cubicBezTo>
                    <a:pt x="2213" y="355"/>
                    <a:pt x="1020" y="904"/>
                    <a:pt x="0" y="1708"/>
                  </a:cubicBezTo>
                  <a:lnTo>
                    <a:pt x="2680" y="3851"/>
                  </a:lnTo>
                  <a:cubicBezTo>
                    <a:pt x="3985" y="2713"/>
                    <a:pt x="5638" y="2056"/>
                    <a:pt x="7369" y="1976"/>
                  </a:cubicBezTo>
                  <a:cubicBezTo>
                    <a:pt x="8577" y="1735"/>
                    <a:pt x="9827" y="1829"/>
                    <a:pt x="10986" y="2244"/>
                  </a:cubicBezTo>
                  <a:close/>
                </a:path>
              </a:pathLst>
            </a:custGeom>
            <a:solidFill>
              <a:srgbClr val="000000"/>
            </a:solidFill>
            <a:ln w="12700" cap="flat">
              <a:noFill/>
              <a:prstDash val="solid"/>
              <a:miter/>
            </a:ln>
          </p:spPr>
          <p:txBody>
            <a:bodyPr rtlCol="0" anchor="ctr"/>
            <a:lstStyle/>
            <a:p>
              <a:endParaRPr lang="en-US"/>
            </a:p>
          </p:txBody>
        </p:sp>
        <p:sp>
          <p:nvSpPr>
            <p:cNvPr id="1695" name="Freeform: Shape 1694">
              <a:extLst>
                <a:ext uri="{FF2B5EF4-FFF2-40B4-BE49-F238E27FC236}">
                  <a16:creationId xmlns:a16="http://schemas.microsoft.com/office/drawing/2014/main" id="{D033E5A0-57CD-4232-A256-75DA01A3AC46}"/>
                </a:ext>
              </a:extLst>
            </p:cNvPr>
            <p:cNvSpPr/>
            <p:nvPr/>
          </p:nvSpPr>
          <p:spPr>
            <a:xfrm>
              <a:off x="1189050" y="6107684"/>
              <a:ext cx="21704" cy="17572"/>
            </a:xfrm>
            <a:custGeom>
              <a:avLst/>
              <a:gdLst>
                <a:gd name="connsiteX0" fmla="*/ 0 w 21704"/>
                <a:gd name="connsiteY0" fmla="*/ 1498 h 17572"/>
                <a:gd name="connsiteX1" fmla="*/ 0 w 21704"/>
                <a:gd name="connsiteY1" fmla="*/ 1498 h 17572"/>
                <a:gd name="connsiteX2" fmla="*/ 12594 w 21704"/>
                <a:gd name="connsiteY2" fmla="*/ 11545 h 17572"/>
                <a:gd name="connsiteX3" fmla="*/ 17417 w 21704"/>
                <a:gd name="connsiteY3" fmla="*/ 15430 h 17572"/>
                <a:gd name="connsiteX4" fmla="*/ 20097 w 21704"/>
                <a:gd name="connsiteY4" fmla="*/ 17573 h 17572"/>
                <a:gd name="connsiteX5" fmla="*/ 21704 w 21704"/>
                <a:gd name="connsiteY5" fmla="*/ 15564 h 17572"/>
                <a:gd name="connsiteX6" fmla="*/ 19025 w 21704"/>
                <a:gd name="connsiteY6" fmla="*/ 13420 h 17572"/>
                <a:gd name="connsiteX7" fmla="*/ 16747 w 21704"/>
                <a:gd name="connsiteY7" fmla="*/ 11545 h 17572"/>
                <a:gd name="connsiteX8" fmla="*/ 2010 w 21704"/>
                <a:gd name="connsiteY8" fmla="*/ 158 h 17572"/>
                <a:gd name="connsiteX9" fmla="*/ 2010 w 21704"/>
                <a:gd name="connsiteY9" fmla="*/ 158 h 17572"/>
                <a:gd name="connsiteX10" fmla="*/ 2010 w 21704"/>
                <a:gd name="connsiteY10" fmla="*/ 158 h 17572"/>
                <a:gd name="connsiteX11" fmla="*/ 335 w 21704"/>
                <a:gd name="connsiteY11" fmla="*/ 627 h 17572"/>
                <a:gd name="connsiteX12" fmla="*/ 804 w 21704"/>
                <a:gd name="connsiteY12" fmla="*/ 2302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04" h="17572">
                  <a:moveTo>
                    <a:pt x="0" y="1498"/>
                  </a:moveTo>
                  <a:lnTo>
                    <a:pt x="0" y="1498"/>
                  </a:lnTo>
                  <a:lnTo>
                    <a:pt x="12594" y="11545"/>
                  </a:lnTo>
                  <a:lnTo>
                    <a:pt x="17417" y="15430"/>
                  </a:lnTo>
                  <a:lnTo>
                    <a:pt x="20097" y="17573"/>
                  </a:lnTo>
                  <a:cubicBezTo>
                    <a:pt x="20515" y="16823"/>
                    <a:pt x="21059" y="16140"/>
                    <a:pt x="21704" y="15564"/>
                  </a:cubicBezTo>
                  <a:lnTo>
                    <a:pt x="19025" y="13420"/>
                  </a:lnTo>
                  <a:lnTo>
                    <a:pt x="16747" y="11545"/>
                  </a:lnTo>
                  <a:lnTo>
                    <a:pt x="2010" y="158"/>
                  </a:lnTo>
                  <a:lnTo>
                    <a:pt x="2010" y="158"/>
                  </a:lnTo>
                  <a:lnTo>
                    <a:pt x="2010" y="158"/>
                  </a:lnTo>
                  <a:cubicBezTo>
                    <a:pt x="1417" y="-176"/>
                    <a:pt x="668" y="38"/>
                    <a:pt x="335" y="627"/>
                  </a:cubicBezTo>
                  <a:cubicBezTo>
                    <a:pt x="1" y="1217"/>
                    <a:pt x="212" y="1967"/>
                    <a:pt x="804" y="2302"/>
                  </a:cubicBezTo>
                  <a:close/>
                </a:path>
              </a:pathLst>
            </a:custGeom>
            <a:solidFill>
              <a:srgbClr val="000000"/>
            </a:solidFill>
            <a:ln w="12700" cap="flat">
              <a:noFill/>
              <a:prstDash val="solid"/>
              <a:miter/>
            </a:ln>
          </p:spPr>
          <p:txBody>
            <a:bodyPr rtlCol="0" anchor="ctr"/>
            <a:lstStyle/>
            <a:p>
              <a:endParaRPr lang="en-US"/>
            </a:p>
          </p:txBody>
        </p:sp>
        <p:sp>
          <p:nvSpPr>
            <p:cNvPr id="1696" name="Freeform: Shape 1695">
              <a:extLst>
                <a:ext uri="{FF2B5EF4-FFF2-40B4-BE49-F238E27FC236}">
                  <a16:creationId xmlns:a16="http://schemas.microsoft.com/office/drawing/2014/main" id="{1E323738-8FE9-4734-B565-0A0D4EB14D1E}"/>
                </a:ext>
              </a:extLst>
            </p:cNvPr>
            <p:cNvSpPr/>
            <p:nvPr/>
          </p:nvSpPr>
          <p:spPr>
            <a:xfrm>
              <a:off x="1185835" y="5778443"/>
              <a:ext cx="33494" cy="45277"/>
            </a:xfrm>
            <a:custGeom>
              <a:avLst/>
              <a:gdLst>
                <a:gd name="connsiteX0" fmla="*/ 4019 w 33494"/>
                <a:gd name="connsiteY0" fmla="*/ 11118 h 45277"/>
                <a:gd name="connsiteX1" fmla="*/ 0 w 33494"/>
                <a:gd name="connsiteY1" fmla="*/ 11118 h 45277"/>
                <a:gd name="connsiteX2" fmla="*/ 2680 w 33494"/>
                <a:gd name="connsiteY2" fmla="*/ 15673 h 45277"/>
                <a:gd name="connsiteX3" fmla="*/ 5225 w 33494"/>
                <a:gd name="connsiteY3" fmla="*/ 19826 h 45277"/>
                <a:gd name="connsiteX4" fmla="*/ 21034 w 33494"/>
                <a:gd name="connsiteY4" fmla="*/ 45277 h 45277"/>
                <a:gd name="connsiteX5" fmla="*/ 23323 w 33494"/>
                <a:gd name="connsiteY5" fmla="*/ 35307 h 45277"/>
                <a:gd name="connsiteX6" fmla="*/ 23446 w 33494"/>
                <a:gd name="connsiteY6" fmla="*/ 35231 h 45277"/>
                <a:gd name="connsiteX7" fmla="*/ 33494 w 33494"/>
                <a:gd name="connsiteY7" fmla="*/ 37508 h 45277"/>
                <a:gd name="connsiteX8" fmla="*/ 33494 w 33494"/>
                <a:gd name="connsiteY8" fmla="*/ 37508 h 45277"/>
                <a:gd name="connsiteX9" fmla="*/ 30681 w 33494"/>
                <a:gd name="connsiteY9" fmla="*/ 33087 h 45277"/>
                <a:gd name="connsiteX10" fmla="*/ 10182 w 33494"/>
                <a:gd name="connsiteY10" fmla="*/ 0 h 45277"/>
                <a:gd name="connsiteX11" fmla="*/ 10182 w 33494"/>
                <a:gd name="connsiteY11" fmla="*/ 0 h 45277"/>
                <a:gd name="connsiteX12" fmla="*/ 11790 w 33494"/>
                <a:gd name="connsiteY12" fmla="*/ 4420 h 45277"/>
                <a:gd name="connsiteX13" fmla="*/ 4060 w 33494"/>
                <a:gd name="connsiteY13" fmla="*/ 11121 h 45277"/>
                <a:gd name="connsiteX14" fmla="*/ 4019 w 33494"/>
                <a:gd name="connsiteY14" fmla="*/ 11118 h 4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494" h="45277">
                  <a:moveTo>
                    <a:pt x="4019" y="11118"/>
                  </a:moveTo>
                  <a:lnTo>
                    <a:pt x="0" y="11118"/>
                  </a:lnTo>
                  <a:lnTo>
                    <a:pt x="2680" y="15673"/>
                  </a:lnTo>
                  <a:lnTo>
                    <a:pt x="5225" y="19826"/>
                  </a:lnTo>
                  <a:lnTo>
                    <a:pt x="21034" y="45277"/>
                  </a:lnTo>
                  <a:cubicBezTo>
                    <a:pt x="18912" y="41892"/>
                    <a:pt x="19937" y="37427"/>
                    <a:pt x="23323" y="35307"/>
                  </a:cubicBezTo>
                  <a:cubicBezTo>
                    <a:pt x="23363" y="35280"/>
                    <a:pt x="23404" y="35256"/>
                    <a:pt x="23446" y="35231"/>
                  </a:cubicBezTo>
                  <a:cubicBezTo>
                    <a:pt x="26858" y="33133"/>
                    <a:pt x="31320" y="34144"/>
                    <a:pt x="33494" y="37508"/>
                  </a:cubicBezTo>
                  <a:lnTo>
                    <a:pt x="33494" y="37508"/>
                  </a:lnTo>
                  <a:lnTo>
                    <a:pt x="30681" y="33087"/>
                  </a:lnTo>
                  <a:lnTo>
                    <a:pt x="10182" y="0"/>
                  </a:lnTo>
                  <a:cubicBezTo>
                    <a:pt x="10182" y="0"/>
                    <a:pt x="10182" y="0"/>
                    <a:pt x="10182" y="0"/>
                  </a:cubicBezTo>
                  <a:cubicBezTo>
                    <a:pt x="11204" y="1248"/>
                    <a:pt x="11773" y="2808"/>
                    <a:pt x="11790" y="4420"/>
                  </a:cubicBezTo>
                  <a:cubicBezTo>
                    <a:pt x="11506" y="8406"/>
                    <a:pt x="8044" y="11405"/>
                    <a:pt x="4060" y="11121"/>
                  </a:cubicBezTo>
                  <a:cubicBezTo>
                    <a:pt x="4046" y="11121"/>
                    <a:pt x="4033" y="11120"/>
                    <a:pt x="4019" y="11118"/>
                  </a:cubicBezTo>
                  <a:close/>
                </a:path>
              </a:pathLst>
            </a:custGeom>
            <a:solidFill>
              <a:srgbClr val="000000"/>
            </a:solidFill>
            <a:ln w="12700" cap="flat">
              <a:noFill/>
              <a:prstDash val="solid"/>
              <a:miter/>
            </a:ln>
          </p:spPr>
          <p:txBody>
            <a:bodyPr rtlCol="0" anchor="ctr"/>
            <a:lstStyle/>
            <a:p>
              <a:endParaRPr lang="en-US"/>
            </a:p>
          </p:txBody>
        </p:sp>
        <p:sp>
          <p:nvSpPr>
            <p:cNvPr id="1697" name="Freeform: Shape 1696">
              <a:extLst>
                <a:ext uri="{FF2B5EF4-FFF2-40B4-BE49-F238E27FC236}">
                  <a16:creationId xmlns:a16="http://schemas.microsoft.com/office/drawing/2014/main" id="{A6BB652E-FC18-4FF5-BB6B-E743E2AF2FFF}"/>
                </a:ext>
              </a:extLst>
            </p:cNvPr>
            <p:cNvSpPr/>
            <p:nvPr/>
          </p:nvSpPr>
          <p:spPr>
            <a:xfrm>
              <a:off x="1205764" y="5812581"/>
              <a:ext cx="17300" cy="18908"/>
            </a:xfrm>
            <a:custGeom>
              <a:avLst/>
              <a:gdLst>
                <a:gd name="connsiteX0" fmla="*/ 3785 w 17300"/>
                <a:gd name="connsiteY0" fmla="*/ 15426 h 18908"/>
                <a:gd name="connsiteX1" fmla="*/ 3785 w 17300"/>
                <a:gd name="connsiteY1" fmla="*/ 15426 h 18908"/>
                <a:gd name="connsiteX2" fmla="*/ 9948 w 17300"/>
                <a:gd name="connsiteY2" fmla="*/ 18909 h 18908"/>
                <a:gd name="connsiteX3" fmla="*/ 13833 w 17300"/>
                <a:gd name="connsiteY3" fmla="*/ 17837 h 18908"/>
                <a:gd name="connsiteX4" fmla="*/ 16245 w 17300"/>
                <a:gd name="connsiteY4" fmla="*/ 7790 h 18908"/>
                <a:gd name="connsiteX5" fmla="*/ 16245 w 17300"/>
                <a:gd name="connsiteY5" fmla="*/ 7790 h 18908"/>
                <a:gd name="connsiteX6" fmla="*/ 13565 w 17300"/>
                <a:gd name="connsiteY6" fmla="*/ 3370 h 18908"/>
                <a:gd name="connsiteX7" fmla="*/ 3517 w 17300"/>
                <a:gd name="connsiteY7" fmla="*/ 1093 h 18908"/>
                <a:gd name="connsiteX8" fmla="*/ 1029 w 17300"/>
                <a:gd name="connsiteY8" fmla="*/ 11016 h 18908"/>
                <a:gd name="connsiteX9" fmla="*/ 1106 w 17300"/>
                <a:gd name="connsiteY9" fmla="*/ 11139 h 18908"/>
                <a:gd name="connsiteX10" fmla="*/ 1106 w 17300"/>
                <a:gd name="connsiteY10" fmla="*/ 11139 h 1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00" h="18908">
                  <a:moveTo>
                    <a:pt x="3785" y="15426"/>
                  </a:moveTo>
                  <a:lnTo>
                    <a:pt x="3785" y="15426"/>
                  </a:lnTo>
                  <a:cubicBezTo>
                    <a:pt x="5093" y="17581"/>
                    <a:pt x="7427" y="18901"/>
                    <a:pt x="9948" y="18909"/>
                  </a:cubicBezTo>
                  <a:cubicBezTo>
                    <a:pt x="11313" y="18887"/>
                    <a:pt x="12650" y="18519"/>
                    <a:pt x="13833" y="17837"/>
                  </a:cubicBezTo>
                  <a:cubicBezTo>
                    <a:pt x="17244" y="15707"/>
                    <a:pt x="18318" y="11236"/>
                    <a:pt x="16245" y="7790"/>
                  </a:cubicBezTo>
                  <a:lnTo>
                    <a:pt x="16245" y="7790"/>
                  </a:lnTo>
                  <a:lnTo>
                    <a:pt x="13565" y="3370"/>
                  </a:lnTo>
                  <a:cubicBezTo>
                    <a:pt x="11391" y="6"/>
                    <a:pt x="6930" y="-1005"/>
                    <a:pt x="3517" y="1093"/>
                  </a:cubicBezTo>
                  <a:cubicBezTo>
                    <a:pt x="90" y="3146"/>
                    <a:pt x="-1023" y="7588"/>
                    <a:pt x="1029" y="11016"/>
                  </a:cubicBezTo>
                  <a:cubicBezTo>
                    <a:pt x="1055" y="11058"/>
                    <a:pt x="1080" y="11098"/>
                    <a:pt x="1106" y="11139"/>
                  </a:cubicBezTo>
                  <a:lnTo>
                    <a:pt x="1106" y="11139"/>
                  </a:lnTo>
                  <a:close/>
                </a:path>
              </a:pathLst>
            </a:custGeom>
            <a:solidFill>
              <a:srgbClr val="000000"/>
            </a:solidFill>
            <a:ln w="12700" cap="flat">
              <a:noFill/>
              <a:prstDash val="solid"/>
              <a:miter/>
            </a:ln>
          </p:spPr>
          <p:txBody>
            <a:bodyPr rtlCol="0" anchor="ctr"/>
            <a:lstStyle/>
            <a:p>
              <a:endParaRPr lang="en-US"/>
            </a:p>
          </p:txBody>
        </p:sp>
        <p:sp>
          <p:nvSpPr>
            <p:cNvPr id="1698" name="Freeform: Shape 1697">
              <a:extLst>
                <a:ext uri="{FF2B5EF4-FFF2-40B4-BE49-F238E27FC236}">
                  <a16:creationId xmlns:a16="http://schemas.microsoft.com/office/drawing/2014/main" id="{28212FC6-2173-474D-BC82-7CD6A75D4815}"/>
                </a:ext>
              </a:extLst>
            </p:cNvPr>
            <p:cNvSpPr/>
            <p:nvPr/>
          </p:nvSpPr>
          <p:spPr>
            <a:xfrm>
              <a:off x="4164424" y="6540254"/>
              <a:ext cx="6296" cy="13395"/>
            </a:xfrm>
            <a:custGeom>
              <a:avLst/>
              <a:gdLst>
                <a:gd name="connsiteX0" fmla="*/ 6297 w 6296"/>
                <a:gd name="connsiteY0" fmla="*/ 0 h 13395"/>
                <a:gd name="connsiteX1" fmla="*/ 0 w 6296"/>
                <a:gd name="connsiteY1" fmla="*/ 0 h 13395"/>
                <a:gd name="connsiteX2" fmla="*/ 0 w 6296"/>
                <a:gd name="connsiteY2" fmla="*/ 0 h 13395"/>
                <a:gd name="connsiteX3" fmla="*/ 6297 w 6296"/>
                <a:gd name="connsiteY3" fmla="*/ 0 h 13395"/>
              </a:gdLst>
              <a:ahLst/>
              <a:cxnLst>
                <a:cxn ang="0">
                  <a:pos x="connsiteX0" y="connsiteY0"/>
                </a:cxn>
                <a:cxn ang="0">
                  <a:pos x="connsiteX1" y="connsiteY1"/>
                </a:cxn>
                <a:cxn ang="0">
                  <a:pos x="connsiteX2" y="connsiteY2"/>
                </a:cxn>
                <a:cxn ang="0">
                  <a:pos x="connsiteX3" y="connsiteY3"/>
                </a:cxn>
              </a:cxnLst>
              <a:rect l="l" t="t" r="r" b="b"/>
              <a:pathLst>
                <a:path w="6296" h="13395">
                  <a:moveTo>
                    <a:pt x="6297" y="0"/>
                  </a:moveTo>
                  <a:lnTo>
                    <a:pt x="0" y="0"/>
                  </a:lnTo>
                  <a:lnTo>
                    <a:pt x="0" y="0"/>
                  </a:lnTo>
                  <a:lnTo>
                    <a:pt x="6297" y="0"/>
                  </a:lnTo>
                  <a:close/>
                </a:path>
              </a:pathLst>
            </a:custGeom>
            <a:solidFill>
              <a:srgbClr val="000000"/>
            </a:solidFill>
            <a:ln w="12700" cap="flat">
              <a:noFill/>
              <a:prstDash val="solid"/>
              <a:miter/>
            </a:ln>
          </p:spPr>
          <p:txBody>
            <a:bodyPr rtlCol="0" anchor="ctr"/>
            <a:lstStyle/>
            <a:p>
              <a:endParaRPr lang="en-US"/>
            </a:p>
          </p:txBody>
        </p:sp>
        <p:sp>
          <p:nvSpPr>
            <p:cNvPr id="1699" name="Freeform: Shape 1698">
              <a:extLst>
                <a:ext uri="{FF2B5EF4-FFF2-40B4-BE49-F238E27FC236}">
                  <a16:creationId xmlns:a16="http://schemas.microsoft.com/office/drawing/2014/main" id="{D06E3BF6-F8B6-4C4F-B519-90284392FA8B}"/>
                </a:ext>
              </a:extLst>
            </p:cNvPr>
            <p:cNvSpPr/>
            <p:nvPr/>
          </p:nvSpPr>
          <p:spPr>
            <a:xfrm>
              <a:off x="3430361" y="6537830"/>
              <a:ext cx="23713" cy="1542"/>
            </a:xfrm>
            <a:custGeom>
              <a:avLst/>
              <a:gdLst>
                <a:gd name="connsiteX0" fmla="*/ 23714 w 23713"/>
                <a:gd name="connsiteY0" fmla="*/ 1219 h 1542"/>
                <a:gd name="connsiteX1" fmla="*/ 23714 w 23713"/>
                <a:gd name="connsiteY1" fmla="*/ 1219 h 1542"/>
                <a:gd name="connsiteX2" fmla="*/ 22522 w 23713"/>
                <a:gd name="connsiteY2" fmla="*/ 0 h 1542"/>
                <a:gd name="connsiteX3" fmla="*/ 22374 w 23713"/>
                <a:gd name="connsiteY3" fmla="*/ 13 h 1542"/>
                <a:gd name="connsiteX4" fmla="*/ 12058 w 23713"/>
                <a:gd name="connsiteY4" fmla="*/ 13 h 1542"/>
                <a:gd name="connsiteX5" fmla="*/ 12058 w 23713"/>
                <a:gd name="connsiteY5" fmla="*/ 13 h 1542"/>
                <a:gd name="connsiteX6" fmla="*/ 10999 w 23713"/>
                <a:gd name="connsiteY6" fmla="*/ 1340 h 1542"/>
                <a:gd name="connsiteX7" fmla="*/ 10852 w 23713"/>
                <a:gd name="connsiteY7" fmla="*/ 1353 h 1542"/>
                <a:gd name="connsiteX8" fmla="*/ 0 w 23713"/>
                <a:gd name="connsiteY8" fmla="*/ 1353 h 1542"/>
                <a:gd name="connsiteX9" fmla="*/ 0 w 23713"/>
                <a:gd name="connsiteY9" fmla="*/ 1353 h 1542"/>
                <a:gd name="connsiteX10" fmla="*/ 22240 w 23713"/>
                <a:gd name="connsiteY10" fmla="*/ 1353 h 1542"/>
                <a:gd name="connsiteX11" fmla="*/ 23714 w 23713"/>
                <a:gd name="connsiteY11" fmla="*/ 1219 h 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3" h="1542">
                  <a:moveTo>
                    <a:pt x="23714" y="1219"/>
                  </a:moveTo>
                  <a:lnTo>
                    <a:pt x="23714" y="1219"/>
                  </a:lnTo>
                  <a:cubicBezTo>
                    <a:pt x="23714" y="549"/>
                    <a:pt x="23178" y="13"/>
                    <a:pt x="22522" y="0"/>
                  </a:cubicBezTo>
                  <a:cubicBezTo>
                    <a:pt x="22468" y="0"/>
                    <a:pt x="22428" y="13"/>
                    <a:pt x="22374" y="13"/>
                  </a:cubicBezTo>
                  <a:lnTo>
                    <a:pt x="12058" y="13"/>
                  </a:lnTo>
                  <a:lnTo>
                    <a:pt x="12058" y="13"/>
                  </a:lnTo>
                  <a:cubicBezTo>
                    <a:pt x="12138" y="670"/>
                    <a:pt x="11656" y="1273"/>
                    <a:pt x="10999" y="1340"/>
                  </a:cubicBezTo>
                  <a:cubicBezTo>
                    <a:pt x="10946" y="1353"/>
                    <a:pt x="10906" y="1353"/>
                    <a:pt x="10852" y="1353"/>
                  </a:cubicBezTo>
                  <a:lnTo>
                    <a:pt x="0" y="1353"/>
                  </a:lnTo>
                  <a:cubicBezTo>
                    <a:pt x="0" y="1353"/>
                    <a:pt x="0" y="1353"/>
                    <a:pt x="0" y="1353"/>
                  </a:cubicBezTo>
                  <a:lnTo>
                    <a:pt x="22240" y="1353"/>
                  </a:lnTo>
                  <a:cubicBezTo>
                    <a:pt x="22709" y="1648"/>
                    <a:pt x="23312" y="1594"/>
                    <a:pt x="23714" y="1219"/>
                  </a:cubicBezTo>
                  <a:close/>
                </a:path>
              </a:pathLst>
            </a:custGeom>
            <a:solidFill>
              <a:srgbClr val="000000"/>
            </a:solidFill>
            <a:ln w="12700" cap="flat">
              <a:noFill/>
              <a:prstDash val="solid"/>
              <a:miter/>
            </a:ln>
          </p:spPr>
          <p:txBody>
            <a:bodyPr rtlCol="0" anchor="ctr"/>
            <a:lstStyle/>
            <a:p>
              <a:endParaRPr lang="en-US"/>
            </a:p>
          </p:txBody>
        </p:sp>
        <p:sp>
          <p:nvSpPr>
            <p:cNvPr id="1700" name="Freeform: Shape 1699">
              <a:extLst>
                <a:ext uri="{FF2B5EF4-FFF2-40B4-BE49-F238E27FC236}">
                  <a16:creationId xmlns:a16="http://schemas.microsoft.com/office/drawing/2014/main" id="{5C0EE853-FB39-452F-B0EB-6F9DF5E49F53}"/>
                </a:ext>
              </a:extLst>
            </p:cNvPr>
            <p:cNvSpPr/>
            <p:nvPr/>
          </p:nvSpPr>
          <p:spPr>
            <a:xfrm>
              <a:off x="1991308" y="5845957"/>
              <a:ext cx="339365" cy="14601"/>
            </a:xfrm>
            <a:custGeom>
              <a:avLst/>
              <a:gdLst>
                <a:gd name="connsiteX0" fmla="*/ 0 w 339365"/>
                <a:gd name="connsiteY0" fmla="*/ 14601 h 14601"/>
                <a:gd name="connsiteX1" fmla="*/ 332130 w 339365"/>
                <a:gd name="connsiteY1" fmla="*/ 14601 h 14601"/>
                <a:gd name="connsiteX2" fmla="*/ 332130 w 339365"/>
                <a:gd name="connsiteY2" fmla="*/ 7368 h 14601"/>
                <a:gd name="connsiteX3" fmla="*/ 339365 w 339365"/>
                <a:gd name="connsiteY3" fmla="*/ 0 h 14601"/>
                <a:gd name="connsiteX4" fmla="*/ 0 w 339365"/>
                <a:gd name="connsiteY4" fmla="*/ 0 h 14601"/>
                <a:gd name="connsiteX5" fmla="*/ 0 w 339365"/>
                <a:gd name="connsiteY5"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365" h="14601">
                  <a:moveTo>
                    <a:pt x="0" y="14601"/>
                  </a:moveTo>
                  <a:lnTo>
                    <a:pt x="332130" y="14601"/>
                  </a:lnTo>
                  <a:lnTo>
                    <a:pt x="332130" y="7368"/>
                  </a:lnTo>
                  <a:cubicBezTo>
                    <a:pt x="332130" y="3350"/>
                    <a:pt x="335346" y="74"/>
                    <a:pt x="339365" y="0"/>
                  </a:cubicBezTo>
                  <a:lnTo>
                    <a:pt x="0" y="0"/>
                  </a:lnTo>
                  <a:lnTo>
                    <a:pt x="0" y="14601"/>
                  </a:lnTo>
                  <a:close/>
                </a:path>
              </a:pathLst>
            </a:custGeom>
            <a:solidFill>
              <a:srgbClr val="000000"/>
            </a:solidFill>
            <a:ln w="12700" cap="flat">
              <a:noFill/>
              <a:prstDash val="solid"/>
              <a:miter/>
            </a:ln>
          </p:spPr>
          <p:txBody>
            <a:bodyPr rtlCol="0" anchor="ctr"/>
            <a:lstStyle/>
            <a:p>
              <a:endParaRPr lang="en-US"/>
            </a:p>
          </p:txBody>
        </p:sp>
        <p:sp>
          <p:nvSpPr>
            <p:cNvPr id="1701" name="Freeform: Shape 1700">
              <a:extLst>
                <a:ext uri="{FF2B5EF4-FFF2-40B4-BE49-F238E27FC236}">
                  <a16:creationId xmlns:a16="http://schemas.microsoft.com/office/drawing/2014/main" id="{8AD6180A-341B-4501-8E9C-06C331942109}"/>
                </a:ext>
              </a:extLst>
            </p:cNvPr>
            <p:cNvSpPr/>
            <p:nvPr/>
          </p:nvSpPr>
          <p:spPr>
            <a:xfrm>
              <a:off x="4203009" y="5845955"/>
              <a:ext cx="221866" cy="14468"/>
            </a:xfrm>
            <a:custGeom>
              <a:avLst/>
              <a:gdLst>
                <a:gd name="connsiteX0" fmla="*/ 7235 w 221866"/>
                <a:gd name="connsiteY0" fmla="*/ 5762 h 14468"/>
                <a:gd name="connsiteX1" fmla="*/ 1608 w 221866"/>
                <a:gd name="connsiteY1" fmla="*/ 14469 h 14468"/>
                <a:gd name="connsiteX2" fmla="*/ 214632 w 221866"/>
                <a:gd name="connsiteY2" fmla="*/ 14469 h 14468"/>
                <a:gd name="connsiteX3" fmla="*/ 214632 w 221866"/>
                <a:gd name="connsiteY3" fmla="*/ 7369 h 14468"/>
                <a:gd name="connsiteX4" fmla="*/ 221867 w 221866"/>
                <a:gd name="connsiteY4" fmla="*/ 2 h 14468"/>
                <a:gd name="connsiteX5" fmla="*/ 0 w 221866"/>
                <a:gd name="connsiteY5" fmla="*/ 2 h 14468"/>
                <a:gd name="connsiteX6" fmla="*/ 0 w 221866"/>
                <a:gd name="connsiteY6" fmla="*/ 2 h 14468"/>
                <a:gd name="connsiteX7" fmla="*/ 7235 w 221866"/>
                <a:gd name="connsiteY7" fmla="*/ 5762 h 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866" h="14468">
                  <a:moveTo>
                    <a:pt x="7235" y="5762"/>
                  </a:moveTo>
                  <a:cubicBezTo>
                    <a:pt x="8066" y="9716"/>
                    <a:pt x="5560" y="13600"/>
                    <a:pt x="1608" y="14469"/>
                  </a:cubicBezTo>
                  <a:lnTo>
                    <a:pt x="214632" y="14469"/>
                  </a:lnTo>
                  <a:lnTo>
                    <a:pt x="214632" y="7369"/>
                  </a:lnTo>
                  <a:cubicBezTo>
                    <a:pt x="214632" y="3352"/>
                    <a:pt x="217848" y="75"/>
                    <a:pt x="221867" y="2"/>
                  </a:cubicBezTo>
                  <a:lnTo>
                    <a:pt x="0" y="2"/>
                  </a:lnTo>
                  <a:lnTo>
                    <a:pt x="0" y="2"/>
                  </a:lnTo>
                  <a:cubicBezTo>
                    <a:pt x="3484" y="-71"/>
                    <a:pt x="6525" y="2350"/>
                    <a:pt x="7235" y="5762"/>
                  </a:cubicBezTo>
                  <a:close/>
                </a:path>
              </a:pathLst>
            </a:custGeom>
            <a:solidFill>
              <a:srgbClr val="000000"/>
            </a:solidFill>
            <a:ln w="12700" cap="flat">
              <a:noFill/>
              <a:prstDash val="solid"/>
              <a:miter/>
            </a:ln>
          </p:spPr>
          <p:txBody>
            <a:bodyPr rtlCol="0" anchor="ctr"/>
            <a:lstStyle/>
            <a:p>
              <a:endParaRPr lang="en-US"/>
            </a:p>
          </p:txBody>
        </p:sp>
        <p:sp>
          <p:nvSpPr>
            <p:cNvPr id="1702" name="Freeform: Shape 1701">
              <a:extLst>
                <a:ext uri="{FF2B5EF4-FFF2-40B4-BE49-F238E27FC236}">
                  <a16:creationId xmlns:a16="http://schemas.microsoft.com/office/drawing/2014/main" id="{D215908B-CD00-4F4C-ADCA-000A794C8F94}"/>
                </a:ext>
              </a:extLst>
            </p:cNvPr>
            <p:cNvSpPr/>
            <p:nvPr/>
          </p:nvSpPr>
          <p:spPr>
            <a:xfrm>
              <a:off x="4170855" y="5853270"/>
              <a:ext cx="4555" cy="1125"/>
            </a:xfrm>
            <a:custGeom>
              <a:avLst/>
              <a:gdLst>
                <a:gd name="connsiteX0" fmla="*/ 3215 w 4555"/>
                <a:gd name="connsiteY0" fmla="*/ 54 h 1125"/>
                <a:gd name="connsiteX1" fmla="*/ 3215 w 4555"/>
                <a:gd name="connsiteY1" fmla="*/ 54 h 1125"/>
                <a:gd name="connsiteX2" fmla="*/ 4555 w 4555"/>
                <a:gd name="connsiteY2" fmla="*/ 54 h 1125"/>
                <a:gd name="connsiteX3" fmla="*/ 4555 w 4555"/>
                <a:gd name="connsiteY3" fmla="*/ 54 h 1125"/>
                <a:gd name="connsiteX4" fmla="*/ 0 w 4555"/>
                <a:gd name="connsiteY4" fmla="*/ 1126 h 1125"/>
                <a:gd name="connsiteX5" fmla="*/ 0 w 4555"/>
                <a:gd name="connsiteY5" fmla="*/ 1126 h 1125"/>
                <a:gd name="connsiteX6" fmla="*/ 2144 w 4555"/>
                <a:gd name="connsiteY6" fmla="*/ 1126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5" h="1125">
                  <a:moveTo>
                    <a:pt x="3215" y="54"/>
                  </a:moveTo>
                  <a:lnTo>
                    <a:pt x="3215" y="54"/>
                  </a:lnTo>
                  <a:cubicBezTo>
                    <a:pt x="3658" y="-18"/>
                    <a:pt x="4113" y="-18"/>
                    <a:pt x="4555" y="54"/>
                  </a:cubicBezTo>
                  <a:lnTo>
                    <a:pt x="4555" y="54"/>
                  </a:lnTo>
                  <a:lnTo>
                    <a:pt x="0" y="1126"/>
                  </a:lnTo>
                  <a:lnTo>
                    <a:pt x="0" y="1126"/>
                  </a:lnTo>
                  <a:cubicBezTo>
                    <a:pt x="710" y="985"/>
                    <a:pt x="1433" y="985"/>
                    <a:pt x="2144" y="1126"/>
                  </a:cubicBezTo>
                  <a:close/>
                </a:path>
              </a:pathLst>
            </a:custGeom>
            <a:solidFill>
              <a:srgbClr val="000000"/>
            </a:solidFill>
            <a:ln w="12700" cap="flat">
              <a:noFill/>
              <a:prstDash val="solid"/>
              <a:miter/>
            </a:ln>
          </p:spPr>
          <p:txBody>
            <a:bodyPr rtlCol="0" anchor="ctr"/>
            <a:lstStyle/>
            <a:p>
              <a:endParaRPr lang="en-US"/>
            </a:p>
          </p:txBody>
        </p:sp>
        <p:sp>
          <p:nvSpPr>
            <p:cNvPr id="1703" name="Freeform: Shape 1702">
              <a:extLst>
                <a:ext uri="{FF2B5EF4-FFF2-40B4-BE49-F238E27FC236}">
                  <a16:creationId xmlns:a16="http://schemas.microsoft.com/office/drawing/2014/main" id="{BCA61408-A18C-4AD7-B850-4645DB11CE0E}"/>
                </a:ext>
              </a:extLst>
            </p:cNvPr>
            <p:cNvSpPr/>
            <p:nvPr/>
          </p:nvSpPr>
          <p:spPr>
            <a:xfrm>
              <a:off x="4201803" y="5860558"/>
              <a:ext cx="2545" cy="82517"/>
            </a:xfrm>
            <a:custGeom>
              <a:avLst/>
              <a:gdLst>
                <a:gd name="connsiteX0" fmla="*/ 1206 w 2545"/>
                <a:gd name="connsiteY0" fmla="*/ 82517 h 82517"/>
                <a:gd name="connsiteX1" fmla="*/ 2546 w 2545"/>
                <a:gd name="connsiteY1" fmla="*/ 82517 h 82517"/>
                <a:gd name="connsiteX2" fmla="*/ 2546 w 2545"/>
                <a:gd name="connsiteY2" fmla="*/ 0 h 82517"/>
                <a:gd name="connsiteX3" fmla="*/ 2546 w 2545"/>
                <a:gd name="connsiteY3" fmla="*/ 0 h 82517"/>
                <a:gd name="connsiteX4" fmla="*/ 0 w 2545"/>
                <a:gd name="connsiteY4" fmla="*/ 0 h 82517"/>
                <a:gd name="connsiteX5" fmla="*/ 0 w 2545"/>
                <a:gd name="connsiteY5" fmla="*/ 82383 h 8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82517">
                  <a:moveTo>
                    <a:pt x="1206" y="82517"/>
                  </a:moveTo>
                  <a:lnTo>
                    <a:pt x="2546" y="82517"/>
                  </a:lnTo>
                  <a:lnTo>
                    <a:pt x="2546" y="0"/>
                  </a:lnTo>
                  <a:lnTo>
                    <a:pt x="2546" y="0"/>
                  </a:lnTo>
                  <a:lnTo>
                    <a:pt x="0" y="0"/>
                  </a:lnTo>
                  <a:lnTo>
                    <a:pt x="0" y="82383"/>
                  </a:lnTo>
                  <a:close/>
                </a:path>
              </a:pathLst>
            </a:custGeom>
            <a:solidFill>
              <a:srgbClr val="000000"/>
            </a:solidFill>
            <a:ln w="12700" cap="flat">
              <a:noFill/>
              <a:prstDash val="solid"/>
              <a:miter/>
            </a:ln>
          </p:spPr>
          <p:txBody>
            <a:bodyPr rtlCol="0" anchor="ctr"/>
            <a:lstStyle/>
            <a:p>
              <a:endParaRPr lang="en-US"/>
            </a:p>
          </p:txBody>
        </p:sp>
        <p:sp>
          <p:nvSpPr>
            <p:cNvPr id="1704" name="Freeform: Shape 1703">
              <a:extLst>
                <a:ext uri="{FF2B5EF4-FFF2-40B4-BE49-F238E27FC236}">
                  <a16:creationId xmlns:a16="http://schemas.microsoft.com/office/drawing/2014/main" id="{5E7A3287-8684-44AA-8011-8FD8C784F560}"/>
                </a:ext>
              </a:extLst>
            </p:cNvPr>
            <p:cNvSpPr/>
            <p:nvPr/>
          </p:nvSpPr>
          <p:spPr>
            <a:xfrm>
              <a:off x="2337908" y="6530074"/>
              <a:ext cx="455121" cy="6965"/>
            </a:xfrm>
            <a:custGeom>
              <a:avLst/>
              <a:gdLst>
                <a:gd name="connsiteX0" fmla="*/ 0 w 455121"/>
                <a:gd name="connsiteY0" fmla="*/ 0 h 6965"/>
                <a:gd name="connsiteX1" fmla="*/ 455122 w 455121"/>
                <a:gd name="connsiteY1" fmla="*/ 0 h 6965"/>
                <a:gd name="connsiteX2" fmla="*/ 455122 w 455121"/>
                <a:gd name="connsiteY2" fmla="*/ 6966 h 6965"/>
                <a:gd name="connsiteX3" fmla="*/ 0 w 455121"/>
                <a:gd name="connsiteY3" fmla="*/ 6966 h 6965"/>
              </a:gdLst>
              <a:ahLst/>
              <a:cxnLst>
                <a:cxn ang="0">
                  <a:pos x="connsiteX0" y="connsiteY0"/>
                </a:cxn>
                <a:cxn ang="0">
                  <a:pos x="connsiteX1" y="connsiteY1"/>
                </a:cxn>
                <a:cxn ang="0">
                  <a:pos x="connsiteX2" y="connsiteY2"/>
                </a:cxn>
                <a:cxn ang="0">
                  <a:pos x="connsiteX3" y="connsiteY3"/>
                </a:cxn>
              </a:cxnLst>
              <a:rect l="l" t="t" r="r" b="b"/>
              <a:pathLst>
                <a:path w="455121" h="6965">
                  <a:moveTo>
                    <a:pt x="0" y="0"/>
                  </a:moveTo>
                  <a:lnTo>
                    <a:pt x="455122" y="0"/>
                  </a:lnTo>
                  <a:lnTo>
                    <a:pt x="455122" y="6966"/>
                  </a:lnTo>
                  <a:lnTo>
                    <a:pt x="0" y="6966"/>
                  </a:lnTo>
                  <a:close/>
                </a:path>
              </a:pathLst>
            </a:custGeom>
            <a:solidFill>
              <a:srgbClr val="000000"/>
            </a:solidFill>
            <a:ln w="12700" cap="flat">
              <a:noFill/>
              <a:prstDash val="solid"/>
              <a:miter/>
            </a:ln>
          </p:spPr>
          <p:txBody>
            <a:bodyPr rtlCol="0" anchor="ctr"/>
            <a:lstStyle/>
            <a:p>
              <a:endParaRPr lang="en-US"/>
            </a:p>
          </p:txBody>
        </p:sp>
        <p:sp>
          <p:nvSpPr>
            <p:cNvPr id="1705" name="Freeform: Shape 1704">
              <a:extLst>
                <a:ext uri="{FF2B5EF4-FFF2-40B4-BE49-F238E27FC236}">
                  <a16:creationId xmlns:a16="http://schemas.microsoft.com/office/drawing/2014/main" id="{8881C4F1-9CE9-409D-9557-01309A727CF5}"/>
                </a:ext>
              </a:extLst>
            </p:cNvPr>
            <p:cNvSpPr/>
            <p:nvPr/>
          </p:nvSpPr>
          <p:spPr>
            <a:xfrm>
              <a:off x="2336434" y="6539049"/>
              <a:ext cx="456729" cy="4956"/>
            </a:xfrm>
            <a:custGeom>
              <a:avLst/>
              <a:gdLst>
                <a:gd name="connsiteX0" fmla="*/ 1474 w 456729"/>
                <a:gd name="connsiteY0" fmla="*/ 670 h 4956"/>
                <a:gd name="connsiteX1" fmla="*/ 1474 w 456729"/>
                <a:gd name="connsiteY1" fmla="*/ 670 h 4956"/>
                <a:gd name="connsiteX2" fmla="*/ 0 w 456729"/>
                <a:gd name="connsiteY2" fmla="*/ 4956 h 4956"/>
                <a:gd name="connsiteX3" fmla="*/ 456729 w 456729"/>
                <a:gd name="connsiteY3" fmla="*/ 4956 h 4956"/>
                <a:gd name="connsiteX4" fmla="*/ 456729 w 456729"/>
                <a:gd name="connsiteY4" fmla="*/ 0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29" h="4956">
                  <a:moveTo>
                    <a:pt x="1474" y="670"/>
                  </a:moveTo>
                  <a:lnTo>
                    <a:pt x="1474" y="670"/>
                  </a:lnTo>
                  <a:cubicBezTo>
                    <a:pt x="1474" y="2224"/>
                    <a:pt x="951" y="3737"/>
                    <a:pt x="0" y="4956"/>
                  </a:cubicBezTo>
                  <a:lnTo>
                    <a:pt x="456729" y="4956"/>
                  </a:lnTo>
                  <a:lnTo>
                    <a:pt x="456729" y="0"/>
                  </a:lnTo>
                  <a:close/>
                </a:path>
              </a:pathLst>
            </a:custGeom>
            <a:solidFill>
              <a:srgbClr val="000000"/>
            </a:solidFill>
            <a:ln w="12700" cap="flat">
              <a:noFill/>
              <a:prstDash val="solid"/>
              <a:miter/>
            </a:ln>
          </p:spPr>
          <p:txBody>
            <a:bodyPr rtlCol="0" anchor="ctr"/>
            <a:lstStyle/>
            <a:p>
              <a:endParaRPr lang="en-US"/>
            </a:p>
          </p:txBody>
        </p:sp>
        <p:sp>
          <p:nvSpPr>
            <p:cNvPr id="1706" name="Freeform: Shape 1705">
              <a:extLst>
                <a:ext uri="{FF2B5EF4-FFF2-40B4-BE49-F238E27FC236}">
                  <a16:creationId xmlns:a16="http://schemas.microsoft.com/office/drawing/2014/main" id="{363A74BB-932A-44D1-917C-F37858A9FCDE}"/>
                </a:ext>
              </a:extLst>
            </p:cNvPr>
            <p:cNvSpPr/>
            <p:nvPr/>
          </p:nvSpPr>
          <p:spPr>
            <a:xfrm>
              <a:off x="4078544" y="6531681"/>
              <a:ext cx="53591" cy="7099"/>
            </a:xfrm>
            <a:custGeom>
              <a:avLst/>
              <a:gdLst>
                <a:gd name="connsiteX0" fmla="*/ 47964 w 53591"/>
                <a:gd name="connsiteY0" fmla="*/ 5492 h 7099"/>
                <a:gd name="connsiteX1" fmla="*/ 47964 w 53591"/>
                <a:gd name="connsiteY1" fmla="*/ 5492 h 7099"/>
                <a:gd name="connsiteX2" fmla="*/ 47964 w 53591"/>
                <a:gd name="connsiteY2" fmla="*/ 4153 h 7099"/>
                <a:gd name="connsiteX3" fmla="*/ 47964 w 53591"/>
                <a:gd name="connsiteY3" fmla="*/ 2947 h 7099"/>
                <a:gd name="connsiteX4" fmla="*/ 49035 w 53591"/>
                <a:gd name="connsiteY4" fmla="*/ 1206 h 7099"/>
                <a:gd name="connsiteX5" fmla="*/ 49035 w 53591"/>
                <a:gd name="connsiteY5" fmla="*/ 1206 h 7099"/>
                <a:gd name="connsiteX6" fmla="*/ 50911 w 53591"/>
                <a:gd name="connsiteY6" fmla="*/ 0 h 7099"/>
                <a:gd name="connsiteX7" fmla="*/ 52519 w 53591"/>
                <a:gd name="connsiteY7" fmla="*/ 0 h 7099"/>
                <a:gd name="connsiteX8" fmla="*/ 53591 w 53591"/>
                <a:gd name="connsiteY8" fmla="*/ 0 h 7099"/>
                <a:gd name="connsiteX9" fmla="*/ 0 w 53591"/>
                <a:gd name="connsiteY9" fmla="*/ 0 h 7099"/>
                <a:gd name="connsiteX10" fmla="*/ 0 w 53591"/>
                <a:gd name="connsiteY10" fmla="*/ 710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591" h="7099">
                  <a:moveTo>
                    <a:pt x="47964" y="5492"/>
                  </a:moveTo>
                  <a:lnTo>
                    <a:pt x="47964" y="5492"/>
                  </a:lnTo>
                  <a:cubicBezTo>
                    <a:pt x="47910" y="5050"/>
                    <a:pt x="47910" y="4595"/>
                    <a:pt x="47964" y="4153"/>
                  </a:cubicBezTo>
                  <a:cubicBezTo>
                    <a:pt x="47843" y="3764"/>
                    <a:pt x="47843" y="3336"/>
                    <a:pt x="47964" y="2947"/>
                  </a:cubicBezTo>
                  <a:cubicBezTo>
                    <a:pt x="48245" y="2318"/>
                    <a:pt x="48607" y="1742"/>
                    <a:pt x="49035" y="1206"/>
                  </a:cubicBezTo>
                  <a:lnTo>
                    <a:pt x="49035" y="1206"/>
                  </a:lnTo>
                  <a:cubicBezTo>
                    <a:pt x="49571" y="683"/>
                    <a:pt x="50215" y="268"/>
                    <a:pt x="50911" y="0"/>
                  </a:cubicBezTo>
                  <a:lnTo>
                    <a:pt x="52519" y="0"/>
                  </a:lnTo>
                  <a:lnTo>
                    <a:pt x="53591" y="0"/>
                  </a:lnTo>
                  <a:lnTo>
                    <a:pt x="0" y="0"/>
                  </a:lnTo>
                  <a:lnTo>
                    <a:pt x="0" y="7100"/>
                  </a:lnTo>
                  <a:close/>
                </a:path>
              </a:pathLst>
            </a:custGeom>
            <a:solidFill>
              <a:srgbClr val="000000"/>
            </a:solidFill>
            <a:ln w="12700" cap="flat">
              <a:noFill/>
              <a:prstDash val="solid"/>
              <a:miter/>
            </a:ln>
          </p:spPr>
          <p:txBody>
            <a:bodyPr rtlCol="0" anchor="ctr"/>
            <a:lstStyle/>
            <a:p>
              <a:endParaRPr lang="en-US"/>
            </a:p>
          </p:txBody>
        </p:sp>
        <p:sp>
          <p:nvSpPr>
            <p:cNvPr id="1707" name="Freeform: Shape 1706">
              <a:extLst>
                <a:ext uri="{FF2B5EF4-FFF2-40B4-BE49-F238E27FC236}">
                  <a16:creationId xmlns:a16="http://schemas.microsoft.com/office/drawing/2014/main" id="{4621372C-C786-4293-ACAF-8E6D2A6A4184}"/>
                </a:ext>
              </a:extLst>
            </p:cNvPr>
            <p:cNvSpPr/>
            <p:nvPr/>
          </p:nvSpPr>
          <p:spPr>
            <a:xfrm>
              <a:off x="4079214" y="6540522"/>
              <a:ext cx="53591" cy="4956"/>
            </a:xfrm>
            <a:custGeom>
              <a:avLst/>
              <a:gdLst>
                <a:gd name="connsiteX0" fmla="*/ 52385 w 53591"/>
                <a:gd name="connsiteY0" fmla="*/ 3885 h 4956"/>
                <a:gd name="connsiteX1" fmla="*/ 50911 w 53591"/>
                <a:gd name="connsiteY1" fmla="*/ 3885 h 4956"/>
                <a:gd name="connsiteX2" fmla="*/ 49840 w 53591"/>
                <a:gd name="connsiteY2" fmla="*/ 3081 h 4956"/>
                <a:gd name="connsiteX3" fmla="*/ 48634 w 53591"/>
                <a:gd name="connsiteY3" fmla="*/ 2277 h 4956"/>
                <a:gd name="connsiteX4" fmla="*/ 47830 w 53591"/>
                <a:gd name="connsiteY4" fmla="*/ 1206 h 4956"/>
                <a:gd name="connsiteX5" fmla="*/ 47160 w 53591"/>
                <a:gd name="connsiteY5" fmla="*/ 0 h 4956"/>
                <a:gd name="connsiteX6" fmla="*/ 47160 w 53591"/>
                <a:gd name="connsiteY6" fmla="*/ 0 h 4956"/>
                <a:gd name="connsiteX7" fmla="*/ 0 w 53591"/>
                <a:gd name="connsiteY7" fmla="*/ 0 h 4956"/>
                <a:gd name="connsiteX8" fmla="*/ 0 w 53591"/>
                <a:gd name="connsiteY8" fmla="*/ 4956 h 4956"/>
                <a:gd name="connsiteX9" fmla="*/ 53591 w 53591"/>
                <a:gd name="connsiteY9" fmla="*/ 4956 h 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91" h="4956">
                  <a:moveTo>
                    <a:pt x="52385" y="3885"/>
                  </a:moveTo>
                  <a:cubicBezTo>
                    <a:pt x="51903" y="3965"/>
                    <a:pt x="51394" y="3965"/>
                    <a:pt x="50911" y="3885"/>
                  </a:cubicBezTo>
                  <a:cubicBezTo>
                    <a:pt x="50496" y="3697"/>
                    <a:pt x="50134" y="3416"/>
                    <a:pt x="49840" y="3081"/>
                  </a:cubicBezTo>
                  <a:cubicBezTo>
                    <a:pt x="49411" y="2867"/>
                    <a:pt x="49009" y="2585"/>
                    <a:pt x="48634" y="2277"/>
                  </a:cubicBezTo>
                  <a:lnTo>
                    <a:pt x="47830" y="1206"/>
                  </a:lnTo>
                  <a:cubicBezTo>
                    <a:pt x="47562" y="830"/>
                    <a:pt x="47334" y="429"/>
                    <a:pt x="47160" y="0"/>
                  </a:cubicBezTo>
                  <a:lnTo>
                    <a:pt x="47160" y="0"/>
                  </a:lnTo>
                  <a:lnTo>
                    <a:pt x="0" y="0"/>
                  </a:lnTo>
                  <a:lnTo>
                    <a:pt x="0" y="4956"/>
                  </a:lnTo>
                  <a:lnTo>
                    <a:pt x="53591" y="4956"/>
                  </a:lnTo>
                  <a:close/>
                </a:path>
              </a:pathLst>
            </a:custGeom>
            <a:solidFill>
              <a:srgbClr val="000000"/>
            </a:solidFill>
            <a:ln w="12700" cap="flat">
              <a:noFill/>
              <a:prstDash val="solid"/>
              <a:miter/>
            </a:ln>
          </p:spPr>
          <p:txBody>
            <a:bodyPr rtlCol="0" anchor="ctr"/>
            <a:lstStyle/>
            <a:p>
              <a:endParaRPr lang="en-US"/>
            </a:p>
          </p:txBody>
        </p:sp>
        <p:sp>
          <p:nvSpPr>
            <p:cNvPr id="1708" name="Freeform: Shape 1707">
              <a:extLst>
                <a:ext uri="{FF2B5EF4-FFF2-40B4-BE49-F238E27FC236}">
                  <a16:creationId xmlns:a16="http://schemas.microsoft.com/office/drawing/2014/main" id="{B391E5FA-3E84-4683-8C13-D7F01076465F}"/>
                </a:ext>
              </a:extLst>
            </p:cNvPr>
            <p:cNvSpPr/>
            <p:nvPr/>
          </p:nvSpPr>
          <p:spPr>
            <a:xfrm>
              <a:off x="4156251" y="5949773"/>
              <a:ext cx="15675" cy="15003"/>
            </a:xfrm>
            <a:custGeom>
              <a:avLst/>
              <a:gdLst>
                <a:gd name="connsiteX0" fmla="*/ 8574 w 15675"/>
                <a:gd name="connsiteY0" fmla="*/ 8975 h 15003"/>
                <a:gd name="connsiteX1" fmla="*/ 8574 w 15675"/>
                <a:gd name="connsiteY1" fmla="*/ 15003 h 15003"/>
                <a:gd name="connsiteX2" fmla="*/ 15676 w 15675"/>
                <a:gd name="connsiteY2" fmla="*/ 13664 h 15003"/>
                <a:gd name="connsiteX3" fmla="*/ 15676 w 15675"/>
                <a:gd name="connsiteY3" fmla="*/ 13664 h 15003"/>
                <a:gd name="connsiteX4" fmla="*/ 14336 w 15675"/>
                <a:gd name="connsiteY4" fmla="*/ 13664 h 15003"/>
                <a:gd name="connsiteX5" fmla="*/ 13532 w 15675"/>
                <a:gd name="connsiteY5" fmla="*/ 13664 h 15003"/>
                <a:gd name="connsiteX6" fmla="*/ 12192 w 15675"/>
                <a:gd name="connsiteY6" fmla="*/ 12726 h 15003"/>
                <a:gd name="connsiteX7" fmla="*/ 11522 w 15675"/>
                <a:gd name="connsiteY7" fmla="*/ 11922 h 15003"/>
                <a:gd name="connsiteX8" fmla="*/ 10584 w 15675"/>
                <a:gd name="connsiteY8" fmla="*/ 10583 h 15003"/>
                <a:gd name="connsiteX9" fmla="*/ 10584 w 15675"/>
                <a:gd name="connsiteY9" fmla="*/ 9511 h 15003"/>
                <a:gd name="connsiteX10" fmla="*/ 10584 w 15675"/>
                <a:gd name="connsiteY10" fmla="*/ 8707 h 15003"/>
                <a:gd name="connsiteX11" fmla="*/ 10584 w 15675"/>
                <a:gd name="connsiteY11" fmla="*/ 8707 h 15003"/>
                <a:gd name="connsiteX12" fmla="*/ 10584 w 15675"/>
                <a:gd name="connsiteY12" fmla="*/ 8707 h 15003"/>
                <a:gd name="connsiteX13" fmla="*/ 10584 w 15675"/>
                <a:gd name="connsiteY13" fmla="*/ 0 h 15003"/>
                <a:gd name="connsiteX14" fmla="*/ 804 w 15675"/>
                <a:gd name="connsiteY14" fmla="*/ 1742 h 15003"/>
                <a:gd name="connsiteX15" fmla="*/ 0 w 15675"/>
                <a:gd name="connsiteY15" fmla="*/ 1742 h 15003"/>
                <a:gd name="connsiteX16" fmla="*/ 2010 w 15675"/>
                <a:gd name="connsiteY16" fmla="*/ 1742 h 15003"/>
                <a:gd name="connsiteX17" fmla="*/ 8574 w 15675"/>
                <a:gd name="connsiteY17" fmla="*/ 8975 h 1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75" h="15003">
                  <a:moveTo>
                    <a:pt x="8574" y="8975"/>
                  </a:moveTo>
                  <a:lnTo>
                    <a:pt x="8574" y="15003"/>
                  </a:lnTo>
                  <a:lnTo>
                    <a:pt x="15676" y="13664"/>
                  </a:lnTo>
                  <a:lnTo>
                    <a:pt x="15676" y="13664"/>
                  </a:lnTo>
                  <a:cubicBezTo>
                    <a:pt x="15233" y="13723"/>
                    <a:pt x="14778" y="13723"/>
                    <a:pt x="14336" y="13664"/>
                  </a:cubicBezTo>
                  <a:cubicBezTo>
                    <a:pt x="14336" y="13664"/>
                    <a:pt x="14336" y="13664"/>
                    <a:pt x="13532" y="13664"/>
                  </a:cubicBezTo>
                  <a:lnTo>
                    <a:pt x="12192" y="12726"/>
                  </a:lnTo>
                  <a:lnTo>
                    <a:pt x="11522" y="11922"/>
                  </a:lnTo>
                  <a:cubicBezTo>
                    <a:pt x="11133" y="11532"/>
                    <a:pt x="10812" y="11080"/>
                    <a:pt x="10584" y="10583"/>
                  </a:cubicBezTo>
                  <a:lnTo>
                    <a:pt x="10584" y="9511"/>
                  </a:lnTo>
                  <a:cubicBezTo>
                    <a:pt x="10531" y="9246"/>
                    <a:pt x="10531" y="8972"/>
                    <a:pt x="10584" y="8707"/>
                  </a:cubicBezTo>
                  <a:cubicBezTo>
                    <a:pt x="10584" y="8707"/>
                    <a:pt x="10584" y="8707"/>
                    <a:pt x="10584" y="8707"/>
                  </a:cubicBezTo>
                  <a:cubicBezTo>
                    <a:pt x="10584" y="8707"/>
                    <a:pt x="10584" y="8707"/>
                    <a:pt x="10584" y="8707"/>
                  </a:cubicBezTo>
                  <a:lnTo>
                    <a:pt x="10584" y="0"/>
                  </a:lnTo>
                  <a:lnTo>
                    <a:pt x="804" y="1742"/>
                  </a:lnTo>
                  <a:lnTo>
                    <a:pt x="0" y="1742"/>
                  </a:lnTo>
                  <a:cubicBezTo>
                    <a:pt x="670" y="1679"/>
                    <a:pt x="1340" y="1679"/>
                    <a:pt x="2010" y="1742"/>
                  </a:cubicBezTo>
                  <a:cubicBezTo>
                    <a:pt x="5707" y="2147"/>
                    <a:pt x="8534" y="5251"/>
                    <a:pt x="8574" y="8975"/>
                  </a:cubicBezTo>
                  <a:close/>
                </a:path>
              </a:pathLst>
            </a:custGeom>
            <a:solidFill>
              <a:srgbClr val="000000"/>
            </a:solidFill>
            <a:ln w="12700" cap="flat">
              <a:noFill/>
              <a:prstDash val="solid"/>
              <a:miter/>
            </a:ln>
          </p:spPr>
          <p:txBody>
            <a:bodyPr rtlCol="0" anchor="ctr"/>
            <a:lstStyle/>
            <a:p>
              <a:endParaRPr lang="en-US"/>
            </a:p>
          </p:txBody>
        </p:sp>
        <p:sp>
          <p:nvSpPr>
            <p:cNvPr id="1709" name="Freeform: Shape 1708">
              <a:extLst>
                <a:ext uri="{FF2B5EF4-FFF2-40B4-BE49-F238E27FC236}">
                  <a16:creationId xmlns:a16="http://schemas.microsoft.com/office/drawing/2014/main" id="{3E102231-6AD5-4E2A-BF84-EEA9F9CECEB7}"/>
                </a:ext>
              </a:extLst>
            </p:cNvPr>
            <p:cNvSpPr/>
            <p:nvPr/>
          </p:nvSpPr>
          <p:spPr>
            <a:xfrm>
              <a:off x="4174606" y="5963035"/>
              <a:ext cx="13397" cy="13395"/>
            </a:xfrm>
            <a:custGeom>
              <a:avLst/>
              <a:gdLst>
                <a:gd name="connsiteX0" fmla="*/ 0 w 13397"/>
                <a:gd name="connsiteY0" fmla="*/ 0 h 13395"/>
                <a:gd name="connsiteX1" fmla="*/ 0 w 13397"/>
                <a:gd name="connsiteY1" fmla="*/ 0 h 13395"/>
                <a:gd name="connsiteX2" fmla="*/ 0 w 13397"/>
                <a:gd name="connsiteY2" fmla="*/ 0 h 13395"/>
                <a:gd name="connsiteX3" fmla="*/ 0 w 13397"/>
                <a:gd name="connsiteY3" fmla="*/ 0 h 13395"/>
              </a:gdLst>
              <a:ahLst/>
              <a:cxnLst>
                <a:cxn ang="0">
                  <a:pos x="connsiteX0" y="connsiteY0"/>
                </a:cxn>
                <a:cxn ang="0">
                  <a:pos x="connsiteX1" y="connsiteY1"/>
                </a:cxn>
                <a:cxn ang="0">
                  <a:pos x="connsiteX2" y="connsiteY2"/>
                </a:cxn>
                <a:cxn ang="0">
                  <a:pos x="connsiteX3" y="connsiteY3"/>
                </a:cxn>
              </a:cxnLst>
              <a:rect l="l" t="t" r="r" b="b"/>
              <a:pathLst>
                <a:path w="13397" h="13395">
                  <a:moveTo>
                    <a:pt x="0" y="0"/>
                  </a:moveTo>
                  <a:lnTo>
                    <a:pt x="0" y="0"/>
                  </a:lnTo>
                  <a:lnTo>
                    <a:pt x="0" y="0"/>
                  </a:lnTo>
                  <a:lnTo>
                    <a:pt x="0" y="0"/>
                  </a:lnTo>
                  <a:close/>
                </a:path>
              </a:pathLst>
            </a:custGeom>
            <a:solidFill>
              <a:srgbClr val="000000"/>
            </a:solidFill>
            <a:ln w="12700" cap="flat">
              <a:noFill/>
              <a:prstDash val="solid"/>
              <a:miter/>
            </a:ln>
          </p:spPr>
          <p:txBody>
            <a:bodyPr rtlCol="0" anchor="ctr"/>
            <a:lstStyle/>
            <a:p>
              <a:endParaRPr lang="en-US"/>
            </a:p>
          </p:txBody>
        </p:sp>
        <p:sp>
          <p:nvSpPr>
            <p:cNvPr id="1710" name="Freeform: Shape 1709">
              <a:extLst>
                <a:ext uri="{FF2B5EF4-FFF2-40B4-BE49-F238E27FC236}">
                  <a16:creationId xmlns:a16="http://schemas.microsoft.com/office/drawing/2014/main" id="{952624F7-908A-4D5B-ADB8-28BD8D5616FD}"/>
                </a:ext>
              </a:extLst>
            </p:cNvPr>
            <p:cNvSpPr/>
            <p:nvPr/>
          </p:nvSpPr>
          <p:spPr>
            <a:xfrm>
              <a:off x="4132001" y="6530074"/>
              <a:ext cx="18220" cy="803"/>
            </a:xfrm>
            <a:custGeom>
              <a:avLst/>
              <a:gdLst>
                <a:gd name="connsiteX0" fmla="*/ 1474 w 18220"/>
                <a:gd name="connsiteY0" fmla="*/ 0 h 803"/>
                <a:gd name="connsiteX1" fmla="*/ 18221 w 18220"/>
                <a:gd name="connsiteY1" fmla="*/ 804 h 803"/>
                <a:gd name="connsiteX2" fmla="*/ 18221 w 18220"/>
                <a:gd name="connsiteY2" fmla="*/ 0 h 803"/>
                <a:gd name="connsiteX3" fmla="*/ 1072 w 18220"/>
                <a:gd name="connsiteY3" fmla="*/ 0 h 803"/>
                <a:gd name="connsiteX4" fmla="*/ 0 w 18220"/>
                <a:gd name="connsiteY4" fmla="*/ 0 h 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20" h="803">
                  <a:moveTo>
                    <a:pt x="1474" y="0"/>
                  </a:moveTo>
                  <a:lnTo>
                    <a:pt x="18221" y="804"/>
                  </a:lnTo>
                  <a:lnTo>
                    <a:pt x="18221" y="0"/>
                  </a:lnTo>
                  <a:lnTo>
                    <a:pt x="1072" y="0"/>
                  </a:lnTo>
                  <a:lnTo>
                    <a:pt x="0" y="0"/>
                  </a:lnTo>
                  <a:close/>
                </a:path>
              </a:pathLst>
            </a:custGeom>
            <a:solidFill>
              <a:srgbClr val="000000"/>
            </a:solidFill>
            <a:ln w="12700" cap="flat">
              <a:noFill/>
              <a:prstDash val="solid"/>
              <a:miter/>
            </a:ln>
          </p:spPr>
          <p:txBody>
            <a:bodyPr rtlCol="0" anchor="ctr"/>
            <a:lstStyle/>
            <a:p>
              <a:endParaRPr lang="en-US"/>
            </a:p>
          </p:txBody>
        </p:sp>
        <p:sp>
          <p:nvSpPr>
            <p:cNvPr id="1711" name="Freeform: Shape 1710">
              <a:extLst>
                <a:ext uri="{FF2B5EF4-FFF2-40B4-BE49-F238E27FC236}">
                  <a16:creationId xmlns:a16="http://schemas.microsoft.com/office/drawing/2014/main" id="{09C8BD0C-8DB8-4569-BAD2-5E2E4129A7B0}"/>
                </a:ext>
              </a:extLst>
            </p:cNvPr>
            <p:cNvSpPr/>
            <p:nvPr/>
          </p:nvSpPr>
          <p:spPr>
            <a:xfrm>
              <a:off x="4164424" y="6537441"/>
              <a:ext cx="6296" cy="2545"/>
            </a:xfrm>
            <a:custGeom>
              <a:avLst/>
              <a:gdLst>
                <a:gd name="connsiteX0" fmla="*/ 0 w 6296"/>
                <a:gd name="connsiteY0" fmla="*/ 2545 h 2545"/>
                <a:gd name="connsiteX1" fmla="*/ 6297 w 6296"/>
                <a:gd name="connsiteY1" fmla="*/ 2545 h 2545"/>
                <a:gd name="connsiteX2" fmla="*/ 6297 w 6296"/>
                <a:gd name="connsiteY2" fmla="*/ 1206 h 2545"/>
                <a:gd name="connsiteX3" fmla="*/ 6297 w 6296"/>
                <a:gd name="connsiteY3" fmla="*/ 0 h 2545"/>
                <a:gd name="connsiteX4" fmla="*/ 268 w 6296"/>
                <a:gd name="connsiteY4" fmla="*/ 0 h 2545"/>
                <a:gd name="connsiteX5" fmla="*/ 268 w 6296"/>
                <a:gd name="connsiteY5" fmla="*/ 1206 h 2545"/>
                <a:gd name="connsiteX6" fmla="*/ 268 w 6296"/>
                <a:gd name="connsiteY6" fmla="*/ 1206 h 2545"/>
                <a:gd name="connsiteX7" fmla="*/ 0 w 6296"/>
                <a:gd name="connsiteY7"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6" h="2545">
                  <a:moveTo>
                    <a:pt x="0" y="2545"/>
                  </a:moveTo>
                  <a:lnTo>
                    <a:pt x="6297" y="2545"/>
                  </a:lnTo>
                  <a:cubicBezTo>
                    <a:pt x="6297" y="2545"/>
                    <a:pt x="6297" y="1741"/>
                    <a:pt x="6297" y="1206"/>
                  </a:cubicBezTo>
                  <a:cubicBezTo>
                    <a:pt x="6230" y="804"/>
                    <a:pt x="6230" y="402"/>
                    <a:pt x="6297" y="0"/>
                  </a:cubicBezTo>
                  <a:lnTo>
                    <a:pt x="268" y="0"/>
                  </a:lnTo>
                  <a:lnTo>
                    <a:pt x="268" y="1206"/>
                  </a:lnTo>
                  <a:lnTo>
                    <a:pt x="268" y="1206"/>
                  </a:lnTo>
                  <a:cubicBezTo>
                    <a:pt x="255" y="1661"/>
                    <a:pt x="161" y="2116"/>
                    <a:pt x="0" y="2545"/>
                  </a:cubicBezTo>
                  <a:close/>
                </a:path>
              </a:pathLst>
            </a:custGeom>
            <a:solidFill>
              <a:srgbClr val="000000"/>
            </a:solidFill>
            <a:ln w="12700" cap="flat">
              <a:noFill/>
              <a:prstDash val="solid"/>
              <a:miter/>
            </a:ln>
          </p:spPr>
          <p:txBody>
            <a:bodyPr rtlCol="0" anchor="ctr"/>
            <a:lstStyle/>
            <a:p>
              <a:endParaRPr lang="en-US"/>
            </a:p>
          </p:txBody>
        </p:sp>
        <p:sp>
          <p:nvSpPr>
            <p:cNvPr id="1712" name="Freeform: Shape 1711">
              <a:extLst>
                <a:ext uri="{FF2B5EF4-FFF2-40B4-BE49-F238E27FC236}">
                  <a16:creationId xmlns:a16="http://schemas.microsoft.com/office/drawing/2014/main" id="{3EA58A97-0677-462B-B269-9D9881EE01D3}"/>
                </a:ext>
              </a:extLst>
            </p:cNvPr>
            <p:cNvSpPr/>
            <p:nvPr/>
          </p:nvSpPr>
          <p:spPr>
            <a:xfrm>
              <a:off x="4171927" y="5963035"/>
              <a:ext cx="2679" cy="572128"/>
            </a:xfrm>
            <a:custGeom>
              <a:avLst/>
              <a:gdLst>
                <a:gd name="connsiteX0" fmla="*/ 2679 w 2679"/>
                <a:gd name="connsiteY0" fmla="*/ 569852 h 572128"/>
                <a:gd name="connsiteX1" fmla="*/ 2679 w 2679"/>
                <a:gd name="connsiteY1" fmla="*/ 0 h 572128"/>
                <a:gd name="connsiteX2" fmla="*/ 0 w 2679"/>
                <a:gd name="connsiteY2" fmla="*/ 0 h 572128"/>
                <a:gd name="connsiteX3" fmla="*/ 0 w 2679"/>
                <a:gd name="connsiteY3" fmla="*/ 572129 h 572128"/>
                <a:gd name="connsiteX4" fmla="*/ 2679 w 2679"/>
                <a:gd name="connsiteY4" fmla="*/ 569852 h 57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572128">
                  <a:moveTo>
                    <a:pt x="2679" y="569852"/>
                  </a:moveTo>
                  <a:lnTo>
                    <a:pt x="2679" y="0"/>
                  </a:lnTo>
                  <a:lnTo>
                    <a:pt x="0" y="0"/>
                  </a:lnTo>
                  <a:lnTo>
                    <a:pt x="0" y="572129"/>
                  </a:lnTo>
                  <a:cubicBezTo>
                    <a:pt x="696" y="571165"/>
                    <a:pt x="1621" y="570388"/>
                    <a:pt x="2679" y="569852"/>
                  </a:cubicBezTo>
                  <a:close/>
                </a:path>
              </a:pathLst>
            </a:custGeom>
            <a:solidFill>
              <a:srgbClr val="000000"/>
            </a:solidFill>
            <a:ln w="12700" cap="flat">
              <a:noFill/>
              <a:prstDash val="solid"/>
              <a:miter/>
            </a:ln>
          </p:spPr>
          <p:txBody>
            <a:bodyPr rtlCol="0" anchor="ctr"/>
            <a:lstStyle/>
            <a:p>
              <a:endParaRPr lang="en-US"/>
            </a:p>
          </p:txBody>
        </p:sp>
        <p:sp>
          <p:nvSpPr>
            <p:cNvPr id="1713" name="Freeform: Shape 1712">
              <a:extLst>
                <a:ext uri="{FF2B5EF4-FFF2-40B4-BE49-F238E27FC236}">
                  <a16:creationId xmlns:a16="http://schemas.microsoft.com/office/drawing/2014/main" id="{DC0B7E39-7014-49D3-B3EF-F868BDE67538}"/>
                </a:ext>
              </a:extLst>
            </p:cNvPr>
            <p:cNvSpPr/>
            <p:nvPr/>
          </p:nvSpPr>
          <p:spPr>
            <a:xfrm>
              <a:off x="4210110" y="5949103"/>
              <a:ext cx="207799" cy="2545"/>
            </a:xfrm>
            <a:custGeom>
              <a:avLst/>
              <a:gdLst>
                <a:gd name="connsiteX0" fmla="*/ 268 w 207799"/>
                <a:gd name="connsiteY0" fmla="*/ 1206 h 2545"/>
                <a:gd name="connsiteX1" fmla="*/ 268 w 207799"/>
                <a:gd name="connsiteY1" fmla="*/ 2545 h 2545"/>
                <a:gd name="connsiteX2" fmla="*/ 207799 w 207799"/>
                <a:gd name="connsiteY2" fmla="*/ 2545 h 2545"/>
                <a:gd name="connsiteX3" fmla="*/ 207799 w 207799"/>
                <a:gd name="connsiteY3" fmla="*/ 1206 h 2545"/>
                <a:gd name="connsiteX4" fmla="*/ 207799 w 207799"/>
                <a:gd name="connsiteY4" fmla="*/ 0 h 2545"/>
                <a:gd name="connsiteX5" fmla="*/ 0 w 207799"/>
                <a:gd name="connsiteY5" fmla="*/ 0 h 2545"/>
                <a:gd name="connsiteX6" fmla="*/ 268 w 207799"/>
                <a:gd name="connsiteY6"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799" h="2545">
                  <a:moveTo>
                    <a:pt x="268" y="1206"/>
                  </a:moveTo>
                  <a:lnTo>
                    <a:pt x="268" y="2545"/>
                  </a:lnTo>
                  <a:lnTo>
                    <a:pt x="207799" y="2545"/>
                  </a:lnTo>
                  <a:cubicBezTo>
                    <a:pt x="207719" y="2102"/>
                    <a:pt x="207719" y="1649"/>
                    <a:pt x="207799" y="1206"/>
                  </a:cubicBezTo>
                  <a:lnTo>
                    <a:pt x="207799" y="0"/>
                  </a:lnTo>
                  <a:lnTo>
                    <a:pt x="0" y="0"/>
                  </a:lnTo>
                  <a:cubicBezTo>
                    <a:pt x="148" y="384"/>
                    <a:pt x="241" y="792"/>
                    <a:pt x="268" y="1206"/>
                  </a:cubicBezTo>
                  <a:close/>
                </a:path>
              </a:pathLst>
            </a:custGeom>
            <a:solidFill>
              <a:srgbClr val="000000"/>
            </a:solidFill>
            <a:ln w="12700" cap="flat">
              <a:noFill/>
              <a:prstDash val="solid"/>
              <a:miter/>
            </a:ln>
          </p:spPr>
          <p:txBody>
            <a:bodyPr rtlCol="0" anchor="ctr"/>
            <a:lstStyle/>
            <a:p>
              <a:endParaRPr lang="en-US"/>
            </a:p>
          </p:txBody>
        </p:sp>
        <p:sp>
          <p:nvSpPr>
            <p:cNvPr id="1714" name="Freeform: Shape 1713">
              <a:extLst>
                <a:ext uri="{FF2B5EF4-FFF2-40B4-BE49-F238E27FC236}">
                  <a16:creationId xmlns:a16="http://schemas.microsoft.com/office/drawing/2014/main" id="{27C00933-72D3-43AA-BBB8-16A13A905BBC}"/>
                </a:ext>
              </a:extLst>
            </p:cNvPr>
            <p:cNvSpPr/>
            <p:nvPr/>
          </p:nvSpPr>
          <p:spPr>
            <a:xfrm>
              <a:off x="4184788" y="5956203"/>
              <a:ext cx="60" cy="937"/>
            </a:xfrm>
            <a:custGeom>
              <a:avLst/>
              <a:gdLst>
                <a:gd name="connsiteX0" fmla="*/ 0 w 60"/>
                <a:gd name="connsiteY0" fmla="*/ 0 h 937"/>
                <a:gd name="connsiteX1" fmla="*/ 0 w 60"/>
                <a:gd name="connsiteY1" fmla="*/ 938 h 937"/>
                <a:gd name="connsiteX2" fmla="*/ 0 w 60"/>
                <a:gd name="connsiteY2" fmla="*/ 0 h 937"/>
              </a:gdLst>
              <a:ahLst/>
              <a:cxnLst>
                <a:cxn ang="0">
                  <a:pos x="connsiteX0" y="connsiteY0"/>
                </a:cxn>
                <a:cxn ang="0">
                  <a:pos x="connsiteX1" y="connsiteY1"/>
                </a:cxn>
                <a:cxn ang="0">
                  <a:pos x="connsiteX2" y="connsiteY2"/>
                </a:cxn>
              </a:cxnLst>
              <a:rect l="l" t="t" r="r" b="b"/>
              <a:pathLst>
                <a:path w="60" h="937">
                  <a:moveTo>
                    <a:pt x="0" y="0"/>
                  </a:moveTo>
                  <a:cubicBezTo>
                    <a:pt x="80" y="308"/>
                    <a:pt x="80" y="630"/>
                    <a:pt x="0" y="938"/>
                  </a:cubicBezTo>
                  <a:cubicBezTo>
                    <a:pt x="80" y="630"/>
                    <a:pt x="80" y="308"/>
                    <a:pt x="0" y="0"/>
                  </a:cubicBezTo>
                  <a:close/>
                </a:path>
              </a:pathLst>
            </a:custGeom>
            <a:solidFill>
              <a:srgbClr val="000000"/>
            </a:solidFill>
            <a:ln w="12700" cap="flat">
              <a:noFill/>
              <a:prstDash val="solid"/>
              <a:miter/>
            </a:ln>
          </p:spPr>
          <p:txBody>
            <a:bodyPr rtlCol="0" anchor="ctr"/>
            <a:lstStyle/>
            <a:p>
              <a:endParaRPr lang="en-US"/>
            </a:p>
          </p:txBody>
        </p:sp>
        <p:sp>
          <p:nvSpPr>
            <p:cNvPr id="1715" name="Freeform: Shape 1714">
              <a:extLst>
                <a:ext uri="{FF2B5EF4-FFF2-40B4-BE49-F238E27FC236}">
                  <a16:creationId xmlns:a16="http://schemas.microsoft.com/office/drawing/2014/main" id="{7745FD9E-AA66-44D3-B1F0-2DC67102D3C3}"/>
                </a:ext>
              </a:extLst>
            </p:cNvPr>
            <p:cNvSpPr/>
            <p:nvPr/>
          </p:nvSpPr>
          <p:spPr>
            <a:xfrm>
              <a:off x="4179429" y="5961829"/>
              <a:ext cx="669" cy="13395"/>
            </a:xfrm>
            <a:custGeom>
              <a:avLst/>
              <a:gdLst>
                <a:gd name="connsiteX0" fmla="*/ 670 w 669"/>
                <a:gd name="connsiteY0" fmla="*/ 0 h 13395"/>
                <a:gd name="connsiteX1" fmla="*/ 0 w 669"/>
                <a:gd name="connsiteY1" fmla="*/ 0 h 13395"/>
              </a:gdLst>
              <a:ahLst/>
              <a:cxnLst>
                <a:cxn ang="0">
                  <a:pos x="connsiteX0" y="connsiteY0"/>
                </a:cxn>
                <a:cxn ang="0">
                  <a:pos x="connsiteX1" y="connsiteY1"/>
                </a:cxn>
              </a:cxnLst>
              <a:rect l="l" t="t" r="r" b="b"/>
              <a:pathLst>
                <a:path w="669" h="13395">
                  <a:moveTo>
                    <a:pt x="670" y="0"/>
                  </a:moveTo>
                  <a:lnTo>
                    <a:pt x="0" y="0"/>
                  </a:lnTo>
                  <a:close/>
                </a:path>
              </a:pathLst>
            </a:custGeom>
            <a:solidFill>
              <a:srgbClr val="000000"/>
            </a:solidFill>
            <a:ln w="12700" cap="flat">
              <a:noFill/>
              <a:prstDash val="solid"/>
              <a:miter/>
            </a:ln>
          </p:spPr>
          <p:txBody>
            <a:bodyPr rtlCol="0" anchor="ctr"/>
            <a:lstStyle/>
            <a:p>
              <a:endParaRPr lang="en-US"/>
            </a:p>
          </p:txBody>
        </p:sp>
        <p:sp>
          <p:nvSpPr>
            <p:cNvPr id="1716" name="Freeform: Shape 1715">
              <a:extLst>
                <a:ext uri="{FF2B5EF4-FFF2-40B4-BE49-F238E27FC236}">
                  <a16:creationId xmlns:a16="http://schemas.microsoft.com/office/drawing/2014/main" id="{30C79063-30E0-49F3-9ECE-A77BD97C6420}"/>
                </a:ext>
              </a:extLst>
            </p:cNvPr>
            <p:cNvSpPr/>
            <p:nvPr/>
          </p:nvSpPr>
          <p:spPr>
            <a:xfrm>
              <a:off x="4166641" y="5956471"/>
              <a:ext cx="60" cy="1473"/>
            </a:xfrm>
            <a:custGeom>
              <a:avLst/>
              <a:gdLst>
                <a:gd name="connsiteX0" fmla="*/ 60 w 60"/>
                <a:gd name="connsiteY0" fmla="*/ 670 h 1473"/>
                <a:gd name="connsiteX1" fmla="*/ 60 w 60"/>
                <a:gd name="connsiteY1" fmla="*/ 1474 h 1473"/>
                <a:gd name="connsiteX2" fmla="*/ 60 w 60"/>
                <a:gd name="connsiteY2" fmla="*/ 0 h 1473"/>
                <a:gd name="connsiteX3" fmla="*/ 60 w 60"/>
                <a:gd name="connsiteY3" fmla="*/ 670 h 1473"/>
              </a:gdLst>
              <a:ahLst/>
              <a:cxnLst>
                <a:cxn ang="0">
                  <a:pos x="connsiteX0" y="connsiteY0"/>
                </a:cxn>
                <a:cxn ang="0">
                  <a:pos x="connsiteX1" y="connsiteY1"/>
                </a:cxn>
                <a:cxn ang="0">
                  <a:pos x="connsiteX2" y="connsiteY2"/>
                </a:cxn>
                <a:cxn ang="0">
                  <a:pos x="connsiteX3" y="connsiteY3"/>
                </a:cxn>
              </a:cxnLst>
              <a:rect l="l" t="t" r="r" b="b"/>
              <a:pathLst>
                <a:path w="60" h="1473">
                  <a:moveTo>
                    <a:pt x="60" y="670"/>
                  </a:moveTo>
                  <a:cubicBezTo>
                    <a:pt x="7" y="935"/>
                    <a:pt x="7" y="1208"/>
                    <a:pt x="60" y="1474"/>
                  </a:cubicBezTo>
                  <a:cubicBezTo>
                    <a:pt x="-20" y="985"/>
                    <a:pt x="-20" y="489"/>
                    <a:pt x="60" y="0"/>
                  </a:cubicBezTo>
                  <a:cubicBezTo>
                    <a:pt x="60" y="0"/>
                    <a:pt x="60" y="402"/>
                    <a:pt x="60" y="670"/>
                  </a:cubicBezTo>
                  <a:close/>
                </a:path>
              </a:pathLst>
            </a:custGeom>
            <a:solidFill>
              <a:srgbClr val="000000"/>
            </a:solidFill>
            <a:ln w="12700" cap="flat">
              <a:noFill/>
              <a:prstDash val="solid"/>
              <a:miter/>
            </a:ln>
          </p:spPr>
          <p:txBody>
            <a:bodyPr rtlCol="0" anchor="ctr"/>
            <a:lstStyle/>
            <a:p>
              <a:endParaRPr lang="en-US"/>
            </a:p>
          </p:txBody>
        </p:sp>
        <p:sp>
          <p:nvSpPr>
            <p:cNvPr id="1717" name="Freeform: Shape 1716">
              <a:extLst>
                <a:ext uri="{FF2B5EF4-FFF2-40B4-BE49-F238E27FC236}">
                  <a16:creationId xmlns:a16="http://schemas.microsoft.com/office/drawing/2014/main" id="{50734E94-B607-4306-B6F5-7F00265826B3}"/>
                </a:ext>
              </a:extLst>
            </p:cNvPr>
            <p:cNvSpPr/>
            <p:nvPr/>
          </p:nvSpPr>
          <p:spPr>
            <a:xfrm>
              <a:off x="4170587" y="5963035"/>
              <a:ext cx="2679" cy="150"/>
            </a:xfrm>
            <a:custGeom>
              <a:avLst/>
              <a:gdLst>
                <a:gd name="connsiteX0" fmla="*/ 2679 w 2679"/>
                <a:gd name="connsiteY0" fmla="*/ 0 h 150"/>
                <a:gd name="connsiteX1" fmla="*/ 0 w 2679"/>
                <a:gd name="connsiteY1" fmla="*/ 0 h 150"/>
                <a:gd name="connsiteX2" fmla="*/ 1340 w 2679"/>
                <a:gd name="connsiteY2" fmla="*/ 0 h 150"/>
              </a:gdLst>
              <a:ahLst/>
              <a:cxnLst>
                <a:cxn ang="0">
                  <a:pos x="connsiteX0" y="connsiteY0"/>
                </a:cxn>
                <a:cxn ang="0">
                  <a:pos x="connsiteX1" y="connsiteY1"/>
                </a:cxn>
                <a:cxn ang="0">
                  <a:pos x="connsiteX2" y="connsiteY2"/>
                </a:cxn>
              </a:cxnLst>
              <a:rect l="l" t="t" r="r" b="b"/>
              <a:pathLst>
                <a:path w="2679" h="150">
                  <a:moveTo>
                    <a:pt x="2679" y="0"/>
                  </a:moveTo>
                  <a:cubicBezTo>
                    <a:pt x="1795" y="201"/>
                    <a:pt x="884" y="201"/>
                    <a:pt x="0" y="0"/>
                  </a:cubicBezTo>
                  <a:cubicBezTo>
                    <a:pt x="442" y="59"/>
                    <a:pt x="897" y="59"/>
                    <a:pt x="1340" y="0"/>
                  </a:cubicBezTo>
                  <a:close/>
                </a:path>
              </a:pathLst>
            </a:custGeom>
            <a:solidFill>
              <a:srgbClr val="000000"/>
            </a:solidFill>
            <a:ln w="12700" cap="flat">
              <a:noFill/>
              <a:prstDash val="solid"/>
              <a:miter/>
            </a:ln>
          </p:spPr>
          <p:txBody>
            <a:bodyPr rtlCol="0" anchor="ctr"/>
            <a:lstStyle/>
            <a:p>
              <a:endParaRPr lang="en-US"/>
            </a:p>
          </p:txBody>
        </p:sp>
        <p:sp>
          <p:nvSpPr>
            <p:cNvPr id="1718" name="Freeform: Shape 1717">
              <a:extLst>
                <a:ext uri="{FF2B5EF4-FFF2-40B4-BE49-F238E27FC236}">
                  <a16:creationId xmlns:a16="http://schemas.microsoft.com/office/drawing/2014/main" id="{916B9AF4-349E-4FF4-9450-74B9DB5D5B90}"/>
                </a:ext>
              </a:extLst>
            </p:cNvPr>
            <p:cNvSpPr/>
            <p:nvPr/>
          </p:nvSpPr>
          <p:spPr>
            <a:xfrm>
              <a:off x="4173266" y="5962901"/>
              <a:ext cx="3215" cy="804"/>
            </a:xfrm>
            <a:custGeom>
              <a:avLst/>
              <a:gdLst>
                <a:gd name="connsiteX0" fmla="*/ 1340 w 3215"/>
                <a:gd name="connsiteY0" fmla="*/ 0 h 804"/>
                <a:gd name="connsiteX1" fmla="*/ 1340 w 3215"/>
                <a:gd name="connsiteY1" fmla="*/ 0 h 804"/>
                <a:gd name="connsiteX2" fmla="*/ 3216 w 3215"/>
                <a:gd name="connsiteY2" fmla="*/ 0 h 804"/>
                <a:gd name="connsiteX3" fmla="*/ 3216 w 3215"/>
                <a:gd name="connsiteY3" fmla="*/ 0 h 804"/>
                <a:gd name="connsiteX4" fmla="*/ 0 w 3215"/>
                <a:gd name="connsiteY4" fmla="*/ 804 h 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 h="804">
                  <a:moveTo>
                    <a:pt x="1340" y="0"/>
                  </a:moveTo>
                  <a:lnTo>
                    <a:pt x="1340" y="0"/>
                  </a:lnTo>
                  <a:lnTo>
                    <a:pt x="3216" y="0"/>
                  </a:lnTo>
                  <a:lnTo>
                    <a:pt x="3216" y="0"/>
                  </a:lnTo>
                  <a:cubicBezTo>
                    <a:pt x="2238" y="544"/>
                    <a:pt x="1126" y="821"/>
                    <a:pt x="0" y="804"/>
                  </a:cubicBezTo>
                  <a:close/>
                </a:path>
              </a:pathLst>
            </a:custGeom>
            <a:solidFill>
              <a:srgbClr val="000000"/>
            </a:solidFill>
            <a:ln w="12700" cap="flat">
              <a:noFill/>
              <a:prstDash val="solid"/>
              <a:miter/>
            </a:ln>
          </p:spPr>
          <p:txBody>
            <a:bodyPr rtlCol="0" anchor="ctr"/>
            <a:lstStyle/>
            <a:p>
              <a:endParaRPr lang="en-US"/>
            </a:p>
          </p:txBody>
        </p:sp>
        <p:sp>
          <p:nvSpPr>
            <p:cNvPr id="1719" name="Freeform: Shape 1718">
              <a:extLst>
                <a:ext uri="{FF2B5EF4-FFF2-40B4-BE49-F238E27FC236}">
                  <a16:creationId xmlns:a16="http://schemas.microsoft.com/office/drawing/2014/main" id="{CC285D29-E629-499E-8637-9399FC4584E5}"/>
                </a:ext>
              </a:extLst>
            </p:cNvPr>
            <p:cNvSpPr/>
            <p:nvPr/>
          </p:nvSpPr>
          <p:spPr>
            <a:xfrm>
              <a:off x="4417373" y="5846091"/>
              <a:ext cx="14469" cy="111452"/>
            </a:xfrm>
            <a:custGeom>
              <a:avLst/>
              <a:gdLst>
                <a:gd name="connsiteX0" fmla="*/ 268 w 14469"/>
                <a:gd name="connsiteY0" fmla="*/ 7234 h 111452"/>
                <a:gd name="connsiteX1" fmla="*/ 268 w 14469"/>
                <a:gd name="connsiteY1" fmla="*/ 104218 h 111452"/>
                <a:gd name="connsiteX2" fmla="*/ 268 w 14469"/>
                <a:gd name="connsiteY2" fmla="*/ 105558 h 111452"/>
                <a:gd name="connsiteX3" fmla="*/ 7235 w 14469"/>
                <a:gd name="connsiteY3" fmla="*/ 111452 h 111452"/>
                <a:gd name="connsiteX4" fmla="*/ 14470 w 14469"/>
                <a:gd name="connsiteY4" fmla="*/ 104218 h 111452"/>
                <a:gd name="connsiteX5" fmla="*/ 14470 w 14469"/>
                <a:gd name="connsiteY5" fmla="*/ 7234 h 111452"/>
                <a:gd name="connsiteX6" fmla="*/ 7235 w 14469"/>
                <a:gd name="connsiteY6" fmla="*/ 0 h 111452"/>
                <a:gd name="connsiteX7" fmla="*/ 0 w 14469"/>
                <a:gd name="connsiteY7" fmla="*/ 7234 h 11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111452">
                  <a:moveTo>
                    <a:pt x="268" y="7234"/>
                  </a:moveTo>
                  <a:lnTo>
                    <a:pt x="268" y="104218"/>
                  </a:lnTo>
                  <a:cubicBezTo>
                    <a:pt x="188" y="104662"/>
                    <a:pt x="188" y="105114"/>
                    <a:pt x="268" y="105558"/>
                  </a:cubicBezTo>
                  <a:cubicBezTo>
                    <a:pt x="804" y="108982"/>
                    <a:pt x="3765" y="111493"/>
                    <a:pt x="7235" y="111452"/>
                  </a:cubicBezTo>
                  <a:cubicBezTo>
                    <a:pt x="11227" y="111452"/>
                    <a:pt x="14470" y="108213"/>
                    <a:pt x="14470" y="104218"/>
                  </a:cubicBezTo>
                  <a:lnTo>
                    <a:pt x="14470" y="7234"/>
                  </a:lnTo>
                  <a:cubicBezTo>
                    <a:pt x="14470" y="3239"/>
                    <a:pt x="11227" y="0"/>
                    <a:pt x="7235" y="0"/>
                  </a:cubicBezTo>
                  <a:cubicBezTo>
                    <a:pt x="3242" y="0"/>
                    <a:pt x="0" y="3239"/>
                    <a:pt x="0" y="7234"/>
                  </a:cubicBezTo>
                  <a:close/>
                </a:path>
              </a:pathLst>
            </a:custGeom>
            <a:solidFill>
              <a:srgbClr val="000000"/>
            </a:solidFill>
            <a:ln w="12700" cap="flat">
              <a:noFill/>
              <a:prstDash val="solid"/>
              <a:miter/>
            </a:ln>
          </p:spPr>
          <p:txBody>
            <a:bodyPr rtlCol="0" anchor="ctr"/>
            <a:lstStyle/>
            <a:p>
              <a:endParaRPr lang="en-US"/>
            </a:p>
          </p:txBody>
        </p:sp>
        <p:sp>
          <p:nvSpPr>
            <p:cNvPr id="1720" name="Freeform: Shape 1719">
              <a:extLst>
                <a:ext uri="{FF2B5EF4-FFF2-40B4-BE49-F238E27FC236}">
                  <a16:creationId xmlns:a16="http://schemas.microsoft.com/office/drawing/2014/main" id="{FF563D35-C56C-4EDB-B2CF-E64892F34ED6}"/>
                </a:ext>
              </a:extLst>
            </p:cNvPr>
            <p:cNvSpPr/>
            <p:nvPr/>
          </p:nvSpPr>
          <p:spPr>
            <a:xfrm>
              <a:off x="4185056" y="5953658"/>
              <a:ext cx="10986" cy="2545"/>
            </a:xfrm>
            <a:custGeom>
              <a:avLst/>
              <a:gdLst>
                <a:gd name="connsiteX0" fmla="*/ 10718 w 10986"/>
                <a:gd name="connsiteY0" fmla="*/ 2545 h 2545"/>
                <a:gd name="connsiteX1" fmla="*/ 10718 w 10986"/>
                <a:gd name="connsiteY1" fmla="*/ 0 h 2545"/>
                <a:gd name="connsiteX2" fmla="*/ 6967 w 10986"/>
                <a:gd name="connsiteY2" fmla="*/ 0 h 2545"/>
                <a:gd name="connsiteX3" fmla="*/ 0 w 10986"/>
                <a:gd name="connsiteY3" fmla="*/ 1340 h 2545"/>
                <a:gd name="connsiteX4" fmla="*/ 0 w 10986"/>
                <a:gd name="connsiteY4" fmla="*/ 1340 h 2545"/>
                <a:gd name="connsiteX5" fmla="*/ 0 w 10986"/>
                <a:gd name="connsiteY5" fmla="*/ 2545 h 2545"/>
                <a:gd name="connsiteX6" fmla="*/ 10986 w 10986"/>
                <a:gd name="connsiteY6"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86" h="2545">
                  <a:moveTo>
                    <a:pt x="10718" y="2545"/>
                  </a:moveTo>
                  <a:lnTo>
                    <a:pt x="10718" y="0"/>
                  </a:lnTo>
                  <a:lnTo>
                    <a:pt x="6967" y="0"/>
                  </a:lnTo>
                  <a:lnTo>
                    <a:pt x="0" y="1340"/>
                  </a:lnTo>
                  <a:lnTo>
                    <a:pt x="0" y="1340"/>
                  </a:lnTo>
                  <a:cubicBezTo>
                    <a:pt x="67" y="1739"/>
                    <a:pt x="67" y="2146"/>
                    <a:pt x="0" y="2545"/>
                  </a:cubicBezTo>
                  <a:lnTo>
                    <a:pt x="10986" y="2545"/>
                  </a:lnTo>
                  <a:close/>
                </a:path>
              </a:pathLst>
            </a:custGeom>
            <a:solidFill>
              <a:srgbClr val="000000"/>
            </a:solidFill>
            <a:ln w="12700" cap="flat">
              <a:noFill/>
              <a:prstDash val="solid"/>
              <a:miter/>
            </a:ln>
          </p:spPr>
          <p:txBody>
            <a:bodyPr rtlCol="0" anchor="ctr"/>
            <a:lstStyle/>
            <a:p>
              <a:endParaRPr lang="en-US"/>
            </a:p>
          </p:txBody>
        </p:sp>
        <p:sp>
          <p:nvSpPr>
            <p:cNvPr id="1721" name="Freeform: Shape 1720">
              <a:extLst>
                <a:ext uri="{FF2B5EF4-FFF2-40B4-BE49-F238E27FC236}">
                  <a16:creationId xmlns:a16="http://schemas.microsoft.com/office/drawing/2014/main" id="{E1632911-5557-4C29-889A-97D9DE87F526}"/>
                </a:ext>
              </a:extLst>
            </p:cNvPr>
            <p:cNvSpPr/>
            <p:nvPr/>
          </p:nvSpPr>
          <p:spPr>
            <a:xfrm>
              <a:off x="4176482" y="5962097"/>
              <a:ext cx="2679" cy="570119"/>
            </a:xfrm>
            <a:custGeom>
              <a:avLst/>
              <a:gdLst>
                <a:gd name="connsiteX0" fmla="*/ 0 w 2679"/>
                <a:gd name="connsiteY0" fmla="*/ 570120 h 570119"/>
                <a:gd name="connsiteX1" fmla="*/ 1608 w 2679"/>
                <a:gd name="connsiteY1" fmla="*/ 570120 h 570119"/>
                <a:gd name="connsiteX2" fmla="*/ 2679 w 2679"/>
                <a:gd name="connsiteY2" fmla="*/ 570120 h 570119"/>
                <a:gd name="connsiteX3" fmla="*/ 2679 w 2679"/>
                <a:gd name="connsiteY3" fmla="*/ 0 h 570119"/>
                <a:gd name="connsiteX4" fmla="*/ 2679 w 2679"/>
                <a:gd name="connsiteY4" fmla="*/ 0 h 570119"/>
                <a:gd name="connsiteX5" fmla="*/ 1339 w 2679"/>
                <a:gd name="connsiteY5" fmla="*/ 0 h 570119"/>
                <a:gd name="connsiteX6" fmla="*/ 0 w 2679"/>
                <a:gd name="connsiteY6" fmla="*/ 0 h 570119"/>
                <a:gd name="connsiteX7" fmla="*/ 0 w 2679"/>
                <a:gd name="connsiteY7" fmla="*/ 569986 h 570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570119">
                  <a:moveTo>
                    <a:pt x="0" y="570120"/>
                  </a:moveTo>
                  <a:lnTo>
                    <a:pt x="1608" y="570120"/>
                  </a:lnTo>
                  <a:lnTo>
                    <a:pt x="2679" y="570120"/>
                  </a:lnTo>
                  <a:lnTo>
                    <a:pt x="2679" y="0"/>
                  </a:lnTo>
                  <a:lnTo>
                    <a:pt x="2679" y="0"/>
                  </a:lnTo>
                  <a:lnTo>
                    <a:pt x="1339" y="0"/>
                  </a:lnTo>
                  <a:lnTo>
                    <a:pt x="0" y="0"/>
                  </a:lnTo>
                  <a:lnTo>
                    <a:pt x="0" y="569986"/>
                  </a:lnTo>
                  <a:close/>
                </a:path>
              </a:pathLst>
            </a:custGeom>
            <a:solidFill>
              <a:srgbClr val="000000"/>
            </a:solidFill>
            <a:ln w="12700" cap="flat">
              <a:noFill/>
              <a:prstDash val="solid"/>
              <a:miter/>
            </a:ln>
          </p:spPr>
          <p:txBody>
            <a:bodyPr rtlCol="0" anchor="ctr"/>
            <a:lstStyle/>
            <a:p>
              <a:endParaRPr lang="en-US"/>
            </a:p>
          </p:txBody>
        </p:sp>
        <p:sp>
          <p:nvSpPr>
            <p:cNvPr id="1722" name="Freeform: Shape 1721">
              <a:extLst>
                <a:ext uri="{FF2B5EF4-FFF2-40B4-BE49-F238E27FC236}">
                  <a16:creationId xmlns:a16="http://schemas.microsoft.com/office/drawing/2014/main" id="{923A3D51-5D1F-45B3-B63D-41E14E7D7FDD}"/>
                </a:ext>
              </a:extLst>
            </p:cNvPr>
            <p:cNvSpPr/>
            <p:nvPr/>
          </p:nvSpPr>
          <p:spPr>
            <a:xfrm>
              <a:off x="4204349" y="6547354"/>
              <a:ext cx="1473" cy="13395"/>
            </a:xfrm>
            <a:custGeom>
              <a:avLst/>
              <a:gdLst>
                <a:gd name="connsiteX0" fmla="*/ 0 w 1473"/>
                <a:gd name="connsiteY0" fmla="*/ 0 h 13395"/>
                <a:gd name="connsiteX1" fmla="*/ 0 w 1473"/>
                <a:gd name="connsiteY1" fmla="*/ 0 h 13395"/>
                <a:gd name="connsiteX2" fmla="*/ 1474 w 1473"/>
                <a:gd name="connsiteY2" fmla="*/ 0 h 13395"/>
              </a:gdLst>
              <a:ahLst/>
              <a:cxnLst>
                <a:cxn ang="0">
                  <a:pos x="connsiteX0" y="connsiteY0"/>
                </a:cxn>
                <a:cxn ang="0">
                  <a:pos x="connsiteX1" y="connsiteY1"/>
                </a:cxn>
                <a:cxn ang="0">
                  <a:pos x="connsiteX2" y="connsiteY2"/>
                </a:cxn>
              </a:cxnLst>
              <a:rect l="l" t="t" r="r" b="b"/>
              <a:pathLst>
                <a:path w="1473" h="13395">
                  <a:moveTo>
                    <a:pt x="0" y="0"/>
                  </a:moveTo>
                  <a:lnTo>
                    <a:pt x="0" y="0"/>
                  </a:lnTo>
                  <a:lnTo>
                    <a:pt x="1474" y="0"/>
                  </a:lnTo>
                  <a:close/>
                </a:path>
              </a:pathLst>
            </a:custGeom>
            <a:solidFill>
              <a:srgbClr val="000000"/>
            </a:solidFill>
            <a:ln w="12700" cap="flat">
              <a:noFill/>
              <a:prstDash val="solid"/>
              <a:miter/>
            </a:ln>
          </p:spPr>
          <p:txBody>
            <a:bodyPr rtlCol="0" anchor="ctr"/>
            <a:lstStyle/>
            <a:p>
              <a:endParaRPr lang="en-US"/>
            </a:p>
          </p:txBody>
        </p:sp>
        <p:sp>
          <p:nvSpPr>
            <p:cNvPr id="1723" name="Freeform: Shape 1722">
              <a:extLst>
                <a:ext uri="{FF2B5EF4-FFF2-40B4-BE49-F238E27FC236}">
                  <a16:creationId xmlns:a16="http://schemas.microsoft.com/office/drawing/2014/main" id="{750E2D96-2014-4436-9315-78FC1C038D65}"/>
                </a:ext>
              </a:extLst>
            </p:cNvPr>
            <p:cNvSpPr/>
            <p:nvPr/>
          </p:nvSpPr>
          <p:spPr>
            <a:xfrm>
              <a:off x="4210378" y="6540656"/>
              <a:ext cx="50" cy="1607"/>
            </a:xfrm>
            <a:custGeom>
              <a:avLst/>
              <a:gdLst>
                <a:gd name="connsiteX0" fmla="*/ 0 w 50"/>
                <a:gd name="connsiteY0" fmla="*/ 0 h 1607"/>
                <a:gd name="connsiteX1" fmla="*/ 0 w 50"/>
                <a:gd name="connsiteY1" fmla="*/ 0 h 1607"/>
                <a:gd name="connsiteX2" fmla="*/ 0 w 50"/>
                <a:gd name="connsiteY2" fmla="*/ 1607 h 1607"/>
                <a:gd name="connsiteX3" fmla="*/ 0 w 50"/>
                <a:gd name="connsiteY3" fmla="*/ 0 h 1607"/>
              </a:gdLst>
              <a:ahLst/>
              <a:cxnLst>
                <a:cxn ang="0">
                  <a:pos x="connsiteX0" y="connsiteY0"/>
                </a:cxn>
                <a:cxn ang="0">
                  <a:pos x="connsiteX1" y="connsiteY1"/>
                </a:cxn>
                <a:cxn ang="0">
                  <a:pos x="connsiteX2" y="connsiteY2"/>
                </a:cxn>
                <a:cxn ang="0">
                  <a:pos x="connsiteX3" y="connsiteY3"/>
                </a:cxn>
              </a:cxnLst>
              <a:rect l="l" t="t" r="r" b="b"/>
              <a:pathLst>
                <a:path w="50" h="1607">
                  <a:moveTo>
                    <a:pt x="0" y="0"/>
                  </a:moveTo>
                  <a:lnTo>
                    <a:pt x="0" y="0"/>
                  </a:lnTo>
                  <a:cubicBezTo>
                    <a:pt x="67" y="536"/>
                    <a:pt x="67" y="1072"/>
                    <a:pt x="0" y="1607"/>
                  </a:cubicBezTo>
                  <a:cubicBezTo>
                    <a:pt x="67" y="1072"/>
                    <a:pt x="67" y="536"/>
                    <a:pt x="0" y="0"/>
                  </a:cubicBezTo>
                  <a:close/>
                </a:path>
              </a:pathLst>
            </a:custGeom>
            <a:solidFill>
              <a:srgbClr val="000000"/>
            </a:solidFill>
            <a:ln w="12700" cap="flat">
              <a:noFill/>
              <a:prstDash val="solid"/>
              <a:miter/>
            </a:ln>
          </p:spPr>
          <p:txBody>
            <a:bodyPr rtlCol="0" anchor="ctr"/>
            <a:lstStyle/>
            <a:p>
              <a:endParaRPr lang="en-US"/>
            </a:p>
          </p:txBody>
        </p:sp>
        <p:sp>
          <p:nvSpPr>
            <p:cNvPr id="1724" name="Freeform: Shape 1723">
              <a:extLst>
                <a:ext uri="{FF2B5EF4-FFF2-40B4-BE49-F238E27FC236}">
                  <a16:creationId xmlns:a16="http://schemas.microsoft.com/office/drawing/2014/main" id="{387DBB07-77D7-451E-B500-D7D0F75C4851}"/>
                </a:ext>
              </a:extLst>
            </p:cNvPr>
            <p:cNvSpPr/>
            <p:nvPr/>
          </p:nvSpPr>
          <p:spPr>
            <a:xfrm>
              <a:off x="4170804" y="6532083"/>
              <a:ext cx="30864" cy="14601"/>
            </a:xfrm>
            <a:custGeom>
              <a:avLst/>
              <a:gdLst>
                <a:gd name="connsiteX0" fmla="*/ 24970 w 30864"/>
                <a:gd name="connsiteY0" fmla="*/ 8305 h 14601"/>
                <a:gd name="connsiteX1" fmla="*/ 24970 w 30864"/>
                <a:gd name="connsiteY1" fmla="*/ 670 h 14601"/>
                <a:gd name="connsiteX2" fmla="*/ 8357 w 30864"/>
                <a:gd name="connsiteY2" fmla="*/ 0 h 14601"/>
                <a:gd name="connsiteX3" fmla="*/ 7285 w 30864"/>
                <a:gd name="connsiteY3" fmla="*/ 0 h 14601"/>
                <a:gd name="connsiteX4" fmla="*/ 5678 w 30864"/>
                <a:gd name="connsiteY4" fmla="*/ 0 h 14601"/>
                <a:gd name="connsiteX5" fmla="*/ 3802 w 30864"/>
                <a:gd name="connsiteY5" fmla="*/ 0 h 14601"/>
                <a:gd name="connsiteX6" fmla="*/ 1122 w 30864"/>
                <a:gd name="connsiteY6" fmla="*/ 2277 h 14601"/>
                <a:gd name="connsiteX7" fmla="*/ 50 w 30864"/>
                <a:gd name="connsiteY7" fmla="*/ 4822 h 14601"/>
                <a:gd name="connsiteX8" fmla="*/ 50 w 30864"/>
                <a:gd name="connsiteY8" fmla="*/ 6028 h 14601"/>
                <a:gd name="connsiteX9" fmla="*/ 50 w 30864"/>
                <a:gd name="connsiteY9" fmla="*/ 7368 h 14601"/>
                <a:gd name="connsiteX10" fmla="*/ 50 w 30864"/>
                <a:gd name="connsiteY10" fmla="*/ 7368 h 14601"/>
                <a:gd name="connsiteX11" fmla="*/ 50 w 30864"/>
                <a:gd name="connsiteY11" fmla="*/ 8573 h 14601"/>
                <a:gd name="connsiteX12" fmla="*/ 6615 w 30864"/>
                <a:gd name="connsiteY12" fmla="*/ 13530 h 14601"/>
                <a:gd name="connsiteX13" fmla="*/ 30865 w 30864"/>
                <a:gd name="connsiteY13" fmla="*/ 14601 h 14601"/>
                <a:gd name="connsiteX14" fmla="*/ 30865 w 30864"/>
                <a:gd name="connsiteY14" fmla="*/ 14601 h 14601"/>
                <a:gd name="connsiteX15" fmla="*/ 24970 w 30864"/>
                <a:gd name="connsiteY15" fmla="*/ 8305 h 14601"/>
                <a:gd name="connsiteX16" fmla="*/ 7017 w 30864"/>
                <a:gd name="connsiteY16" fmla="*/ 8305 h 14601"/>
                <a:gd name="connsiteX17" fmla="*/ 2462 w 30864"/>
                <a:gd name="connsiteY17" fmla="*/ 8305 h 14601"/>
                <a:gd name="connsiteX18" fmla="*/ 1122 w 30864"/>
                <a:gd name="connsiteY18" fmla="*/ 6966 h 14601"/>
                <a:gd name="connsiteX19" fmla="*/ 2462 w 30864"/>
                <a:gd name="connsiteY19" fmla="*/ 5760 h 14601"/>
                <a:gd name="connsiteX20" fmla="*/ 7017 w 30864"/>
                <a:gd name="connsiteY20" fmla="*/ 5760 h 14601"/>
                <a:gd name="connsiteX21" fmla="*/ 8357 w 30864"/>
                <a:gd name="connsiteY21" fmla="*/ 7100 h 14601"/>
                <a:gd name="connsiteX22" fmla="*/ 7017 w 30864"/>
                <a:gd name="connsiteY22" fmla="*/ 8439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864" h="14601">
                  <a:moveTo>
                    <a:pt x="24970" y="8305"/>
                  </a:moveTo>
                  <a:lnTo>
                    <a:pt x="24970" y="670"/>
                  </a:lnTo>
                  <a:lnTo>
                    <a:pt x="8357" y="0"/>
                  </a:lnTo>
                  <a:lnTo>
                    <a:pt x="7285" y="0"/>
                  </a:lnTo>
                  <a:lnTo>
                    <a:pt x="5678" y="0"/>
                  </a:lnTo>
                  <a:lnTo>
                    <a:pt x="3802" y="0"/>
                  </a:lnTo>
                  <a:cubicBezTo>
                    <a:pt x="2743" y="536"/>
                    <a:pt x="1819" y="1313"/>
                    <a:pt x="1122" y="2277"/>
                  </a:cubicBezTo>
                  <a:cubicBezTo>
                    <a:pt x="600" y="3054"/>
                    <a:pt x="238" y="3912"/>
                    <a:pt x="50" y="4822"/>
                  </a:cubicBezTo>
                  <a:cubicBezTo>
                    <a:pt x="-17" y="5224"/>
                    <a:pt x="-17" y="5626"/>
                    <a:pt x="50" y="6028"/>
                  </a:cubicBezTo>
                  <a:cubicBezTo>
                    <a:pt x="50" y="6028"/>
                    <a:pt x="50" y="6966"/>
                    <a:pt x="50" y="7368"/>
                  </a:cubicBezTo>
                  <a:lnTo>
                    <a:pt x="50" y="7368"/>
                  </a:lnTo>
                  <a:cubicBezTo>
                    <a:pt x="50" y="7368"/>
                    <a:pt x="50" y="8171"/>
                    <a:pt x="50" y="8573"/>
                  </a:cubicBezTo>
                  <a:cubicBezTo>
                    <a:pt x="988" y="11426"/>
                    <a:pt x="3614" y="13409"/>
                    <a:pt x="6615" y="13530"/>
                  </a:cubicBezTo>
                  <a:lnTo>
                    <a:pt x="30865" y="14601"/>
                  </a:lnTo>
                  <a:lnTo>
                    <a:pt x="30865" y="14601"/>
                  </a:lnTo>
                  <a:cubicBezTo>
                    <a:pt x="27730" y="14025"/>
                    <a:pt x="25332" y="11480"/>
                    <a:pt x="24970" y="8305"/>
                  </a:cubicBezTo>
                  <a:close/>
                  <a:moveTo>
                    <a:pt x="7017" y="8305"/>
                  </a:moveTo>
                  <a:lnTo>
                    <a:pt x="2462" y="8305"/>
                  </a:lnTo>
                  <a:cubicBezTo>
                    <a:pt x="1725" y="8305"/>
                    <a:pt x="1122" y="7702"/>
                    <a:pt x="1122" y="6966"/>
                  </a:cubicBezTo>
                  <a:cubicBezTo>
                    <a:pt x="1122" y="6296"/>
                    <a:pt x="1792" y="5626"/>
                    <a:pt x="2462" y="5760"/>
                  </a:cubicBezTo>
                  <a:lnTo>
                    <a:pt x="7017" y="5760"/>
                  </a:lnTo>
                  <a:cubicBezTo>
                    <a:pt x="7754" y="5760"/>
                    <a:pt x="8357" y="6363"/>
                    <a:pt x="8357" y="7100"/>
                  </a:cubicBezTo>
                  <a:cubicBezTo>
                    <a:pt x="8290" y="7810"/>
                    <a:pt x="7727" y="8372"/>
                    <a:pt x="7017" y="8439"/>
                  </a:cubicBezTo>
                  <a:close/>
                </a:path>
              </a:pathLst>
            </a:custGeom>
            <a:solidFill>
              <a:srgbClr val="000000"/>
            </a:solidFill>
            <a:ln w="12700" cap="flat">
              <a:noFill/>
              <a:prstDash val="solid"/>
              <a:miter/>
            </a:ln>
          </p:spPr>
          <p:txBody>
            <a:bodyPr rtlCol="0" anchor="ctr"/>
            <a:lstStyle/>
            <a:p>
              <a:endParaRPr lang="en-US"/>
            </a:p>
          </p:txBody>
        </p:sp>
        <p:sp>
          <p:nvSpPr>
            <p:cNvPr id="1725" name="Freeform: Shape 1724">
              <a:extLst>
                <a:ext uri="{FF2B5EF4-FFF2-40B4-BE49-F238E27FC236}">
                  <a16:creationId xmlns:a16="http://schemas.microsoft.com/office/drawing/2014/main" id="{B686A9B8-48E5-442D-B618-5E5E06ED8E9D}"/>
                </a:ext>
              </a:extLst>
            </p:cNvPr>
            <p:cNvSpPr/>
            <p:nvPr/>
          </p:nvSpPr>
          <p:spPr>
            <a:xfrm>
              <a:off x="4185056" y="5950309"/>
              <a:ext cx="10718" cy="4688"/>
            </a:xfrm>
            <a:custGeom>
              <a:avLst/>
              <a:gdLst>
                <a:gd name="connsiteX0" fmla="*/ 10718 w 10718"/>
                <a:gd name="connsiteY0" fmla="*/ 2679 h 4688"/>
                <a:gd name="connsiteX1" fmla="*/ 10718 w 10718"/>
                <a:gd name="connsiteY1" fmla="*/ 0 h 4688"/>
                <a:gd name="connsiteX2" fmla="*/ 0 w 10718"/>
                <a:gd name="connsiteY2" fmla="*/ 2009 h 4688"/>
                <a:gd name="connsiteX3" fmla="*/ 0 w 10718"/>
                <a:gd name="connsiteY3" fmla="*/ 4688 h 4688"/>
                <a:gd name="connsiteX4" fmla="*/ 6967 w 10718"/>
                <a:gd name="connsiteY4" fmla="*/ 3349 h 4688"/>
                <a:gd name="connsiteX5" fmla="*/ 10718 w 10718"/>
                <a:gd name="connsiteY5" fmla="*/ 2679 h 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18" h="4688">
                  <a:moveTo>
                    <a:pt x="10718" y="2679"/>
                  </a:moveTo>
                  <a:lnTo>
                    <a:pt x="10718" y="0"/>
                  </a:lnTo>
                  <a:lnTo>
                    <a:pt x="0" y="2009"/>
                  </a:lnTo>
                  <a:lnTo>
                    <a:pt x="0" y="4688"/>
                  </a:lnTo>
                  <a:lnTo>
                    <a:pt x="6967" y="3349"/>
                  </a:lnTo>
                  <a:lnTo>
                    <a:pt x="10718" y="2679"/>
                  </a:lnTo>
                  <a:close/>
                </a:path>
              </a:pathLst>
            </a:custGeom>
            <a:solidFill>
              <a:srgbClr val="000000"/>
            </a:solidFill>
            <a:ln w="12700" cap="flat">
              <a:noFill/>
              <a:prstDash val="solid"/>
              <a:miter/>
            </a:ln>
          </p:spPr>
          <p:txBody>
            <a:bodyPr rtlCol="0" anchor="ctr"/>
            <a:lstStyle/>
            <a:p>
              <a:endParaRPr lang="en-US"/>
            </a:p>
          </p:txBody>
        </p:sp>
        <p:sp>
          <p:nvSpPr>
            <p:cNvPr id="1726" name="Freeform: Shape 1725">
              <a:extLst>
                <a:ext uri="{FF2B5EF4-FFF2-40B4-BE49-F238E27FC236}">
                  <a16:creationId xmlns:a16="http://schemas.microsoft.com/office/drawing/2014/main" id="{056DBF43-268A-461B-A08B-438DCCB647F2}"/>
                </a:ext>
              </a:extLst>
            </p:cNvPr>
            <p:cNvSpPr/>
            <p:nvPr/>
          </p:nvSpPr>
          <p:spPr>
            <a:xfrm>
              <a:off x="4171927" y="6537977"/>
              <a:ext cx="7234" cy="2545"/>
            </a:xfrm>
            <a:custGeom>
              <a:avLst/>
              <a:gdLst>
                <a:gd name="connsiteX0" fmla="*/ 5895 w 7234"/>
                <a:gd name="connsiteY0" fmla="*/ 0 h 2545"/>
                <a:gd name="connsiteX1" fmla="*/ 1339 w 7234"/>
                <a:gd name="connsiteY1" fmla="*/ 0 h 2545"/>
                <a:gd name="connsiteX2" fmla="*/ 0 w 7234"/>
                <a:gd name="connsiteY2" fmla="*/ 1206 h 2545"/>
                <a:gd name="connsiteX3" fmla="*/ 1339 w 7234"/>
                <a:gd name="connsiteY3" fmla="*/ 2545 h 2545"/>
                <a:gd name="connsiteX4" fmla="*/ 5895 w 7234"/>
                <a:gd name="connsiteY4" fmla="*/ 2545 h 2545"/>
                <a:gd name="connsiteX5" fmla="*/ 7234 w 7234"/>
                <a:gd name="connsiteY5" fmla="*/ 1340 h 2545"/>
                <a:gd name="connsiteX6" fmla="*/ 5895 w 7234"/>
                <a:gd name="connsiteY6"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2545">
                  <a:moveTo>
                    <a:pt x="5895" y="0"/>
                  </a:moveTo>
                  <a:lnTo>
                    <a:pt x="1339" y="0"/>
                  </a:lnTo>
                  <a:cubicBezTo>
                    <a:pt x="670" y="0"/>
                    <a:pt x="134" y="0"/>
                    <a:pt x="0" y="1206"/>
                  </a:cubicBezTo>
                  <a:cubicBezTo>
                    <a:pt x="0" y="1942"/>
                    <a:pt x="603" y="2545"/>
                    <a:pt x="1339" y="2545"/>
                  </a:cubicBezTo>
                  <a:lnTo>
                    <a:pt x="5895" y="2545"/>
                  </a:lnTo>
                  <a:cubicBezTo>
                    <a:pt x="6565" y="2492"/>
                    <a:pt x="7114" y="1996"/>
                    <a:pt x="7234" y="1340"/>
                  </a:cubicBezTo>
                  <a:cubicBezTo>
                    <a:pt x="7234" y="603"/>
                    <a:pt x="6632" y="0"/>
                    <a:pt x="5895" y="0"/>
                  </a:cubicBezTo>
                  <a:close/>
                </a:path>
              </a:pathLst>
            </a:custGeom>
            <a:solidFill>
              <a:srgbClr val="000000"/>
            </a:solidFill>
            <a:ln w="12700" cap="flat">
              <a:noFill/>
              <a:prstDash val="solid"/>
              <a:miter/>
            </a:ln>
          </p:spPr>
          <p:txBody>
            <a:bodyPr rtlCol="0" anchor="ctr"/>
            <a:lstStyle/>
            <a:p>
              <a:endParaRPr lang="en-US"/>
            </a:p>
          </p:txBody>
        </p:sp>
        <p:sp>
          <p:nvSpPr>
            <p:cNvPr id="1727" name="Freeform: Shape 1726">
              <a:extLst>
                <a:ext uri="{FF2B5EF4-FFF2-40B4-BE49-F238E27FC236}">
                  <a16:creationId xmlns:a16="http://schemas.microsoft.com/office/drawing/2014/main" id="{078F1156-9956-4769-98C2-D9F047EA330F}"/>
                </a:ext>
              </a:extLst>
            </p:cNvPr>
            <p:cNvSpPr/>
            <p:nvPr/>
          </p:nvSpPr>
          <p:spPr>
            <a:xfrm>
              <a:off x="4175946" y="5846707"/>
              <a:ext cx="34189" cy="18003"/>
            </a:xfrm>
            <a:custGeom>
              <a:avLst/>
              <a:gdLst>
                <a:gd name="connsiteX0" fmla="*/ 1875 w 34189"/>
                <a:gd name="connsiteY0" fmla="*/ 4876 h 18003"/>
                <a:gd name="connsiteX1" fmla="*/ 9110 w 34189"/>
                <a:gd name="connsiteY1" fmla="*/ 12109 h 18003"/>
                <a:gd name="connsiteX2" fmla="*/ 9110 w 34189"/>
                <a:gd name="connsiteY2" fmla="*/ 18003 h 18003"/>
                <a:gd name="connsiteX3" fmla="*/ 25858 w 34189"/>
                <a:gd name="connsiteY3" fmla="*/ 14252 h 18003"/>
                <a:gd name="connsiteX4" fmla="*/ 28403 w 34189"/>
                <a:gd name="connsiteY4" fmla="*/ 14252 h 18003"/>
                <a:gd name="connsiteX5" fmla="*/ 28403 w 34189"/>
                <a:gd name="connsiteY5" fmla="*/ 14252 h 18003"/>
                <a:gd name="connsiteX6" fmla="*/ 34030 w 34189"/>
                <a:gd name="connsiteY6" fmla="*/ 5545 h 18003"/>
                <a:gd name="connsiteX7" fmla="*/ 26126 w 34189"/>
                <a:gd name="connsiteY7" fmla="*/ 53 h 18003"/>
                <a:gd name="connsiteX8" fmla="*/ 25322 w 34189"/>
                <a:gd name="connsiteY8" fmla="*/ 53 h 18003"/>
                <a:gd name="connsiteX9" fmla="*/ 0 w 34189"/>
                <a:gd name="connsiteY9" fmla="*/ 5545 h 18003"/>
                <a:gd name="connsiteX10" fmla="*/ 0 w 34189"/>
                <a:gd name="connsiteY10" fmla="*/ 5545 h 18003"/>
                <a:gd name="connsiteX11" fmla="*/ 1875 w 34189"/>
                <a:gd name="connsiteY11" fmla="*/ 4876 h 1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89" h="18003">
                  <a:moveTo>
                    <a:pt x="1875" y="4876"/>
                  </a:moveTo>
                  <a:cubicBezTo>
                    <a:pt x="5868" y="4876"/>
                    <a:pt x="9110" y="8115"/>
                    <a:pt x="9110" y="12109"/>
                  </a:cubicBezTo>
                  <a:lnTo>
                    <a:pt x="9110" y="18003"/>
                  </a:lnTo>
                  <a:lnTo>
                    <a:pt x="25858" y="14252"/>
                  </a:lnTo>
                  <a:lnTo>
                    <a:pt x="28403" y="14252"/>
                  </a:lnTo>
                  <a:lnTo>
                    <a:pt x="28403" y="14252"/>
                  </a:lnTo>
                  <a:cubicBezTo>
                    <a:pt x="32356" y="13383"/>
                    <a:pt x="34861" y="9500"/>
                    <a:pt x="34030" y="5545"/>
                  </a:cubicBezTo>
                  <a:cubicBezTo>
                    <a:pt x="33173" y="1973"/>
                    <a:pt x="29770" y="-389"/>
                    <a:pt x="26126" y="53"/>
                  </a:cubicBezTo>
                  <a:cubicBezTo>
                    <a:pt x="26126" y="53"/>
                    <a:pt x="26126" y="53"/>
                    <a:pt x="25322" y="53"/>
                  </a:cubicBezTo>
                  <a:lnTo>
                    <a:pt x="0" y="5545"/>
                  </a:lnTo>
                  <a:lnTo>
                    <a:pt x="0" y="5545"/>
                  </a:lnTo>
                  <a:cubicBezTo>
                    <a:pt x="603" y="5261"/>
                    <a:pt x="1233" y="5036"/>
                    <a:pt x="1875" y="4876"/>
                  </a:cubicBezTo>
                  <a:close/>
                </a:path>
              </a:pathLst>
            </a:custGeom>
            <a:solidFill>
              <a:srgbClr val="000000"/>
            </a:solidFill>
            <a:ln w="12700" cap="flat">
              <a:noFill/>
              <a:prstDash val="solid"/>
              <a:miter/>
            </a:ln>
          </p:spPr>
          <p:txBody>
            <a:bodyPr rtlCol="0" anchor="ctr"/>
            <a:lstStyle/>
            <a:p>
              <a:endParaRPr lang="en-US"/>
            </a:p>
          </p:txBody>
        </p:sp>
        <p:sp>
          <p:nvSpPr>
            <p:cNvPr id="1728" name="Freeform: Shape 1727">
              <a:extLst>
                <a:ext uri="{FF2B5EF4-FFF2-40B4-BE49-F238E27FC236}">
                  <a16:creationId xmlns:a16="http://schemas.microsoft.com/office/drawing/2014/main" id="{008A71F8-9E9A-4047-88E4-F08B1793CAEA}"/>
                </a:ext>
              </a:extLst>
            </p:cNvPr>
            <p:cNvSpPr/>
            <p:nvPr/>
          </p:nvSpPr>
          <p:spPr>
            <a:xfrm>
              <a:off x="0" y="4754880"/>
              <a:ext cx="13397" cy="13395"/>
            </a:xfrm>
            <a:custGeom>
              <a:avLst/>
              <a:gdLst/>
              <a:ahLst/>
              <a:cxnLst/>
              <a:rect l="l" t="t" r="r" b="b"/>
              <a:pathLst>
                <a:path w="13397" h="13395"/>
              </a:pathLst>
            </a:custGeom>
            <a:solidFill>
              <a:srgbClr val="000000"/>
            </a:solidFill>
            <a:ln w="12700" cap="flat">
              <a:noFill/>
              <a:prstDash val="solid"/>
              <a:miter/>
            </a:ln>
          </p:spPr>
          <p:txBody>
            <a:bodyPr rtlCol="0" anchor="ctr"/>
            <a:lstStyle/>
            <a:p>
              <a:endParaRPr lang="en-US"/>
            </a:p>
          </p:txBody>
        </p:sp>
        <p:sp>
          <p:nvSpPr>
            <p:cNvPr id="1729" name="Freeform: Shape 1728">
              <a:extLst>
                <a:ext uri="{FF2B5EF4-FFF2-40B4-BE49-F238E27FC236}">
                  <a16:creationId xmlns:a16="http://schemas.microsoft.com/office/drawing/2014/main" id="{1677C3F6-E2B7-4350-9D6E-B554CA29A540}"/>
                </a:ext>
              </a:extLst>
            </p:cNvPr>
            <p:cNvSpPr/>
            <p:nvPr/>
          </p:nvSpPr>
          <p:spPr>
            <a:xfrm>
              <a:off x="2337908" y="6537173"/>
              <a:ext cx="455255" cy="2545"/>
            </a:xfrm>
            <a:custGeom>
              <a:avLst/>
              <a:gdLst>
                <a:gd name="connsiteX0" fmla="*/ 0 w 455255"/>
                <a:gd name="connsiteY0" fmla="*/ 1875 h 2545"/>
                <a:gd name="connsiteX1" fmla="*/ 0 w 455255"/>
                <a:gd name="connsiteY1" fmla="*/ 2545 h 2545"/>
                <a:gd name="connsiteX2" fmla="*/ 455256 w 455255"/>
                <a:gd name="connsiteY2" fmla="*/ 2545 h 2545"/>
                <a:gd name="connsiteX3" fmla="*/ 455256 w 455255"/>
                <a:gd name="connsiteY3" fmla="*/ 1875 h 2545"/>
                <a:gd name="connsiteX4" fmla="*/ 455256 w 455255"/>
                <a:gd name="connsiteY4" fmla="*/ 1206 h 2545"/>
                <a:gd name="connsiteX5" fmla="*/ 455256 w 455255"/>
                <a:gd name="connsiteY5" fmla="*/ 268 h 2545"/>
                <a:gd name="connsiteX6" fmla="*/ 455256 w 455255"/>
                <a:gd name="connsiteY6" fmla="*/ 0 h 2545"/>
                <a:gd name="connsiteX7" fmla="*/ 0 w 455255"/>
                <a:gd name="connsiteY7" fmla="*/ 0 h 2545"/>
                <a:gd name="connsiteX8" fmla="*/ 0 w 455255"/>
                <a:gd name="connsiteY8" fmla="*/ 268 h 2545"/>
                <a:gd name="connsiteX9" fmla="*/ 0 w 455255"/>
                <a:gd name="connsiteY9" fmla="*/ 1206 h 2545"/>
                <a:gd name="connsiteX10" fmla="*/ 0 w 455255"/>
                <a:gd name="connsiteY10" fmla="*/ 187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255" h="2545">
                  <a:moveTo>
                    <a:pt x="0" y="1875"/>
                  </a:moveTo>
                  <a:lnTo>
                    <a:pt x="0" y="2545"/>
                  </a:lnTo>
                  <a:lnTo>
                    <a:pt x="455256" y="2545"/>
                  </a:lnTo>
                  <a:lnTo>
                    <a:pt x="455256" y="1875"/>
                  </a:lnTo>
                  <a:lnTo>
                    <a:pt x="455256" y="1206"/>
                  </a:lnTo>
                  <a:lnTo>
                    <a:pt x="455256" y="268"/>
                  </a:lnTo>
                  <a:lnTo>
                    <a:pt x="455256" y="0"/>
                  </a:lnTo>
                  <a:lnTo>
                    <a:pt x="0" y="0"/>
                  </a:lnTo>
                  <a:lnTo>
                    <a:pt x="0" y="268"/>
                  </a:lnTo>
                  <a:lnTo>
                    <a:pt x="0" y="1206"/>
                  </a:lnTo>
                  <a:lnTo>
                    <a:pt x="0" y="1875"/>
                  </a:lnTo>
                  <a:close/>
                </a:path>
              </a:pathLst>
            </a:custGeom>
            <a:solidFill>
              <a:srgbClr val="000000"/>
            </a:solidFill>
            <a:ln w="12700" cap="flat">
              <a:noFill/>
              <a:prstDash val="solid"/>
              <a:miter/>
            </a:ln>
          </p:spPr>
          <p:txBody>
            <a:bodyPr rtlCol="0" anchor="ctr"/>
            <a:lstStyle/>
            <a:p>
              <a:endParaRPr lang="en-US"/>
            </a:p>
          </p:txBody>
        </p:sp>
        <p:sp>
          <p:nvSpPr>
            <p:cNvPr id="1730" name="Freeform: Shape 1729">
              <a:extLst>
                <a:ext uri="{FF2B5EF4-FFF2-40B4-BE49-F238E27FC236}">
                  <a16:creationId xmlns:a16="http://schemas.microsoft.com/office/drawing/2014/main" id="{5262D481-D18A-4623-8D94-C4098DFA9B74}"/>
                </a:ext>
              </a:extLst>
            </p:cNvPr>
            <p:cNvSpPr/>
            <p:nvPr/>
          </p:nvSpPr>
          <p:spPr>
            <a:xfrm>
              <a:off x="3431834" y="6538268"/>
              <a:ext cx="12044" cy="2387"/>
            </a:xfrm>
            <a:custGeom>
              <a:avLst/>
              <a:gdLst>
                <a:gd name="connsiteX0" fmla="*/ 11388 w 12044"/>
                <a:gd name="connsiteY0" fmla="*/ 111 h 2387"/>
                <a:gd name="connsiteX1" fmla="*/ 11388 w 12044"/>
                <a:gd name="connsiteY1" fmla="*/ 111 h 2387"/>
                <a:gd name="connsiteX2" fmla="*/ 10450 w 12044"/>
                <a:gd name="connsiteY2" fmla="*/ 111 h 2387"/>
                <a:gd name="connsiteX3" fmla="*/ 0 w 12044"/>
                <a:gd name="connsiteY3" fmla="*/ 111 h 2387"/>
                <a:gd name="connsiteX4" fmla="*/ 0 w 12044"/>
                <a:gd name="connsiteY4" fmla="*/ 111 h 2387"/>
                <a:gd name="connsiteX5" fmla="*/ 0 w 12044"/>
                <a:gd name="connsiteY5" fmla="*/ 2388 h 2387"/>
                <a:gd name="connsiteX6" fmla="*/ 10852 w 12044"/>
                <a:gd name="connsiteY6" fmla="*/ 2388 h 2387"/>
                <a:gd name="connsiteX7" fmla="*/ 12045 w 12044"/>
                <a:gd name="connsiteY7" fmla="*/ 1169 h 2387"/>
                <a:gd name="connsiteX8" fmla="*/ 11388 w 12044"/>
                <a:gd name="connsiteY8" fmla="*/ 111 h 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4" h="2387">
                  <a:moveTo>
                    <a:pt x="11388" y="111"/>
                  </a:moveTo>
                  <a:lnTo>
                    <a:pt x="11388" y="111"/>
                  </a:lnTo>
                  <a:cubicBezTo>
                    <a:pt x="11093" y="-37"/>
                    <a:pt x="10745" y="-37"/>
                    <a:pt x="10450" y="111"/>
                  </a:cubicBezTo>
                  <a:lnTo>
                    <a:pt x="0" y="111"/>
                  </a:lnTo>
                  <a:lnTo>
                    <a:pt x="0" y="111"/>
                  </a:lnTo>
                  <a:cubicBezTo>
                    <a:pt x="134" y="861"/>
                    <a:pt x="134" y="1638"/>
                    <a:pt x="0" y="2388"/>
                  </a:cubicBezTo>
                  <a:lnTo>
                    <a:pt x="10852" y="2388"/>
                  </a:lnTo>
                  <a:cubicBezTo>
                    <a:pt x="11522" y="2374"/>
                    <a:pt x="12045" y="1825"/>
                    <a:pt x="12045" y="1169"/>
                  </a:cubicBezTo>
                  <a:cubicBezTo>
                    <a:pt x="12031" y="727"/>
                    <a:pt x="11790" y="311"/>
                    <a:pt x="11388" y="111"/>
                  </a:cubicBezTo>
                  <a:close/>
                </a:path>
              </a:pathLst>
            </a:custGeom>
            <a:solidFill>
              <a:srgbClr val="000000"/>
            </a:solidFill>
            <a:ln w="12700" cap="flat">
              <a:noFill/>
              <a:prstDash val="solid"/>
              <a:miter/>
            </a:ln>
          </p:spPr>
          <p:txBody>
            <a:bodyPr rtlCol="0" anchor="ctr"/>
            <a:lstStyle/>
            <a:p>
              <a:endParaRPr lang="en-US"/>
            </a:p>
          </p:txBody>
        </p:sp>
        <p:sp>
          <p:nvSpPr>
            <p:cNvPr id="1731" name="Freeform: Shape 1730">
              <a:extLst>
                <a:ext uri="{FF2B5EF4-FFF2-40B4-BE49-F238E27FC236}">
                  <a16:creationId xmlns:a16="http://schemas.microsoft.com/office/drawing/2014/main" id="{AF018871-B2A4-4DEA-BC63-909C4B1B90F1}"/>
                </a:ext>
              </a:extLst>
            </p:cNvPr>
            <p:cNvSpPr/>
            <p:nvPr/>
          </p:nvSpPr>
          <p:spPr>
            <a:xfrm>
              <a:off x="4079080" y="6537173"/>
              <a:ext cx="47428" cy="2545"/>
            </a:xfrm>
            <a:custGeom>
              <a:avLst/>
              <a:gdLst>
                <a:gd name="connsiteX0" fmla="*/ 0 w 47428"/>
                <a:gd name="connsiteY0" fmla="*/ 1875 h 2545"/>
                <a:gd name="connsiteX1" fmla="*/ 0 w 47428"/>
                <a:gd name="connsiteY1" fmla="*/ 2545 h 2545"/>
                <a:gd name="connsiteX2" fmla="*/ 47428 w 47428"/>
                <a:gd name="connsiteY2" fmla="*/ 2545 h 2545"/>
                <a:gd name="connsiteX3" fmla="*/ 47428 w 47428"/>
                <a:gd name="connsiteY3" fmla="*/ 0 h 2545"/>
                <a:gd name="connsiteX4" fmla="*/ 670 w 47428"/>
                <a:gd name="connsiteY4" fmla="*/ 0 h 2545"/>
                <a:gd name="connsiteX5" fmla="*/ 670 w 47428"/>
                <a:gd name="connsiteY5" fmla="*/ 187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8" h="2545">
                  <a:moveTo>
                    <a:pt x="0" y="1875"/>
                  </a:moveTo>
                  <a:lnTo>
                    <a:pt x="0" y="2545"/>
                  </a:lnTo>
                  <a:lnTo>
                    <a:pt x="47428" y="2545"/>
                  </a:lnTo>
                  <a:cubicBezTo>
                    <a:pt x="47294" y="1701"/>
                    <a:pt x="47294" y="844"/>
                    <a:pt x="47428" y="0"/>
                  </a:cubicBezTo>
                  <a:lnTo>
                    <a:pt x="670" y="0"/>
                  </a:lnTo>
                  <a:lnTo>
                    <a:pt x="670" y="1875"/>
                  </a:lnTo>
                  <a:close/>
                </a:path>
              </a:pathLst>
            </a:custGeom>
            <a:solidFill>
              <a:srgbClr val="000000"/>
            </a:solidFill>
            <a:ln w="12700" cap="flat">
              <a:noFill/>
              <a:prstDash val="solid"/>
              <a:miter/>
            </a:ln>
          </p:spPr>
          <p:txBody>
            <a:bodyPr rtlCol="0" anchor="ctr"/>
            <a:lstStyle/>
            <a:p>
              <a:endParaRPr lang="en-US"/>
            </a:p>
          </p:txBody>
        </p:sp>
        <p:sp>
          <p:nvSpPr>
            <p:cNvPr id="1732" name="Freeform: Shape 1731">
              <a:extLst>
                <a:ext uri="{FF2B5EF4-FFF2-40B4-BE49-F238E27FC236}">
                  <a16:creationId xmlns:a16="http://schemas.microsoft.com/office/drawing/2014/main" id="{1ED19C9B-1C61-4670-8B28-FF24C116BAF3}"/>
                </a:ext>
              </a:extLst>
            </p:cNvPr>
            <p:cNvSpPr/>
            <p:nvPr/>
          </p:nvSpPr>
          <p:spPr>
            <a:xfrm>
              <a:off x="4163218" y="6541594"/>
              <a:ext cx="803" cy="1205"/>
            </a:xfrm>
            <a:custGeom>
              <a:avLst/>
              <a:gdLst>
                <a:gd name="connsiteX0" fmla="*/ 0 w 803"/>
                <a:gd name="connsiteY0" fmla="*/ 1206 h 1205"/>
                <a:gd name="connsiteX1" fmla="*/ 804 w 803"/>
                <a:gd name="connsiteY1" fmla="*/ 0 h 1205"/>
                <a:gd name="connsiteX2" fmla="*/ 804 w 803"/>
                <a:gd name="connsiteY2" fmla="*/ 0 h 1205"/>
              </a:gdLst>
              <a:ahLst/>
              <a:cxnLst>
                <a:cxn ang="0">
                  <a:pos x="connsiteX0" y="connsiteY0"/>
                </a:cxn>
                <a:cxn ang="0">
                  <a:pos x="connsiteX1" y="connsiteY1"/>
                </a:cxn>
                <a:cxn ang="0">
                  <a:pos x="connsiteX2" y="connsiteY2"/>
                </a:cxn>
              </a:cxnLst>
              <a:rect l="l" t="t" r="r" b="b"/>
              <a:pathLst>
                <a:path w="803" h="1205">
                  <a:moveTo>
                    <a:pt x="0" y="1206"/>
                  </a:moveTo>
                  <a:lnTo>
                    <a:pt x="804" y="0"/>
                  </a:lnTo>
                  <a:lnTo>
                    <a:pt x="804" y="0"/>
                  </a:lnTo>
                  <a:close/>
                </a:path>
              </a:pathLst>
            </a:custGeom>
            <a:solidFill>
              <a:srgbClr val="000000"/>
            </a:solidFill>
            <a:ln w="12700" cap="flat">
              <a:noFill/>
              <a:prstDash val="solid"/>
              <a:miter/>
            </a:ln>
          </p:spPr>
          <p:txBody>
            <a:bodyPr rtlCol="0" anchor="ctr"/>
            <a:lstStyle/>
            <a:p>
              <a:endParaRPr lang="en-US"/>
            </a:p>
          </p:txBody>
        </p:sp>
        <p:sp>
          <p:nvSpPr>
            <p:cNvPr id="1733" name="Freeform: Shape 1732">
              <a:extLst>
                <a:ext uri="{FF2B5EF4-FFF2-40B4-BE49-F238E27FC236}">
                  <a16:creationId xmlns:a16="http://schemas.microsoft.com/office/drawing/2014/main" id="{A5E82D43-0626-4EAE-AF7E-32EB193A5202}"/>
                </a:ext>
              </a:extLst>
            </p:cNvPr>
            <p:cNvSpPr/>
            <p:nvPr/>
          </p:nvSpPr>
          <p:spPr>
            <a:xfrm>
              <a:off x="4164825" y="6538781"/>
              <a:ext cx="80" cy="1607"/>
            </a:xfrm>
            <a:custGeom>
              <a:avLst/>
              <a:gdLst>
                <a:gd name="connsiteX0" fmla="*/ 0 w 80"/>
                <a:gd name="connsiteY0" fmla="*/ 0 h 1607"/>
                <a:gd name="connsiteX1" fmla="*/ 0 w 80"/>
                <a:gd name="connsiteY1" fmla="*/ 0 h 1607"/>
                <a:gd name="connsiteX2" fmla="*/ 0 w 80"/>
                <a:gd name="connsiteY2" fmla="*/ 1607 h 1607"/>
                <a:gd name="connsiteX3" fmla="*/ 0 w 80"/>
                <a:gd name="connsiteY3" fmla="*/ 1607 h 1607"/>
                <a:gd name="connsiteX4" fmla="*/ 0 w 80"/>
                <a:gd name="connsiteY4" fmla="*/ 0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 h="1607">
                  <a:moveTo>
                    <a:pt x="0" y="0"/>
                  </a:moveTo>
                  <a:lnTo>
                    <a:pt x="0" y="0"/>
                  </a:lnTo>
                  <a:cubicBezTo>
                    <a:pt x="67" y="536"/>
                    <a:pt x="67" y="1072"/>
                    <a:pt x="0" y="1607"/>
                  </a:cubicBezTo>
                  <a:lnTo>
                    <a:pt x="0" y="1607"/>
                  </a:lnTo>
                  <a:cubicBezTo>
                    <a:pt x="108" y="1072"/>
                    <a:pt x="108" y="536"/>
                    <a:pt x="0" y="0"/>
                  </a:cubicBezTo>
                  <a:close/>
                </a:path>
              </a:pathLst>
            </a:custGeom>
            <a:solidFill>
              <a:srgbClr val="000000"/>
            </a:solidFill>
            <a:ln w="12700" cap="flat">
              <a:noFill/>
              <a:prstDash val="solid"/>
              <a:miter/>
            </a:ln>
          </p:spPr>
          <p:txBody>
            <a:bodyPr rtlCol="0" anchor="ctr"/>
            <a:lstStyle/>
            <a:p>
              <a:endParaRPr lang="en-US"/>
            </a:p>
          </p:txBody>
        </p:sp>
        <p:sp>
          <p:nvSpPr>
            <p:cNvPr id="1734" name="Freeform: Shape 1733">
              <a:extLst>
                <a:ext uri="{FF2B5EF4-FFF2-40B4-BE49-F238E27FC236}">
                  <a16:creationId xmlns:a16="http://schemas.microsoft.com/office/drawing/2014/main" id="{6C452D0D-389B-44F7-BC8E-EB4B69BB2A0E}"/>
                </a:ext>
              </a:extLst>
            </p:cNvPr>
            <p:cNvSpPr/>
            <p:nvPr/>
          </p:nvSpPr>
          <p:spPr>
            <a:xfrm>
              <a:off x="4126508" y="6529404"/>
              <a:ext cx="30680" cy="15672"/>
            </a:xfrm>
            <a:custGeom>
              <a:avLst/>
              <a:gdLst>
                <a:gd name="connsiteX0" fmla="*/ 0 w 30680"/>
                <a:gd name="connsiteY0" fmla="*/ 10717 h 15672"/>
                <a:gd name="connsiteX1" fmla="*/ 670 w 30680"/>
                <a:gd name="connsiteY1" fmla="*/ 11922 h 15672"/>
                <a:gd name="connsiteX2" fmla="*/ 1474 w 30680"/>
                <a:gd name="connsiteY2" fmla="*/ 12994 h 15672"/>
                <a:gd name="connsiteX3" fmla="*/ 2680 w 30680"/>
                <a:gd name="connsiteY3" fmla="*/ 13798 h 15672"/>
                <a:gd name="connsiteX4" fmla="*/ 3751 w 30680"/>
                <a:gd name="connsiteY4" fmla="*/ 14601 h 15672"/>
                <a:gd name="connsiteX5" fmla="*/ 5225 w 30680"/>
                <a:gd name="connsiteY5" fmla="*/ 14601 h 15672"/>
                <a:gd name="connsiteX6" fmla="*/ 6431 w 30680"/>
                <a:gd name="connsiteY6" fmla="*/ 14601 h 15672"/>
                <a:gd name="connsiteX7" fmla="*/ 6431 w 30680"/>
                <a:gd name="connsiteY7" fmla="*/ 14601 h 15672"/>
                <a:gd name="connsiteX8" fmla="*/ 30681 w 30680"/>
                <a:gd name="connsiteY8" fmla="*/ 15673 h 15672"/>
                <a:gd name="connsiteX9" fmla="*/ 30681 w 30680"/>
                <a:gd name="connsiteY9" fmla="*/ 15673 h 15672"/>
                <a:gd name="connsiteX10" fmla="*/ 23446 w 30680"/>
                <a:gd name="connsiteY10" fmla="*/ 8305 h 15672"/>
                <a:gd name="connsiteX11" fmla="*/ 23446 w 30680"/>
                <a:gd name="connsiteY11" fmla="*/ 804 h 15672"/>
                <a:gd name="connsiteX12" fmla="*/ 6699 w 30680"/>
                <a:gd name="connsiteY12" fmla="*/ 0 h 15672"/>
                <a:gd name="connsiteX13" fmla="*/ 5225 w 30680"/>
                <a:gd name="connsiteY13" fmla="*/ 0 h 15672"/>
                <a:gd name="connsiteX14" fmla="*/ 3617 w 30680"/>
                <a:gd name="connsiteY14" fmla="*/ 0 h 15672"/>
                <a:gd name="connsiteX15" fmla="*/ 1742 w 30680"/>
                <a:gd name="connsiteY15" fmla="*/ 1206 h 15672"/>
                <a:gd name="connsiteX16" fmla="*/ 1742 w 30680"/>
                <a:gd name="connsiteY16" fmla="*/ 1206 h 15672"/>
                <a:gd name="connsiteX17" fmla="*/ 670 w 30680"/>
                <a:gd name="connsiteY17" fmla="*/ 2947 h 15672"/>
                <a:gd name="connsiteX18" fmla="*/ 670 w 30680"/>
                <a:gd name="connsiteY18" fmla="*/ 4153 h 15672"/>
                <a:gd name="connsiteX19" fmla="*/ 670 w 30680"/>
                <a:gd name="connsiteY19" fmla="*/ 5492 h 15672"/>
                <a:gd name="connsiteX20" fmla="*/ 670 w 30680"/>
                <a:gd name="connsiteY20" fmla="*/ 5492 h 15672"/>
                <a:gd name="connsiteX21" fmla="*/ 670 w 30680"/>
                <a:gd name="connsiteY21" fmla="*/ 8037 h 1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680" h="15672">
                  <a:moveTo>
                    <a:pt x="0" y="10717"/>
                  </a:moveTo>
                  <a:cubicBezTo>
                    <a:pt x="174" y="11145"/>
                    <a:pt x="402" y="11547"/>
                    <a:pt x="670" y="11922"/>
                  </a:cubicBezTo>
                  <a:lnTo>
                    <a:pt x="1474" y="12994"/>
                  </a:lnTo>
                  <a:cubicBezTo>
                    <a:pt x="1849" y="13302"/>
                    <a:pt x="2251" y="13583"/>
                    <a:pt x="2680" y="13798"/>
                  </a:cubicBezTo>
                  <a:cubicBezTo>
                    <a:pt x="2974" y="14132"/>
                    <a:pt x="3336" y="14414"/>
                    <a:pt x="3751" y="14601"/>
                  </a:cubicBezTo>
                  <a:cubicBezTo>
                    <a:pt x="4234" y="14682"/>
                    <a:pt x="4743" y="14682"/>
                    <a:pt x="5225" y="14601"/>
                  </a:cubicBezTo>
                  <a:lnTo>
                    <a:pt x="6431" y="14601"/>
                  </a:lnTo>
                  <a:lnTo>
                    <a:pt x="6431" y="14601"/>
                  </a:lnTo>
                  <a:lnTo>
                    <a:pt x="30681" y="15673"/>
                  </a:lnTo>
                  <a:lnTo>
                    <a:pt x="30681" y="15673"/>
                  </a:lnTo>
                  <a:cubicBezTo>
                    <a:pt x="26661" y="15606"/>
                    <a:pt x="23446" y="12324"/>
                    <a:pt x="23446" y="8305"/>
                  </a:cubicBezTo>
                  <a:lnTo>
                    <a:pt x="23446" y="804"/>
                  </a:lnTo>
                  <a:lnTo>
                    <a:pt x="6699" y="0"/>
                  </a:lnTo>
                  <a:lnTo>
                    <a:pt x="5225" y="0"/>
                  </a:lnTo>
                  <a:lnTo>
                    <a:pt x="3617" y="0"/>
                  </a:lnTo>
                  <a:cubicBezTo>
                    <a:pt x="2921" y="268"/>
                    <a:pt x="2278" y="683"/>
                    <a:pt x="1742" y="1206"/>
                  </a:cubicBezTo>
                  <a:lnTo>
                    <a:pt x="1742" y="1206"/>
                  </a:lnTo>
                  <a:cubicBezTo>
                    <a:pt x="1313" y="1742"/>
                    <a:pt x="951" y="2318"/>
                    <a:pt x="670" y="2947"/>
                  </a:cubicBezTo>
                  <a:cubicBezTo>
                    <a:pt x="549" y="3335"/>
                    <a:pt x="549" y="3764"/>
                    <a:pt x="670" y="4153"/>
                  </a:cubicBezTo>
                  <a:cubicBezTo>
                    <a:pt x="616" y="4595"/>
                    <a:pt x="616" y="5050"/>
                    <a:pt x="670" y="5492"/>
                  </a:cubicBezTo>
                  <a:lnTo>
                    <a:pt x="670" y="5492"/>
                  </a:lnTo>
                  <a:cubicBezTo>
                    <a:pt x="536" y="6336"/>
                    <a:pt x="536" y="7194"/>
                    <a:pt x="670" y="8037"/>
                  </a:cubicBezTo>
                  <a:close/>
                </a:path>
              </a:pathLst>
            </a:custGeom>
            <a:solidFill>
              <a:srgbClr val="000000"/>
            </a:solidFill>
            <a:ln w="12700" cap="flat">
              <a:noFill/>
              <a:prstDash val="solid"/>
              <a:miter/>
            </a:ln>
          </p:spPr>
          <p:txBody>
            <a:bodyPr rtlCol="0" anchor="ctr"/>
            <a:lstStyle/>
            <a:p>
              <a:endParaRPr lang="en-US"/>
            </a:p>
          </p:txBody>
        </p:sp>
        <p:sp>
          <p:nvSpPr>
            <p:cNvPr id="1735" name="Freeform: Shape 1734">
              <a:extLst>
                <a:ext uri="{FF2B5EF4-FFF2-40B4-BE49-F238E27FC236}">
                  <a16:creationId xmlns:a16="http://schemas.microsoft.com/office/drawing/2014/main" id="{65739B94-E6ED-4644-AAF4-AB2F2F1DC2E6}"/>
                </a:ext>
              </a:extLst>
            </p:cNvPr>
            <p:cNvSpPr/>
            <p:nvPr/>
          </p:nvSpPr>
          <p:spPr>
            <a:xfrm>
              <a:off x="986878" y="6021038"/>
              <a:ext cx="16479" cy="16208"/>
            </a:xfrm>
            <a:custGeom>
              <a:avLst/>
              <a:gdLst>
                <a:gd name="connsiteX0" fmla="*/ 0 w 16479"/>
                <a:gd name="connsiteY0" fmla="*/ 10315 h 16208"/>
                <a:gd name="connsiteX1" fmla="*/ 0 w 16479"/>
                <a:gd name="connsiteY1" fmla="*/ 12994 h 16208"/>
                <a:gd name="connsiteX2" fmla="*/ 4689 w 16479"/>
                <a:gd name="connsiteY2" fmla="*/ 16209 h 16208"/>
                <a:gd name="connsiteX3" fmla="*/ 4689 w 16479"/>
                <a:gd name="connsiteY3" fmla="*/ 12324 h 16208"/>
                <a:gd name="connsiteX4" fmla="*/ 11924 w 16479"/>
                <a:gd name="connsiteY4" fmla="*/ 4956 h 16208"/>
                <a:gd name="connsiteX5" fmla="*/ 16479 w 16479"/>
                <a:gd name="connsiteY5" fmla="*/ 6698 h 16208"/>
                <a:gd name="connsiteX6" fmla="*/ 16479 w 16479"/>
                <a:gd name="connsiteY6" fmla="*/ 6698 h 16208"/>
                <a:gd name="connsiteX7" fmla="*/ 6431 w 16479"/>
                <a:gd name="connsiteY7" fmla="*/ 0 h 16208"/>
                <a:gd name="connsiteX8" fmla="*/ 6431 w 16479"/>
                <a:gd name="connsiteY8" fmla="*/ 3885 h 16208"/>
                <a:gd name="connsiteX9" fmla="*/ 0 w 16479"/>
                <a:gd name="connsiteY9" fmla="*/ 10315 h 1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79" h="16208">
                  <a:moveTo>
                    <a:pt x="0" y="10315"/>
                  </a:moveTo>
                  <a:lnTo>
                    <a:pt x="0" y="12994"/>
                  </a:lnTo>
                  <a:lnTo>
                    <a:pt x="4689" y="16209"/>
                  </a:lnTo>
                  <a:lnTo>
                    <a:pt x="4689" y="12324"/>
                  </a:lnTo>
                  <a:cubicBezTo>
                    <a:pt x="4689" y="8307"/>
                    <a:pt x="7907" y="5030"/>
                    <a:pt x="11924" y="4956"/>
                  </a:cubicBezTo>
                  <a:cubicBezTo>
                    <a:pt x="13592" y="5023"/>
                    <a:pt x="15192" y="5636"/>
                    <a:pt x="16479" y="6698"/>
                  </a:cubicBezTo>
                  <a:cubicBezTo>
                    <a:pt x="16479" y="6698"/>
                    <a:pt x="16479" y="6698"/>
                    <a:pt x="16479" y="6698"/>
                  </a:cubicBezTo>
                  <a:lnTo>
                    <a:pt x="6431" y="0"/>
                  </a:lnTo>
                  <a:lnTo>
                    <a:pt x="6431" y="3885"/>
                  </a:lnTo>
                  <a:cubicBezTo>
                    <a:pt x="6175" y="7325"/>
                    <a:pt x="3441" y="10059"/>
                    <a:pt x="0" y="10315"/>
                  </a:cubicBezTo>
                  <a:close/>
                </a:path>
              </a:pathLst>
            </a:custGeom>
            <a:solidFill>
              <a:srgbClr val="000000"/>
            </a:solidFill>
            <a:ln w="12700" cap="flat">
              <a:noFill/>
              <a:prstDash val="solid"/>
              <a:miter/>
            </a:ln>
          </p:spPr>
          <p:txBody>
            <a:bodyPr rtlCol="0" anchor="ctr"/>
            <a:lstStyle/>
            <a:p>
              <a:endParaRPr lang="en-US"/>
            </a:p>
          </p:txBody>
        </p:sp>
        <p:sp>
          <p:nvSpPr>
            <p:cNvPr id="1736" name="Freeform: Shape 1735">
              <a:extLst>
                <a:ext uri="{FF2B5EF4-FFF2-40B4-BE49-F238E27FC236}">
                  <a16:creationId xmlns:a16="http://schemas.microsoft.com/office/drawing/2014/main" id="{EB7B27AC-62BE-4DA2-893C-78E803025B95}"/>
                </a:ext>
              </a:extLst>
            </p:cNvPr>
            <p:cNvSpPr/>
            <p:nvPr/>
          </p:nvSpPr>
          <p:spPr>
            <a:xfrm>
              <a:off x="980983" y="6030013"/>
              <a:ext cx="3215" cy="2277"/>
            </a:xfrm>
            <a:custGeom>
              <a:avLst/>
              <a:gdLst>
                <a:gd name="connsiteX0" fmla="*/ 3215 w 3215"/>
                <a:gd name="connsiteY0" fmla="*/ 2277 h 2277"/>
                <a:gd name="connsiteX1" fmla="*/ 3215 w 3215"/>
                <a:gd name="connsiteY1" fmla="*/ 1340 h 2277"/>
                <a:gd name="connsiteX2" fmla="*/ 0 w 3215"/>
                <a:gd name="connsiteY2" fmla="*/ 0 h 2277"/>
                <a:gd name="connsiteX3" fmla="*/ 0 w 3215"/>
                <a:gd name="connsiteY3" fmla="*/ 0 h 2277"/>
              </a:gdLst>
              <a:ahLst/>
              <a:cxnLst>
                <a:cxn ang="0">
                  <a:pos x="connsiteX0" y="connsiteY0"/>
                </a:cxn>
                <a:cxn ang="0">
                  <a:pos x="connsiteX1" y="connsiteY1"/>
                </a:cxn>
                <a:cxn ang="0">
                  <a:pos x="connsiteX2" y="connsiteY2"/>
                </a:cxn>
                <a:cxn ang="0">
                  <a:pos x="connsiteX3" y="connsiteY3"/>
                </a:cxn>
              </a:cxnLst>
              <a:rect l="l" t="t" r="r" b="b"/>
              <a:pathLst>
                <a:path w="3215" h="2277">
                  <a:moveTo>
                    <a:pt x="3215" y="2277"/>
                  </a:moveTo>
                  <a:lnTo>
                    <a:pt x="3215" y="1340"/>
                  </a:lnTo>
                  <a:cubicBezTo>
                    <a:pt x="2046" y="1179"/>
                    <a:pt x="938" y="717"/>
                    <a:pt x="0" y="0"/>
                  </a:cubicBezTo>
                  <a:lnTo>
                    <a:pt x="0" y="0"/>
                  </a:lnTo>
                  <a:close/>
                </a:path>
              </a:pathLst>
            </a:custGeom>
            <a:solidFill>
              <a:srgbClr val="000000"/>
            </a:solidFill>
            <a:ln w="12700" cap="flat">
              <a:noFill/>
              <a:prstDash val="solid"/>
              <a:miter/>
            </a:ln>
          </p:spPr>
          <p:txBody>
            <a:bodyPr rtlCol="0" anchor="ctr"/>
            <a:lstStyle/>
            <a:p>
              <a:endParaRPr lang="en-US"/>
            </a:p>
          </p:txBody>
        </p:sp>
        <p:sp>
          <p:nvSpPr>
            <p:cNvPr id="1737" name="Freeform: Shape 1736">
              <a:extLst>
                <a:ext uri="{FF2B5EF4-FFF2-40B4-BE49-F238E27FC236}">
                  <a16:creationId xmlns:a16="http://schemas.microsoft.com/office/drawing/2014/main" id="{8623094F-CFC6-4EA0-888C-6391F4C24AB3}"/>
                </a:ext>
              </a:extLst>
            </p:cNvPr>
            <p:cNvSpPr/>
            <p:nvPr/>
          </p:nvSpPr>
          <p:spPr>
            <a:xfrm>
              <a:off x="979777" y="6028674"/>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endParaRPr lang="en-US"/>
            </a:p>
          </p:txBody>
        </p:sp>
        <p:sp>
          <p:nvSpPr>
            <p:cNvPr id="1738" name="Freeform: Shape 1737">
              <a:extLst>
                <a:ext uri="{FF2B5EF4-FFF2-40B4-BE49-F238E27FC236}">
                  <a16:creationId xmlns:a16="http://schemas.microsoft.com/office/drawing/2014/main" id="{C975AE41-74B6-4A84-BE47-85BB67147063}"/>
                </a:ext>
              </a:extLst>
            </p:cNvPr>
            <p:cNvSpPr/>
            <p:nvPr/>
          </p:nvSpPr>
          <p:spPr>
            <a:xfrm>
              <a:off x="2079599" y="6464033"/>
              <a:ext cx="73285" cy="13395"/>
            </a:xfrm>
            <a:custGeom>
              <a:avLst/>
              <a:gdLst>
                <a:gd name="connsiteX0" fmla="*/ 1742 w 73285"/>
                <a:gd name="connsiteY0" fmla="*/ 0 h 13395"/>
                <a:gd name="connsiteX1" fmla="*/ 71410 w 73285"/>
                <a:gd name="connsiteY1" fmla="*/ 0 h 13395"/>
                <a:gd name="connsiteX2" fmla="*/ 73286 w 73285"/>
                <a:gd name="connsiteY2" fmla="*/ 0 h 13395"/>
                <a:gd name="connsiteX3" fmla="*/ 0 w 73285"/>
                <a:gd name="connsiteY3" fmla="*/ 0 h 13395"/>
              </a:gdLst>
              <a:ahLst/>
              <a:cxnLst>
                <a:cxn ang="0">
                  <a:pos x="connsiteX0" y="connsiteY0"/>
                </a:cxn>
                <a:cxn ang="0">
                  <a:pos x="connsiteX1" y="connsiteY1"/>
                </a:cxn>
                <a:cxn ang="0">
                  <a:pos x="connsiteX2" y="connsiteY2"/>
                </a:cxn>
                <a:cxn ang="0">
                  <a:pos x="connsiteX3" y="connsiteY3"/>
                </a:cxn>
              </a:cxnLst>
              <a:rect l="l" t="t" r="r" b="b"/>
              <a:pathLst>
                <a:path w="73285" h="13395">
                  <a:moveTo>
                    <a:pt x="1742" y="0"/>
                  </a:moveTo>
                  <a:lnTo>
                    <a:pt x="71410" y="0"/>
                  </a:lnTo>
                  <a:lnTo>
                    <a:pt x="73286" y="0"/>
                  </a:lnTo>
                  <a:lnTo>
                    <a:pt x="0" y="0"/>
                  </a:lnTo>
                  <a:close/>
                </a:path>
              </a:pathLst>
            </a:custGeom>
            <a:solidFill>
              <a:srgbClr val="000000"/>
            </a:solidFill>
            <a:ln w="12700" cap="flat">
              <a:noFill/>
              <a:prstDash val="solid"/>
              <a:miter/>
            </a:ln>
          </p:spPr>
          <p:txBody>
            <a:bodyPr rtlCol="0" anchor="ctr"/>
            <a:lstStyle/>
            <a:p>
              <a:endParaRPr lang="en-US"/>
            </a:p>
          </p:txBody>
        </p:sp>
        <p:sp>
          <p:nvSpPr>
            <p:cNvPr id="1739" name="Freeform: Shape 1738">
              <a:extLst>
                <a:ext uri="{FF2B5EF4-FFF2-40B4-BE49-F238E27FC236}">
                  <a16:creationId xmlns:a16="http://schemas.microsoft.com/office/drawing/2014/main" id="{695429BB-01A2-4003-884B-DE60C08B5C9A}"/>
                </a:ext>
              </a:extLst>
            </p:cNvPr>
            <p:cNvSpPr/>
            <p:nvPr/>
          </p:nvSpPr>
          <p:spPr>
            <a:xfrm>
              <a:off x="686936" y="6140126"/>
              <a:ext cx="14436" cy="120561"/>
            </a:xfrm>
            <a:custGeom>
              <a:avLst/>
              <a:gdLst>
                <a:gd name="connsiteX0" fmla="*/ 100 w 14436"/>
                <a:gd name="connsiteY0" fmla="*/ 0 h 120561"/>
                <a:gd name="connsiteX1" fmla="*/ 100 w 14436"/>
                <a:gd name="connsiteY1" fmla="*/ 120561 h 120561"/>
                <a:gd name="connsiteX2" fmla="*/ 100 w 14436"/>
                <a:gd name="connsiteY2" fmla="*/ 118418 h 120561"/>
                <a:gd name="connsiteX3" fmla="*/ 8541 w 14436"/>
                <a:gd name="connsiteY3" fmla="*/ 112658 h 120561"/>
                <a:gd name="connsiteX4" fmla="*/ 14436 w 14436"/>
                <a:gd name="connsiteY4" fmla="*/ 113729 h 120561"/>
                <a:gd name="connsiteX5" fmla="*/ 14436 w 14436"/>
                <a:gd name="connsiteY5" fmla="*/ 6564 h 120561"/>
                <a:gd name="connsiteX6" fmla="*/ 7201 w 14436"/>
                <a:gd name="connsiteY6" fmla="*/ 6564 h 120561"/>
                <a:gd name="connsiteX7" fmla="*/ 100 w 14436"/>
                <a:gd name="connsiteY7" fmla="*/ 0 h 12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36" h="120561">
                  <a:moveTo>
                    <a:pt x="100" y="0"/>
                  </a:moveTo>
                  <a:lnTo>
                    <a:pt x="100" y="120561"/>
                  </a:lnTo>
                  <a:cubicBezTo>
                    <a:pt x="-33" y="119851"/>
                    <a:pt x="-33" y="119128"/>
                    <a:pt x="100" y="118418"/>
                  </a:cubicBezTo>
                  <a:cubicBezTo>
                    <a:pt x="845" y="114506"/>
                    <a:pt x="4621" y="111921"/>
                    <a:pt x="8541" y="112658"/>
                  </a:cubicBezTo>
                  <a:lnTo>
                    <a:pt x="14436" y="113729"/>
                  </a:lnTo>
                  <a:lnTo>
                    <a:pt x="14436" y="6564"/>
                  </a:lnTo>
                  <a:lnTo>
                    <a:pt x="7201" y="6564"/>
                  </a:lnTo>
                  <a:cubicBezTo>
                    <a:pt x="3505" y="6510"/>
                    <a:pt x="442" y="3684"/>
                    <a:pt x="100" y="0"/>
                  </a:cubicBezTo>
                  <a:close/>
                </a:path>
              </a:pathLst>
            </a:custGeom>
            <a:solidFill>
              <a:srgbClr val="000000"/>
            </a:solidFill>
            <a:ln w="12700" cap="flat">
              <a:noFill/>
              <a:prstDash val="solid"/>
              <a:miter/>
            </a:ln>
          </p:spPr>
          <p:txBody>
            <a:bodyPr rtlCol="0" anchor="ctr"/>
            <a:lstStyle/>
            <a:p>
              <a:endParaRPr lang="en-US"/>
            </a:p>
          </p:txBody>
        </p:sp>
        <p:sp>
          <p:nvSpPr>
            <p:cNvPr id="1740" name="Freeform: Shape 1739">
              <a:extLst>
                <a:ext uri="{FF2B5EF4-FFF2-40B4-BE49-F238E27FC236}">
                  <a16:creationId xmlns:a16="http://schemas.microsoft.com/office/drawing/2014/main" id="{BAA3BD9D-FAC8-420A-AAA3-EACB362356C0}"/>
                </a:ext>
              </a:extLst>
            </p:cNvPr>
            <p:cNvSpPr/>
            <p:nvPr/>
          </p:nvSpPr>
          <p:spPr>
            <a:xfrm>
              <a:off x="707535" y="6259749"/>
              <a:ext cx="259246" cy="2545"/>
            </a:xfrm>
            <a:custGeom>
              <a:avLst/>
              <a:gdLst>
                <a:gd name="connsiteX0" fmla="*/ 268 w 259246"/>
                <a:gd name="connsiteY0" fmla="*/ 1742 h 2545"/>
                <a:gd name="connsiteX1" fmla="*/ 268 w 259246"/>
                <a:gd name="connsiteY1" fmla="*/ 2545 h 2545"/>
                <a:gd name="connsiteX2" fmla="*/ 259247 w 259246"/>
                <a:gd name="connsiteY2" fmla="*/ 2545 h 2545"/>
                <a:gd name="connsiteX3" fmla="*/ 259247 w 259246"/>
                <a:gd name="connsiteY3" fmla="*/ 1340 h 2545"/>
                <a:gd name="connsiteX4" fmla="*/ 259247 w 259246"/>
                <a:gd name="connsiteY4" fmla="*/ 0 h 2545"/>
                <a:gd name="connsiteX5" fmla="*/ 0 w 259246"/>
                <a:gd name="connsiteY5" fmla="*/ 0 h 2545"/>
                <a:gd name="connsiteX6" fmla="*/ 0 w 259246"/>
                <a:gd name="connsiteY6" fmla="*/ 0 h 2545"/>
                <a:gd name="connsiteX7" fmla="*/ 268 w 259246"/>
                <a:gd name="connsiteY7" fmla="*/ 1742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246" h="2545">
                  <a:moveTo>
                    <a:pt x="268" y="1742"/>
                  </a:moveTo>
                  <a:cubicBezTo>
                    <a:pt x="326" y="2009"/>
                    <a:pt x="326" y="2277"/>
                    <a:pt x="268" y="2545"/>
                  </a:cubicBezTo>
                  <a:lnTo>
                    <a:pt x="259247" y="2545"/>
                  </a:lnTo>
                  <a:lnTo>
                    <a:pt x="259247" y="1340"/>
                  </a:lnTo>
                  <a:cubicBezTo>
                    <a:pt x="259172" y="898"/>
                    <a:pt x="259172" y="442"/>
                    <a:pt x="259247" y="0"/>
                  </a:cubicBezTo>
                  <a:lnTo>
                    <a:pt x="0" y="0"/>
                  </a:lnTo>
                  <a:lnTo>
                    <a:pt x="0" y="0"/>
                  </a:lnTo>
                  <a:cubicBezTo>
                    <a:pt x="178" y="563"/>
                    <a:pt x="268" y="1152"/>
                    <a:pt x="268" y="1742"/>
                  </a:cubicBezTo>
                  <a:close/>
                </a:path>
              </a:pathLst>
            </a:custGeom>
            <a:solidFill>
              <a:srgbClr val="000000"/>
            </a:solidFill>
            <a:ln w="12700" cap="flat">
              <a:noFill/>
              <a:prstDash val="solid"/>
              <a:miter/>
            </a:ln>
          </p:spPr>
          <p:txBody>
            <a:bodyPr rtlCol="0" anchor="ctr"/>
            <a:lstStyle/>
            <a:p>
              <a:endParaRPr lang="en-US"/>
            </a:p>
          </p:txBody>
        </p:sp>
        <p:sp>
          <p:nvSpPr>
            <p:cNvPr id="1741" name="Freeform: Shape 1740">
              <a:extLst>
                <a:ext uri="{FF2B5EF4-FFF2-40B4-BE49-F238E27FC236}">
                  <a16:creationId xmlns:a16="http://schemas.microsoft.com/office/drawing/2014/main" id="{7D74A4ED-A6E6-4FFD-86A4-77A7AC686AE2}"/>
                </a:ext>
              </a:extLst>
            </p:cNvPr>
            <p:cNvSpPr/>
            <p:nvPr/>
          </p:nvSpPr>
          <p:spPr>
            <a:xfrm>
              <a:off x="687009" y="6252917"/>
              <a:ext cx="13827" cy="14467"/>
            </a:xfrm>
            <a:custGeom>
              <a:avLst/>
              <a:gdLst>
                <a:gd name="connsiteX0" fmla="*/ 162 w 13827"/>
                <a:gd name="connsiteY0" fmla="*/ 6698 h 14467"/>
                <a:gd name="connsiteX1" fmla="*/ 162 w 13827"/>
                <a:gd name="connsiteY1" fmla="*/ 10315 h 14467"/>
                <a:gd name="connsiteX2" fmla="*/ 162 w 13827"/>
                <a:gd name="connsiteY2" fmla="*/ 11520 h 14467"/>
                <a:gd name="connsiteX3" fmla="*/ 966 w 13827"/>
                <a:gd name="connsiteY3" fmla="*/ 12726 h 14467"/>
                <a:gd name="connsiteX4" fmla="*/ 1903 w 13827"/>
                <a:gd name="connsiteY4" fmla="*/ 13664 h 14467"/>
                <a:gd name="connsiteX5" fmla="*/ 2975 w 13827"/>
                <a:gd name="connsiteY5" fmla="*/ 14467 h 14467"/>
                <a:gd name="connsiteX6" fmla="*/ 4449 w 13827"/>
                <a:gd name="connsiteY6" fmla="*/ 14467 h 14467"/>
                <a:gd name="connsiteX7" fmla="*/ 4449 w 13827"/>
                <a:gd name="connsiteY7" fmla="*/ 14467 h 14467"/>
                <a:gd name="connsiteX8" fmla="*/ 4449 w 13827"/>
                <a:gd name="connsiteY8" fmla="*/ 14467 h 14467"/>
                <a:gd name="connsiteX9" fmla="*/ 4449 w 13827"/>
                <a:gd name="connsiteY9" fmla="*/ 8439 h 14467"/>
                <a:gd name="connsiteX10" fmla="*/ 11684 w 13827"/>
                <a:gd name="connsiteY10" fmla="*/ 1072 h 14467"/>
                <a:gd name="connsiteX11" fmla="*/ 13828 w 13827"/>
                <a:gd name="connsiteY11" fmla="*/ 1072 h 14467"/>
                <a:gd name="connsiteX12" fmla="*/ 13024 w 13827"/>
                <a:gd name="connsiteY12" fmla="*/ 1072 h 14467"/>
                <a:gd name="connsiteX13" fmla="*/ 13024 w 13827"/>
                <a:gd name="connsiteY13" fmla="*/ 1072 h 14467"/>
                <a:gd name="connsiteX14" fmla="*/ 7129 w 13827"/>
                <a:gd name="connsiteY14" fmla="*/ 0 h 14467"/>
                <a:gd name="connsiteX15" fmla="*/ 162 w 13827"/>
                <a:gd name="connsiteY15" fmla="*/ 6698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27" h="14467">
                  <a:moveTo>
                    <a:pt x="162" y="6698"/>
                  </a:moveTo>
                  <a:cubicBezTo>
                    <a:pt x="-54" y="7890"/>
                    <a:pt x="-54" y="9122"/>
                    <a:pt x="162" y="10315"/>
                  </a:cubicBezTo>
                  <a:cubicBezTo>
                    <a:pt x="111" y="10716"/>
                    <a:pt x="111" y="11118"/>
                    <a:pt x="162" y="11520"/>
                  </a:cubicBezTo>
                  <a:cubicBezTo>
                    <a:pt x="383" y="11949"/>
                    <a:pt x="652" y="12351"/>
                    <a:pt x="966" y="12726"/>
                  </a:cubicBezTo>
                  <a:lnTo>
                    <a:pt x="1903" y="13664"/>
                  </a:lnTo>
                  <a:lnTo>
                    <a:pt x="2975" y="14467"/>
                  </a:lnTo>
                  <a:lnTo>
                    <a:pt x="4449" y="14467"/>
                  </a:lnTo>
                  <a:lnTo>
                    <a:pt x="4449" y="14467"/>
                  </a:lnTo>
                  <a:lnTo>
                    <a:pt x="4449" y="14467"/>
                  </a:lnTo>
                  <a:lnTo>
                    <a:pt x="4449" y="8439"/>
                  </a:lnTo>
                  <a:cubicBezTo>
                    <a:pt x="4449" y="4421"/>
                    <a:pt x="7667" y="1139"/>
                    <a:pt x="11684" y="1072"/>
                  </a:cubicBezTo>
                  <a:cubicBezTo>
                    <a:pt x="12397" y="991"/>
                    <a:pt x="13115" y="991"/>
                    <a:pt x="13828" y="1072"/>
                  </a:cubicBezTo>
                  <a:lnTo>
                    <a:pt x="13024" y="1072"/>
                  </a:lnTo>
                  <a:lnTo>
                    <a:pt x="13024" y="1072"/>
                  </a:lnTo>
                  <a:lnTo>
                    <a:pt x="7129" y="0"/>
                  </a:lnTo>
                  <a:cubicBezTo>
                    <a:pt x="3436" y="120"/>
                    <a:pt x="434" y="3014"/>
                    <a:pt x="162" y="6698"/>
                  </a:cubicBezTo>
                  <a:close/>
                </a:path>
              </a:pathLst>
            </a:custGeom>
            <a:solidFill>
              <a:srgbClr val="000000"/>
            </a:solidFill>
            <a:ln w="12700" cap="flat">
              <a:noFill/>
              <a:prstDash val="solid"/>
              <a:miter/>
            </a:ln>
          </p:spPr>
          <p:txBody>
            <a:bodyPr rtlCol="0" anchor="ctr"/>
            <a:lstStyle/>
            <a:p>
              <a:endParaRPr lang="en-US"/>
            </a:p>
          </p:txBody>
        </p:sp>
        <p:sp>
          <p:nvSpPr>
            <p:cNvPr id="1742" name="Freeform: Shape 1741">
              <a:extLst>
                <a:ext uri="{FF2B5EF4-FFF2-40B4-BE49-F238E27FC236}">
                  <a16:creationId xmlns:a16="http://schemas.microsoft.com/office/drawing/2014/main" id="{F182B00F-BA48-4CB9-A719-BADB7B808107}"/>
                </a:ext>
              </a:extLst>
            </p:cNvPr>
            <p:cNvSpPr/>
            <p:nvPr/>
          </p:nvSpPr>
          <p:spPr>
            <a:xfrm>
              <a:off x="1449771" y="6136107"/>
              <a:ext cx="1071" cy="2947"/>
            </a:xfrm>
            <a:custGeom>
              <a:avLst/>
              <a:gdLst>
                <a:gd name="connsiteX0" fmla="*/ 1072 w 1071"/>
                <a:gd name="connsiteY0" fmla="*/ 2947 h 2947"/>
                <a:gd name="connsiteX1" fmla="*/ 1072 w 1071"/>
                <a:gd name="connsiteY1" fmla="*/ 2947 h 2947"/>
                <a:gd name="connsiteX2" fmla="*/ 0 w 1071"/>
                <a:gd name="connsiteY2" fmla="*/ 804 h 2947"/>
                <a:gd name="connsiteX3" fmla="*/ 0 w 1071"/>
                <a:gd name="connsiteY3" fmla="*/ 0 h 2947"/>
                <a:gd name="connsiteX4" fmla="*/ 938 w 1071"/>
                <a:gd name="connsiteY4" fmla="*/ 2009 h 2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1" h="2947">
                  <a:moveTo>
                    <a:pt x="1072" y="2947"/>
                  </a:moveTo>
                  <a:lnTo>
                    <a:pt x="1072" y="2947"/>
                  </a:lnTo>
                  <a:lnTo>
                    <a:pt x="0" y="804"/>
                  </a:lnTo>
                  <a:lnTo>
                    <a:pt x="0" y="0"/>
                  </a:lnTo>
                  <a:cubicBezTo>
                    <a:pt x="389" y="630"/>
                    <a:pt x="710" y="1299"/>
                    <a:pt x="938" y="2009"/>
                  </a:cubicBezTo>
                  <a:close/>
                </a:path>
              </a:pathLst>
            </a:custGeom>
            <a:solidFill>
              <a:srgbClr val="000000"/>
            </a:solidFill>
            <a:ln w="12700" cap="flat">
              <a:noFill/>
              <a:prstDash val="solid"/>
              <a:miter/>
            </a:ln>
          </p:spPr>
          <p:txBody>
            <a:bodyPr rtlCol="0" anchor="ctr"/>
            <a:lstStyle/>
            <a:p>
              <a:endParaRPr lang="en-US"/>
            </a:p>
          </p:txBody>
        </p:sp>
        <p:sp>
          <p:nvSpPr>
            <p:cNvPr id="1743" name="Freeform: Shape 1742">
              <a:extLst>
                <a:ext uri="{FF2B5EF4-FFF2-40B4-BE49-F238E27FC236}">
                  <a16:creationId xmlns:a16="http://schemas.microsoft.com/office/drawing/2014/main" id="{5FF68881-50C9-4D59-834C-6D9B8BCAF5E5}"/>
                </a:ext>
              </a:extLst>
            </p:cNvPr>
            <p:cNvSpPr/>
            <p:nvPr/>
          </p:nvSpPr>
          <p:spPr>
            <a:xfrm>
              <a:off x="992237" y="4966665"/>
              <a:ext cx="59" cy="1413"/>
            </a:xfrm>
            <a:custGeom>
              <a:avLst/>
              <a:gdLst>
                <a:gd name="connsiteX0" fmla="*/ 0 w 59"/>
                <a:gd name="connsiteY0" fmla="*/ 0 h 1413"/>
                <a:gd name="connsiteX1" fmla="*/ 0 w 59"/>
                <a:gd name="connsiteY1" fmla="*/ 0 h 1413"/>
                <a:gd name="connsiteX2" fmla="*/ 0 w 59"/>
                <a:gd name="connsiteY2" fmla="*/ 1340 h 1413"/>
                <a:gd name="connsiteX3" fmla="*/ 0 w 59"/>
                <a:gd name="connsiteY3" fmla="*/ 0 h 1413"/>
              </a:gdLst>
              <a:ahLst/>
              <a:cxnLst>
                <a:cxn ang="0">
                  <a:pos x="connsiteX0" y="connsiteY0"/>
                </a:cxn>
                <a:cxn ang="0">
                  <a:pos x="connsiteX1" y="connsiteY1"/>
                </a:cxn>
                <a:cxn ang="0">
                  <a:pos x="connsiteX2" y="connsiteY2"/>
                </a:cxn>
                <a:cxn ang="0">
                  <a:pos x="connsiteX3" y="connsiteY3"/>
                </a:cxn>
              </a:cxnLst>
              <a:rect l="l" t="t" r="r" b="b"/>
              <a:pathLst>
                <a:path w="59" h="1413">
                  <a:moveTo>
                    <a:pt x="0" y="0"/>
                  </a:moveTo>
                  <a:lnTo>
                    <a:pt x="0" y="0"/>
                  </a:lnTo>
                  <a:cubicBezTo>
                    <a:pt x="0" y="0"/>
                    <a:pt x="0" y="938"/>
                    <a:pt x="0" y="1340"/>
                  </a:cubicBezTo>
                  <a:cubicBezTo>
                    <a:pt x="0" y="1741"/>
                    <a:pt x="134" y="402"/>
                    <a:pt x="0" y="0"/>
                  </a:cubicBezTo>
                  <a:close/>
                </a:path>
              </a:pathLst>
            </a:custGeom>
            <a:solidFill>
              <a:srgbClr val="000000"/>
            </a:solidFill>
            <a:ln w="12700" cap="flat">
              <a:noFill/>
              <a:prstDash val="solid"/>
              <a:miter/>
            </a:ln>
          </p:spPr>
          <p:txBody>
            <a:bodyPr rtlCol="0" anchor="ctr"/>
            <a:lstStyle/>
            <a:p>
              <a:endParaRPr lang="en-US"/>
            </a:p>
          </p:txBody>
        </p:sp>
        <p:sp>
          <p:nvSpPr>
            <p:cNvPr id="1744" name="Freeform: Shape 1743">
              <a:extLst>
                <a:ext uri="{FF2B5EF4-FFF2-40B4-BE49-F238E27FC236}">
                  <a16:creationId xmlns:a16="http://schemas.microsoft.com/office/drawing/2014/main" id="{DAC53017-A193-4AC6-B43F-0379ADE3DDA5}"/>
                </a:ext>
              </a:extLst>
            </p:cNvPr>
            <p:cNvSpPr/>
            <p:nvPr/>
          </p:nvSpPr>
          <p:spPr>
            <a:xfrm>
              <a:off x="979241" y="4949653"/>
              <a:ext cx="12995" cy="16878"/>
            </a:xfrm>
            <a:custGeom>
              <a:avLst/>
              <a:gdLst>
                <a:gd name="connsiteX0" fmla="*/ 6297 w 12995"/>
                <a:gd name="connsiteY0" fmla="*/ 12458 h 16878"/>
                <a:gd name="connsiteX1" fmla="*/ 12996 w 12995"/>
                <a:gd name="connsiteY1" fmla="*/ 16879 h 16878"/>
                <a:gd name="connsiteX2" fmla="*/ 6029 w 12995"/>
                <a:gd name="connsiteY2" fmla="*/ 0 h 16878"/>
                <a:gd name="connsiteX3" fmla="*/ 6029 w 12995"/>
                <a:gd name="connsiteY3" fmla="*/ 0 h 16878"/>
                <a:gd name="connsiteX4" fmla="*/ 6029 w 12995"/>
                <a:gd name="connsiteY4" fmla="*/ 2813 h 16878"/>
                <a:gd name="connsiteX5" fmla="*/ 0 w 12995"/>
                <a:gd name="connsiteY5" fmla="*/ 9779 h 16878"/>
                <a:gd name="connsiteX6" fmla="*/ 0 w 12995"/>
                <a:gd name="connsiteY6" fmla="*/ 15539 h 16878"/>
                <a:gd name="connsiteX7" fmla="*/ 6297 w 12995"/>
                <a:gd name="connsiteY7" fmla="*/ 12458 h 1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95" h="16878">
                  <a:moveTo>
                    <a:pt x="6297" y="12458"/>
                  </a:moveTo>
                  <a:cubicBezTo>
                    <a:pt x="9207" y="12479"/>
                    <a:pt x="11832" y="14211"/>
                    <a:pt x="12996" y="16879"/>
                  </a:cubicBezTo>
                  <a:lnTo>
                    <a:pt x="6029" y="0"/>
                  </a:lnTo>
                  <a:lnTo>
                    <a:pt x="6029" y="0"/>
                  </a:lnTo>
                  <a:cubicBezTo>
                    <a:pt x="6156" y="934"/>
                    <a:pt x="6156" y="1879"/>
                    <a:pt x="6029" y="2813"/>
                  </a:cubicBezTo>
                  <a:cubicBezTo>
                    <a:pt x="6004" y="6300"/>
                    <a:pt x="3449" y="9252"/>
                    <a:pt x="0" y="9779"/>
                  </a:cubicBezTo>
                  <a:lnTo>
                    <a:pt x="0" y="15539"/>
                  </a:lnTo>
                  <a:cubicBezTo>
                    <a:pt x="1392" y="13455"/>
                    <a:pt x="3797" y="12277"/>
                    <a:pt x="6297" y="12458"/>
                  </a:cubicBezTo>
                  <a:close/>
                </a:path>
              </a:pathLst>
            </a:custGeom>
            <a:solidFill>
              <a:srgbClr val="000000"/>
            </a:solidFill>
            <a:ln w="12700" cap="flat">
              <a:noFill/>
              <a:prstDash val="solid"/>
              <a:miter/>
            </a:ln>
          </p:spPr>
          <p:txBody>
            <a:bodyPr rtlCol="0" anchor="ctr"/>
            <a:lstStyle/>
            <a:p>
              <a:endParaRPr lang="en-US"/>
            </a:p>
          </p:txBody>
        </p:sp>
        <p:sp>
          <p:nvSpPr>
            <p:cNvPr id="1745" name="Freeform: Shape 1744">
              <a:extLst>
                <a:ext uri="{FF2B5EF4-FFF2-40B4-BE49-F238E27FC236}">
                  <a16:creationId xmlns:a16="http://schemas.microsoft.com/office/drawing/2014/main" id="{151BCB23-3216-41D7-9531-6C27DD647FAE}"/>
                </a:ext>
              </a:extLst>
            </p:cNvPr>
            <p:cNvSpPr/>
            <p:nvPr/>
          </p:nvSpPr>
          <p:spPr>
            <a:xfrm>
              <a:off x="973614" y="4959699"/>
              <a:ext cx="3617" cy="8707"/>
            </a:xfrm>
            <a:custGeom>
              <a:avLst/>
              <a:gdLst>
                <a:gd name="connsiteX0" fmla="*/ 0 w 3617"/>
                <a:gd name="connsiteY0" fmla="*/ 0 h 8707"/>
                <a:gd name="connsiteX1" fmla="*/ 3617 w 3617"/>
                <a:gd name="connsiteY1" fmla="*/ 8707 h 8707"/>
                <a:gd name="connsiteX2" fmla="*/ 3617 w 3617"/>
                <a:gd name="connsiteY2" fmla="*/ 0 h 8707"/>
                <a:gd name="connsiteX3" fmla="*/ 0 w 3617"/>
                <a:gd name="connsiteY3" fmla="*/ 0 h 8707"/>
              </a:gdLst>
              <a:ahLst/>
              <a:cxnLst>
                <a:cxn ang="0">
                  <a:pos x="connsiteX0" y="connsiteY0"/>
                </a:cxn>
                <a:cxn ang="0">
                  <a:pos x="connsiteX1" y="connsiteY1"/>
                </a:cxn>
                <a:cxn ang="0">
                  <a:pos x="connsiteX2" y="connsiteY2"/>
                </a:cxn>
                <a:cxn ang="0">
                  <a:pos x="connsiteX3" y="connsiteY3"/>
                </a:cxn>
              </a:cxnLst>
              <a:rect l="l" t="t" r="r" b="b"/>
              <a:pathLst>
                <a:path w="3617" h="8707">
                  <a:moveTo>
                    <a:pt x="0" y="0"/>
                  </a:moveTo>
                  <a:lnTo>
                    <a:pt x="3617" y="8707"/>
                  </a:lnTo>
                  <a:lnTo>
                    <a:pt x="3617" y="0"/>
                  </a:lnTo>
                  <a:lnTo>
                    <a:pt x="0" y="0"/>
                  </a:lnTo>
                  <a:close/>
                </a:path>
              </a:pathLst>
            </a:custGeom>
            <a:solidFill>
              <a:srgbClr val="000000"/>
            </a:solidFill>
            <a:ln w="12700" cap="flat">
              <a:noFill/>
              <a:prstDash val="solid"/>
              <a:miter/>
            </a:ln>
          </p:spPr>
          <p:txBody>
            <a:bodyPr rtlCol="0" anchor="ctr"/>
            <a:lstStyle/>
            <a:p>
              <a:endParaRPr lang="en-US"/>
            </a:p>
          </p:txBody>
        </p:sp>
        <p:sp>
          <p:nvSpPr>
            <p:cNvPr id="1746" name="Freeform: Shape 1745">
              <a:extLst>
                <a:ext uri="{FF2B5EF4-FFF2-40B4-BE49-F238E27FC236}">
                  <a16:creationId xmlns:a16="http://schemas.microsoft.com/office/drawing/2014/main" id="{06583377-5D0C-4F14-AE09-050E32B00B95}"/>
                </a:ext>
              </a:extLst>
            </p:cNvPr>
            <p:cNvSpPr/>
            <p:nvPr/>
          </p:nvSpPr>
          <p:spPr>
            <a:xfrm>
              <a:off x="977232" y="4959297"/>
              <a:ext cx="2545" cy="1173460"/>
            </a:xfrm>
            <a:custGeom>
              <a:avLst/>
              <a:gdLst>
                <a:gd name="connsiteX0" fmla="*/ 2546 w 2545"/>
                <a:gd name="connsiteY0" fmla="*/ 1173461 h 1173460"/>
                <a:gd name="connsiteX1" fmla="*/ 2546 w 2545"/>
                <a:gd name="connsiteY1" fmla="*/ 1069510 h 1173460"/>
                <a:gd name="connsiteX2" fmla="*/ 2546 w 2545"/>
                <a:gd name="connsiteY2" fmla="*/ 1069510 h 1173460"/>
                <a:gd name="connsiteX3" fmla="*/ 1072 w 2545"/>
                <a:gd name="connsiteY3" fmla="*/ 1065224 h 1173460"/>
                <a:gd name="connsiteX4" fmla="*/ 1072 w 2545"/>
                <a:gd name="connsiteY4" fmla="*/ 9913 h 1173460"/>
                <a:gd name="connsiteX5" fmla="*/ 2546 w 2545"/>
                <a:gd name="connsiteY5" fmla="*/ 5760 h 1173460"/>
                <a:gd name="connsiteX6" fmla="*/ 2546 w 2545"/>
                <a:gd name="connsiteY6" fmla="*/ 0 h 1173460"/>
                <a:gd name="connsiteX7" fmla="*/ 1206 w 2545"/>
                <a:gd name="connsiteY7" fmla="*/ 0 h 1173460"/>
                <a:gd name="connsiteX8" fmla="*/ 0 w 2545"/>
                <a:gd name="connsiteY8" fmla="*/ 0 h 1173460"/>
                <a:gd name="connsiteX9" fmla="*/ 0 w 2545"/>
                <a:gd name="connsiteY9" fmla="*/ 1173059 h 1173460"/>
                <a:gd name="connsiteX10" fmla="*/ 2546 w 2545"/>
                <a:gd name="connsiteY10" fmla="*/ 1173059 h 117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5" h="1173460">
                  <a:moveTo>
                    <a:pt x="2546" y="1173461"/>
                  </a:moveTo>
                  <a:lnTo>
                    <a:pt x="2546" y="1069510"/>
                  </a:lnTo>
                  <a:lnTo>
                    <a:pt x="2546" y="1069510"/>
                  </a:lnTo>
                  <a:cubicBezTo>
                    <a:pt x="1590" y="1068286"/>
                    <a:pt x="1072" y="1066776"/>
                    <a:pt x="1072" y="1065224"/>
                  </a:cubicBezTo>
                  <a:lnTo>
                    <a:pt x="1072" y="9913"/>
                  </a:lnTo>
                  <a:cubicBezTo>
                    <a:pt x="1070" y="8400"/>
                    <a:pt x="1590" y="6934"/>
                    <a:pt x="2546" y="5760"/>
                  </a:cubicBezTo>
                  <a:lnTo>
                    <a:pt x="2546" y="0"/>
                  </a:lnTo>
                  <a:lnTo>
                    <a:pt x="1206" y="0"/>
                  </a:lnTo>
                  <a:lnTo>
                    <a:pt x="0" y="0"/>
                  </a:lnTo>
                  <a:lnTo>
                    <a:pt x="0" y="1173059"/>
                  </a:lnTo>
                  <a:lnTo>
                    <a:pt x="2546" y="1173059"/>
                  </a:lnTo>
                  <a:close/>
                </a:path>
              </a:pathLst>
            </a:custGeom>
            <a:solidFill>
              <a:srgbClr val="000000"/>
            </a:solidFill>
            <a:ln w="12700" cap="flat">
              <a:noFill/>
              <a:prstDash val="solid"/>
              <a:miter/>
            </a:ln>
          </p:spPr>
          <p:txBody>
            <a:bodyPr rtlCol="0" anchor="ctr"/>
            <a:lstStyle/>
            <a:p>
              <a:endParaRPr lang="en-US"/>
            </a:p>
          </p:txBody>
        </p:sp>
        <p:sp>
          <p:nvSpPr>
            <p:cNvPr id="1747" name="Freeform: Shape 1746">
              <a:extLst>
                <a:ext uri="{FF2B5EF4-FFF2-40B4-BE49-F238E27FC236}">
                  <a16:creationId xmlns:a16="http://schemas.microsoft.com/office/drawing/2014/main" id="{29328CE3-25B2-4FDD-A988-0842A97954FB}"/>
                </a:ext>
              </a:extLst>
            </p:cNvPr>
            <p:cNvSpPr/>
            <p:nvPr/>
          </p:nvSpPr>
          <p:spPr>
            <a:xfrm>
              <a:off x="984199" y="6031353"/>
              <a:ext cx="2679" cy="101405"/>
            </a:xfrm>
            <a:custGeom>
              <a:avLst/>
              <a:gdLst>
                <a:gd name="connsiteX0" fmla="*/ 0 w 2679"/>
                <a:gd name="connsiteY0" fmla="*/ 101405 h 101405"/>
                <a:gd name="connsiteX1" fmla="*/ 2680 w 2679"/>
                <a:gd name="connsiteY1" fmla="*/ 101405 h 101405"/>
                <a:gd name="connsiteX2" fmla="*/ 2680 w 2679"/>
                <a:gd name="connsiteY2" fmla="*/ 0 h 101405"/>
                <a:gd name="connsiteX3" fmla="*/ 1340 w 2679"/>
                <a:gd name="connsiteY3" fmla="*/ 0 h 101405"/>
                <a:gd name="connsiteX4" fmla="*/ 0 w 2679"/>
                <a:gd name="connsiteY4" fmla="*/ 0 h 101405"/>
                <a:gd name="connsiteX5" fmla="*/ 0 w 2679"/>
                <a:gd name="connsiteY5" fmla="*/ 101405 h 10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01405">
                  <a:moveTo>
                    <a:pt x="0" y="101405"/>
                  </a:moveTo>
                  <a:lnTo>
                    <a:pt x="2680" y="101405"/>
                  </a:lnTo>
                  <a:lnTo>
                    <a:pt x="2680" y="0"/>
                  </a:lnTo>
                  <a:lnTo>
                    <a:pt x="1340" y="0"/>
                  </a:lnTo>
                  <a:lnTo>
                    <a:pt x="0" y="0"/>
                  </a:lnTo>
                  <a:lnTo>
                    <a:pt x="0" y="101405"/>
                  </a:lnTo>
                  <a:close/>
                </a:path>
              </a:pathLst>
            </a:custGeom>
            <a:solidFill>
              <a:srgbClr val="000000"/>
            </a:solidFill>
            <a:ln w="12700" cap="flat">
              <a:noFill/>
              <a:prstDash val="solid"/>
              <a:miter/>
            </a:ln>
          </p:spPr>
          <p:txBody>
            <a:bodyPr rtlCol="0" anchor="ctr"/>
            <a:lstStyle/>
            <a:p>
              <a:endParaRPr lang="en-US"/>
            </a:p>
          </p:txBody>
        </p:sp>
        <p:sp>
          <p:nvSpPr>
            <p:cNvPr id="1748" name="Freeform: Shape 1747">
              <a:extLst>
                <a:ext uri="{FF2B5EF4-FFF2-40B4-BE49-F238E27FC236}">
                  <a16:creationId xmlns:a16="http://schemas.microsoft.com/office/drawing/2014/main" id="{D1156929-1FF0-4FAE-B143-C2F68792B63A}"/>
                </a:ext>
              </a:extLst>
            </p:cNvPr>
            <p:cNvSpPr/>
            <p:nvPr/>
          </p:nvSpPr>
          <p:spPr>
            <a:xfrm>
              <a:off x="2157038" y="6478366"/>
              <a:ext cx="2679" cy="150"/>
            </a:xfrm>
            <a:custGeom>
              <a:avLst/>
              <a:gdLst>
                <a:gd name="connsiteX0" fmla="*/ 0 w 2679"/>
                <a:gd name="connsiteY0" fmla="*/ 0 h 150"/>
                <a:gd name="connsiteX1" fmla="*/ 0 w 2679"/>
                <a:gd name="connsiteY1" fmla="*/ 0 h 150"/>
                <a:gd name="connsiteX2" fmla="*/ 1474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0" y="0"/>
                  </a:lnTo>
                  <a:lnTo>
                    <a:pt x="1474" y="0"/>
                  </a:lnTo>
                  <a:lnTo>
                    <a:pt x="2680" y="0"/>
                  </a:lnTo>
                  <a:cubicBezTo>
                    <a:pt x="1795" y="201"/>
                    <a:pt x="884" y="201"/>
                    <a:pt x="0" y="0"/>
                  </a:cubicBezTo>
                  <a:close/>
                </a:path>
              </a:pathLst>
            </a:custGeom>
            <a:solidFill>
              <a:srgbClr val="000000"/>
            </a:solidFill>
            <a:ln w="12700" cap="flat">
              <a:noFill/>
              <a:prstDash val="solid"/>
              <a:miter/>
            </a:ln>
          </p:spPr>
          <p:txBody>
            <a:bodyPr rtlCol="0" anchor="ctr"/>
            <a:lstStyle/>
            <a:p>
              <a:endParaRPr lang="en-US"/>
            </a:p>
          </p:txBody>
        </p:sp>
        <p:sp>
          <p:nvSpPr>
            <p:cNvPr id="1749" name="Freeform: Shape 1748">
              <a:extLst>
                <a:ext uri="{FF2B5EF4-FFF2-40B4-BE49-F238E27FC236}">
                  <a16:creationId xmlns:a16="http://schemas.microsoft.com/office/drawing/2014/main" id="{3AAA4D02-C543-4A6A-8535-694212C6581E}"/>
                </a:ext>
              </a:extLst>
            </p:cNvPr>
            <p:cNvSpPr/>
            <p:nvPr/>
          </p:nvSpPr>
          <p:spPr>
            <a:xfrm>
              <a:off x="2164005" y="6471668"/>
              <a:ext cx="50" cy="1607"/>
            </a:xfrm>
            <a:custGeom>
              <a:avLst/>
              <a:gdLst>
                <a:gd name="connsiteX0" fmla="*/ 0 w 50"/>
                <a:gd name="connsiteY0" fmla="*/ 0 h 1607"/>
                <a:gd name="connsiteX1" fmla="*/ 0 w 50"/>
                <a:gd name="connsiteY1" fmla="*/ 0 h 1607"/>
                <a:gd name="connsiteX2" fmla="*/ 0 w 50"/>
                <a:gd name="connsiteY2" fmla="*/ 1607 h 1607"/>
              </a:gdLst>
              <a:ahLst/>
              <a:cxnLst>
                <a:cxn ang="0">
                  <a:pos x="connsiteX0" y="connsiteY0"/>
                </a:cxn>
                <a:cxn ang="0">
                  <a:pos x="connsiteX1" y="connsiteY1"/>
                </a:cxn>
                <a:cxn ang="0">
                  <a:pos x="connsiteX2" y="connsiteY2"/>
                </a:cxn>
              </a:cxnLst>
              <a:rect l="l" t="t" r="r" b="b"/>
              <a:pathLst>
                <a:path w="50" h="1607">
                  <a:moveTo>
                    <a:pt x="0" y="0"/>
                  </a:moveTo>
                  <a:cubicBezTo>
                    <a:pt x="0" y="0"/>
                    <a:pt x="0" y="0"/>
                    <a:pt x="0" y="0"/>
                  </a:cubicBezTo>
                  <a:cubicBezTo>
                    <a:pt x="67" y="536"/>
                    <a:pt x="67" y="1072"/>
                    <a:pt x="0" y="1607"/>
                  </a:cubicBezTo>
                  <a:close/>
                </a:path>
              </a:pathLst>
            </a:custGeom>
            <a:solidFill>
              <a:srgbClr val="000000"/>
            </a:solidFill>
            <a:ln w="12700" cap="flat">
              <a:noFill/>
              <a:prstDash val="solid"/>
              <a:miter/>
            </a:ln>
          </p:spPr>
          <p:txBody>
            <a:bodyPr rtlCol="0" anchor="ctr"/>
            <a:lstStyle/>
            <a:p>
              <a:endParaRPr lang="en-US"/>
            </a:p>
          </p:txBody>
        </p:sp>
        <p:sp>
          <p:nvSpPr>
            <p:cNvPr id="1750" name="Freeform: Shape 1749">
              <a:extLst>
                <a:ext uri="{FF2B5EF4-FFF2-40B4-BE49-F238E27FC236}">
                  <a16:creationId xmlns:a16="http://schemas.microsoft.com/office/drawing/2014/main" id="{59B95FA7-4F78-48E8-BF1F-7DF78D21F8ED}"/>
                </a:ext>
              </a:extLst>
            </p:cNvPr>
            <p:cNvSpPr/>
            <p:nvPr/>
          </p:nvSpPr>
          <p:spPr>
            <a:xfrm>
              <a:off x="2151679" y="6463899"/>
              <a:ext cx="7100" cy="13395"/>
            </a:xfrm>
            <a:custGeom>
              <a:avLst/>
              <a:gdLst>
                <a:gd name="connsiteX0" fmla="*/ 5359 w 7100"/>
                <a:gd name="connsiteY0" fmla="*/ 0 h 13395"/>
                <a:gd name="connsiteX1" fmla="*/ 7101 w 7100"/>
                <a:gd name="connsiteY1" fmla="*/ 0 h 13395"/>
                <a:gd name="connsiteX2" fmla="*/ 5895 w 7100"/>
                <a:gd name="connsiteY2" fmla="*/ 0 h 13395"/>
                <a:gd name="connsiteX3" fmla="*/ 1876 w 7100"/>
                <a:gd name="connsiteY3" fmla="*/ 0 h 13395"/>
                <a:gd name="connsiteX4" fmla="*/ 1876 w 7100"/>
                <a:gd name="connsiteY4" fmla="*/ 0 h 13395"/>
                <a:gd name="connsiteX5" fmla="*/ 0 w 7100"/>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0" h="13395">
                  <a:moveTo>
                    <a:pt x="5359" y="0"/>
                  </a:moveTo>
                  <a:lnTo>
                    <a:pt x="7101" y="0"/>
                  </a:lnTo>
                  <a:lnTo>
                    <a:pt x="5895" y="0"/>
                  </a:lnTo>
                  <a:lnTo>
                    <a:pt x="1876" y="0"/>
                  </a:lnTo>
                  <a:lnTo>
                    <a:pt x="1876" y="0"/>
                  </a:lnTo>
                  <a:lnTo>
                    <a:pt x="0" y="0"/>
                  </a:lnTo>
                  <a:close/>
                </a:path>
              </a:pathLst>
            </a:custGeom>
            <a:solidFill>
              <a:srgbClr val="000000"/>
            </a:solidFill>
            <a:ln w="12700" cap="flat">
              <a:noFill/>
              <a:prstDash val="solid"/>
              <a:miter/>
            </a:ln>
          </p:spPr>
          <p:txBody>
            <a:bodyPr rtlCol="0" anchor="ctr"/>
            <a:lstStyle/>
            <a:p>
              <a:endParaRPr lang="en-US"/>
            </a:p>
          </p:txBody>
        </p:sp>
        <p:sp>
          <p:nvSpPr>
            <p:cNvPr id="1751" name="Freeform: Shape 1750">
              <a:extLst>
                <a:ext uri="{FF2B5EF4-FFF2-40B4-BE49-F238E27FC236}">
                  <a16:creationId xmlns:a16="http://schemas.microsoft.com/office/drawing/2014/main" id="{AA3F6240-43F2-4995-87A0-D074D4ED892C}"/>
                </a:ext>
              </a:extLst>
            </p:cNvPr>
            <p:cNvSpPr/>
            <p:nvPr/>
          </p:nvSpPr>
          <p:spPr>
            <a:xfrm>
              <a:off x="2081877" y="6464746"/>
              <a:ext cx="81508" cy="13244"/>
            </a:xfrm>
            <a:custGeom>
              <a:avLst/>
              <a:gdLst>
                <a:gd name="connsiteX0" fmla="*/ 78377 w 81508"/>
                <a:gd name="connsiteY0" fmla="*/ 12548 h 13244"/>
                <a:gd name="connsiteX1" fmla="*/ 79851 w 81508"/>
                <a:gd name="connsiteY1" fmla="*/ 11611 h 13244"/>
                <a:gd name="connsiteX2" fmla="*/ 80520 w 81508"/>
                <a:gd name="connsiteY2" fmla="*/ 10673 h 13244"/>
                <a:gd name="connsiteX3" fmla="*/ 81458 w 81508"/>
                <a:gd name="connsiteY3" fmla="*/ 9333 h 13244"/>
                <a:gd name="connsiteX4" fmla="*/ 81458 w 81508"/>
                <a:gd name="connsiteY4" fmla="*/ 8262 h 13244"/>
                <a:gd name="connsiteX5" fmla="*/ 81458 w 81508"/>
                <a:gd name="connsiteY5" fmla="*/ 6654 h 13244"/>
                <a:gd name="connsiteX6" fmla="*/ 81458 w 81508"/>
                <a:gd name="connsiteY6" fmla="*/ 6654 h 13244"/>
                <a:gd name="connsiteX7" fmla="*/ 81458 w 81508"/>
                <a:gd name="connsiteY7" fmla="*/ 5449 h 13244"/>
                <a:gd name="connsiteX8" fmla="*/ 81458 w 81508"/>
                <a:gd name="connsiteY8" fmla="*/ 4109 h 13244"/>
                <a:gd name="connsiteX9" fmla="*/ 81458 w 81508"/>
                <a:gd name="connsiteY9" fmla="*/ 2904 h 13244"/>
                <a:gd name="connsiteX10" fmla="*/ 80655 w 81508"/>
                <a:gd name="connsiteY10" fmla="*/ 1698 h 13244"/>
                <a:gd name="connsiteX11" fmla="*/ 79583 w 81508"/>
                <a:gd name="connsiteY11" fmla="*/ 894 h 13244"/>
                <a:gd name="connsiteX12" fmla="*/ 78377 w 81508"/>
                <a:gd name="connsiteY12" fmla="*/ 90 h 13244"/>
                <a:gd name="connsiteX13" fmla="*/ 77037 w 81508"/>
                <a:gd name="connsiteY13" fmla="*/ 90 h 13244"/>
                <a:gd name="connsiteX14" fmla="*/ 75295 w 81508"/>
                <a:gd name="connsiteY14" fmla="*/ 90 h 13244"/>
                <a:gd name="connsiteX15" fmla="*/ 0 w 81508"/>
                <a:gd name="connsiteY15" fmla="*/ 90 h 13244"/>
                <a:gd name="connsiteX16" fmla="*/ 1742 w 81508"/>
                <a:gd name="connsiteY16" fmla="*/ 90 h 13244"/>
                <a:gd name="connsiteX17" fmla="*/ 1742 w 81508"/>
                <a:gd name="connsiteY17" fmla="*/ 90 h 13244"/>
                <a:gd name="connsiteX18" fmla="*/ 2814 w 81508"/>
                <a:gd name="connsiteY18" fmla="*/ 90 h 13244"/>
                <a:gd name="connsiteX19" fmla="*/ 4287 w 81508"/>
                <a:gd name="connsiteY19" fmla="*/ 90 h 13244"/>
                <a:gd name="connsiteX20" fmla="*/ 5359 w 81508"/>
                <a:gd name="connsiteY20" fmla="*/ 90 h 13244"/>
                <a:gd name="connsiteX21" fmla="*/ 6431 w 81508"/>
                <a:gd name="connsiteY21" fmla="*/ 1028 h 13244"/>
                <a:gd name="connsiteX22" fmla="*/ 7235 w 81508"/>
                <a:gd name="connsiteY22" fmla="*/ 2100 h 13244"/>
                <a:gd name="connsiteX23" fmla="*/ 7235 w 81508"/>
                <a:gd name="connsiteY23" fmla="*/ 3305 h 13244"/>
                <a:gd name="connsiteX24" fmla="*/ 7235 w 81508"/>
                <a:gd name="connsiteY24" fmla="*/ 4779 h 13244"/>
                <a:gd name="connsiteX25" fmla="*/ 7235 w 81508"/>
                <a:gd name="connsiteY25" fmla="*/ 5851 h 13244"/>
                <a:gd name="connsiteX26" fmla="*/ 7235 w 81508"/>
                <a:gd name="connsiteY26" fmla="*/ 13084 h 13244"/>
                <a:gd name="connsiteX27" fmla="*/ 75161 w 81508"/>
                <a:gd name="connsiteY27" fmla="*/ 13084 h 13244"/>
                <a:gd name="connsiteX28" fmla="*/ 77975 w 81508"/>
                <a:gd name="connsiteY28" fmla="*/ 13084 h 1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1508" h="13244">
                  <a:moveTo>
                    <a:pt x="78377" y="12548"/>
                  </a:moveTo>
                  <a:cubicBezTo>
                    <a:pt x="78913" y="12321"/>
                    <a:pt x="79409" y="11999"/>
                    <a:pt x="79851" y="11611"/>
                  </a:cubicBezTo>
                  <a:lnTo>
                    <a:pt x="80520" y="10673"/>
                  </a:lnTo>
                  <a:cubicBezTo>
                    <a:pt x="80869" y="10244"/>
                    <a:pt x="81177" y="9802"/>
                    <a:pt x="81458" y="9333"/>
                  </a:cubicBezTo>
                  <a:cubicBezTo>
                    <a:pt x="81458" y="9333"/>
                    <a:pt x="81458" y="8664"/>
                    <a:pt x="81458" y="8262"/>
                  </a:cubicBezTo>
                  <a:cubicBezTo>
                    <a:pt x="81525" y="7726"/>
                    <a:pt x="81525" y="7190"/>
                    <a:pt x="81458" y="6654"/>
                  </a:cubicBezTo>
                  <a:lnTo>
                    <a:pt x="81458" y="6654"/>
                  </a:lnTo>
                  <a:cubicBezTo>
                    <a:pt x="81525" y="6252"/>
                    <a:pt x="81525" y="5851"/>
                    <a:pt x="81458" y="5449"/>
                  </a:cubicBezTo>
                  <a:cubicBezTo>
                    <a:pt x="81525" y="5007"/>
                    <a:pt x="81525" y="4551"/>
                    <a:pt x="81458" y="4109"/>
                  </a:cubicBezTo>
                  <a:cubicBezTo>
                    <a:pt x="81525" y="3707"/>
                    <a:pt x="81525" y="3305"/>
                    <a:pt x="81458" y="2904"/>
                  </a:cubicBezTo>
                  <a:lnTo>
                    <a:pt x="80655" y="1698"/>
                  </a:lnTo>
                  <a:lnTo>
                    <a:pt x="79583" y="894"/>
                  </a:lnTo>
                  <a:lnTo>
                    <a:pt x="78377" y="90"/>
                  </a:lnTo>
                  <a:lnTo>
                    <a:pt x="77037" y="90"/>
                  </a:lnTo>
                  <a:lnTo>
                    <a:pt x="75295" y="90"/>
                  </a:lnTo>
                  <a:lnTo>
                    <a:pt x="0" y="90"/>
                  </a:lnTo>
                  <a:cubicBezTo>
                    <a:pt x="576" y="23"/>
                    <a:pt x="1166" y="23"/>
                    <a:pt x="1742" y="90"/>
                  </a:cubicBezTo>
                  <a:lnTo>
                    <a:pt x="1742" y="90"/>
                  </a:lnTo>
                  <a:cubicBezTo>
                    <a:pt x="1742" y="90"/>
                    <a:pt x="1742" y="90"/>
                    <a:pt x="2814" y="90"/>
                  </a:cubicBezTo>
                  <a:cubicBezTo>
                    <a:pt x="3296" y="-30"/>
                    <a:pt x="3805" y="-30"/>
                    <a:pt x="4287" y="90"/>
                  </a:cubicBezTo>
                  <a:lnTo>
                    <a:pt x="5359" y="90"/>
                  </a:lnTo>
                  <a:cubicBezTo>
                    <a:pt x="5774" y="332"/>
                    <a:pt x="6136" y="653"/>
                    <a:pt x="6431" y="1028"/>
                  </a:cubicBezTo>
                  <a:cubicBezTo>
                    <a:pt x="6766" y="1323"/>
                    <a:pt x="7047" y="1684"/>
                    <a:pt x="7235" y="2100"/>
                  </a:cubicBezTo>
                  <a:cubicBezTo>
                    <a:pt x="7275" y="2502"/>
                    <a:pt x="7275" y="2904"/>
                    <a:pt x="7235" y="3305"/>
                  </a:cubicBezTo>
                  <a:cubicBezTo>
                    <a:pt x="7302" y="3801"/>
                    <a:pt x="7302" y="4283"/>
                    <a:pt x="7235" y="4779"/>
                  </a:cubicBezTo>
                  <a:cubicBezTo>
                    <a:pt x="7288" y="5127"/>
                    <a:pt x="7288" y="5502"/>
                    <a:pt x="7235" y="5851"/>
                  </a:cubicBezTo>
                  <a:lnTo>
                    <a:pt x="7235" y="13084"/>
                  </a:lnTo>
                  <a:lnTo>
                    <a:pt x="75161" y="13084"/>
                  </a:lnTo>
                  <a:cubicBezTo>
                    <a:pt x="76086" y="13299"/>
                    <a:pt x="77051" y="13299"/>
                    <a:pt x="77975" y="13084"/>
                  </a:cubicBezTo>
                  <a:close/>
                </a:path>
              </a:pathLst>
            </a:custGeom>
            <a:solidFill>
              <a:srgbClr val="000000"/>
            </a:solidFill>
            <a:ln w="12700" cap="flat">
              <a:noFill/>
              <a:prstDash val="solid"/>
              <a:miter/>
            </a:ln>
          </p:spPr>
          <p:txBody>
            <a:bodyPr rtlCol="0" anchor="ctr"/>
            <a:lstStyle/>
            <a:p>
              <a:endParaRPr lang="en-US"/>
            </a:p>
          </p:txBody>
        </p:sp>
        <p:sp>
          <p:nvSpPr>
            <p:cNvPr id="1752" name="Freeform: Shape 1751">
              <a:extLst>
                <a:ext uri="{FF2B5EF4-FFF2-40B4-BE49-F238E27FC236}">
                  <a16:creationId xmlns:a16="http://schemas.microsoft.com/office/drawing/2014/main" id="{8153554E-9D4D-4263-9A34-58D32BB24339}"/>
                </a:ext>
              </a:extLst>
            </p:cNvPr>
            <p:cNvSpPr/>
            <p:nvPr/>
          </p:nvSpPr>
          <p:spPr>
            <a:xfrm>
              <a:off x="2075982" y="6470061"/>
              <a:ext cx="14127" cy="384321"/>
            </a:xfrm>
            <a:custGeom>
              <a:avLst/>
              <a:gdLst>
                <a:gd name="connsiteX0" fmla="*/ 14068 w 14127"/>
                <a:gd name="connsiteY0" fmla="*/ 1072 h 384321"/>
                <a:gd name="connsiteX1" fmla="*/ 14068 w 14127"/>
                <a:gd name="connsiteY1" fmla="*/ 0 h 384321"/>
                <a:gd name="connsiteX2" fmla="*/ 14068 w 14127"/>
                <a:gd name="connsiteY2" fmla="*/ 1742 h 384321"/>
                <a:gd name="connsiteX3" fmla="*/ 6833 w 14127"/>
                <a:gd name="connsiteY3" fmla="*/ 8439 h 384321"/>
                <a:gd name="connsiteX4" fmla="*/ 5627 w 14127"/>
                <a:gd name="connsiteY4" fmla="*/ 8439 h 384321"/>
                <a:gd name="connsiteX5" fmla="*/ 3885 w 14127"/>
                <a:gd name="connsiteY5" fmla="*/ 8439 h 384321"/>
                <a:gd name="connsiteX6" fmla="*/ 2680 w 14127"/>
                <a:gd name="connsiteY6" fmla="*/ 8439 h 384321"/>
                <a:gd name="connsiteX7" fmla="*/ 2680 w 14127"/>
                <a:gd name="connsiteY7" fmla="*/ 8439 h 384321"/>
                <a:gd name="connsiteX8" fmla="*/ 0 w 14127"/>
                <a:gd name="connsiteY8" fmla="*/ 8439 h 384321"/>
                <a:gd name="connsiteX9" fmla="*/ 0 w 14127"/>
                <a:gd name="connsiteY9" fmla="*/ 384322 h 384321"/>
                <a:gd name="connsiteX10" fmla="*/ 14068 w 14127"/>
                <a:gd name="connsiteY10" fmla="*/ 384322 h 384321"/>
                <a:gd name="connsiteX11" fmla="*/ 14068 w 14127"/>
                <a:gd name="connsiteY11" fmla="*/ 1072 h 38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27" h="384321">
                  <a:moveTo>
                    <a:pt x="14068" y="1072"/>
                  </a:moveTo>
                  <a:cubicBezTo>
                    <a:pt x="14121" y="723"/>
                    <a:pt x="14121" y="348"/>
                    <a:pt x="14068" y="0"/>
                  </a:cubicBezTo>
                  <a:cubicBezTo>
                    <a:pt x="14148" y="576"/>
                    <a:pt x="14148" y="1165"/>
                    <a:pt x="14068" y="1742"/>
                  </a:cubicBezTo>
                  <a:cubicBezTo>
                    <a:pt x="13719" y="5492"/>
                    <a:pt x="10598" y="8386"/>
                    <a:pt x="6833" y="8439"/>
                  </a:cubicBezTo>
                  <a:lnTo>
                    <a:pt x="5627" y="8439"/>
                  </a:lnTo>
                  <a:cubicBezTo>
                    <a:pt x="5051" y="8573"/>
                    <a:pt x="4462" y="8573"/>
                    <a:pt x="3885" y="8439"/>
                  </a:cubicBezTo>
                  <a:lnTo>
                    <a:pt x="2680" y="8439"/>
                  </a:lnTo>
                  <a:lnTo>
                    <a:pt x="2680" y="8439"/>
                  </a:lnTo>
                  <a:lnTo>
                    <a:pt x="0" y="8439"/>
                  </a:lnTo>
                  <a:lnTo>
                    <a:pt x="0" y="384322"/>
                  </a:lnTo>
                  <a:lnTo>
                    <a:pt x="14068" y="384322"/>
                  </a:lnTo>
                  <a:lnTo>
                    <a:pt x="14068" y="1072"/>
                  </a:lnTo>
                  <a:close/>
                </a:path>
              </a:pathLst>
            </a:custGeom>
            <a:solidFill>
              <a:srgbClr val="000000"/>
            </a:solidFill>
            <a:ln w="12700" cap="flat">
              <a:noFill/>
              <a:prstDash val="solid"/>
              <a:miter/>
            </a:ln>
          </p:spPr>
          <p:txBody>
            <a:bodyPr rtlCol="0" anchor="ctr"/>
            <a:lstStyle/>
            <a:p>
              <a:endParaRPr lang="en-US"/>
            </a:p>
          </p:txBody>
        </p:sp>
        <p:sp>
          <p:nvSpPr>
            <p:cNvPr id="1753" name="Freeform: Shape 1752">
              <a:extLst>
                <a:ext uri="{FF2B5EF4-FFF2-40B4-BE49-F238E27FC236}">
                  <a16:creationId xmlns:a16="http://schemas.microsoft.com/office/drawing/2014/main" id="{484876AD-B310-4AB3-BD72-84806EAC83ED}"/>
                </a:ext>
              </a:extLst>
            </p:cNvPr>
            <p:cNvSpPr/>
            <p:nvPr/>
          </p:nvSpPr>
          <p:spPr>
            <a:xfrm>
              <a:off x="981519" y="6470329"/>
              <a:ext cx="456193" cy="2411"/>
            </a:xfrm>
            <a:custGeom>
              <a:avLst/>
              <a:gdLst>
                <a:gd name="connsiteX0" fmla="*/ 455524 w 456193"/>
                <a:gd name="connsiteY0" fmla="*/ 0 h 2411"/>
                <a:gd name="connsiteX1" fmla="*/ 455524 w 456193"/>
                <a:gd name="connsiteY1" fmla="*/ 0 h 2411"/>
                <a:gd name="connsiteX2" fmla="*/ 0 w 456193"/>
                <a:gd name="connsiteY2" fmla="*/ 0 h 2411"/>
                <a:gd name="connsiteX3" fmla="*/ 0 w 456193"/>
                <a:gd name="connsiteY3" fmla="*/ 1206 h 2411"/>
                <a:gd name="connsiteX4" fmla="*/ 0 w 456193"/>
                <a:gd name="connsiteY4" fmla="*/ 2411 h 2411"/>
                <a:gd name="connsiteX5" fmla="*/ 456194 w 456193"/>
                <a:gd name="connsiteY5" fmla="*/ 2411 h 2411"/>
                <a:gd name="connsiteX6" fmla="*/ 456194 w 456193"/>
                <a:gd name="connsiteY6" fmla="*/ 804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193" h="2411">
                  <a:moveTo>
                    <a:pt x="455524" y="0"/>
                  </a:moveTo>
                  <a:lnTo>
                    <a:pt x="455524" y="0"/>
                  </a:lnTo>
                  <a:lnTo>
                    <a:pt x="0" y="0"/>
                  </a:lnTo>
                  <a:lnTo>
                    <a:pt x="0" y="1206"/>
                  </a:lnTo>
                  <a:cubicBezTo>
                    <a:pt x="0" y="1206"/>
                    <a:pt x="0" y="2009"/>
                    <a:pt x="0" y="2411"/>
                  </a:cubicBezTo>
                  <a:lnTo>
                    <a:pt x="456194" y="2411"/>
                  </a:lnTo>
                  <a:cubicBezTo>
                    <a:pt x="456127" y="1875"/>
                    <a:pt x="456127" y="1340"/>
                    <a:pt x="456194" y="804"/>
                  </a:cubicBezTo>
                  <a:close/>
                </a:path>
              </a:pathLst>
            </a:custGeom>
            <a:solidFill>
              <a:srgbClr val="000000"/>
            </a:solidFill>
            <a:ln w="12700" cap="flat">
              <a:noFill/>
              <a:prstDash val="solid"/>
              <a:miter/>
            </a:ln>
          </p:spPr>
          <p:txBody>
            <a:bodyPr rtlCol="0" anchor="ctr"/>
            <a:lstStyle/>
            <a:p>
              <a:endParaRPr lang="en-US"/>
            </a:p>
          </p:txBody>
        </p:sp>
        <p:sp>
          <p:nvSpPr>
            <p:cNvPr id="1754" name="Freeform: Shape 1753">
              <a:extLst>
                <a:ext uri="{FF2B5EF4-FFF2-40B4-BE49-F238E27FC236}">
                  <a16:creationId xmlns:a16="http://schemas.microsoft.com/office/drawing/2014/main" id="{046F2E13-774C-45AD-8082-83DC5617D670}"/>
                </a:ext>
              </a:extLst>
            </p:cNvPr>
            <p:cNvSpPr/>
            <p:nvPr/>
          </p:nvSpPr>
          <p:spPr>
            <a:xfrm>
              <a:off x="966112" y="6474080"/>
              <a:ext cx="14603" cy="378695"/>
            </a:xfrm>
            <a:custGeom>
              <a:avLst/>
              <a:gdLst>
                <a:gd name="connsiteX0" fmla="*/ 13934 w 14603"/>
                <a:gd name="connsiteY0" fmla="*/ 804 h 378695"/>
                <a:gd name="connsiteX1" fmla="*/ 13264 w 14603"/>
                <a:gd name="connsiteY1" fmla="*/ 2009 h 378695"/>
                <a:gd name="connsiteX2" fmla="*/ 12192 w 14603"/>
                <a:gd name="connsiteY2" fmla="*/ 2813 h 378695"/>
                <a:gd name="connsiteX3" fmla="*/ 10986 w 14603"/>
                <a:gd name="connsiteY3" fmla="*/ 3617 h 378695"/>
                <a:gd name="connsiteX4" fmla="*/ 9646 w 14603"/>
                <a:gd name="connsiteY4" fmla="*/ 3617 h 378695"/>
                <a:gd name="connsiteX5" fmla="*/ 8441 w 14603"/>
                <a:gd name="connsiteY5" fmla="*/ 3617 h 378695"/>
                <a:gd name="connsiteX6" fmla="*/ 7235 w 14603"/>
                <a:gd name="connsiteY6" fmla="*/ 3617 h 378695"/>
                <a:gd name="connsiteX7" fmla="*/ 5493 w 14603"/>
                <a:gd name="connsiteY7" fmla="*/ 3617 h 378695"/>
                <a:gd name="connsiteX8" fmla="*/ 0 w 14603"/>
                <a:gd name="connsiteY8" fmla="*/ 3617 h 378695"/>
                <a:gd name="connsiteX9" fmla="*/ 0 w 14603"/>
                <a:gd name="connsiteY9" fmla="*/ 378696 h 378695"/>
                <a:gd name="connsiteX10" fmla="*/ 14604 w 14603"/>
                <a:gd name="connsiteY10" fmla="*/ 378696 h 378695"/>
                <a:gd name="connsiteX11" fmla="*/ 14604 w 14603"/>
                <a:gd name="connsiteY11" fmla="*/ 0 h 37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378695">
                  <a:moveTo>
                    <a:pt x="13934" y="804"/>
                  </a:moveTo>
                  <a:cubicBezTo>
                    <a:pt x="13762" y="1233"/>
                    <a:pt x="13537" y="1634"/>
                    <a:pt x="13264" y="2009"/>
                  </a:cubicBezTo>
                  <a:lnTo>
                    <a:pt x="12192" y="2813"/>
                  </a:lnTo>
                  <a:lnTo>
                    <a:pt x="10986" y="3617"/>
                  </a:lnTo>
                  <a:cubicBezTo>
                    <a:pt x="10541" y="3670"/>
                    <a:pt x="10091" y="3670"/>
                    <a:pt x="9646" y="3617"/>
                  </a:cubicBezTo>
                  <a:lnTo>
                    <a:pt x="8441" y="3617"/>
                  </a:lnTo>
                  <a:lnTo>
                    <a:pt x="7235" y="3617"/>
                  </a:lnTo>
                  <a:lnTo>
                    <a:pt x="5493" y="3617"/>
                  </a:lnTo>
                  <a:lnTo>
                    <a:pt x="0" y="3617"/>
                  </a:lnTo>
                  <a:lnTo>
                    <a:pt x="0" y="378696"/>
                  </a:lnTo>
                  <a:lnTo>
                    <a:pt x="14604" y="378696"/>
                  </a:lnTo>
                  <a:lnTo>
                    <a:pt x="14604" y="0"/>
                  </a:lnTo>
                  <a:close/>
                </a:path>
              </a:pathLst>
            </a:custGeom>
            <a:solidFill>
              <a:srgbClr val="000000"/>
            </a:solidFill>
            <a:ln w="12700" cap="flat">
              <a:noFill/>
              <a:prstDash val="solid"/>
              <a:miter/>
            </a:ln>
          </p:spPr>
          <p:txBody>
            <a:bodyPr rtlCol="0" anchor="ctr"/>
            <a:lstStyle/>
            <a:p>
              <a:endParaRPr lang="en-US"/>
            </a:p>
          </p:txBody>
        </p:sp>
        <p:sp>
          <p:nvSpPr>
            <p:cNvPr id="1755" name="Freeform: Shape 1754">
              <a:extLst>
                <a:ext uri="{FF2B5EF4-FFF2-40B4-BE49-F238E27FC236}">
                  <a16:creationId xmlns:a16="http://schemas.microsoft.com/office/drawing/2014/main" id="{DF0159FC-6D4F-4E3A-9F9A-0CF85F079BEA}"/>
                </a:ext>
              </a:extLst>
            </p:cNvPr>
            <p:cNvSpPr/>
            <p:nvPr/>
          </p:nvSpPr>
          <p:spPr>
            <a:xfrm>
              <a:off x="2074374" y="6464033"/>
              <a:ext cx="6966" cy="2143"/>
            </a:xfrm>
            <a:custGeom>
              <a:avLst/>
              <a:gdLst>
                <a:gd name="connsiteX0" fmla="*/ 6967 w 6966"/>
                <a:gd name="connsiteY0" fmla="*/ 0 h 2143"/>
                <a:gd name="connsiteX1" fmla="*/ 5225 w 6966"/>
                <a:gd name="connsiteY1" fmla="*/ 0 h 2143"/>
                <a:gd name="connsiteX2" fmla="*/ 5225 w 6966"/>
                <a:gd name="connsiteY2" fmla="*/ 0 h 2143"/>
                <a:gd name="connsiteX3" fmla="*/ 0 w 6966"/>
                <a:gd name="connsiteY3" fmla="*/ 0 h 2143"/>
                <a:gd name="connsiteX4" fmla="*/ 0 w 6966"/>
                <a:gd name="connsiteY4" fmla="*/ 0 h 2143"/>
                <a:gd name="connsiteX5" fmla="*/ 4823 w 6966"/>
                <a:gd name="connsiteY5" fmla="*/ 2143 h 2143"/>
                <a:gd name="connsiteX6" fmla="*/ 6967 w 6966"/>
                <a:gd name="connsiteY6" fmla="*/ 0 h 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66" h="2143">
                  <a:moveTo>
                    <a:pt x="6967" y="0"/>
                  </a:moveTo>
                  <a:lnTo>
                    <a:pt x="5225" y="0"/>
                  </a:lnTo>
                  <a:lnTo>
                    <a:pt x="5225" y="0"/>
                  </a:lnTo>
                  <a:lnTo>
                    <a:pt x="0" y="0"/>
                  </a:lnTo>
                  <a:lnTo>
                    <a:pt x="0" y="0"/>
                  </a:lnTo>
                  <a:cubicBezTo>
                    <a:pt x="1809" y="147"/>
                    <a:pt x="3497" y="911"/>
                    <a:pt x="4823" y="2143"/>
                  </a:cubicBezTo>
                  <a:cubicBezTo>
                    <a:pt x="5359" y="1273"/>
                    <a:pt x="6096" y="536"/>
                    <a:pt x="6967" y="0"/>
                  </a:cubicBezTo>
                  <a:close/>
                </a:path>
              </a:pathLst>
            </a:custGeom>
            <a:solidFill>
              <a:srgbClr val="000000"/>
            </a:solidFill>
            <a:ln w="12700" cap="flat">
              <a:noFill/>
              <a:prstDash val="solid"/>
              <a:miter/>
            </a:ln>
          </p:spPr>
          <p:txBody>
            <a:bodyPr rtlCol="0" anchor="ctr"/>
            <a:lstStyle/>
            <a:p>
              <a:endParaRPr lang="en-US"/>
            </a:p>
          </p:txBody>
        </p:sp>
        <p:sp>
          <p:nvSpPr>
            <p:cNvPr id="1756" name="Freeform: Shape 1755">
              <a:extLst>
                <a:ext uri="{FF2B5EF4-FFF2-40B4-BE49-F238E27FC236}">
                  <a16:creationId xmlns:a16="http://schemas.microsoft.com/office/drawing/2014/main" id="{B528FE9E-5733-4115-813C-E07B1201CB2F}"/>
                </a:ext>
              </a:extLst>
            </p:cNvPr>
            <p:cNvSpPr/>
            <p:nvPr/>
          </p:nvSpPr>
          <p:spPr>
            <a:xfrm>
              <a:off x="2073302" y="6476089"/>
              <a:ext cx="6296" cy="1607"/>
            </a:xfrm>
            <a:custGeom>
              <a:avLst/>
              <a:gdLst>
                <a:gd name="connsiteX0" fmla="*/ 0 w 6296"/>
                <a:gd name="connsiteY0" fmla="*/ 1607 h 1607"/>
                <a:gd name="connsiteX1" fmla="*/ 2411 w 6296"/>
                <a:gd name="connsiteY1" fmla="*/ 1607 h 1607"/>
                <a:gd name="connsiteX2" fmla="*/ 5091 w 6296"/>
                <a:gd name="connsiteY2" fmla="*/ 1607 h 1607"/>
                <a:gd name="connsiteX3" fmla="*/ 5091 w 6296"/>
                <a:gd name="connsiteY3" fmla="*/ 1607 h 1607"/>
                <a:gd name="connsiteX4" fmla="*/ 6297 w 6296"/>
                <a:gd name="connsiteY4" fmla="*/ 1607 h 1607"/>
                <a:gd name="connsiteX5" fmla="*/ 3617 w 6296"/>
                <a:gd name="connsiteY5" fmla="*/ 0 h 1607"/>
                <a:gd name="connsiteX6" fmla="*/ 0 w 6296"/>
                <a:gd name="connsiteY6" fmla="*/ 1607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6" h="1607">
                  <a:moveTo>
                    <a:pt x="0" y="1607"/>
                  </a:moveTo>
                  <a:lnTo>
                    <a:pt x="2411" y="1607"/>
                  </a:lnTo>
                  <a:lnTo>
                    <a:pt x="5091" y="1607"/>
                  </a:lnTo>
                  <a:lnTo>
                    <a:pt x="5091" y="1607"/>
                  </a:lnTo>
                  <a:lnTo>
                    <a:pt x="6297" y="1607"/>
                  </a:lnTo>
                  <a:cubicBezTo>
                    <a:pt x="5252" y="1380"/>
                    <a:pt x="4314" y="817"/>
                    <a:pt x="3617" y="0"/>
                  </a:cubicBezTo>
                  <a:cubicBezTo>
                    <a:pt x="2586" y="857"/>
                    <a:pt x="1326" y="1406"/>
                    <a:pt x="0" y="1607"/>
                  </a:cubicBezTo>
                  <a:close/>
                </a:path>
              </a:pathLst>
            </a:custGeom>
            <a:solidFill>
              <a:srgbClr val="000000"/>
            </a:solidFill>
            <a:ln w="12700" cap="flat">
              <a:noFill/>
              <a:prstDash val="solid"/>
              <a:miter/>
            </a:ln>
          </p:spPr>
          <p:txBody>
            <a:bodyPr rtlCol="0" anchor="ctr"/>
            <a:lstStyle/>
            <a:p>
              <a:endParaRPr lang="en-US"/>
            </a:p>
          </p:txBody>
        </p:sp>
        <p:sp>
          <p:nvSpPr>
            <p:cNvPr id="1757" name="Freeform: Shape 1756">
              <a:extLst>
                <a:ext uri="{FF2B5EF4-FFF2-40B4-BE49-F238E27FC236}">
                  <a16:creationId xmlns:a16="http://schemas.microsoft.com/office/drawing/2014/main" id="{A5C0B7D1-3A34-471C-BFB9-DD79B7C3FD90}"/>
                </a:ext>
              </a:extLst>
            </p:cNvPr>
            <p:cNvSpPr/>
            <p:nvPr/>
          </p:nvSpPr>
          <p:spPr>
            <a:xfrm>
              <a:off x="2077991" y="6465282"/>
              <a:ext cx="12921" cy="13988"/>
            </a:xfrm>
            <a:custGeom>
              <a:avLst/>
              <a:gdLst>
                <a:gd name="connsiteX0" fmla="*/ 11120 w 12921"/>
                <a:gd name="connsiteY0" fmla="*/ 2100 h 13988"/>
                <a:gd name="connsiteX1" fmla="*/ 10316 w 12921"/>
                <a:gd name="connsiteY1" fmla="*/ 1028 h 13988"/>
                <a:gd name="connsiteX2" fmla="*/ 9244 w 12921"/>
                <a:gd name="connsiteY2" fmla="*/ 90 h 13988"/>
                <a:gd name="connsiteX3" fmla="*/ 8173 w 12921"/>
                <a:gd name="connsiteY3" fmla="*/ 90 h 13988"/>
                <a:gd name="connsiteX4" fmla="*/ 6699 w 12921"/>
                <a:gd name="connsiteY4" fmla="*/ 90 h 13988"/>
                <a:gd name="connsiteX5" fmla="*/ 5627 w 12921"/>
                <a:gd name="connsiteY5" fmla="*/ 90 h 13988"/>
                <a:gd name="connsiteX6" fmla="*/ 5627 w 12921"/>
                <a:gd name="connsiteY6" fmla="*/ 90 h 13988"/>
                <a:gd name="connsiteX7" fmla="*/ 3885 w 12921"/>
                <a:gd name="connsiteY7" fmla="*/ 90 h 13988"/>
                <a:gd name="connsiteX8" fmla="*/ 3885 w 12921"/>
                <a:gd name="connsiteY8" fmla="*/ 90 h 13988"/>
                <a:gd name="connsiteX9" fmla="*/ 1072 w 12921"/>
                <a:gd name="connsiteY9" fmla="*/ 1296 h 13988"/>
                <a:gd name="connsiteX10" fmla="*/ 3215 w 12921"/>
                <a:gd name="connsiteY10" fmla="*/ 6386 h 13988"/>
                <a:gd name="connsiteX11" fmla="*/ 0 w 12921"/>
                <a:gd name="connsiteY11" fmla="*/ 12281 h 13988"/>
                <a:gd name="connsiteX12" fmla="*/ 2680 w 12921"/>
                <a:gd name="connsiteY12" fmla="*/ 13888 h 13988"/>
                <a:gd name="connsiteX13" fmla="*/ 4421 w 12921"/>
                <a:gd name="connsiteY13" fmla="*/ 13888 h 13988"/>
                <a:gd name="connsiteX14" fmla="*/ 5627 w 12921"/>
                <a:gd name="connsiteY14" fmla="*/ 13888 h 13988"/>
                <a:gd name="connsiteX15" fmla="*/ 12862 w 12921"/>
                <a:gd name="connsiteY15" fmla="*/ 7190 h 13988"/>
                <a:gd name="connsiteX16" fmla="*/ 12862 w 12921"/>
                <a:gd name="connsiteY16" fmla="*/ 5449 h 13988"/>
                <a:gd name="connsiteX17" fmla="*/ 12862 w 12921"/>
                <a:gd name="connsiteY17" fmla="*/ 3975 h 13988"/>
                <a:gd name="connsiteX18" fmla="*/ 11120 w 12921"/>
                <a:gd name="connsiteY18" fmla="*/ 2100 h 1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21" h="13988">
                  <a:moveTo>
                    <a:pt x="11120" y="2100"/>
                  </a:moveTo>
                  <a:cubicBezTo>
                    <a:pt x="10932" y="1684"/>
                    <a:pt x="10651" y="1323"/>
                    <a:pt x="10316" y="1028"/>
                  </a:cubicBezTo>
                  <a:cubicBezTo>
                    <a:pt x="10022" y="653"/>
                    <a:pt x="9660" y="332"/>
                    <a:pt x="9244" y="90"/>
                  </a:cubicBezTo>
                  <a:lnTo>
                    <a:pt x="8173" y="90"/>
                  </a:lnTo>
                  <a:cubicBezTo>
                    <a:pt x="7690" y="-30"/>
                    <a:pt x="7181" y="-30"/>
                    <a:pt x="6699" y="90"/>
                  </a:cubicBezTo>
                  <a:cubicBezTo>
                    <a:pt x="6699" y="90"/>
                    <a:pt x="6699" y="90"/>
                    <a:pt x="5627" y="90"/>
                  </a:cubicBezTo>
                  <a:lnTo>
                    <a:pt x="5627" y="90"/>
                  </a:lnTo>
                  <a:cubicBezTo>
                    <a:pt x="5051" y="23"/>
                    <a:pt x="4461" y="23"/>
                    <a:pt x="3885" y="90"/>
                  </a:cubicBezTo>
                  <a:lnTo>
                    <a:pt x="3885" y="90"/>
                  </a:lnTo>
                  <a:cubicBezTo>
                    <a:pt x="2867" y="265"/>
                    <a:pt x="1902" y="680"/>
                    <a:pt x="1072" y="1296"/>
                  </a:cubicBezTo>
                  <a:cubicBezTo>
                    <a:pt x="2438" y="2636"/>
                    <a:pt x="3215" y="4471"/>
                    <a:pt x="3215" y="6386"/>
                  </a:cubicBezTo>
                  <a:cubicBezTo>
                    <a:pt x="3175" y="8757"/>
                    <a:pt x="1969" y="10968"/>
                    <a:pt x="0" y="12281"/>
                  </a:cubicBezTo>
                  <a:cubicBezTo>
                    <a:pt x="697" y="13098"/>
                    <a:pt x="1634" y="13660"/>
                    <a:pt x="2680" y="13888"/>
                  </a:cubicBezTo>
                  <a:cubicBezTo>
                    <a:pt x="3256" y="14022"/>
                    <a:pt x="3845" y="14022"/>
                    <a:pt x="4421" y="13888"/>
                  </a:cubicBezTo>
                  <a:lnTo>
                    <a:pt x="5627" y="13888"/>
                  </a:lnTo>
                  <a:cubicBezTo>
                    <a:pt x="9392" y="13834"/>
                    <a:pt x="12513" y="10941"/>
                    <a:pt x="12862" y="7190"/>
                  </a:cubicBezTo>
                  <a:cubicBezTo>
                    <a:pt x="12942" y="6614"/>
                    <a:pt x="12942" y="6025"/>
                    <a:pt x="12862" y="5449"/>
                  </a:cubicBezTo>
                  <a:cubicBezTo>
                    <a:pt x="12929" y="4953"/>
                    <a:pt x="12929" y="4471"/>
                    <a:pt x="12862" y="3975"/>
                  </a:cubicBezTo>
                  <a:cubicBezTo>
                    <a:pt x="12433" y="3225"/>
                    <a:pt x="11843" y="2582"/>
                    <a:pt x="11120" y="2100"/>
                  </a:cubicBezTo>
                  <a:close/>
                </a:path>
              </a:pathLst>
            </a:custGeom>
            <a:solidFill>
              <a:srgbClr val="000000"/>
            </a:solidFill>
            <a:ln w="12700" cap="flat">
              <a:noFill/>
              <a:prstDash val="solid"/>
              <a:miter/>
            </a:ln>
          </p:spPr>
          <p:txBody>
            <a:bodyPr rtlCol="0" anchor="ctr"/>
            <a:lstStyle/>
            <a:p>
              <a:endParaRPr lang="en-US"/>
            </a:p>
          </p:txBody>
        </p:sp>
        <p:sp>
          <p:nvSpPr>
            <p:cNvPr id="1758" name="Freeform: Shape 1757">
              <a:extLst>
                <a:ext uri="{FF2B5EF4-FFF2-40B4-BE49-F238E27FC236}">
                  <a16:creationId xmlns:a16="http://schemas.microsoft.com/office/drawing/2014/main" id="{C2AA2042-9212-4B92-B339-F32552450201}"/>
                </a:ext>
              </a:extLst>
            </p:cNvPr>
            <p:cNvSpPr/>
            <p:nvPr/>
          </p:nvSpPr>
          <p:spPr>
            <a:xfrm>
              <a:off x="980849" y="6472472"/>
              <a:ext cx="59" cy="1205"/>
            </a:xfrm>
            <a:custGeom>
              <a:avLst/>
              <a:gdLst>
                <a:gd name="connsiteX0" fmla="*/ 0 w 59"/>
                <a:gd name="connsiteY0" fmla="*/ 1206 h 1205"/>
                <a:gd name="connsiteX1" fmla="*/ 0 w 59"/>
                <a:gd name="connsiteY1" fmla="*/ 0 h 1205"/>
                <a:gd name="connsiteX2" fmla="*/ 0 w 59"/>
                <a:gd name="connsiteY2" fmla="*/ 0 h 1205"/>
                <a:gd name="connsiteX3" fmla="*/ 0 w 59"/>
                <a:gd name="connsiteY3" fmla="*/ 1206 h 1205"/>
              </a:gdLst>
              <a:ahLst/>
              <a:cxnLst>
                <a:cxn ang="0">
                  <a:pos x="connsiteX0" y="connsiteY0"/>
                </a:cxn>
                <a:cxn ang="0">
                  <a:pos x="connsiteX1" y="connsiteY1"/>
                </a:cxn>
                <a:cxn ang="0">
                  <a:pos x="connsiteX2" y="connsiteY2"/>
                </a:cxn>
                <a:cxn ang="0">
                  <a:pos x="connsiteX3" y="connsiteY3"/>
                </a:cxn>
              </a:cxnLst>
              <a:rect l="l" t="t" r="r" b="b"/>
              <a:pathLst>
                <a:path w="59" h="1205">
                  <a:moveTo>
                    <a:pt x="0" y="1206"/>
                  </a:moveTo>
                  <a:cubicBezTo>
                    <a:pt x="0" y="1206"/>
                    <a:pt x="0" y="402"/>
                    <a:pt x="0" y="0"/>
                  </a:cubicBezTo>
                  <a:lnTo>
                    <a:pt x="0" y="0"/>
                  </a:lnTo>
                  <a:cubicBezTo>
                    <a:pt x="0" y="0"/>
                    <a:pt x="134" y="804"/>
                    <a:pt x="0" y="1206"/>
                  </a:cubicBezTo>
                  <a:close/>
                </a:path>
              </a:pathLst>
            </a:custGeom>
            <a:solidFill>
              <a:srgbClr val="000000"/>
            </a:solidFill>
            <a:ln w="12700" cap="flat">
              <a:noFill/>
              <a:prstDash val="solid"/>
              <a:miter/>
            </a:ln>
          </p:spPr>
          <p:txBody>
            <a:bodyPr rtlCol="0" anchor="ctr"/>
            <a:lstStyle/>
            <a:p>
              <a:endParaRPr lang="en-US"/>
            </a:p>
          </p:txBody>
        </p:sp>
        <p:sp>
          <p:nvSpPr>
            <p:cNvPr id="1759" name="Freeform: Shape 1758">
              <a:extLst>
                <a:ext uri="{FF2B5EF4-FFF2-40B4-BE49-F238E27FC236}">
                  <a16:creationId xmlns:a16="http://schemas.microsoft.com/office/drawing/2014/main" id="{5D890BBF-F58F-4FE5-9F11-655E872C0635}"/>
                </a:ext>
              </a:extLst>
            </p:cNvPr>
            <p:cNvSpPr/>
            <p:nvPr/>
          </p:nvSpPr>
          <p:spPr>
            <a:xfrm>
              <a:off x="971605" y="6478098"/>
              <a:ext cx="4153" cy="13395"/>
            </a:xfrm>
            <a:custGeom>
              <a:avLst/>
              <a:gdLst>
                <a:gd name="connsiteX0" fmla="*/ 938 w 4153"/>
                <a:gd name="connsiteY0" fmla="*/ 0 h 13395"/>
                <a:gd name="connsiteX1" fmla="*/ 0 w 4153"/>
                <a:gd name="connsiteY1" fmla="*/ 0 h 13395"/>
                <a:gd name="connsiteX2" fmla="*/ 1742 w 4153"/>
                <a:gd name="connsiteY2" fmla="*/ 0 h 13395"/>
                <a:gd name="connsiteX3" fmla="*/ 2948 w 4153"/>
                <a:gd name="connsiteY3" fmla="*/ 0 h 13395"/>
                <a:gd name="connsiteX4" fmla="*/ 4153 w 4153"/>
                <a:gd name="connsiteY4" fmla="*/ 0 h 13395"/>
                <a:gd name="connsiteX5" fmla="*/ 2412 w 415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 h="13395">
                  <a:moveTo>
                    <a:pt x="938" y="0"/>
                  </a:moveTo>
                  <a:lnTo>
                    <a:pt x="0" y="0"/>
                  </a:lnTo>
                  <a:lnTo>
                    <a:pt x="1742" y="0"/>
                  </a:lnTo>
                  <a:lnTo>
                    <a:pt x="2948" y="0"/>
                  </a:lnTo>
                  <a:lnTo>
                    <a:pt x="4153" y="0"/>
                  </a:lnTo>
                  <a:lnTo>
                    <a:pt x="2412" y="0"/>
                  </a:lnTo>
                  <a:close/>
                </a:path>
              </a:pathLst>
            </a:custGeom>
            <a:solidFill>
              <a:srgbClr val="000000"/>
            </a:solidFill>
            <a:ln w="12700" cap="flat">
              <a:noFill/>
              <a:prstDash val="solid"/>
              <a:miter/>
            </a:ln>
          </p:spPr>
          <p:txBody>
            <a:bodyPr rtlCol="0" anchor="ctr"/>
            <a:lstStyle/>
            <a:p>
              <a:endParaRPr lang="en-US"/>
            </a:p>
          </p:txBody>
        </p:sp>
        <p:sp>
          <p:nvSpPr>
            <p:cNvPr id="1760" name="Freeform: Shape 1759">
              <a:extLst>
                <a:ext uri="{FF2B5EF4-FFF2-40B4-BE49-F238E27FC236}">
                  <a16:creationId xmlns:a16="http://schemas.microsoft.com/office/drawing/2014/main" id="{338F398D-9625-4C0F-89D1-A2CF6AB7377F}"/>
                </a:ext>
              </a:extLst>
            </p:cNvPr>
            <p:cNvSpPr/>
            <p:nvPr/>
          </p:nvSpPr>
          <p:spPr>
            <a:xfrm>
              <a:off x="2824648" y="6542531"/>
              <a:ext cx="14603" cy="311449"/>
            </a:xfrm>
            <a:custGeom>
              <a:avLst/>
              <a:gdLst>
                <a:gd name="connsiteX0" fmla="*/ 7369 w 14603"/>
                <a:gd name="connsiteY0" fmla="*/ 7368 h 311449"/>
                <a:gd name="connsiteX1" fmla="*/ 0 w 14603"/>
                <a:gd name="connsiteY1" fmla="*/ 0 h 311449"/>
                <a:gd name="connsiteX2" fmla="*/ 0 w 14603"/>
                <a:gd name="connsiteY2" fmla="*/ 311449 h 311449"/>
                <a:gd name="connsiteX3" fmla="*/ 14604 w 14603"/>
                <a:gd name="connsiteY3" fmla="*/ 311449 h 311449"/>
                <a:gd name="connsiteX4" fmla="*/ 14604 w 14603"/>
                <a:gd name="connsiteY4" fmla="*/ 7368 h 31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3" h="311449">
                  <a:moveTo>
                    <a:pt x="7369" y="7368"/>
                  </a:moveTo>
                  <a:cubicBezTo>
                    <a:pt x="3296" y="7368"/>
                    <a:pt x="0" y="4072"/>
                    <a:pt x="0" y="0"/>
                  </a:cubicBezTo>
                  <a:lnTo>
                    <a:pt x="0" y="311449"/>
                  </a:lnTo>
                  <a:lnTo>
                    <a:pt x="14604" y="311449"/>
                  </a:lnTo>
                  <a:lnTo>
                    <a:pt x="14604" y="7368"/>
                  </a:lnTo>
                  <a:close/>
                </a:path>
              </a:pathLst>
            </a:custGeom>
            <a:solidFill>
              <a:srgbClr val="000000"/>
            </a:solidFill>
            <a:ln w="12700" cap="flat">
              <a:noFill/>
              <a:prstDash val="solid"/>
              <a:miter/>
            </a:ln>
          </p:spPr>
          <p:txBody>
            <a:bodyPr rtlCol="0" anchor="ctr"/>
            <a:lstStyle/>
            <a:p>
              <a:endParaRPr lang="en-US"/>
            </a:p>
          </p:txBody>
        </p:sp>
        <p:sp>
          <p:nvSpPr>
            <p:cNvPr id="1761" name="Freeform: Shape 1760">
              <a:extLst>
                <a:ext uri="{FF2B5EF4-FFF2-40B4-BE49-F238E27FC236}">
                  <a16:creationId xmlns:a16="http://schemas.microsoft.com/office/drawing/2014/main" id="{2F827B64-D839-40A1-BBBC-4E78F45AA479}"/>
                </a:ext>
              </a:extLst>
            </p:cNvPr>
            <p:cNvSpPr/>
            <p:nvPr/>
          </p:nvSpPr>
          <p:spPr>
            <a:xfrm>
              <a:off x="2824648" y="6535030"/>
              <a:ext cx="365624" cy="14333"/>
            </a:xfrm>
            <a:custGeom>
              <a:avLst/>
              <a:gdLst>
                <a:gd name="connsiteX0" fmla="*/ 358390 w 365624"/>
                <a:gd name="connsiteY0" fmla="*/ 7234 h 14333"/>
                <a:gd name="connsiteX1" fmla="*/ 365625 w 365624"/>
                <a:gd name="connsiteY1" fmla="*/ 0 h 14333"/>
                <a:gd name="connsiteX2" fmla="*/ 7369 w 365624"/>
                <a:gd name="connsiteY2" fmla="*/ 0 h 14333"/>
                <a:gd name="connsiteX3" fmla="*/ 6029 w 365624"/>
                <a:gd name="connsiteY3" fmla="*/ 0 h 14333"/>
                <a:gd name="connsiteX4" fmla="*/ 0 w 365624"/>
                <a:gd name="connsiteY4" fmla="*/ 6966 h 14333"/>
                <a:gd name="connsiteX5" fmla="*/ 7369 w 365624"/>
                <a:gd name="connsiteY5" fmla="*/ 14333 h 14333"/>
                <a:gd name="connsiteX6" fmla="*/ 365625 w 365624"/>
                <a:gd name="connsiteY6" fmla="*/ 14333 h 14333"/>
                <a:gd name="connsiteX7" fmla="*/ 358390 w 365624"/>
                <a:gd name="connsiteY7" fmla="*/ 7234 h 1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624" h="14333">
                  <a:moveTo>
                    <a:pt x="358390" y="7234"/>
                  </a:moveTo>
                  <a:cubicBezTo>
                    <a:pt x="358390" y="3242"/>
                    <a:pt x="361632" y="0"/>
                    <a:pt x="365625" y="0"/>
                  </a:cubicBezTo>
                  <a:lnTo>
                    <a:pt x="7369" y="0"/>
                  </a:lnTo>
                  <a:lnTo>
                    <a:pt x="6029" y="0"/>
                  </a:lnTo>
                  <a:cubicBezTo>
                    <a:pt x="2612" y="576"/>
                    <a:pt x="80" y="3496"/>
                    <a:pt x="0" y="6966"/>
                  </a:cubicBezTo>
                  <a:cubicBezTo>
                    <a:pt x="0" y="11038"/>
                    <a:pt x="3296" y="14333"/>
                    <a:pt x="7369" y="14333"/>
                  </a:cubicBezTo>
                  <a:lnTo>
                    <a:pt x="365625" y="14333"/>
                  </a:lnTo>
                  <a:cubicBezTo>
                    <a:pt x="361713" y="14266"/>
                    <a:pt x="358537" y="11145"/>
                    <a:pt x="358390" y="7234"/>
                  </a:cubicBezTo>
                  <a:close/>
                </a:path>
              </a:pathLst>
            </a:custGeom>
            <a:solidFill>
              <a:srgbClr val="000000"/>
            </a:solidFill>
            <a:ln w="12700" cap="flat">
              <a:noFill/>
              <a:prstDash val="solid"/>
              <a:miter/>
            </a:ln>
          </p:spPr>
          <p:txBody>
            <a:bodyPr rtlCol="0" anchor="ctr"/>
            <a:lstStyle/>
            <a:p>
              <a:endParaRPr lang="en-US"/>
            </a:p>
          </p:txBody>
        </p:sp>
        <p:sp>
          <p:nvSpPr>
            <p:cNvPr id="1762" name="Freeform: Shape 1761">
              <a:extLst>
                <a:ext uri="{FF2B5EF4-FFF2-40B4-BE49-F238E27FC236}">
                  <a16:creationId xmlns:a16="http://schemas.microsoft.com/office/drawing/2014/main" id="{F5B8E2CC-51E3-4ECA-9FB7-44BE24258AC3}"/>
                </a:ext>
              </a:extLst>
            </p:cNvPr>
            <p:cNvSpPr/>
            <p:nvPr/>
          </p:nvSpPr>
          <p:spPr>
            <a:xfrm>
              <a:off x="3183038" y="6535030"/>
              <a:ext cx="41800" cy="14601"/>
            </a:xfrm>
            <a:custGeom>
              <a:avLst/>
              <a:gdLst>
                <a:gd name="connsiteX0" fmla="*/ 0 w 41800"/>
                <a:gd name="connsiteY0" fmla="*/ 7234 h 14601"/>
                <a:gd name="connsiteX1" fmla="*/ 7235 w 41800"/>
                <a:gd name="connsiteY1" fmla="*/ 14601 h 14601"/>
                <a:gd name="connsiteX2" fmla="*/ 41801 w 41800"/>
                <a:gd name="connsiteY2" fmla="*/ 14601 h 14601"/>
                <a:gd name="connsiteX3" fmla="*/ 41801 w 41800"/>
                <a:gd name="connsiteY3" fmla="*/ 0 h 14601"/>
                <a:gd name="connsiteX4" fmla="*/ 7235 w 41800"/>
                <a:gd name="connsiteY4" fmla="*/ 0 h 14601"/>
                <a:gd name="connsiteX5" fmla="*/ 0 w 41800"/>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0" h="14601">
                  <a:moveTo>
                    <a:pt x="0" y="7234"/>
                  </a:moveTo>
                  <a:cubicBezTo>
                    <a:pt x="0" y="11252"/>
                    <a:pt x="3216" y="14534"/>
                    <a:pt x="7235" y="14601"/>
                  </a:cubicBezTo>
                  <a:lnTo>
                    <a:pt x="41801" y="14601"/>
                  </a:lnTo>
                  <a:lnTo>
                    <a:pt x="41801" y="0"/>
                  </a:lnTo>
                  <a:lnTo>
                    <a:pt x="7235" y="0"/>
                  </a:lnTo>
                  <a:cubicBezTo>
                    <a:pt x="3242" y="0"/>
                    <a:pt x="0" y="3242"/>
                    <a:pt x="0" y="7234"/>
                  </a:cubicBezTo>
                  <a:close/>
                </a:path>
              </a:pathLst>
            </a:custGeom>
            <a:solidFill>
              <a:srgbClr val="000000"/>
            </a:solidFill>
            <a:ln w="12700" cap="flat">
              <a:noFill/>
              <a:prstDash val="solid"/>
              <a:miter/>
            </a:ln>
          </p:spPr>
          <p:txBody>
            <a:bodyPr rtlCol="0" anchor="ctr"/>
            <a:lstStyle/>
            <a:p>
              <a:endParaRPr lang="en-US"/>
            </a:p>
          </p:txBody>
        </p:sp>
        <p:sp>
          <p:nvSpPr>
            <p:cNvPr id="1763" name="Freeform: Shape 1762">
              <a:extLst>
                <a:ext uri="{FF2B5EF4-FFF2-40B4-BE49-F238E27FC236}">
                  <a16:creationId xmlns:a16="http://schemas.microsoft.com/office/drawing/2014/main" id="{C8186699-8FE8-4F42-A9C6-88E3F605705C}"/>
                </a:ext>
              </a:extLst>
            </p:cNvPr>
            <p:cNvSpPr/>
            <p:nvPr/>
          </p:nvSpPr>
          <p:spPr>
            <a:xfrm>
              <a:off x="306004" y="5592377"/>
              <a:ext cx="111335" cy="14601"/>
            </a:xfrm>
            <a:custGeom>
              <a:avLst/>
              <a:gdLst>
                <a:gd name="connsiteX0" fmla="*/ 7235 w 111335"/>
                <a:gd name="connsiteY0" fmla="*/ 14601 h 14601"/>
                <a:gd name="connsiteX1" fmla="*/ 111335 w 111335"/>
                <a:gd name="connsiteY1" fmla="*/ 14601 h 14601"/>
                <a:gd name="connsiteX2" fmla="*/ 104101 w 111335"/>
                <a:gd name="connsiteY2" fmla="*/ 7234 h 14601"/>
                <a:gd name="connsiteX3" fmla="*/ 111335 w 111335"/>
                <a:gd name="connsiteY3" fmla="*/ 0 h 14601"/>
                <a:gd name="connsiteX4" fmla="*/ 7235 w 111335"/>
                <a:gd name="connsiteY4" fmla="*/ 0 h 14601"/>
                <a:gd name="connsiteX5" fmla="*/ 0 w 111335"/>
                <a:gd name="connsiteY5" fmla="*/ 7234 h 14601"/>
                <a:gd name="connsiteX6" fmla="*/ 7235 w 111335"/>
                <a:gd name="connsiteY6"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35" h="14601">
                  <a:moveTo>
                    <a:pt x="7235" y="14601"/>
                  </a:moveTo>
                  <a:lnTo>
                    <a:pt x="111335" y="14601"/>
                  </a:lnTo>
                  <a:cubicBezTo>
                    <a:pt x="107319" y="14528"/>
                    <a:pt x="104099" y="11251"/>
                    <a:pt x="104101" y="7234"/>
                  </a:cubicBezTo>
                  <a:cubicBezTo>
                    <a:pt x="104101" y="3239"/>
                    <a:pt x="107340" y="0"/>
                    <a:pt x="111335" y="0"/>
                  </a:cubicBezTo>
                  <a:lnTo>
                    <a:pt x="7235" y="0"/>
                  </a:lnTo>
                  <a:cubicBezTo>
                    <a:pt x="3240" y="0"/>
                    <a:pt x="0" y="3239"/>
                    <a:pt x="0" y="7234"/>
                  </a:cubicBezTo>
                  <a:cubicBezTo>
                    <a:pt x="-1" y="11251"/>
                    <a:pt x="3218" y="14528"/>
                    <a:pt x="7235" y="14601"/>
                  </a:cubicBezTo>
                  <a:close/>
                </a:path>
              </a:pathLst>
            </a:custGeom>
            <a:solidFill>
              <a:srgbClr val="000000"/>
            </a:solidFill>
            <a:ln w="12700" cap="flat">
              <a:noFill/>
              <a:prstDash val="solid"/>
              <a:miter/>
            </a:ln>
          </p:spPr>
          <p:txBody>
            <a:bodyPr rtlCol="0" anchor="ctr"/>
            <a:lstStyle/>
            <a:p>
              <a:endParaRPr lang="en-US"/>
            </a:p>
          </p:txBody>
        </p:sp>
        <p:sp>
          <p:nvSpPr>
            <p:cNvPr id="1764" name="Freeform: Shape 1763">
              <a:extLst>
                <a:ext uri="{FF2B5EF4-FFF2-40B4-BE49-F238E27FC236}">
                  <a16:creationId xmlns:a16="http://schemas.microsoft.com/office/drawing/2014/main" id="{22BD4643-F6C7-4DD9-B5C9-F2A1ABD5D760}"/>
                </a:ext>
              </a:extLst>
            </p:cNvPr>
            <p:cNvSpPr/>
            <p:nvPr/>
          </p:nvSpPr>
          <p:spPr>
            <a:xfrm>
              <a:off x="358121" y="5983530"/>
              <a:ext cx="14603" cy="124713"/>
            </a:xfrm>
            <a:custGeom>
              <a:avLst/>
              <a:gdLst>
                <a:gd name="connsiteX0" fmla="*/ 7369 w 14603"/>
                <a:gd name="connsiteY0" fmla="*/ 117346 h 124713"/>
                <a:gd name="connsiteX1" fmla="*/ 14604 w 14603"/>
                <a:gd name="connsiteY1" fmla="*/ 124714 h 124713"/>
                <a:gd name="connsiteX2" fmla="*/ 14604 w 14603"/>
                <a:gd name="connsiteY2" fmla="*/ 7368 h 124713"/>
                <a:gd name="connsiteX3" fmla="*/ 7369 w 14603"/>
                <a:gd name="connsiteY3" fmla="*/ 0 h 124713"/>
                <a:gd name="connsiteX4" fmla="*/ 0 w 14603"/>
                <a:gd name="connsiteY4" fmla="*/ 7368 h 124713"/>
                <a:gd name="connsiteX5" fmla="*/ 0 w 14603"/>
                <a:gd name="connsiteY5" fmla="*/ 124312 h 124713"/>
                <a:gd name="connsiteX6" fmla="*/ 7369 w 14603"/>
                <a:gd name="connsiteY6" fmla="*/ 117346 h 12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24713">
                  <a:moveTo>
                    <a:pt x="7369" y="117346"/>
                  </a:moveTo>
                  <a:cubicBezTo>
                    <a:pt x="11385" y="117413"/>
                    <a:pt x="14605" y="120695"/>
                    <a:pt x="14604" y="124714"/>
                  </a:cubicBezTo>
                  <a:lnTo>
                    <a:pt x="14604" y="7368"/>
                  </a:lnTo>
                  <a:cubicBezTo>
                    <a:pt x="14604" y="3350"/>
                    <a:pt x="11385" y="72"/>
                    <a:pt x="7369" y="0"/>
                  </a:cubicBezTo>
                  <a:cubicBezTo>
                    <a:pt x="3299" y="0"/>
                    <a:pt x="0" y="3298"/>
                    <a:pt x="0" y="7368"/>
                  </a:cubicBezTo>
                  <a:lnTo>
                    <a:pt x="0" y="124312"/>
                  </a:lnTo>
                  <a:cubicBezTo>
                    <a:pt x="213" y="120400"/>
                    <a:pt x="3451" y="117346"/>
                    <a:pt x="7369" y="117346"/>
                  </a:cubicBezTo>
                  <a:close/>
                </a:path>
              </a:pathLst>
            </a:custGeom>
            <a:solidFill>
              <a:srgbClr val="000000"/>
            </a:solidFill>
            <a:ln w="12700" cap="flat">
              <a:noFill/>
              <a:prstDash val="solid"/>
              <a:miter/>
            </a:ln>
          </p:spPr>
          <p:txBody>
            <a:bodyPr rtlCol="0" anchor="ctr"/>
            <a:lstStyle/>
            <a:p>
              <a:endParaRPr lang="en-US"/>
            </a:p>
          </p:txBody>
        </p:sp>
        <p:sp>
          <p:nvSpPr>
            <p:cNvPr id="1765" name="Freeform: Shape 1764">
              <a:extLst>
                <a:ext uri="{FF2B5EF4-FFF2-40B4-BE49-F238E27FC236}">
                  <a16:creationId xmlns:a16="http://schemas.microsoft.com/office/drawing/2014/main" id="{063C8F41-E0F2-414C-9CC8-9AD18B1A0E2D}"/>
                </a:ext>
              </a:extLst>
            </p:cNvPr>
            <p:cNvSpPr/>
            <p:nvPr/>
          </p:nvSpPr>
          <p:spPr>
            <a:xfrm>
              <a:off x="358121" y="6100474"/>
              <a:ext cx="14603" cy="361549"/>
            </a:xfrm>
            <a:custGeom>
              <a:avLst/>
              <a:gdLst>
                <a:gd name="connsiteX0" fmla="*/ 14604 w 14603"/>
                <a:gd name="connsiteY0" fmla="*/ 361549 h 361549"/>
                <a:gd name="connsiteX1" fmla="*/ 14604 w 14603"/>
                <a:gd name="connsiteY1" fmla="*/ 7368 h 361549"/>
                <a:gd name="connsiteX2" fmla="*/ 7369 w 14603"/>
                <a:gd name="connsiteY2" fmla="*/ 0 h 361549"/>
                <a:gd name="connsiteX3" fmla="*/ 0 w 14603"/>
                <a:gd name="connsiteY3" fmla="*/ 7368 h 361549"/>
                <a:gd name="connsiteX4" fmla="*/ 0 w 14603"/>
                <a:gd name="connsiteY4" fmla="*/ 361147 h 361549"/>
                <a:gd name="connsiteX5" fmla="*/ 14604 w 14603"/>
                <a:gd name="connsiteY5" fmla="*/ 361147 h 36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61549">
                  <a:moveTo>
                    <a:pt x="14604" y="361549"/>
                  </a:moveTo>
                  <a:lnTo>
                    <a:pt x="14604" y="7368"/>
                  </a:lnTo>
                  <a:cubicBezTo>
                    <a:pt x="14604" y="3349"/>
                    <a:pt x="11385" y="67"/>
                    <a:pt x="7369" y="0"/>
                  </a:cubicBezTo>
                  <a:cubicBezTo>
                    <a:pt x="3299" y="0"/>
                    <a:pt x="0" y="3295"/>
                    <a:pt x="0" y="7368"/>
                  </a:cubicBezTo>
                  <a:lnTo>
                    <a:pt x="0" y="361147"/>
                  </a:lnTo>
                  <a:lnTo>
                    <a:pt x="14604" y="361147"/>
                  </a:lnTo>
                  <a:close/>
                </a:path>
              </a:pathLst>
            </a:custGeom>
            <a:solidFill>
              <a:srgbClr val="000000"/>
            </a:solidFill>
            <a:ln w="12700" cap="flat">
              <a:noFill/>
              <a:prstDash val="solid"/>
              <a:miter/>
            </a:ln>
          </p:spPr>
          <p:txBody>
            <a:bodyPr rtlCol="0" anchor="ctr"/>
            <a:lstStyle/>
            <a:p>
              <a:endParaRPr lang="en-US"/>
            </a:p>
          </p:txBody>
        </p:sp>
        <p:sp>
          <p:nvSpPr>
            <p:cNvPr id="1766" name="Freeform: Shape 1765">
              <a:extLst>
                <a:ext uri="{FF2B5EF4-FFF2-40B4-BE49-F238E27FC236}">
                  <a16:creationId xmlns:a16="http://schemas.microsoft.com/office/drawing/2014/main" id="{6600F954-1594-4723-8FC6-1C61D64B5666}"/>
                </a:ext>
              </a:extLst>
            </p:cNvPr>
            <p:cNvSpPr/>
            <p:nvPr/>
          </p:nvSpPr>
          <p:spPr>
            <a:xfrm>
              <a:off x="3224839" y="6540388"/>
              <a:ext cx="13397" cy="1875"/>
            </a:xfrm>
            <a:custGeom>
              <a:avLst/>
              <a:gdLst>
                <a:gd name="connsiteX0" fmla="*/ 0 w 13397"/>
                <a:gd name="connsiteY0" fmla="*/ 1875 h 1875"/>
                <a:gd name="connsiteX1" fmla="*/ 0 w 13397"/>
                <a:gd name="connsiteY1" fmla="*/ 938 h 1875"/>
                <a:gd name="connsiteX2" fmla="*/ 0 w 13397"/>
                <a:gd name="connsiteY2" fmla="*/ 0 h 1875"/>
              </a:gdLst>
              <a:ahLst/>
              <a:cxnLst>
                <a:cxn ang="0">
                  <a:pos x="connsiteX0" y="connsiteY0"/>
                </a:cxn>
                <a:cxn ang="0">
                  <a:pos x="connsiteX1" y="connsiteY1"/>
                </a:cxn>
                <a:cxn ang="0">
                  <a:pos x="connsiteX2" y="connsiteY2"/>
                </a:cxn>
              </a:cxnLst>
              <a:rect l="l" t="t" r="r" b="b"/>
              <a:pathLst>
                <a:path w="13397" h="1875">
                  <a:moveTo>
                    <a:pt x="0" y="1875"/>
                  </a:moveTo>
                  <a:cubicBezTo>
                    <a:pt x="0" y="1875"/>
                    <a:pt x="0" y="1875"/>
                    <a:pt x="0" y="938"/>
                  </a:cubicBezTo>
                  <a:cubicBezTo>
                    <a:pt x="0" y="0"/>
                    <a:pt x="0" y="268"/>
                    <a:pt x="0" y="0"/>
                  </a:cubicBezTo>
                  <a:close/>
                </a:path>
              </a:pathLst>
            </a:custGeom>
            <a:solidFill>
              <a:srgbClr val="000000"/>
            </a:solidFill>
            <a:ln w="12700" cap="flat">
              <a:noFill/>
              <a:prstDash val="solid"/>
              <a:miter/>
            </a:ln>
          </p:spPr>
          <p:txBody>
            <a:bodyPr rtlCol="0" anchor="ctr"/>
            <a:lstStyle/>
            <a:p>
              <a:endParaRPr lang="en-US"/>
            </a:p>
          </p:txBody>
        </p:sp>
        <p:sp>
          <p:nvSpPr>
            <p:cNvPr id="1767" name="Freeform: Shape 1766">
              <a:extLst>
                <a:ext uri="{FF2B5EF4-FFF2-40B4-BE49-F238E27FC236}">
                  <a16:creationId xmlns:a16="http://schemas.microsoft.com/office/drawing/2014/main" id="{66C6D3FD-3A27-4D00-B3DC-8DE313A20397}"/>
                </a:ext>
              </a:extLst>
            </p:cNvPr>
            <p:cNvSpPr/>
            <p:nvPr/>
          </p:nvSpPr>
          <p:spPr>
            <a:xfrm>
              <a:off x="196946" y="6470195"/>
              <a:ext cx="111871" cy="14601"/>
            </a:xfrm>
            <a:custGeom>
              <a:avLst/>
              <a:gdLst>
                <a:gd name="connsiteX0" fmla="*/ 7369 w 111871"/>
                <a:gd name="connsiteY0" fmla="*/ 7234 h 14601"/>
                <a:gd name="connsiteX1" fmla="*/ 0 w 111871"/>
                <a:gd name="connsiteY1" fmla="*/ 14601 h 14601"/>
                <a:gd name="connsiteX2" fmla="*/ 111871 w 111871"/>
                <a:gd name="connsiteY2" fmla="*/ 14601 h 14601"/>
                <a:gd name="connsiteX3" fmla="*/ 109058 w 111871"/>
                <a:gd name="connsiteY3" fmla="*/ 8975 h 14601"/>
                <a:gd name="connsiteX4" fmla="*/ 109058 w 111871"/>
                <a:gd name="connsiteY4" fmla="*/ 0 h 14601"/>
                <a:gd name="connsiteX5" fmla="*/ 0 w 111871"/>
                <a:gd name="connsiteY5" fmla="*/ 0 h 14601"/>
                <a:gd name="connsiteX6" fmla="*/ 7369 w 111871"/>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71" h="14601">
                  <a:moveTo>
                    <a:pt x="7369" y="7234"/>
                  </a:moveTo>
                  <a:cubicBezTo>
                    <a:pt x="7369" y="11306"/>
                    <a:pt x="4070" y="14601"/>
                    <a:pt x="0" y="14601"/>
                  </a:cubicBezTo>
                  <a:lnTo>
                    <a:pt x="111871" y="14601"/>
                  </a:lnTo>
                  <a:cubicBezTo>
                    <a:pt x="110154" y="13235"/>
                    <a:pt x="109126" y="11172"/>
                    <a:pt x="109058" y="8975"/>
                  </a:cubicBezTo>
                  <a:lnTo>
                    <a:pt x="109058" y="0"/>
                  </a:lnTo>
                  <a:lnTo>
                    <a:pt x="0" y="0"/>
                  </a:lnTo>
                  <a:cubicBezTo>
                    <a:pt x="4018" y="0"/>
                    <a:pt x="7295" y="3215"/>
                    <a:pt x="7369" y="7234"/>
                  </a:cubicBezTo>
                  <a:close/>
                </a:path>
              </a:pathLst>
            </a:custGeom>
            <a:solidFill>
              <a:srgbClr val="000000"/>
            </a:solidFill>
            <a:ln w="12700" cap="flat">
              <a:noFill/>
              <a:prstDash val="solid"/>
              <a:miter/>
            </a:ln>
          </p:spPr>
          <p:txBody>
            <a:bodyPr rtlCol="0" anchor="ctr"/>
            <a:lstStyle/>
            <a:p>
              <a:endParaRPr lang="en-US"/>
            </a:p>
          </p:txBody>
        </p:sp>
        <p:sp>
          <p:nvSpPr>
            <p:cNvPr id="1768" name="Freeform: Shape 1767">
              <a:extLst>
                <a:ext uri="{FF2B5EF4-FFF2-40B4-BE49-F238E27FC236}">
                  <a16:creationId xmlns:a16="http://schemas.microsoft.com/office/drawing/2014/main" id="{563DFD89-2D64-4507-A072-C6A0C55E47B1}"/>
                </a:ext>
              </a:extLst>
            </p:cNvPr>
            <p:cNvSpPr/>
            <p:nvPr/>
          </p:nvSpPr>
          <p:spPr>
            <a:xfrm>
              <a:off x="146121" y="6477429"/>
              <a:ext cx="11704" cy="9376"/>
            </a:xfrm>
            <a:custGeom>
              <a:avLst/>
              <a:gdLst>
                <a:gd name="connsiteX0" fmla="*/ 48 w 11704"/>
                <a:gd name="connsiteY0" fmla="*/ 0 h 9376"/>
                <a:gd name="connsiteX1" fmla="*/ 48 w 11704"/>
                <a:gd name="connsiteY1" fmla="*/ 2009 h 9376"/>
                <a:gd name="connsiteX2" fmla="*/ 48 w 11704"/>
                <a:gd name="connsiteY2" fmla="*/ 3617 h 9376"/>
                <a:gd name="connsiteX3" fmla="*/ 48 w 11704"/>
                <a:gd name="connsiteY3" fmla="*/ 4689 h 9376"/>
                <a:gd name="connsiteX4" fmla="*/ 6747 w 11704"/>
                <a:gd name="connsiteY4" fmla="*/ 9377 h 9376"/>
                <a:gd name="connsiteX5" fmla="*/ 11704 w 11704"/>
                <a:gd name="connsiteY5" fmla="*/ 7368 h 9376"/>
                <a:gd name="connsiteX6" fmla="*/ 6747 w 11704"/>
                <a:gd name="connsiteY6" fmla="*/ 7368 h 9376"/>
                <a:gd name="connsiteX7" fmla="*/ 48 w 11704"/>
                <a:gd name="connsiteY7" fmla="*/ 0 h 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 h="9376">
                  <a:moveTo>
                    <a:pt x="48" y="0"/>
                  </a:moveTo>
                  <a:lnTo>
                    <a:pt x="48" y="2009"/>
                  </a:lnTo>
                  <a:cubicBezTo>
                    <a:pt x="-16" y="2545"/>
                    <a:pt x="-16" y="3081"/>
                    <a:pt x="48" y="3617"/>
                  </a:cubicBezTo>
                  <a:cubicBezTo>
                    <a:pt x="48" y="3617"/>
                    <a:pt x="48" y="4421"/>
                    <a:pt x="48" y="4689"/>
                  </a:cubicBezTo>
                  <a:cubicBezTo>
                    <a:pt x="1099" y="7488"/>
                    <a:pt x="3761" y="9350"/>
                    <a:pt x="6747" y="9377"/>
                  </a:cubicBezTo>
                  <a:cubicBezTo>
                    <a:pt x="8591" y="9337"/>
                    <a:pt x="10355" y="8627"/>
                    <a:pt x="11704" y="7368"/>
                  </a:cubicBezTo>
                  <a:lnTo>
                    <a:pt x="6747" y="7368"/>
                  </a:lnTo>
                  <a:cubicBezTo>
                    <a:pt x="2941" y="7019"/>
                    <a:pt x="32" y="3818"/>
                    <a:pt x="48" y="0"/>
                  </a:cubicBezTo>
                  <a:close/>
                </a:path>
              </a:pathLst>
            </a:custGeom>
            <a:solidFill>
              <a:srgbClr val="000000"/>
            </a:solidFill>
            <a:ln w="12700" cap="flat">
              <a:noFill/>
              <a:prstDash val="solid"/>
              <a:miter/>
            </a:ln>
          </p:spPr>
          <p:txBody>
            <a:bodyPr rtlCol="0" anchor="ctr"/>
            <a:lstStyle/>
            <a:p>
              <a:endParaRPr lang="en-US"/>
            </a:p>
          </p:txBody>
        </p:sp>
        <p:sp>
          <p:nvSpPr>
            <p:cNvPr id="1769" name="Freeform: Shape 1768">
              <a:extLst>
                <a:ext uri="{FF2B5EF4-FFF2-40B4-BE49-F238E27FC236}">
                  <a16:creationId xmlns:a16="http://schemas.microsoft.com/office/drawing/2014/main" id="{C985D16F-2488-4341-A160-9DC94E9522AF}"/>
                </a:ext>
              </a:extLst>
            </p:cNvPr>
            <p:cNvSpPr/>
            <p:nvPr/>
          </p:nvSpPr>
          <p:spPr>
            <a:xfrm>
              <a:off x="306004" y="6477429"/>
              <a:ext cx="10316" cy="8975"/>
            </a:xfrm>
            <a:custGeom>
              <a:avLst/>
              <a:gdLst>
                <a:gd name="connsiteX0" fmla="*/ 7235 w 10316"/>
                <a:gd name="connsiteY0" fmla="*/ 7368 h 8975"/>
                <a:gd name="connsiteX1" fmla="*/ 0 w 10316"/>
                <a:gd name="connsiteY1" fmla="*/ 0 h 8975"/>
                <a:gd name="connsiteX2" fmla="*/ 0 w 10316"/>
                <a:gd name="connsiteY2" fmla="*/ 1742 h 8975"/>
                <a:gd name="connsiteX3" fmla="*/ 7235 w 10316"/>
                <a:gd name="connsiteY3" fmla="*/ 8975 h 8975"/>
                <a:gd name="connsiteX4" fmla="*/ 10316 w 10316"/>
                <a:gd name="connsiteY4" fmla="*/ 8171 h 8975"/>
                <a:gd name="connsiteX5" fmla="*/ 10316 w 10316"/>
                <a:gd name="connsiteY5" fmla="*/ 6564 h 8975"/>
                <a:gd name="connsiteX6" fmla="*/ 7235 w 10316"/>
                <a:gd name="connsiteY6" fmla="*/ 7368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16" h="8975">
                  <a:moveTo>
                    <a:pt x="7235" y="7368"/>
                  </a:moveTo>
                  <a:cubicBezTo>
                    <a:pt x="3218" y="7301"/>
                    <a:pt x="-1" y="4019"/>
                    <a:pt x="0" y="0"/>
                  </a:cubicBezTo>
                  <a:lnTo>
                    <a:pt x="0" y="1742"/>
                  </a:lnTo>
                  <a:cubicBezTo>
                    <a:pt x="138" y="5680"/>
                    <a:pt x="3297" y="8841"/>
                    <a:pt x="7235" y="8975"/>
                  </a:cubicBezTo>
                  <a:cubicBezTo>
                    <a:pt x="8316" y="8989"/>
                    <a:pt x="9382" y="8721"/>
                    <a:pt x="10316" y="8171"/>
                  </a:cubicBezTo>
                  <a:lnTo>
                    <a:pt x="10316" y="6564"/>
                  </a:lnTo>
                  <a:cubicBezTo>
                    <a:pt x="9382" y="7113"/>
                    <a:pt x="8316" y="7381"/>
                    <a:pt x="7235" y="7368"/>
                  </a:cubicBezTo>
                  <a:close/>
                </a:path>
              </a:pathLst>
            </a:custGeom>
            <a:solidFill>
              <a:srgbClr val="000000"/>
            </a:solidFill>
            <a:ln w="12700" cap="flat">
              <a:noFill/>
              <a:prstDash val="solid"/>
              <a:miter/>
            </a:ln>
          </p:spPr>
          <p:txBody>
            <a:bodyPr rtlCol="0" anchor="ctr"/>
            <a:lstStyle/>
            <a:p>
              <a:endParaRPr lang="en-US"/>
            </a:p>
          </p:txBody>
        </p:sp>
        <p:sp>
          <p:nvSpPr>
            <p:cNvPr id="1770" name="Freeform: Shape 1769">
              <a:extLst>
                <a:ext uri="{FF2B5EF4-FFF2-40B4-BE49-F238E27FC236}">
                  <a16:creationId xmlns:a16="http://schemas.microsoft.com/office/drawing/2014/main" id="{CC8C3801-545A-41C1-978B-0FD41A6F6E5B}"/>
                </a:ext>
              </a:extLst>
            </p:cNvPr>
            <p:cNvSpPr/>
            <p:nvPr/>
          </p:nvSpPr>
          <p:spPr>
            <a:xfrm>
              <a:off x="350381" y="6462291"/>
              <a:ext cx="15108" cy="14467"/>
            </a:xfrm>
            <a:custGeom>
              <a:avLst/>
              <a:gdLst>
                <a:gd name="connsiteX0" fmla="*/ 7740 w 15108"/>
                <a:gd name="connsiteY0" fmla="*/ 7234 h 14467"/>
                <a:gd name="connsiteX1" fmla="*/ 15109 w 15108"/>
                <a:gd name="connsiteY1" fmla="*/ 0 h 14467"/>
                <a:gd name="connsiteX2" fmla="*/ 7204 w 15108"/>
                <a:gd name="connsiteY2" fmla="*/ 0 h 14467"/>
                <a:gd name="connsiteX3" fmla="*/ 103 w 15108"/>
                <a:gd name="connsiteY3" fmla="*/ 7100 h 14467"/>
                <a:gd name="connsiteX4" fmla="*/ 103 w 15108"/>
                <a:gd name="connsiteY4" fmla="*/ 7100 h 14467"/>
                <a:gd name="connsiteX5" fmla="*/ 103 w 15108"/>
                <a:gd name="connsiteY5" fmla="*/ 9511 h 14467"/>
                <a:gd name="connsiteX6" fmla="*/ 6936 w 15108"/>
                <a:gd name="connsiteY6" fmla="*/ 14467 h 14467"/>
                <a:gd name="connsiteX7" fmla="*/ 14707 w 15108"/>
                <a:gd name="connsiteY7" fmla="*/ 14467 h 14467"/>
                <a:gd name="connsiteX8" fmla="*/ 7740 w 15108"/>
                <a:gd name="connsiteY8"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8" h="14467">
                  <a:moveTo>
                    <a:pt x="7740" y="7234"/>
                  </a:moveTo>
                  <a:cubicBezTo>
                    <a:pt x="7814" y="3215"/>
                    <a:pt x="11091" y="0"/>
                    <a:pt x="15109" y="0"/>
                  </a:cubicBezTo>
                  <a:lnTo>
                    <a:pt x="7204" y="0"/>
                  </a:lnTo>
                  <a:cubicBezTo>
                    <a:pt x="3342" y="134"/>
                    <a:pt x="241" y="3242"/>
                    <a:pt x="103" y="7100"/>
                  </a:cubicBezTo>
                  <a:lnTo>
                    <a:pt x="103" y="7100"/>
                  </a:lnTo>
                  <a:cubicBezTo>
                    <a:pt x="-34" y="7903"/>
                    <a:pt x="-34" y="8707"/>
                    <a:pt x="103" y="9511"/>
                  </a:cubicBezTo>
                  <a:cubicBezTo>
                    <a:pt x="1082" y="12458"/>
                    <a:pt x="3831" y="14454"/>
                    <a:pt x="6936" y="14467"/>
                  </a:cubicBezTo>
                  <a:lnTo>
                    <a:pt x="14707" y="14467"/>
                  </a:lnTo>
                  <a:cubicBezTo>
                    <a:pt x="10846" y="14253"/>
                    <a:pt x="7805" y="11105"/>
                    <a:pt x="7740" y="7234"/>
                  </a:cubicBezTo>
                  <a:close/>
                </a:path>
              </a:pathLst>
            </a:custGeom>
            <a:solidFill>
              <a:srgbClr val="000000"/>
            </a:solidFill>
            <a:ln w="12700" cap="flat">
              <a:noFill/>
              <a:prstDash val="solid"/>
              <a:miter/>
            </a:ln>
          </p:spPr>
          <p:txBody>
            <a:bodyPr rtlCol="0" anchor="ctr"/>
            <a:lstStyle/>
            <a:p>
              <a:endParaRPr lang="en-US"/>
            </a:p>
          </p:txBody>
        </p:sp>
        <p:sp>
          <p:nvSpPr>
            <p:cNvPr id="1771" name="Freeform: Shape 1770">
              <a:extLst>
                <a:ext uri="{FF2B5EF4-FFF2-40B4-BE49-F238E27FC236}">
                  <a16:creationId xmlns:a16="http://schemas.microsoft.com/office/drawing/2014/main" id="{68B0BBB9-1E96-46C2-B037-730607A85D91}"/>
                </a:ext>
              </a:extLst>
            </p:cNvPr>
            <p:cNvSpPr/>
            <p:nvPr/>
          </p:nvSpPr>
          <p:spPr>
            <a:xfrm>
              <a:off x="358121" y="6462291"/>
              <a:ext cx="335345" cy="14601"/>
            </a:xfrm>
            <a:custGeom>
              <a:avLst/>
              <a:gdLst>
                <a:gd name="connsiteX0" fmla="*/ 335346 w 335345"/>
                <a:gd name="connsiteY0" fmla="*/ 7234 h 14601"/>
                <a:gd name="connsiteX1" fmla="*/ 335346 w 335345"/>
                <a:gd name="connsiteY1" fmla="*/ 0 h 14601"/>
                <a:gd name="connsiteX2" fmla="*/ 7369 w 335345"/>
                <a:gd name="connsiteY2" fmla="*/ 0 h 14601"/>
                <a:gd name="connsiteX3" fmla="*/ 0 w 335345"/>
                <a:gd name="connsiteY3" fmla="*/ 7234 h 14601"/>
                <a:gd name="connsiteX4" fmla="*/ 7369 w 335345"/>
                <a:gd name="connsiteY4" fmla="*/ 14601 h 14601"/>
                <a:gd name="connsiteX5" fmla="*/ 335346 w 335345"/>
                <a:gd name="connsiteY5" fmla="*/ 14601 h 14601"/>
                <a:gd name="connsiteX6" fmla="*/ 335346 w 335345"/>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345" h="14601">
                  <a:moveTo>
                    <a:pt x="335346" y="7234"/>
                  </a:moveTo>
                  <a:lnTo>
                    <a:pt x="335346" y="0"/>
                  </a:lnTo>
                  <a:lnTo>
                    <a:pt x="7369" y="0"/>
                  </a:lnTo>
                  <a:cubicBezTo>
                    <a:pt x="3351" y="0"/>
                    <a:pt x="74" y="3215"/>
                    <a:pt x="0" y="7234"/>
                  </a:cubicBezTo>
                  <a:cubicBezTo>
                    <a:pt x="0" y="11306"/>
                    <a:pt x="3299" y="14601"/>
                    <a:pt x="7369" y="14601"/>
                  </a:cubicBezTo>
                  <a:lnTo>
                    <a:pt x="335346" y="14601"/>
                  </a:lnTo>
                  <a:lnTo>
                    <a:pt x="335346" y="7234"/>
                  </a:lnTo>
                  <a:close/>
                </a:path>
              </a:pathLst>
            </a:custGeom>
            <a:solidFill>
              <a:srgbClr val="000000"/>
            </a:solidFill>
            <a:ln w="12700" cap="flat">
              <a:noFill/>
              <a:prstDash val="solid"/>
              <a:miter/>
            </a:ln>
          </p:spPr>
          <p:txBody>
            <a:bodyPr rtlCol="0" anchor="ctr"/>
            <a:lstStyle/>
            <a:p>
              <a:endParaRPr lang="en-US"/>
            </a:p>
          </p:txBody>
        </p:sp>
        <p:sp>
          <p:nvSpPr>
            <p:cNvPr id="1772" name="Freeform: Shape 1771">
              <a:extLst>
                <a:ext uri="{FF2B5EF4-FFF2-40B4-BE49-F238E27FC236}">
                  <a16:creationId xmlns:a16="http://schemas.microsoft.com/office/drawing/2014/main" id="{DCE12769-7C03-4750-B2E6-6E425BCCF8D0}"/>
                </a:ext>
              </a:extLst>
            </p:cNvPr>
            <p:cNvSpPr/>
            <p:nvPr/>
          </p:nvSpPr>
          <p:spPr>
            <a:xfrm>
              <a:off x="1427554" y="5829346"/>
              <a:ext cx="340949" cy="14601"/>
            </a:xfrm>
            <a:custGeom>
              <a:avLst/>
              <a:gdLst>
                <a:gd name="connsiteX0" fmla="*/ 5068 w 340949"/>
                <a:gd name="connsiteY0" fmla="*/ 938 h 14601"/>
                <a:gd name="connsiteX1" fmla="*/ 2522 w 340949"/>
                <a:gd name="connsiteY1" fmla="*/ 2411 h 14601"/>
                <a:gd name="connsiteX2" fmla="*/ 1678 w 340949"/>
                <a:gd name="connsiteY2" fmla="*/ 12416 h 14601"/>
                <a:gd name="connsiteX3" fmla="*/ 2522 w 340949"/>
                <a:gd name="connsiteY3" fmla="*/ 13262 h 14601"/>
                <a:gd name="connsiteX4" fmla="*/ 5068 w 340949"/>
                <a:gd name="connsiteY4" fmla="*/ 14601 h 14601"/>
                <a:gd name="connsiteX5" fmla="*/ 6006 w 340949"/>
                <a:gd name="connsiteY5" fmla="*/ 14601 h 14601"/>
                <a:gd name="connsiteX6" fmla="*/ 7211 w 340949"/>
                <a:gd name="connsiteY6" fmla="*/ 14601 h 14601"/>
                <a:gd name="connsiteX7" fmla="*/ 340949 w 340949"/>
                <a:gd name="connsiteY7" fmla="*/ 14601 h 14601"/>
                <a:gd name="connsiteX8" fmla="*/ 333581 w 340949"/>
                <a:gd name="connsiteY8" fmla="*/ 7234 h 14601"/>
                <a:gd name="connsiteX9" fmla="*/ 340949 w 340949"/>
                <a:gd name="connsiteY9" fmla="*/ 0 h 14601"/>
                <a:gd name="connsiteX10" fmla="*/ 7211 w 340949"/>
                <a:gd name="connsiteY10"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949" h="14601">
                  <a:moveTo>
                    <a:pt x="5068" y="938"/>
                  </a:moveTo>
                  <a:cubicBezTo>
                    <a:pt x="4130" y="1242"/>
                    <a:pt x="3259" y="1744"/>
                    <a:pt x="2522" y="2411"/>
                  </a:cubicBezTo>
                  <a:cubicBezTo>
                    <a:pt x="-479" y="4940"/>
                    <a:pt x="-854" y="9420"/>
                    <a:pt x="1678" y="12416"/>
                  </a:cubicBezTo>
                  <a:cubicBezTo>
                    <a:pt x="1933" y="12722"/>
                    <a:pt x="2214" y="13005"/>
                    <a:pt x="2522" y="13262"/>
                  </a:cubicBezTo>
                  <a:cubicBezTo>
                    <a:pt x="3259" y="13887"/>
                    <a:pt x="4130" y="14344"/>
                    <a:pt x="5068" y="14601"/>
                  </a:cubicBezTo>
                  <a:lnTo>
                    <a:pt x="6006" y="14601"/>
                  </a:lnTo>
                  <a:lnTo>
                    <a:pt x="7211" y="14601"/>
                  </a:lnTo>
                  <a:lnTo>
                    <a:pt x="340949" y="14601"/>
                  </a:lnTo>
                  <a:cubicBezTo>
                    <a:pt x="336877" y="14601"/>
                    <a:pt x="333581" y="11303"/>
                    <a:pt x="333581" y="7234"/>
                  </a:cubicBezTo>
                  <a:cubicBezTo>
                    <a:pt x="333648" y="3218"/>
                    <a:pt x="336930" y="0"/>
                    <a:pt x="340949" y="0"/>
                  </a:cubicBezTo>
                  <a:lnTo>
                    <a:pt x="7211" y="0"/>
                  </a:lnTo>
                  <a:close/>
                </a:path>
              </a:pathLst>
            </a:custGeom>
            <a:solidFill>
              <a:srgbClr val="000000"/>
            </a:solidFill>
            <a:ln w="12700" cap="flat">
              <a:noFill/>
              <a:prstDash val="solid"/>
              <a:miter/>
            </a:ln>
          </p:spPr>
          <p:txBody>
            <a:bodyPr rtlCol="0" anchor="ctr"/>
            <a:lstStyle/>
            <a:p>
              <a:endParaRPr lang="en-US"/>
            </a:p>
          </p:txBody>
        </p:sp>
        <p:sp>
          <p:nvSpPr>
            <p:cNvPr id="1773" name="Freeform: Shape 1772">
              <a:extLst>
                <a:ext uri="{FF2B5EF4-FFF2-40B4-BE49-F238E27FC236}">
                  <a16:creationId xmlns:a16="http://schemas.microsoft.com/office/drawing/2014/main" id="{04BAB462-3198-42A9-B503-3F8363E52AC7}"/>
                </a:ext>
              </a:extLst>
            </p:cNvPr>
            <p:cNvSpPr/>
            <p:nvPr/>
          </p:nvSpPr>
          <p:spPr>
            <a:xfrm>
              <a:off x="4424876" y="6536235"/>
              <a:ext cx="86549" cy="14467"/>
            </a:xfrm>
            <a:custGeom>
              <a:avLst/>
              <a:gdLst>
                <a:gd name="connsiteX0" fmla="*/ 7235 w 86549"/>
                <a:gd name="connsiteY0" fmla="*/ 7234 h 14467"/>
                <a:gd name="connsiteX1" fmla="*/ 0 w 86549"/>
                <a:gd name="connsiteY1" fmla="*/ 14467 h 14467"/>
                <a:gd name="connsiteX2" fmla="*/ 79181 w 86549"/>
                <a:gd name="connsiteY2" fmla="*/ 14467 h 14467"/>
                <a:gd name="connsiteX3" fmla="*/ 86550 w 86549"/>
                <a:gd name="connsiteY3" fmla="*/ 7234 h 14467"/>
                <a:gd name="connsiteX4" fmla="*/ 79315 w 86549"/>
                <a:gd name="connsiteY4" fmla="*/ 0 h 14467"/>
                <a:gd name="connsiteX5" fmla="*/ 0 w 86549"/>
                <a:gd name="connsiteY5" fmla="*/ 0 h 14467"/>
                <a:gd name="connsiteX6" fmla="*/ 7235 w 86549"/>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49" h="14467">
                  <a:moveTo>
                    <a:pt x="7235" y="7234"/>
                  </a:moveTo>
                  <a:cubicBezTo>
                    <a:pt x="7235" y="11226"/>
                    <a:pt x="3993" y="14467"/>
                    <a:pt x="0" y="14467"/>
                  </a:cubicBezTo>
                  <a:lnTo>
                    <a:pt x="79181" y="14467"/>
                  </a:lnTo>
                  <a:cubicBezTo>
                    <a:pt x="83200" y="14467"/>
                    <a:pt x="86483" y="11253"/>
                    <a:pt x="86550" y="7234"/>
                  </a:cubicBezTo>
                  <a:cubicBezTo>
                    <a:pt x="86550" y="3242"/>
                    <a:pt x="83307" y="0"/>
                    <a:pt x="79315" y="0"/>
                  </a:cubicBezTo>
                  <a:lnTo>
                    <a:pt x="0" y="0"/>
                  </a:lnTo>
                  <a:cubicBezTo>
                    <a:pt x="3966" y="67"/>
                    <a:pt x="7168" y="3269"/>
                    <a:pt x="7235" y="7234"/>
                  </a:cubicBezTo>
                  <a:close/>
                </a:path>
              </a:pathLst>
            </a:custGeom>
            <a:solidFill>
              <a:srgbClr val="000000"/>
            </a:solidFill>
            <a:ln w="12700" cap="flat">
              <a:noFill/>
              <a:prstDash val="solid"/>
              <a:miter/>
            </a:ln>
          </p:spPr>
          <p:txBody>
            <a:bodyPr rtlCol="0" anchor="ctr"/>
            <a:lstStyle/>
            <a:p>
              <a:endParaRPr lang="en-US"/>
            </a:p>
          </p:txBody>
        </p:sp>
        <p:sp>
          <p:nvSpPr>
            <p:cNvPr id="1774" name="Freeform: Shape 1773">
              <a:extLst>
                <a:ext uri="{FF2B5EF4-FFF2-40B4-BE49-F238E27FC236}">
                  <a16:creationId xmlns:a16="http://schemas.microsoft.com/office/drawing/2014/main" id="{72B364D9-2738-4A48-A860-01D19037827B}"/>
                </a:ext>
              </a:extLst>
            </p:cNvPr>
            <p:cNvSpPr/>
            <p:nvPr/>
          </p:nvSpPr>
          <p:spPr>
            <a:xfrm>
              <a:off x="4268792" y="6536503"/>
              <a:ext cx="163318" cy="14601"/>
            </a:xfrm>
            <a:custGeom>
              <a:avLst/>
              <a:gdLst>
                <a:gd name="connsiteX0" fmla="*/ 7235 w 163318"/>
                <a:gd name="connsiteY0" fmla="*/ 0 h 14601"/>
                <a:gd name="connsiteX1" fmla="*/ 0 w 163318"/>
                <a:gd name="connsiteY1" fmla="*/ 7368 h 14601"/>
                <a:gd name="connsiteX2" fmla="*/ 7235 w 163318"/>
                <a:gd name="connsiteY2" fmla="*/ 14601 h 14601"/>
                <a:gd name="connsiteX3" fmla="*/ 156084 w 163318"/>
                <a:gd name="connsiteY3" fmla="*/ 14601 h 14601"/>
                <a:gd name="connsiteX4" fmla="*/ 163319 w 163318"/>
                <a:gd name="connsiteY4" fmla="*/ 7368 h 14601"/>
                <a:gd name="connsiteX5" fmla="*/ 156084 w 163318"/>
                <a:gd name="connsiteY5" fmla="*/ 0 h 14601"/>
                <a:gd name="connsiteX6" fmla="*/ 7235 w 163318"/>
                <a:gd name="connsiteY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8" h="14601">
                  <a:moveTo>
                    <a:pt x="7235" y="0"/>
                  </a:moveTo>
                  <a:cubicBezTo>
                    <a:pt x="3215" y="67"/>
                    <a:pt x="0" y="3349"/>
                    <a:pt x="0" y="7368"/>
                  </a:cubicBezTo>
                  <a:cubicBezTo>
                    <a:pt x="0" y="11360"/>
                    <a:pt x="3242" y="14601"/>
                    <a:pt x="7235" y="14601"/>
                  </a:cubicBezTo>
                  <a:lnTo>
                    <a:pt x="156084" y="14601"/>
                  </a:lnTo>
                  <a:cubicBezTo>
                    <a:pt x="160076" y="14601"/>
                    <a:pt x="163319" y="11360"/>
                    <a:pt x="163319" y="7368"/>
                  </a:cubicBezTo>
                  <a:cubicBezTo>
                    <a:pt x="163319" y="3349"/>
                    <a:pt x="160103" y="67"/>
                    <a:pt x="156084" y="0"/>
                  </a:cubicBezTo>
                  <a:lnTo>
                    <a:pt x="7235" y="0"/>
                  </a:lnTo>
                  <a:close/>
                </a:path>
              </a:pathLst>
            </a:custGeom>
            <a:solidFill>
              <a:srgbClr val="000000"/>
            </a:solidFill>
            <a:ln w="12700" cap="flat">
              <a:noFill/>
              <a:prstDash val="solid"/>
              <a:miter/>
            </a:ln>
          </p:spPr>
          <p:txBody>
            <a:bodyPr rtlCol="0" anchor="ctr"/>
            <a:lstStyle/>
            <a:p>
              <a:endParaRPr lang="en-US"/>
            </a:p>
          </p:txBody>
        </p:sp>
        <p:sp>
          <p:nvSpPr>
            <p:cNvPr id="1775" name="Freeform: Shape 1774">
              <a:extLst>
                <a:ext uri="{FF2B5EF4-FFF2-40B4-BE49-F238E27FC236}">
                  <a16:creationId xmlns:a16="http://schemas.microsoft.com/office/drawing/2014/main" id="{06B5C495-9B3F-47D8-B51B-D957C84C9801}"/>
                </a:ext>
              </a:extLst>
            </p:cNvPr>
            <p:cNvSpPr/>
            <p:nvPr/>
          </p:nvSpPr>
          <p:spPr>
            <a:xfrm>
              <a:off x="581685" y="5556878"/>
              <a:ext cx="14648" cy="35096"/>
            </a:xfrm>
            <a:custGeom>
              <a:avLst/>
              <a:gdLst>
                <a:gd name="connsiteX0" fmla="*/ 4333 w 14648"/>
                <a:gd name="connsiteY0" fmla="*/ 0 h 35096"/>
                <a:gd name="connsiteX1" fmla="*/ 3127 w 14648"/>
                <a:gd name="connsiteY1" fmla="*/ 0 h 35096"/>
                <a:gd name="connsiteX2" fmla="*/ 2055 w 14648"/>
                <a:gd name="connsiteY2" fmla="*/ 670 h 35096"/>
                <a:gd name="connsiteX3" fmla="*/ 849 w 14648"/>
                <a:gd name="connsiteY3" fmla="*/ 1608 h 35096"/>
                <a:gd name="connsiteX4" fmla="*/ 849 w 14648"/>
                <a:gd name="connsiteY4" fmla="*/ 2679 h 35096"/>
                <a:gd name="connsiteX5" fmla="*/ 45 w 14648"/>
                <a:gd name="connsiteY5" fmla="*/ 4019 h 35096"/>
                <a:gd name="connsiteX6" fmla="*/ 45 w 14648"/>
                <a:gd name="connsiteY6" fmla="*/ 5492 h 35096"/>
                <a:gd name="connsiteX7" fmla="*/ 45 w 14648"/>
                <a:gd name="connsiteY7" fmla="*/ 6564 h 35096"/>
                <a:gd name="connsiteX8" fmla="*/ 45 w 14648"/>
                <a:gd name="connsiteY8" fmla="*/ 35097 h 35096"/>
                <a:gd name="connsiteX9" fmla="*/ 14649 w 14648"/>
                <a:gd name="connsiteY9" fmla="*/ 35097 h 35096"/>
                <a:gd name="connsiteX10" fmla="*/ 14649 w 14648"/>
                <a:gd name="connsiteY10" fmla="*/ 6966 h 35096"/>
                <a:gd name="connsiteX11" fmla="*/ 11165 w 14648"/>
                <a:gd name="connsiteY11" fmla="*/ 938 h 35096"/>
                <a:gd name="connsiteX12" fmla="*/ 9960 w 14648"/>
                <a:gd name="connsiteY12" fmla="*/ 134 h 35096"/>
                <a:gd name="connsiteX13" fmla="*/ 8352 w 14648"/>
                <a:gd name="connsiteY13" fmla="*/ 134 h 35096"/>
                <a:gd name="connsiteX14" fmla="*/ 7146 w 14648"/>
                <a:gd name="connsiteY14" fmla="*/ 134 h 3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48" h="35096">
                  <a:moveTo>
                    <a:pt x="4333" y="0"/>
                  </a:moveTo>
                  <a:lnTo>
                    <a:pt x="3127" y="0"/>
                  </a:lnTo>
                  <a:lnTo>
                    <a:pt x="2055" y="670"/>
                  </a:lnTo>
                  <a:lnTo>
                    <a:pt x="849" y="1608"/>
                  </a:lnTo>
                  <a:cubicBezTo>
                    <a:pt x="783" y="1961"/>
                    <a:pt x="783" y="2325"/>
                    <a:pt x="849" y="2679"/>
                  </a:cubicBezTo>
                  <a:lnTo>
                    <a:pt x="45" y="4019"/>
                  </a:lnTo>
                  <a:cubicBezTo>
                    <a:pt x="-7" y="4509"/>
                    <a:pt x="-7" y="5002"/>
                    <a:pt x="45" y="5492"/>
                  </a:cubicBezTo>
                  <a:cubicBezTo>
                    <a:pt x="-15" y="5847"/>
                    <a:pt x="-15" y="6209"/>
                    <a:pt x="45" y="6564"/>
                  </a:cubicBezTo>
                  <a:lnTo>
                    <a:pt x="45" y="35097"/>
                  </a:lnTo>
                  <a:lnTo>
                    <a:pt x="14649" y="35097"/>
                  </a:lnTo>
                  <a:lnTo>
                    <a:pt x="14649" y="6966"/>
                  </a:lnTo>
                  <a:cubicBezTo>
                    <a:pt x="14570" y="4500"/>
                    <a:pt x="13262" y="2237"/>
                    <a:pt x="11165" y="938"/>
                  </a:cubicBezTo>
                  <a:lnTo>
                    <a:pt x="9960" y="134"/>
                  </a:lnTo>
                  <a:lnTo>
                    <a:pt x="8352" y="134"/>
                  </a:lnTo>
                  <a:lnTo>
                    <a:pt x="7146" y="134"/>
                  </a:lnTo>
                  <a:close/>
                </a:path>
              </a:pathLst>
            </a:custGeom>
            <a:solidFill>
              <a:srgbClr val="000000"/>
            </a:solidFill>
            <a:ln w="12700" cap="flat">
              <a:noFill/>
              <a:prstDash val="solid"/>
              <a:miter/>
            </a:ln>
          </p:spPr>
          <p:txBody>
            <a:bodyPr rtlCol="0" anchor="ctr"/>
            <a:lstStyle/>
            <a:p>
              <a:endParaRPr lang="en-US"/>
            </a:p>
          </p:txBody>
        </p:sp>
        <p:sp>
          <p:nvSpPr>
            <p:cNvPr id="1776" name="Freeform: Shape 1775">
              <a:extLst>
                <a:ext uri="{FF2B5EF4-FFF2-40B4-BE49-F238E27FC236}">
                  <a16:creationId xmlns:a16="http://schemas.microsoft.com/office/drawing/2014/main" id="{DDEEE294-1FBD-4366-94E7-04DBD1A1F25D}"/>
                </a:ext>
              </a:extLst>
            </p:cNvPr>
            <p:cNvSpPr/>
            <p:nvPr/>
          </p:nvSpPr>
          <p:spPr>
            <a:xfrm>
              <a:off x="1383316" y="5631626"/>
              <a:ext cx="14604" cy="199863"/>
            </a:xfrm>
            <a:custGeom>
              <a:avLst/>
              <a:gdLst>
                <a:gd name="connsiteX0" fmla="*/ 7236 w 14604"/>
                <a:gd name="connsiteY0" fmla="*/ 199863 h 199863"/>
                <a:gd name="connsiteX1" fmla="*/ 14605 w 14604"/>
                <a:gd name="connsiteY1" fmla="*/ 192496 h 199863"/>
                <a:gd name="connsiteX2" fmla="*/ 14605 w 14604"/>
                <a:gd name="connsiteY2" fmla="*/ 0 h 199863"/>
                <a:gd name="connsiteX3" fmla="*/ 7236 w 14604"/>
                <a:gd name="connsiteY3" fmla="*/ 7368 h 199863"/>
                <a:gd name="connsiteX4" fmla="*/ 1 w 14604"/>
                <a:gd name="connsiteY4" fmla="*/ 0 h 199863"/>
                <a:gd name="connsiteX5" fmla="*/ 1 w 14604"/>
                <a:gd name="connsiteY5" fmla="*/ 192496 h 199863"/>
                <a:gd name="connsiteX6" fmla="*/ 7102 w 14604"/>
                <a:gd name="connsiteY6" fmla="*/ 199862 h 199863"/>
                <a:gd name="connsiteX7" fmla="*/ 7236 w 14604"/>
                <a:gd name="connsiteY7" fmla="*/ 199863 h 19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4" h="199863">
                  <a:moveTo>
                    <a:pt x="7236" y="199863"/>
                  </a:moveTo>
                  <a:cubicBezTo>
                    <a:pt x="11309" y="199863"/>
                    <a:pt x="14605" y="196565"/>
                    <a:pt x="14605" y="192496"/>
                  </a:cubicBezTo>
                  <a:lnTo>
                    <a:pt x="14605" y="0"/>
                  </a:lnTo>
                  <a:cubicBezTo>
                    <a:pt x="14605" y="4070"/>
                    <a:pt x="11309" y="7368"/>
                    <a:pt x="7236" y="7368"/>
                  </a:cubicBezTo>
                  <a:cubicBezTo>
                    <a:pt x="3217" y="7294"/>
                    <a:pt x="1" y="4017"/>
                    <a:pt x="1" y="0"/>
                  </a:cubicBezTo>
                  <a:lnTo>
                    <a:pt x="1" y="192496"/>
                  </a:lnTo>
                  <a:cubicBezTo>
                    <a:pt x="-79" y="196490"/>
                    <a:pt x="3110" y="199788"/>
                    <a:pt x="7102" y="199862"/>
                  </a:cubicBezTo>
                  <a:cubicBezTo>
                    <a:pt x="7142" y="199863"/>
                    <a:pt x="7196" y="199863"/>
                    <a:pt x="7236" y="199863"/>
                  </a:cubicBezTo>
                  <a:close/>
                </a:path>
              </a:pathLst>
            </a:custGeom>
            <a:solidFill>
              <a:srgbClr val="000000"/>
            </a:solidFill>
            <a:ln w="12700" cap="flat">
              <a:noFill/>
              <a:prstDash val="solid"/>
              <a:miter/>
            </a:ln>
          </p:spPr>
          <p:txBody>
            <a:bodyPr rtlCol="0" anchor="ctr"/>
            <a:lstStyle/>
            <a:p>
              <a:endParaRPr lang="en-US"/>
            </a:p>
          </p:txBody>
        </p:sp>
        <p:sp>
          <p:nvSpPr>
            <p:cNvPr id="1777" name="Freeform: Shape 1776">
              <a:extLst>
                <a:ext uri="{FF2B5EF4-FFF2-40B4-BE49-F238E27FC236}">
                  <a16:creationId xmlns:a16="http://schemas.microsoft.com/office/drawing/2014/main" id="{E2B1EF79-9FB2-4C1C-9D75-2B706137EF50}"/>
                </a:ext>
              </a:extLst>
            </p:cNvPr>
            <p:cNvSpPr/>
            <p:nvPr/>
          </p:nvSpPr>
          <p:spPr>
            <a:xfrm>
              <a:off x="1383318" y="5606978"/>
              <a:ext cx="14603" cy="32015"/>
            </a:xfrm>
            <a:custGeom>
              <a:avLst/>
              <a:gdLst>
                <a:gd name="connsiteX0" fmla="*/ 7235 w 14603"/>
                <a:gd name="connsiteY0" fmla="*/ 32016 h 32015"/>
                <a:gd name="connsiteX1" fmla="*/ 14604 w 14603"/>
                <a:gd name="connsiteY1" fmla="*/ 24648 h 32015"/>
                <a:gd name="connsiteX2" fmla="*/ 14604 w 14603"/>
                <a:gd name="connsiteY2" fmla="*/ 7234 h 32015"/>
                <a:gd name="connsiteX3" fmla="*/ 7235 w 14603"/>
                <a:gd name="connsiteY3" fmla="*/ 0 h 32015"/>
                <a:gd name="connsiteX4" fmla="*/ 0 w 14603"/>
                <a:gd name="connsiteY4" fmla="*/ 7234 h 32015"/>
                <a:gd name="connsiteX5" fmla="*/ 0 w 14603"/>
                <a:gd name="connsiteY5" fmla="*/ 24648 h 32015"/>
                <a:gd name="connsiteX6" fmla="*/ 7235 w 14603"/>
                <a:gd name="connsiteY6" fmla="*/ 32016 h 3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2015">
                  <a:moveTo>
                    <a:pt x="7235" y="32016"/>
                  </a:moveTo>
                  <a:cubicBezTo>
                    <a:pt x="11308" y="32016"/>
                    <a:pt x="14604" y="28718"/>
                    <a:pt x="14604" y="24648"/>
                  </a:cubicBezTo>
                  <a:lnTo>
                    <a:pt x="14604" y="7234"/>
                  </a:lnTo>
                  <a:cubicBezTo>
                    <a:pt x="14537" y="3218"/>
                    <a:pt x="11254" y="0"/>
                    <a:pt x="7235" y="0"/>
                  </a:cubicBezTo>
                  <a:cubicBezTo>
                    <a:pt x="3242" y="0"/>
                    <a:pt x="0" y="3239"/>
                    <a:pt x="0" y="7234"/>
                  </a:cubicBezTo>
                  <a:lnTo>
                    <a:pt x="0" y="24648"/>
                  </a:lnTo>
                  <a:cubicBezTo>
                    <a:pt x="0" y="28665"/>
                    <a:pt x="3215" y="31942"/>
                    <a:pt x="7235" y="32016"/>
                  </a:cubicBezTo>
                  <a:close/>
                </a:path>
              </a:pathLst>
            </a:custGeom>
            <a:solidFill>
              <a:srgbClr val="000000"/>
            </a:solidFill>
            <a:ln w="12700" cap="flat">
              <a:noFill/>
              <a:prstDash val="solid"/>
              <a:miter/>
            </a:ln>
          </p:spPr>
          <p:txBody>
            <a:bodyPr rtlCol="0" anchor="ctr"/>
            <a:lstStyle/>
            <a:p>
              <a:endParaRPr lang="en-US"/>
            </a:p>
          </p:txBody>
        </p:sp>
        <p:sp>
          <p:nvSpPr>
            <p:cNvPr id="1778" name="Freeform: Shape 1777">
              <a:extLst>
                <a:ext uri="{FF2B5EF4-FFF2-40B4-BE49-F238E27FC236}">
                  <a16:creationId xmlns:a16="http://schemas.microsoft.com/office/drawing/2014/main" id="{768BFEB2-8296-4927-8A25-8873A13DDC73}"/>
                </a:ext>
              </a:extLst>
            </p:cNvPr>
            <p:cNvSpPr/>
            <p:nvPr/>
          </p:nvSpPr>
          <p:spPr>
            <a:xfrm>
              <a:off x="1772690" y="5794651"/>
              <a:ext cx="193430" cy="14601"/>
            </a:xfrm>
            <a:custGeom>
              <a:avLst/>
              <a:gdLst>
                <a:gd name="connsiteX0" fmla="*/ 5862 w 193430"/>
                <a:gd name="connsiteY0" fmla="*/ 804 h 14601"/>
                <a:gd name="connsiteX1" fmla="*/ 4388 w 193430"/>
                <a:gd name="connsiteY1" fmla="*/ 804 h 14601"/>
                <a:gd name="connsiteX2" fmla="*/ 3182 w 193430"/>
                <a:gd name="connsiteY2" fmla="*/ 804 h 14601"/>
                <a:gd name="connsiteX3" fmla="*/ 1976 w 193430"/>
                <a:gd name="connsiteY3" fmla="*/ 1607 h 14601"/>
                <a:gd name="connsiteX4" fmla="*/ 904 w 193430"/>
                <a:gd name="connsiteY4" fmla="*/ 2411 h 14601"/>
                <a:gd name="connsiteX5" fmla="*/ 101 w 193430"/>
                <a:gd name="connsiteY5" fmla="*/ 3483 h 14601"/>
                <a:gd name="connsiteX6" fmla="*/ 101 w 193430"/>
                <a:gd name="connsiteY6" fmla="*/ 4822 h 14601"/>
                <a:gd name="connsiteX7" fmla="*/ 101 w 193430"/>
                <a:gd name="connsiteY7" fmla="*/ 7368 h 14601"/>
                <a:gd name="connsiteX8" fmla="*/ 7335 w 193430"/>
                <a:gd name="connsiteY8" fmla="*/ 14601 h 14601"/>
                <a:gd name="connsiteX9" fmla="*/ 193430 w 193430"/>
                <a:gd name="connsiteY9" fmla="*/ 14601 h 14601"/>
                <a:gd name="connsiteX10" fmla="*/ 186195 w 193430"/>
                <a:gd name="connsiteY10" fmla="*/ 7368 h 14601"/>
                <a:gd name="connsiteX11" fmla="*/ 193430 w 193430"/>
                <a:gd name="connsiteY11" fmla="*/ 0 h 14601"/>
                <a:gd name="connsiteX12" fmla="*/ 5862 w 193430"/>
                <a:gd name="connsiteY12"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30" h="14601">
                  <a:moveTo>
                    <a:pt x="5862" y="804"/>
                  </a:moveTo>
                  <a:lnTo>
                    <a:pt x="4388" y="804"/>
                  </a:lnTo>
                  <a:lnTo>
                    <a:pt x="3182" y="804"/>
                  </a:lnTo>
                  <a:cubicBezTo>
                    <a:pt x="3182" y="804"/>
                    <a:pt x="2378" y="804"/>
                    <a:pt x="1976" y="1607"/>
                  </a:cubicBezTo>
                  <a:lnTo>
                    <a:pt x="904" y="2411"/>
                  </a:lnTo>
                  <a:lnTo>
                    <a:pt x="101" y="3483"/>
                  </a:lnTo>
                  <a:cubicBezTo>
                    <a:pt x="74" y="3929"/>
                    <a:pt x="74" y="4376"/>
                    <a:pt x="101" y="4822"/>
                  </a:cubicBezTo>
                  <a:cubicBezTo>
                    <a:pt x="-34" y="5665"/>
                    <a:pt x="-34" y="6525"/>
                    <a:pt x="101" y="7368"/>
                  </a:cubicBezTo>
                  <a:cubicBezTo>
                    <a:pt x="101" y="11362"/>
                    <a:pt x="3343" y="14601"/>
                    <a:pt x="7335" y="14601"/>
                  </a:cubicBezTo>
                  <a:lnTo>
                    <a:pt x="193430" y="14601"/>
                  </a:lnTo>
                  <a:cubicBezTo>
                    <a:pt x="189438" y="14601"/>
                    <a:pt x="186195" y="11362"/>
                    <a:pt x="186195" y="7368"/>
                  </a:cubicBezTo>
                  <a:cubicBezTo>
                    <a:pt x="186195" y="3350"/>
                    <a:pt x="189411" y="74"/>
                    <a:pt x="193430" y="0"/>
                  </a:cubicBezTo>
                  <a:lnTo>
                    <a:pt x="5862" y="0"/>
                  </a:lnTo>
                  <a:close/>
                </a:path>
              </a:pathLst>
            </a:custGeom>
            <a:solidFill>
              <a:srgbClr val="000000"/>
            </a:solidFill>
            <a:ln w="12700" cap="flat">
              <a:noFill/>
              <a:prstDash val="solid"/>
              <a:miter/>
            </a:ln>
          </p:spPr>
          <p:txBody>
            <a:bodyPr rtlCol="0" anchor="ctr"/>
            <a:lstStyle/>
            <a:p>
              <a:endParaRPr lang="en-US"/>
            </a:p>
          </p:txBody>
        </p:sp>
        <p:sp>
          <p:nvSpPr>
            <p:cNvPr id="1779" name="Freeform: Shape 1778">
              <a:extLst>
                <a:ext uri="{FF2B5EF4-FFF2-40B4-BE49-F238E27FC236}">
                  <a16:creationId xmlns:a16="http://schemas.microsoft.com/office/drawing/2014/main" id="{93053A59-90D1-46D6-AEE9-8C3951A1E19A}"/>
                </a:ext>
              </a:extLst>
            </p:cNvPr>
            <p:cNvSpPr/>
            <p:nvPr/>
          </p:nvSpPr>
          <p:spPr>
            <a:xfrm>
              <a:off x="1957814" y="5795321"/>
              <a:ext cx="26125" cy="14601"/>
            </a:xfrm>
            <a:custGeom>
              <a:avLst/>
              <a:gdLst>
                <a:gd name="connsiteX0" fmla="*/ 0 w 26125"/>
                <a:gd name="connsiteY0" fmla="*/ 7368 h 14601"/>
                <a:gd name="connsiteX1" fmla="*/ 7235 w 26125"/>
                <a:gd name="connsiteY1" fmla="*/ 14601 h 14601"/>
                <a:gd name="connsiteX2" fmla="*/ 18891 w 26125"/>
                <a:gd name="connsiteY2" fmla="*/ 14601 h 14601"/>
                <a:gd name="connsiteX3" fmla="*/ 18891 w 26125"/>
                <a:gd name="connsiteY3" fmla="*/ 7368 h 14601"/>
                <a:gd name="connsiteX4" fmla="*/ 26126 w 26125"/>
                <a:gd name="connsiteY4" fmla="*/ 0 h 14601"/>
                <a:gd name="connsiteX5" fmla="*/ 7235 w 26125"/>
                <a:gd name="connsiteY5" fmla="*/ 0 h 14601"/>
                <a:gd name="connsiteX6" fmla="*/ 0 w 26125"/>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5" h="14601">
                  <a:moveTo>
                    <a:pt x="0" y="7368"/>
                  </a:moveTo>
                  <a:cubicBezTo>
                    <a:pt x="0" y="11362"/>
                    <a:pt x="3242" y="14601"/>
                    <a:pt x="7235" y="14601"/>
                  </a:cubicBezTo>
                  <a:lnTo>
                    <a:pt x="18891" y="14601"/>
                  </a:lnTo>
                  <a:lnTo>
                    <a:pt x="18891" y="7368"/>
                  </a:lnTo>
                  <a:cubicBezTo>
                    <a:pt x="18891" y="3350"/>
                    <a:pt x="22106" y="74"/>
                    <a:pt x="26126" y="0"/>
                  </a:cubicBezTo>
                  <a:lnTo>
                    <a:pt x="7235" y="0"/>
                  </a:lnTo>
                  <a:cubicBezTo>
                    <a:pt x="3215" y="74"/>
                    <a:pt x="0" y="3350"/>
                    <a:pt x="0" y="7368"/>
                  </a:cubicBezTo>
                  <a:close/>
                </a:path>
              </a:pathLst>
            </a:custGeom>
            <a:solidFill>
              <a:srgbClr val="000000"/>
            </a:solidFill>
            <a:ln w="12700" cap="flat">
              <a:noFill/>
              <a:prstDash val="solid"/>
              <a:miter/>
            </a:ln>
          </p:spPr>
          <p:txBody>
            <a:bodyPr rtlCol="0" anchor="ctr"/>
            <a:lstStyle/>
            <a:p>
              <a:endParaRPr lang="en-US"/>
            </a:p>
          </p:txBody>
        </p:sp>
        <p:sp>
          <p:nvSpPr>
            <p:cNvPr id="1780" name="Freeform: Shape 1779">
              <a:extLst>
                <a:ext uri="{FF2B5EF4-FFF2-40B4-BE49-F238E27FC236}">
                  <a16:creationId xmlns:a16="http://schemas.microsoft.com/office/drawing/2014/main" id="{769AF2E2-6594-4892-A64C-B2D33835C414}"/>
                </a:ext>
              </a:extLst>
            </p:cNvPr>
            <p:cNvSpPr/>
            <p:nvPr/>
          </p:nvSpPr>
          <p:spPr>
            <a:xfrm>
              <a:off x="1976704" y="5795321"/>
              <a:ext cx="14603" cy="58003"/>
            </a:xfrm>
            <a:custGeom>
              <a:avLst/>
              <a:gdLst>
                <a:gd name="connsiteX0" fmla="*/ 0 w 14603"/>
                <a:gd name="connsiteY0" fmla="*/ 7368 h 58003"/>
                <a:gd name="connsiteX1" fmla="*/ 0 w 14603"/>
                <a:gd name="connsiteY1" fmla="*/ 58003 h 58003"/>
                <a:gd name="connsiteX2" fmla="*/ 7235 w 14603"/>
                <a:gd name="connsiteY2" fmla="*/ 50636 h 58003"/>
                <a:gd name="connsiteX3" fmla="*/ 14604 w 14603"/>
                <a:gd name="connsiteY3" fmla="*/ 58003 h 58003"/>
                <a:gd name="connsiteX4" fmla="*/ 14604 w 14603"/>
                <a:gd name="connsiteY4" fmla="*/ 7368 h 58003"/>
                <a:gd name="connsiteX5" fmla="*/ 7235 w 14603"/>
                <a:gd name="connsiteY5" fmla="*/ 0 h 58003"/>
                <a:gd name="connsiteX6" fmla="*/ 0 w 14603"/>
                <a:gd name="connsiteY6" fmla="*/ 7368 h 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58003">
                  <a:moveTo>
                    <a:pt x="0" y="7368"/>
                  </a:moveTo>
                  <a:lnTo>
                    <a:pt x="0" y="58003"/>
                  </a:lnTo>
                  <a:cubicBezTo>
                    <a:pt x="0" y="53986"/>
                    <a:pt x="3216" y="50709"/>
                    <a:pt x="7235" y="50636"/>
                  </a:cubicBezTo>
                  <a:cubicBezTo>
                    <a:pt x="11308" y="50636"/>
                    <a:pt x="14604" y="53934"/>
                    <a:pt x="14604" y="58003"/>
                  </a:cubicBezTo>
                  <a:lnTo>
                    <a:pt x="14604" y="7368"/>
                  </a:lnTo>
                  <a:cubicBezTo>
                    <a:pt x="14604" y="3298"/>
                    <a:pt x="11308" y="0"/>
                    <a:pt x="7235" y="0"/>
                  </a:cubicBezTo>
                  <a:cubicBezTo>
                    <a:pt x="3216" y="74"/>
                    <a:pt x="0" y="3350"/>
                    <a:pt x="0" y="7368"/>
                  </a:cubicBezTo>
                  <a:close/>
                </a:path>
              </a:pathLst>
            </a:custGeom>
            <a:solidFill>
              <a:srgbClr val="000000"/>
            </a:solidFill>
            <a:ln w="12700" cap="flat">
              <a:noFill/>
              <a:prstDash val="solid"/>
              <a:miter/>
            </a:ln>
          </p:spPr>
          <p:txBody>
            <a:bodyPr rtlCol="0" anchor="ctr"/>
            <a:lstStyle/>
            <a:p>
              <a:endParaRPr lang="en-US"/>
            </a:p>
          </p:txBody>
        </p:sp>
        <p:sp>
          <p:nvSpPr>
            <p:cNvPr id="1781" name="Freeform: Shape 1780">
              <a:extLst>
                <a:ext uri="{FF2B5EF4-FFF2-40B4-BE49-F238E27FC236}">
                  <a16:creationId xmlns:a16="http://schemas.microsoft.com/office/drawing/2014/main" id="{892B1A5E-FD45-4568-AB95-36B47CAC3CE5}"/>
                </a:ext>
              </a:extLst>
            </p:cNvPr>
            <p:cNvSpPr/>
            <p:nvPr/>
          </p:nvSpPr>
          <p:spPr>
            <a:xfrm>
              <a:off x="1976704" y="5845957"/>
              <a:ext cx="14603" cy="617138"/>
            </a:xfrm>
            <a:custGeom>
              <a:avLst/>
              <a:gdLst>
                <a:gd name="connsiteX0" fmla="*/ 7235 w 14603"/>
                <a:gd name="connsiteY0" fmla="*/ 617138 h 617138"/>
                <a:gd name="connsiteX1" fmla="*/ 14604 w 14603"/>
                <a:gd name="connsiteY1" fmla="*/ 617138 h 617138"/>
                <a:gd name="connsiteX2" fmla="*/ 14604 w 14603"/>
                <a:gd name="connsiteY2" fmla="*/ 7368 h 617138"/>
                <a:gd name="connsiteX3" fmla="*/ 7235 w 14603"/>
                <a:gd name="connsiteY3" fmla="*/ 0 h 617138"/>
                <a:gd name="connsiteX4" fmla="*/ 0 w 14603"/>
                <a:gd name="connsiteY4" fmla="*/ 7368 h 617138"/>
                <a:gd name="connsiteX5" fmla="*/ 0 w 14603"/>
                <a:gd name="connsiteY5" fmla="*/ 617138 h 61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617138">
                  <a:moveTo>
                    <a:pt x="7235" y="617138"/>
                  </a:moveTo>
                  <a:lnTo>
                    <a:pt x="14604" y="617138"/>
                  </a:lnTo>
                  <a:lnTo>
                    <a:pt x="14604" y="7368"/>
                  </a:lnTo>
                  <a:cubicBezTo>
                    <a:pt x="14604" y="3298"/>
                    <a:pt x="11308" y="0"/>
                    <a:pt x="7235" y="0"/>
                  </a:cubicBezTo>
                  <a:cubicBezTo>
                    <a:pt x="3216" y="74"/>
                    <a:pt x="0" y="3350"/>
                    <a:pt x="0" y="7368"/>
                  </a:cubicBezTo>
                  <a:lnTo>
                    <a:pt x="0" y="617138"/>
                  </a:lnTo>
                  <a:close/>
                </a:path>
              </a:pathLst>
            </a:custGeom>
            <a:solidFill>
              <a:srgbClr val="000000"/>
            </a:solidFill>
            <a:ln w="12700" cap="flat">
              <a:noFill/>
              <a:prstDash val="solid"/>
              <a:miter/>
            </a:ln>
          </p:spPr>
          <p:txBody>
            <a:bodyPr rtlCol="0" anchor="ctr"/>
            <a:lstStyle/>
            <a:p>
              <a:endParaRPr lang="en-US"/>
            </a:p>
          </p:txBody>
        </p:sp>
        <p:sp>
          <p:nvSpPr>
            <p:cNvPr id="1782" name="Freeform: Shape 1781">
              <a:extLst>
                <a:ext uri="{FF2B5EF4-FFF2-40B4-BE49-F238E27FC236}">
                  <a16:creationId xmlns:a16="http://schemas.microsoft.com/office/drawing/2014/main" id="{DC758105-5913-4235-B9EA-948D0789B64A}"/>
                </a:ext>
              </a:extLst>
            </p:cNvPr>
            <p:cNvSpPr/>
            <p:nvPr/>
          </p:nvSpPr>
          <p:spPr>
            <a:xfrm>
              <a:off x="694531" y="6256340"/>
              <a:ext cx="13592" cy="213185"/>
            </a:xfrm>
            <a:custGeom>
              <a:avLst/>
              <a:gdLst>
                <a:gd name="connsiteX0" fmla="*/ 6171 w 13592"/>
                <a:gd name="connsiteY0" fmla="*/ 205684 h 213185"/>
                <a:gd name="connsiteX1" fmla="*/ 10459 w 13592"/>
                <a:gd name="connsiteY1" fmla="*/ 207157 h 213185"/>
                <a:gd name="connsiteX2" fmla="*/ 13540 w 13592"/>
                <a:gd name="connsiteY2" fmla="*/ 207157 h 213185"/>
                <a:gd name="connsiteX3" fmla="*/ 13540 w 13592"/>
                <a:gd name="connsiteY3" fmla="*/ 6222 h 213185"/>
                <a:gd name="connsiteX4" fmla="*/ 13540 w 13592"/>
                <a:gd name="connsiteY4" fmla="*/ 6222 h 213185"/>
                <a:gd name="connsiteX5" fmla="*/ 13540 w 13592"/>
                <a:gd name="connsiteY5" fmla="*/ 5419 h 213185"/>
                <a:gd name="connsiteX6" fmla="*/ 13540 w 13592"/>
                <a:gd name="connsiteY6" fmla="*/ 3945 h 213185"/>
                <a:gd name="connsiteX7" fmla="*/ 13540 w 13592"/>
                <a:gd name="connsiteY7" fmla="*/ 3945 h 213185"/>
                <a:gd name="connsiteX8" fmla="*/ 13540 w 13592"/>
                <a:gd name="connsiteY8" fmla="*/ 3007 h 213185"/>
                <a:gd name="connsiteX9" fmla="*/ 12870 w 13592"/>
                <a:gd name="connsiteY9" fmla="*/ 1802 h 213185"/>
                <a:gd name="connsiteX10" fmla="*/ 11798 w 13592"/>
                <a:gd name="connsiteY10" fmla="*/ 864 h 213185"/>
                <a:gd name="connsiteX11" fmla="*/ 10727 w 13592"/>
                <a:gd name="connsiteY11" fmla="*/ 60 h 213185"/>
                <a:gd name="connsiteX12" fmla="*/ 9387 w 13592"/>
                <a:gd name="connsiteY12" fmla="*/ 60 h 213185"/>
                <a:gd name="connsiteX13" fmla="*/ 7243 w 13592"/>
                <a:gd name="connsiteY13" fmla="*/ 60 h 213185"/>
                <a:gd name="connsiteX14" fmla="*/ 8 w 13592"/>
                <a:gd name="connsiteY14" fmla="*/ 7428 h 213185"/>
                <a:gd name="connsiteX15" fmla="*/ 8 w 13592"/>
                <a:gd name="connsiteY15" fmla="*/ 213185 h 213185"/>
                <a:gd name="connsiteX16" fmla="*/ 6171 w 13592"/>
                <a:gd name="connsiteY16" fmla="*/ 205684 h 21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592" h="213185">
                  <a:moveTo>
                    <a:pt x="6171" y="205684"/>
                  </a:moveTo>
                  <a:cubicBezTo>
                    <a:pt x="7713" y="205751"/>
                    <a:pt x="9205" y="206260"/>
                    <a:pt x="10459" y="207157"/>
                  </a:cubicBezTo>
                  <a:lnTo>
                    <a:pt x="13540" y="207157"/>
                  </a:lnTo>
                  <a:lnTo>
                    <a:pt x="13540" y="6222"/>
                  </a:lnTo>
                  <a:lnTo>
                    <a:pt x="13540" y="6222"/>
                  </a:lnTo>
                  <a:cubicBezTo>
                    <a:pt x="13598" y="5954"/>
                    <a:pt x="13598" y="5687"/>
                    <a:pt x="13540" y="5419"/>
                  </a:cubicBezTo>
                  <a:cubicBezTo>
                    <a:pt x="13603" y="4923"/>
                    <a:pt x="13603" y="4441"/>
                    <a:pt x="13540" y="3945"/>
                  </a:cubicBezTo>
                  <a:lnTo>
                    <a:pt x="13540" y="3945"/>
                  </a:lnTo>
                  <a:cubicBezTo>
                    <a:pt x="13610" y="3637"/>
                    <a:pt x="13610" y="3315"/>
                    <a:pt x="13540" y="3007"/>
                  </a:cubicBezTo>
                  <a:cubicBezTo>
                    <a:pt x="13369" y="2579"/>
                    <a:pt x="13144" y="2177"/>
                    <a:pt x="12870" y="1802"/>
                  </a:cubicBezTo>
                  <a:lnTo>
                    <a:pt x="11798" y="864"/>
                  </a:lnTo>
                  <a:lnTo>
                    <a:pt x="10727" y="60"/>
                  </a:lnTo>
                  <a:lnTo>
                    <a:pt x="9387" y="60"/>
                  </a:lnTo>
                  <a:cubicBezTo>
                    <a:pt x="8674" y="-20"/>
                    <a:pt x="7956" y="-20"/>
                    <a:pt x="7243" y="60"/>
                  </a:cubicBezTo>
                  <a:cubicBezTo>
                    <a:pt x="3227" y="127"/>
                    <a:pt x="8" y="3409"/>
                    <a:pt x="8" y="7428"/>
                  </a:cubicBezTo>
                  <a:lnTo>
                    <a:pt x="8" y="213185"/>
                  </a:lnTo>
                  <a:cubicBezTo>
                    <a:pt x="-170" y="209475"/>
                    <a:pt x="2495" y="206233"/>
                    <a:pt x="6171" y="205684"/>
                  </a:cubicBezTo>
                  <a:close/>
                </a:path>
              </a:pathLst>
            </a:custGeom>
            <a:solidFill>
              <a:srgbClr val="000000"/>
            </a:solidFill>
            <a:ln w="12700" cap="flat">
              <a:noFill/>
              <a:prstDash val="solid"/>
              <a:miter/>
            </a:ln>
          </p:spPr>
          <p:txBody>
            <a:bodyPr rtlCol="0" anchor="ctr"/>
            <a:lstStyle/>
            <a:p>
              <a:endParaRPr lang="en-US"/>
            </a:p>
          </p:txBody>
        </p:sp>
        <p:sp>
          <p:nvSpPr>
            <p:cNvPr id="1783" name="Freeform: Shape 1782">
              <a:extLst>
                <a:ext uri="{FF2B5EF4-FFF2-40B4-BE49-F238E27FC236}">
                  <a16:creationId xmlns:a16="http://schemas.microsoft.com/office/drawing/2014/main" id="{A133DB2C-E604-44D7-8A23-191A363DD8F0}"/>
                </a:ext>
              </a:extLst>
            </p:cNvPr>
            <p:cNvSpPr/>
            <p:nvPr/>
          </p:nvSpPr>
          <p:spPr>
            <a:xfrm>
              <a:off x="708071" y="6478098"/>
              <a:ext cx="2813" cy="150"/>
            </a:xfrm>
            <a:custGeom>
              <a:avLst/>
              <a:gdLst>
                <a:gd name="connsiteX0" fmla="*/ 0 w 2813"/>
                <a:gd name="connsiteY0" fmla="*/ 0 h 150"/>
                <a:gd name="connsiteX1" fmla="*/ 2814 w 2813"/>
                <a:gd name="connsiteY1" fmla="*/ 0 h 150"/>
                <a:gd name="connsiteX2" fmla="*/ 0 w 2813"/>
                <a:gd name="connsiteY2" fmla="*/ 0 h 150"/>
              </a:gdLst>
              <a:ahLst/>
              <a:cxnLst>
                <a:cxn ang="0">
                  <a:pos x="connsiteX0" y="connsiteY0"/>
                </a:cxn>
                <a:cxn ang="0">
                  <a:pos x="connsiteX1" y="connsiteY1"/>
                </a:cxn>
                <a:cxn ang="0">
                  <a:pos x="connsiteX2" y="connsiteY2"/>
                </a:cxn>
              </a:cxnLst>
              <a:rect l="l" t="t" r="r" b="b"/>
              <a:pathLst>
                <a:path w="2813" h="150">
                  <a:moveTo>
                    <a:pt x="0" y="0"/>
                  </a:moveTo>
                  <a:lnTo>
                    <a:pt x="2814" y="0"/>
                  </a:lnTo>
                  <a:cubicBezTo>
                    <a:pt x="1886" y="201"/>
                    <a:pt x="927" y="201"/>
                    <a:pt x="0" y="0"/>
                  </a:cubicBezTo>
                  <a:close/>
                </a:path>
              </a:pathLst>
            </a:custGeom>
            <a:solidFill>
              <a:srgbClr val="000000"/>
            </a:solidFill>
            <a:ln w="12700" cap="flat">
              <a:noFill/>
              <a:prstDash val="solid"/>
              <a:miter/>
            </a:ln>
          </p:spPr>
          <p:txBody>
            <a:bodyPr rtlCol="0" anchor="ctr"/>
            <a:lstStyle/>
            <a:p>
              <a:endParaRPr lang="en-US"/>
            </a:p>
          </p:txBody>
        </p:sp>
        <p:sp>
          <p:nvSpPr>
            <p:cNvPr id="1784" name="Freeform: Shape 1783">
              <a:extLst>
                <a:ext uri="{FF2B5EF4-FFF2-40B4-BE49-F238E27FC236}">
                  <a16:creationId xmlns:a16="http://schemas.microsoft.com/office/drawing/2014/main" id="{312A58FC-3D07-4EBF-AF62-BE9D5A2F681E}"/>
                </a:ext>
              </a:extLst>
            </p:cNvPr>
            <p:cNvSpPr/>
            <p:nvPr/>
          </p:nvSpPr>
          <p:spPr>
            <a:xfrm>
              <a:off x="704989" y="6463497"/>
              <a:ext cx="5895" cy="1607"/>
            </a:xfrm>
            <a:custGeom>
              <a:avLst/>
              <a:gdLst>
                <a:gd name="connsiteX0" fmla="*/ 0 w 5895"/>
                <a:gd name="connsiteY0" fmla="*/ 0 h 1607"/>
                <a:gd name="connsiteX1" fmla="*/ 1608 w 5895"/>
                <a:gd name="connsiteY1" fmla="*/ 1607 h 1607"/>
                <a:gd name="connsiteX2" fmla="*/ 5895 w 5895"/>
                <a:gd name="connsiteY2" fmla="*/ 0 h 1607"/>
                <a:gd name="connsiteX3" fmla="*/ 0 w 5895"/>
                <a:gd name="connsiteY3" fmla="*/ 0 h 1607"/>
              </a:gdLst>
              <a:ahLst/>
              <a:cxnLst>
                <a:cxn ang="0">
                  <a:pos x="connsiteX0" y="connsiteY0"/>
                </a:cxn>
                <a:cxn ang="0">
                  <a:pos x="connsiteX1" y="connsiteY1"/>
                </a:cxn>
                <a:cxn ang="0">
                  <a:pos x="connsiteX2" y="connsiteY2"/>
                </a:cxn>
                <a:cxn ang="0">
                  <a:pos x="connsiteX3" y="connsiteY3"/>
                </a:cxn>
              </a:cxnLst>
              <a:rect l="l" t="t" r="r" b="b"/>
              <a:pathLst>
                <a:path w="5895" h="1607">
                  <a:moveTo>
                    <a:pt x="0" y="0"/>
                  </a:moveTo>
                  <a:cubicBezTo>
                    <a:pt x="602" y="469"/>
                    <a:pt x="1142" y="1005"/>
                    <a:pt x="1608" y="1607"/>
                  </a:cubicBezTo>
                  <a:cubicBezTo>
                    <a:pt x="2820" y="616"/>
                    <a:pt x="4328" y="54"/>
                    <a:pt x="5895" y="0"/>
                  </a:cubicBezTo>
                  <a:lnTo>
                    <a:pt x="0" y="0"/>
                  </a:lnTo>
                  <a:close/>
                </a:path>
              </a:pathLst>
            </a:custGeom>
            <a:solidFill>
              <a:srgbClr val="000000"/>
            </a:solidFill>
            <a:ln w="12700" cap="flat">
              <a:noFill/>
              <a:prstDash val="solid"/>
              <a:miter/>
            </a:ln>
          </p:spPr>
          <p:txBody>
            <a:bodyPr rtlCol="0" anchor="ctr"/>
            <a:lstStyle/>
            <a:p>
              <a:endParaRPr lang="en-US"/>
            </a:p>
          </p:txBody>
        </p:sp>
        <p:sp>
          <p:nvSpPr>
            <p:cNvPr id="1785" name="Freeform: Shape 1784">
              <a:extLst>
                <a:ext uri="{FF2B5EF4-FFF2-40B4-BE49-F238E27FC236}">
                  <a16:creationId xmlns:a16="http://schemas.microsoft.com/office/drawing/2014/main" id="{7F4773CB-613D-48BA-8168-F7B3CB095580}"/>
                </a:ext>
              </a:extLst>
            </p:cNvPr>
            <p:cNvSpPr/>
            <p:nvPr/>
          </p:nvSpPr>
          <p:spPr>
            <a:xfrm>
              <a:off x="706597" y="6463497"/>
              <a:ext cx="265945" cy="14082"/>
            </a:xfrm>
            <a:custGeom>
              <a:avLst/>
              <a:gdLst>
                <a:gd name="connsiteX0" fmla="*/ 260184 w 265945"/>
                <a:gd name="connsiteY0" fmla="*/ 7635 h 14082"/>
                <a:gd name="connsiteX1" fmla="*/ 260184 w 265945"/>
                <a:gd name="connsiteY1" fmla="*/ 0 h 14082"/>
                <a:gd name="connsiteX2" fmla="*/ 4287 w 265945"/>
                <a:gd name="connsiteY2" fmla="*/ 0 h 14082"/>
                <a:gd name="connsiteX3" fmla="*/ 0 w 265945"/>
                <a:gd name="connsiteY3" fmla="*/ 1607 h 14082"/>
                <a:gd name="connsiteX4" fmla="*/ 1474 w 265945"/>
                <a:gd name="connsiteY4" fmla="*/ 5760 h 14082"/>
                <a:gd name="connsiteX5" fmla="*/ 1474 w 265945"/>
                <a:gd name="connsiteY5" fmla="*/ 13931 h 14082"/>
                <a:gd name="connsiteX6" fmla="*/ 4287 w 265945"/>
                <a:gd name="connsiteY6" fmla="*/ 13931 h 14082"/>
                <a:gd name="connsiteX7" fmla="*/ 265945 w 265945"/>
                <a:gd name="connsiteY7" fmla="*/ 13931 h 14082"/>
                <a:gd name="connsiteX8" fmla="*/ 260184 w 265945"/>
                <a:gd name="connsiteY8" fmla="*/ 7635 h 1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45" h="14082">
                  <a:moveTo>
                    <a:pt x="260184" y="7635"/>
                  </a:moveTo>
                  <a:lnTo>
                    <a:pt x="260184" y="0"/>
                  </a:lnTo>
                  <a:lnTo>
                    <a:pt x="4287" y="0"/>
                  </a:lnTo>
                  <a:cubicBezTo>
                    <a:pt x="2720" y="54"/>
                    <a:pt x="1212" y="616"/>
                    <a:pt x="0" y="1607"/>
                  </a:cubicBezTo>
                  <a:cubicBezTo>
                    <a:pt x="882" y="2826"/>
                    <a:pt x="1393" y="4260"/>
                    <a:pt x="1474" y="5760"/>
                  </a:cubicBezTo>
                  <a:lnTo>
                    <a:pt x="1474" y="13931"/>
                  </a:lnTo>
                  <a:cubicBezTo>
                    <a:pt x="2401" y="14132"/>
                    <a:pt x="3360" y="14132"/>
                    <a:pt x="4287" y="13931"/>
                  </a:cubicBezTo>
                  <a:lnTo>
                    <a:pt x="265945" y="13931"/>
                  </a:lnTo>
                  <a:cubicBezTo>
                    <a:pt x="262860" y="13315"/>
                    <a:pt x="260530" y="10770"/>
                    <a:pt x="260184" y="7635"/>
                  </a:cubicBezTo>
                  <a:close/>
                </a:path>
              </a:pathLst>
            </a:custGeom>
            <a:solidFill>
              <a:srgbClr val="000000"/>
            </a:solidFill>
            <a:ln w="12700" cap="flat">
              <a:noFill/>
              <a:prstDash val="solid"/>
              <a:miter/>
            </a:ln>
          </p:spPr>
          <p:txBody>
            <a:bodyPr rtlCol="0" anchor="ctr"/>
            <a:lstStyle/>
            <a:p>
              <a:endParaRPr lang="en-US"/>
            </a:p>
          </p:txBody>
        </p:sp>
        <p:sp>
          <p:nvSpPr>
            <p:cNvPr id="1786" name="Freeform: Shape 1785">
              <a:extLst>
                <a:ext uri="{FF2B5EF4-FFF2-40B4-BE49-F238E27FC236}">
                  <a16:creationId xmlns:a16="http://schemas.microsoft.com/office/drawing/2014/main" id="{8CE31A5E-C85E-4851-9DC2-DC8D87B70A6B}"/>
                </a:ext>
              </a:extLst>
            </p:cNvPr>
            <p:cNvSpPr/>
            <p:nvPr/>
          </p:nvSpPr>
          <p:spPr>
            <a:xfrm>
              <a:off x="693467" y="5990898"/>
              <a:ext cx="14201" cy="142128"/>
            </a:xfrm>
            <a:custGeom>
              <a:avLst/>
              <a:gdLst>
                <a:gd name="connsiteX0" fmla="*/ 7235 w 14201"/>
                <a:gd name="connsiteY0" fmla="*/ 7234 h 142128"/>
                <a:gd name="connsiteX1" fmla="*/ 0 w 14201"/>
                <a:gd name="connsiteY1" fmla="*/ 0 h 142128"/>
                <a:gd name="connsiteX2" fmla="*/ 0 w 14201"/>
                <a:gd name="connsiteY2" fmla="*/ 142128 h 142128"/>
                <a:gd name="connsiteX3" fmla="*/ 804 w 14201"/>
                <a:gd name="connsiteY3" fmla="*/ 142128 h 142128"/>
                <a:gd name="connsiteX4" fmla="*/ 14202 w 14201"/>
                <a:gd name="connsiteY4" fmla="*/ 142128 h 142128"/>
                <a:gd name="connsiteX5" fmla="*/ 14202 w 14201"/>
                <a:gd name="connsiteY5" fmla="*/ 0 h 142128"/>
                <a:gd name="connsiteX6" fmla="*/ 7235 w 14201"/>
                <a:gd name="connsiteY6" fmla="*/ 7234 h 1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1" h="142128">
                  <a:moveTo>
                    <a:pt x="7235" y="7234"/>
                  </a:moveTo>
                  <a:cubicBezTo>
                    <a:pt x="3240" y="7234"/>
                    <a:pt x="0" y="3995"/>
                    <a:pt x="0" y="0"/>
                  </a:cubicBezTo>
                  <a:lnTo>
                    <a:pt x="0" y="142128"/>
                  </a:lnTo>
                  <a:lnTo>
                    <a:pt x="804" y="142128"/>
                  </a:lnTo>
                  <a:lnTo>
                    <a:pt x="14202" y="142128"/>
                  </a:lnTo>
                  <a:lnTo>
                    <a:pt x="14202" y="0"/>
                  </a:lnTo>
                  <a:cubicBezTo>
                    <a:pt x="14137" y="3865"/>
                    <a:pt x="11096" y="7023"/>
                    <a:pt x="7235" y="7234"/>
                  </a:cubicBezTo>
                  <a:close/>
                </a:path>
              </a:pathLst>
            </a:custGeom>
            <a:solidFill>
              <a:srgbClr val="000000"/>
            </a:solidFill>
            <a:ln w="12700" cap="flat">
              <a:noFill/>
              <a:prstDash val="solid"/>
              <a:miter/>
            </a:ln>
          </p:spPr>
          <p:txBody>
            <a:bodyPr rtlCol="0" anchor="ctr"/>
            <a:lstStyle/>
            <a:p>
              <a:endParaRPr lang="en-US"/>
            </a:p>
          </p:txBody>
        </p:sp>
        <p:sp>
          <p:nvSpPr>
            <p:cNvPr id="1787" name="Freeform: Shape 1786">
              <a:extLst>
                <a:ext uri="{FF2B5EF4-FFF2-40B4-BE49-F238E27FC236}">
                  <a16:creationId xmlns:a16="http://schemas.microsoft.com/office/drawing/2014/main" id="{DEE087CA-C310-4238-B807-254AC5F1831E}"/>
                </a:ext>
              </a:extLst>
            </p:cNvPr>
            <p:cNvSpPr/>
            <p:nvPr/>
          </p:nvSpPr>
          <p:spPr>
            <a:xfrm>
              <a:off x="700702" y="4945232"/>
              <a:ext cx="179127" cy="14467"/>
            </a:xfrm>
            <a:custGeom>
              <a:avLst/>
              <a:gdLst>
                <a:gd name="connsiteX0" fmla="*/ 7369 w 179127"/>
                <a:gd name="connsiteY0" fmla="*/ 7234 h 14467"/>
                <a:gd name="connsiteX1" fmla="*/ 7369 w 179127"/>
                <a:gd name="connsiteY1" fmla="*/ 14467 h 14467"/>
                <a:gd name="connsiteX2" fmla="*/ 179128 w 179127"/>
                <a:gd name="connsiteY2" fmla="*/ 14467 h 14467"/>
                <a:gd name="connsiteX3" fmla="*/ 171893 w 179127"/>
                <a:gd name="connsiteY3" fmla="*/ 7234 h 14467"/>
                <a:gd name="connsiteX4" fmla="*/ 179128 w 179127"/>
                <a:gd name="connsiteY4" fmla="*/ 0 h 14467"/>
                <a:gd name="connsiteX5" fmla="*/ 0 w 179127"/>
                <a:gd name="connsiteY5" fmla="*/ 0 h 14467"/>
                <a:gd name="connsiteX6" fmla="*/ 7369 w 179127"/>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27" h="14467">
                  <a:moveTo>
                    <a:pt x="7369" y="7234"/>
                  </a:moveTo>
                  <a:lnTo>
                    <a:pt x="7369" y="14467"/>
                  </a:lnTo>
                  <a:lnTo>
                    <a:pt x="179128" y="14467"/>
                  </a:lnTo>
                  <a:cubicBezTo>
                    <a:pt x="175133" y="14467"/>
                    <a:pt x="171893" y="11228"/>
                    <a:pt x="171893" y="7234"/>
                  </a:cubicBezTo>
                  <a:cubicBezTo>
                    <a:pt x="171893" y="3239"/>
                    <a:pt x="175133" y="0"/>
                    <a:pt x="179128" y="0"/>
                  </a:cubicBezTo>
                  <a:lnTo>
                    <a:pt x="0" y="0"/>
                  </a:lnTo>
                  <a:cubicBezTo>
                    <a:pt x="4018" y="0"/>
                    <a:pt x="7295" y="3218"/>
                    <a:pt x="7369" y="7234"/>
                  </a:cubicBezTo>
                  <a:close/>
                </a:path>
              </a:pathLst>
            </a:custGeom>
            <a:solidFill>
              <a:srgbClr val="000000"/>
            </a:solidFill>
            <a:ln w="12700" cap="flat">
              <a:noFill/>
              <a:prstDash val="solid"/>
              <a:miter/>
            </a:ln>
          </p:spPr>
          <p:txBody>
            <a:bodyPr rtlCol="0" anchor="ctr"/>
            <a:lstStyle/>
            <a:p>
              <a:endParaRPr lang="en-US"/>
            </a:p>
          </p:txBody>
        </p:sp>
        <p:sp>
          <p:nvSpPr>
            <p:cNvPr id="1788" name="Freeform: Shape 1787">
              <a:extLst>
                <a:ext uri="{FF2B5EF4-FFF2-40B4-BE49-F238E27FC236}">
                  <a16:creationId xmlns:a16="http://schemas.microsoft.com/office/drawing/2014/main" id="{243D5713-7D83-436B-AD09-CFC366581976}"/>
                </a:ext>
              </a:extLst>
            </p:cNvPr>
            <p:cNvSpPr/>
            <p:nvPr/>
          </p:nvSpPr>
          <p:spPr>
            <a:xfrm>
              <a:off x="872595" y="4945885"/>
              <a:ext cx="112904" cy="14618"/>
            </a:xfrm>
            <a:custGeom>
              <a:avLst/>
              <a:gdLst>
                <a:gd name="connsiteX0" fmla="*/ 104637 w 112904"/>
                <a:gd name="connsiteY0" fmla="*/ 13814 h 14618"/>
                <a:gd name="connsiteX1" fmla="*/ 105440 w 112904"/>
                <a:gd name="connsiteY1" fmla="*/ 13814 h 14618"/>
                <a:gd name="connsiteX2" fmla="*/ 106780 w 112904"/>
                <a:gd name="connsiteY2" fmla="*/ 13814 h 14618"/>
                <a:gd name="connsiteX3" fmla="*/ 112809 w 112904"/>
                <a:gd name="connsiteY3" fmla="*/ 6849 h 14618"/>
                <a:gd name="connsiteX4" fmla="*/ 112809 w 112904"/>
                <a:gd name="connsiteY4" fmla="*/ 4035 h 14618"/>
                <a:gd name="connsiteX5" fmla="*/ 111201 w 112904"/>
                <a:gd name="connsiteY5" fmla="*/ 1758 h 14618"/>
                <a:gd name="connsiteX6" fmla="*/ 109996 w 112904"/>
                <a:gd name="connsiteY6" fmla="*/ 954 h 14618"/>
                <a:gd name="connsiteX7" fmla="*/ 108790 w 112904"/>
                <a:gd name="connsiteY7" fmla="*/ 151 h 14618"/>
                <a:gd name="connsiteX8" fmla="*/ 106110 w 112904"/>
                <a:gd name="connsiteY8" fmla="*/ 151 h 14618"/>
                <a:gd name="connsiteX9" fmla="*/ 7235 w 112904"/>
                <a:gd name="connsiteY9" fmla="*/ 151 h 14618"/>
                <a:gd name="connsiteX10" fmla="*/ 0 w 112904"/>
                <a:gd name="connsiteY10" fmla="*/ 7384 h 14618"/>
                <a:gd name="connsiteX11" fmla="*/ 7235 w 112904"/>
                <a:gd name="connsiteY11" fmla="*/ 14618 h 14618"/>
                <a:gd name="connsiteX12" fmla="*/ 104637 w 112904"/>
                <a:gd name="connsiteY12" fmla="*/ 14618 h 1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904" h="14618">
                  <a:moveTo>
                    <a:pt x="104637" y="13814"/>
                  </a:moveTo>
                  <a:lnTo>
                    <a:pt x="105440" y="13814"/>
                  </a:lnTo>
                  <a:lnTo>
                    <a:pt x="106780" y="13814"/>
                  </a:lnTo>
                  <a:cubicBezTo>
                    <a:pt x="110229" y="13288"/>
                    <a:pt x="112784" y="10335"/>
                    <a:pt x="112809" y="6849"/>
                  </a:cubicBezTo>
                  <a:cubicBezTo>
                    <a:pt x="112936" y="5915"/>
                    <a:pt x="112936" y="4969"/>
                    <a:pt x="112809" y="4035"/>
                  </a:cubicBezTo>
                  <a:cubicBezTo>
                    <a:pt x="112433" y="3175"/>
                    <a:pt x="111885" y="2401"/>
                    <a:pt x="111201" y="1758"/>
                  </a:cubicBezTo>
                  <a:lnTo>
                    <a:pt x="109996" y="954"/>
                  </a:lnTo>
                  <a:cubicBezTo>
                    <a:pt x="109996" y="954"/>
                    <a:pt x="109996" y="285"/>
                    <a:pt x="108790" y="151"/>
                  </a:cubicBezTo>
                  <a:cubicBezTo>
                    <a:pt x="107908" y="-50"/>
                    <a:pt x="106992" y="-50"/>
                    <a:pt x="106110" y="151"/>
                  </a:cubicBezTo>
                  <a:lnTo>
                    <a:pt x="7235" y="151"/>
                  </a:lnTo>
                  <a:cubicBezTo>
                    <a:pt x="3240" y="151"/>
                    <a:pt x="0" y="3390"/>
                    <a:pt x="0" y="7384"/>
                  </a:cubicBezTo>
                  <a:cubicBezTo>
                    <a:pt x="0" y="11379"/>
                    <a:pt x="3240" y="14618"/>
                    <a:pt x="7235" y="14618"/>
                  </a:cubicBezTo>
                  <a:lnTo>
                    <a:pt x="104637" y="14618"/>
                  </a:lnTo>
                  <a:close/>
                </a:path>
              </a:pathLst>
            </a:custGeom>
            <a:solidFill>
              <a:srgbClr val="000000"/>
            </a:solidFill>
            <a:ln w="12700" cap="flat">
              <a:noFill/>
              <a:prstDash val="solid"/>
              <a:miter/>
            </a:ln>
          </p:spPr>
          <p:txBody>
            <a:bodyPr rtlCol="0" anchor="ctr"/>
            <a:lstStyle/>
            <a:p>
              <a:endParaRPr lang="en-US"/>
            </a:p>
          </p:txBody>
        </p:sp>
        <p:sp>
          <p:nvSpPr>
            <p:cNvPr id="1789" name="Freeform: Shape 1788">
              <a:extLst>
                <a:ext uri="{FF2B5EF4-FFF2-40B4-BE49-F238E27FC236}">
                  <a16:creationId xmlns:a16="http://schemas.microsoft.com/office/drawing/2014/main" id="{AC289D44-91B6-4AFC-ABA4-991ADC6A8D12}"/>
                </a:ext>
              </a:extLst>
            </p:cNvPr>
            <p:cNvSpPr/>
            <p:nvPr/>
          </p:nvSpPr>
          <p:spPr>
            <a:xfrm>
              <a:off x="1006171" y="6128203"/>
              <a:ext cx="140676" cy="4554"/>
            </a:xfrm>
            <a:custGeom>
              <a:avLst/>
              <a:gdLst>
                <a:gd name="connsiteX0" fmla="*/ 0 w 140676"/>
                <a:gd name="connsiteY0" fmla="*/ 4555 h 4554"/>
                <a:gd name="connsiteX1" fmla="*/ 133978 w 140676"/>
                <a:gd name="connsiteY1" fmla="*/ 4555 h 4554"/>
                <a:gd name="connsiteX2" fmla="*/ 140676 w 140676"/>
                <a:gd name="connsiteY2" fmla="*/ 0 h 4554"/>
                <a:gd name="connsiteX3" fmla="*/ 0 w 140676"/>
                <a:gd name="connsiteY3" fmla="*/ 0 h 4554"/>
                <a:gd name="connsiteX4" fmla="*/ 0 w 140676"/>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76" h="4554">
                  <a:moveTo>
                    <a:pt x="0" y="4555"/>
                  </a:moveTo>
                  <a:lnTo>
                    <a:pt x="133978" y="4555"/>
                  </a:lnTo>
                  <a:cubicBezTo>
                    <a:pt x="135040" y="1782"/>
                    <a:pt x="137712" y="-26"/>
                    <a:pt x="140676" y="0"/>
                  </a:cubicBezTo>
                  <a:lnTo>
                    <a:pt x="0" y="0"/>
                  </a:lnTo>
                  <a:lnTo>
                    <a:pt x="0" y="4555"/>
                  </a:lnTo>
                  <a:close/>
                </a:path>
              </a:pathLst>
            </a:custGeom>
            <a:solidFill>
              <a:srgbClr val="000000"/>
            </a:solidFill>
            <a:ln w="12700" cap="flat">
              <a:noFill/>
              <a:prstDash val="solid"/>
              <a:miter/>
            </a:ln>
          </p:spPr>
          <p:txBody>
            <a:bodyPr rtlCol="0" anchor="ctr"/>
            <a:lstStyle/>
            <a:p>
              <a:endParaRPr lang="en-US"/>
            </a:p>
          </p:txBody>
        </p:sp>
        <p:sp>
          <p:nvSpPr>
            <p:cNvPr id="1790" name="Freeform: Shape 1789">
              <a:extLst>
                <a:ext uri="{FF2B5EF4-FFF2-40B4-BE49-F238E27FC236}">
                  <a16:creationId xmlns:a16="http://schemas.microsoft.com/office/drawing/2014/main" id="{F514540E-0894-4161-9D57-4897695127EC}"/>
                </a:ext>
              </a:extLst>
            </p:cNvPr>
            <p:cNvSpPr/>
            <p:nvPr/>
          </p:nvSpPr>
          <p:spPr>
            <a:xfrm>
              <a:off x="1208879" y="6122577"/>
              <a:ext cx="13712" cy="10180"/>
            </a:xfrm>
            <a:custGeom>
              <a:avLst/>
              <a:gdLst>
                <a:gd name="connsiteX0" fmla="*/ 6833 w 13712"/>
                <a:gd name="connsiteY0" fmla="*/ 5626 h 10180"/>
                <a:gd name="connsiteX1" fmla="*/ 13666 w 13712"/>
                <a:gd name="connsiteY1" fmla="*/ 10181 h 10180"/>
                <a:gd name="connsiteX2" fmla="*/ 13666 w 13712"/>
                <a:gd name="connsiteY2" fmla="*/ 10181 h 10180"/>
                <a:gd name="connsiteX3" fmla="*/ 13666 w 13712"/>
                <a:gd name="connsiteY3" fmla="*/ 6430 h 10180"/>
                <a:gd name="connsiteX4" fmla="*/ 13666 w 13712"/>
                <a:gd name="connsiteY4" fmla="*/ 6430 h 10180"/>
                <a:gd name="connsiteX5" fmla="*/ 13666 w 13712"/>
                <a:gd name="connsiteY5" fmla="*/ 4956 h 10180"/>
                <a:gd name="connsiteX6" fmla="*/ 13666 w 13712"/>
                <a:gd name="connsiteY6" fmla="*/ 4153 h 10180"/>
                <a:gd name="connsiteX7" fmla="*/ 13666 w 13712"/>
                <a:gd name="connsiteY7" fmla="*/ 4153 h 10180"/>
                <a:gd name="connsiteX8" fmla="*/ 12862 w 13712"/>
                <a:gd name="connsiteY8" fmla="*/ 3081 h 10180"/>
                <a:gd name="connsiteX9" fmla="*/ 11924 w 13712"/>
                <a:gd name="connsiteY9" fmla="*/ 2009 h 10180"/>
                <a:gd name="connsiteX10" fmla="*/ 7101 w 13712"/>
                <a:gd name="connsiteY10" fmla="*/ 0 h 10180"/>
                <a:gd name="connsiteX11" fmla="*/ 804 w 13712"/>
                <a:gd name="connsiteY11" fmla="*/ 3885 h 10180"/>
                <a:gd name="connsiteX12" fmla="*/ 0 w 13712"/>
                <a:gd name="connsiteY12" fmla="*/ 6564 h 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12" h="10180">
                  <a:moveTo>
                    <a:pt x="6833" y="5626"/>
                  </a:moveTo>
                  <a:cubicBezTo>
                    <a:pt x="9823" y="5613"/>
                    <a:pt x="12524" y="7421"/>
                    <a:pt x="13666" y="10181"/>
                  </a:cubicBezTo>
                  <a:lnTo>
                    <a:pt x="13666" y="10181"/>
                  </a:lnTo>
                  <a:lnTo>
                    <a:pt x="13666" y="6430"/>
                  </a:lnTo>
                  <a:cubicBezTo>
                    <a:pt x="13666" y="6430"/>
                    <a:pt x="13666" y="6430"/>
                    <a:pt x="13666" y="6430"/>
                  </a:cubicBezTo>
                  <a:cubicBezTo>
                    <a:pt x="13729" y="5934"/>
                    <a:pt x="13729" y="5452"/>
                    <a:pt x="13666" y="4956"/>
                  </a:cubicBezTo>
                  <a:cubicBezTo>
                    <a:pt x="13603" y="4688"/>
                    <a:pt x="13603" y="4421"/>
                    <a:pt x="13666" y="4153"/>
                  </a:cubicBezTo>
                  <a:cubicBezTo>
                    <a:pt x="13666" y="4153"/>
                    <a:pt x="13666" y="4153"/>
                    <a:pt x="13666" y="4153"/>
                  </a:cubicBezTo>
                  <a:cubicBezTo>
                    <a:pt x="13666" y="4153"/>
                    <a:pt x="13666" y="4153"/>
                    <a:pt x="12862" y="3081"/>
                  </a:cubicBezTo>
                  <a:cubicBezTo>
                    <a:pt x="12623" y="2666"/>
                    <a:pt x="12304" y="2304"/>
                    <a:pt x="11924" y="2009"/>
                  </a:cubicBezTo>
                  <a:cubicBezTo>
                    <a:pt x="10646" y="723"/>
                    <a:pt x="8911" y="0"/>
                    <a:pt x="7101" y="0"/>
                  </a:cubicBezTo>
                  <a:cubicBezTo>
                    <a:pt x="4464" y="94"/>
                    <a:pt x="2074" y="1567"/>
                    <a:pt x="804" y="3885"/>
                  </a:cubicBezTo>
                  <a:cubicBezTo>
                    <a:pt x="395" y="4729"/>
                    <a:pt x="125" y="5640"/>
                    <a:pt x="0" y="6564"/>
                  </a:cubicBezTo>
                  <a:close/>
                </a:path>
              </a:pathLst>
            </a:custGeom>
            <a:solidFill>
              <a:srgbClr val="000000"/>
            </a:solidFill>
            <a:ln w="12700" cap="flat">
              <a:noFill/>
              <a:prstDash val="solid"/>
              <a:miter/>
            </a:ln>
          </p:spPr>
          <p:txBody>
            <a:bodyPr rtlCol="0" anchor="ctr"/>
            <a:lstStyle/>
            <a:p>
              <a:endParaRPr lang="en-US"/>
            </a:p>
          </p:txBody>
        </p:sp>
        <p:sp>
          <p:nvSpPr>
            <p:cNvPr id="1791" name="Freeform: Shape 1790">
              <a:extLst>
                <a:ext uri="{FF2B5EF4-FFF2-40B4-BE49-F238E27FC236}">
                  <a16:creationId xmlns:a16="http://schemas.microsoft.com/office/drawing/2014/main" id="{66C70A0C-4B6F-4549-9780-4C43776D0369}"/>
                </a:ext>
              </a:extLst>
            </p:cNvPr>
            <p:cNvSpPr/>
            <p:nvPr/>
          </p:nvSpPr>
          <p:spPr>
            <a:xfrm>
              <a:off x="252949" y="5775094"/>
              <a:ext cx="60825" cy="14467"/>
            </a:xfrm>
            <a:custGeom>
              <a:avLst/>
              <a:gdLst>
                <a:gd name="connsiteX0" fmla="*/ 7235 w 60825"/>
                <a:gd name="connsiteY0" fmla="*/ 14467 h 14467"/>
                <a:gd name="connsiteX1" fmla="*/ 60826 w 60825"/>
                <a:gd name="connsiteY1" fmla="*/ 14467 h 14467"/>
                <a:gd name="connsiteX2" fmla="*/ 53591 w 60825"/>
                <a:gd name="connsiteY2" fmla="*/ 7234 h 14467"/>
                <a:gd name="connsiteX3" fmla="*/ 60826 w 60825"/>
                <a:gd name="connsiteY3" fmla="*/ 0 h 14467"/>
                <a:gd name="connsiteX4" fmla="*/ 7235 w 60825"/>
                <a:gd name="connsiteY4" fmla="*/ 0 h 14467"/>
                <a:gd name="connsiteX5" fmla="*/ 0 w 60825"/>
                <a:gd name="connsiteY5" fmla="*/ 7234 h 14467"/>
                <a:gd name="connsiteX6" fmla="*/ 7235 w 60825"/>
                <a:gd name="connsiteY6"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25" h="14467">
                  <a:moveTo>
                    <a:pt x="7235" y="14467"/>
                  </a:moveTo>
                  <a:lnTo>
                    <a:pt x="60826" y="14467"/>
                  </a:lnTo>
                  <a:cubicBezTo>
                    <a:pt x="56831" y="14467"/>
                    <a:pt x="53591" y="11228"/>
                    <a:pt x="53591" y="7234"/>
                  </a:cubicBezTo>
                  <a:cubicBezTo>
                    <a:pt x="53591" y="3239"/>
                    <a:pt x="56831" y="0"/>
                    <a:pt x="60826" y="0"/>
                  </a:cubicBezTo>
                  <a:lnTo>
                    <a:pt x="7235" y="0"/>
                  </a:lnTo>
                  <a:cubicBezTo>
                    <a:pt x="3240" y="0"/>
                    <a:pt x="0" y="3239"/>
                    <a:pt x="0" y="7234"/>
                  </a:cubicBezTo>
                  <a:cubicBezTo>
                    <a:pt x="0" y="11228"/>
                    <a:pt x="3240" y="14467"/>
                    <a:pt x="7235" y="14467"/>
                  </a:cubicBezTo>
                  <a:close/>
                </a:path>
              </a:pathLst>
            </a:custGeom>
            <a:solidFill>
              <a:srgbClr val="000000"/>
            </a:solidFill>
            <a:ln w="12700" cap="flat">
              <a:noFill/>
              <a:prstDash val="solid"/>
              <a:miter/>
            </a:ln>
          </p:spPr>
          <p:txBody>
            <a:bodyPr rtlCol="0" anchor="ctr"/>
            <a:lstStyle/>
            <a:p>
              <a:endParaRPr lang="en-US"/>
            </a:p>
          </p:txBody>
        </p:sp>
        <p:sp>
          <p:nvSpPr>
            <p:cNvPr id="1792" name="Freeform: Shape 1791">
              <a:extLst>
                <a:ext uri="{FF2B5EF4-FFF2-40B4-BE49-F238E27FC236}">
                  <a16:creationId xmlns:a16="http://schemas.microsoft.com/office/drawing/2014/main" id="{D13ED9C5-601A-4765-804B-5CB97326A763}"/>
                </a:ext>
              </a:extLst>
            </p:cNvPr>
            <p:cNvSpPr/>
            <p:nvPr/>
          </p:nvSpPr>
          <p:spPr>
            <a:xfrm>
              <a:off x="306004" y="5775094"/>
              <a:ext cx="387463" cy="14467"/>
            </a:xfrm>
            <a:custGeom>
              <a:avLst/>
              <a:gdLst>
                <a:gd name="connsiteX0" fmla="*/ 387463 w 387463"/>
                <a:gd name="connsiteY0" fmla="*/ 7234 h 14467"/>
                <a:gd name="connsiteX1" fmla="*/ 387463 w 387463"/>
                <a:gd name="connsiteY1" fmla="*/ 0 h 14467"/>
                <a:gd name="connsiteX2" fmla="*/ 7235 w 387463"/>
                <a:gd name="connsiteY2" fmla="*/ 0 h 14467"/>
                <a:gd name="connsiteX3" fmla="*/ 0 w 387463"/>
                <a:gd name="connsiteY3" fmla="*/ 7234 h 14467"/>
                <a:gd name="connsiteX4" fmla="*/ 7235 w 387463"/>
                <a:gd name="connsiteY4" fmla="*/ 14467 h 14467"/>
                <a:gd name="connsiteX5" fmla="*/ 387463 w 387463"/>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463" h="14467">
                  <a:moveTo>
                    <a:pt x="387463" y="7234"/>
                  </a:moveTo>
                  <a:lnTo>
                    <a:pt x="387463" y="0"/>
                  </a:lnTo>
                  <a:lnTo>
                    <a:pt x="7235" y="0"/>
                  </a:lnTo>
                  <a:cubicBezTo>
                    <a:pt x="3240" y="0"/>
                    <a:pt x="0" y="3239"/>
                    <a:pt x="0" y="7234"/>
                  </a:cubicBezTo>
                  <a:cubicBezTo>
                    <a:pt x="0" y="11228"/>
                    <a:pt x="3240" y="14467"/>
                    <a:pt x="7235" y="14467"/>
                  </a:cubicBezTo>
                  <a:lnTo>
                    <a:pt x="387463" y="14467"/>
                  </a:lnTo>
                  <a:close/>
                </a:path>
              </a:pathLst>
            </a:custGeom>
            <a:solidFill>
              <a:srgbClr val="000000"/>
            </a:solidFill>
            <a:ln w="12700" cap="flat">
              <a:noFill/>
              <a:prstDash val="solid"/>
              <a:miter/>
            </a:ln>
          </p:spPr>
          <p:txBody>
            <a:bodyPr rtlCol="0" anchor="ctr"/>
            <a:lstStyle/>
            <a:p>
              <a:endParaRPr lang="en-US"/>
            </a:p>
          </p:txBody>
        </p:sp>
        <p:sp>
          <p:nvSpPr>
            <p:cNvPr id="1793" name="Freeform: Shape 1792">
              <a:extLst>
                <a:ext uri="{FF2B5EF4-FFF2-40B4-BE49-F238E27FC236}">
                  <a16:creationId xmlns:a16="http://schemas.microsoft.com/office/drawing/2014/main" id="{282CCE84-9AF5-4B7F-ADDF-CFB90856681F}"/>
                </a:ext>
              </a:extLst>
            </p:cNvPr>
            <p:cNvSpPr/>
            <p:nvPr/>
          </p:nvSpPr>
          <p:spPr>
            <a:xfrm>
              <a:off x="992773" y="5775094"/>
              <a:ext cx="153672" cy="14467"/>
            </a:xfrm>
            <a:custGeom>
              <a:avLst/>
              <a:gdLst>
                <a:gd name="connsiteX0" fmla="*/ 0 w 153672"/>
                <a:gd name="connsiteY0" fmla="*/ 14467 h 14467"/>
                <a:gd name="connsiteX1" fmla="*/ 153672 w 153672"/>
                <a:gd name="connsiteY1" fmla="*/ 14467 h 14467"/>
                <a:gd name="connsiteX2" fmla="*/ 146437 w 153672"/>
                <a:gd name="connsiteY2" fmla="*/ 7234 h 14467"/>
                <a:gd name="connsiteX3" fmla="*/ 153672 w 153672"/>
                <a:gd name="connsiteY3" fmla="*/ 0 h 14467"/>
                <a:gd name="connsiteX4" fmla="*/ 0 w 153672"/>
                <a:gd name="connsiteY4" fmla="*/ 0 h 14467"/>
                <a:gd name="connsiteX5" fmla="*/ 0 w 153672"/>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72" h="14467">
                  <a:moveTo>
                    <a:pt x="0" y="14467"/>
                  </a:moveTo>
                  <a:lnTo>
                    <a:pt x="153672" y="14467"/>
                  </a:lnTo>
                  <a:cubicBezTo>
                    <a:pt x="149677" y="14467"/>
                    <a:pt x="146437" y="11228"/>
                    <a:pt x="146437" y="7234"/>
                  </a:cubicBezTo>
                  <a:cubicBezTo>
                    <a:pt x="146437" y="3239"/>
                    <a:pt x="149677" y="0"/>
                    <a:pt x="153672" y="0"/>
                  </a:cubicBezTo>
                  <a:lnTo>
                    <a:pt x="0" y="0"/>
                  </a:lnTo>
                  <a:lnTo>
                    <a:pt x="0" y="14467"/>
                  </a:lnTo>
                  <a:close/>
                </a:path>
              </a:pathLst>
            </a:custGeom>
            <a:solidFill>
              <a:srgbClr val="000000"/>
            </a:solidFill>
            <a:ln w="12700" cap="flat">
              <a:noFill/>
              <a:prstDash val="solid"/>
              <a:miter/>
            </a:ln>
          </p:spPr>
          <p:txBody>
            <a:bodyPr rtlCol="0" anchor="ctr"/>
            <a:lstStyle/>
            <a:p>
              <a:endParaRPr lang="en-US"/>
            </a:p>
          </p:txBody>
        </p:sp>
        <p:sp>
          <p:nvSpPr>
            <p:cNvPr id="1794" name="Freeform: Shape 1793">
              <a:extLst>
                <a:ext uri="{FF2B5EF4-FFF2-40B4-BE49-F238E27FC236}">
                  <a16:creationId xmlns:a16="http://schemas.microsoft.com/office/drawing/2014/main" id="{5665F604-256C-4DA5-9FAB-A1634690660E}"/>
                </a:ext>
              </a:extLst>
            </p:cNvPr>
            <p:cNvSpPr/>
            <p:nvPr/>
          </p:nvSpPr>
          <p:spPr>
            <a:xfrm>
              <a:off x="2323388" y="6539049"/>
              <a:ext cx="14519" cy="8305"/>
            </a:xfrm>
            <a:custGeom>
              <a:avLst/>
              <a:gdLst>
                <a:gd name="connsiteX0" fmla="*/ 14520 w 14519"/>
                <a:gd name="connsiteY0" fmla="*/ 670 h 8305"/>
                <a:gd name="connsiteX1" fmla="*/ 14520 w 14519"/>
                <a:gd name="connsiteY1" fmla="*/ 0 h 8305"/>
                <a:gd name="connsiteX2" fmla="*/ 7285 w 14519"/>
                <a:gd name="connsiteY2" fmla="*/ 7234 h 8305"/>
                <a:gd name="connsiteX3" fmla="*/ 50 w 14519"/>
                <a:gd name="connsiteY3" fmla="*/ 0 h 8305"/>
                <a:gd name="connsiteX4" fmla="*/ 50 w 14519"/>
                <a:gd name="connsiteY4" fmla="*/ 1339 h 8305"/>
                <a:gd name="connsiteX5" fmla="*/ 50 w 14519"/>
                <a:gd name="connsiteY5" fmla="*/ 2545 h 8305"/>
                <a:gd name="connsiteX6" fmla="*/ 5677 w 14519"/>
                <a:gd name="connsiteY6" fmla="*/ 8305 h 8305"/>
                <a:gd name="connsiteX7" fmla="*/ 7017 w 14519"/>
                <a:gd name="connsiteY7" fmla="*/ 8305 h 8305"/>
                <a:gd name="connsiteX8" fmla="*/ 8357 w 14519"/>
                <a:gd name="connsiteY8" fmla="*/ 8305 h 8305"/>
                <a:gd name="connsiteX9" fmla="*/ 12778 w 14519"/>
                <a:gd name="connsiteY9" fmla="*/ 5626 h 8305"/>
                <a:gd name="connsiteX10" fmla="*/ 14252 w 14519"/>
                <a:gd name="connsiteY10" fmla="*/ 1339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19" h="8305">
                  <a:moveTo>
                    <a:pt x="14520" y="670"/>
                  </a:moveTo>
                  <a:lnTo>
                    <a:pt x="14520" y="0"/>
                  </a:lnTo>
                  <a:cubicBezTo>
                    <a:pt x="14520" y="3992"/>
                    <a:pt x="11278" y="7234"/>
                    <a:pt x="7285" y="7234"/>
                  </a:cubicBezTo>
                  <a:cubicBezTo>
                    <a:pt x="3293" y="7234"/>
                    <a:pt x="50" y="3992"/>
                    <a:pt x="50" y="0"/>
                  </a:cubicBezTo>
                  <a:lnTo>
                    <a:pt x="50" y="1339"/>
                  </a:lnTo>
                  <a:cubicBezTo>
                    <a:pt x="-17" y="1742"/>
                    <a:pt x="-17" y="2143"/>
                    <a:pt x="50" y="2545"/>
                  </a:cubicBezTo>
                  <a:cubicBezTo>
                    <a:pt x="519" y="5465"/>
                    <a:pt x="2770" y="7770"/>
                    <a:pt x="5677" y="8305"/>
                  </a:cubicBezTo>
                  <a:lnTo>
                    <a:pt x="7017" y="8305"/>
                  </a:lnTo>
                  <a:lnTo>
                    <a:pt x="8357" y="8305"/>
                  </a:lnTo>
                  <a:cubicBezTo>
                    <a:pt x="10125" y="8037"/>
                    <a:pt x="11720" y="7073"/>
                    <a:pt x="12778" y="5626"/>
                  </a:cubicBezTo>
                  <a:cubicBezTo>
                    <a:pt x="13729" y="4407"/>
                    <a:pt x="14252" y="2894"/>
                    <a:pt x="14252" y="1339"/>
                  </a:cubicBezTo>
                  <a:close/>
                </a:path>
              </a:pathLst>
            </a:custGeom>
            <a:solidFill>
              <a:srgbClr val="000000"/>
            </a:solidFill>
            <a:ln w="12700" cap="flat">
              <a:noFill/>
              <a:prstDash val="solid"/>
              <a:miter/>
            </a:ln>
          </p:spPr>
          <p:txBody>
            <a:bodyPr rtlCol="0" anchor="ctr"/>
            <a:lstStyle/>
            <a:p>
              <a:endParaRPr lang="en-US"/>
            </a:p>
          </p:txBody>
        </p:sp>
        <p:sp>
          <p:nvSpPr>
            <p:cNvPr id="1795" name="Freeform: Shape 1794">
              <a:extLst>
                <a:ext uri="{FF2B5EF4-FFF2-40B4-BE49-F238E27FC236}">
                  <a16:creationId xmlns:a16="http://schemas.microsoft.com/office/drawing/2014/main" id="{922A513B-4BCD-4748-954A-1C1E90D398BC}"/>
                </a:ext>
              </a:extLst>
            </p:cNvPr>
            <p:cNvSpPr/>
            <p:nvPr/>
          </p:nvSpPr>
          <p:spPr>
            <a:xfrm>
              <a:off x="4195706" y="5943343"/>
              <a:ext cx="14742" cy="11654"/>
            </a:xfrm>
            <a:custGeom>
              <a:avLst/>
              <a:gdLst>
                <a:gd name="connsiteX0" fmla="*/ 68 w 14742"/>
                <a:gd name="connsiteY0" fmla="*/ 10315 h 11654"/>
                <a:gd name="connsiteX1" fmla="*/ 68 w 14742"/>
                <a:gd name="connsiteY1" fmla="*/ 11654 h 11654"/>
                <a:gd name="connsiteX2" fmla="*/ 6378 w 14742"/>
                <a:gd name="connsiteY2" fmla="*/ 3362 h 11654"/>
                <a:gd name="connsiteX3" fmla="*/ 14672 w 14742"/>
                <a:gd name="connsiteY3" fmla="*/ 9672 h 11654"/>
                <a:gd name="connsiteX4" fmla="*/ 14672 w 14742"/>
                <a:gd name="connsiteY4" fmla="*/ 11654 h 11654"/>
                <a:gd name="connsiteX5" fmla="*/ 14672 w 14742"/>
                <a:gd name="connsiteY5" fmla="*/ 6966 h 11654"/>
                <a:gd name="connsiteX6" fmla="*/ 14672 w 14742"/>
                <a:gd name="connsiteY6" fmla="*/ 5760 h 11654"/>
                <a:gd name="connsiteX7" fmla="*/ 8910 w 14742"/>
                <a:gd name="connsiteY7" fmla="*/ 0 h 11654"/>
                <a:gd name="connsiteX8" fmla="*/ 7571 w 14742"/>
                <a:gd name="connsiteY8" fmla="*/ 0 h 11654"/>
                <a:gd name="connsiteX9" fmla="*/ 6365 w 14742"/>
                <a:gd name="connsiteY9" fmla="*/ 0 h 11654"/>
                <a:gd name="connsiteX10" fmla="*/ 336 w 14742"/>
                <a:gd name="connsiteY10" fmla="*/ 6966 h 11654"/>
                <a:gd name="connsiteX11" fmla="*/ 336 w 14742"/>
                <a:gd name="connsiteY11" fmla="*/ 6966 h 11654"/>
                <a:gd name="connsiteX12" fmla="*/ 336 w 14742"/>
                <a:gd name="connsiteY12" fmla="*/ 10315 h 1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42" h="11654">
                  <a:moveTo>
                    <a:pt x="68" y="10315"/>
                  </a:moveTo>
                  <a:lnTo>
                    <a:pt x="68" y="11654"/>
                  </a:lnTo>
                  <a:cubicBezTo>
                    <a:pt x="-481" y="7622"/>
                    <a:pt x="2346" y="3910"/>
                    <a:pt x="6378" y="3362"/>
                  </a:cubicBezTo>
                  <a:cubicBezTo>
                    <a:pt x="10411" y="2814"/>
                    <a:pt x="14122" y="5640"/>
                    <a:pt x="14672" y="9672"/>
                  </a:cubicBezTo>
                  <a:cubicBezTo>
                    <a:pt x="14765" y="10329"/>
                    <a:pt x="14765" y="10997"/>
                    <a:pt x="14672" y="11654"/>
                  </a:cubicBezTo>
                  <a:lnTo>
                    <a:pt x="14672" y="6966"/>
                  </a:lnTo>
                  <a:cubicBezTo>
                    <a:pt x="14739" y="6567"/>
                    <a:pt x="14739" y="6159"/>
                    <a:pt x="14672" y="5760"/>
                  </a:cubicBezTo>
                  <a:cubicBezTo>
                    <a:pt x="14149" y="2820"/>
                    <a:pt x="11845" y="518"/>
                    <a:pt x="8910" y="0"/>
                  </a:cubicBezTo>
                  <a:lnTo>
                    <a:pt x="7571" y="0"/>
                  </a:lnTo>
                  <a:lnTo>
                    <a:pt x="6365" y="0"/>
                  </a:lnTo>
                  <a:cubicBezTo>
                    <a:pt x="2949" y="577"/>
                    <a:pt x="417" y="3499"/>
                    <a:pt x="336" y="6966"/>
                  </a:cubicBezTo>
                  <a:lnTo>
                    <a:pt x="336" y="6966"/>
                  </a:lnTo>
                  <a:lnTo>
                    <a:pt x="336" y="10315"/>
                  </a:lnTo>
                  <a:close/>
                </a:path>
              </a:pathLst>
            </a:custGeom>
            <a:solidFill>
              <a:srgbClr val="000000"/>
            </a:solidFill>
            <a:ln w="12700" cap="flat">
              <a:noFill/>
              <a:prstDash val="solid"/>
              <a:miter/>
            </a:ln>
          </p:spPr>
          <p:txBody>
            <a:bodyPr rtlCol="0" anchor="ctr"/>
            <a:lstStyle/>
            <a:p>
              <a:endParaRPr lang="en-US"/>
            </a:p>
          </p:txBody>
        </p:sp>
        <p:sp>
          <p:nvSpPr>
            <p:cNvPr id="1796" name="Freeform: Shape 1795">
              <a:extLst>
                <a:ext uri="{FF2B5EF4-FFF2-40B4-BE49-F238E27FC236}">
                  <a16:creationId xmlns:a16="http://schemas.microsoft.com/office/drawing/2014/main" id="{B6F7E6B9-02C1-41B6-9891-79F0DBDF5B0B}"/>
                </a:ext>
              </a:extLst>
            </p:cNvPr>
            <p:cNvSpPr/>
            <p:nvPr/>
          </p:nvSpPr>
          <p:spPr>
            <a:xfrm>
              <a:off x="4195302" y="5946638"/>
              <a:ext cx="14742" cy="600716"/>
            </a:xfrm>
            <a:custGeom>
              <a:avLst/>
              <a:gdLst>
                <a:gd name="connsiteX0" fmla="*/ 11592 w 14742"/>
                <a:gd name="connsiteY0" fmla="*/ 599913 h 600716"/>
                <a:gd name="connsiteX1" fmla="*/ 13066 w 14742"/>
                <a:gd name="connsiteY1" fmla="*/ 598975 h 600716"/>
                <a:gd name="connsiteX2" fmla="*/ 13736 w 14742"/>
                <a:gd name="connsiteY2" fmla="*/ 598037 h 600716"/>
                <a:gd name="connsiteX3" fmla="*/ 14674 w 14742"/>
                <a:gd name="connsiteY3" fmla="*/ 596698 h 600716"/>
                <a:gd name="connsiteX4" fmla="*/ 14674 w 14742"/>
                <a:gd name="connsiteY4" fmla="*/ 595492 h 600716"/>
                <a:gd name="connsiteX5" fmla="*/ 14674 w 14742"/>
                <a:gd name="connsiteY5" fmla="*/ 593885 h 600716"/>
                <a:gd name="connsiteX6" fmla="*/ 14674 w 14742"/>
                <a:gd name="connsiteY6" fmla="*/ 593885 h 600716"/>
                <a:gd name="connsiteX7" fmla="*/ 14674 w 14742"/>
                <a:gd name="connsiteY7" fmla="*/ 8360 h 600716"/>
                <a:gd name="connsiteX8" fmla="*/ 8364 w 14742"/>
                <a:gd name="connsiteY8" fmla="*/ 68 h 600716"/>
                <a:gd name="connsiteX9" fmla="*/ 71 w 14742"/>
                <a:gd name="connsiteY9" fmla="*/ 6377 h 600716"/>
                <a:gd name="connsiteX10" fmla="*/ 71 w 14742"/>
                <a:gd name="connsiteY10" fmla="*/ 8360 h 600716"/>
                <a:gd name="connsiteX11" fmla="*/ 71 w 14742"/>
                <a:gd name="connsiteY11" fmla="*/ 593751 h 600716"/>
                <a:gd name="connsiteX12" fmla="*/ 6099 w 14742"/>
                <a:gd name="connsiteY12" fmla="*/ 600716 h 600716"/>
                <a:gd name="connsiteX13" fmla="*/ 6099 w 14742"/>
                <a:gd name="connsiteY13" fmla="*/ 593751 h 600716"/>
                <a:gd name="connsiteX14" fmla="*/ 7158 w 14742"/>
                <a:gd name="connsiteY14" fmla="*/ 592424 h 600716"/>
                <a:gd name="connsiteX15" fmla="*/ 7305 w 14742"/>
                <a:gd name="connsiteY15" fmla="*/ 592411 h 600716"/>
                <a:gd name="connsiteX16" fmla="*/ 8645 w 14742"/>
                <a:gd name="connsiteY16" fmla="*/ 593469 h 600716"/>
                <a:gd name="connsiteX17" fmla="*/ 8645 w 14742"/>
                <a:gd name="connsiteY17" fmla="*/ 593751 h 600716"/>
                <a:gd name="connsiteX18" fmla="*/ 8645 w 14742"/>
                <a:gd name="connsiteY18" fmla="*/ 600716 h 600716"/>
                <a:gd name="connsiteX19" fmla="*/ 10119 w 14742"/>
                <a:gd name="connsiteY19" fmla="*/ 600716 h 60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42" h="600716">
                  <a:moveTo>
                    <a:pt x="11592" y="599913"/>
                  </a:moveTo>
                  <a:cubicBezTo>
                    <a:pt x="12128" y="599685"/>
                    <a:pt x="12624" y="599363"/>
                    <a:pt x="13066" y="598975"/>
                  </a:cubicBezTo>
                  <a:lnTo>
                    <a:pt x="13736" y="598037"/>
                  </a:lnTo>
                  <a:cubicBezTo>
                    <a:pt x="14098" y="597622"/>
                    <a:pt x="14406" y="597180"/>
                    <a:pt x="14674" y="596698"/>
                  </a:cubicBezTo>
                  <a:cubicBezTo>
                    <a:pt x="14674" y="596698"/>
                    <a:pt x="14674" y="595894"/>
                    <a:pt x="14674" y="595492"/>
                  </a:cubicBezTo>
                  <a:cubicBezTo>
                    <a:pt x="14741" y="594956"/>
                    <a:pt x="14741" y="594420"/>
                    <a:pt x="14674" y="593885"/>
                  </a:cubicBezTo>
                  <a:lnTo>
                    <a:pt x="14674" y="593885"/>
                  </a:lnTo>
                  <a:lnTo>
                    <a:pt x="14674" y="8360"/>
                  </a:lnTo>
                  <a:cubicBezTo>
                    <a:pt x="15223" y="4328"/>
                    <a:pt x="12396" y="616"/>
                    <a:pt x="8364" y="68"/>
                  </a:cubicBezTo>
                  <a:cubicBezTo>
                    <a:pt x="4331" y="-480"/>
                    <a:pt x="620" y="2345"/>
                    <a:pt x="71" y="6377"/>
                  </a:cubicBezTo>
                  <a:cubicBezTo>
                    <a:pt x="-24" y="7035"/>
                    <a:pt x="-24" y="7702"/>
                    <a:pt x="71" y="8360"/>
                  </a:cubicBezTo>
                  <a:lnTo>
                    <a:pt x="71" y="593751"/>
                  </a:lnTo>
                  <a:cubicBezTo>
                    <a:pt x="151" y="597220"/>
                    <a:pt x="2683" y="600140"/>
                    <a:pt x="6099" y="600716"/>
                  </a:cubicBezTo>
                  <a:lnTo>
                    <a:pt x="6099" y="593751"/>
                  </a:lnTo>
                  <a:cubicBezTo>
                    <a:pt x="6019" y="593094"/>
                    <a:pt x="6501" y="592491"/>
                    <a:pt x="7158" y="592424"/>
                  </a:cubicBezTo>
                  <a:cubicBezTo>
                    <a:pt x="7211" y="592411"/>
                    <a:pt x="7251" y="592411"/>
                    <a:pt x="7305" y="592411"/>
                  </a:cubicBezTo>
                  <a:cubicBezTo>
                    <a:pt x="7962" y="592331"/>
                    <a:pt x="8564" y="592799"/>
                    <a:pt x="8645" y="593469"/>
                  </a:cubicBezTo>
                  <a:cubicBezTo>
                    <a:pt x="8658" y="593563"/>
                    <a:pt x="8658" y="593657"/>
                    <a:pt x="8645" y="593751"/>
                  </a:cubicBezTo>
                  <a:lnTo>
                    <a:pt x="8645" y="600716"/>
                  </a:lnTo>
                  <a:lnTo>
                    <a:pt x="10119" y="600716"/>
                  </a:lnTo>
                  <a:close/>
                </a:path>
              </a:pathLst>
            </a:custGeom>
            <a:solidFill>
              <a:srgbClr val="000000"/>
            </a:solidFill>
            <a:ln w="12700" cap="flat">
              <a:noFill/>
              <a:prstDash val="solid"/>
              <a:miter/>
            </a:ln>
          </p:spPr>
          <p:txBody>
            <a:bodyPr rtlCol="0" anchor="ctr"/>
            <a:lstStyle/>
            <a:p>
              <a:endParaRPr lang="en-US"/>
            </a:p>
          </p:txBody>
        </p:sp>
        <p:sp>
          <p:nvSpPr>
            <p:cNvPr id="1797" name="Freeform: Shape 1796">
              <a:extLst>
                <a:ext uri="{FF2B5EF4-FFF2-40B4-BE49-F238E27FC236}">
                  <a16:creationId xmlns:a16="http://schemas.microsoft.com/office/drawing/2014/main" id="{AC2CC000-2510-46F2-8711-5C8A91A4E90B}"/>
                </a:ext>
              </a:extLst>
            </p:cNvPr>
            <p:cNvSpPr/>
            <p:nvPr/>
          </p:nvSpPr>
          <p:spPr>
            <a:xfrm>
              <a:off x="3239309" y="6530074"/>
              <a:ext cx="184085" cy="14601"/>
            </a:xfrm>
            <a:custGeom>
              <a:avLst/>
              <a:gdLst>
                <a:gd name="connsiteX0" fmla="*/ 0 w 184085"/>
                <a:gd name="connsiteY0" fmla="*/ 8305 h 14601"/>
                <a:gd name="connsiteX1" fmla="*/ 0 w 184085"/>
                <a:gd name="connsiteY1" fmla="*/ 10315 h 14601"/>
                <a:gd name="connsiteX2" fmla="*/ 0 w 184085"/>
                <a:gd name="connsiteY2" fmla="*/ 11252 h 14601"/>
                <a:gd name="connsiteX3" fmla="*/ 0 w 184085"/>
                <a:gd name="connsiteY3" fmla="*/ 12190 h 14601"/>
                <a:gd name="connsiteX4" fmla="*/ 0 w 184085"/>
                <a:gd name="connsiteY4" fmla="*/ 14601 h 14601"/>
                <a:gd name="connsiteX5" fmla="*/ 184085 w 184085"/>
                <a:gd name="connsiteY5" fmla="*/ 14601 h 14601"/>
                <a:gd name="connsiteX6" fmla="*/ 176716 w 184085"/>
                <a:gd name="connsiteY6" fmla="*/ 7368 h 14601"/>
                <a:gd name="connsiteX7" fmla="*/ 184085 w 184085"/>
                <a:gd name="connsiteY7" fmla="*/ 0 h 14601"/>
                <a:gd name="connsiteX8" fmla="*/ 0 w 184085"/>
                <a:gd name="connsiteY8" fmla="*/ 0 h 14601"/>
                <a:gd name="connsiteX9" fmla="*/ 0 w 184085"/>
                <a:gd name="connsiteY9" fmla="*/ 8305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085" h="14601">
                  <a:moveTo>
                    <a:pt x="0" y="8305"/>
                  </a:moveTo>
                  <a:lnTo>
                    <a:pt x="0" y="10315"/>
                  </a:lnTo>
                  <a:cubicBezTo>
                    <a:pt x="0" y="10315"/>
                    <a:pt x="0" y="10984"/>
                    <a:pt x="0" y="11252"/>
                  </a:cubicBezTo>
                  <a:cubicBezTo>
                    <a:pt x="0" y="11520"/>
                    <a:pt x="0" y="11252"/>
                    <a:pt x="0" y="12190"/>
                  </a:cubicBezTo>
                  <a:lnTo>
                    <a:pt x="0" y="14601"/>
                  </a:lnTo>
                  <a:lnTo>
                    <a:pt x="184085" y="14601"/>
                  </a:lnTo>
                  <a:cubicBezTo>
                    <a:pt x="180066" y="14601"/>
                    <a:pt x="176783" y="11386"/>
                    <a:pt x="176716" y="7368"/>
                  </a:cubicBezTo>
                  <a:cubicBezTo>
                    <a:pt x="176716" y="3295"/>
                    <a:pt x="180012" y="0"/>
                    <a:pt x="184085" y="0"/>
                  </a:cubicBezTo>
                  <a:lnTo>
                    <a:pt x="0" y="0"/>
                  </a:lnTo>
                  <a:lnTo>
                    <a:pt x="0" y="8305"/>
                  </a:lnTo>
                  <a:close/>
                </a:path>
              </a:pathLst>
            </a:custGeom>
            <a:solidFill>
              <a:srgbClr val="000000"/>
            </a:solidFill>
            <a:ln w="12700" cap="flat">
              <a:noFill/>
              <a:prstDash val="solid"/>
              <a:miter/>
            </a:ln>
          </p:spPr>
          <p:txBody>
            <a:bodyPr rtlCol="0" anchor="ctr"/>
            <a:lstStyle/>
            <a:p>
              <a:endParaRPr lang="en-US"/>
            </a:p>
          </p:txBody>
        </p:sp>
        <p:sp>
          <p:nvSpPr>
            <p:cNvPr id="1798" name="Freeform: Shape 1797">
              <a:extLst>
                <a:ext uri="{FF2B5EF4-FFF2-40B4-BE49-F238E27FC236}">
                  <a16:creationId xmlns:a16="http://schemas.microsoft.com/office/drawing/2014/main" id="{D3A27A35-35D7-4958-A472-4906B25E86A2}"/>
                </a:ext>
              </a:extLst>
            </p:cNvPr>
            <p:cNvSpPr/>
            <p:nvPr/>
          </p:nvSpPr>
          <p:spPr>
            <a:xfrm>
              <a:off x="3416561" y="6531011"/>
              <a:ext cx="14322" cy="14601"/>
            </a:xfrm>
            <a:custGeom>
              <a:avLst/>
              <a:gdLst>
                <a:gd name="connsiteX0" fmla="*/ 13264 w 14322"/>
                <a:gd name="connsiteY0" fmla="*/ 10583 h 14601"/>
                <a:gd name="connsiteX1" fmla="*/ 14202 w 14322"/>
                <a:gd name="connsiteY1" fmla="*/ 9377 h 14601"/>
                <a:gd name="connsiteX2" fmla="*/ 14202 w 14322"/>
                <a:gd name="connsiteY2" fmla="*/ 9377 h 14601"/>
                <a:gd name="connsiteX3" fmla="*/ 14202 w 14322"/>
                <a:gd name="connsiteY3" fmla="*/ 7100 h 14601"/>
                <a:gd name="connsiteX4" fmla="*/ 14202 w 14322"/>
                <a:gd name="connsiteY4" fmla="*/ 7100 h 14601"/>
                <a:gd name="connsiteX5" fmla="*/ 14202 w 14322"/>
                <a:gd name="connsiteY5" fmla="*/ 5090 h 14601"/>
                <a:gd name="connsiteX6" fmla="*/ 7369 w 14322"/>
                <a:gd name="connsiteY6" fmla="*/ 0 h 14601"/>
                <a:gd name="connsiteX7" fmla="*/ 7369 w 14322"/>
                <a:gd name="connsiteY7" fmla="*/ 0 h 14601"/>
                <a:gd name="connsiteX8" fmla="*/ 0 w 14322"/>
                <a:gd name="connsiteY8" fmla="*/ 7368 h 14601"/>
                <a:gd name="connsiteX9" fmla="*/ 7369 w 14322"/>
                <a:gd name="connsiteY9" fmla="*/ 14601 h 14601"/>
                <a:gd name="connsiteX10" fmla="*/ 7369 w 14322"/>
                <a:gd name="connsiteY10" fmla="*/ 14601 h 14601"/>
                <a:gd name="connsiteX11" fmla="*/ 13264 w 14322"/>
                <a:gd name="connsiteY11" fmla="*/ 10583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22" h="14601">
                  <a:moveTo>
                    <a:pt x="13264" y="10583"/>
                  </a:moveTo>
                  <a:lnTo>
                    <a:pt x="14202" y="9377"/>
                  </a:lnTo>
                  <a:cubicBezTo>
                    <a:pt x="14202" y="9377"/>
                    <a:pt x="14202" y="9377"/>
                    <a:pt x="14202" y="9377"/>
                  </a:cubicBezTo>
                  <a:cubicBezTo>
                    <a:pt x="14335" y="8627"/>
                    <a:pt x="14335" y="7850"/>
                    <a:pt x="14202" y="7100"/>
                  </a:cubicBezTo>
                  <a:lnTo>
                    <a:pt x="14202" y="7100"/>
                  </a:lnTo>
                  <a:cubicBezTo>
                    <a:pt x="14362" y="6443"/>
                    <a:pt x="14362" y="5747"/>
                    <a:pt x="14202" y="5090"/>
                  </a:cubicBezTo>
                  <a:cubicBezTo>
                    <a:pt x="13277" y="2090"/>
                    <a:pt x="10504" y="27"/>
                    <a:pt x="7369" y="0"/>
                  </a:cubicBezTo>
                  <a:lnTo>
                    <a:pt x="7369" y="0"/>
                  </a:lnTo>
                  <a:cubicBezTo>
                    <a:pt x="3296" y="0"/>
                    <a:pt x="0" y="3295"/>
                    <a:pt x="0" y="7368"/>
                  </a:cubicBezTo>
                  <a:cubicBezTo>
                    <a:pt x="67" y="11386"/>
                    <a:pt x="3349" y="14601"/>
                    <a:pt x="7369" y="14601"/>
                  </a:cubicBezTo>
                  <a:lnTo>
                    <a:pt x="7369" y="14601"/>
                  </a:lnTo>
                  <a:cubicBezTo>
                    <a:pt x="9928" y="14441"/>
                    <a:pt x="12192" y="12900"/>
                    <a:pt x="13264" y="10583"/>
                  </a:cubicBezTo>
                  <a:close/>
                </a:path>
              </a:pathLst>
            </a:custGeom>
            <a:solidFill>
              <a:srgbClr val="000000"/>
            </a:solidFill>
            <a:ln w="12700" cap="flat">
              <a:noFill/>
              <a:prstDash val="solid"/>
              <a:miter/>
            </a:ln>
          </p:spPr>
          <p:txBody>
            <a:bodyPr rtlCol="0" anchor="ctr"/>
            <a:lstStyle/>
            <a:p>
              <a:endParaRPr lang="en-US"/>
            </a:p>
          </p:txBody>
        </p:sp>
        <p:sp>
          <p:nvSpPr>
            <p:cNvPr id="1799" name="Freeform: Shape 1798">
              <a:extLst>
                <a:ext uri="{FF2B5EF4-FFF2-40B4-BE49-F238E27FC236}">
                  <a16:creationId xmlns:a16="http://schemas.microsoft.com/office/drawing/2014/main" id="{FB1FA764-FD26-420D-B5A8-9652662B858F}"/>
                </a:ext>
              </a:extLst>
            </p:cNvPr>
            <p:cNvSpPr/>
            <p:nvPr/>
          </p:nvSpPr>
          <p:spPr>
            <a:xfrm>
              <a:off x="4174338" y="5851479"/>
              <a:ext cx="10801" cy="8408"/>
            </a:xfrm>
            <a:custGeom>
              <a:avLst/>
              <a:gdLst>
                <a:gd name="connsiteX0" fmla="*/ 10718 w 10801"/>
                <a:gd name="connsiteY0" fmla="*/ 8409 h 8408"/>
                <a:gd name="connsiteX1" fmla="*/ 10718 w 10801"/>
                <a:gd name="connsiteY1" fmla="*/ 7337 h 8408"/>
                <a:gd name="connsiteX2" fmla="*/ 3483 w 10801"/>
                <a:gd name="connsiteY2" fmla="*/ 103 h 8408"/>
                <a:gd name="connsiteX3" fmla="*/ 1340 w 10801"/>
                <a:gd name="connsiteY3" fmla="*/ 103 h 8408"/>
                <a:gd name="connsiteX4" fmla="*/ 0 w 10801"/>
                <a:gd name="connsiteY4" fmla="*/ 103 h 8408"/>
                <a:gd name="connsiteX5" fmla="*/ 0 w 10801"/>
                <a:gd name="connsiteY5" fmla="*/ 103 h 8408"/>
                <a:gd name="connsiteX6" fmla="*/ 1474 w 10801"/>
                <a:gd name="connsiteY6" fmla="*/ 103 h 8408"/>
                <a:gd name="connsiteX7" fmla="*/ 3751 w 10801"/>
                <a:gd name="connsiteY7" fmla="*/ 103 h 8408"/>
                <a:gd name="connsiteX8" fmla="*/ 10799 w 10801"/>
                <a:gd name="connsiteY8" fmla="*/ 7522 h 8408"/>
                <a:gd name="connsiteX9" fmla="*/ 10718 w 10801"/>
                <a:gd name="connsiteY9" fmla="*/ 8409 h 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8408">
                  <a:moveTo>
                    <a:pt x="10718" y="8409"/>
                  </a:moveTo>
                  <a:lnTo>
                    <a:pt x="10718" y="7337"/>
                  </a:lnTo>
                  <a:cubicBezTo>
                    <a:pt x="10718" y="3343"/>
                    <a:pt x="7476" y="103"/>
                    <a:pt x="3483" y="103"/>
                  </a:cubicBezTo>
                  <a:cubicBezTo>
                    <a:pt x="2773" y="28"/>
                    <a:pt x="2050" y="28"/>
                    <a:pt x="1340" y="103"/>
                  </a:cubicBezTo>
                  <a:cubicBezTo>
                    <a:pt x="897" y="31"/>
                    <a:pt x="442" y="31"/>
                    <a:pt x="0" y="103"/>
                  </a:cubicBezTo>
                  <a:lnTo>
                    <a:pt x="0" y="103"/>
                  </a:lnTo>
                  <a:lnTo>
                    <a:pt x="1474" y="103"/>
                  </a:lnTo>
                  <a:cubicBezTo>
                    <a:pt x="2224" y="-34"/>
                    <a:pt x="3001" y="-34"/>
                    <a:pt x="3751" y="103"/>
                  </a:cubicBezTo>
                  <a:cubicBezTo>
                    <a:pt x="7744" y="207"/>
                    <a:pt x="10906" y="3529"/>
                    <a:pt x="10799" y="7522"/>
                  </a:cubicBezTo>
                  <a:cubicBezTo>
                    <a:pt x="10785" y="7819"/>
                    <a:pt x="10758" y="8115"/>
                    <a:pt x="10718" y="8409"/>
                  </a:cubicBezTo>
                  <a:close/>
                </a:path>
              </a:pathLst>
            </a:custGeom>
            <a:solidFill>
              <a:srgbClr val="000000"/>
            </a:solidFill>
            <a:ln w="12700" cap="flat">
              <a:noFill/>
              <a:prstDash val="solid"/>
              <a:miter/>
            </a:ln>
          </p:spPr>
          <p:txBody>
            <a:bodyPr rtlCol="0" anchor="ctr"/>
            <a:lstStyle/>
            <a:p>
              <a:endParaRPr lang="en-US"/>
            </a:p>
          </p:txBody>
        </p:sp>
        <p:sp>
          <p:nvSpPr>
            <p:cNvPr id="1800" name="Freeform: Shape 1799">
              <a:extLst>
                <a:ext uri="{FF2B5EF4-FFF2-40B4-BE49-F238E27FC236}">
                  <a16:creationId xmlns:a16="http://schemas.microsoft.com/office/drawing/2014/main" id="{5911381B-3CB6-43DB-B36F-7B27702C2F02}"/>
                </a:ext>
              </a:extLst>
            </p:cNvPr>
            <p:cNvSpPr/>
            <p:nvPr/>
          </p:nvSpPr>
          <p:spPr>
            <a:xfrm>
              <a:off x="4174874" y="5853221"/>
              <a:ext cx="9572" cy="109144"/>
            </a:xfrm>
            <a:custGeom>
              <a:avLst/>
              <a:gdLst>
                <a:gd name="connsiteX0" fmla="*/ 4287 w 9572"/>
                <a:gd name="connsiteY0" fmla="*/ 108742 h 109144"/>
                <a:gd name="connsiteX1" fmla="*/ 5225 w 9572"/>
                <a:gd name="connsiteY1" fmla="*/ 108742 h 109144"/>
                <a:gd name="connsiteX2" fmla="*/ 6565 w 9572"/>
                <a:gd name="connsiteY2" fmla="*/ 108742 h 109144"/>
                <a:gd name="connsiteX3" fmla="*/ 7771 w 9572"/>
                <a:gd name="connsiteY3" fmla="*/ 107939 h 109144"/>
                <a:gd name="connsiteX4" fmla="*/ 8709 w 9572"/>
                <a:gd name="connsiteY4" fmla="*/ 107001 h 109144"/>
                <a:gd name="connsiteX5" fmla="*/ 9513 w 9572"/>
                <a:gd name="connsiteY5" fmla="*/ 105929 h 109144"/>
                <a:gd name="connsiteX6" fmla="*/ 9513 w 9572"/>
                <a:gd name="connsiteY6" fmla="*/ 104590 h 109144"/>
                <a:gd name="connsiteX7" fmla="*/ 9513 w 9572"/>
                <a:gd name="connsiteY7" fmla="*/ 103652 h 109144"/>
                <a:gd name="connsiteX8" fmla="*/ 9513 w 9572"/>
                <a:gd name="connsiteY8" fmla="*/ 102446 h 109144"/>
                <a:gd name="connsiteX9" fmla="*/ 9513 w 9572"/>
                <a:gd name="connsiteY9" fmla="*/ 102446 h 109144"/>
                <a:gd name="connsiteX10" fmla="*/ 9513 w 9572"/>
                <a:gd name="connsiteY10" fmla="*/ 7337 h 109144"/>
                <a:gd name="connsiteX11" fmla="*/ 2278 w 9572"/>
                <a:gd name="connsiteY11" fmla="*/ 103 h 109144"/>
                <a:gd name="connsiteX12" fmla="*/ 0 w 9572"/>
                <a:gd name="connsiteY12" fmla="*/ 103 h 109144"/>
                <a:gd name="connsiteX13" fmla="*/ 4958 w 9572"/>
                <a:gd name="connsiteY13" fmla="*/ 6935 h 109144"/>
                <a:gd name="connsiteX14" fmla="*/ 4958 w 9572"/>
                <a:gd name="connsiteY14" fmla="*/ 102848 h 109144"/>
                <a:gd name="connsiteX15" fmla="*/ 1206 w 9572"/>
                <a:gd name="connsiteY15" fmla="*/ 109144 h 109144"/>
                <a:gd name="connsiteX16" fmla="*/ 2278 w 9572"/>
                <a:gd name="connsiteY16" fmla="*/ 109144 h 10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72" h="109144">
                  <a:moveTo>
                    <a:pt x="4287" y="108742"/>
                  </a:moveTo>
                  <a:lnTo>
                    <a:pt x="5225" y="108742"/>
                  </a:lnTo>
                  <a:lnTo>
                    <a:pt x="6565" y="108742"/>
                  </a:lnTo>
                  <a:lnTo>
                    <a:pt x="7771" y="107939"/>
                  </a:lnTo>
                  <a:cubicBezTo>
                    <a:pt x="8146" y="107697"/>
                    <a:pt x="8468" y="107377"/>
                    <a:pt x="8709" y="107001"/>
                  </a:cubicBezTo>
                  <a:lnTo>
                    <a:pt x="9513" y="105929"/>
                  </a:lnTo>
                  <a:cubicBezTo>
                    <a:pt x="9593" y="105486"/>
                    <a:pt x="9593" y="105033"/>
                    <a:pt x="9513" y="104590"/>
                  </a:cubicBezTo>
                  <a:cubicBezTo>
                    <a:pt x="9593" y="104282"/>
                    <a:pt x="9593" y="103960"/>
                    <a:pt x="9513" y="103652"/>
                  </a:cubicBezTo>
                  <a:cubicBezTo>
                    <a:pt x="9580" y="103253"/>
                    <a:pt x="9580" y="102846"/>
                    <a:pt x="9513" y="102446"/>
                  </a:cubicBezTo>
                  <a:lnTo>
                    <a:pt x="9513" y="102446"/>
                  </a:lnTo>
                  <a:lnTo>
                    <a:pt x="9513" y="7337"/>
                  </a:lnTo>
                  <a:cubicBezTo>
                    <a:pt x="9513" y="3343"/>
                    <a:pt x="6270" y="103"/>
                    <a:pt x="2278" y="103"/>
                  </a:cubicBezTo>
                  <a:cubicBezTo>
                    <a:pt x="1528" y="-34"/>
                    <a:pt x="750" y="-34"/>
                    <a:pt x="0" y="103"/>
                  </a:cubicBezTo>
                  <a:cubicBezTo>
                    <a:pt x="2975" y="1045"/>
                    <a:pt x="4984" y="3817"/>
                    <a:pt x="4958" y="6935"/>
                  </a:cubicBezTo>
                  <a:lnTo>
                    <a:pt x="4958" y="102848"/>
                  </a:lnTo>
                  <a:cubicBezTo>
                    <a:pt x="4944" y="105472"/>
                    <a:pt x="3511" y="107881"/>
                    <a:pt x="1206" y="109144"/>
                  </a:cubicBezTo>
                  <a:lnTo>
                    <a:pt x="2278" y="109144"/>
                  </a:lnTo>
                  <a:close/>
                </a:path>
              </a:pathLst>
            </a:custGeom>
            <a:solidFill>
              <a:srgbClr val="000000"/>
            </a:solidFill>
            <a:ln w="12700" cap="flat">
              <a:noFill/>
              <a:prstDash val="solid"/>
              <a:miter/>
            </a:ln>
          </p:spPr>
          <p:txBody>
            <a:bodyPr rtlCol="0" anchor="ctr"/>
            <a:lstStyle/>
            <a:p>
              <a:endParaRPr lang="en-US"/>
            </a:p>
          </p:txBody>
        </p:sp>
        <p:sp>
          <p:nvSpPr>
            <p:cNvPr id="1801" name="Freeform: Shape 1800">
              <a:extLst>
                <a:ext uri="{FF2B5EF4-FFF2-40B4-BE49-F238E27FC236}">
                  <a16:creationId xmlns:a16="http://schemas.microsoft.com/office/drawing/2014/main" id="{0AABD554-B6C9-4740-ABFC-D164DDF598DB}"/>
                </a:ext>
              </a:extLst>
            </p:cNvPr>
            <p:cNvSpPr/>
            <p:nvPr/>
          </p:nvSpPr>
          <p:spPr>
            <a:xfrm>
              <a:off x="4150222" y="5951333"/>
              <a:ext cx="14603" cy="586107"/>
            </a:xfrm>
            <a:custGeom>
              <a:avLst/>
              <a:gdLst>
                <a:gd name="connsiteX0" fmla="*/ 0 w 14603"/>
                <a:gd name="connsiteY0" fmla="*/ 586108 h 586107"/>
                <a:gd name="connsiteX1" fmla="*/ 7235 w 14603"/>
                <a:gd name="connsiteY1" fmla="*/ 578740 h 586107"/>
                <a:gd name="connsiteX2" fmla="*/ 14604 w 14603"/>
                <a:gd name="connsiteY2" fmla="*/ 586108 h 586107"/>
                <a:gd name="connsiteX3" fmla="*/ 14604 w 14603"/>
                <a:gd name="connsiteY3" fmla="*/ 7415 h 586107"/>
                <a:gd name="connsiteX4" fmla="*/ 7235 w 14603"/>
                <a:gd name="connsiteY4" fmla="*/ 47 h 586107"/>
                <a:gd name="connsiteX5" fmla="*/ 5225 w 14603"/>
                <a:gd name="connsiteY5" fmla="*/ 47 h 586107"/>
                <a:gd name="connsiteX6" fmla="*/ 3885 w 14603"/>
                <a:gd name="connsiteY6" fmla="*/ 47 h 586107"/>
                <a:gd name="connsiteX7" fmla="*/ 2814 w 14603"/>
                <a:gd name="connsiteY7" fmla="*/ 851 h 586107"/>
                <a:gd name="connsiteX8" fmla="*/ 1742 w 14603"/>
                <a:gd name="connsiteY8" fmla="*/ 1789 h 586107"/>
                <a:gd name="connsiteX9" fmla="*/ 938 w 14603"/>
                <a:gd name="connsiteY9" fmla="*/ 2994 h 586107"/>
                <a:gd name="connsiteX10" fmla="*/ 938 w 14603"/>
                <a:gd name="connsiteY10" fmla="*/ 4200 h 586107"/>
                <a:gd name="connsiteX11" fmla="*/ 938 w 14603"/>
                <a:gd name="connsiteY11" fmla="*/ 5673 h 586107"/>
                <a:gd name="connsiteX12" fmla="*/ 938 w 14603"/>
                <a:gd name="connsiteY12" fmla="*/ 6477 h 586107"/>
                <a:gd name="connsiteX13" fmla="*/ 938 w 14603"/>
                <a:gd name="connsiteY13" fmla="*/ 585170 h 58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3" h="586107">
                  <a:moveTo>
                    <a:pt x="0" y="586108"/>
                  </a:moveTo>
                  <a:cubicBezTo>
                    <a:pt x="0" y="582089"/>
                    <a:pt x="3216" y="578807"/>
                    <a:pt x="7235" y="578740"/>
                  </a:cubicBezTo>
                  <a:cubicBezTo>
                    <a:pt x="11308" y="578740"/>
                    <a:pt x="14604" y="582036"/>
                    <a:pt x="14604" y="586108"/>
                  </a:cubicBezTo>
                  <a:lnTo>
                    <a:pt x="14604" y="7415"/>
                  </a:lnTo>
                  <a:cubicBezTo>
                    <a:pt x="14604" y="3345"/>
                    <a:pt x="11308" y="47"/>
                    <a:pt x="7235" y="47"/>
                  </a:cubicBezTo>
                  <a:cubicBezTo>
                    <a:pt x="6565" y="-16"/>
                    <a:pt x="5895" y="-16"/>
                    <a:pt x="5225" y="47"/>
                  </a:cubicBezTo>
                  <a:lnTo>
                    <a:pt x="3885" y="47"/>
                  </a:lnTo>
                  <a:lnTo>
                    <a:pt x="2814" y="851"/>
                  </a:lnTo>
                  <a:lnTo>
                    <a:pt x="1742" y="1789"/>
                  </a:lnTo>
                  <a:lnTo>
                    <a:pt x="938" y="2994"/>
                  </a:lnTo>
                  <a:lnTo>
                    <a:pt x="938" y="4200"/>
                  </a:lnTo>
                  <a:cubicBezTo>
                    <a:pt x="938" y="4200"/>
                    <a:pt x="938" y="5138"/>
                    <a:pt x="938" y="5673"/>
                  </a:cubicBezTo>
                  <a:cubicBezTo>
                    <a:pt x="938" y="6209"/>
                    <a:pt x="938" y="5673"/>
                    <a:pt x="938" y="6477"/>
                  </a:cubicBezTo>
                  <a:lnTo>
                    <a:pt x="938" y="585170"/>
                  </a:lnTo>
                  <a:close/>
                </a:path>
              </a:pathLst>
            </a:custGeom>
            <a:solidFill>
              <a:srgbClr val="000000"/>
            </a:solidFill>
            <a:ln w="12700" cap="flat">
              <a:noFill/>
              <a:prstDash val="solid"/>
              <a:miter/>
            </a:ln>
          </p:spPr>
          <p:txBody>
            <a:bodyPr rtlCol="0" anchor="ctr"/>
            <a:lstStyle/>
            <a:p>
              <a:endParaRPr lang="en-US"/>
            </a:p>
          </p:txBody>
        </p:sp>
        <p:sp>
          <p:nvSpPr>
            <p:cNvPr id="1802" name="Freeform: Shape 1801">
              <a:extLst>
                <a:ext uri="{FF2B5EF4-FFF2-40B4-BE49-F238E27FC236}">
                  <a16:creationId xmlns:a16="http://schemas.microsoft.com/office/drawing/2014/main" id="{8F53A170-869C-463A-8DC7-7AB487EA0E6E}"/>
                </a:ext>
              </a:extLst>
            </p:cNvPr>
            <p:cNvSpPr/>
            <p:nvPr/>
          </p:nvSpPr>
          <p:spPr>
            <a:xfrm>
              <a:off x="4149552" y="6531279"/>
              <a:ext cx="14653" cy="14577"/>
            </a:xfrm>
            <a:custGeom>
              <a:avLst/>
              <a:gdLst>
                <a:gd name="connsiteX0" fmla="*/ 7905 w 14653"/>
                <a:gd name="connsiteY0" fmla="*/ 14467 h 14577"/>
                <a:gd name="connsiteX1" fmla="*/ 7905 w 14653"/>
                <a:gd name="connsiteY1" fmla="*/ 14467 h 14577"/>
                <a:gd name="connsiteX2" fmla="*/ 10718 w 14653"/>
                <a:gd name="connsiteY2" fmla="*/ 14467 h 14577"/>
                <a:gd name="connsiteX3" fmla="*/ 11522 w 14653"/>
                <a:gd name="connsiteY3" fmla="*/ 14467 h 14577"/>
                <a:gd name="connsiteX4" fmla="*/ 12996 w 14653"/>
                <a:gd name="connsiteY4" fmla="*/ 13396 h 14577"/>
                <a:gd name="connsiteX5" fmla="*/ 13666 w 14653"/>
                <a:gd name="connsiteY5" fmla="*/ 12592 h 14577"/>
                <a:gd name="connsiteX6" fmla="*/ 14604 w 14653"/>
                <a:gd name="connsiteY6" fmla="*/ 11118 h 14577"/>
                <a:gd name="connsiteX7" fmla="*/ 14604 w 14653"/>
                <a:gd name="connsiteY7" fmla="*/ 10181 h 14577"/>
                <a:gd name="connsiteX8" fmla="*/ 14604 w 14653"/>
                <a:gd name="connsiteY8" fmla="*/ 10181 h 14577"/>
                <a:gd name="connsiteX9" fmla="*/ 14604 w 14653"/>
                <a:gd name="connsiteY9" fmla="*/ 8573 h 14577"/>
                <a:gd name="connsiteX10" fmla="*/ 14604 w 14653"/>
                <a:gd name="connsiteY10" fmla="*/ 7368 h 14577"/>
                <a:gd name="connsiteX11" fmla="*/ 14604 w 14653"/>
                <a:gd name="connsiteY11" fmla="*/ 7368 h 14577"/>
                <a:gd name="connsiteX12" fmla="*/ 7235 w 14653"/>
                <a:gd name="connsiteY12" fmla="*/ 0 h 14577"/>
                <a:gd name="connsiteX13" fmla="*/ 0 w 14653"/>
                <a:gd name="connsiteY13" fmla="*/ 7368 h 14577"/>
                <a:gd name="connsiteX14" fmla="*/ 0 w 14653"/>
                <a:gd name="connsiteY14" fmla="*/ 8305 h 14577"/>
                <a:gd name="connsiteX15" fmla="*/ 7905 w 14653"/>
                <a:gd name="connsiteY15" fmla="*/ 14467 h 1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53" h="14577">
                  <a:moveTo>
                    <a:pt x="7905" y="14467"/>
                  </a:moveTo>
                  <a:lnTo>
                    <a:pt x="7905" y="14467"/>
                  </a:lnTo>
                  <a:cubicBezTo>
                    <a:pt x="8843" y="14615"/>
                    <a:pt x="9781" y="14615"/>
                    <a:pt x="10718" y="14467"/>
                  </a:cubicBezTo>
                  <a:lnTo>
                    <a:pt x="11522" y="14467"/>
                  </a:lnTo>
                  <a:lnTo>
                    <a:pt x="12996" y="13396"/>
                  </a:lnTo>
                  <a:lnTo>
                    <a:pt x="13666" y="12592"/>
                  </a:lnTo>
                  <a:lnTo>
                    <a:pt x="14604" y="11118"/>
                  </a:lnTo>
                  <a:cubicBezTo>
                    <a:pt x="14604" y="11118"/>
                    <a:pt x="14604" y="10449"/>
                    <a:pt x="14604" y="10181"/>
                  </a:cubicBezTo>
                  <a:lnTo>
                    <a:pt x="14604" y="10181"/>
                  </a:lnTo>
                  <a:cubicBezTo>
                    <a:pt x="14671" y="9645"/>
                    <a:pt x="14671" y="9109"/>
                    <a:pt x="14604" y="8573"/>
                  </a:cubicBezTo>
                  <a:lnTo>
                    <a:pt x="14604" y="7368"/>
                  </a:lnTo>
                  <a:lnTo>
                    <a:pt x="14604" y="7368"/>
                  </a:lnTo>
                  <a:cubicBezTo>
                    <a:pt x="14604" y="3295"/>
                    <a:pt x="11308" y="0"/>
                    <a:pt x="7235" y="0"/>
                  </a:cubicBezTo>
                  <a:cubicBezTo>
                    <a:pt x="3215" y="67"/>
                    <a:pt x="0" y="3349"/>
                    <a:pt x="0" y="7368"/>
                  </a:cubicBezTo>
                  <a:lnTo>
                    <a:pt x="0" y="8305"/>
                  </a:lnTo>
                  <a:cubicBezTo>
                    <a:pt x="616" y="12110"/>
                    <a:pt x="4060" y="14802"/>
                    <a:pt x="7905" y="14467"/>
                  </a:cubicBezTo>
                  <a:close/>
                </a:path>
              </a:pathLst>
            </a:custGeom>
            <a:solidFill>
              <a:srgbClr val="000000"/>
            </a:solidFill>
            <a:ln w="12700" cap="flat">
              <a:noFill/>
              <a:prstDash val="solid"/>
              <a:miter/>
            </a:ln>
          </p:spPr>
          <p:txBody>
            <a:bodyPr rtlCol="0" anchor="ctr"/>
            <a:lstStyle/>
            <a:p>
              <a:endParaRPr lang="en-US"/>
            </a:p>
          </p:txBody>
        </p:sp>
        <p:sp>
          <p:nvSpPr>
            <p:cNvPr id="1803" name="Freeform: Shape 1802">
              <a:extLst>
                <a:ext uri="{FF2B5EF4-FFF2-40B4-BE49-F238E27FC236}">
                  <a16:creationId xmlns:a16="http://schemas.microsoft.com/office/drawing/2014/main" id="{B965EAE4-0B56-4803-9A0F-E0C2ABC83F7D}"/>
                </a:ext>
              </a:extLst>
            </p:cNvPr>
            <p:cNvSpPr/>
            <p:nvPr/>
          </p:nvSpPr>
          <p:spPr>
            <a:xfrm>
              <a:off x="687030" y="6132758"/>
              <a:ext cx="13672" cy="14601"/>
            </a:xfrm>
            <a:custGeom>
              <a:avLst/>
              <a:gdLst>
                <a:gd name="connsiteX0" fmla="*/ 6 w 13672"/>
                <a:gd name="connsiteY0" fmla="*/ 7368 h 14601"/>
                <a:gd name="connsiteX1" fmla="*/ 7241 w 13672"/>
                <a:gd name="connsiteY1" fmla="*/ 14601 h 14601"/>
                <a:gd name="connsiteX2" fmla="*/ 13672 w 13672"/>
                <a:gd name="connsiteY2" fmla="*/ 14601 h 14601"/>
                <a:gd name="connsiteX3" fmla="*/ 6437 w 13672"/>
                <a:gd name="connsiteY3" fmla="*/ 7368 h 14601"/>
                <a:gd name="connsiteX4" fmla="*/ 13672 w 13672"/>
                <a:gd name="connsiteY4" fmla="*/ 0 h 14601"/>
                <a:gd name="connsiteX5" fmla="*/ 7241 w 13672"/>
                <a:gd name="connsiteY5" fmla="*/ 0 h 14601"/>
                <a:gd name="connsiteX6" fmla="*/ 6437 w 13672"/>
                <a:gd name="connsiteY6" fmla="*/ 0 h 14601"/>
                <a:gd name="connsiteX7" fmla="*/ 6 w 13672"/>
                <a:gd name="connsiteY7"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72" h="14601">
                  <a:moveTo>
                    <a:pt x="6" y="7368"/>
                  </a:moveTo>
                  <a:cubicBezTo>
                    <a:pt x="6" y="11360"/>
                    <a:pt x="3246" y="14601"/>
                    <a:pt x="7241" y="14601"/>
                  </a:cubicBezTo>
                  <a:lnTo>
                    <a:pt x="13672" y="14601"/>
                  </a:lnTo>
                  <a:cubicBezTo>
                    <a:pt x="9677" y="14601"/>
                    <a:pt x="6437" y="11360"/>
                    <a:pt x="6437" y="7368"/>
                  </a:cubicBezTo>
                  <a:cubicBezTo>
                    <a:pt x="6436" y="3349"/>
                    <a:pt x="9655" y="67"/>
                    <a:pt x="13672" y="0"/>
                  </a:cubicBezTo>
                  <a:lnTo>
                    <a:pt x="7241" y="0"/>
                  </a:lnTo>
                  <a:lnTo>
                    <a:pt x="6437" y="0"/>
                  </a:lnTo>
                  <a:cubicBezTo>
                    <a:pt x="2674" y="348"/>
                    <a:pt x="-153" y="3590"/>
                    <a:pt x="6" y="7368"/>
                  </a:cubicBezTo>
                  <a:close/>
                </a:path>
              </a:pathLst>
            </a:custGeom>
            <a:solidFill>
              <a:srgbClr val="000000"/>
            </a:solidFill>
            <a:ln w="12700" cap="flat">
              <a:noFill/>
              <a:prstDash val="solid"/>
              <a:miter/>
            </a:ln>
          </p:spPr>
          <p:txBody>
            <a:bodyPr rtlCol="0" anchor="ctr"/>
            <a:lstStyle/>
            <a:p>
              <a:endParaRPr lang="en-US"/>
            </a:p>
          </p:txBody>
        </p:sp>
        <p:sp>
          <p:nvSpPr>
            <p:cNvPr id="1804" name="Freeform: Shape 1803">
              <a:extLst>
                <a:ext uri="{FF2B5EF4-FFF2-40B4-BE49-F238E27FC236}">
                  <a16:creationId xmlns:a16="http://schemas.microsoft.com/office/drawing/2014/main" id="{7D286B67-9CC2-4DCF-BE26-2BF0435D85D0}"/>
                </a:ext>
              </a:extLst>
            </p:cNvPr>
            <p:cNvSpPr/>
            <p:nvPr/>
          </p:nvSpPr>
          <p:spPr>
            <a:xfrm>
              <a:off x="966782" y="6471133"/>
              <a:ext cx="14603" cy="7233"/>
            </a:xfrm>
            <a:custGeom>
              <a:avLst/>
              <a:gdLst>
                <a:gd name="connsiteX0" fmla="*/ 14604 w 14603"/>
                <a:gd name="connsiteY0" fmla="*/ 0 h 7233"/>
                <a:gd name="connsiteX1" fmla="*/ 14604 w 14603"/>
                <a:gd name="connsiteY1" fmla="*/ 0 h 7233"/>
                <a:gd name="connsiteX2" fmla="*/ 7235 w 14603"/>
                <a:gd name="connsiteY2" fmla="*/ 7234 h 7233"/>
                <a:gd name="connsiteX3" fmla="*/ 0 w 14603"/>
                <a:gd name="connsiteY3" fmla="*/ 0 h 7233"/>
                <a:gd name="connsiteX4" fmla="*/ 0 w 14603"/>
                <a:gd name="connsiteY4" fmla="*/ 0 h 7233"/>
                <a:gd name="connsiteX5" fmla="*/ 5761 w 14603"/>
                <a:gd name="connsiteY5" fmla="*/ 6966 h 7233"/>
                <a:gd name="connsiteX6" fmla="*/ 7235 w 14603"/>
                <a:gd name="connsiteY6" fmla="*/ 6966 h 7233"/>
                <a:gd name="connsiteX7" fmla="*/ 8976 w 14603"/>
                <a:gd name="connsiteY7" fmla="*/ 6966 h 7233"/>
                <a:gd name="connsiteX8" fmla="*/ 10316 w 14603"/>
                <a:gd name="connsiteY8" fmla="*/ 6966 h 7233"/>
                <a:gd name="connsiteX9" fmla="*/ 11522 w 14603"/>
                <a:gd name="connsiteY9" fmla="*/ 6162 h 7233"/>
                <a:gd name="connsiteX10" fmla="*/ 12594 w 14603"/>
                <a:gd name="connsiteY10" fmla="*/ 5358 h 7233"/>
                <a:gd name="connsiteX11" fmla="*/ 13264 w 14603"/>
                <a:gd name="connsiteY11" fmla="*/ 4153 h 7233"/>
                <a:gd name="connsiteX12" fmla="*/ 13264 w 14603"/>
                <a:gd name="connsiteY12" fmla="*/ 3349 h 7233"/>
                <a:gd name="connsiteX13" fmla="*/ 13264 w 14603"/>
                <a:gd name="connsiteY13" fmla="*/ 3349 h 7233"/>
                <a:gd name="connsiteX14" fmla="*/ 13264 w 14603"/>
                <a:gd name="connsiteY14" fmla="*/ 2009 h 7233"/>
                <a:gd name="connsiteX15" fmla="*/ 14604 w 14603"/>
                <a:gd name="connsiteY15" fmla="*/ 0 h 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03" h="7233">
                  <a:moveTo>
                    <a:pt x="14604" y="0"/>
                  </a:moveTo>
                  <a:lnTo>
                    <a:pt x="14604" y="0"/>
                  </a:lnTo>
                  <a:cubicBezTo>
                    <a:pt x="14530" y="4019"/>
                    <a:pt x="11253" y="7234"/>
                    <a:pt x="7235" y="7234"/>
                  </a:cubicBezTo>
                  <a:cubicBezTo>
                    <a:pt x="3240" y="7234"/>
                    <a:pt x="0" y="3992"/>
                    <a:pt x="0" y="0"/>
                  </a:cubicBezTo>
                  <a:lnTo>
                    <a:pt x="0" y="0"/>
                  </a:lnTo>
                  <a:cubicBezTo>
                    <a:pt x="55" y="3389"/>
                    <a:pt x="2448" y="6283"/>
                    <a:pt x="5761" y="6966"/>
                  </a:cubicBezTo>
                  <a:lnTo>
                    <a:pt x="7235" y="6966"/>
                  </a:lnTo>
                  <a:lnTo>
                    <a:pt x="8976" y="6966"/>
                  </a:lnTo>
                  <a:cubicBezTo>
                    <a:pt x="9421" y="7019"/>
                    <a:pt x="9871" y="7019"/>
                    <a:pt x="10316" y="6966"/>
                  </a:cubicBezTo>
                  <a:lnTo>
                    <a:pt x="11522" y="6162"/>
                  </a:lnTo>
                  <a:lnTo>
                    <a:pt x="12594" y="5358"/>
                  </a:lnTo>
                  <a:cubicBezTo>
                    <a:pt x="12867" y="4983"/>
                    <a:pt x="13092" y="4581"/>
                    <a:pt x="13264" y="4153"/>
                  </a:cubicBezTo>
                  <a:lnTo>
                    <a:pt x="13264" y="3349"/>
                  </a:lnTo>
                  <a:lnTo>
                    <a:pt x="13264" y="3349"/>
                  </a:lnTo>
                  <a:cubicBezTo>
                    <a:pt x="13264" y="3349"/>
                    <a:pt x="13264" y="2411"/>
                    <a:pt x="13264" y="2009"/>
                  </a:cubicBezTo>
                  <a:cubicBezTo>
                    <a:pt x="13264" y="1608"/>
                    <a:pt x="14604" y="402"/>
                    <a:pt x="14604" y="0"/>
                  </a:cubicBezTo>
                  <a:close/>
                </a:path>
              </a:pathLst>
            </a:custGeom>
            <a:solidFill>
              <a:srgbClr val="000000"/>
            </a:solidFill>
            <a:ln w="12700" cap="flat">
              <a:noFill/>
              <a:prstDash val="solid"/>
              <a:miter/>
            </a:ln>
          </p:spPr>
          <p:txBody>
            <a:bodyPr rtlCol="0" anchor="ctr"/>
            <a:lstStyle/>
            <a:p>
              <a:endParaRPr lang="en-US"/>
            </a:p>
          </p:txBody>
        </p:sp>
        <p:sp>
          <p:nvSpPr>
            <p:cNvPr id="1805" name="Freeform: Shape 1804">
              <a:extLst>
                <a:ext uri="{FF2B5EF4-FFF2-40B4-BE49-F238E27FC236}">
                  <a16:creationId xmlns:a16="http://schemas.microsoft.com/office/drawing/2014/main" id="{E61F8189-43D3-4E30-981E-3DFA306DBABB}"/>
                </a:ext>
              </a:extLst>
            </p:cNvPr>
            <p:cNvSpPr/>
            <p:nvPr/>
          </p:nvSpPr>
          <p:spPr>
            <a:xfrm>
              <a:off x="978036" y="4962105"/>
              <a:ext cx="14516" cy="820221"/>
            </a:xfrm>
            <a:custGeom>
              <a:avLst/>
              <a:gdLst>
                <a:gd name="connsiteX0" fmla="*/ 7503 w 14516"/>
                <a:gd name="connsiteY0" fmla="*/ 5 h 820221"/>
                <a:gd name="connsiteX1" fmla="*/ 1742 w 14516"/>
                <a:gd name="connsiteY1" fmla="*/ 3086 h 820221"/>
                <a:gd name="connsiteX2" fmla="*/ 0 w 14516"/>
                <a:gd name="connsiteY2" fmla="*/ 7105 h 820221"/>
                <a:gd name="connsiteX3" fmla="*/ 0 w 14516"/>
                <a:gd name="connsiteY3" fmla="*/ 820222 h 820221"/>
                <a:gd name="connsiteX4" fmla="*/ 7235 w 14516"/>
                <a:gd name="connsiteY4" fmla="*/ 812988 h 820221"/>
                <a:gd name="connsiteX5" fmla="*/ 14470 w 14516"/>
                <a:gd name="connsiteY5" fmla="*/ 820222 h 820221"/>
                <a:gd name="connsiteX6" fmla="*/ 14470 w 14516"/>
                <a:gd name="connsiteY6" fmla="*/ 7105 h 820221"/>
                <a:gd name="connsiteX7" fmla="*/ 14470 w 14516"/>
                <a:gd name="connsiteY7" fmla="*/ 7105 h 820221"/>
                <a:gd name="connsiteX8" fmla="*/ 14470 w 14516"/>
                <a:gd name="connsiteY8" fmla="*/ 5631 h 820221"/>
                <a:gd name="connsiteX9" fmla="*/ 14470 w 14516"/>
                <a:gd name="connsiteY9" fmla="*/ 4292 h 820221"/>
                <a:gd name="connsiteX10" fmla="*/ 14470 w 14516"/>
                <a:gd name="connsiteY10" fmla="*/ 4292 h 820221"/>
                <a:gd name="connsiteX11" fmla="*/ 7503 w 14516"/>
                <a:gd name="connsiteY11" fmla="*/ 5 h 82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16" h="820221">
                  <a:moveTo>
                    <a:pt x="7503" y="5"/>
                  </a:moveTo>
                  <a:cubicBezTo>
                    <a:pt x="5190" y="12"/>
                    <a:pt x="3032" y="1166"/>
                    <a:pt x="1742" y="3086"/>
                  </a:cubicBezTo>
                  <a:cubicBezTo>
                    <a:pt x="718" y="4187"/>
                    <a:pt x="103" y="5606"/>
                    <a:pt x="0" y="7105"/>
                  </a:cubicBezTo>
                  <a:lnTo>
                    <a:pt x="0" y="820222"/>
                  </a:lnTo>
                  <a:cubicBezTo>
                    <a:pt x="0" y="816227"/>
                    <a:pt x="3240" y="812988"/>
                    <a:pt x="7235" y="812988"/>
                  </a:cubicBezTo>
                  <a:cubicBezTo>
                    <a:pt x="11230" y="812988"/>
                    <a:pt x="14470" y="816227"/>
                    <a:pt x="14470" y="820222"/>
                  </a:cubicBezTo>
                  <a:lnTo>
                    <a:pt x="14470" y="7105"/>
                  </a:lnTo>
                  <a:lnTo>
                    <a:pt x="14470" y="7105"/>
                  </a:lnTo>
                  <a:cubicBezTo>
                    <a:pt x="14533" y="6616"/>
                    <a:pt x="14533" y="6120"/>
                    <a:pt x="14470" y="5631"/>
                  </a:cubicBezTo>
                  <a:cubicBezTo>
                    <a:pt x="14470" y="5631"/>
                    <a:pt x="14470" y="4694"/>
                    <a:pt x="14470" y="4292"/>
                  </a:cubicBezTo>
                  <a:lnTo>
                    <a:pt x="14470" y="4292"/>
                  </a:lnTo>
                  <a:cubicBezTo>
                    <a:pt x="13226" y="1587"/>
                    <a:pt x="10478" y="-105"/>
                    <a:pt x="7503" y="5"/>
                  </a:cubicBezTo>
                  <a:close/>
                </a:path>
              </a:pathLst>
            </a:custGeom>
            <a:solidFill>
              <a:srgbClr val="000000"/>
            </a:solidFill>
            <a:ln w="12700" cap="flat">
              <a:noFill/>
              <a:prstDash val="solid"/>
              <a:miter/>
            </a:ln>
          </p:spPr>
          <p:txBody>
            <a:bodyPr rtlCol="0" anchor="ctr"/>
            <a:lstStyle/>
            <a:p>
              <a:endParaRPr lang="en-US"/>
            </a:p>
          </p:txBody>
        </p:sp>
        <p:sp>
          <p:nvSpPr>
            <p:cNvPr id="1806" name="Freeform: Shape 1805">
              <a:extLst>
                <a:ext uri="{FF2B5EF4-FFF2-40B4-BE49-F238E27FC236}">
                  <a16:creationId xmlns:a16="http://schemas.microsoft.com/office/drawing/2014/main" id="{9C5BE599-7CF2-4345-A5CF-B3E8F9484D7B}"/>
                </a:ext>
              </a:extLst>
            </p:cNvPr>
            <p:cNvSpPr/>
            <p:nvPr/>
          </p:nvSpPr>
          <p:spPr>
            <a:xfrm>
              <a:off x="978304" y="5775094"/>
              <a:ext cx="14336" cy="255991"/>
            </a:xfrm>
            <a:custGeom>
              <a:avLst/>
              <a:gdLst>
                <a:gd name="connsiteX0" fmla="*/ 7235 w 14336"/>
                <a:gd name="connsiteY0" fmla="*/ 0 h 255991"/>
                <a:gd name="connsiteX1" fmla="*/ 0 w 14336"/>
                <a:gd name="connsiteY1" fmla="*/ 7234 h 255991"/>
                <a:gd name="connsiteX2" fmla="*/ 0 w 14336"/>
                <a:gd name="connsiteY2" fmla="*/ 249293 h 255991"/>
                <a:gd name="connsiteX3" fmla="*/ 1474 w 14336"/>
                <a:gd name="connsiteY3" fmla="*/ 253580 h 255991"/>
                <a:gd name="connsiteX4" fmla="*/ 1474 w 14336"/>
                <a:gd name="connsiteY4" fmla="*/ 253580 h 255991"/>
                <a:gd name="connsiteX5" fmla="*/ 2546 w 14336"/>
                <a:gd name="connsiteY5" fmla="*/ 254652 h 255991"/>
                <a:gd name="connsiteX6" fmla="*/ 5761 w 14336"/>
                <a:gd name="connsiteY6" fmla="*/ 255991 h 255991"/>
                <a:gd name="connsiteX7" fmla="*/ 7101 w 14336"/>
                <a:gd name="connsiteY7" fmla="*/ 255991 h 255991"/>
                <a:gd name="connsiteX8" fmla="*/ 8441 w 14336"/>
                <a:gd name="connsiteY8" fmla="*/ 255991 h 255991"/>
                <a:gd name="connsiteX9" fmla="*/ 14336 w 14336"/>
                <a:gd name="connsiteY9" fmla="*/ 249025 h 255991"/>
                <a:gd name="connsiteX10" fmla="*/ 14336 w 14336"/>
                <a:gd name="connsiteY10" fmla="*/ 7234 h 255991"/>
                <a:gd name="connsiteX11" fmla="*/ 7235 w 14336"/>
                <a:gd name="connsiteY11" fmla="*/ 0 h 25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6" h="255991">
                  <a:moveTo>
                    <a:pt x="7235" y="0"/>
                  </a:moveTo>
                  <a:cubicBezTo>
                    <a:pt x="3240" y="0"/>
                    <a:pt x="0" y="3239"/>
                    <a:pt x="0" y="7234"/>
                  </a:cubicBezTo>
                  <a:lnTo>
                    <a:pt x="0" y="249293"/>
                  </a:lnTo>
                  <a:cubicBezTo>
                    <a:pt x="0" y="250846"/>
                    <a:pt x="519" y="252356"/>
                    <a:pt x="1474" y="253580"/>
                  </a:cubicBezTo>
                  <a:lnTo>
                    <a:pt x="1474" y="253580"/>
                  </a:lnTo>
                  <a:lnTo>
                    <a:pt x="2546" y="254652"/>
                  </a:lnTo>
                  <a:cubicBezTo>
                    <a:pt x="3483" y="255368"/>
                    <a:pt x="4591" y="255830"/>
                    <a:pt x="5761" y="255991"/>
                  </a:cubicBezTo>
                  <a:lnTo>
                    <a:pt x="7101" y="255991"/>
                  </a:lnTo>
                  <a:lnTo>
                    <a:pt x="8441" y="255991"/>
                  </a:lnTo>
                  <a:cubicBezTo>
                    <a:pt x="11865" y="255458"/>
                    <a:pt x="14377" y="252490"/>
                    <a:pt x="14336" y="249025"/>
                  </a:cubicBezTo>
                  <a:lnTo>
                    <a:pt x="14336" y="7234"/>
                  </a:lnTo>
                  <a:cubicBezTo>
                    <a:pt x="14336" y="3290"/>
                    <a:pt x="11178" y="74"/>
                    <a:pt x="7235" y="0"/>
                  </a:cubicBezTo>
                  <a:close/>
                </a:path>
              </a:pathLst>
            </a:custGeom>
            <a:solidFill>
              <a:srgbClr val="000000"/>
            </a:solidFill>
            <a:ln w="12700" cap="flat">
              <a:noFill/>
              <a:prstDash val="solid"/>
              <a:miter/>
            </a:ln>
          </p:spPr>
          <p:txBody>
            <a:bodyPr rtlCol="0" anchor="ctr"/>
            <a:lstStyle/>
            <a:p>
              <a:endParaRPr lang="en-US"/>
            </a:p>
          </p:txBody>
        </p:sp>
        <p:sp>
          <p:nvSpPr>
            <p:cNvPr id="1807" name="Freeform: Shape 1806">
              <a:extLst>
                <a:ext uri="{FF2B5EF4-FFF2-40B4-BE49-F238E27FC236}">
                  <a16:creationId xmlns:a16="http://schemas.microsoft.com/office/drawing/2014/main" id="{EACEED21-EF0B-46C3-A526-34A2CE234A66}"/>
                </a:ext>
              </a:extLst>
            </p:cNvPr>
            <p:cNvSpPr/>
            <p:nvPr/>
          </p:nvSpPr>
          <p:spPr>
            <a:xfrm>
              <a:off x="1437043" y="6137714"/>
              <a:ext cx="14519" cy="332614"/>
            </a:xfrm>
            <a:custGeom>
              <a:avLst/>
              <a:gdLst>
                <a:gd name="connsiteX0" fmla="*/ 13398 w 14519"/>
                <a:gd name="connsiteY0" fmla="*/ 2411 h 332614"/>
                <a:gd name="connsiteX1" fmla="*/ 6163 w 14519"/>
                <a:gd name="connsiteY1" fmla="*/ 9645 h 332614"/>
                <a:gd name="connsiteX2" fmla="*/ 0 w 14519"/>
                <a:gd name="connsiteY2" fmla="*/ 9645 h 332614"/>
                <a:gd name="connsiteX3" fmla="*/ 0 w 14519"/>
                <a:gd name="connsiteY3" fmla="*/ 332614 h 332614"/>
                <a:gd name="connsiteX4" fmla="*/ 7235 w 14519"/>
                <a:gd name="connsiteY4" fmla="*/ 325381 h 332614"/>
                <a:gd name="connsiteX5" fmla="*/ 14469 w 14519"/>
                <a:gd name="connsiteY5" fmla="*/ 325381 h 332614"/>
                <a:gd name="connsiteX6" fmla="*/ 14469 w 14519"/>
                <a:gd name="connsiteY6" fmla="*/ 3885 h 332614"/>
                <a:gd name="connsiteX7" fmla="*/ 14469 w 14519"/>
                <a:gd name="connsiteY7" fmla="*/ 2545 h 332614"/>
                <a:gd name="connsiteX8" fmla="*/ 14469 w 14519"/>
                <a:gd name="connsiteY8" fmla="*/ 1072 h 332614"/>
                <a:gd name="connsiteX9" fmla="*/ 13666 w 14519"/>
                <a:gd name="connsiteY9" fmla="*/ 0 h 332614"/>
                <a:gd name="connsiteX10" fmla="*/ 13398 w 14519"/>
                <a:gd name="connsiteY10" fmla="*/ 2411 h 3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19" h="332614">
                  <a:moveTo>
                    <a:pt x="13398" y="2411"/>
                  </a:moveTo>
                  <a:cubicBezTo>
                    <a:pt x="13398" y="6403"/>
                    <a:pt x="10155" y="9645"/>
                    <a:pt x="6163" y="9645"/>
                  </a:cubicBezTo>
                  <a:lnTo>
                    <a:pt x="0" y="9645"/>
                  </a:lnTo>
                  <a:lnTo>
                    <a:pt x="0" y="332614"/>
                  </a:lnTo>
                  <a:cubicBezTo>
                    <a:pt x="0" y="328623"/>
                    <a:pt x="3242" y="325381"/>
                    <a:pt x="7235" y="325381"/>
                  </a:cubicBezTo>
                  <a:lnTo>
                    <a:pt x="14469" y="325381"/>
                  </a:lnTo>
                  <a:lnTo>
                    <a:pt x="14469" y="3885"/>
                  </a:lnTo>
                  <a:cubicBezTo>
                    <a:pt x="14537" y="3443"/>
                    <a:pt x="14537" y="2987"/>
                    <a:pt x="14469" y="2545"/>
                  </a:cubicBezTo>
                  <a:lnTo>
                    <a:pt x="14469" y="1072"/>
                  </a:lnTo>
                  <a:lnTo>
                    <a:pt x="13666" y="0"/>
                  </a:lnTo>
                  <a:cubicBezTo>
                    <a:pt x="13760" y="817"/>
                    <a:pt x="13666" y="1634"/>
                    <a:pt x="13398" y="2411"/>
                  </a:cubicBezTo>
                  <a:close/>
                </a:path>
              </a:pathLst>
            </a:custGeom>
            <a:solidFill>
              <a:srgbClr val="000000"/>
            </a:solidFill>
            <a:ln w="12700" cap="flat">
              <a:noFill/>
              <a:prstDash val="solid"/>
              <a:miter/>
            </a:ln>
          </p:spPr>
          <p:txBody>
            <a:bodyPr rtlCol="0" anchor="ctr"/>
            <a:lstStyle/>
            <a:p>
              <a:endParaRPr lang="en-US"/>
            </a:p>
          </p:txBody>
        </p:sp>
        <p:sp>
          <p:nvSpPr>
            <p:cNvPr id="1808" name="Freeform: Shape 1807">
              <a:extLst>
                <a:ext uri="{FF2B5EF4-FFF2-40B4-BE49-F238E27FC236}">
                  <a16:creationId xmlns:a16="http://schemas.microsoft.com/office/drawing/2014/main" id="{410B0A79-2E90-47BE-8CEF-433DFD70969B}"/>
                </a:ext>
              </a:extLst>
            </p:cNvPr>
            <p:cNvSpPr/>
            <p:nvPr/>
          </p:nvSpPr>
          <p:spPr>
            <a:xfrm>
              <a:off x="1437713" y="6473410"/>
              <a:ext cx="8842" cy="4788"/>
            </a:xfrm>
            <a:custGeom>
              <a:avLst/>
              <a:gdLst>
                <a:gd name="connsiteX0" fmla="*/ 0 w 8842"/>
                <a:gd name="connsiteY0" fmla="*/ 0 h 4788"/>
                <a:gd name="connsiteX1" fmla="*/ 6565 w 8842"/>
                <a:gd name="connsiteY1" fmla="*/ 4689 h 4788"/>
                <a:gd name="connsiteX2" fmla="*/ 8843 w 8842"/>
                <a:gd name="connsiteY2" fmla="*/ 4689 h 4788"/>
                <a:gd name="connsiteX3" fmla="*/ 6565 w 8842"/>
                <a:gd name="connsiteY3" fmla="*/ 4689 h 4788"/>
                <a:gd name="connsiteX4" fmla="*/ 0 w 8842"/>
                <a:gd name="connsiteY4" fmla="*/ 0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0" y="0"/>
                  </a:moveTo>
                  <a:cubicBezTo>
                    <a:pt x="1005" y="2773"/>
                    <a:pt x="3617" y="4635"/>
                    <a:pt x="6565" y="4689"/>
                  </a:cubicBezTo>
                  <a:cubicBezTo>
                    <a:pt x="7315" y="4822"/>
                    <a:pt x="8092" y="4822"/>
                    <a:pt x="8843" y="4689"/>
                  </a:cubicBezTo>
                  <a:lnTo>
                    <a:pt x="6565" y="4689"/>
                  </a:lnTo>
                  <a:cubicBezTo>
                    <a:pt x="3631" y="4608"/>
                    <a:pt x="1032" y="2746"/>
                    <a:pt x="0" y="0"/>
                  </a:cubicBezTo>
                  <a:close/>
                </a:path>
              </a:pathLst>
            </a:custGeom>
            <a:solidFill>
              <a:srgbClr val="000000"/>
            </a:solidFill>
            <a:ln w="12700" cap="flat">
              <a:noFill/>
              <a:prstDash val="solid"/>
              <a:miter/>
            </a:ln>
          </p:spPr>
          <p:txBody>
            <a:bodyPr rtlCol="0" anchor="ctr"/>
            <a:lstStyle/>
            <a:p>
              <a:endParaRPr lang="en-US"/>
            </a:p>
          </p:txBody>
        </p:sp>
        <p:sp>
          <p:nvSpPr>
            <p:cNvPr id="1809" name="Freeform: Shape 1808">
              <a:extLst>
                <a:ext uri="{FF2B5EF4-FFF2-40B4-BE49-F238E27FC236}">
                  <a16:creationId xmlns:a16="http://schemas.microsoft.com/office/drawing/2014/main" id="{97B9F6D9-2BDF-4627-B0BB-52EBB1DCA4CE}"/>
                </a:ext>
              </a:extLst>
            </p:cNvPr>
            <p:cNvSpPr/>
            <p:nvPr/>
          </p:nvSpPr>
          <p:spPr>
            <a:xfrm>
              <a:off x="1436942" y="6469927"/>
              <a:ext cx="100" cy="2545"/>
            </a:xfrm>
            <a:custGeom>
              <a:avLst/>
              <a:gdLst>
                <a:gd name="connsiteX0" fmla="*/ 101 w 100"/>
                <a:gd name="connsiteY0" fmla="*/ 938 h 2545"/>
                <a:gd name="connsiteX1" fmla="*/ 101 w 100"/>
                <a:gd name="connsiteY1" fmla="*/ 2545 h 2545"/>
                <a:gd name="connsiteX2" fmla="*/ 101 w 100"/>
                <a:gd name="connsiteY2" fmla="*/ 2545 h 2545"/>
                <a:gd name="connsiteX3" fmla="*/ 101 w 100"/>
                <a:gd name="connsiteY3" fmla="*/ 0 h 2545"/>
              </a:gdLst>
              <a:ahLst/>
              <a:cxnLst>
                <a:cxn ang="0">
                  <a:pos x="connsiteX0" y="connsiteY0"/>
                </a:cxn>
                <a:cxn ang="0">
                  <a:pos x="connsiteX1" y="connsiteY1"/>
                </a:cxn>
                <a:cxn ang="0">
                  <a:pos x="connsiteX2" y="connsiteY2"/>
                </a:cxn>
                <a:cxn ang="0">
                  <a:pos x="connsiteX3" y="connsiteY3"/>
                </a:cxn>
              </a:cxnLst>
              <a:rect l="l" t="t" r="r" b="b"/>
              <a:pathLst>
                <a:path w="100" h="2545">
                  <a:moveTo>
                    <a:pt x="101" y="938"/>
                  </a:moveTo>
                  <a:cubicBezTo>
                    <a:pt x="33" y="1474"/>
                    <a:pt x="33" y="2009"/>
                    <a:pt x="101" y="2545"/>
                  </a:cubicBezTo>
                  <a:lnTo>
                    <a:pt x="101" y="2545"/>
                  </a:lnTo>
                  <a:cubicBezTo>
                    <a:pt x="-34" y="1701"/>
                    <a:pt x="-34" y="844"/>
                    <a:pt x="101" y="0"/>
                  </a:cubicBezTo>
                  <a:close/>
                </a:path>
              </a:pathLst>
            </a:custGeom>
            <a:solidFill>
              <a:srgbClr val="000000"/>
            </a:solidFill>
            <a:ln w="12700" cap="flat">
              <a:noFill/>
              <a:prstDash val="solid"/>
              <a:miter/>
            </a:ln>
          </p:spPr>
          <p:txBody>
            <a:bodyPr rtlCol="0" anchor="ctr"/>
            <a:lstStyle/>
            <a:p>
              <a:endParaRPr lang="en-US"/>
            </a:p>
          </p:txBody>
        </p:sp>
        <p:sp>
          <p:nvSpPr>
            <p:cNvPr id="1810" name="Freeform: Shape 1809">
              <a:extLst>
                <a:ext uri="{FF2B5EF4-FFF2-40B4-BE49-F238E27FC236}">
                  <a16:creationId xmlns:a16="http://schemas.microsoft.com/office/drawing/2014/main" id="{8DCCBFC9-955B-42C5-BC51-BBC584CBDCA3}"/>
                </a:ext>
              </a:extLst>
            </p:cNvPr>
            <p:cNvSpPr/>
            <p:nvPr/>
          </p:nvSpPr>
          <p:spPr>
            <a:xfrm>
              <a:off x="628756" y="5592377"/>
              <a:ext cx="64711" cy="14601"/>
            </a:xfrm>
            <a:custGeom>
              <a:avLst/>
              <a:gdLst>
                <a:gd name="connsiteX0" fmla="*/ 7235 w 64711"/>
                <a:gd name="connsiteY0" fmla="*/ 7234 h 14601"/>
                <a:gd name="connsiteX1" fmla="*/ 0 w 64711"/>
                <a:gd name="connsiteY1" fmla="*/ 14601 h 14601"/>
                <a:gd name="connsiteX2" fmla="*/ 64711 w 64711"/>
                <a:gd name="connsiteY2" fmla="*/ 14601 h 14601"/>
                <a:gd name="connsiteX3" fmla="*/ 64711 w 64711"/>
                <a:gd name="connsiteY3" fmla="*/ 0 h 14601"/>
                <a:gd name="connsiteX4" fmla="*/ 0 w 64711"/>
                <a:gd name="connsiteY4" fmla="*/ 0 h 14601"/>
                <a:gd name="connsiteX5" fmla="*/ 7235 w 64711"/>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11" h="14601">
                  <a:moveTo>
                    <a:pt x="7235" y="7234"/>
                  </a:moveTo>
                  <a:cubicBezTo>
                    <a:pt x="7236" y="11251"/>
                    <a:pt x="4017" y="14528"/>
                    <a:pt x="0" y="14601"/>
                  </a:cubicBezTo>
                  <a:lnTo>
                    <a:pt x="64711" y="14601"/>
                  </a:lnTo>
                  <a:lnTo>
                    <a:pt x="64711" y="0"/>
                  </a:lnTo>
                  <a:lnTo>
                    <a:pt x="0" y="0"/>
                  </a:lnTo>
                  <a:cubicBezTo>
                    <a:pt x="3995" y="0"/>
                    <a:pt x="7235" y="3239"/>
                    <a:pt x="7235" y="7234"/>
                  </a:cubicBezTo>
                  <a:close/>
                </a:path>
              </a:pathLst>
            </a:custGeom>
            <a:solidFill>
              <a:srgbClr val="000000"/>
            </a:solidFill>
            <a:ln w="12700" cap="flat">
              <a:noFill/>
              <a:prstDash val="solid"/>
              <a:miter/>
            </a:ln>
          </p:spPr>
          <p:txBody>
            <a:bodyPr rtlCol="0" anchor="ctr"/>
            <a:lstStyle/>
            <a:p>
              <a:endParaRPr lang="en-US"/>
            </a:p>
          </p:txBody>
        </p:sp>
        <p:sp>
          <p:nvSpPr>
            <p:cNvPr id="1811" name="Freeform: Shape 1810">
              <a:extLst>
                <a:ext uri="{FF2B5EF4-FFF2-40B4-BE49-F238E27FC236}">
                  <a16:creationId xmlns:a16="http://schemas.microsoft.com/office/drawing/2014/main" id="{1C34D19B-7E2B-4DEA-A4A5-DB854FE8B44E}"/>
                </a:ext>
              </a:extLst>
            </p:cNvPr>
            <p:cNvSpPr/>
            <p:nvPr/>
          </p:nvSpPr>
          <p:spPr>
            <a:xfrm>
              <a:off x="3224779" y="6539049"/>
              <a:ext cx="60" cy="2379"/>
            </a:xfrm>
            <a:custGeom>
              <a:avLst/>
              <a:gdLst>
                <a:gd name="connsiteX0" fmla="*/ 60 w 60"/>
                <a:gd name="connsiteY0" fmla="*/ 1339 h 2379"/>
                <a:gd name="connsiteX1" fmla="*/ 60 w 60"/>
                <a:gd name="connsiteY1" fmla="*/ 2277 h 2379"/>
                <a:gd name="connsiteX2" fmla="*/ 60 w 60"/>
                <a:gd name="connsiteY2" fmla="*/ 1607 h 2379"/>
                <a:gd name="connsiteX3" fmla="*/ 60 w 60"/>
                <a:gd name="connsiteY3" fmla="*/ 0 h 2379"/>
              </a:gdLst>
              <a:ahLst/>
              <a:cxnLst>
                <a:cxn ang="0">
                  <a:pos x="connsiteX0" y="connsiteY0"/>
                </a:cxn>
                <a:cxn ang="0">
                  <a:pos x="connsiteX1" y="connsiteY1"/>
                </a:cxn>
                <a:cxn ang="0">
                  <a:pos x="connsiteX2" y="connsiteY2"/>
                </a:cxn>
                <a:cxn ang="0">
                  <a:pos x="connsiteX3" y="connsiteY3"/>
                </a:cxn>
              </a:cxnLst>
              <a:rect l="l" t="t" r="r" b="b"/>
              <a:pathLst>
                <a:path w="60" h="2379">
                  <a:moveTo>
                    <a:pt x="60" y="1339"/>
                  </a:moveTo>
                  <a:cubicBezTo>
                    <a:pt x="60" y="1339"/>
                    <a:pt x="60" y="2009"/>
                    <a:pt x="60" y="2277"/>
                  </a:cubicBezTo>
                  <a:cubicBezTo>
                    <a:pt x="60" y="2545"/>
                    <a:pt x="60" y="2277"/>
                    <a:pt x="60" y="1607"/>
                  </a:cubicBezTo>
                  <a:cubicBezTo>
                    <a:pt x="-20" y="1072"/>
                    <a:pt x="-20" y="536"/>
                    <a:pt x="60" y="0"/>
                  </a:cubicBezTo>
                  <a:close/>
                </a:path>
              </a:pathLst>
            </a:custGeom>
            <a:solidFill>
              <a:srgbClr val="000000"/>
            </a:solidFill>
            <a:ln w="12700" cap="flat">
              <a:noFill/>
              <a:prstDash val="solid"/>
              <a:miter/>
            </a:ln>
          </p:spPr>
          <p:txBody>
            <a:bodyPr rtlCol="0" anchor="ctr"/>
            <a:lstStyle/>
            <a:p>
              <a:endParaRPr lang="en-US"/>
            </a:p>
          </p:txBody>
        </p:sp>
        <p:sp>
          <p:nvSpPr>
            <p:cNvPr id="1812" name="Freeform: Shape 1811">
              <a:extLst>
                <a:ext uri="{FF2B5EF4-FFF2-40B4-BE49-F238E27FC236}">
                  <a16:creationId xmlns:a16="http://schemas.microsoft.com/office/drawing/2014/main" id="{6CE4930C-FD9D-41D6-9180-EBC62342AC3A}"/>
                </a:ext>
              </a:extLst>
            </p:cNvPr>
            <p:cNvSpPr/>
            <p:nvPr/>
          </p:nvSpPr>
          <p:spPr>
            <a:xfrm>
              <a:off x="3239175" y="6539049"/>
              <a:ext cx="60" cy="2277"/>
            </a:xfrm>
            <a:custGeom>
              <a:avLst/>
              <a:gdLst>
                <a:gd name="connsiteX0" fmla="*/ 0 w 60"/>
                <a:gd name="connsiteY0" fmla="*/ 2277 h 2277"/>
                <a:gd name="connsiteX1" fmla="*/ 0 w 60"/>
                <a:gd name="connsiteY1" fmla="*/ 1339 h 2277"/>
                <a:gd name="connsiteX2" fmla="*/ 0 w 60"/>
                <a:gd name="connsiteY2" fmla="*/ 0 h 2277"/>
                <a:gd name="connsiteX3" fmla="*/ 0 w 60"/>
                <a:gd name="connsiteY3" fmla="*/ 1607 h 2277"/>
                <a:gd name="connsiteX4" fmla="*/ 0 w 60"/>
                <a:gd name="connsiteY4" fmla="*/ 2277 h 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2277">
                  <a:moveTo>
                    <a:pt x="0" y="2277"/>
                  </a:moveTo>
                  <a:cubicBezTo>
                    <a:pt x="0" y="2277"/>
                    <a:pt x="0" y="1607"/>
                    <a:pt x="0" y="1339"/>
                  </a:cubicBezTo>
                  <a:lnTo>
                    <a:pt x="0" y="0"/>
                  </a:lnTo>
                  <a:cubicBezTo>
                    <a:pt x="80" y="536"/>
                    <a:pt x="80" y="1072"/>
                    <a:pt x="0" y="1607"/>
                  </a:cubicBezTo>
                  <a:cubicBezTo>
                    <a:pt x="0" y="1607"/>
                    <a:pt x="0" y="2009"/>
                    <a:pt x="0" y="2277"/>
                  </a:cubicBezTo>
                  <a:close/>
                </a:path>
              </a:pathLst>
            </a:custGeom>
            <a:solidFill>
              <a:srgbClr val="000000"/>
            </a:solidFill>
            <a:ln w="12700" cap="flat">
              <a:noFill/>
              <a:prstDash val="solid"/>
              <a:miter/>
            </a:ln>
          </p:spPr>
          <p:txBody>
            <a:bodyPr rtlCol="0" anchor="ctr"/>
            <a:lstStyle/>
            <a:p>
              <a:endParaRPr lang="en-US"/>
            </a:p>
          </p:txBody>
        </p:sp>
        <p:sp>
          <p:nvSpPr>
            <p:cNvPr id="1813" name="Freeform: Shape 1812">
              <a:extLst>
                <a:ext uri="{FF2B5EF4-FFF2-40B4-BE49-F238E27FC236}">
                  <a16:creationId xmlns:a16="http://schemas.microsoft.com/office/drawing/2014/main" id="{DB0B35D1-45E0-47C1-A862-A16CCFB773C7}"/>
                </a:ext>
              </a:extLst>
            </p:cNvPr>
            <p:cNvSpPr/>
            <p:nvPr/>
          </p:nvSpPr>
          <p:spPr>
            <a:xfrm>
              <a:off x="153538" y="6470195"/>
              <a:ext cx="20632" cy="14612"/>
            </a:xfrm>
            <a:custGeom>
              <a:avLst/>
              <a:gdLst>
                <a:gd name="connsiteX0" fmla="*/ 12862 w 20632"/>
                <a:gd name="connsiteY0" fmla="*/ 7234 h 14612"/>
                <a:gd name="connsiteX1" fmla="*/ 20097 w 20632"/>
                <a:gd name="connsiteY1" fmla="*/ 0 h 14612"/>
                <a:gd name="connsiteX2" fmla="*/ 7235 w 20632"/>
                <a:gd name="connsiteY2" fmla="*/ 0 h 14612"/>
                <a:gd name="connsiteX3" fmla="*/ 7235 w 20632"/>
                <a:gd name="connsiteY3" fmla="*/ 7234 h 14612"/>
                <a:gd name="connsiteX4" fmla="*/ 0 w 20632"/>
                <a:gd name="connsiteY4" fmla="*/ 14601 h 14612"/>
                <a:gd name="connsiteX5" fmla="*/ 20633 w 20632"/>
                <a:gd name="connsiteY5" fmla="*/ 14601 h 14612"/>
                <a:gd name="connsiteX6" fmla="*/ 12873 w 20632"/>
                <a:gd name="connsiteY6" fmla="*/ 7649 h 14612"/>
                <a:gd name="connsiteX7" fmla="*/ 12862 w 20632"/>
                <a:gd name="connsiteY7" fmla="*/ 7234 h 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2" h="14612">
                  <a:moveTo>
                    <a:pt x="12862" y="7234"/>
                  </a:moveTo>
                  <a:cubicBezTo>
                    <a:pt x="12862" y="3242"/>
                    <a:pt x="16101" y="0"/>
                    <a:pt x="20097" y="0"/>
                  </a:cubicBezTo>
                  <a:lnTo>
                    <a:pt x="7235" y="0"/>
                  </a:lnTo>
                  <a:lnTo>
                    <a:pt x="7235" y="7234"/>
                  </a:lnTo>
                  <a:cubicBezTo>
                    <a:pt x="7235" y="11252"/>
                    <a:pt x="4017" y="14534"/>
                    <a:pt x="0" y="14601"/>
                  </a:cubicBezTo>
                  <a:lnTo>
                    <a:pt x="20633" y="14601"/>
                  </a:lnTo>
                  <a:cubicBezTo>
                    <a:pt x="16569" y="14829"/>
                    <a:pt x="13095" y="11708"/>
                    <a:pt x="12873" y="7649"/>
                  </a:cubicBezTo>
                  <a:cubicBezTo>
                    <a:pt x="12866" y="7515"/>
                    <a:pt x="12862" y="7368"/>
                    <a:pt x="12862" y="7234"/>
                  </a:cubicBezTo>
                  <a:close/>
                </a:path>
              </a:pathLst>
            </a:custGeom>
            <a:solidFill>
              <a:srgbClr val="000000"/>
            </a:solidFill>
            <a:ln w="12700" cap="flat">
              <a:noFill/>
              <a:prstDash val="solid"/>
              <a:miter/>
            </a:ln>
          </p:spPr>
          <p:txBody>
            <a:bodyPr rtlCol="0" anchor="ctr"/>
            <a:lstStyle/>
            <a:p>
              <a:endParaRPr lang="en-US"/>
            </a:p>
          </p:txBody>
        </p:sp>
        <p:sp>
          <p:nvSpPr>
            <p:cNvPr id="1814" name="Freeform: Shape 1813">
              <a:extLst>
                <a:ext uri="{FF2B5EF4-FFF2-40B4-BE49-F238E27FC236}">
                  <a16:creationId xmlns:a16="http://schemas.microsoft.com/office/drawing/2014/main" id="{7E968023-45F2-4972-8680-CB924BC9A727}"/>
                </a:ext>
              </a:extLst>
            </p:cNvPr>
            <p:cNvSpPr/>
            <p:nvPr/>
          </p:nvSpPr>
          <p:spPr>
            <a:xfrm>
              <a:off x="166936" y="6470195"/>
              <a:ext cx="37379" cy="14601"/>
            </a:xfrm>
            <a:custGeom>
              <a:avLst/>
              <a:gdLst>
                <a:gd name="connsiteX0" fmla="*/ 37380 w 37379"/>
                <a:gd name="connsiteY0" fmla="*/ 7234 h 14601"/>
                <a:gd name="connsiteX1" fmla="*/ 30011 w 37379"/>
                <a:gd name="connsiteY1" fmla="*/ 0 h 14601"/>
                <a:gd name="connsiteX2" fmla="*/ 7235 w 37379"/>
                <a:gd name="connsiteY2" fmla="*/ 0 h 14601"/>
                <a:gd name="connsiteX3" fmla="*/ 0 w 37379"/>
                <a:gd name="connsiteY3" fmla="*/ 7234 h 14601"/>
                <a:gd name="connsiteX4" fmla="*/ 7235 w 37379"/>
                <a:gd name="connsiteY4" fmla="*/ 14601 h 14601"/>
                <a:gd name="connsiteX5" fmla="*/ 30011 w 37379"/>
                <a:gd name="connsiteY5" fmla="*/ 14601 h 14601"/>
                <a:gd name="connsiteX6" fmla="*/ 37380 w 37379"/>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79" h="14601">
                  <a:moveTo>
                    <a:pt x="37380" y="7234"/>
                  </a:moveTo>
                  <a:cubicBezTo>
                    <a:pt x="37306" y="3215"/>
                    <a:pt x="34029" y="0"/>
                    <a:pt x="30011" y="0"/>
                  </a:cubicBezTo>
                  <a:lnTo>
                    <a:pt x="7235" y="0"/>
                  </a:lnTo>
                  <a:cubicBezTo>
                    <a:pt x="3240" y="0"/>
                    <a:pt x="0" y="3242"/>
                    <a:pt x="0" y="7234"/>
                  </a:cubicBezTo>
                  <a:cubicBezTo>
                    <a:pt x="0" y="11252"/>
                    <a:pt x="3218" y="14534"/>
                    <a:pt x="7235" y="14601"/>
                  </a:cubicBezTo>
                  <a:lnTo>
                    <a:pt x="30011" y="14601"/>
                  </a:lnTo>
                  <a:cubicBezTo>
                    <a:pt x="34081" y="14601"/>
                    <a:pt x="37380" y="11306"/>
                    <a:pt x="37380" y="7234"/>
                  </a:cubicBezTo>
                  <a:close/>
                </a:path>
              </a:pathLst>
            </a:custGeom>
            <a:solidFill>
              <a:srgbClr val="000000"/>
            </a:solidFill>
            <a:ln w="12700" cap="flat">
              <a:noFill/>
              <a:prstDash val="solid"/>
              <a:miter/>
            </a:ln>
          </p:spPr>
          <p:txBody>
            <a:bodyPr rtlCol="0" anchor="ctr"/>
            <a:lstStyle/>
            <a:p>
              <a:endParaRPr lang="en-US"/>
            </a:p>
          </p:txBody>
        </p:sp>
        <p:sp>
          <p:nvSpPr>
            <p:cNvPr id="1815" name="Freeform: Shape 1814">
              <a:extLst>
                <a:ext uri="{FF2B5EF4-FFF2-40B4-BE49-F238E27FC236}">
                  <a16:creationId xmlns:a16="http://schemas.microsoft.com/office/drawing/2014/main" id="{A26AAA65-F6EC-4A24-9029-F48683C114CA}"/>
                </a:ext>
              </a:extLst>
            </p:cNvPr>
            <p:cNvSpPr/>
            <p:nvPr/>
          </p:nvSpPr>
          <p:spPr>
            <a:xfrm>
              <a:off x="146169" y="5598807"/>
              <a:ext cx="14469" cy="885989"/>
            </a:xfrm>
            <a:custGeom>
              <a:avLst/>
              <a:gdLst>
                <a:gd name="connsiteX0" fmla="*/ 7235 w 14469"/>
                <a:gd name="connsiteY0" fmla="*/ 885990 h 885989"/>
                <a:gd name="connsiteX1" fmla="*/ 14470 w 14469"/>
                <a:gd name="connsiteY1" fmla="*/ 878622 h 885989"/>
                <a:gd name="connsiteX2" fmla="*/ 14470 w 14469"/>
                <a:gd name="connsiteY2" fmla="*/ 0 h 885989"/>
                <a:gd name="connsiteX3" fmla="*/ 7235 w 14469"/>
                <a:gd name="connsiteY3" fmla="*/ 7234 h 885989"/>
                <a:gd name="connsiteX4" fmla="*/ 0 w 14469"/>
                <a:gd name="connsiteY4" fmla="*/ 0 h 885989"/>
                <a:gd name="connsiteX5" fmla="*/ 0 w 14469"/>
                <a:gd name="connsiteY5" fmla="*/ 879024 h 885989"/>
                <a:gd name="connsiteX6" fmla="*/ 7235 w 14469"/>
                <a:gd name="connsiteY6" fmla="*/ 885990 h 885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85989">
                  <a:moveTo>
                    <a:pt x="7235" y="885990"/>
                  </a:moveTo>
                  <a:cubicBezTo>
                    <a:pt x="11251" y="885923"/>
                    <a:pt x="14470" y="882641"/>
                    <a:pt x="14470" y="878622"/>
                  </a:cubicBezTo>
                  <a:lnTo>
                    <a:pt x="14470" y="0"/>
                  </a:lnTo>
                  <a:cubicBezTo>
                    <a:pt x="14470" y="3995"/>
                    <a:pt x="11230" y="7234"/>
                    <a:pt x="7235" y="7234"/>
                  </a:cubicBezTo>
                  <a:cubicBezTo>
                    <a:pt x="3240" y="7234"/>
                    <a:pt x="0" y="3995"/>
                    <a:pt x="0" y="0"/>
                  </a:cubicBezTo>
                  <a:lnTo>
                    <a:pt x="0" y="879024"/>
                  </a:lnTo>
                  <a:cubicBezTo>
                    <a:pt x="210" y="882882"/>
                    <a:pt x="3370" y="885923"/>
                    <a:pt x="7235" y="885990"/>
                  </a:cubicBezTo>
                  <a:close/>
                </a:path>
              </a:pathLst>
            </a:custGeom>
            <a:solidFill>
              <a:schemeClr val="accent5">
                <a:lumMod val="50000"/>
              </a:schemeClr>
            </a:solidFill>
            <a:ln w="12700" cap="flat">
              <a:noFill/>
              <a:prstDash val="solid"/>
              <a:miter/>
            </a:ln>
          </p:spPr>
          <p:txBody>
            <a:bodyPr rtlCol="0" anchor="ctr"/>
            <a:lstStyle/>
            <a:p>
              <a:endParaRPr lang="en-US"/>
            </a:p>
          </p:txBody>
        </p:sp>
        <p:sp>
          <p:nvSpPr>
            <p:cNvPr id="1816" name="Freeform: Shape 1815">
              <a:extLst>
                <a:ext uri="{FF2B5EF4-FFF2-40B4-BE49-F238E27FC236}">
                  <a16:creationId xmlns:a16="http://schemas.microsoft.com/office/drawing/2014/main" id="{903635F9-EF43-4044-9873-C781B558148F}"/>
                </a:ext>
              </a:extLst>
            </p:cNvPr>
            <p:cNvSpPr/>
            <p:nvPr/>
          </p:nvSpPr>
          <p:spPr>
            <a:xfrm>
              <a:off x="146169" y="5435697"/>
              <a:ext cx="14650" cy="170410"/>
            </a:xfrm>
            <a:custGeom>
              <a:avLst/>
              <a:gdLst>
                <a:gd name="connsiteX0" fmla="*/ 0 w 14650"/>
                <a:gd name="connsiteY0" fmla="*/ 6648 h 170410"/>
                <a:gd name="connsiteX1" fmla="*/ 0 w 14650"/>
                <a:gd name="connsiteY1" fmla="*/ 163110 h 170410"/>
                <a:gd name="connsiteX2" fmla="*/ 7302 w 14650"/>
                <a:gd name="connsiteY2" fmla="*/ 170410 h 170410"/>
                <a:gd name="connsiteX3" fmla="*/ 14604 w 14650"/>
                <a:gd name="connsiteY3" fmla="*/ 163110 h 170410"/>
                <a:gd name="connsiteX4" fmla="*/ 14604 w 14650"/>
                <a:gd name="connsiteY4" fmla="*/ 6648 h 170410"/>
                <a:gd name="connsiteX5" fmla="*/ 14604 w 14650"/>
                <a:gd name="connsiteY5" fmla="*/ 6648 h 170410"/>
                <a:gd name="connsiteX6" fmla="*/ 14604 w 14650"/>
                <a:gd name="connsiteY6" fmla="*/ 5175 h 170410"/>
                <a:gd name="connsiteX7" fmla="*/ 14604 w 14650"/>
                <a:gd name="connsiteY7" fmla="*/ 3969 h 170410"/>
                <a:gd name="connsiteX8" fmla="*/ 13934 w 14650"/>
                <a:gd name="connsiteY8" fmla="*/ 2898 h 170410"/>
                <a:gd name="connsiteX9" fmla="*/ 12862 w 14650"/>
                <a:gd name="connsiteY9" fmla="*/ 1826 h 170410"/>
                <a:gd name="connsiteX10" fmla="*/ 8307 w 14650"/>
                <a:gd name="connsiteY10" fmla="*/ 85 h 170410"/>
                <a:gd name="connsiteX11" fmla="*/ 60 w 14650"/>
                <a:gd name="connsiteY11" fmla="*/ 6139 h 170410"/>
                <a:gd name="connsiteX12" fmla="*/ 0 w 14650"/>
                <a:gd name="connsiteY12" fmla="*/ 6648 h 17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50" h="170410">
                  <a:moveTo>
                    <a:pt x="0" y="6648"/>
                  </a:moveTo>
                  <a:lnTo>
                    <a:pt x="0" y="163110"/>
                  </a:lnTo>
                  <a:cubicBezTo>
                    <a:pt x="0" y="167142"/>
                    <a:pt x="3269" y="170410"/>
                    <a:pt x="7302" y="170410"/>
                  </a:cubicBezTo>
                  <a:cubicBezTo>
                    <a:pt x="11334" y="170410"/>
                    <a:pt x="14604" y="167142"/>
                    <a:pt x="14604" y="163110"/>
                  </a:cubicBezTo>
                  <a:lnTo>
                    <a:pt x="14604" y="6648"/>
                  </a:lnTo>
                  <a:cubicBezTo>
                    <a:pt x="14604" y="6648"/>
                    <a:pt x="14604" y="6648"/>
                    <a:pt x="14604" y="6648"/>
                  </a:cubicBezTo>
                  <a:cubicBezTo>
                    <a:pt x="14667" y="6159"/>
                    <a:pt x="14667" y="5664"/>
                    <a:pt x="14604" y="5175"/>
                  </a:cubicBezTo>
                  <a:cubicBezTo>
                    <a:pt x="14654" y="4774"/>
                    <a:pt x="14654" y="4370"/>
                    <a:pt x="14604" y="3969"/>
                  </a:cubicBezTo>
                  <a:cubicBezTo>
                    <a:pt x="14460" y="3567"/>
                    <a:pt x="14232" y="3202"/>
                    <a:pt x="13934" y="2898"/>
                  </a:cubicBezTo>
                  <a:lnTo>
                    <a:pt x="12862" y="1826"/>
                  </a:lnTo>
                  <a:cubicBezTo>
                    <a:pt x="11609" y="705"/>
                    <a:pt x="9988" y="85"/>
                    <a:pt x="8307" y="85"/>
                  </a:cubicBezTo>
                  <a:cubicBezTo>
                    <a:pt x="4357" y="-521"/>
                    <a:pt x="665" y="2190"/>
                    <a:pt x="60" y="6139"/>
                  </a:cubicBezTo>
                  <a:cubicBezTo>
                    <a:pt x="34" y="6308"/>
                    <a:pt x="13" y="6478"/>
                    <a:pt x="0" y="6648"/>
                  </a:cubicBezTo>
                  <a:close/>
                </a:path>
              </a:pathLst>
            </a:custGeom>
            <a:solidFill>
              <a:srgbClr val="000000"/>
            </a:solidFill>
            <a:ln w="12700" cap="flat">
              <a:noFill/>
              <a:prstDash val="solid"/>
              <a:miter/>
            </a:ln>
          </p:spPr>
          <p:txBody>
            <a:bodyPr rtlCol="0" anchor="ctr"/>
            <a:lstStyle/>
            <a:p>
              <a:endParaRPr lang="en-US"/>
            </a:p>
          </p:txBody>
        </p:sp>
        <p:sp>
          <p:nvSpPr>
            <p:cNvPr id="1817" name="Freeform: Shape 1816">
              <a:extLst>
                <a:ext uri="{FF2B5EF4-FFF2-40B4-BE49-F238E27FC236}">
                  <a16:creationId xmlns:a16="http://schemas.microsoft.com/office/drawing/2014/main" id="{F3692C87-7951-4F03-A832-B32B59FA78AB}"/>
                </a:ext>
              </a:extLst>
            </p:cNvPr>
            <p:cNvSpPr/>
            <p:nvPr/>
          </p:nvSpPr>
          <p:spPr>
            <a:xfrm>
              <a:off x="316321" y="6480912"/>
              <a:ext cx="14603" cy="372399"/>
            </a:xfrm>
            <a:custGeom>
              <a:avLst/>
              <a:gdLst>
                <a:gd name="connsiteX0" fmla="*/ 7369 w 14603"/>
                <a:gd name="connsiteY0" fmla="*/ 7234 h 372399"/>
                <a:gd name="connsiteX1" fmla="*/ 670 w 14603"/>
                <a:gd name="connsiteY1" fmla="*/ 2679 h 372399"/>
                <a:gd name="connsiteX2" fmla="*/ 0 w 14603"/>
                <a:gd name="connsiteY2" fmla="*/ 2679 h 372399"/>
                <a:gd name="connsiteX3" fmla="*/ 0 w 14603"/>
                <a:gd name="connsiteY3" fmla="*/ 372399 h 372399"/>
                <a:gd name="connsiteX4" fmla="*/ 14604 w 14603"/>
                <a:gd name="connsiteY4" fmla="*/ 372399 h 372399"/>
                <a:gd name="connsiteX5" fmla="*/ 14604 w 14603"/>
                <a:gd name="connsiteY5" fmla="*/ 0 h 372399"/>
                <a:gd name="connsiteX6" fmla="*/ 7369 w 14603"/>
                <a:gd name="connsiteY6" fmla="*/ 7234 h 37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72399">
                  <a:moveTo>
                    <a:pt x="7369" y="7234"/>
                  </a:moveTo>
                  <a:cubicBezTo>
                    <a:pt x="4404" y="7260"/>
                    <a:pt x="1732" y="5452"/>
                    <a:pt x="670" y="2679"/>
                  </a:cubicBezTo>
                  <a:lnTo>
                    <a:pt x="0" y="2679"/>
                  </a:lnTo>
                  <a:lnTo>
                    <a:pt x="0" y="372399"/>
                  </a:lnTo>
                  <a:lnTo>
                    <a:pt x="14604" y="372399"/>
                  </a:lnTo>
                  <a:lnTo>
                    <a:pt x="14604" y="0"/>
                  </a:lnTo>
                  <a:cubicBezTo>
                    <a:pt x="14604" y="3992"/>
                    <a:pt x="11364" y="7234"/>
                    <a:pt x="7369" y="7234"/>
                  </a:cubicBezTo>
                  <a:close/>
                </a:path>
              </a:pathLst>
            </a:custGeom>
            <a:solidFill>
              <a:srgbClr val="000000"/>
            </a:solidFill>
            <a:ln w="12700" cap="flat">
              <a:noFill/>
              <a:prstDash val="solid"/>
              <a:miter/>
            </a:ln>
          </p:spPr>
          <p:txBody>
            <a:bodyPr rtlCol="0" anchor="ctr"/>
            <a:lstStyle/>
            <a:p>
              <a:endParaRPr lang="en-US"/>
            </a:p>
          </p:txBody>
        </p:sp>
        <p:sp>
          <p:nvSpPr>
            <p:cNvPr id="1818" name="Freeform: Shape 1817">
              <a:extLst>
                <a:ext uri="{FF2B5EF4-FFF2-40B4-BE49-F238E27FC236}">
                  <a16:creationId xmlns:a16="http://schemas.microsoft.com/office/drawing/2014/main" id="{E387B962-B1A3-464F-9F21-57A49CE41ADA}"/>
                </a:ext>
              </a:extLst>
            </p:cNvPr>
            <p:cNvSpPr/>
            <p:nvPr/>
          </p:nvSpPr>
          <p:spPr>
            <a:xfrm>
              <a:off x="306004" y="6121238"/>
              <a:ext cx="14603" cy="363558"/>
            </a:xfrm>
            <a:custGeom>
              <a:avLst/>
              <a:gdLst>
                <a:gd name="connsiteX0" fmla="*/ 7235 w 14603"/>
                <a:gd name="connsiteY0" fmla="*/ 363558 h 363558"/>
                <a:gd name="connsiteX1" fmla="*/ 10316 w 14603"/>
                <a:gd name="connsiteY1" fmla="*/ 362755 h 363558"/>
                <a:gd name="connsiteX2" fmla="*/ 10986 w 14603"/>
                <a:gd name="connsiteY2" fmla="*/ 362755 h 363558"/>
                <a:gd name="connsiteX3" fmla="*/ 10316 w 14603"/>
                <a:gd name="connsiteY3" fmla="*/ 360076 h 363558"/>
                <a:gd name="connsiteX4" fmla="*/ 10316 w 14603"/>
                <a:gd name="connsiteY4" fmla="*/ 349493 h 363558"/>
                <a:gd name="connsiteX5" fmla="*/ 14604 w 14603"/>
                <a:gd name="connsiteY5" fmla="*/ 343063 h 363558"/>
                <a:gd name="connsiteX6" fmla="*/ 14604 w 14603"/>
                <a:gd name="connsiteY6" fmla="*/ 343063 h 363558"/>
                <a:gd name="connsiteX7" fmla="*/ 14604 w 14603"/>
                <a:gd name="connsiteY7" fmla="*/ 0 h 363558"/>
                <a:gd name="connsiteX8" fmla="*/ 7235 w 14603"/>
                <a:gd name="connsiteY8" fmla="*/ 7368 h 363558"/>
                <a:gd name="connsiteX9" fmla="*/ 0 w 14603"/>
                <a:gd name="connsiteY9" fmla="*/ 0 h 363558"/>
                <a:gd name="connsiteX10" fmla="*/ 0 w 14603"/>
                <a:gd name="connsiteY10" fmla="*/ 356459 h 363558"/>
                <a:gd name="connsiteX11" fmla="*/ 7235 w 14603"/>
                <a:gd name="connsiteY11" fmla="*/ 363558 h 36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363558">
                  <a:moveTo>
                    <a:pt x="7235" y="363558"/>
                  </a:moveTo>
                  <a:cubicBezTo>
                    <a:pt x="8316" y="363572"/>
                    <a:pt x="9382" y="363304"/>
                    <a:pt x="10316" y="362755"/>
                  </a:cubicBezTo>
                  <a:lnTo>
                    <a:pt x="10986" y="362755"/>
                  </a:lnTo>
                  <a:cubicBezTo>
                    <a:pt x="10563" y="361924"/>
                    <a:pt x="10334" y="361013"/>
                    <a:pt x="10316" y="360076"/>
                  </a:cubicBezTo>
                  <a:lnTo>
                    <a:pt x="10316" y="349493"/>
                  </a:lnTo>
                  <a:cubicBezTo>
                    <a:pt x="10351" y="346693"/>
                    <a:pt x="12031" y="344175"/>
                    <a:pt x="14604" y="343063"/>
                  </a:cubicBezTo>
                  <a:lnTo>
                    <a:pt x="14604" y="343063"/>
                  </a:lnTo>
                  <a:lnTo>
                    <a:pt x="14604" y="0"/>
                  </a:lnTo>
                  <a:cubicBezTo>
                    <a:pt x="14604" y="4072"/>
                    <a:pt x="11305" y="7368"/>
                    <a:pt x="7235" y="7368"/>
                  </a:cubicBezTo>
                  <a:cubicBezTo>
                    <a:pt x="3218" y="7301"/>
                    <a:pt x="0" y="4019"/>
                    <a:pt x="0" y="0"/>
                  </a:cubicBezTo>
                  <a:lnTo>
                    <a:pt x="0" y="356459"/>
                  </a:lnTo>
                  <a:cubicBezTo>
                    <a:pt x="142" y="360370"/>
                    <a:pt x="3320" y="363491"/>
                    <a:pt x="7235" y="363558"/>
                  </a:cubicBezTo>
                  <a:close/>
                </a:path>
              </a:pathLst>
            </a:custGeom>
            <a:solidFill>
              <a:srgbClr val="000000"/>
            </a:solidFill>
            <a:ln w="12700" cap="flat">
              <a:noFill/>
              <a:prstDash val="solid"/>
              <a:miter/>
            </a:ln>
          </p:spPr>
          <p:txBody>
            <a:bodyPr rtlCol="0" anchor="ctr"/>
            <a:lstStyle/>
            <a:p>
              <a:endParaRPr lang="en-US"/>
            </a:p>
          </p:txBody>
        </p:sp>
        <p:sp>
          <p:nvSpPr>
            <p:cNvPr id="1819" name="Freeform: Shape 1818">
              <a:extLst>
                <a:ext uri="{FF2B5EF4-FFF2-40B4-BE49-F238E27FC236}">
                  <a16:creationId xmlns:a16="http://schemas.microsoft.com/office/drawing/2014/main" id="{9659DD08-4487-4A2C-BC38-12E219C15A77}"/>
                </a:ext>
              </a:extLst>
            </p:cNvPr>
            <p:cNvSpPr/>
            <p:nvPr/>
          </p:nvSpPr>
          <p:spPr>
            <a:xfrm>
              <a:off x="693467" y="6470865"/>
              <a:ext cx="14603" cy="382848"/>
            </a:xfrm>
            <a:custGeom>
              <a:avLst/>
              <a:gdLst>
                <a:gd name="connsiteX0" fmla="*/ 14604 w 14603"/>
                <a:gd name="connsiteY0" fmla="*/ 6564 h 382848"/>
                <a:gd name="connsiteX1" fmla="*/ 14604 w 14603"/>
                <a:gd name="connsiteY1" fmla="*/ 0 h 382848"/>
                <a:gd name="connsiteX2" fmla="*/ 7235 w 14603"/>
                <a:gd name="connsiteY2" fmla="*/ 7234 h 382848"/>
                <a:gd name="connsiteX3" fmla="*/ 0 w 14603"/>
                <a:gd name="connsiteY3" fmla="*/ 0 h 382848"/>
                <a:gd name="connsiteX4" fmla="*/ 0 w 14603"/>
                <a:gd name="connsiteY4" fmla="*/ 382848 h 382848"/>
                <a:gd name="connsiteX5" fmla="*/ 14604 w 14603"/>
                <a:gd name="connsiteY5" fmla="*/ 382848 h 382848"/>
                <a:gd name="connsiteX6" fmla="*/ 14604 w 14603"/>
                <a:gd name="connsiteY6" fmla="*/ 6564 h 3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82848">
                  <a:moveTo>
                    <a:pt x="14604" y="6564"/>
                  </a:moveTo>
                  <a:lnTo>
                    <a:pt x="14604" y="0"/>
                  </a:lnTo>
                  <a:cubicBezTo>
                    <a:pt x="14530" y="4019"/>
                    <a:pt x="11253" y="7234"/>
                    <a:pt x="7235" y="7234"/>
                  </a:cubicBezTo>
                  <a:cubicBezTo>
                    <a:pt x="3240" y="7234"/>
                    <a:pt x="0" y="3992"/>
                    <a:pt x="0" y="0"/>
                  </a:cubicBezTo>
                  <a:lnTo>
                    <a:pt x="0" y="382848"/>
                  </a:lnTo>
                  <a:lnTo>
                    <a:pt x="14604" y="382848"/>
                  </a:lnTo>
                  <a:lnTo>
                    <a:pt x="14604" y="6564"/>
                  </a:lnTo>
                  <a:close/>
                </a:path>
              </a:pathLst>
            </a:custGeom>
            <a:solidFill>
              <a:srgbClr val="000000"/>
            </a:solidFill>
            <a:ln w="12700" cap="flat">
              <a:noFill/>
              <a:prstDash val="solid"/>
              <a:miter/>
            </a:ln>
          </p:spPr>
          <p:txBody>
            <a:bodyPr rtlCol="0" anchor="ctr"/>
            <a:lstStyle/>
            <a:p>
              <a:endParaRPr lang="en-US"/>
            </a:p>
          </p:txBody>
        </p:sp>
        <p:sp>
          <p:nvSpPr>
            <p:cNvPr id="1820" name="Freeform: Shape 1819">
              <a:extLst>
                <a:ext uri="{FF2B5EF4-FFF2-40B4-BE49-F238E27FC236}">
                  <a16:creationId xmlns:a16="http://schemas.microsoft.com/office/drawing/2014/main" id="{DDCE8659-6F49-482F-9FA7-394275606A7E}"/>
                </a:ext>
              </a:extLst>
            </p:cNvPr>
            <p:cNvSpPr/>
            <p:nvPr/>
          </p:nvSpPr>
          <p:spPr>
            <a:xfrm>
              <a:off x="4560595" y="6539256"/>
              <a:ext cx="14570" cy="314724"/>
            </a:xfrm>
            <a:custGeom>
              <a:avLst/>
              <a:gdLst>
                <a:gd name="connsiteX0" fmla="*/ 0 w 14570"/>
                <a:gd name="connsiteY0" fmla="*/ 6624 h 314724"/>
                <a:gd name="connsiteX1" fmla="*/ 0 w 14570"/>
                <a:gd name="connsiteY1" fmla="*/ 314725 h 314724"/>
                <a:gd name="connsiteX2" fmla="*/ 14470 w 14570"/>
                <a:gd name="connsiteY2" fmla="*/ 314725 h 314724"/>
                <a:gd name="connsiteX3" fmla="*/ 14470 w 14570"/>
                <a:gd name="connsiteY3" fmla="*/ 6624 h 314724"/>
                <a:gd name="connsiteX4" fmla="*/ 14470 w 14570"/>
                <a:gd name="connsiteY4" fmla="*/ 5419 h 314724"/>
                <a:gd name="connsiteX5" fmla="*/ 14470 w 14570"/>
                <a:gd name="connsiteY5" fmla="*/ 3945 h 314724"/>
                <a:gd name="connsiteX6" fmla="*/ 13800 w 14570"/>
                <a:gd name="connsiteY6" fmla="*/ 2739 h 314724"/>
                <a:gd name="connsiteX7" fmla="*/ 12996 w 14570"/>
                <a:gd name="connsiteY7" fmla="*/ 1668 h 314724"/>
                <a:gd name="connsiteX8" fmla="*/ 11924 w 14570"/>
                <a:gd name="connsiteY8" fmla="*/ 864 h 314724"/>
                <a:gd name="connsiteX9" fmla="*/ 10718 w 14570"/>
                <a:gd name="connsiteY9" fmla="*/ 60 h 314724"/>
                <a:gd name="connsiteX10" fmla="*/ 9244 w 14570"/>
                <a:gd name="connsiteY10" fmla="*/ 60 h 314724"/>
                <a:gd name="connsiteX11" fmla="*/ 7771 w 14570"/>
                <a:gd name="connsiteY11" fmla="*/ 60 h 314724"/>
                <a:gd name="connsiteX12" fmla="*/ 0 w 14570"/>
                <a:gd name="connsiteY12" fmla="*/ 6624 h 31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70" h="314724">
                  <a:moveTo>
                    <a:pt x="0" y="6624"/>
                  </a:moveTo>
                  <a:lnTo>
                    <a:pt x="0" y="314725"/>
                  </a:lnTo>
                  <a:lnTo>
                    <a:pt x="14470" y="314725"/>
                  </a:lnTo>
                  <a:lnTo>
                    <a:pt x="14470" y="6624"/>
                  </a:lnTo>
                  <a:cubicBezTo>
                    <a:pt x="14536" y="6222"/>
                    <a:pt x="14536" y="5820"/>
                    <a:pt x="14470" y="5419"/>
                  </a:cubicBezTo>
                  <a:cubicBezTo>
                    <a:pt x="14604" y="4936"/>
                    <a:pt x="14604" y="4427"/>
                    <a:pt x="14470" y="3945"/>
                  </a:cubicBezTo>
                  <a:cubicBezTo>
                    <a:pt x="14296" y="3516"/>
                    <a:pt x="14068" y="3115"/>
                    <a:pt x="13800" y="2739"/>
                  </a:cubicBezTo>
                  <a:lnTo>
                    <a:pt x="12996" y="1668"/>
                  </a:lnTo>
                  <a:cubicBezTo>
                    <a:pt x="12996" y="1668"/>
                    <a:pt x="12192" y="1668"/>
                    <a:pt x="11924" y="864"/>
                  </a:cubicBezTo>
                  <a:lnTo>
                    <a:pt x="10718" y="60"/>
                  </a:lnTo>
                  <a:cubicBezTo>
                    <a:pt x="10236" y="-20"/>
                    <a:pt x="9727" y="-20"/>
                    <a:pt x="9244" y="60"/>
                  </a:cubicBezTo>
                  <a:lnTo>
                    <a:pt x="7771" y="60"/>
                  </a:lnTo>
                  <a:cubicBezTo>
                    <a:pt x="3818" y="-248"/>
                    <a:pt x="348" y="2672"/>
                    <a:pt x="0" y="6624"/>
                  </a:cubicBezTo>
                  <a:close/>
                </a:path>
              </a:pathLst>
            </a:custGeom>
            <a:solidFill>
              <a:srgbClr val="000000"/>
            </a:solidFill>
            <a:ln w="12700" cap="flat">
              <a:noFill/>
              <a:prstDash val="solid"/>
              <a:miter/>
            </a:ln>
          </p:spPr>
          <p:txBody>
            <a:bodyPr rtlCol="0" anchor="ctr"/>
            <a:lstStyle/>
            <a:p>
              <a:endParaRPr lang="en-US"/>
            </a:p>
          </p:txBody>
        </p:sp>
        <p:sp>
          <p:nvSpPr>
            <p:cNvPr id="1821" name="Freeform: Shape 1820">
              <a:extLst>
                <a:ext uri="{FF2B5EF4-FFF2-40B4-BE49-F238E27FC236}">
                  <a16:creationId xmlns:a16="http://schemas.microsoft.com/office/drawing/2014/main" id="{71F217AD-0B2C-43D3-9E5E-DCE4ABB636F1}"/>
                </a:ext>
              </a:extLst>
            </p:cNvPr>
            <p:cNvSpPr/>
            <p:nvPr/>
          </p:nvSpPr>
          <p:spPr>
            <a:xfrm>
              <a:off x="1761268" y="5829882"/>
              <a:ext cx="7368" cy="14601"/>
            </a:xfrm>
            <a:custGeom>
              <a:avLst/>
              <a:gdLst>
                <a:gd name="connsiteX0" fmla="*/ 0 w 7368"/>
                <a:gd name="connsiteY0" fmla="*/ 7234 h 14601"/>
                <a:gd name="connsiteX1" fmla="*/ 7369 w 7368"/>
                <a:gd name="connsiteY1" fmla="*/ 0 h 14601"/>
                <a:gd name="connsiteX2" fmla="*/ 7369 w 7368"/>
                <a:gd name="connsiteY2" fmla="*/ 0 h 14601"/>
                <a:gd name="connsiteX3" fmla="*/ 0 w 7368"/>
                <a:gd name="connsiteY3" fmla="*/ 7234 h 14601"/>
                <a:gd name="connsiteX4" fmla="*/ 7369 w 7368"/>
                <a:gd name="connsiteY4" fmla="*/ 14601 h 14601"/>
                <a:gd name="connsiteX5" fmla="*/ 7369 w 7368"/>
                <a:gd name="connsiteY5" fmla="*/ 14601 h 14601"/>
                <a:gd name="connsiteX6" fmla="*/ 0 w 7368"/>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8" h="14601">
                  <a:moveTo>
                    <a:pt x="0" y="7234"/>
                  </a:moveTo>
                  <a:cubicBezTo>
                    <a:pt x="67" y="3218"/>
                    <a:pt x="3349" y="0"/>
                    <a:pt x="7369" y="0"/>
                  </a:cubicBezTo>
                  <a:lnTo>
                    <a:pt x="7369" y="0"/>
                  </a:lnTo>
                  <a:cubicBezTo>
                    <a:pt x="3349" y="0"/>
                    <a:pt x="67" y="3218"/>
                    <a:pt x="0" y="7234"/>
                  </a:cubicBezTo>
                  <a:cubicBezTo>
                    <a:pt x="0" y="11303"/>
                    <a:pt x="3296" y="14601"/>
                    <a:pt x="7369" y="14601"/>
                  </a:cubicBezTo>
                  <a:lnTo>
                    <a:pt x="7369" y="14601"/>
                  </a:lnTo>
                  <a:cubicBezTo>
                    <a:pt x="3296" y="14601"/>
                    <a:pt x="0" y="11303"/>
                    <a:pt x="0" y="7234"/>
                  </a:cubicBezTo>
                  <a:close/>
                </a:path>
              </a:pathLst>
            </a:custGeom>
            <a:solidFill>
              <a:srgbClr val="000000"/>
            </a:solidFill>
            <a:ln w="12700" cap="flat">
              <a:noFill/>
              <a:prstDash val="solid"/>
              <a:miter/>
            </a:ln>
          </p:spPr>
          <p:txBody>
            <a:bodyPr rtlCol="0" anchor="ctr"/>
            <a:lstStyle/>
            <a:p>
              <a:endParaRPr lang="en-US"/>
            </a:p>
          </p:txBody>
        </p:sp>
        <p:sp>
          <p:nvSpPr>
            <p:cNvPr id="1822" name="Freeform: Shape 1821">
              <a:extLst>
                <a:ext uri="{FF2B5EF4-FFF2-40B4-BE49-F238E27FC236}">
                  <a16:creationId xmlns:a16="http://schemas.microsoft.com/office/drawing/2014/main" id="{5206293D-7860-490E-9FB1-6BB5F29EE923}"/>
                </a:ext>
              </a:extLst>
            </p:cNvPr>
            <p:cNvSpPr/>
            <p:nvPr/>
          </p:nvSpPr>
          <p:spPr>
            <a:xfrm>
              <a:off x="693467" y="6470329"/>
              <a:ext cx="14603" cy="7367"/>
            </a:xfrm>
            <a:custGeom>
              <a:avLst/>
              <a:gdLst>
                <a:gd name="connsiteX0" fmla="*/ 7235 w 14603"/>
                <a:gd name="connsiteY0" fmla="*/ 7368 h 7367"/>
                <a:gd name="connsiteX1" fmla="*/ 0 w 14603"/>
                <a:gd name="connsiteY1" fmla="*/ 0 h 7367"/>
                <a:gd name="connsiteX2" fmla="*/ 0 w 14603"/>
                <a:gd name="connsiteY2" fmla="*/ 0 h 7367"/>
                <a:gd name="connsiteX3" fmla="*/ 7235 w 14603"/>
                <a:gd name="connsiteY3" fmla="*/ 7234 h 7367"/>
                <a:gd name="connsiteX4" fmla="*/ 14604 w 14603"/>
                <a:gd name="connsiteY4" fmla="*/ 0 h 7367"/>
                <a:gd name="connsiteX5" fmla="*/ 14604 w 14603"/>
                <a:gd name="connsiteY5" fmla="*/ 0 h 7367"/>
                <a:gd name="connsiteX6" fmla="*/ 7235 w 14603"/>
                <a:gd name="connsiteY6" fmla="*/ 7368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367">
                  <a:moveTo>
                    <a:pt x="7235" y="7368"/>
                  </a:moveTo>
                  <a:cubicBezTo>
                    <a:pt x="3218" y="7301"/>
                    <a:pt x="-1" y="4019"/>
                    <a:pt x="0" y="0"/>
                  </a:cubicBezTo>
                  <a:lnTo>
                    <a:pt x="0" y="0"/>
                  </a:lnTo>
                  <a:cubicBezTo>
                    <a:pt x="0" y="3992"/>
                    <a:pt x="3240" y="7234"/>
                    <a:pt x="7235" y="7234"/>
                  </a:cubicBezTo>
                  <a:cubicBezTo>
                    <a:pt x="11253" y="7234"/>
                    <a:pt x="14530" y="4019"/>
                    <a:pt x="14604" y="0"/>
                  </a:cubicBezTo>
                  <a:lnTo>
                    <a:pt x="14604" y="0"/>
                  </a:lnTo>
                  <a:cubicBezTo>
                    <a:pt x="14604" y="4072"/>
                    <a:pt x="11305" y="7368"/>
                    <a:pt x="7235" y="7368"/>
                  </a:cubicBezTo>
                  <a:close/>
                </a:path>
              </a:pathLst>
            </a:custGeom>
            <a:solidFill>
              <a:srgbClr val="000000"/>
            </a:solidFill>
            <a:ln w="12700" cap="flat">
              <a:noFill/>
              <a:prstDash val="solid"/>
              <a:miter/>
            </a:ln>
          </p:spPr>
          <p:txBody>
            <a:bodyPr rtlCol="0" anchor="ctr"/>
            <a:lstStyle/>
            <a:p>
              <a:endParaRPr lang="en-US"/>
            </a:p>
          </p:txBody>
        </p:sp>
        <p:sp>
          <p:nvSpPr>
            <p:cNvPr id="1823" name="Freeform: Shape 1822">
              <a:extLst>
                <a:ext uri="{FF2B5EF4-FFF2-40B4-BE49-F238E27FC236}">
                  <a16:creationId xmlns:a16="http://schemas.microsoft.com/office/drawing/2014/main" id="{6A7092A8-0D9E-47CD-915A-1C7F2B61DCEE}"/>
                </a:ext>
              </a:extLst>
            </p:cNvPr>
            <p:cNvSpPr/>
            <p:nvPr/>
          </p:nvSpPr>
          <p:spPr>
            <a:xfrm>
              <a:off x="693467" y="6462024"/>
              <a:ext cx="14603" cy="15672"/>
            </a:xfrm>
            <a:custGeom>
              <a:avLst/>
              <a:gdLst>
                <a:gd name="connsiteX0" fmla="*/ 7235 w 14603"/>
                <a:gd name="connsiteY0" fmla="*/ 0 h 15672"/>
                <a:gd name="connsiteX1" fmla="*/ 0 w 14603"/>
                <a:gd name="connsiteY1" fmla="*/ 7234 h 15672"/>
                <a:gd name="connsiteX2" fmla="*/ 0 w 14603"/>
                <a:gd name="connsiteY2" fmla="*/ 8305 h 15672"/>
                <a:gd name="connsiteX3" fmla="*/ 7235 w 14603"/>
                <a:gd name="connsiteY3" fmla="*/ 15673 h 15672"/>
                <a:gd name="connsiteX4" fmla="*/ 14604 w 14603"/>
                <a:gd name="connsiteY4" fmla="*/ 8305 h 15672"/>
                <a:gd name="connsiteX5" fmla="*/ 14604 w 14603"/>
                <a:gd name="connsiteY5" fmla="*/ 7502 h 15672"/>
                <a:gd name="connsiteX6" fmla="*/ 13130 w 14603"/>
                <a:gd name="connsiteY6" fmla="*/ 3349 h 15672"/>
                <a:gd name="connsiteX7" fmla="*/ 11522 w 14603"/>
                <a:gd name="connsiteY7" fmla="*/ 1741 h 15672"/>
                <a:gd name="connsiteX8" fmla="*/ 7235 w 14603"/>
                <a:gd name="connsiteY8" fmla="*/ 0 h 1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03" h="15672">
                  <a:moveTo>
                    <a:pt x="7235" y="0"/>
                  </a:moveTo>
                  <a:cubicBezTo>
                    <a:pt x="3240" y="0"/>
                    <a:pt x="0" y="3242"/>
                    <a:pt x="0" y="7234"/>
                  </a:cubicBezTo>
                  <a:lnTo>
                    <a:pt x="0" y="8305"/>
                  </a:lnTo>
                  <a:cubicBezTo>
                    <a:pt x="-1" y="12324"/>
                    <a:pt x="3218" y="15606"/>
                    <a:pt x="7235" y="15673"/>
                  </a:cubicBezTo>
                  <a:cubicBezTo>
                    <a:pt x="11305" y="15673"/>
                    <a:pt x="14604" y="12378"/>
                    <a:pt x="14604" y="8305"/>
                  </a:cubicBezTo>
                  <a:lnTo>
                    <a:pt x="14604" y="7502"/>
                  </a:lnTo>
                  <a:cubicBezTo>
                    <a:pt x="14523" y="6001"/>
                    <a:pt x="14011" y="4568"/>
                    <a:pt x="13130" y="3349"/>
                  </a:cubicBezTo>
                  <a:cubicBezTo>
                    <a:pt x="12664" y="2746"/>
                    <a:pt x="12124" y="2210"/>
                    <a:pt x="11522" y="1741"/>
                  </a:cubicBezTo>
                  <a:cubicBezTo>
                    <a:pt x="10299" y="750"/>
                    <a:pt x="8805" y="134"/>
                    <a:pt x="7235" y="0"/>
                  </a:cubicBezTo>
                  <a:close/>
                </a:path>
              </a:pathLst>
            </a:custGeom>
            <a:solidFill>
              <a:srgbClr val="000000"/>
            </a:solidFill>
            <a:ln w="12700" cap="flat">
              <a:noFill/>
              <a:prstDash val="solid"/>
              <a:miter/>
            </a:ln>
          </p:spPr>
          <p:txBody>
            <a:bodyPr rtlCol="0" anchor="ctr"/>
            <a:lstStyle/>
            <a:p>
              <a:endParaRPr lang="en-US"/>
            </a:p>
          </p:txBody>
        </p:sp>
        <p:sp>
          <p:nvSpPr>
            <p:cNvPr id="1824" name="Freeform: Shape 1823">
              <a:extLst>
                <a:ext uri="{FF2B5EF4-FFF2-40B4-BE49-F238E27FC236}">
                  <a16:creationId xmlns:a16="http://schemas.microsoft.com/office/drawing/2014/main" id="{F2338D05-B906-4A0B-8129-A3B0A6BF421E}"/>
                </a:ext>
              </a:extLst>
            </p:cNvPr>
            <p:cNvSpPr/>
            <p:nvPr/>
          </p:nvSpPr>
          <p:spPr>
            <a:xfrm>
              <a:off x="1004831" y="6129007"/>
              <a:ext cx="1339" cy="3750"/>
            </a:xfrm>
            <a:custGeom>
              <a:avLst/>
              <a:gdLst>
                <a:gd name="connsiteX0" fmla="*/ 0 w 1339"/>
                <a:gd name="connsiteY0" fmla="*/ 3751 h 3750"/>
                <a:gd name="connsiteX1" fmla="*/ 1340 w 1339"/>
                <a:gd name="connsiteY1" fmla="*/ 3751 h 3750"/>
                <a:gd name="connsiteX2" fmla="*/ 1340 w 1339"/>
                <a:gd name="connsiteY2" fmla="*/ 0 h 3750"/>
                <a:gd name="connsiteX3" fmla="*/ 0 w 1339"/>
                <a:gd name="connsiteY3" fmla="*/ 3751 h 3750"/>
              </a:gdLst>
              <a:ahLst/>
              <a:cxnLst>
                <a:cxn ang="0">
                  <a:pos x="connsiteX0" y="connsiteY0"/>
                </a:cxn>
                <a:cxn ang="0">
                  <a:pos x="connsiteX1" y="connsiteY1"/>
                </a:cxn>
                <a:cxn ang="0">
                  <a:pos x="connsiteX2" y="connsiteY2"/>
                </a:cxn>
                <a:cxn ang="0">
                  <a:pos x="connsiteX3" y="connsiteY3"/>
                </a:cxn>
              </a:cxnLst>
              <a:rect l="l" t="t" r="r" b="b"/>
              <a:pathLst>
                <a:path w="1339" h="3750">
                  <a:moveTo>
                    <a:pt x="0" y="3751"/>
                  </a:moveTo>
                  <a:lnTo>
                    <a:pt x="1340" y="3751"/>
                  </a:lnTo>
                  <a:lnTo>
                    <a:pt x="1340" y="0"/>
                  </a:lnTo>
                  <a:cubicBezTo>
                    <a:pt x="1330" y="1366"/>
                    <a:pt x="859" y="2692"/>
                    <a:pt x="0" y="3751"/>
                  </a:cubicBezTo>
                  <a:close/>
                </a:path>
              </a:pathLst>
            </a:custGeom>
            <a:solidFill>
              <a:srgbClr val="000000"/>
            </a:solidFill>
            <a:ln w="12700" cap="flat">
              <a:noFill/>
              <a:prstDash val="solid"/>
              <a:miter/>
            </a:ln>
          </p:spPr>
          <p:txBody>
            <a:bodyPr rtlCol="0" anchor="ctr"/>
            <a:lstStyle/>
            <a:p>
              <a:endParaRPr lang="en-US"/>
            </a:p>
          </p:txBody>
        </p:sp>
        <p:sp>
          <p:nvSpPr>
            <p:cNvPr id="1825" name="Freeform: Shape 1824">
              <a:extLst>
                <a:ext uri="{FF2B5EF4-FFF2-40B4-BE49-F238E27FC236}">
                  <a16:creationId xmlns:a16="http://schemas.microsoft.com/office/drawing/2014/main" id="{D9D897A2-FC3F-452A-AA62-195609EEB15F}"/>
                </a:ext>
              </a:extLst>
            </p:cNvPr>
            <p:cNvSpPr/>
            <p:nvPr/>
          </p:nvSpPr>
          <p:spPr>
            <a:xfrm>
              <a:off x="991433" y="6129007"/>
              <a:ext cx="1205" cy="3750"/>
            </a:xfrm>
            <a:custGeom>
              <a:avLst/>
              <a:gdLst>
                <a:gd name="connsiteX0" fmla="*/ 0 w 1205"/>
                <a:gd name="connsiteY0" fmla="*/ 0 h 3750"/>
                <a:gd name="connsiteX1" fmla="*/ 0 w 1205"/>
                <a:gd name="connsiteY1" fmla="*/ 3751 h 3750"/>
                <a:gd name="connsiteX2" fmla="*/ 1206 w 1205"/>
                <a:gd name="connsiteY2" fmla="*/ 3751 h 3750"/>
                <a:gd name="connsiteX3" fmla="*/ 0 w 1205"/>
                <a:gd name="connsiteY3" fmla="*/ 0 h 3750"/>
              </a:gdLst>
              <a:ahLst/>
              <a:cxnLst>
                <a:cxn ang="0">
                  <a:pos x="connsiteX0" y="connsiteY0"/>
                </a:cxn>
                <a:cxn ang="0">
                  <a:pos x="connsiteX1" y="connsiteY1"/>
                </a:cxn>
                <a:cxn ang="0">
                  <a:pos x="connsiteX2" y="connsiteY2"/>
                </a:cxn>
                <a:cxn ang="0">
                  <a:pos x="connsiteX3" y="connsiteY3"/>
                </a:cxn>
              </a:cxnLst>
              <a:rect l="l" t="t" r="r" b="b"/>
              <a:pathLst>
                <a:path w="1205" h="3750">
                  <a:moveTo>
                    <a:pt x="0" y="0"/>
                  </a:moveTo>
                  <a:lnTo>
                    <a:pt x="0" y="3751"/>
                  </a:lnTo>
                  <a:lnTo>
                    <a:pt x="1206" y="3751"/>
                  </a:lnTo>
                  <a:cubicBezTo>
                    <a:pt x="451" y="2639"/>
                    <a:pt x="32" y="1340"/>
                    <a:pt x="0" y="0"/>
                  </a:cubicBezTo>
                  <a:close/>
                </a:path>
              </a:pathLst>
            </a:custGeom>
            <a:solidFill>
              <a:srgbClr val="000000"/>
            </a:solidFill>
            <a:ln w="12700" cap="flat">
              <a:noFill/>
              <a:prstDash val="solid"/>
              <a:miter/>
            </a:ln>
          </p:spPr>
          <p:txBody>
            <a:bodyPr rtlCol="0" anchor="ctr"/>
            <a:lstStyle/>
            <a:p>
              <a:endParaRPr lang="en-US"/>
            </a:p>
          </p:txBody>
        </p:sp>
        <p:sp>
          <p:nvSpPr>
            <p:cNvPr id="1826" name="Freeform: Shape 1825">
              <a:extLst>
                <a:ext uri="{FF2B5EF4-FFF2-40B4-BE49-F238E27FC236}">
                  <a16:creationId xmlns:a16="http://schemas.microsoft.com/office/drawing/2014/main" id="{1A6A318F-0030-45E7-A57D-14B28C870BF7}"/>
                </a:ext>
              </a:extLst>
            </p:cNvPr>
            <p:cNvSpPr/>
            <p:nvPr/>
          </p:nvSpPr>
          <p:spPr>
            <a:xfrm>
              <a:off x="693467" y="5782327"/>
              <a:ext cx="14603" cy="215804"/>
            </a:xfrm>
            <a:custGeom>
              <a:avLst/>
              <a:gdLst>
                <a:gd name="connsiteX0" fmla="*/ 7235 w 14603"/>
                <a:gd name="connsiteY0" fmla="*/ 215804 h 215804"/>
                <a:gd name="connsiteX1" fmla="*/ 14604 w 14603"/>
                <a:gd name="connsiteY1" fmla="*/ 208571 h 215804"/>
                <a:gd name="connsiteX2" fmla="*/ 14604 w 14603"/>
                <a:gd name="connsiteY2" fmla="*/ 0 h 215804"/>
                <a:gd name="connsiteX3" fmla="*/ 7235 w 14603"/>
                <a:gd name="connsiteY3" fmla="*/ 7234 h 215804"/>
                <a:gd name="connsiteX4" fmla="*/ 0 w 14603"/>
                <a:gd name="connsiteY4" fmla="*/ 0 h 215804"/>
                <a:gd name="connsiteX5" fmla="*/ 0 w 14603"/>
                <a:gd name="connsiteY5" fmla="*/ 208571 h 215804"/>
                <a:gd name="connsiteX6" fmla="*/ 7235 w 14603"/>
                <a:gd name="connsiteY6" fmla="*/ 215804 h 21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215804">
                  <a:moveTo>
                    <a:pt x="7235" y="215804"/>
                  </a:moveTo>
                  <a:cubicBezTo>
                    <a:pt x="11253" y="215804"/>
                    <a:pt x="14530" y="212587"/>
                    <a:pt x="14604" y="208571"/>
                  </a:cubicBezTo>
                  <a:lnTo>
                    <a:pt x="14604" y="0"/>
                  </a:lnTo>
                  <a:cubicBezTo>
                    <a:pt x="14530" y="4016"/>
                    <a:pt x="11253" y="7234"/>
                    <a:pt x="7235" y="7234"/>
                  </a:cubicBezTo>
                  <a:cubicBezTo>
                    <a:pt x="3240" y="7234"/>
                    <a:pt x="0" y="3995"/>
                    <a:pt x="0" y="0"/>
                  </a:cubicBezTo>
                  <a:lnTo>
                    <a:pt x="0" y="208571"/>
                  </a:lnTo>
                  <a:cubicBezTo>
                    <a:pt x="0" y="212565"/>
                    <a:pt x="3240" y="215804"/>
                    <a:pt x="7235" y="215804"/>
                  </a:cubicBezTo>
                  <a:close/>
                </a:path>
              </a:pathLst>
            </a:custGeom>
            <a:solidFill>
              <a:srgbClr val="000000"/>
            </a:solidFill>
            <a:ln w="12700" cap="flat">
              <a:noFill/>
              <a:prstDash val="solid"/>
              <a:miter/>
            </a:ln>
          </p:spPr>
          <p:txBody>
            <a:bodyPr rtlCol="0" anchor="ctr"/>
            <a:lstStyle/>
            <a:p>
              <a:endParaRPr lang="en-US"/>
            </a:p>
          </p:txBody>
        </p:sp>
        <p:sp>
          <p:nvSpPr>
            <p:cNvPr id="1827" name="Freeform: Shape 1826">
              <a:extLst>
                <a:ext uri="{FF2B5EF4-FFF2-40B4-BE49-F238E27FC236}">
                  <a16:creationId xmlns:a16="http://schemas.microsoft.com/office/drawing/2014/main" id="{61CE365A-C608-4A83-AB68-F2A23D7BD1BE}"/>
                </a:ext>
              </a:extLst>
            </p:cNvPr>
            <p:cNvSpPr/>
            <p:nvPr/>
          </p:nvSpPr>
          <p:spPr>
            <a:xfrm>
              <a:off x="1139747" y="6128203"/>
              <a:ext cx="14201" cy="4554"/>
            </a:xfrm>
            <a:custGeom>
              <a:avLst/>
              <a:gdLst>
                <a:gd name="connsiteX0" fmla="*/ 0 w 14201"/>
                <a:gd name="connsiteY0" fmla="*/ 4555 h 4554"/>
                <a:gd name="connsiteX1" fmla="*/ 7503 w 14201"/>
                <a:gd name="connsiteY1" fmla="*/ 4555 h 4554"/>
                <a:gd name="connsiteX2" fmla="*/ 14202 w 14201"/>
                <a:gd name="connsiteY2" fmla="*/ 0 h 4554"/>
                <a:gd name="connsiteX3" fmla="*/ 6699 w 14201"/>
                <a:gd name="connsiteY3" fmla="*/ 0 h 4554"/>
                <a:gd name="connsiteX4" fmla="*/ 0 w 14201"/>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1" h="4554">
                  <a:moveTo>
                    <a:pt x="0" y="4555"/>
                  </a:moveTo>
                  <a:lnTo>
                    <a:pt x="7503" y="4555"/>
                  </a:lnTo>
                  <a:cubicBezTo>
                    <a:pt x="8565" y="1782"/>
                    <a:pt x="11237" y="-26"/>
                    <a:pt x="14202" y="0"/>
                  </a:cubicBezTo>
                  <a:lnTo>
                    <a:pt x="6699" y="0"/>
                  </a:lnTo>
                  <a:cubicBezTo>
                    <a:pt x="3734" y="-26"/>
                    <a:pt x="1062" y="1782"/>
                    <a:pt x="0" y="4555"/>
                  </a:cubicBezTo>
                  <a:close/>
                </a:path>
              </a:pathLst>
            </a:custGeom>
            <a:solidFill>
              <a:srgbClr val="000000"/>
            </a:solidFill>
            <a:ln w="12700" cap="flat">
              <a:noFill/>
              <a:prstDash val="solid"/>
              <a:miter/>
            </a:ln>
          </p:spPr>
          <p:txBody>
            <a:bodyPr rtlCol="0" anchor="ctr"/>
            <a:lstStyle/>
            <a:p>
              <a:endParaRPr lang="en-US"/>
            </a:p>
          </p:txBody>
        </p:sp>
        <p:sp>
          <p:nvSpPr>
            <p:cNvPr id="1828" name="Freeform: Shape 1827">
              <a:extLst>
                <a:ext uri="{FF2B5EF4-FFF2-40B4-BE49-F238E27FC236}">
                  <a16:creationId xmlns:a16="http://schemas.microsoft.com/office/drawing/2014/main" id="{B734F8B4-7020-4F20-89AA-82B038E69B22}"/>
                </a:ext>
              </a:extLst>
            </p:cNvPr>
            <p:cNvSpPr/>
            <p:nvPr/>
          </p:nvSpPr>
          <p:spPr>
            <a:xfrm>
              <a:off x="1147249" y="6128203"/>
              <a:ext cx="75295" cy="4554"/>
            </a:xfrm>
            <a:custGeom>
              <a:avLst/>
              <a:gdLst>
                <a:gd name="connsiteX0" fmla="*/ 0 w 75295"/>
                <a:gd name="connsiteY0" fmla="*/ 4555 h 4554"/>
                <a:gd name="connsiteX1" fmla="*/ 75295 w 75295"/>
                <a:gd name="connsiteY1" fmla="*/ 4555 h 4554"/>
                <a:gd name="connsiteX2" fmla="*/ 68463 w 75295"/>
                <a:gd name="connsiteY2" fmla="*/ 0 h 4554"/>
                <a:gd name="connsiteX3" fmla="*/ 6699 w 75295"/>
                <a:gd name="connsiteY3" fmla="*/ 0 h 4554"/>
                <a:gd name="connsiteX4" fmla="*/ 0 w 75295"/>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95" h="4554">
                  <a:moveTo>
                    <a:pt x="0" y="4555"/>
                  </a:moveTo>
                  <a:lnTo>
                    <a:pt x="75295" y="4555"/>
                  </a:lnTo>
                  <a:cubicBezTo>
                    <a:pt x="74154" y="1795"/>
                    <a:pt x="71453" y="-13"/>
                    <a:pt x="68463" y="0"/>
                  </a:cubicBezTo>
                  <a:lnTo>
                    <a:pt x="6699" y="0"/>
                  </a:lnTo>
                  <a:cubicBezTo>
                    <a:pt x="3734" y="-26"/>
                    <a:pt x="1062" y="1782"/>
                    <a:pt x="0" y="4555"/>
                  </a:cubicBezTo>
                  <a:close/>
                </a:path>
              </a:pathLst>
            </a:custGeom>
            <a:solidFill>
              <a:srgbClr val="000000"/>
            </a:solidFill>
            <a:ln w="12700" cap="flat">
              <a:noFill/>
              <a:prstDash val="solid"/>
              <a:miter/>
            </a:ln>
          </p:spPr>
          <p:txBody>
            <a:bodyPr rtlCol="0" anchor="ctr"/>
            <a:lstStyle/>
            <a:p>
              <a:endParaRPr lang="en-US"/>
            </a:p>
          </p:txBody>
        </p:sp>
        <p:sp>
          <p:nvSpPr>
            <p:cNvPr id="1829" name="Freeform: Shape 1828">
              <a:extLst>
                <a:ext uri="{FF2B5EF4-FFF2-40B4-BE49-F238E27FC236}">
                  <a16:creationId xmlns:a16="http://schemas.microsoft.com/office/drawing/2014/main" id="{B5728631-3ED9-47E9-9A5F-307324904FFC}"/>
                </a:ext>
              </a:extLst>
            </p:cNvPr>
            <p:cNvSpPr/>
            <p:nvPr/>
          </p:nvSpPr>
          <p:spPr>
            <a:xfrm>
              <a:off x="1138809" y="5775094"/>
              <a:ext cx="14737" cy="14467"/>
            </a:xfrm>
            <a:custGeom>
              <a:avLst/>
              <a:gdLst>
                <a:gd name="connsiteX0" fmla="*/ 0 w 14737"/>
                <a:gd name="connsiteY0" fmla="*/ 7234 h 14467"/>
                <a:gd name="connsiteX1" fmla="*/ 7235 w 14737"/>
                <a:gd name="connsiteY1" fmla="*/ 14467 h 14467"/>
                <a:gd name="connsiteX2" fmla="*/ 14738 w 14737"/>
                <a:gd name="connsiteY2" fmla="*/ 14467 h 14467"/>
                <a:gd name="connsiteX3" fmla="*/ 7503 w 14737"/>
                <a:gd name="connsiteY3" fmla="*/ 7234 h 14467"/>
                <a:gd name="connsiteX4" fmla="*/ 14738 w 14737"/>
                <a:gd name="connsiteY4" fmla="*/ 0 h 14467"/>
                <a:gd name="connsiteX5" fmla="*/ 7235 w 14737"/>
                <a:gd name="connsiteY5" fmla="*/ 0 h 14467"/>
                <a:gd name="connsiteX6" fmla="*/ 0 w 14737"/>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14467">
                  <a:moveTo>
                    <a:pt x="0" y="7234"/>
                  </a:moveTo>
                  <a:cubicBezTo>
                    <a:pt x="0" y="11228"/>
                    <a:pt x="3240" y="14467"/>
                    <a:pt x="7235" y="14467"/>
                  </a:cubicBezTo>
                  <a:lnTo>
                    <a:pt x="14738" y="14467"/>
                  </a:lnTo>
                  <a:cubicBezTo>
                    <a:pt x="10742" y="14467"/>
                    <a:pt x="7503" y="11228"/>
                    <a:pt x="7503" y="7234"/>
                  </a:cubicBezTo>
                  <a:cubicBezTo>
                    <a:pt x="7503" y="3239"/>
                    <a:pt x="10742" y="0"/>
                    <a:pt x="14738" y="0"/>
                  </a:cubicBezTo>
                  <a:lnTo>
                    <a:pt x="7235" y="0"/>
                  </a:lnTo>
                  <a:cubicBezTo>
                    <a:pt x="3240" y="0"/>
                    <a:pt x="0" y="3239"/>
                    <a:pt x="0" y="7234"/>
                  </a:cubicBezTo>
                  <a:close/>
                </a:path>
              </a:pathLst>
            </a:custGeom>
            <a:solidFill>
              <a:srgbClr val="000000"/>
            </a:solidFill>
            <a:ln w="12700" cap="flat">
              <a:noFill/>
              <a:prstDash val="solid"/>
              <a:miter/>
            </a:ln>
          </p:spPr>
          <p:txBody>
            <a:bodyPr rtlCol="0" anchor="ctr"/>
            <a:lstStyle/>
            <a:p>
              <a:endParaRPr lang="en-US"/>
            </a:p>
          </p:txBody>
        </p:sp>
        <p:sp>
          <p:nvSpPr>
            <p:cNvPr id="1830" name="Freeform: Shape 1829">
              <a:extLst>
                <a:ext uri="{FF2B5EF4-FFF2-40B4-BE49-F238E27FC236}">
                  <a16:creationId xmlns:a16="http://schemas.microsoft.com/office/drawing/2014/main" id="{C318C092-937A-40CD-94ED-99E9CD861945}"/>
                </a:ext>
              </a:extLst>
            </p:cNvPr>
            <p:cNvSpPr/>
            <p:nvPr/>
          </p:nvSpPr>
          <p:spPr>
            <a:xfrm>
              <a:off x="1146713" y="5776031"/>
              <a:ext cx="50375" cy="13529"/>
            </a:xfrm>
            <a:custGeom>
              <a:avLst/>
              <a:gdLst>
                <a:gd name="connsiteX0" fmla="*/ 0 w 50375"/>
                <a:gd name="connsiteY0" fmla="*/ 6296 h 13529"/>
                <a:gd name="connsiteX1" fmla="*/ 7235 w 50375"/>
                <a:gd name="connsiteY1" fmla="*/ 13530 h 13529"/>
                <a:gd name="connsiteX2" fmla="*/ 43141 w 50375"/>
                <a:gd name="connsiteY2" fmla="*/ 13530 h 13529"/>
                <a:gd name="connsiteX3" fmla="*/ 50376 w 50375"/>
                <a:gd name="connsiteY3" fmla="*/ 6296 h 13529"/>
                <a:gd name="connsiteX4" fmla="*/ 48768 w 50375"/>
                <a:gd name="connsiteY4" fmla="*/ 1876 h 13529"/>
                <a:gd name="connsiteX5" fmla="*/ 47696 w 50375"/>
                <a:gd name="connsiteY5" fmla="*/ 804 h 13529"/>
                <a:gd name="connsiteX6" fmla="*/ 46624 w 50375"/>
                <a:gd name="connsiteY6" fmla="*/ 0 h 13529"/>
                <a:gd name="connsiteX7" fmla="*/ 45418 w 50375"/>
                <a:gd name="connsiteY7" fmla="*/ 0 h 13529"/>
                <a:gd name="connsiteX8" fmla="*/ 43945 w 50375"/>
                <a:gd name="connsiteY8" fmla="*/ 0 h 13529"/>
                <a:gd name="connsiteX9" fmla="*/ 7235 w 50375"/>
                <a:gd name="connsiteY9" fmla="*/ 0 h 13529"/>
                <a:gd name="connsiteX10" fmla="*/ 0 w 50375"/>
                <a:gd name="connsiteY10" fmla="*/ 6296 h 1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375" h="13529">
                  <a:moveTo>
                    <a:pt x="0" y="6296"/>
                  </a:moveTo>
                  <a:cubicBezTo>
                    <a:pt x="0" y="10291"/>
                    <a:pt x="3240" y="13530"/>
                    <a:pt x="7235" y="13530"/>
                  </a:cubicBezTo>
                  <a:lnTo>
                    <a:pt x="43141" y="13530"/>
                  </a:lnTo>
                  <a:cubicBezTo>
                    <a:pt x="47136" y="13530"/>
                    <a:pt x="50376" y="10291"/>
                    <a:pt x="50376" y="6296"/>
                  </a:cubicBezTo>
                  <a:cubicBezTo>
                    <a:pt x="50358" y="4683"/>
                    <a:pt x="49790" y="3124"/>
                    <a:pt x="48768" y="1876"/>
                  </a:cubicBezTo>
                  <a:cubicBezTo>
                    <a:pt x="48481" y="1454"/>
                    <a:pt x="48118" y="1089"/>
                    <a:pt x="47696" y="804"/>
                  </a:cubicBezTo>
                  <a:lnTo>
                    <a:pt x="46624" y="0"/>
                  </a:lnTo>
                  <a:lnTo>
                    <a:pt x="45418" y="0"/>
                  </a:lnTo>
                  <a:lnTo>
                    <a:pt x="43945" y="0"/>
                  </a:lnTo>
                  <a:lnTo>
                    <a:pt x="7235" y="0"/>
                  </a:lnTo>
                  <a:cubicBezTo>
                    <a:pt x="3579" y="-31"/>
                    <a:pt x="474" y="2671"/>
                    <a:pt x="0" y="6296"/>
                  </a:cubicBezTo>
                  <a:close/>
                </a:path>
              </a:pathLst>
            </a:custGeom>
            <a:solidFill>
              <a:srgbClr val="000000"/>
            </a:solidFill>
            <a:ln w="12700" cap="flat">
              <a:noFill/>
              <a:prstDash val="solid"/>
              <a:miter/>
            </a:ln>
          </p:spPr>
          <p:txBody>
            <a:bodyPr rtlCol="0" anchor="ctr"/>
            <a:lstStyle/>
            <a:p>
              <a:endParaRPr lang="en-US"/>
            </a:p>
          </p:txBody>
        </p:sp>
        <p:sp>
          <p:nvSpPr>
            <p:cNvPr id="1831" name="Freeform: Shape 1830">
              <a:extLst>
                <a:ext uri="{FF2B5EF4-FFF2-40B4-BE49-F238E27FC236}">
                  <a16:creationId xmlns:a16="http://schemas.microsoft.com/office/drawing/2014/main" id="{45044512-B260-447D-B50E-83D4DEBC25D3}"/>
                </a:ext>
              </a:extLst>
            </p:cNvPr>
            <p:cNvSpPr/>
            <p:nvPr/>
          </p:nvSpPr>
          <p:spPr>
            <a:xfrm>
              <a:off x="2323974" y="6538379"/>
              <a:ext cx="14469" cy="8037"/>
            </a:xfrm>
            <a:custGeom>
              <a:avLst/>
              <a:gdLst>
                <a:gd name="connsiteX0" fmla="*/ 7235 w 14469"/>
                <a:gd name="connsiteY0" fmla="*/ 8037 h 8037"/>
                <a:gd name="connsiteX1" fmla="*/ 14469 w 14469"/>
                <a:gd name="connsiteY1" fmla="*/ 670 h 8037"/>
                <a:gd name="connsiteX2" fmla="*/ 14469 w 14469"/>
                <a:gd name="connsiteY2" fmla="*/ 0 h 8037"/>
                <a:gd name="connsiteX3" fmla="*/ 7235 w 14469"/>
                <a:gd name="connsiteY3" fmla="*/ 7234 h 8037"/>
                <a:gd name="connsiteX4" fmla="*/ 0 w 14469"/>
                <a:gd name="connsiteY4" fmla="*/ 0 h 8037"/>
                <a:gd name="connsiteX5" fmla="*/ 0 w 14469"/>
                <a:gd name="connsiteY5" fmla="*/ 670 h 8037"/>
                <a:gd name="connsiteX6" fmla="*/ 0 w 14469"/>
                <a:gd name="connsiteY6" fmla="*/ 670 h 8037"/>
                <a:gd name="connsiteX7" fmla="*/ 7235 w 14469"/>
                <a:gd name="connsiteY7" fmla="*/ 8037 h 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8037">
                  <a:moveTo>
                    <a:pt x="7235" y="8037"/>
                  </a:moveTo>
                  <a:cubicBezTo>
                    <a:pt x="11254" y="7970"/>
                    <a:pt x="14469" y="4689"/>
                    <a:pt x="14469" y="670"/>
                  </a:cubicBezTo>
                  <a:lnTo>
                    <a:pt x="14469" y="0"/>
                  </a:lnTo>
                  <a:cubicBezTo>
                    <a:pt x="14469" y="3992"/>
                    <a:pt x="11227" y="7234"/>
                    <a:pt x="7235" y="7234"/>
                  </a:cubicBezTo>
                  <a:cubicBezTo>
                    <a:pt x="3242" y="7234"/>
                    <a:pt x="0" y="3992"/>
                    <a:pt x="0" y="0"/>
                  </a:cubicBezTo>
                  <a:lnTo>
                    <a:pt x="0" y="670"/>
                  </a:lnTo>
                  <a:lnTo>
                    <a:pt x="0" y="670"/>
                  </a:lnTo>
                  <a:cubicBezTo>
                    <a:pt x="0" y="4689"/>
                    <a:pt x="3215" y="7970"/>
                    <a:pt x="7235" y="8037"/>
                  </a:cubicBezTo>
                  <a:close/>
                </a:path>
              </a:pathLst>
            </a:custGeom>
            <a:solidFill>
              <a:srgbClr val="000000"/>
            </a:solidFill>
            <a:ln w="12700" cap="flat">
              <a:noFill/>
              <a:prstDash val="solid"/>
              <a:miter/>
            </a:ln>
          </p:spPr>
          <p:txBody>
            <a:bodyPr rtlCol="0" anchor="ctr"/>
            <a:lstStyle/>
            <a:p>
              <a:endParaRPr lang="en-US"/>
            </a:p>
          </p:txBody>
        </p:sp>
        <p:sp>
          <p:nvSpPr>
            <p:cNvPr id="1832" name="Freeform: Shape 1831">
              <a:extLst>
                <a:ext uri="{FF2B5EF4-FFF2-40B4-BE49-F238E27FC236}">
                  <a16:creationId xmlns:a16="http://schemas.microsoft.com/office/drawing/2014/main" id="{E794907D-D5A3-44B5-9F01-DD4783032773}"/>
                </a:ext>
              </a:extLst>
            </p:cNvPr>
            <p:cNvSpPr/>
            <p:nvPr/>
          </p:nvSpPr>
          <p:spPr>
            <a:xfrm>
              <a:off x="966782" y="6262294"/>
              <a:ext cx="14603" cy="215804"/>
            </a:xfrm>
            <a:custGeom>
              <a:avLst/>
              <a:gdLst>
                <a:gd name="connsiteX0" fmla="*/ 7235 w 14603"/>
                <a:gd name="connsiteY0" fmla="*/ 7234 h 215804"/>
                <a:gd name="connsiteX1" fmla="*/ 0 w 14603"/>
                <a:gd name="connsiteY1" fmla="*/ 0 h 215804"/>
                <a:gd name="connsiteX2" fmla="*/ 0 w 14603"/>
                <a:gd name="connsiteY2" fmla="*/ 0 h 215804"/>
                <a:gd name="connsiteX3" fmla="*/ 0 w 14603"/>
                <a:gd name="connsiteY3" fmla="*/ 208571 h 215804"/>
                <a:gd name="connsiteX4" fmla="*/ 7235 w 14603"/>
                <a:gd name="connsiteY4" fmla="*/ 215804 h 215804"/>
                <a:gd name="connsiteX5" fmla="*/ 14604 w 14603"/>
                <a:gd name="connsiteY5" fmla="*/ 208571 h 215804"/>
                <a:gd name="connsiteX6" fmla="*/ 14604 w 14603"/>
                <a:gd name="connsiteY6" fmla="*/ 0 h 215804"/>
                <a:gd name="connsiteX7" fmla="*/ 7235 w 14603"/>
                <a:gd name="connsiteY7" fmla="*/ 7234 h 21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215804">
                  <a:moveTo>
                    <a:pt x="7235" y="7234"/>
                  </a:moveTo>
                  <a:cubicBezTo>
                    <a:pt x="3240" y="7234"/>
                    <a:pt x="0" y="3992"/>
                    <a:pt x="0" y="0"/>
                  </a:cubicBezTo>
                  <a:lnTo>
                    <a:pt x="0" y="0"/>
                  </a:lnTo>
                  <a:lnTo>
                    <a:pt x="0" y="208571"/>
                  </a:lnTo>
                  <a:cubicBezTo>
                    <a:pt x="0" y="212562"/>
                    <a:pt x="3240" y="215804"/>
                    <a:pt x="7235" y="215804"/>
                  </a:cubicBezTo>
                  <a:cubicBezTo>
                    <a:pt x="11253" y="215804"/>
                    <a:pt x="14531" y="212589"/>
                    <a:pt x="14604" y="208571"/>
                  </a:cubicBezTo>
                  <a:lnTo>
                    <a:pt x="14604" y="0"/>
                  </a:lnTo>
                  <a:cubicBezTo>
                    <a:pt x="14530" y="4019"/>
                    <a:pt x="11253" y="7234"/>
                    <a:pt x="7235" y="7234"/>
                  </a:cubicBezTo>
                  <a:close/>
                </a:path>
              </a:pathLst>
            </a:custGeom>
            <a:solidFill>
              <a:srgbClr val="000000"/>
            </a:solidFill>
            <a:ln w="12700" cap="flat">
              <a:noFill/>
              <a:prstDash val="solid"/>
              <a:miter/>
            </a:ln>
          </p:spPr>
          <p:txBody>
            <a:bodyPr rtlCol="0" anchor="ctr"/>
            <a:lstStyle/>
            <a:p>
              <a:endParaRPr lang="en-US"/>
            </a:p>
          </p:txBody>
        </p:sp>
        <p:sp>
          <p:nvSpPr>
            <p:cNvPr id="1833" name="Freeform: Shape 1832">
              <a:extLst>
                <a:ext uri="{FF2B5EF4-FFF2-40B4-BE49-F238E27FC236}">
                  <a16:creationId xmlns:a16="http://schemas.microsoft.com/office/drawing/2014/main" id="{268BC245-1318-4441-830E-0066A4C13AF6}"/>
                </a:ext>
              </a:extLst>
            </p:cNvPr>
            <p:cNvSpPr/>
            <p:nvPr/>
          </p:nvSpPr>
          <p:spPr>
            <a:xfrm>
              <a:off x="966782" y="6253721"/>
              <a:ext cx="14603" cy="15806"/>
            </a:xfrm>
            <a:custGeom>
              <a:avLst/>
              <a:gdLst>
                <a:gd name="connsiteX0" fmla="*/ 0 w 14603"/>
                <a:gd name="connsiteY0" fmla="*/ 8573 h 15806"/>
                <a:gd name="connsiteX1" fmla="*/ 7235 w 14603"/>
                <a:gd name="connsiteY1" fmla="*/ 15807 h 15806"/>
                <a:gd name="connsiteX2" fmla="*/ 14604 w 14603"/>
                <a:gd name="connsiteY2" fmla="*/ 8573 h 15806"/>
                <a:gd name="connsiteX3" fmla="*/ 14604 w 14603"/>
                <a:gd name="connsiteY3" fmla="*/ 7368 h 15806"/>
                <a:gd name="connsiteX4" fmla="*/ 7235 w 14603"/>
                <a:gd name="connsiteY4" fmla="*/ 0 h 15806"/>
                <a:gd name="connsiteX5" fmla="*/ 268 w 14603"/>
                <a:gd name="connsiteY5" fmla="*/ 6028 h 15806"/>
                <a:gd name="connsiteX6" fmla="*/ 268 w 14603"/>
                <a:gd name="connsiteY6" fmla="*/ 7368 h 1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5806">
                  <a:moveTo>
                    <a:pt x="0" y="8573"/>
                  </a:moveTo>
                  <a:cubicBezTo>
                    <a:pt x="0" y="12565"/>
                    <a:pt x="3240" y="15807"/>
                    <a:pt x="7235" y="15807"/>
                  </a:cubicBezTo>
                  <a:cubicBezTo>
                    <a:pt x="11253" y="15807"/>
                    <a:pt x="14531" y="12592"/>
                    <a:pt x="14604" y="8573"/>
                  </a:cubicBezTo>
                  <a:lnTo>
                    <a:pt x="14604" y="7368"/>
                  </a:lnTo>
                  <a:cubicBezTo>
                    <a:pt x="14604" y="3295"/>
                    <a:pt x="11305" y="0"/>
                    <a:pt x="7235" y="0"/>
                  </a:cubicBezTo>
                  <a:cubicBezTo>
                    <a:pt x="3767" y="80"/>
                    <a:pt x="845" y="2612"/>
                    <a:pt x="268" y="6028"/>
                  </a:cubicBezTo>
                  <a:cubicBezTo>
                    <a:pt x="193" y="6470"/>
                    <a:pt x="193" y="6926"/>
                    <a:pt x="268" y="7368"/>
                  </a:cubicBezTo>
                  <a:close/>
                </a:path>
              </a:pathLst>
            </a:custGeom>
            <a:solidFill>
              <a:srgbClr val="000000"/>
            </a:solidFill>
            <a:ln w="12700" cap="flat">
              <a:noFill/>
              <a:prstDash val="solid"/>
              <a:miter/>
            </a:ln>
          </p:spPr>
          <p:txBody>
            <a:bodyPr rtlCol="0" anchor="ctr"/>
            <a:lstStyle/>
            <a:p>
              <a:endParaRPr lang="en-US"/>
            </a:p>
          </p:txBody>
        </p:sp>
        <p:sp>
          <p:nvSpPr>
            <p:cNvPr id="1834" name="Freeform: Shape 1833">
              <a:extLst>
                <a:ext uri="{FF2B5EF4-FFF2-40B4-BE49-F238E27FC236}">
                  <a16:creationId xmlns:a16="http://schemas.microsoft.com/office/drawing/2014/main" id="{E1D60F03-69D5-4957-BE52-A98E710DC76A}"/>
                </a:ext>
              </a:extLst>
            </p:cNvPr>
            <p:cNvSpPr/>
            <p:nvPr/>
          </p:nvSpPr>
          <p:spPr>
            <a:xfrm>
              <a:off x="1436942" y="6463095"/>
              <a:ext cx="337991" cy="14065"/>
            </a:xfrm>
            <a:custGeom>
              <a:avLst/>
              <a:gdLst>
                <a:gd name="connsiteX0" fmla="*/ 330757 w 337991"/>
                <a:gd name="connsiteY0" fmla="*/ 7234 h 14065"/>
                <a:gd name="connsiteX1" fmla="*/ 337992 w 337991"/>
                <a:gd name="connsiteY1" fmla="*/ 0 h 14065"/>
                <a:gd name="connsiteX2" fmla="*/ 7335 w 337991"/>
                <a:gd name="connsiteY2" fmla="*/ 0 h 14065"/>
                <a:gd name="connsiteX3" fmla="*/ 101 w 337991"/>
                <a:gd name="connsiteY3" fmla="*/ 7234 h 14065"/>
                <a:gd name="connsiteX4" fmla="*/ 101 w 337991"/>
                <a:gd name="connsiteY4" fmla="*/ 9779 h 14065"/>
                <a:gd name="connsiteX5" fmla="*/ 101 w 337991"/>
                <a:gd name="connsiteY5" fmla="*/ 9779 h 14065"/>
                <a:gd name="connsiteX6" fmla="*/ 6665 w 337991"/>
                <a:gd name="connsiteY6" fmla="*/ 14066 h 14065"/>
                <a:gd name="connsiteX7" fmla="*/ 337322 w 337991"/>
                <a:gd name="connsiteY7" fmla="*/ 14066 h 14065"/>
                <a:gd name="connsiteX8" fmla="*/ 330757 w 337991"/>
                <a:gd name="connsiteY8" fmla="*/ 7234 h 1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991" h="14065">
                  <a:moveTo>
                    <a:pt x="330757" y="7234"/>
                  </a:moveTo>
                  <a:cubicBezTo>
                    <a:pt x="330757" y="3242"/>
                    <a:pt x="333999" y="0"/>
                    <a:pt x="337992" y="0"/>
                  </a:cubicBezTo>
                  <a:lnTo>
                    <a:pt x="7335" y="0"/>
                  </a:lnTo>
                  <a:cubicBezTo>
                    <a:pt x="3343" y="0"/>
                    <a:pt x="101" y="3242"/>
                    <a:pt x="101" y="7234"/>
                  </a:cubicBezTo>
                  <a:cubicBezTo>
                    <a:pt x="-34" y="8078"/>
                    <a:pt x="-34" y="8935"/>
                    <a:pt x="101" y="9779"/>
                  </a:cubicBezTo>
                  <a:cubicBezTo>
                    <a:pt x="101" y="9779"/>
                    <a:pt x="101" y="9779"/>
                    <a:pt x="101" y="9779"/>
                  </a:cubicBezTo>
                  <a:cubicBezTo>
                    <a:pt x="1253" y="12378"/>
                    <a:pt x="3825" y="14052"/>
                    <a:pt x="6665" y="14066"/>
                  </a:cubicBezTo>
                  <a:lnTo>
                    <a:pt x="337322" y="14066"/>
                  </a:lnTo>
                  <a:cubicBezTo>
                    <a:pt x="333771" y="13677"/>
                    <a:pt x="330998" y="10797"/>
                    <a:pt x="330757" y="7234"/>
                  </a:cubicBezTo>
                  <a:close/>
                </a:path>
              </a:pathLst>
            </a:custGeom>
            <a:solidFill>
              <a:srgbClr val="000000"/>
            </a:solidFill>
            <a:ln w="12700" cap="flat">
              <a:noFill/>
              <a:prstDash val="solid"/>
              <a:miter/>
            </a:ln>
          </p:spPr>
          <p:txBody>
            <a:bodyPr rtlCol="0" anchor="ctr"/>
            <a:lstStyle/>
            <a:p>
              <a:endParaRPr lang="en-US"/>
            </a:p>
          </p:txBody>
        </p:sp>
        <p:sp>
          <p:nvSpPr>
            <p:cNvPr id="1835" name="Freeform: Shape 1834">
              <a:extLst>
                <a:ext uri="{FF2B5EF4-FFF2-40B4-BE49-F238E27FC236}">
                  <a16:creationId xmlns:a16="http://schemas.microsoft.com/office/drawing/2014/main" id="{FB41CD2B-4A31-4375-91AB-20747CAF9AE1}"/>
                </a:ext>
              </a:extLst>
            </p:cNvPr>
            <p:cNvSpPr/>
            <p:nvPr/>
          </p:nvSpPr>
          <p:spPr>
            <a:xfrm>
              <a:off x="1767699" y="6463095"/>
              <a:ext cx="11254" cy="14601"/>
            </a:xfrm>
            <a:custGeom>
              <a:avLst/>
              <a:gdLst>
                <a:gd name="connsiteX0" fmla="*/ 4019 w 11254"/>
                <a:gd name="connsiteY0" fmla="*/ 7234 h 14601"/>
                <a:gd name="connsiteX1" fmla="*/ 11254 w 11254"/>
                <a:gd name="connsiteY1" fmla="*/ 0 h 14601"/>
                <a:gd name="connsiteX2" fmla="*/ 7235 w 11254"/>
                <a:gd name="connsiteY2" fmla="*/ 0 h 14601"/>
                <a:gd name="connsiteX3" fmla="*/ 0 w 11254"/>
                <a:gd name="connsiteY3" fmla="*/ 7234 h 14601"/>
                <a:gd name="connsiteX4" fmla="*/ 7235 w 11254"/>
                <a:gd name="connsiteY4" fmla="*/ 14601 h 14601"/>
                <a:gd name="connsiteX5" fmla="*/ 11254 w 11254"/>
                <a:gd name="connsiteY5" fmla="*/ 14601 h 14601"/>
                <a:gd name="connsiteX6" fmla="*/ 4019 w 1125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4" h="14601">
                  <a:moveTo>
                    <a:pt x="4019" y="7234"/>
                  </a:moveTo>
                  <a:cubicBezTo>
                    <a:pt x="4019" y="3242"/>
                    <a:pt x="7261" y="0"/>
                    <a:pt x="11254" y="0"/>
                  </a:cubicBezTo>
                  <a:lnTo>
                    <a:pt x="7235" y="0"/>
                  </a:lnTo>
                  <a:cubicBezTo>
                    <a:pt x="3242" y="0"/>
                    <a:pt x="0" y="3242"/>
                    <a:pt x="0" y="7234"/>
                  </a:cubicBezTo>
                  <a:cubicBezTo>
                    <a:pt x="0" y="11252"/>
                    <a:pt x="3215" y="14534"/>
                    <a:pt x="7235" y="14601"/>
                  </a:cubicBezTo>
                  <a:lnTo>
                    <a:pt x="11254" y="14601"/>
                  </a:lnTo>
                  <a:cubicBezTo>
                    <a:pt x="7235" y="14534"/>
                    <a:pt x="4019" y="11252"/>
                    <a:pt x="4019" y="7234"/>
                  </a:cubicBezTo>
                  <a:close/>
                </a:path>
              </a:pathLst>
            </a:custGeom>
            <a:solidFill>
              <a:srgbClr val="000000"/>
            </a:solidFill>
            <a:ln w="12700" cap="flat">
              <a:noFill/>
              <a:prstDash val="solid"/>
              <a:miter/>
            </a:ln>
          </p:spPr>
          <p:txBody>
            <a:bodyPr rtlCol="0" anchor="ctr"/>
            <a:lstStyle/>
            <a:p>
              <a:endParaRPr lang="en-US"/>
            </a:p>
          </p:txBody>
        </p:sp>
        <p:sp>
          <p:nvSpPr>
            <p:cNvPr id="1836" name="Freeform: Shape 1835">
              <a:extLst>
                <a:ext uri="{FF2B5EF4-FFF2-40B4-BE49-F238E27FC236}">
                  <a16:creationId xmlns:a16="http://schemas.microsoft.com/office/drawing/2014/main" id="{656805D6-DA59-4DDE-9B52-56DF360E50FA}"/>
                </a:ext>
              </a:extLst>
            </p:cNvPr>
            <p:cNvSpPr/>
            <p:nvPr/>
          </p:nvSpPr>
          <p:spPr>
            <a:xfrm>
              <a:off x="1771719" y="6463095"/>
              <a:ext cx="212220" cy="14601"/>
            </a:xfrm>
            <a:custGeom>
              <a:avLst/>
              <a:gdLst>
                <a:gd name="connsiteX0" fmla="*/ 204985 w 212220"/>
                <a:gd name="connsiteY0" fmla="*/ 7234 h 14601"/>
                <a:gd name="connsiteX1" fmla="*/ 212220 w 212220"/>
                <a:gd name="connsiteY1" fmla="*/ 0 h 14601"/>
                <a:gd name="connsiteX2" fmla="*/ 7235 w 212220"/>
                <a:gd name="connsiteY2" fmla="*/ 0 h 14601"/>
                <a:gd name="connsiteX3" fmla="*/ 0 w 212220"/>
                <a:gd name="connsiteY3" fmla="*/ 7234 h 14601"/>
                <a:gd name="connsiteX4" fmla="*/ 7235 w 212220"/>
                <a:gd name="connsiteY4" fmla="*/ 14601 h 14601"/>
                <a:gd name="connsiteX5" fmla="*/ 212220 w 212220"/>
                <a:gd name="connsiteY5" fmla="*/ 14601 h 14601"/>
                <a:gd name="connsiteX6" fmla="*/ 204985 w 212220"/>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20" h="14601">
                  <a:moveTo>
                    <a:pt x="204985" y="7234"/>
                  </a:moveTo>
                  <a:cubicBezTo>
                    <a:pt x="204985" y="3242"/>
                    <a:pt x="208228" y="0"/>
                    <a:pt x="212220" y="0"/>
                  </a:cubicBezTo>
                  <a:lnTo>
                    <a:pt x="7235" y="0"/>
                  </a:lnTo>
                  <a:cubicBezTo>
                    <a:pt x="3242" y="0"/>
                    <a:pt x="0" y="3242"/>
                    <a:pt x="0" y="7234"/>
                  </a:cubicBezTo>
                  <a:cubicBezTo>
                    <a:pt x="0" y="11252"/>
                    <a:pt x="3215" y="14534"/>
                    <a:pt x="7235" y="14601"/>
                  </a:cubicBezTo>
                  <a:lnTo>
                    <a:pt x="212220" y="14601"/>
                  </a:lnTo>
                  <a:cubicBezTo>
                    <a:pt x="208201" y="14534"/>
                    <a:pt x="204985" y="11252"/>
                    <a:pt x="204985" y="7234"/>
                  </a:cubicBezTo>
                  <a:close/>
                </a:path>
              </a:pathLst>
            </a:custGeom>
            <a:solidFill>
              <a:srgbClr val="000000"/>
            </a:solidFill>
            <a:ln w="12700" cap="flat">
              <a:noFill/>
              <a:prstDash val="solid"/>
              <a:miter/>
            </a:ln>
          </p:spPr>
          <p:txBody>
            <a:bodyPr rtlCol="0" anchor="ctr"/>
            <a:lstStyle/>
            <a:p>
              <a:endParaRPr lang="en-US"/>
            </a:p>
          </p:txBody>
        </p:sp>
        <p:sp>
          <p:nvSpPr>
            <p:cNvPr id="1837" name="Freeform: Shape 1836">
              <a:extLst>
                <a:ext uri="{FF2B5EF4-FFF2-40B4-BE49-F238E27FC236}">
                  <a16:creationId xmlns:a16="http://schemas.microsoft.com/office/drawing/2014/main" id="{7C082902-86B5-40E4-B7E4-550A5C5B82A6}"/>
                </a:ext>
              </a:extLst>
            </p:cNvPr>
            <p:cNvSpPr/>
            <p:nvPr/>
          </p:nvSpPr>
          <p:spPr>
            <a:xfrm>
              <a:off x="1976704" y="6463095"/>
              <a:ext cx="103966" cy="14601"/>
            </a:xfrm>
            <a:custGeom>
              <a:avLst/>
              <a:gdLst>
                <a:gd name="connsiteX0" fmla="*/ 100751 w 103966"/>
                <a:gd name="connsiteY0" fmla="*/ 13128 h 14601"/>
                <a:gd name="connsiteX1" fmla="*/ 103967 w 103966"/>
                <a:gd name="connsiteY1" fmla="*/ 7234 h 14601"/>
                <a:gd name="connsiteX2" fmla="*/ 101823 w 103966"/>
                <a:gd name="connsiteY2" fmla="*/ 2143 h 14601"/>
                <a:gd name="connsiteX3" fmla="*/ 97000 w 103966"/>
                <a:gd name="connsiteY3" fmla="*/ 0 h 14601"/>
                <a:gd name="connsiteX4" fmla="*/ 7235 w 103966"/>
                <a:gd name="connsiteY4" fmla="*/ 0 h 14601"/>
                <a:gd name="connsiteX5" fmla="*/ 0 w 103966"/>
                <a:gd name="connsiteY5" fmla="*/ 7234 h 14601"/>
                <a:gd name="connsiteX6" fmla="*/ 7235 w 103966"/>
                <a:gd name="connsiteY6" fmla="*/ 14601 h 14601"/>
                <a:gd name="connsiteX7" fmla="*/ 96598 w 103966"/>
                <a:gd name="connsiteY7" fmla="*/ 14601 h 14601"/>
                <a:gd name="connsiteX8" fmla="*/ 100751 w 103966"/>
                <a:gd name="connsiteY8" fmla="*/ 1312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966" h="14601">
                  <a:moveTo>
                    <a:pt x="100751" y="13128"/>
                  </a:moveTo>
                  <a:cubicBezTo>
                    <a:pt x="102721" y="11815"/>
                    <a:pt x="103926" y="9605"/>
                    <a:pt x="103967" y="7234"/>
                  </a:cubicBezTo>
                  <a:cubicBezTo>
                    <a:pt x="103967" y="5318"/>
                    <a:pt x="103190" y="3483"/>
                    <a:pt x="101823" y="2143"/>
                  </a:cubicBezTo>
                  <a:cubicBezTo>
                    <a:pt x="100497" y="911"/>
                    <a:pt x="98808" y="147"/>
                    <a:pt x="97000" y="0"/>
                  </a:cubicBezTo>
                  <a:lnTo>
                    <a:pt x="7235" y="0"/>
                  </a:lnTo>
                  <a:cubicBezTo>
                    <a:pt x="3242" y="0"/>
                    <a:pt x="0" y="3242"/>
                    <a:pt x="0" y="7234"/>
                  </a:cubicBezTo>
                  <a:cubicBezTo>
                    <a:pt x="0" y="11252"/>
                    <a:pt x="3216" y="14534"/>
                    <a:pt x="7235" y="14601"/>
                  </a:cubicBezTo>
                  <a:lnTo>
                    <a:pt x="96598" y="14601"/>
                  </a:lnTo>
                  <a:cubicBezTo>
                    <a:pt x="98098" y="14548"/>
                    <a:pt x="99545" y="14025"/>
                    <a:pt x="100751" y="13128"/>
                  </a:cubicBezTo>
                  <a:close/>
                </a:path>
              </a:pathLst>
            </a:custGeom>
            <a:solidFill>
              <a:srgbClr val="000000"/>
            </a:solidFill>
            <a:ln w="12700" cap="flat">
              <a:noFill/>
              <a:prstDash val="solid"/>
              <a:miter/>
            </a:ln>
          </p:spPr>
          <p:txBody>
            <a:bodyPr rtlCol="0" anchor="ctr"/>
            <a:lstStyle/>
            <a:p>
              <a:endParaRPr lang="en-US"/>
            </a:p>
          </p:txBody>
        </p:sp>
        <p:sp>
          <p:nvSpPr>
            <p:cNvPr id="1838" name="Freeform: Shape 1837">
              <a:extLst>
                <a:ext uri="{FF2B5EF4-FFF2-40B4-BE49-F238E27FC236}">
                  <a16:creationId xmlns:a16="http://schemas.microsoft.com/office/drawing/2014/main" id="{8E1B8504-4521-4A89-960E-543DED205DD7}"/>
                </a:ext>
              </a:extLst>
            </p:cNvPr>
            <p:cNvSpPr/>
            <p:nvPr/>
          </p:nvSpPr>
          <p:spPr>
            <a:xfrm>
              <a:off x="410105" y="5592377"/>
              <a:ext cx="55064" cy="14601"/>
            </a:xfrm>
            <a:custGeom>
              <a:avLst/>
              <a:gdLst>
                <a:gd name="connsiteX0" fmla="*/ 47830 w 55064"/>
                <a:gd name="connsiteY0" fmla="*/ 7234 h 14601"/>
                <a:gd name="connsiteX1" fmla="*/ 55065 w 55064"/>
                <a:gd name="connsiteY1" fmla="*/ 0 h 14601"/>
                <a:gd name="connsiteX2" fmla="*/ 7235 w 55064"/>
                <a:gd name="connsiteY2" fmla="*/ 0 h 14601"/>
                <a:gd name="connsiteX3" fmla="*/ 0 w 55064"/>
                <a:gd name="connsiteY3" fmla="*/ 7234 h 14601"/>
                <a:gd name="connsiteX4" fmla="*/ 7235 w 55064"/>
                <a:gd name="connsiteY4" fmla="*/ 14601 h 14601"/>
                <a:gd name="connsiteX5" fmla="*/ 55065 w 55064"/>
                <a:gd name="connsiteY5" fmla="*/ 14601 h 14601"/>
                <a:gd name="connsiteX6" fmla="*/ 47830 w 5506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64" h="14601">
                  <a:moveTo>
                    <a:pt x="47830" y="7234"/>
                  </a:moveTo>
                  <a:cubicBezTo>
                    <a:pt x="47830" y="3239"/>
                    <a:pt x="51070" y="0"/>
                    <a:pt x="55065" y="0"/>
                  </a:cubicBezTo>
                  <a:lnTo>
                    <a:pt x="7235" y="0"/>
                  </a:lnTo>
                  <a:cubicBezTo>
                    <a:pt x="3240" y="0"/>
                    <a:pt x="0" y="3239"/>
                    <a:pt x="0" y="7234"/>
                  </a:cubicBezTo>
                  <a:cubicBezTo>
                    <a:pt x="-1" y="11251"/>
                    <a:pt x="3218" y="14528"/>
                    <a:pt x="7235" y="14601"/>
                  </a:cubicBezTo>
                  <a:lnTo>
                    <a:pt x="55065" y="14601"/>
                  </a:lnTo>
                  <a:cubicBezTo>
                    <a:pt x="51048" y="14528"/>
                    <a:pt x="47830" y="11251"/>
                    <a:pt x="47830" y="7234"/>
                  </a:cubicBezTo>
                  <a:close/>
                </a:path>
              </a:pathLst>
            </a:custGeom>
            <a:solidFill>
              <a:srgbClr val="000000"/>
            </a:solidFill>
            <a:ln w="12700" cap="flat">
              <a:noFill/>
              <a:prstDash val="solid"/>
              <a:miter/>
            </a:ln>
          </p:spPr>
          <p:txBody>
            <a:bodyPr rtlCol="0" anchor="ctr"/>
            <a:lstStyle/>
            <a:p>
              <a:endParaRPr lang="en-US"/>
            </a:p>
          </p:txBody>
        </p:sp>
        <p:sp>
          <p:nvSpPr>
            <p:cNvPr id="1839" name="Freeform: Shape 1838">
              <a:extLst>
                <a:ext uri="{FF2B5EF4-FFF2-40B4-BE49-F238E27FC236}">
                  <a16:creationId xmlns:a16="http://schemas.microsoft.com/office/drawing/2014/main" id="{2BD9E168-F5DD-4470-ACB6-47B3EDC732C5}"/>
                </a:ext>
              </a:extLst>
            </p:cNvPr>
            <p:cNvSpPr/>
            <p:nvPr/>
          </p:nvSpPr>
          <p:spPr>
            <a:xfrm>
              <a:off x="3224779" y="6538647"/>
              <a:ext cx="60" cy="2009"/>
            </a:xfrm>
            <a:custGeom>
              <a:avLst/>
              <a:gdLst>
                <a:gd name="connsiteX0" fmla="*/ 60 w 60"/>
                <a:gd name="connsiteY0" fmla="*/ 402 h 2009"/>
                <a:gd name="connsiteX1" fmla="*/ 60 w 60"/>
                <a:gd name="connsiteY1" fmla="*/ 2009 h 2009"/>
                <a:gd name="connsiteX2" fmla="*/ 60 w 60"/>
                <a:gd name="connsiteY2" fmla="*/ 2009 h 2009"/>
                <a:gd name="connsiteX3" fmla="*/ 60 w 60"/>
                <a:gd name="connsiteY3" fmla="*/ 0 h 2009"/>
              </a:gdLst>
              <a:ahLst/>
              <a:cxnLst>
                <a:cxn ang="0">
                  <a:pos x="connsiteX0" y="connsiteY0"/>
                </a:cxn>
                <a:cxn ang="0">
                  <a:pos x="connsiteX1" y="connsiteY1"/>
                </a:cxn>
                <a:cxn ang="0">
                  <a:pos x="connsiteX2" y="connsiteY2"/>
                </a:cxn>
                <a:cxn ang="0">
                  <a:pos x="connsiteX3" y="connsiteY3"/>
                </a:cxn>
              </a:cxnLst>
              <a:rect l="l" t="t" r="r" b="b"/>
              <a:pathLst>
                <a:path w="60" h="2009">
                  <a:moveTo>
                    <a:pt x="60" y="402"/>
                  </a:moveTo>
                  <a:cubicBezTo>
                    <a:pt x="-20" y="938"/>
                    <a:pt x="-20" y="1474"/>
                    <a:pt x="60" y="2009"/>
                  </a:cubicBezTo>
                  <a:lnTo>
                    <a:pt x="60" y="2009"/>
                  </a:lnTo>
                  <a:cubicBezTo>
                    <a:pt x="-20" y="1339"/>
                    <a:pt x="-20" y="670"/>
                    <a:pt x="60" y="0"/>
                  </a:cubicBezTo>
                  <a:close/>
                </a:path>
              </a:pathLst>
            </a:custGeom>
            <a:solidFill>
              <a:srgbClr val="000000"/>
            </a:solidFill>
            <a:ln w="12700" cap="flat">
              <a:noFill/>
              <a:prstDash val="solid"/>
              <a:miter/>
            </a:ln>
          </p:spPr>
          <p:txBody>
            <a:bodyPr rtlCol="0" anchor="ctr"/>
            <a:lstStyle/>
            <a:p>
              <a:endParaRPr lang="en-US"/>
            </a:p>
          </p:txBody>
        </p:sp>
        <p:sp>
          <p:nvSpPr>
            <p:cNvPr id="1840" name="Freeform: Shape 1839">
              <a:extLst>
                <a:ext uri="{FF2B5EF4-FFF2-40B4-BE49-F238E27FC236}">
                  <a16:creationId xmlns:a16="http://schemas.microsoft.com/office/drawing/2014/main" id="{972BD6BC-0880-4299-8A66-24D6A44BB525}"/>
                </a:ext>
              </a:extLst>
            </p:cNvPr>
            <p:cNvSpPr/>
            <p:nvPr/>
          </p:nvSpPr>
          <p:spPr>
            <a:xfrm>
              <a:off x="3239041" y="6538379"/>
              <a:ext cx="100" cy="2277"/>
            </a:xfrm>
            <a:custGeom>
              <a:avLst/>
              <a:gdLst>
                <a:gd name="connsiteX0" fmla="*/ 0 w 100"/>
                <a:gd name="connsiteY0" fmla="*/ 2277 h 2277"/>
                <a:gd name="connsiteX1" fmla="*/ 0 w 100"/>
                <a:gd name="connsiteY1" fmla="*/ 670 h 2277"/>
                <a:gd name="connsiteX2" fmla="*/ 0 w 100"/>
                <a:gd name="connsiteY2" fmla="*/ 0 h 2277"/>
                <a:gd name="connsiteX3" fmla="*/ 0 w 100"/>
                <a:gd name="connsiteY3" fmla="*/ 2009 h 2277"/>
              </a:gdLst>
              <a:ahLst/>
              <a:cxnLst>
                <a:cxn ang="0">
                  <a:pos x="connsiteX0" y="connsiteY0"/>
                </a:cxn>
                <a:cxn ang="0">
                  <a:pos x="connsiteX1" y="connsiteY1"/>
                </a:cxn>
                <a:cxn ang="0">
                  <a:pos x="connsiteX2" y="connsiteY2"/>
                </a:cxn>
                <a:cxn ang="0">
                  <a:pos x="connsiteX3" y="connsiteY3"/>
                </a:cxn>
              </a:cxnLst>
              <a:rect l="l" t="t" r="r" b="b"/>
              <a:pathLst>
                <a:path w="100" h="2277">
                  <a:moveTo>
                    <a:pt x="0" y="2277"/>
                  </a:moveTo>
                  <a:cubicBezTo>
                    <a:pt x="81" y="1742"/>
                    <a:pt x="81" y="1206"/>
                    <a:pt x="0" y="670"/>
                  </a:cubicBezTo>
                  <a:lnTo>
                    <a:pt x="0" y="0"/>
                  </a:lnTo>
                  <a:cubicBezTo>
                    <a:pt x="134" y="656"/>
                    <a:pt x="134" y="1353"/>
                    <a:pt x="0" y="2009"/>
                  </a:cubicBezTo>
                  <a:close/>
                </a:path>
              </a:pathLst>
            </a:custGeom>
            <a:solidFill>
              <a:srgbClr val="000000"/>
            </a:solidFill>
            <a:ln w="12700" cap="flat">
              <a:noFill/>
              <a:prstDash val="solid"/>
              <a:miter/>
            </a:ln>
          </p:spPr>
          <p:txBody>
            <a:bodyPr rtlCol="0" anchor="ctr"/>
            <a:lstStyle/>
            <a:p>
              <a:endParaRPr lang="en-US"/>
            </a:p>
          </p:txBody>
        </p:sp>
        <p:sp>
          <p:nvSpPr>
            <p:cNvPr id="1841" name="Freeform: Shape 1840">
              <a:extLst>
                <a:ext uri="{FF2B5EF4-FFF2-40B4-BE49-F238E27FC236}">
                  <a16:creationId xmlns:a16="http://schemas.microsoft.com/office/drawing/2014/main" id="{2E538A5B-4EF5-46E3-9D4D-ADA6A775B0CB}"/>
                </a:ext>
              </a:extLst>
            </p:cNvPr>
            <p:cNvSpPr/>
            <p:nvPr/>
          </p:nvSpPr>
          <p:spPr>
            <a:xfrm>
              <a:off x="2792896" y="6540388"/>
              <a:ext cx="14469" cy="313324"/>
            </a:xfrm>
            <a:custGeom>
              <a:avLst/>
              <a:gdLst>
                <a:gd name="connsiteX0" fmla="*/ 7235 w 14469"/>
                <a:gd name="connsiteY0" fmla="*/ 7234 h 313324"/>
                <a:gd name="connsiteX1" fmla="*/ 0 w 14469"/>
                <a:gd name="connsiteY1" fmla="*/ 0 h 313324"/>
                <a:gd name="connsiteX2" fmla="*/ 0 w 14469"/>
                <a:gd name="connsiteY2" fmla="*/ 313325 h 313324"/>
                <a:gd name="connsiteX3" fmla="*/ 14469 w 14469"/>
                <a:gd name="connsiteY3" fmla="*/ 313325 h 313324"/>
                <a:gd name="connsiteX4" fmla="*/ 14469 w 14469"/>
                <a:gd name="connsiteY4" fmla="*/ 0 h 313324"/>
                <a:gd name="connsiteX5" fmla="*/ 7235 w 14469"/>
                <a:gd name="connsiteY5" fmla="*/ 7234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13324">
                  <a:moveTo>
                    <a:pt x="7235" y="7234"/>
                  </a:moveTo>
                  <a:cubicBezTo>
                    <a:pt x="3242" y="7234"/>
                    <a:pt x="0" y="3992"/>
                    <a:pt x="0" y="0"/>
                  </a:cubicBezTo>
                  <a:lnTo>
                    <a:pt x="0" y="313325"/>
                  </a:lnTo>
                  <a:lnTo>
                    <a:pt x="14469" y="313325"/>
                  </a:lnTo>
                  <a:lnTo>
                    <a:pt x="14469" y="0"/>
                  </a:lnTo>
                  <a:cubicBezTo>
                    <a:pt x="14469" y="3992"/>
                    <a:pt x="11227" y="7234"/>
                    <a:pt x="7235" y="7234"/>
                  </a:cubicBezTo>
                  <a:close/>
                </a:path>
              </a:pathLst>
            </a:custGeom>
            <a:solidFill>
              <a:srgbClr val="000000"/>
            </a:solidFill>
            <a:ln w="12700" cap="flat">
              <a:noFill/>
              <a:prstDash val="solid"/>
              <a:miter/>
            </a:ln>
          </p:spPr>
          <p:txBody>
            <a:bodyPr rtlCol="0" anchor="ctr"/>
            <a:lstStyle/>
            <a:p>
              <a:endParaRPr lang="en-US"/>
            </a:p>
          </p:txBody>
        </p:sp>
        <p:sp>
          <p:nvSpPr>
            <p:cNvPr id="1842" name="Freeform: Shape 1841">
              <a:extLst>
                <a:ext uri="{FF2B5EF4-FFF2-40B4-BE49-F238E27FC236}">
                  <a16:creationId xmlns:a16="http://schemas.microsoft.com/office/drawing/2014/main" id="{4333504B-BF15-4975-9426-F7229B05123C}"/>
                </a:ext>
              </a:extLst>
            </p:cNvPr>
            <p:cNvSpPr/>
            <p:nvPr/>
          </p:nvSpPr>
          <p:spPr>
            <a:xfrm>
              <a:off x="316321" y="6479170"/>
              <a:ext cx="14603" cy="8975"/>
            </a:xfrm>
            <a:custGeom>
              <a:avLst/>
              <a:gdLst>
                <a:gd name="connsiteX0" fmla="*/ 7369 w 14603"/>
                <a:gd name="connsiteY0" fmla="*/ 8975 h 8975"/>
                <a:gd name="connsiteX1" fmla="*/ 14604 w 14603"/>
                <a:gd name="connsiteY1" fmla="*/ 1742 h 8975"/>
                <a:gd name="connsiteX2" fmla="*/ 14604 w 14603"/>
                <a:gd name="connsiteY2" fmla="*/ 0 h 8975"/>
                <a:gd name="connsiteX3" fmla="*/ 7369 w 14603"/>
                <a:gd name="connsiteY3" fmla="*/ 7234 h 8975"/>
                <a:gd name="connsiteX4" fmla="*/ 0 w 14603"/>
                <a:gd name="connsiteY4" fmla="*/ 0 h 8975"/>
                <a:gd name="connsiteX5" fmla="*/ 0 w 14603"/>
                <a:gd name="connsiteY5" fmla="*/ 1742 h 8975"/>
                <a:gd name="connsiteX6" fmla="*/ 670 w 14603"/>
                <a:gd name="connsiteY6" fmla="*/ 4421 h 8975"/>
                <a:gd name="connsiteX7" fmla="*/ 7369 w 14603"/>
                <a:gd name="connsiteY7" fmla="*/ 8975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8975">
                  <a:moveTo>
                    <a:pt x="7369" y="8975"/>
                  </a:moveTo>
                  <a:cubicBezTo>
                    <a:pt x="11364" y="8975"/>
                    <a:pt x="14604" y="5733"/>
                    <a:pt x="14604" y="1742"/>
                  </a:cubicBezTo>
                  <a:lnTo>
                    <a:pt x="14604" y="0"/>
                  </a:lnTo>
                  <a:cubicBezTo>
                    <a:pt x="14604" y="3992"/>
                    <a:pt x="11364" y="7234"/>
                    <a:pt x="7369" y="7234"/>
                  </a:cubicBezTo>
                  <a:cubicBezTo>
                    <a:pt x="3351" y="7234"/>
                    <a:pt x="74" y="4019"/>
                    <a:pt x="0" y="0"/>
                  </a:cubicBezTo>
                  <a:lnTo>
                    <a:pt x="0" y="1742"/>
                  </a:lnTo>
                  <a:cubicBezTo>
                    <a:pt x="17" y="2679"/>
                    <a:pt x="247" y="3590"/>
                    <a:pt x="670" y="4421"/>
                  </a:cubicBezTo>
                  <a:cubicBezTo>
                    <a:pt x="1732" y="7194"/>
                    <a:pt x="4404" y="9002"/>
                    <a:pt x="7369" y="8975"/>
                  </a:cubicBezTo>
                  <a:close/>
                </a:path>
              </a:pathLst>
            </a:custGeom>
            <a:solidFill>
              <a:srgbClr val="000000"/>
            </a:solidFill>
            <a:ln w="12700" cap="flat">
              <a:noFill/>
              <a:prstDash val="solid"/>
              <a:miter/>
            </a:ln>
          </p:spPr>
          <p:txBody>
            <a:bodyPr rtlCol="0" anchor="ctr"/>
            <a:lstStyle/>
            <a:p>
              <a:endParaRPr lang="en-US"/>
            </a:p>
          </p:txBody>
        </p:sp>
        <p:sp>
          <p:nvSpPr>
            <p:cNvPr id="1843" name="Freeform: Shape 1842">
              <a:extLst>
                <a:ext uri="{FF2B5EF4-FFF2-40B4-BE49-F238E27FC236}">
                  <a16:creationId xmlns:a16="http://schemas.microsoft.com/office/drawing/2014/main" id="{7F2E92A2-C9A0-4ECC-8358-04CC32B4420D}"/>
                </a:ext>
              </a:extLst>
            </p:cNvPr>
            <p:cNvSpPr/>
            <p:nvPr/>
          </p:nvSpPr>
          <p:spPr>
            <a:xfrm>
              <a:off x="316691" y="6463035"/>
              <a:ext cx="14280" cy="23368"/>
            </a:xfrm>
            <a:custGeom>
              <a:avLst/>
              <a:gdLst>
                <a:gd name="connsiteX0" fmla="*/ 6999 w 14280"/>
                <a:gd name="connsiteY0" fmla="*/ 23369 h 23368"/>
                <a:gd name="connsiteX1" fmla="*/ 14233 w 14280"/>
                <a:gd name="connsiteY1" fmla="*/ 16135 h 23368"/>
                <a:gd name="connsiteX2" fmla="*/ 14233 w 14280"/>
                <a:gd name="connsiteY2" fmla="*/ 7294 h 23368"/>
                <a:gd name="connsiteX3" fmla="*/ 14233 w 14280"/>
                <a:gd name="connsiteY3" fmla="*/ 6088 h 23368"/>
                <a:gd name="connsiteX4" fmla="*/ 7267 w 14280"/>
                <a:gd name="connsiteY4" fmla="*/ 60 h 23368"/>
                <a:gd name="connsiteX5" fmla="*/ 5793 w 14280"/>
                <a:gd name="connsiteY5" fmla="*/ 60 h 23368"/>
                <a:gd name="connsiteX6" fmla="*/ 4319 w 14280"/>
                <a:gd name="connsiteY6" fmla="*/ 60 h 23368"/>
                <a:gd name="connsiteX7" fmla="*/ 4319 w 14280"/>
                <a:gd name="connsiteY7" fmla="*/ 60 h 23368"/>
                <a:gd name="connsiteX8" fmla="*/ 32 w 14280"/>
                <a:gd name="connsiteY8" fmla="*/ 6490 h 23368"/>
                <a:gd name="connsiteX9" fmla="*/ 32 w 14280"/>
                <a:gd name="connsiteY9" fmla="*/ 15331 h 23368"/>
                <a:gd name="connsiteX10" fmla="*/ 6691 w 14280"/>
                <a:gd name="connsiteY10" fmla="*/ 23342 h 23368"/>
                <a:gd name="connsiteX11" fmla="*/ 6999 w 14280"/>
                <a:gd name="connsiteY11" fmla="*/ 23369 h 2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0" h="23368">
                  <a:moveTo>
                    <a:pt x="6999" y="23369"/>
                  </a:moveTo>
                  <a:cubicBezTo>
                    <a:pt x="10994" y="23369"/>
                    <a:pt x="14233" y="20127"/>
                    <a:pt x="14233" y="16135"/>
                  </a:cubicBezTo>
                  <a:lnTo>
                    <a:pt x="14233" y="7294"/>
                  </a:lnTo>
                  <a:cubicBezTo>
                    <a:pt x="14296" y="6892"/>
                    <a:pt x="14296" y="6490"/>
                    <a:pt x="14233" y="6088"/>
                  </a:cubicBezTo>
                  <a:cubicBezTo>
                    <a:pt x="13707" y="2646"/>
                    <a:pt x="10754" y="87"/>
                    <a:pt x="7267" y="60"/>
                  </a:cubicBezTo>
                  <a:lnTo>
                    <a:pt x="5793" y="60"/>
                  </a:lnTo>
                  <a:cubicBezTo>
                    <a:pt x="5305" y="-20"/>
                    <a:pt x="4807" y="-20"/>
                    <a:pt x="4319" y="60"/>
                  </a:cubicBezTo>
                  <a:lnTo>
                    <a:pt x="4319" y="60"/>
                  </a:lnTo>
                  <a:cubicBezTo>
                    <a:pt x="1747" y="1172"/>
                    <a:pt x="67" y="3691"/>
                    <a:pt x="32" y="6490"/>
                  </a:cubicBezTo>
                  <a:lnTo>
                    <a:pt x="32" y="15331"/>
                  </a:lnTo>
                  <a:cubicBezTo>
                    <a:pt x="-343" y="19377"/>
                    <a:pt x="2638" y="22967"/>
                    <a:pt x="6691" y="23342"/>
                  </a:cubicBezTo>
                  <a:cubicBezTo>
                    <a:pt x="6792" y="23355"/>
                    <a:pt x="6896" y="23369"/>
                    <a:pt x="6999" y="23369"/>
                  </a:cubicBezTo>
                  <a:close/>
                </a:path>
              </a:pathLst>
            </a:custGeom>
            <a:solidFill>
              <a:srgbClr val="000000"/>
            </a:solidFill>
            <a:ln w="12700" cap="flat">
              <a:noFill/>
              <a:prstDash val="solid"/>
              <a:miter/>
            </a:ln>
          </p:spPr>
          <p:txBody>
            <a:bodyPr rtlCol="0" anchor="ctr"/>
            <a:lstStyle/>
            <a:p>
              <a:endParaRPr lang="en-US"/>
            </a:p>
          </p:txBody>
        </p:sp>
        <p:sp>
          <p:nvSpPr>
            <p:cNvPr id="1844" name="Freeform: Shape 1843">
              <a:extLst>
                <a:ext uri="{FF2B5EF4-FFF2-40B4-BE49-F238E27FC236}">
                  <a16:creationId xmlns:a16="http://schemas.microsoft.com/office/drawing/2014/main" id="{A97943DC-54C0-48BE-8C17-3ACEF314E223}"/>
                </a:ext>
              </a:extLst>
            </p:cNvPr>
            <p:cNvSpPr/>
            <p:nvPr/>
          </p:nvSpPr>
          <p:spPr>
            <a:xfrm>
              <a:off x="1761134" y="5829882"/>
              <a:ext cx="8842" cy="14601"/>
            </a:xfrm>
            <a:custGeom>
              <a:avLst/>
              <a:gdLst>
                <a:gd name="connsiteX0" fmla="*/ 1474 w 8842"/>
                <a:gd name="connsiteY0" fmla="*/ 7234 h 14601"/>
                <a:gd name="connsiteX1" fmla="*/ 8843 w 8842"/>
                <a:gd name="connsiteY1" fmla="*/ 0 h 14601"/>
                <a:gd name="connsiteX2" fmla="*/ 7369 w 8842"/>
                <a:gd name="connsiteY2" fmla="*/ 0 h 14601"/>
                <a:gd name="connsiteX3" fmla="*/ 0 w 8842"/>
                <a:gd name="connsiteY3" fmla="*/ 7234 h 14601"/>
                <a:gd name="connsiteX4" fmla="*/ 7369 w 8842"/>
                <a:gd name="connsiteY4" fmla="*/ 14601 h 14601"/>
                <a:gd name="connsiteX5" fmla="*/ 8709 w 8842"/>
                <a:gd name="connsiteY5" fmla="*/ 14601 h 14601"/>
                <a:gd name="connsiteX6" fmla="*/ 1474 w 8842"/>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2" h="14601">
                  <a:moveTo>
                    <a:pt x="1474" y="7234"/>
                  </a:moveTo>
                  <a:cubicBezTo>
                    <a:pt x="1541" y="3218"/>
                    <a:pt x="4823" y="0"/>
                    <a:pt x="8843" y="0"/>
                  </a:cubicBezTo>
                  <a:lnTo>
                    <a:pt x="7369" y="0"/>
                  </a:lnTo>
                  <a:cubicBezTo>
                    <a:pt x="3349" y="0"/>
                    <a:pt x="67" y="3218"/>
                    <a:pt x="0" y="7234"/>
                  </a:cubicBezTo>
                  <a:cubicBezTo>
                    <a:pt x="0" y="11303"/>
                    <a:pt x="3296" y="14601"/>
                    <a:pt x="7369" y="14601"/>
                  </a:cubicBezTo>
                  <a:lnTo>
                    <a:pt x="8709" y="14601"/>
                  </a:lnTo>
                  <a:cubicBezTo>
                    <a:pt x="4689" y="14528"/>
                    <a:pt x="1474" y="11251"/>
                    <a:pt x="1474" y="7234"/>
                  </a:cubicBezTo>
                  <a:close/>
                </a:path>
              </a:pathLst>
            </a:custGeom>
            <a:solidFill>
              <a:srgbClr val="000000"/>
            </a:solidFill>
            <a:ln w="12700" cap="flat">
              <a:noFill/>
              <a:prstDash val="solid"/>
              <a:miter/>
            </a:ln>
          </p:spPr>
          <p:txBody>
            <a:bodyPr rtlCol="0" anchor="ctr"/>
            <a:lstStyle/>
            <a:p>
              <a:endParaRPr lang="en-US"/>
            </a:p>
          </p:txBody>
        </p:sp>
        <p:sp>
          <p:nvSpPr>
            <p:cNvPr id="1845" name="Freeform: Shape 1844">
              <a:extLst>
                <a:ext uri="{FF2B5EF4-FFF2-40B4-BE49-F238E27FC236}">
                  <a16:creationId xmlns:a16="http://schemas.microsoft.com/office/drawing/2014/main" id="{42BC55FA-A756-449E-B775-0ED7EA06420D}"/>
                </a:ext>
              </a:extLst>
            </p:cNvPr>
            <p:cNvSpPr/>
            <p:nvPr/>
          </p:nvSpPr>
          <p:spPr>
            <a:xfrm>
              <a:off x="1762608" y="5830686"/>
              <a:ext cx="19560" cy="14601"/>
            </a:xfrm>
            <a:custGeom>
              <a:avLst/>
              <a:gdLst>
                <a:gd name="connsiteX0" fmla="*/ 13666 w 19560"/>
                <a:gd name="connsiteY0" fmla="*/ 13530 h 14601"/>
                <a:gd name="connsiteX1" fmla="*/ 15005 w 19560"/>
                <a:gd name="connsiteY1" fmla="*/ 13530 h 14601"/>
                <a:gd name="connsiteX2" fmla="*/ 17685 w 19560"/>
                <a:gd name="connsiteY2" fmla="*/ 11654 h 14601"/>
                <a:gd name="connsiteX3" fmla="*/ 19561 w 19560"/>
                <a:gd name="connsiteY3" fmla="*/ 6698 h 14601"/>
                <a:gd name="connsiteX4" fmla="*/ 15005 w 19560"/>
                <a:gd name="connsiteY4" fmla="*/ 0 h 14601"/>
                <a:gd name="connsiteX5" fmla="*/ 13666 w 19560"/>
                <a:gd name="connsiteY5" fmla="*/ 0 h 14601"/>
                <a:gd name="connsiteX6" fmla="*/ 12326 w 19560"/>
                <a:gd name="connsiteY6" fmla="*/ 0 h 14601"/>
                <a:gd name="connsiteX7" fmla="*/ 7369 w 19560"/>
                <a:gd name="connsiteY7" fmla="*/ 0 h 14601"/>
                <a:gd name="connsiteX8" fmla="*/ 0 w 19560"/>
                <a:gd name="connsiteY8" fmla="*/ 7234 h 14601"/>
                <a:gd name="connsiteX9" fmla="*/ 7369 w 19560"/>
                <a:gd name="connsiteY9" fmla="*/ 14601 h 14601"/>
                <a:gd name="connsiteX10" fmla="*/ 12326 w 19560"/>
                <a:gd name="connsiteY10"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0" h="14601">
                  <a:moveTo>
                    <a:pt x="13666" y="13530"/>
                  </a:moveTo>
                  <a:lnTo>
                    <a:pt x="15005" y="13530"/>
                  </a:lnTo>
                  <a:cubicBezTo>
                    <a:pt x="16024" y="13109"/>
                    <a:pt x="16935" y="12469"/>
                    <a:pt x="17685" y="11654"/>
                  </a:cubicBezTo>
                  <a:cubicBezTo>
                    <a:pt x="18877" y="10273"/>
                    <a:pt x="19534" y="8518"/>
                    <a:pt x="19561" y="6698"/>
                  </a:cubicBezTo>
                  <a:cubicBezTo>
                    <a:pt x="19547" y="3745"/>
                    <a:pt x="17752" y="1093"/>
                    <a:pt x="15005" y="0"/>
                  </a:cubicBezTo>
                  <a:lnTo>
                    <a:pt x="13666" y="0"/>
                  </a:lnTo>
                  <a:lnTo>
                    <a:pt x="12326" y="0"/>
                  </a:lnTo>
                  <a:lnTo>
                    <a:pt x="7369" y="0"/>
                  </a:lnTo>
                  <a:cubicBezTo>
                    <a:pt x="3349" y="0"/>
                    <a:pt x="67" y="3218"/>
                    <a:pt x="0" y="7234"/>
                  </a:cubicBezTo>
                  <a:cubicBezTo>
                    <a:pt x="0" y="11303"/>
                    <a:pt x="3296" y="14601"/>
                    <a:pt x="7369" y="14601"/>
                  </a:cubicBezTo>
                  <a:lnTo>
                    <a:pt x="12326" y="14601"/>
                  </a:lnTo>
                  <a:close/>
                </a:path>
              </a:pathLst>
            </a:custGeom>
            <a:solidFill>
              <a:srgbClr val="000000"/>
            </a:solidFill>
            <a:ln w="12700" cap="flat">
              <a:noFill/>
              <a:prstDash val="solid"/>
              <a:miter/>
            </a:ln>
          </p:spPr>
          <p:txBody>
            <a:bodyPr rtlCol="0" anchor="ctr"/>
            <a:lstStyle/>
            <a:p>
              <a:endParaRPr lang="en-US"/>
            </a:p>
          </p:txBody>
        </p:sp>
        <p:sp>
          <p:nvSpPr>
            <p:cNvPr id="1846" name="Freeform: Shape 1845">
              <a:extLst>
                <a:ext uri="{FF2B5EF4-FFF2-40B4-BE49-F238E27FC236}">
                  <a16:creationId xmlns:a16="http://schemas.microsoft.com/office/drawing/2014/main" id="{CAA33486-481E-4E6C-9AF2-CAFB8007D578}"/>
                </a:ext>
              </a:extLst>
            </p:cNvPr>
            <p:cNvSpPr/>
            <p:nvPr/>
          </p:nvSpPr>
          <p:spPr>
            <a:xfrm>
              <a:off x="991433" y="6025983"/>
              <a:ext cx="14603" cy="81858"/>
            </a:xfrm>
            <a:custGeom>
              <a:avLst/>
              <a:gdLst>
                <a:gd name="connsiteX0" fmla="*/ 0 w 14603"/>
                <a:gd name="connsiteY0" fmla="*/ 7379 h 81858"/>
                <a:gd name="connsiteX1" fmla="*/ 0 w 14603"/>
                <a:gd name="connsiteY1" fmla="*/ 81859 h 81858"/>
                <a:gd name="connsiteX2" fmla="*/ 7235 w 14603"/>
                <a:gd name="connsiteY2" fmla="*/ 74491 h 81858"/>
                <a:gd name="connsiteX3" fmla="*/ 14604 w 14603"/>
                <a:gd name="connsiteY3" fmla="*/ 81859 h 81858"/>
                <a:gd name="connsiteX4" fmla="*/ 14604 w 14603"/>
                <a:gd name="connsiteY4" fmla="*/ 7379 h 81858"/>
                <a:gd name="connsiteX5" fmla="*/ 14604 w 14603"/>
                <a:gd name="connsiteY5" fmla="*/ 5905 h 81858"/>
                <a:gd name="connsiteX6" fmla="*/ 14604 w 14603"/>
                <a:gd name="connsiteY6" fmla="*/ 4566 h 81858"/>
                <a:gd name="connsiteX7" fmla="*/ 13398 w 14603"/>
                <a:gd name="connsiteY7" fmla="*/ 2824 h 81858"/>
                <a:gd name="connsiteX8" fmla="*/ 12326 w 14603"/>
                <a:gd name="connsiteY8" fmla="*/ 1753 h 81858"/>
                <a:gd name="connsiteX9" fmla="*/ 7771 w 14603"/>
                <a:gd name="connsiteY9" fmla="*/ 11 h 81858"/>
                <a:gd name="connsiteX10" fmla="*/ 11 w 14603"/>
                <a:gd name="connsiteY10" fmla="*/ 6966 h 81858"/>
                <a:gd name="connsiteX11" fmla="*/ 0 w 14603"/>
                <a:gd name="connsiteY11" fmla="*/ 7379 h 8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81858">
                  <a:moveTo>
                    <a:pt x="0" y="7379"/>
                  </a:moveTo>
                  <a:lnTo>
                    <a:pt x="0" y="81859"/>
                  </a:lnTo>
                  <a:cubicBezTo>
                    <a:pt x="0" y="77840"/>
                    <a:pt x="3218" y="74558"/>
                    <a:pt x="7235" y="74491"/>
                  </a:cubicBezTo>
                  <a:cubicBezTo>
                    <a:pt x="11305" y="74491"/>
                    <a:pt x="14604" y="77786"/>
                    <a:pt x="14604" y="81859"/>
                  </a:cubicBezTo>
                  <a:lnTo>
                    <a:pt x="14604" y="7379"/>
                  </a:lnTo>
                  <a:lnTo>
                    <a:pt x="14604" y="5905"/>
                  </a:lnTo>
                  <a:lnTo>
                    <a:pt x="14604" y="4566"/>
                  </a:lnTo>
                  <a:lnTo>
                    <a:pt x="13398" y="2824"/>
                  </a:lnTo>
                  <a:cubicBezTo>
                    <a:pt x="13075" y="2434"/>
                    <a:pt x="12716" y="2075"/>
                    <a:pt x="12326" y="1753"/>
                  </a:cubicBezTo>
                  <a:cubicBezTo>
                    <a:pt x="11038" y="690"/>
                    <a:pt x="9439" y="78"/>
                    <a:pt x="7771" y="11"/>
                  </a:cubicBezTo>
                  <a:cubicBezTo>
                    <a:pt x="3707" y="-211"/>
                    <a:pt x="233" y="2903"/>
                    <a:pt x="11" y="6966"/>
                  </a:cubicBezTo>
                  <a:cubicBezTo>
                    <a:pt x="4" y="7103"/>
                    <a:pt x="0" y="7241"/>
                    <a:pt x="0" y="7379"/>
                  </a:cubicBezTo>
                  <a:close/>
                </a:path>
              </a:pathLst>
            </a:custGeom>
            <a:solidFill>
              <a:srgbClr val="000000"/>
            </a:solidFill>
            <a:ln w="12700" cap="flat">
              <a:noFill/>
              <a:prstDash val="solid"/>
              <a:miter/>
            </a:ln>
          </p:spPr>
          <p:txBody>
            <a:bodyPr rtlCol="0" anchor="ctr"/>
            <a:lstStyle/>
            <a:p>
              <a:endParaRPr lang="en-US"/>
            </a:p>
          </p:txBody>
        </p:sp>
        <p:sp>
          <p:nvSpPr>
            <p:cNvPr id="1847" name="Freeform: Shape 1846">
              <a:extLst>
                <a:ext uri="{FF2B5EF4-FFF2-40B4-BE49-F238E27FC236}">
                  <a16:creationId xmlns:a16="http://schemas.microsoft.com/office/drawing/2014/main" id="{A6AC950B-ED62-4858-B97C-ACF96B62C2CB}"/>
                </a:ext>
              </a:extLst>
            </p:cNvPr>
            <p:cNvSpPr/>
            <p:nvPr/>
          </p:nvSpPr>
          <p:spPr>
            <a:xfrm>
              <a:off x="693467" y="4945232"/>
              <a:ext cx="14603" cy="654378"/>
            </a:xfrm>
            <a:custGeom>
              <a:avLst/>
              <a:gdLst>
                <a:gd name="connsiteX0" fmla="*/ 7235 w 14603"/>
                <a:gd name="connsiteY0" fmla="*/ 647145 h 654378"/>
                <a:gd name="connsiteX1" fmla="*/ 14604 w 14603"/>
                <a:gd name="connsiteY1" fmla="*/ 654378 h 654378"/>
                <a:gd name="connsiteX2" fmla="*/ 14604 w 14603"/>
                <a:gd name="connsiteY2" fmla="*/ 7234 h 654378"/>
                <a:gd name="connsiteX3" fmla="*/ 7235 w 14603"/>
                <a:gd name="connsiteY3" fmla="*/ 0 h 654378"/>
                <a:gd name="connsiteX4" fmla="*/ 0 w 14603"/>
                <a:gd name="connsiteY4" fmla="*/ 7234 h 654378"/>
                <a:gd name="connsiteX5" fmla="*/ 0 w 14603"/>
                <a:gd name="connsiteY5" fmla="*/ 654378 h 654378"/>
                <a:gd name="connsiteX6" fmla="*/ 7235 w 14603"/>
                <a:gd name="connsiteY6" fmla="*/ 647145 h 65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4378">
                  <a:moveTo>
                    <a:pt x="7235" y="647145"/>
                  </a:moveTo>
                  <a:cubicBezTo>
                    <a:pt x="11253" y="647145"/>
                    <a:pt x="14530" y="650362"/>
                    <a:pt x="14604" y="654378"/>
                  </a:cubicBezTo>
                  <a:lnTo>
                    <a:pt x="14604" y="7234"/>
                  </a:lnTo>
                  <a:cubicBezTo>
                    <a:pt x="14530" y="3218"/>
                    <a:pt x="11253" y="0"/>
                    <a:pt x="7235" y="0"/>
                  </a:cubicBezTo>
                  <a:cubicBezTo>
                    <a:pt x="3240" y="0"/>
                    <a:pt x="0" y="3239"/>
                    <a:pt x="0" y="7234"/>
                  </a:cubicBezTo>
                  <a:lnTo>
                    <a:pt x="0" y="654378"/>
                  </a:lnTo>
                  <a:cubicBezTo>
                    <a:pt x="0" y="650384"/>
                    <a:pt x="3240" y="647145"/>
                    <a:pt x="7235" y="647145"/>
                  </a:cubicBezTo>
                  <a:close/>
                </a:path>
              </a:pathLst>
            </a:custGeom>
            <a:solidFill>
              <a:srgbClr val="000000"/>
            </a:solidFill>
            <a:ln w="12700" cap="flat">
              <a:noFill/>
              <a:prstDash val="solid"/>
              <a:miter/>
            </a:ln>
          </p:spPr>
          <p:txBody>
            <a:bodyPr rtlCol="0" anchor="ctr"/>
            <a:lstStyle/>
            <a:p>
              <a:endParaRPr lang="en-US"/>
            </a:p>
          </p:txBody>
        </p:sp>
        <p:sp>
          <p:nvSpPr>
            <p:cNvPr id="1848" name="Freeform: Shape 1847">
              <a:extLst>
                <a:ext uri="{FF2B5EF4-FFF2-40B4-BE49-F238E27FC236}">
                  <a16:creationId xmlns:a16="http://schemas.microsoft.com/office/drawing/2014/main" id="{76703504-65D0-4311-8C95-3B3BB3E69DB6}"/>
                </a:ext>
              </a:extLst>
            </p:cNvPr>
            <p:cNvSpPr/>
            <p:nvPr/>
          </p:nvSpPr>
          <p:spPr>
            <a:xfrm>
              <a:off x="693467" y="5592377"/>
              <a:ext cx="14603" cy="197184"/>
            </a:xfrm>
            <a:custGeom>
              <a:avLst/>
              <a:gdLst>
                <a:gd name="connsiteX0" fmla="*/ 0 w 14603"/>
                <a:gd name="connsiteY0" fmla="*/ 189951 h 197184"/>
                <a:gd name="connsiteX1" fmla="*/ 7235 w 14603"/>
                <a:gd name="connsiteY1" fmla="*/ 197184 h 197184"/>
                <a:gd name="connsiteX2" fmla="*/ 14604 w 14603"/>
                <a:gd name="connsiteY2" fmla="*/ 189951 h 197184"/>
                <a:gd name="connsiteX3" fmla="*/ 14604 w 14603"/>
                <a:gd name="connsiteY3" fmla="*/ 7234 h 197184"/>
                <a:gd name="connsiteX4" fmla="*/ 7235 w 14603"/>
                <a:gd name="connsiteY4" fmla="*/ 0 h 197184"/>
                <a:gd name="connsiteX5" fmla="*/ 0 w 14603"/>
                <a:gd name="connsiteY5" fmla="*/ 7234 h 197184"/>
                <a:gd name="connsiteX6" fmla="*/ 0 w 14603"/>
                <a:gd name="connsiteY6" fmla="*/ 189951 h 19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97184">
                  <a:moveTo>
                    <a:pt x="0" y="189951"/>
                  </a:moveTo>
                  <a:cubicBezTo>
                    <a:pt x="0" y="193945"/>
                    <a:pt x="3240" y="197184"/>
                    <a:pt x="7235" y="197184"/>
                  </a:cubicBezTo>
                  <a:cubicBezTo>
                    <a:pt x="11253" y="197184"/>
                    <a:pt x="14530" y="193967"/>
                    <a:pt x="14604" y="189951"/>
                  </a:cubicBezTo>
                  <a:lnTo>
                    <a:pt x="14604" y="7234"/>
                  </a:lnTo>
                  <a:cubicBezTo>
                    <a:pt x="14530" y="3218"/>
                    <a:pt x="11253" y="0"/>
                    <a:pt x="7235" y="0"/>
                  </a:cubicBezTo>
                  <a:cubicBezTo>
                    <a:pt x="3240" y="0"/>
                    <a:pt x="0" y="3239"/>
                    <a:pt x="0" y="7234"/>
                  </a:cubicBezTo>
                  <a:lnTo>
                    <a:pt x="0" y="189951"/>
                  </a:lnTo>
                  <a:close/>
                </a:path>
              </a:pathLst>
            </a:custGeom>
            <a:solidFill>
              <a:srgbClr val="000000"/>
            </a:solidFill>
            <a:ln w="12700" cap="flat">
              <a:noFill/>
              <a:prstDash val="solid"/>
              <a:miter/>
            </a:ln>
          </p:spPr>
          <p:txBody>
            <a:bodyPr rtlCol="0" anchor="ctr"/>
            <a:lstStyle/>
            <a:p>
              <a:endParaRPr lang="en-US"/>
            </a:p>
          </p:txBody>
        </p:sp>
        <p:sp>
          <p:nvSpPr>
            <p:cNvPr id="1849" name="Freeform: Shape 1848">
              <a:extLst>
                <a:ext uri="{FF2B5EF4-FFF2-40B4-BE49-F238E27FC236}">
                  <a16:creationId xmlns:a16="http://schemas.microsoft.com/office/drawing/2014/main" id="{BBDB70BE-C502-40B4-B4EE-ECD9074A9AB1}"/>
                </a:ext>
              </a:extLst>
            </p:cNvPr>
            <p:cNvSpPr/>
            <p:nvPr/>
          </p:nvSpPr>
          <p:spPr>
            <a:xfrm>
              <a:off x="3505522" y="6540388"/>
              <a:ext cx="14469" cy="313324"/>
            </a:xfrm>
            <a:custGeom>
              <a:avLst/>
              <a:gdLst>
                <a:gd name="connsiteX0" fmla="*/ 7235 w 14469"/>
                <a:gd name="connsiteY0" fmla="*/ 7234 h 313324"/>
                <a:gd name="connsiteX1" fmla="*/ 0 w 14469"/>
                <a:gd name="connsiteY1" fmla="*/ 0 h 313324"/>
                <a:gd name="connsiteX2" fmla="*/ 0 w 14469"/>
                <a:gd name="connsiteY2" fmla="*/ 313325 h 313324"/>
                <a:gd name="connsiteX3" fmla="*/ 14470 w 14469"/>
                <a:gd name="connsiteY3" fmla="*/ 313325 h 313324"/>
                <a:gd name="connsiteX4" fmla="*/ 14470 w 14469"/>
                <a:gd name="connsiteY4" fmla="*/ 0 h 313324"/>
                <a:gd name="connsiteX5" fmla="*/ 7235 w 14469"/>
                <a:gd name="connsiteY5" fmla="*/ 7234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13324">
                  <a:moveTo>
                    <a:pt x="7235" y="7234"/>
                  </a:moveTo>
                  <a:cubicBezTo>
                    <a:pt x="3242" y="7234"/>
                    <a:pt x="0" y="3992"/>
                    <a:pt x="0" y="0"/>
                  </a:cubicBezTo>
                  <a:lnTo>
                    <a:pt x="0" y="313325"/>
                  </a:lnTo>
                  <a:lnTo>
                    <a:pt x="14470" y="313325"/>
                  </a:lnTo>
                  <a:lnTo>
                    <a:pt x="14470" y="0"/>
                  </a:lnTo>
                  <a:cubicBezTo>
                    <a:pt x="14470" y="3992"/>
                    <a:pt x="11227" y="7234"/>
                    <a:pt x="7235" y="7234"/>
                  </a:cubicBezTo>
                  <a:close/>
                </a:path>
              </a:pathLst>
            </a:custGeom>
            <a:solidFill>
              <a:srgbClr val="000000"/>
            </a:solidFill>
            <a:ln w="12700" cap="flat">
              <a:noFill/>
              <a:prstDash val="solid"/>
              <a:miter/>
            </a:ln>
          </p:spPr>
          <p:txBody>
            <a:bodyPr rtlCol="0" anchor="ctr"/>
            <a:lstStyle/>
            <a:p>
              <a:endParaRPr lang="en-US"/>
            </a:p>
          </p:txBody>
        </p:sp>
        <p:sp>
          <p:nvSpPr>
            <p:cNvPr id="1850" name="Freeform: Shape 1849">
              <a:extLst>
                <a:ext uri="{FF2B5EF4-FFF2-40B4-BE49-F238E27FC236}">
                  <a16:creationId xmlns:a16="http://schemas.microsoft.com/office/drawing/2014/main" id="{E41D7DED-82A4-4F6B-BE8A-E6570F3CCDE9}"/>
                </a:ext>
              </a:extLst>
            </p:cNvPr>
            <p:cNvSpPr/>
            <p:nvPr/>
          </p:nvSpPr>
          <p:spPr>
            <a:xfrm>
              <a:off x="2323974" y="6537441"/>
              <a:ext cx="14469" cy="8305"/>
            </a:xfrm>
            <a:custGeom>
              <a:avLst/>
              <a:gdLst>
                <a:gd name="connsiteX0" fmla="*/ 7235 w 14469"/>
                <a:gd name="connsiteY0" fmla="*/ 8305 h 8305"/>
                <a:gd name="connsiteX1" fmla="*/ 14469 w 14469"/>
                <a:gd name="connsiteY1" fmla="*/ 938 h 8305"/>
                <a:gd name="connsiteX2" fmla="*/ 14469 w 14469"/>
                <a:gd name="connsiteY2" fmla="*/ 0 h 8305"/>
                <a:gd name="connsiteX3" fmla="*/ 7235 w 14469"/>
                <a:gd name="connsiteY3" fmla="*/ 7234 h 8305"/>
                <a:gd name="connsiteX4" fmla="*/ 0 w 14469"/>
                <a:gd name="connsiteY4" fmla="*/ 0 h 8305"/>
                <a:gd name="connsiteX5" fmla="*/ 0 w 14469"/>
                <a:gd name="connsiteY5" fmla="*/ 938 h 8305"/>
                <a:gd name="connsiteX6" fmla="*/ 7235 w 14469"/>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305">
                  <a:moveTo>
                    <a:pt x="7235" y="8305"/>
                  </a:moveTo>
                  <a:cubicBezTo>
                    <a:pt x="11254" y="8238"/>
                    <a:pt x="14469" y="4956"/>
                    <a:pt x="14469" y="938"/>
                  </a:cubicBezTo>
                  <a:lnTo>
                    <a:pt x="14469" y="0"/>
                  </a:lnTo>
                  <a:cubicBezTo>
                    <a:pt x="14469" y="3992"/>
                    <a:pt x="11227" y="7234"/>
                    <a:pt x="7235" y="7234"/>
                  </a:cubicBezTo>
                  <a:cubicBezTo>
                    <a:pt x="3242" y="7234"/>
                    <a:pt x="0" y="3992"/>
                    <a:pt x="0" y="0"/>
                  </a:cubicBezTo>
                  <a:lnTo>
                    <a:pt x="0" y="938"/>
                  </a:lnTo>
                  <a:cubicBezTo>
                    <a:pt x="0" y="4956"/>
                    <a:pt x="3215" y="8238"/>
                    <a:pt x="7235" y="8305"/>
                  </a:cubicBezTo>
                  <a:close/>
                </a:path>
              </a:pathLst>
            </a:custGeom>
            <a:solidFill>
              <a:srgbClr val="000000"/>
            </a:solidFill>
            <a:ln w="12700" cap="flat">
              <a:noFill/>
              <a:prstDash val="solid"/>
              <a:miter/>
            </a:ln>
          </p:spPr>
          <p:txBody>
            <a:bodyPr rtlCol="0" anchor="ctr"/>
            <a:lstStyle/>
            <a:p>
              <a:endParaRPr lang="en-US"/>
            </a:p>
          </p:txBody>
        </p:sp>
        <p:sp>
          <p:nvSpPr>
            <p:cNvPr id="1851" name="Freeform: Shape 1850">
              <a:extLst>
                <a:ext uri="{FF2B5EF4-FFF2-40B4-BE49-F238E27FC236}">
                  <a16:creationId xmlns:a16="http://schemas.microsoft.com/office/drawing/2014/main" id="{D1A3867E-221B-4A9D-943F-AB0D5E66C2F2}"/>
                </a:ext>
              </a:extLst>
            </p:cNvPr>
            <p:cNvSpPr/>
            <p:nvPr/>
          </p:nvSpPr>
          <p:spPr>
            <a:xfrm>
              <a:off x="693467" y="6132758"/>
              <a:ext cx="284568" cy="14601"/>
            </a:xfrm>
            <a:custGeom>
              <a:avLst/>
              <a:gdLst>
                <a:gd name="connsiteX0" fmla="*/ 0 w 284568"/>
                <a:gd name="connsiteY0" fmla="*/ 7368 h 14601"/>
                <a:gd name="connsiteX1" fmla="*/ 7235 w 284568"/>
                <a:gd name="connsiteY1" fmla="*/ 14601 h 14601"/>
                <a:gd name="connsiteX2" fmla="*/ 284568 w 284568"/>
                <a:gd name="connsiteY2" fmla="*/ 14601 h 14601"/>
                <a:gd name="connsiteX3" fmla="*/ 277334 w 284568"/>
                <a:gd name="connsiteY3" fmla="*/ 7368 h 14601"/>
                <a:gd name="connsiteX4" fmla="*/ 284568 w 284568"/>
                <a:gd name="connsiteY4" fmla="*/ 0 h 14601"/>
                <a:gd name="connsiteX5" fmla="*/ 7235 w 284568"/>
                <a:gd name="connsiteY5" fmla="*/ 0 h 14601"/>
                <a:gd name="connsiteX6" fmla="*/ 0 w 28456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568" h="14601">
                  <a:moveTo>
                    <a:pt x="0" y="7368"/>
                  </a:moveTo>
                  <a:cubicBezTo>
                    <a:pt x="0" y="11360"/>
                    <a:pt x="3240" y="14601"/>
                    <a:pt x="7235" y="14601"/>
                  </a:cubicBezTo>
                  <a:lnTo>
                    <a:pt x="284568" y="14601"/>
                  </a:lnTo>
                  <a:cubicBezTo>
                    <a:pt x="280573" y="14601"/>
                    <a:pt x="277334" y="11360"/>
                    <a:pt x="277334" y="7368"/>
                  </a:cubicBezTo>
                  <a:cubicBezTo>
                    <a:pt x="277334" y="3349"/>
                    <a:pt x="280552" y="67"/>
                    <a:pt x="284568" y="0"/>
                  </a:cubicBezTo>
                  <a:lnTo>
                    <a:pt x="7235" y="0"/>
                  </a:lnTo>
                  <a:cubicBezTo>
                    <a:pt x="3218" y="67"/>
                    <a:pt x="-1" y="3349"/>
                    <a:pt x="0" y="7368"/>
                  </a:cubicBezTo>
                  <a:close/>
                </a:path>
              </a:pathLst>
            </a:custGeom>
            <a:solidFill>
              <a:srgbClr val="000000"/>
            </a:solidFill>
            <a:ln w="12700" cap="flat">
              <a:noFill/>
              <a:prstDash val="solid"/>
              <a:miter/>
            </a:ln>
          </p:spPr>
          <p:txBody>
            <a:bodyPr rtlCol="0" anchor="ctr"/>
            <a:lstStyle/>
            <a:p>
              <a:endParaRPr lang="en-US"/>
            </a:p>
          </p:txBody>
        </p:sp>
        <p:sp>
          <p:nvSpPr>
            <p:cNvPr id="1852" name="Freeform: Shape 1851">
              <a:extLst>
                <a:ext uri="{FF2B5EF4-FFF2-40B4-BE49-F238E27FC236}">
                  <a16:creationId xmlns:a16="http://schemas.microsoft.com/office/drawing/2014/main" id="{7E2351A2-A862-4004-837D-018B97E72057}"/>
                </a:ext>
              </a:extLst>
            </p:cNvPr>
            <p:cNvSpPr/>
            <p:nvPr/>
          </p:nvSpPr>
          <p:spPr>
            <a:xfrm>
              <a:off x="1146445" y="6146823"/>
              <a:ext cx="7502" cy="1205"/>
            </a:xfrm>
            <a:custGeom>
              <a:avLst/>
              <a:gdLst>
                <a:gd name="connsiteX0" fmla="*/ 0 w 7502"/>
                <a:gd name="connsiteY0" fmla="*/ 1206 h 1205"/>
                <a:gd name="connsiteX1" fmla="*/ 7503 w 7502"/>
                <a:gd name="connsiteY1" fmla="*/ 1206 h 1205"/>
                <a:gd name="connsiteX2" fmla="*/ 3751 w 7502"/>
                <a:gd name="connsiteY2" fmla="*/ 0 h 1205"/>
                <a:gd name="connsiteX3" fmla="*/ 0 w 7502"/>
                <a:gd name="connsiteY3" fmla="*/ 1206 h 1205"/>
              </a:gdLst>
              <a:ahLst/>
              <a:cxnLst>
                <a:cxn ang="0">
                  <a:pos x="connsiteX0" y="connsiteY0"/>
                </a:cxn>
                <a:cxn ang="0">
                  <a:pos x="connsiteX1" y="connsiteY1"/>
                </a:cxn>
                <a:cxn ang="0">
                  <a:pos x="connsiteX2" y="connsiteY2"/>
                </a:cxn>
                <a:cxn ang="0">
                  <a:pos x="connsiteX3" y="connsiteY3"/>
                </a:cxn>
              </a:cxnLst>
              <a:rect l="l" t="t" r="r" b="b"/>
              <a:pathLst>
                <a:path w="7502" h="1205">
                  <a:moveTo>
                    <a:pt x="0" y="1206"/>
                  </a:moveTo>
                  <a:lnTo>
                    <a:pt x="7503" y="1206"/>
                  </a:lnTo>
                  <a:cubicBezTo>
                    <a:pt x="6170" y="1139"/>
                    <a:pt x="4878" y="723"/>
                    <a:pt x="3751" y="0"/>
                  </a:cubicBezTo>
                  <a:cubicBezTo>
                    <a:pt x="2643" y="750"/>
                    <a:pt x="1341" y="1179"/>
                    <a:pt x="0" y="1206"/>
                  </a:cubicBezTo>
                  <a:close/>
                </a:path>
              </a:pathLst>
            </a:custGeom>
            <a:solidFill>
              <a:srgbClr val="000000"/>
            </a:solidFill>
            <a:ln w="12700" cap="flat">
              <a:noFill/>
              <a:prstDash val="solid"/>
              <a:miter/>
            </a:ln>
          </p:spPr>
          <p:txBody>
            <a:bodyPr rtlCol="0" anchor="ctr"/>
            <a:lstStyle/>
            <a:p>
              <a:endParaRPr lang="en-US"/>
            </a:p>
          </p:txBody>
        </p:sp>
        <p:sp>
          <p:nvSpPr>
            <p:cNvPr id="1853" name="Freeform: Shape 1852">
              <a:extLst>
                <a:ext uri="{FF2B5EF4-FFF2-40B4-BE49-F238E27FC236}">
                  <a16:creationId xmlns:a16="http://schemas.microsoft.com/office/drawing/2014/main" id="{37DF7BA4-B91A-4E8D-9752-AF1113C563C9}"/>
                </a:ext>
              </a:extLst>
            </p:cNvPr>
            <p:cNvSpPr/>
            <p:nvPr/>
          </p:nvSpPr>
          <p:spPr>
            <a:xfrm>
              <a:off x="1146445" y="6132758"/>
              <a:ext cx="7502" cy="1205"/>
            </a:xfrm>
            <a:custGeom>
              <a:avLst/>
              <a:gdLst>
                <a:gd name="connsiteX0" fmla="*/ 0 w 7502"/>
                <a:gd name="connsiteY0" fmla="*/ 0 h 1205"/>
                <a:gd name="connsiteX1" fmla="*/ 3751 w 7502"/>
                <a:gd name="connsiteY1" fmla="*/ 1206 h 1205"/>
                <a:gd name="connsiteX2" fmla="*/ 7503 w 7502"/>
                <a:gd name="connsiteY2" fmla="*/ 0 h 1205"/>
                <a:gd name="connsiteX3" fmla="*/ 0 w 7502"/>
                <a:gd name="connsiteY3" fmla="*/ 0 h 1205"/>
              </a:gdLst>
              <a:ahLst/>
              <a:cxnLst>
                <a:cxn ang="0">
                  <a:pos x="connsiteX0" y="connsiteY0"/>
                </a:cxn>
                <a:cxn ang="0">
                  <a:pos x="connsiteX1" y="connsiteY1"/>
                </a:cxn>
                <a:cxn ang="0">
                  <a:pos x="connsiteX2" y="connsiteY2"/>
                </a:cxn>
                <a:cxn ang="0">
                  <a:pos x="connsiteX3" y="connsiteY3"/>
                </a:cxn>
              </a:cxnLst>
              <a:rect l="l" t="t" r="r" b="b"/>
              <a:pathLst>
                <a:path w="7502" h="1205">
                  <a:moveTo>
                    <a:pt x="0" y="0"/>
                  </a:moveTo>
                  <a:cubicBezTo>
                    <a:pt x="1341" y="27"/>
                    <a:pt x="2643" y="455"/>
                    <a:pt x="3751" y="1206"/>
                  </a:cubicBezTo>
                  <a:cubicBezTo>
                    <a:pt x="4878" y="482"/>
                    <a:pt x="6170" y="67"/>
                    <a:pt x="7503" y="0"/>
                  </a:cubicBezTo>
                  <a:lnTo>
                    <a:pt x="0" y="0"/>
                  </a:lnTo>
                  <a:close/>
                </a:path>
              </a:pathLst>
            </a:custGeom>
            <a:solidFill>
              <a:srgbClr val="000000"/>
            </a:solidFill>
            <a:ln w="12700" cap="flat">
              <a:noFill/>
              <a:prstDash val="solid"/>
              <a:miter/>
            </a:ln>
          </p:spPr>
          <p:txBody>
            <a:bodyPr rtlCol="0" anchor="ctr"/>
            <a:lstStyle/>
            <a:p>
              <a:endParaRPr lang="en-US"/>
            </a:p>
          </p:txBody>
        </p:sp>
        <p:sp>
          <p:nvSpPr>
            <p:cNvPr id="1854" name="Freeform: Shape 1853">
              <a:extLst>
                <a:ext uri="{FF2B5EF4-FFF2-40B4-BE49-F238E27FC236}">
                  <a16:creationId xmlns:a16="http://schemas.microsoft.com/office/drawing/2014/main" id="{0B5960B2-10C0-4587-A209-B1201CAC3D34}"/>
                </a:ext>
              </a:extLst>
            </p:cNvPr>
            <p:cNvSpPr/>
            <p:nvPr/>
          </p:nvSpPr>
          <p:spPr>
            <a:xfrm>
              <a:off x="3225509" y="6540656"/>
              <a:ext cx="14469" cy="313056"/>
            </a:xfrm>
            <a:custGeom>
              <a:avLst/>
              <a:gdLst>
                <a:gd name="connsiteX0" fmla="*/ 13800 w 14469"/>
                <a:gd name="connsiteY0" fmla="*/ 1607 h 313056"/>
                <a:gd name="connsiteX1" fmla="*/ 13800 w 14469"/>
                <a:gd name="connsiteY1" fmla="*/ 670 h 313056"/>
                <a:gd name="connsiteX2" fmla="*/ 13800 w 14469"/>
                <a:gd name="connsiteY2" fmla="*/ 0 h 313056"/>
                <a:gd name="connsiteX3" fmla="*/ 13800 w 14469"/>
                <a:gd name="connsiteY3" fmla="*/ 0 h 313056"/>
                <a:gd name="connsiteX4" fmla="*/ 6967 w 14469"/>
                <a:gd name="connsiteY4" fmla="*/ 5358 h 313056"/>
                <a:gd name="connsiteX5" fmla="*/ 0 w 14469"/>
                <a:gd name="connsiteY5" fmla="*/ 0 h 313056"/>
                <a:gd name="connsiteX6" fmla="*/ 0 w 14469"/>
                <a:gd name="connsiteY6" fmla="*/ 0 h 313056"/>
                <a:gd name="connsiteX7" fmla="*/ 0 w 14469"/>
                <a:gd name="connsiteY7" fmla="*/ 670 h 313056"/>
                <a:gd name="connsiteX8" fmla="*/ 0 w 14469"/>
                <a:gd name="connsiteY8" fmla="*/ 1607 h 313056"/>
                <a:gd name="connsiteX9" fmla="*/ 0 w 14469"/>
                <a:gd name="connsiteY9" fmla="*/ 313057 h 313056"/>
                <a:gd name="connsiteX10" fmla="*/ 14470 w 14469"/>
                <a:gd name="connsiteY10" fmla="*/ 313057 h 313056"/>
                <a:gd name="connsiteX11" fmla="*/ 14470 w 14469"/>
                <a:gd name="connsiteY11" fmla="*/ 1607 h 31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313056">
                  <a:moveTo>
                    <a:pt x="13800" y="1607"/>
                  </a:moveTo>
                  <a:cubicBezTo>
                    <a:pt x="13800" y="1607"/>
                    <a:pt x="13800" y="1607"/>
                    <a:pt x="13800" y="670"/>
                  </a:cubicBezTo>
                  <a:cubicBezTo>
                    <a:pt x="13800" y="-268"/>
                    <a:pt x="13800" y="670"/>
                    <a:pt x="13800" y="0"/>
                  </a:cubicBezTo>
                  <a:lnTo>
                    <a:pt x="13800" y="0"/>
                  </a:lnTo>
                  <a:cubicBezTo>
                    <a:pt x="13009" y="3135"/>
                    <a:pt x="10196" y="5331"/>
                    <a:pt x="6967" y="5358"/>
                  </a:cubicBezTo>
                  <a:cubicBezTo>
                    <a:pt x="3711" y="5305"/>
                    <a:pt x="884" y="3121"/>
                    <a:pt x="0" y="0"/>
                  </a:cubicBezTo>
                  <a:lnTo>
                    <a:pt x="0" y="0"/>
                  </a:lnTo>
                  <a:cubicBezTo>
                    <a:pt x="0" y="0"/>
                    <a:pt x="0" y="0"/>
                    <a:pt x="0" y="670"/>
                  </a:cubicBezTo>
                  <a:cubicBezTo>
                    <a:pt x="0" y="1340"/>
                    <a:pt x="0" y="670"/>
                    <a:pt x="0" y="1607"/>
                  </a:cubicBezTo>
                  <a:lnTo>
                    <a:pt x="0" y="313057"/>
                  </a:lnTo>
                  <a:lnTo>
                    <a:pt x="14470" y="313057"/>
                  </a:lnTo>
                  <a:lnTo>
                    <a:pt x="14470" y="1607"/>
                  </a:lnTo>
                  <a:close/>
                </a:path>
              </a:pathLst>
            </a:custGeom>
            <a:solidFill>
              <a:srgbClr val="000000"/>
            </a:solidFill>
            <a:ln w="12700" cap="flat">
              <a:noFill/>
              <a:prstDash val="solid"/>
              <a:miter/>
            </a:ln>
          </p:spPr>
          <p:txBody>
            <a:bodyPr rtlCol="0" anchor="ctr"/>
            <a:lstStyle/>
            <a:p>
              <a:endParaRPr lang="en-US"/>
            </a:p>
          </p:txBody>
        </p:sp>
        <p:sp>
          <p:nvSpPr>
            <p:cNvPr id="1855" name="Freeform: Shape 1854">
              <a:extLst>
                <a:ext uri="{FF2B5EF4-FFF2-40B4-BE49-F238E27FC236}">
                  <a16:creationId xmlns:a16="http://schemas.microsoft.com/office/drawing/2014/main" id="{9B5686A3-8415-42F7-9FA9-7919ACF9A331}"/>
                </a:ext>
              </a:extLst>
            </p:cNvPr>
            <p:cNvSpPr/>
            <p:nvPr/>
          </p:nvSpPr>
          <p:spPr>
            <a:xfrm>
              <a:off x="457935" y="5592377"/>
              <a:ext cx="129958" cy="14601"/>
            </a:xfrm>
            <a:custGeom>
              <a:avLst/>
              <a:gdLst>
                <a:gd name="connsiteX0" fmla="*/ 0 w 129958"/>
                <a:gd name="connsiteY0" fmla="*/ 7234 h 14601"/>
                <a:gd name="connsiteX1" fmla="*/ 7235 w 129958"/>
                <a:gd name="connsiteY1" fmla="*/ 14601 h 14601"/>
                <a:gd name="connsiteX2" fmla="*/ 129958 w 129958"/>
                <a:gd name="connsiteY2" fmla="*/ 14601 h 14601"/>
                <a:gd name="connsiteX3" fmla="*/ 122589 w 129958"/>
                <a:gd name="connsiteY3" fmla="*/ 7234 h 14601"/>
                <a:gd name="connsiteX4" fmla="*/ 129958 w 129958"/>
                <a:gd name="connsiteY4" fmla="*/ 0 h 14601"/>
                <a:gd name="connsiteX5" fmla="*/ 7235 w 129958"/>
                <a:gd name="connsiteY5" fmla="*/ 0 h 14601"/>
                <a:gd name="connsiteX6" fmla="*/ 0 w 129958"/>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958" h="14601">
                  <a:moveTo>
                    <a:pt x="0" y="7234"/>
                  </a:moveTo>
                  <a:cubicBezTo>
                    <a:pt x="0" y="11251"/>
                    <a:pt x="3218" y="14528"/>
                    <a:pt x="7235" y="14601"/>
                  </a:cubicBezTo>
                  <a:lnTo>
                    <a:pt x="129958" y="14601"/>
                  </a:lnTo>
                  <a:cubicBezTo>
                    <a:pt x="125888" y="14601"/>
                    <a:pt x="122589" y="11303"/>
                    <a:pt x="122589" y="7234"/>
                  </a:cubicBezTo>
                  <a:cubicBezTo>
                    <a:pt x="122663" y="3218"/>
                    <a:pt x="125940" y="0"/>
                    <a:pt x="129958" y="0"/>
                  </a:cubicBezTo>
                  <a:lnTo>
                    <a:pt x="7235" y="0"/>
                  </a:lnTo>
                  <a:cubicBezTo>
                    <a:pt x="3240" y="0"/>
                    <a:pt x="0" y="3239"/>
                    <a:pt x="0" y="7234"/>
                  </a:cubicBezTo>
                  <a:close/>
                </a:path>
              </a:pathLst>
            </a:custGeom>
            <a:solidFill>
              <a:srgbClr val="000000"/>
            </a:solidFill>
            <a:ln w="12700" cap="flat">
              <a:noFill/>
              <a:prstDash val="solid"/>
              <a:miter/>
            </a:ln>
          </p:spPr>
          <p:txBody>
            <a:bodyPr rtlCol="0" anchor="ctr"/>
            <a:lstStyle/>
            <a:p>
              <a:endParaRPr lang="en-US"/>
            </a:p>
          </p:txBody>
        </p:sp>
        <p:sp>
          <p:nvSpPr>
            <p:cNvPr id="1856" name="Freeform: Shape 1855">
              <a:extLst>
                <a:ext uri="{FF2B5EF4-FFF2-40B4-BE49-F238E27FC236}">
                  <a16:creationId xmlns:a16="http://schemas.microsoft.com/office/drawing/2014/main" id="{9F801C5C-89D4-4056-8134-A9C22EAD0525}"/>
                </a:ext>
              </a:extLst>
            </p:cNvPr>
            <p:cNvSpPr/>
            <p:nvPr/>
          </p:nvSpPr>
          <p:spPr>
            <a:xfrm>
              <a:off x="580524" y="5592377"/>
              <a:ext cx="54796" cy="14601"/>
            </a:xfrm>
            <a:custGeom>
              <a:avLst/>
              <a:gdLst>
                <a:gd name="connsiteX0" fmla="*/ 0 w 54796"/>
                <a:gd name="connsiteY0" fmla="*/ 7234 h 14601"/>
                <a:gd name="connsiteX1" fmla="*/ 7369 w 54796"/>
                <a:gd name="connsiteY1" fmla="*/ 14601 h 14601"/>
                <a:gd name="connsiteX2" fmla="*/ 47562 w 54796"/>
                <a:gd name="connsiteY2" fmla="*/ 14601 h 14601"/>
                <a:gd name="connsiteX3" fmla="*/ 54797 w 54796"/>
                <a:gd name="connsiteY3" fmla="*/ 7234 h 14601"/>
                <a:gd name="connsiteX4" fmla="*/ 47562 w 54796"/>
                <a:gd name="connsiteY4" fmla="*/ 0 h 14601"/>
                <a:gd name="connsiteX5" fmla="*/ 7369 w 54796"/>
                <a:gd name="connsiteY5" fmla="*/ 0 h 14601"/>
                <a:gd name="connsiteX6" fmla="*/ 0 w 54796"/>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96" h="14601">
                  <a:moveTo>
                    <a:pt x="0" y="7234"/>
                  </a:moveTo>
                  <a:cubicBezTo>
                    <a:pt x="0" y="11303"/>
                    <a:pt x="3298" y="14601"/>
                    <a:pt x="7369" y="14601"/>
                  </a:cubicBezTo>
                  <a:lnTo>
                    <a:pt x="47562" y="14601"/>
                  </a:lnTo>
                  <a:cubicBezTo>
                    <a:pt x="51579" y="14528"/>
                    <a:pt x="54798" y="11251"/>
                    <a:pt x="54797" y="7234"/>
                  </a:cubicBezTo>
                  <a:cubicBezTo>
                    <a:pt x="54797" y="3239"/>
                    <a:pt x="51557" y="0"/>
                    <a:pt x="47562" y="0"/>
                  </a:cubicBezTo>
                  <a:lnTo>
                    <a:pt x="7369" y="0"/>
                  </a:lnTo>
                  <a:cubicBezTo>
                    <a:pt x="3351" y="0"/>
                    <a:pt x="74" y="3218"/>
                    <a:pt x="0" y="7234"/>
                  </a:cubicBezTo>
                  <a:close/>
                </a:path>
              </a:pathLst>
            </a:custGeom>
            <a:solidFill>
              <a:srgbClr val="000000"/>
            </a:solidFill>
            <a:ln w="12700" cap="flat">
              <a:noFill/>
              <a:prstDash val="solid"/>
              <a:miter/>
            </a:ln>
          </p:spPr>
          <p:txBody>
            <a:bodyPr rtlCol="0" anchor="ctr"/>
            <a:lstStyle/>
            <a:p>
              <a:endParaRPr lang="en-US"/>
            </a:p>
          </p:txBody>
        </p:sp>
        <p:sp>
          <p:nvSpPr>
            <p:cNvPr id="1857" name="Freeform: Shape 1856">
              <a:extLst>
                <a:ext uri="{FF2B5EF4-FFF2-40B4-BE49-F238E27FC236}">
                  <a16:creationId xmlns:a16="http://schemas.microsoft.com/office/drawing/2014/main" id="{4EE9E7E1-8D91-4B1A-A94A-2E6C23B14FF2}"/>
                </a:ext>
              </a:extLst>
            </p:cNvPr>
            <p:cNvSpPr/>
            <p:nvPr/>
          </p:nvSpPr>
          <p:spPr>
            <a:xfrm>
              <a:off x="3224437" y="6537441"/>
              <a:ext cx="14570" cy="8305"/>
            </a:xfrm>
            <a:custGeom>
              <a:avLst/>
              <a:gdLst>
                <a:gd name="connsiteX0" fmla="*/ 670 w 14570"/>
                <a:gd name="connsiteY0" fmla="*/ 2947 h 8305"/>
                <a:gd name="connsiteX1" fmla="*/ 7637 w 14570"/>
                <a:gd name="connsiteY1" fmla="*/ 8305 h 8305"/>
                <a:gd name="connsiteX2" fmla="*/ 14470 w 14570"/>
                <a:gd name="connsiteY2" fmla="*/ 2947 h 8305"/>
                <a:gd name="connsiteX3" fmla="*/ 14470 w 14570"/>
                <a:gd name="connsiteY3" fmla="*/ 938 h 8305"/>
                <a:gd name="connsiteX4" fmla="*/ 14470 w 14570"/>
                <a:gd name="connsiteY4" fmla="*/ 0 h 8305"/>
                <a:gd name="connsiteX5" fmla="*/ 7235 w 14570"/>
                <a:gd name="connsiteY5" fmla="*/ 7234 h 8305"/>
                <a:gd name="connsiteX6" fmla="*/ 0 w 14570"/>
                <a:gd name="connsiteY6" fmla="*/ 0 h 8305"/>
                <a:gd name="connsiteX7" fmla="*/ 0 w 14570"/>
                <a:gd name="connsiteY7" fmla="*/ 938 h 8305"/>
                <a:gd name="connsiteX8" fmla="*/ 670 w 14570"/>
                <a:gd name="connsiteY8" fmla="*/ 2947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0" h="8305">
                  <a:moveTo>
                    <a:pt x="670" y="2947"/>
                  </a:moveTo>
                  <a:cubicBezTo>
                    <a:pt x="1554" y="6068"/>
                    <a:pt x="4381" y="8252"/>
                    <a:pt x="7637" y="8305"/>
                  </a:cubicBezTo>
                  <a:cubicBezTo>
                    <a:pt x="10866" y="8278"/>
                    <a:pt x="13679" y="6082"/>
                    <a:pt x="14470" y="2947"/>
                  </a:cubicBezTo>
                  <a:cubicBezTo>
                    <a:pt x="14604" y="2291"/>
                    <a:pt x="14604" y="1594"/>
                    <a:pt x="14470" y="938"/>
                  </a:cubicBezTo>
                  <a:lnTo>
                    <a:pt x="14470" y="0"/>
                  </a:lnTo>
                  <a:cubicBezTo>
                    <a:pt x="14470" y="3992"/>
                    <a:pt x="11227" y="7234"/>
                    <a:pt x="7235" y="7234"/>
                  </a:cubicBezTo>
                  <a:cubicBezTo>
                    <a:pt x="3242" y="7234"/>
                    <a:pt x="0" y="3992"/>
                    <a:pt x="0" y="0"/>
                  </a:cubicBezTo>
                  <a:lnTo>
                    <a:pt x="0" y="938"/>
                  </a:lnTo>
                  <a:cubicBezTo>
                    <a:pt x="147" y="1634"/>
                    <a:pt x="375" y="2304"/>
                    <a:pt x="670" y="2947"/>
                  </a:cubicBezTo>
                  <a:close/>
                </a:path>
              </a:pathLst>
            </a:custGeom>
            <a:solidFill>
              <a:srgbClr val="000000"/>
            </a:solidFill>
            <a:ln w="12700" cap="flat">
              <a:noFill/>
              <a:prstDash val="solid"/>
              <a:miter/>
            </a:ln>
          </p:spPr>
          <p:txBody>
            <a:bodyPr rtlCol="0" anchor="ctr"/>
            <a:lstStyle/>
            <a:p>
              <a:endParaRPr lang="en-US"/>
            </a:p>
          </p:txBody>
        </p:sp>
        <p:sp>
          <p:nvSpPr>
            <p:cNvPr id="1858" name="Freeform: Shape 1857">
              <a:extLst>
                <a:ext uri="{FF2B5EF4-FFF2-40B4-BE49-F238E27FC236}">
                  <a16:creationId xmlns:a16="http://schemas.microsoft.com/office/drawing/2014/main" id="{230A7277-A4A9-4B54-A8F5-4D05B0BA45C2}"/>
                </a:ext>
              </a:extLst>
            </p:cNvPr>
            <p:cNvSpPr/>
            <p:nvPr/>
          </p:nvSpPr>
          <p:spPr>
            <a:xfrm>
              <a:off x="3224973" y="6449723"/>
              <a:ext cx="14529" cy="94416"/>
            </a:xfrm>
            <a:custGeom>
              <a:avLst/>
              <a:gdLst>
                <a:gd name="connsiteX0" fmla="*/ 0 w 14529"/>
                <a:gd name="connsiteY0" fmla="*/ 5469 h 94416"/>
                <a:gd name="connsiteX1" fmla="*/ 0 w 14529"/>
                <a:gd name="connsiteY1" fmla="*/ 6808 h 94416"/>
                <a:gd name="connsiteX2" fmla="*/ 0 w 14529"/>
                <a:gd name="connsiteY2" fmla="*/ 87182 h 94416"/>
                <a:gd name="connsiteX3" fmla="*/ 7235 w 14529"/>
                <a:gd name="connsiteY3" fmla="*/ 94416 h 94416"/>
                <a:gd name="connsiteX4" fmla="*/ 14469 w 14529"/>
                <a:gd name="connsiteY4" fmla="*/ 87182 h 94416"/>
                <a:gd name="connsiteX5" fmla="*/ 14469 w 14529"/>
                <a:gd name="connsiteY5" fmla="*/ 6808 h 94416"/>
                <a:gd name="connsiteX6" fmla="*/ 14469 w 14529"/>
                <a:gd name="connsiteY6" fmla="*/ 5469 h 94416"/>
                <a:gd name="connsiteX7" fmla="*/ 14469 w 14529"/>
                <a:gd name="connsiteY7" fmla="*/ 3995 h 94416"/>
                <a:gd name="connsiteX8" fmla="*/ 13666 w 14529"/>
                <a:gd name="connsiteY8" fmla="*/ 2790 h 94416"/>
                <a:gd name="connsiteX9" fmla="*/ 12996 w 14529"/>
                <a:gd name="connsiteY9" fmla="*/ 1718 h 94416"/>
                <a:gd name="connsiteX10" fmla="*/ 11790 w 14529"/>
                <a:gd name="connsiteY10" fmla="*/ 914 h 94416"/>
                <a:gd name="connsiteX11" fmla="*/ 10584 w 14529"/>
                <a:gd name="connsiteY11" fmla="*/ 111 h 94416"/>
                <a:gd name="connsiteX12" fmla="*/ 9244 w 14529"/>
                <a:gd name="connsiteY12" fmla="*/ 111 h 94416"/>
                <a:gd name="connsiteX13" fmla="*/ 7771 w 14529"/>
                <a:gd name="connsiteY13" fmla="*/ 111 h 94416"/>
                <a:gd name="connsiteX14" fmla="*/ 0 w 14529"/>
                <a:gd name="connsiteY14" fmla="*/ 5469 h 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29" h="94416">
                  <a:moveTo>
                    <a:pt x="0" y="5469"/>
                  </a:moveTo>
                  <a:cubicBezTo>
                    <a:pt x="0" y="5469"/>
                    <a:pt x="0" y="6273"/>
                    <a:pt x="0" y="6808"/>
                  </a:cubicBezTo>
                  <a:lnTo>
                    <a:pt x="0" y="87182"/>
                  </a:lnTo>
                  <a:cubicBezTo>
                    <a:pt x="0" y="91174"/>
                    <a:pt x="3242" y="94416"/>
                    <a:pt x="7235" y="94416"/>
                  </a:cubicBezTo>
                  <a:cubicBezTo>
                    <a:pt x="11227" y="94416"/>
                    <a:pt x="14469" y="91174"/>
                    <a:pt x="14469" y="87182"/>
                  </a:cubicBezTo>
                  <a:lnTo>
                    <a:pt x="14469" y="6808"/>
                  </a:lnTo>
                  <a:cubicBezTo>
                    <a:pt x="14550" y="6366"/>
                    <a:pt x="14550" y="5911"/>
                    <a:pt x="14469" y="5469"/>
                  </a:cubicBezTo>
                  <a:cubicBezTo>
                    <a:pt x="14469" y="5469"/>
                    <a:pt x="14469" y="4397"/>
                    <a:pt x="14469" y="3995"/>
                  </a:cubicBezTo>
                  <a:cubicBezTo>
                    <a:pt x="14255" y="3567"/>
                    <a:pt x="13974" y="3165"/>
                    <a:pt x="13666" y="2790"/>
                  </a:cubicBezTo>
                  <a:cubicBezTo>
                    <a:pt x="13478" y="2415"/>
                    <a:pt x="13250" y="2053"/>
                    <a:pt x="12996" y="1718"/>
                  </a:cubicBezTo>
                  <a:cubicBezTo>
                    <a:pt x="12620" y="1410"/>
                    <a:pt x="12219" y="1129"/>
                    <a:pt x="11790" y="914"/>
                  </a:cubicBezTo>
                  <a:cubicBezTo>
                    <a:pt x="11790" y="914"/>
                    <a:pt x="11790" y="914"/>
                    <a:pt x="10584" y="111"/>
                  </a:cubicBezTo>
                  <a:cubicBezTo>
                    <a:pt x="10155" y="-37"/>
                    <a:pt x="9673" y="-37"/>
                    <a:pt x="9244" y="111"/>
                  </a:cubicBezTo>
                  <a:cubicBezTo>
                    <a:pt x="8749" y="44"/>
                    <a:pt x="8266" y="44"/>
                    <a:pt x="7771" y="111"/>
                  </a:cubicBezTo>
                  <a:cubicBezTo>
                    <a:pt x="4220" y="-211"/>
                    <a:pt x="951" y="2040"/>
                    <a:pt x="0" y="5469"/>
                  </a:cubicBezTo>
                  <a:close/>
                </a:path>
              </a:pathLst>
            </a:custGeom>
            <a:solidFill>
              <a:srgbClr val="000000"/>
            </a:solidFill>
            <a:ln w="12700" cap="flat">
              <a:noFill/>
              <a:prstDash val="solid"/>
              <a:miter/>
            </a:ln>
          </p:spPr>
          <p:txBody>
            <a:bodyPr rtlCol="0" anchor="ctr"/>
            <a:lstStyle/>
            <a:p>
              <a:endParaRPr lang="en-US"/>
            </a:p>
          </p:txBody>
        </p:sp>
        <p:sp>
          <p:nvSpPr>
            <p:cNvPr id="1859" name="Freeform: Shape 1858">
              <a:extLst>
                <a:ext uri="{FF2B5EF4-FFF2-40B4-BE49-F238E27FC236}">
                  <a16:creationId xmlns:a16="http://schemas.microsoft.com/office/drawing/2014/main" id="{44DD61C0-6217-4D6F-BB67-EF7D9BB05469}"/>
                </a:ext>
              </a:extLst>
            </p:cNvPr>
            <p:cNvSpPr/>
            <p:nvPr/>
          </p:nvSpPr>
          <p:spPr>
            <a:xfrm>
              <a:off x="2792896" y="6539049"/>
              <a:ext cx="14469" cy="8573"/>
            </a:xfrm>
            <a:custGeom>
              <a:avLst/>
              <a:gdLst>
                <a:gd name="connsiteX0" fmla="*/ 7235 w 14469"/>
                <a:gd name="connsiteY0" fmla="*/ 7368 h 8573"/>
                <a:gd name="connsiteX1" fmla="*/ 0 w 14469"/>
                <a:gd name="connsiteY1" fmla="*/ 0 h 8573"/>
                <a:gd name="connsiteX2" fmla="*/ 0 w 14469"/>
                <a:gd name="connsiteY2" fmla="*/ 1339 h 8573"/>
                <a:gd name="connsiteX3" fmla="*/ 7235 w 14469"/>
                <a:gd name="connsiteY3" fmla="*/ 8573 h 8573"/>
                <a:gd name="connsiteX4" fmla="*/ 14469 w 14469"/>
                <a:gd name="connsiteY4" fmla="*/ 1339 h 8573"/>
                <a:gd name="connsiteX5" fmla="*/ 14469 w 14469"/>
                <a:gd name="connsiteY5" fmla="*/ 0 h 8573"/>
                <a:gd name="connsiteX6" fmla="*/ 7235 w 14469"/>
                <a:gd name="connsiteY6" fmla="*/ 7368 h 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573">
                  <a:moveTo>
                    <a:pt x="7235" y="7368"/>
                  </a:moveTo>
                  <a:cubicBezTo>
                    <a:pt x="3215" y="7301"/>
                    <a:pt x="0" y="4019"/>
                    <a:pt x="0" y="0"/>
                  </a:cubicBezTo>
                  <a:lnTo>
                    <a:pt x="0" y="1339"/>
                  </a:lnTo>
                  <a:cubicBezTo>
                    <a:pt x="0" y="5331"/>
                    <a:pt x="3242" y="8573"/>
                    <a:pt x="7235" y="8573"/>
                  </a:cubicBezTo>
                  <a:cubicBezTo>
                    <a:pt x="11227" y="8573"/>
                    <a:pt x="14469" y="5331"/>
                    <a:pt x="14469" y="1339"/>
                  </a:cubicBezTo>
                  <a:lnTo>
                    <a:pt x="14469" y="0"/>
                  </a:lnTo>
                  <a:cubicBezTo>
                    <a:pt x="14469" y="4019"/>
                    <a:pt x="11254" y="7301"/>
                    <a:pt x="7235" y="7368"/>
                  </a:cubicBezTo>
                  <a:close/>
                </a:path>
              </a:pathLst>
            </a:custGeom>
            <a:solidFill>
              <a:srgbClr val="000000"/>
            </a:solidFill>
            <a:ln w="12700" cap="flat">
              <a:noFill/>
              <a:prstDash val="solid"/>
              <a:miter/>
            </a:ln>
          </p:spPr>
          <p:txBody>
            <a:bodyPr rtlCol="0" anchor="ctr"/>
            <a:lstStyle/>
            <a:p>
              <a:endParaRPr lang="en-US"/>
            </a:p>
          </p:txBody>
        </p:sp>
        <p:sp>
          <p:nvSpPr>
            <p:cNvPr id="1860" name="Freeform: Shape 1859">
              <a:extLst>
                <a:ext uri="{FF2B5EF4-FFF2-40B4-BE49-F238E27FC236}">
                  <a16:creationId xmlns:a16="http://schemas.microsoft.com/office/drawing/2014/main" id="{F5928EE2-BE9C-4AB7-91CD-41B8E104A0E6}"/>
                </a:ext>
              </a:extLst>
            </p:cNvPr>
            <p:cNvSpPr/>
            <p:nvPr/>
          </p:nvSpPr>
          <p:spPr>
            <a:xfrm>
              <a:off x="4064476" y="6540388"/>
              <a:ext cx="14603" cy="313324"/>
            </a:xfrm>
            <a:custGeom>
              <a:avLst/>
              <a:gdLst>
                <a:gd name="connsiteX0" fmla="*/ 14604 w 14603"/>
                <a:gd name="connsiteY0" fmla="*/ 0 h 313324"/>
                <a:gd name="connsiteX1" fmla="*/ 7369 w 14603"/>
                <a:gd name="connsiteY1" fmla="*/ 7234 h 313324"/>
                <a:gd name="connsiteX2" fmla="*/ 0 w 14603"/>
                <a:gd name="connsiteY2" fmla="*/ 0 h 313324"/>
                <a:gd name="connsiteX3" fmla="*/ 0 w 14603"/>
                <a:gd name="connsiteY3" fmla="*/ 313325 h 313324"/>
                <a:gd name="connsiteX4" fmla="*/ 14604 w 14603"/>
                <a:gd name="connsiteY4" fmla="*/ 313325 h 313324"/>
                <a:gd name="connsiteX5" fmla="*/ 14604 w 14603"/>
                <a:gd name="connsiteY5" fmla="*/ 0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13324">
                  <a:moveTo>
                    <a:pt x="14604" y="0"/>
                  </a:moveTo>
                  <a:cubicBezTo>
                    <a:pt x="14604" y="3992"/>
                    <a:pt x="11361" y="7234"/>
                    <a:pt x="7369" y="7234"/>
                  </a:cubicBezTo>
                  <a:cubicBezTo>
                    <a:pt x="3349" y="7234"/>
                    <a:pt x="67" y="4019"/>
                    <a:pt x="0" y="0"/>
                  </a:cubicBezTo>
                  <a:lnTo>
                    <a:pt x="0" y="313325"/>
                  </a:lnTo>
                  <a:lnTo>
                    <a:pt x="14604" y="313325"/>
                  </a:lnTo>
                  <a:lnTo>
                    <a:pt x="14604" y="0"/>
                  </a:lnTo>
                  <a:close/>
                </a:path>
              </a:pathLst>
            </a:custGeom>
            <a:solidFill>
              <a:srgbClr val="000000"/>
            </a:solidFill>
            <a:ln w="12700" cap="flat">
              <a:noFill/>
              <a:prstDash val="solid"/>
              <a:miter/>
            </a:ln>
          </p:spPr>
          <p:txBody>
            <a:bodyPr rtlCol="0" anchor="ctr"/>
            <a:lstStyle/>
            <a:p>
              <a:endParaRPr lang="en-US"/>
            </a:p>
          </p:txBody>
        </p:sp>
        <p:sp>
          <p:nvSpPr>
            <p:cNvPr id="1861" name="Freeform: Shape 1860">
              <a:extLst>
                <a:ext uri="{FF2B5EF4-FFF2-40B4-BE49-F238E27FC236}">
                  <a16:creationId xmlns:a16="http://schemas.microsoft.com/office/drawing/2014/main" id="{7483AEDE-ED41-46A0-B91F-6D1F8547BD07}"/>
                </a:ext>
              </a:extLst>
            </p:cNvPr>
            <p:cNvSpPr/>
            <p:nvPr/>
          </p:nvSpPr>
          <p:spPr>
            <a:xfrm>
              <a:off x="991567" y="6126864"/>
              <a:ext cx="3349" cy="5894"/>
            </a:xfrm>
            <a:custGeom>
              <a:avLst/>
              <a:gdLst>
                <a:gd name="connsiteX0" fmla="*/ 3349 w 3349"/>
                <a:gd name="connsiteY0" fmla="*/ 5894 h 5894"/>
                <a:gd name="connsiteX1" fmla="*/ 0 w 3349"/>
                <a:gd name="connsiteY1" fmla="*/ 0 h 5894"/>
                <a:gd name="connsiteX2" fmla="*/ 0 w 3349"/>
                <a:gd name="connsiteY2" fmla="*/ 2143 h 5894"/>
                <a:gd name="connsiteX3" fmla="*/ 1206 w 3349"/>
                <a:gd name="connsiteY3" fmla="*/ 5894 h 5894"/>
              </a:gdLst>
              <a:ahLst/>
              <a:cxnLst>
                <a:cxn ang="0">
                  <a:pos x="connsiteX0" y="connsiteY0"/>
                </a:cxn>
                <a:cxn ang="0">
                  <a:pos x="connsiteX1" y="connsiteY1"/>
                </a:cxn>
                <a:cxn ang="0">
                  <a:pos x="connsiteX2" y="connsiteY2"/>
                </a:cxn>
                <a:cxn ang="0">
                  <a:pos x="connsiteX3" y="connsiteY3"/>
                </a:cxn>
              </a:cxnLst>
              <a:rect l="l" t="t" r="r" b="b"/>
              <a:pathLst>
                <a:path w="3349" h="5894">
                  <a:moveTo>
                    <a:pt x="3349" y="5894"/>
                  </a:moveTo>
                  <a:cubicBezTo>
                    <a:pt x="1267" y="4662"/>
                    <a:pt x="-5" y="2425"/>
                    <a:pt x="0" y="0"/>
                  </a:cubicBezTo>
                  <a:lnTo>
                    <a:pt x="0" y="2143"/>
                  </a:lnTo>
                  <a:cubicBezTo>
                    <a:pt x="32" y="3483"/>
                    <a:pt x="452" y="4782"/>
                    <a:pt x="1206" y="5894"/>
                  </a:cubicBezTo>
                  <a:close/>
                </a:path>
              </a:pathLst>
            </a:custGeom>
            <a:solidFill>
              <a:srgbClr val="000000"/>
            </a:solidFill>
            <a:ln w="12700" cap="flat">
              <a:noFill/>
              <a:prstDash val="solid"/>
              <a:miter/>
            </a:ln>
          </p:spPr>
          <p:txBody>
            <a:bodyPr rtlCol="0" anchor="ctr"/>
            <a:lstStyle/>
            <a:p>
              <a:endParaRPr lang="en-US"/>
            </a:p>
          </p:txBody>
        </p:sp>
        <p:sp>
          <p:nvSpPr>
            <p:cNvPr id="1862" name="Freeform: Shape 1861">
              <a:extLst>
                <a:ext uri="{FF2B5EF4-FFF2-40B4-BE49-F238E27FC236}">
                  <a16:creationId xmlns:a16="http://schemas.microsoft.com/office/drawing/2014/main" id="{4F1E2667-9342-4964-99E3-B6AF7B15FC3E}"/>
                </a:ext>
              </a:extLst>
            </p:cNvPr>
            <p:cNvSpPr/>
            <p:nvPr/>
          </p:nvSpPr>
          <p:spPr>
            <a:xfrm>
              <a:off x="1002687" y="6126864"/>
              <a:ext cx="3483" cy="5894"/>
            </a:xfrm>
            <a:custGeom>
              <a:avLst/>
              <a:gdLst>
                <a:gd name="connsiteX0" fmla="*/ 3483 w 3483"/>
                <a:gd name="connsiteY0" fmla="*/ 2143 h 5894"/>
                <a:gd name="connsiteX1" fmla="*/ 3483 w 3483"/>
                <a:gd name="connsiteY1" fmla="*/ 0 h 5894"/>
                <a:gd name="connsiteX2" fmla="*/ 0 w 3483"/>
                <a:gd name="connsiteY2" fmla="*/ 5894 h 5894"/>
                <a:gd name="connsiteX3" fmla="*/ 2144 w 3483"/>
                <a:gd name="connsiteY3" fmla="*/ 5894 h 5894"/>
                <a:gd name="connsiteX4" fmla="*/ 3483 w 3483"/>
                <a:gd name="connsiteY4" fmla="*/ 2143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3" h="5894">
                  <a:moveTo>
                    <a:pt x="3483" y="2143"/>
                  </a:moveTo>
                  <a:lnTo>
                    <a:pt x="3483" y="0"/>
                  </a:lnTo>
                  <a:cubicBezTo>
                    <a:pt x="3435" y="2438"/>
                    <a:pt x="2113" y="4675"/>
                    <a:pt x="0" y="5894"/>
                  </a:cubicBezTo>
                  <a:lnTo>
                    <a:pt x="2144" y="5894"/>
                  </a:lnTo>
                  <a:cubicBezTo>
                    <a:pt x="3003" y="4836"/>
                    <a:pt x="3474" y="3510"/>
                    <a:pt x="3483" y="2143"/>
                  </a:cubicBezTo>
                  <a:close/>
                </a:path>
              </a:pathLst>
            </a:custGeom>
            <a:solidFill>
              <a:srgbClr val="000000"/>
            </a:solidFill>
            <a:ln w="12700" cap="flat">
              <a:noFill/>
              <a:prstDash val="solid"/>
              <a:miter/>
            </a:ln>
          </p:spPr>
          <p:txBody>
            <a:bodyPr rtlCol="0" anchor="ctr"/>
            <a:lstStyle/>
            <a:p>
              <a:endParaRPr lang="en-US"/>
            </a:p>
          </p:txBody>
        </p:sp>
        <p:sp>
          <p:nvSpPr>
            <p:cNvPr id="1863" name="Freeform: Shape 1862">
              <a:extLst>
                <a:ext uri="{FF2B5EF4-FFF2-40B4-BE49-F238E27FC236}">
                  <a16:creationId xmlns:a16="http://schemas.microsoft.com/office/drawing/2014/main" id="{3502964E-2B19-44CB-99F9-D7BB369A1F81}"/>
                </a:ext>
              </a:extLst>
            </p:cNvPr>
            <p:cNvSpPr/>
            <p:nvPr/>
          </p:nvSpPr>
          <p:spPr>
            <a:xfrm>
              <a:off x="991425" y="6100474"/>
              <a:ext cx="14745" cy="32283"/>
            </a:xfrm>
            <a:custGeom>
              <a:avLst/>
              <a:gdLst>
                <a:gd name="connsiteX0" fmla="*/ 3492 w 14745"/>
                <a:gd name="connsiteY0" fmla="*/ 32284 h 32283"/>
                <a:gd name="connsiteX1" fmla="*/ 11262 w 14745"/>
                <a:gd name="connsiteY1" fmla="*/ 32284 h 32283"/>
                <a:gd name="connsiteX2" fmla="*/ 14746 w 14745"/>
                <a:gd name="connsiteY2" fmla="*/ 26389 h 32283"/>
                <a:gd name="connsiteX3" fmla="*/ 14746 w 14745"/>
                <a:gd name="connsiteY3" fmla="*/ 7368 h 32283"/>
                <a:gd name="connsiteX4" fmla="*/ 7377 w 14745"/>
                <a:gd name="connsiteY4" fmla="*/ 0 h 32283"/>
                <a:gd name="connsiteX5" fmla="*/ 8 w 14745"/>
                <a:gd name="connsiteY5" fmla="*/ 7368 h 32283"/>
                <a:gd name="connsiteX6" fmla="*/ 8 w 14745"/>
                <a:gd name="connsiteY6" fmla="*/ 25988 h 32283"/>
                <a:gd name="connsiteX7" fmla="*/ 3492 w 14745"/>
                <a:gd name="connsiteY7" fmla="*/ 32284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5" h="32283">
                  <a:moveTo>
                    <a:pt x="3492" y="32284"/>
                  </a:moveTo>
                  <a:lnTo>
                    <a:pt x="11262" y="32284"/>
                  </a:lnTo>
                  <a:cubicBezTo>
                    <a:pt x="13375" y="31065"/>
                    <a:pt x="14698" y="28827"/>
                    <a:pt x="14746" y="26389"/>
                  </a:cubicBezTo>
                  <a:lnTo>
                    <a:pt x="14746" y="7368"/>
                  </a:lnTo>
                  <a:cubicBezTo>
                    <a:pt x="14746" y="3295"/>
                    <a:pt x="11447" y="0"/>
                    <a:pt x="7377" y="0"/>
                  </a:cubicBezTo>
                  <a:cubicBezTo>
                    <a:pt x="3307" y="0"/>
                    <a:pt x="8" y="3295"/>
                    <a:pt x="8" y="7368"/>
                  </a:cubicBezTo>
                  <a:lnTo>
                    <a:pt x="8" y="25988"/>
                  </a:lnTo>
                  <a:cubicBezTo>
                    <a:pt x="-119" y="28573"/>
                    <a:pt x="1230" y="31011"/>
                    <a:pt x="3492" y="32284"/>
                  </a:cubicBezTo>
                  <a:close/>
                </a:path>
              </a:pathLst>
            </a:custGeom>
            <a:solidFill>
              <a:srgbClr val="000000"/>
            </a:solidFill>
            <a:ln w="12700" cap="flat">
              <a:noFill/>
              <a:prstDash val="solid"/>
              <a:miter/>
            </a:ln>
          </p:spPr>
          <p:txBody>
            <a:bodyPr rtlCol="0" anchor="ctr"/>
            <a:lstStyle/>
            <a:p>
              <a:endParaRPr lang="en-US"/>
            </a:p>
          </p:txBody>
        </p:sp>
        <p:sp>
          <p:nvSpPr>
            <p:cNvPr id="1864" name="Freeform: Shape 1863">
              <a:extLst>
                <a:ext uri="{FF2B5EF4-FFF2-40B4-BE49-F238E27FC236}">
                  <a16:creationId xmlns:a16="http://schemas.microsoft.com/office/drawing/2014/main" id="{0C9507DC-8204-4E55-9129-5C51BB5B0CFF}"/>
                </a:ext>
              </a:extLst>
            </p:cNvPr>
            <p:cNvSpPr/>
            <p:nvPr/>
          </p:nvSpPr>
          <p:spPr>
            <a:xfrm>
              <a:off x="3505522" y="6500201"/>
              <a:ext cx="14469" cy="47420"/>
            </a:xfrm>
            <a:custGeom>
              <a:avLst/>
              <a:gdLst>
                <a:gd name="connsiteX0" fmla="*/ 0 w 14469"/>
                <a:gd name="connsiteY0" fmla="*/ 40187 h 47420"/>
                <a:gd name="connsiteX1" fmla="*/ 7235 w 14469"/>
                <a:gd name="connsiteY1" fmla="*/ 47421 h 47420"/>
                <a:gd name="connsiteX2" fmla="*/ 14470 w 14469"/>
                <a:gd name="connsiteY2" fmla="*/ 40187 h 47420"/>
                <a:gd name="connsiteX3" fmla="*/ 14470 w 14469"/>
                <a:gd name="connsiteY3" fmla="*/ 0 h 47420"/>
                <a:gd name="connsiteX4" fmla="*/ 7235 w 14469"/>
                <a:gd name="connsiteY4" fmla="*/ 7234 h 47420"/>
                <a:gd name="connsiteX5" fmla="*/ 2411 w 14469"/>
                <a:gd name="connsiteY5" fmla="*/ 5358 h 47420"/>
                <a:gd name="connsiteX6" fmla="*/ 0 w 14469"/>
                <a:gd name="connsiteY6" fmla="*/ 5358 h 47420"/>
                <a:gd name="connsiteX7" fmla="*/ 0 w 14469"/>
                <a:gd name="connsiteY7" fmla="*/ 39785 h 4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47420">
                  <a:moveTo>
                    <a:pt x="0" y="40187"/>
                  </a:moveTo>
                  <a:cubicBezTo>
                    <a:pt x="0" y="44179"/>
                    <a:pt x="3242" y="47421"/>
                    <a:pt x="7235" y="47421"/>
                  </a:cubicBezTo>
                  <a:cubicBezTo>
                    <a:pt x="11227" y="47421"/>
                    <a:pt x="14470" y="44179"/>
                    <a:pt x="14470" y="40187"/>
                  </a:cubicBezTo>
                  <a:lnTo>
                    <a:pt x="14470" y="0"/>
                  </a:lnTo>
                  <a:cubicBezTo>
                    <a:pt x="14470" y="3992"/>
                    <a:pt x="11227" y="7234"/>
                    <a:pt x="7235" y="7234"/>
                  </a:cubicBezTo>
                  <a:cubicBezTo>
                    <a:pt x="5453" y="7194"/>
                    <a:pt x="3751" y="6524"/>
                    <a:pt x="2411" y="5358"/>
                  </a:cubicBezTo>
                  <a:lnTo>
                    <a:pt x="0" y="5358"/>
                  </a:lnTo>
                  <a:lnTo>
                    <a:pt x="0" y="39785"/>
                  </a:lnTo>
                  <a:close/>
                </a:path>
              </a:pathLst>
            </a:custGeom>
            <a:solidFill>
              <a:srgbClr val="000000"/>
            </a:solidFill>
            <a:ln w="12700" cap="flat">
              <a:noFill/>
              <a:prstDash val="solid"/>
              <a:miter/>
            </a:ln>
          </p:spPr>
          <p:txBody>
            <a:bodyPr rtlCol="0" anchor="ctr"/>
            <a:lstStyle/>
            <a:p>
              <a:endParaRPr lang="en-US"/>
            </a:p>
          </p:txBody>
        </p:sp>
        <p:sp>
          <p:nvSpPr>
            <p:cNvPr id="1865" name="Freeform: Shape 1864">
              <a:extLst>
                <a:ext uri="{FF2B5EF4-FFF2-40B4-BE49-F238E27FC236}">
                  <a16:creationId xmlns:a16="http://schemas.microsoft.com/office/drawing/2014/main" id="{C68532CE-E07F-42D2-B6FF-5021A4886B3A}"/>
                </a:ext>
              </a:extLst>
            </p:cNvPr>
            <p:cNvSpPr/>
            <p:nvPr/>
          </p:nvSpPr>
          <p:spPr>
            <a:xfrm>
              <a:off x="999070" y="6132758"/>
              <a:ext cx="151126" cy="14601"/>
            </a:xfrm>
            <a:custGeom>
              <a:avLst/>
              <a:gdLst>
                <a:gd name="connsiteX0" fmla="*/ 147643 w 151126"/>
                <a:gd name="connsiteY0" fmla="*/ 7368 h 14601"/>
                <a:gd name="connsiteX1" fmla="*/ 151127 w 151126"/>
                <a:gd name="connsiteY1" fmla="*/ 1206 h 14601"/>
                <a:gd name="connsiteX2" fmla="*/ 147375 w 151126"/>
                <a:gd name="connsiteY2" fmla="*/ 0 h 14601"/>
                <a:gd name="connsiteX3" fmla="*/ 0 w 151126"/>
                <a:gd name="connsiteY3" fmla="*/ 0 h 14601"/>
                <a:gd name="connsiteX4" fmla="*/ 7369 w 151126"/>
                <a:gd name="connsiteY4" fmla="*/ 7368 h 14601"/>
                <a:gd name="connsiteX5" fmla="*/ 0 w 151126"/>
                <a:gd name="connsiteY5" fmla="*/ 14601 h 14601"/>
                <a:gd name="connsiteX6" fmla="*/ 147375 w 151126"/>
                <a:gd name="connsiteY6" fmla="*/ 14601 h 14601"/>
                <a:gd name="connsiteX7" fmla="*/ 151127 w 151126"/>
                <a:gd name="connsiteY7" fmla="*/ 13396 h 14601"/>
                <a:gd name="connsiteX8" fmla="*/ 147643 w 151126"/>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26" h="14601">
                  <a:moveTo>
                    <a:pt x="147643" y="7368"/>
                  </a:moveTo>
                  <a:cubicBezTo>
                    <a:pt x="147677" y="4849"/>
                    <a:pt x="148990" y="2532"/>
                    <a:pt x="151127" y="1206"/>
                  </a:cubicBezTo>
                  <a:cubicBezTo>
                    <a:pt x="150019" y="455"/>
                    <a:pt x="148716" y="27"/>
                    <a:pt x="147375" y="0"/>
                  </a:cubicBezTo>
                  <a:lnTo>
                    <a:pt x="0" y="0"/>
                  </a:lnTo>
                  <a:cubicBezTo>
                    <a:pt x="4070" y="0"/>
                    <a:pt x="7369" y="3295"/>
                    <a:pt x="7369" y="7368"/>
                  </a:cubicBezTo>
                  <a:cubicBezTo>
                    <a:pt x="7295" y="11386"/>
                    <a:pt x="4018" y="14601"/>
                    <a:pt x="0" y="14601"/>
                  </a:cubicBezTo>
                  <a:lnTo>
                    <a:pt x="147375" y="14601"/>
                  </a:lnTo>
                  <a:cubicBezTo>
                    <a:pt x="148716" y="14574"/>
                    <a:pt x="150019" y="14146"/>
                    <a:pt x="151127" y="13396"/>
                  </a:cubicBezTo>
                  <a:cubicBezTo>
                    <a:pt x="148992" y="12136"/>
                    <a:pt x="147671" y="9846"/>
                    <a:pt x="147643" y="7368"/>
                  </a:cubicBezTo>
                  <a:close/>
                </a:path>
              </a:pathLst>
            </a:custGeom>
            <a:solidFill>
              <a:srgbClr val="000000"/>
            </a:solidFill>
            <a:ln w="12700" cap="flat">
              <a:noFill/>
              <a:prstDash val="solid"/>
              <a:miter/>
            </a:ln>
          </p:spPr>
          <p:txBody>
            <a:bodyPr rtlCol="0" anchor="ctr"/>
            <a:lstStyle/>
            <a:p>
              <a:endParaRPr lang="en-US"/>
            </a:p>
          </p:txBody>
        </p:sp>
        <p:sp>
          <p:nvSpPr>
            <p:cNvPr id="1866" name="Freeform: Shape 1865">
              <a:extLst>
                <a:ext uri="{FF2B5EF4-FFF2-40B4-BE49-F238E27FC236}">
                  <a16:creationId xmlns:a16="http://schemas.microsoft.com/office/drawing/2014/main" id="{169E1C20-36AF-4B79-B7C0-B6AE52797882}"/>
                </a:ext>
              </a:extLst>
            </p:cNvPr>
            <p:cNvSpPr/>
            <p:nvPr/>
          </p:nvSpPr>
          <p:spPr>
            <a:xfrm>
              <a:off x="2792896" y="6538379"/>
              <a:ext cx="14469" cy="7903"/>
            </a:xfrm>
            <a:custGeom>
              <a:avLst/>
              <a:gdLst>
                <a:gd name="connsiteX0" fmla="*/ 7235 w 14469"/>
                <a:gd name="connsiteY0" fmla="*/ 7368 h 7903"/>
                <a:gd name="connsiteX1" fmla="*/ 0 w 14469"/>
                <a:gd name="connsiteY1" fmla="*/ 0 h 7903"/>
                <a:gd name="connsiteX2" fmla="*/ 0 w 14469"/>
                <a:gd name="connsiteY2" fmla="*/ 670 h 7903"/>
                <a:gd name="connsiteX3" fmla="*/ 7235 w 14469"/>
                <a:gd name="connsiteY3" fmla="*/ 7903 h 7903"/>
                <a:gd name="connsiteX4" fmla="*/ 14469 w 14469"/>
                <a:gd name="connsiteY4" fmla="*/ 670 h 7903"/>
                <a:gd name="connsiteX5" fmla="*/ 14469 w 14469"/>
                <a:gd name="connsiteY5" fmla="*/ 0 h 7903"/>
                <a:gd name="connsiteX6" fmla="*/ 7235 w 14469"/>
                <a:gd name="connsiteY6" fmla="*/ 7368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7903">
                  <a:moveTo>
                    <a:pt x="7235" y="7368"/>
                  </a:moveTo>
                  <a:cubicBezTo>
                    <a:pt x="3215" y="7301"/>
                    <a:pt x="0" y="4019"/>
                    <a:pt x="0" y="0"/>
                  </a:cubicBezTo>
                  <a:lnTo>
                    <a:pt x="0" y="670"/>
                  </a:lnTo>
                  <a:cubicBezTo>
                    <a:pt x="0" y="4662"/>
                    <a:pt x="3242" y="7903"/>
                    <a:pt x="7235" y="7903"/>
                  </a:cubicBezTo>
                  <a:cubicBezTo>
                    <a:pt x="11227" y="7903"/>
                    <a:pt x="14469" y="4662"/>
                    <a:pt x="14469" y="670"/>
                  </a:cubicBezTo>
                  <a:lnTo>
                    <a:pt x="14469" y="0"/>
                  </a:lnTo>
                  <a:cubicBezTo>
                    <a:pt x="14469" y="4019"/>
                    <a:pt x="11254" y="7301"/>
                    <a:pt x="7235" y="7368"/>
                  </a:cubicBezTo>
                  <a:close/>
                </a:path>
              </a:pathLst>
            </a:custGeom>
            <a:solidFill>
              <a:srgbClr val="000000"/>
            </a:solidFill>
            <a:ln w="12700" cap="flat">
              <a:noFill/>
              <a:prstDash val="solid"/>
              <a:miter/>
            </a:ln>
          </p:spPr>
          <p:txBody>
            <a:bodyPr rtlCol="0" anchor="ctr"/>
            <a:lstStyle/>
            <a:p>
              <a:endParaRPr lang="en-US"/>
            </a:p>
          </p:txBody>
        </p:sp>
        <p:sp>
          <p:nvSpPr>
            <p:cNvPr id="1867" name="Freeform: Shape 1866">
              <a:extLst>
                <a:ext uri="{FF2B5EF4-FFF2-40B4-BE49-F238E27FC236}">
                  <a16:creationId xmlns:a16="http://schemas.microsoft.com/office/drawing/2014/main" id="{8B82B7DD-C354-465A-9F00-666EC5595D28}"/>
                </a:ext>
              </a:extLst>
            </p:cNvPr>
            <p:cNvSpPr/>
            <p:nvPr/>
          </p:nvSpPr>
          <p:spPr>
            <a:xfrm>
              <a:off x="4064476" y="6539049"/>
              <a:ext cx="14603" cy="8573"/>
            </a:xfrm>
            <a:custGeom>
              <a:avLst/>
              <a:gdLst>
                <a:gd name="connsiteX0" fmla="*/ 14604 w 14603"/>
                <a:gd name="connsiteY0" fmla="*/ 0 h 8573"/>
                <a:gd name="connsiteX1" fmla="*/ 7369 w 14603"/>
                <a:gd name="connsiteY1" fmla="*/ 7368 h 8573"/>
                <a:gd name="connsiteX2" fmla="*/ 0 w 14603"/>
                <a:gd name="connsiteY2" fmla="*/ 0 h 8573"/>
                <a:gd name="connsiteX3" fmla="*/ 0 w 14603"/>
                <a:gd name="connsiteY3" fmla="*/ 1339 h 8573"/>
                <a:gd name="connsiteX4" fmla="*/ 7369 w 14603"/>
                <a:gd name="connsiteY4" fmla="*/ 8573 h 8573"/>
                <a:gd name="connsiteX5" fmla="*/ 14604 w 14603"/>
                <a:gd name="connsiteY5" fmla="*/ 1339 h 8573"/>
                <a:gd name="connsiteX6" fmla="*/ 14604 w 14603"/>
                <a:gd name="connsiteY6" fmla="*/ 0 h 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573">
                  <a:moveTo>
                    <a:pt x="14604" y="0"/>
                  </a:moveTo>
                  <a:cubicBezTo>
                    <a:pt x="14604" y="4019"/>
                    <a:pt x="11388" y="7301"/>
                    <a:pt x="7369" y="7368"/>
                  </a:cubicBezTo>
                  <a:cubicBezTo>
                    <a:pt x="3296" y="7368"/>
                    <a:pt x="0" y="4072"/>
                    <a:pt x="0" y="0"/>
                  </a:cubicBezTo>
                  <a:lnTo>
                    <a:pt x="0" y="1339"/>
                  </a:lnTo>
                  <a:cubicBezTo>
                    <a:pt x="67" y="5358"/>
                    <a:pt x="3349" y="8573"/>
                    <a:pt x="7369" y="8573"/>
                  </a:cubicBezTo>
                  <a:cubicBezTo>
                    <a:pt x="11361" y="8573"/>
                    <a:pt x="14604" y="5331"/>
                    <a:pt x="14604" y="1339"/>
                  </a:cubicBezTo>
                  <a:lnTo>
                    <a:pt x="14604" y="0"/>
                  </a:lnTo>
                  <a:close/>
                </a:path>
              </a:pathLst>
            </a:custGeom>
            <a:solidFill>
              <a:srgbClr val="000000"/>
            </a:solidFill>
            <a:ln w="12700" cap="flat">
              <a:noFill/>
              <a:prstDash val="solid"/>
              <a:miter/>
            </a:ln>
          </p:spPr>
          <p:txBody>
            <a:bodyPr rtlCol="0" anchor="ctr"/>
            <a:lstStyle/>
            <a:p>
              <a:endParaRPr lang="en-US"/>
            </a:p>
          </p:txBody>
        </p:sp>
        <p:sp>
          <p:nvSpPr>
            <p:cNvPr id="1868" name="Freeform: Shape 1867">
              <a:extLst>
                <a:ext uri="{FF2B5EF4-FFF2-40B4-BE49-F238E27FC236}">
                  <a16:creationId xmlns:a16="http://schemas.microsoft.com/office/drawing/2014/main" id="{AF4818AC-55AA-4514-B52F-6613265A95F1}"/>
                </a:ext>
              </a:extLst>
            </p:cNvPr>
            <p:cNvSpPr/>
            <p:nvPr/>
          </p:nvSpPr>
          <p:spPr>
            <a:xfrm>
              <a:off x="2214514" y="6463631"/>
              <a:ext cx="14469" cy="76757"/>
            </a:xfrm>
            <a:custGeom>
              <a:avLst/>
              <a:gdLst>
                <a:gd name="connsiteX0" fmla="*/ 14470 w 14469"/>
                <a:gd name="connsiteY0" fmla="*/ 7234 h 76757"/>
                <a:gd name="connsiteX1" fmla="*/ 7235 w 14469"/>
                <a:gd name="connsiteY1" fmla="*/ 0 h 76757"/>
                <a:gd name="connsiteX2" fmla="*/ 0 w 14469"/>
                <a:gd name="connsiteY2" fmla="*/ 7234 h 76757"/>
                <a:gd name="connsiteX3" fmla="*/ 0 w 14469"/>
                <a:gd name="connsiteY3" fmla="*/ 76757 h 76757"/>
                <a:gd name="connsiteX4" fmla="*/ 7235 w 14469"/>
                <a:gd name="connsiteY4" fmla="*/ 69524 h 76757"/>
                <a:gd name="connsiteX5" fmla="*/ 14470 w 14469"/>
                <a:gd name="connsiteY5" fmla="*/ 76757 h 76757"/>
                <a:gd name="connsiteX6" fmla="*/ 14470 w 14469"/>
                <a:gd name="connsiteY6" fmla="*/ 7234 h 7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76757">
                  <a:moveTo>
                    <a:pt x="14470" y="7234"/>
                  </a:moveTo>
                  <a:cubicBezTo>
                    <a:pt x="14470" y="3242"/>
                    <a:pt x="11227" y="0"/>
                    <a:pt x="7235" y="0"/>
                  </a:cubicBezTo>
                  <a:cubicBezTo>
                    <a:pt x="3242" y="0"/>
                    <a:pt x="0" y="3242"/>
                    <a:pt x="0" y="7234"/>
                  </a:cubicBezTo>
                  <a:lnTo>
                    <a:pt x="0" y="76757"/>
                  </a:lnTo>
                  <a:cubicBezTo>
                    <a:pt x="0" y="72765"/>
                    <a:pt x="3242" y="69524"/>
                    <a:pt x="7235" y="69524"/>
                  </a:cubicBezTo>
                  <a:cubicBezTo>
                    <a:pt x="11227" y="69524"/>
                    <a:pt x="14470" y="72765"/>
                    <a:pt x="14470" y="76757"/>
                  </a:cubicBezTo>
                  <a:lnTo>
                    <a:pt x="14470" y="7234"/>
                  </a:lnTo>
                  <a:close/>
                </a:path>
              </a:pathLst>
            </a:custGeom>
            <a:solidFill>
              <a:srgbClr val="000000"/>
            </a:solidFill>
            <a:ln w="12700" cap="flat">
              <a:noFill/>
              <a:prstDash val="solid"/>
              <a:miter/>
            </a:ln>
          </p:spPr>
          <p:txBody>
            <a:bodyPr rtlCol="0" anchor="ctr"/>
            <a:lstStyle/>
            <a:p>
              <a:endParaRPr lang="en-US"/>
            </a:p>
          </p:txBody>
        </p:sp>
        <p:sp>
          <p:nvSpPr>
            <p:cNvPr id="1869" name="Freeform: Shape 1868">
              <a:extLst>
                <a:ext uri="{FF2B5EF4-FFF2-40B4-BE49-F238E27FC236}">
                  <a16:creationId xmlns:a16="http://schemas.microsoft.com/office/drawing/2014/main" id="{648E2E33-B45B-4A2D-A890-A620ABE2C08F}"/>
                </a:ext>
              </a:extLst>
            </p:cNvPr>
            <p:cNvSpPr/>
            <p:nvPr/>
          </p:nvSpPr>
          <p:spPr>
            <a:xfrm>
              <a:off x="2214514" y="6533155"/>
              <a:ext cx="14469" cy="320558"/>
            </a:xfrm>
            <a:custGeom>
              <a:avLst/>
              <a:gdLst>
                <a:gd name="connsiteX0" fmla="*/ 14470 w 14469"/>
                <a:gd name="connsiteY0" fmla="*/ 7234 h 320558"/>
                <a:gd name="connsiteX1" fmla="*/ 7235 w 14469"/>
                <a:gd name="connsiteY1" fmla="*/ 0 h 320558"/>
                <a:gd name="connsiteX2" fmla="*/ 0 w 14469"/>
                <a:gd name="connsiteY2" fmla="*/ 7234 h 320558"/>
                <a:gd name="connsiteX3" fmla="*/ 0 w 14469"/>
                <a:gd name="connsiteY3" fmla="*/ 320558 h 320558"/>
                <a:gd name="connsiteX4" fmla="*/ 14470 w 14469"/>
                <a:gd name="connsiteY4" fmla="*/ 320558 h 320558"/>
                <a:gd name="connsiteX5" fmla="*/ 14470 w 14469"/>
                <a:gd name="connsiteY5" fmla="*/ 7234 h 3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20558">
                  <a:moveTo>
                    <a:pt x="14470" y="7234"/>
                  </a:moveTo>
                  <a:cubicBezTo>
                    <a:pt x="14470" y="3242"/>
                    <a:pt x="11227" y="0"/>
                    <a:pt x="7235" y="0"/>
                  </a:cubicBezTo>
                  <a:cubicBezTo>
                    <a:pt x="3242" y="0"/>
                    <a:pt x="0" y="3242"/>
                    <a:pt x="0" y="7234"/>
                  </a:cubicBezTo>
                  <a:lnTo>
                    <a:pt x="0" y="320558"/>
                  </a:lnTo>
                  <a:lnTo>
                    <a:pt x="14470" y="320558"/>
                  </a:lnTo>
                  <a:lnTo>
                    <a:pt x="14470" y="7234"/>
                  </a:lnTo>
                  <a:close/>
                </a:path>
              </a:pathLst>
            </a:custGeom>
            <a:solidFill>
              <a:srgbClr val="000000"/>
            </a:solidFill>
            <a:ln w="12700" cap="flat">
              <a:noFill/>
              <a:prstDash val="solid"/>
              <a:miter/>
            </a:ln>
          </p:spPr>
          <p:txBody>
            <a:bodyPr rtlCol="0" anchor="ctr"/>
            <a:lstStyle/>
            <a:p>
              <a:endParaRPr lang="en-US"/>
            </a:p>
          </p:txBody>
        </p:sp>
        <p:sp>
          <p:nvSpPr>
            <p:cNvPr id="1870" name="Freeform: Shape 1869">
              <a:extLst>
                <a:ext uri="{FF2B5EF4-FFF2-40B4-BE49-F238E27FC236}">
                  <a16:creationId xmlns:a16="http://schemas.microsoft.com/office/drawing/2014/main" id="{B7AA9D95-D668-48A0-9587-0EBBD0561248}"/>
                </a:ext>
              </a:extLst>
            </p:cNvPr>
            <p:cNvSpPr/>
            <p:nvPr/>
          </p:nvSpPr>
          <p:spPr>
            <a:xfrm>
              <a:off x="3507934" y="6498728"/>
              <a:ext cx="12058" cy="9109"/>
            </a:xfrm>
            <a:custGeom>
              <a:avLst/>
              <a:gdLst>
                <a:gd name="connsiteX0" fmla="*/ 12058 w 12058"/>
                <a:gd name="connsiteY0" fmla="*/ 1876 h 9109"/>
                <a:gd name="connsiteX1" fmla="*/ 12058 w 12058"/>
                <a:gd name="connsiteY1" fmla="*/ 0 h 9109"/>
                <a:gd name="connsiteX2" fmla="*/ 4823 w 12058"/>
                <a:gd name="connsiteY2" fmla="*/ 7234 h 9109"/>
                <a:gd name="connsiteX3" fmla="*/ 0 w 12058"/>
                <a:gd name="connsiteY3" fmla="*/ 7234 h 9109"/>
                <a:gd name="connsiteX4" fmla="*/ 4823 w 12058"/>
                <a:gd name="connsiteY4" fmla="*/ 9109 h 9109"/>
                <a:gd name="connsiteX5" fmla="*/ 12058 w 12058"/>
                <a:gd name="connsiteY5" fmla="*/ 1876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8" h="9109">
                  <a:moveTo>
                    <a:pt x="12058" y="1876"/>
                  </a:moveTo>
                  <a:lnTo>
                    <a:pt x="12058" y="0"/>
                  </a:lnTo>
                  <a:cubicBezTo>
                    <a:pt x="12058" y="3992"/>
                    <a:pt x="8816" y="7234"/>
                    <a:pt x="4823" y="7234"/>
                  </a:cubicBezTo>
                  <a:lnTo>
                    <a:pt x="0" y="7234"/>
                  </a:lnTo>
                  <a:cubicBezTo>
                    <a:pt x="1340" y="8399"/>
                    <a:pt x="3042" y="9069"/>
                    <a:pt x="4823" y="9109"/>
                  </a:cubicBezTo>
                  <a:cubicBezTo>
                    <a:pt x="8816" y="9109"/>
                    <a:pt x="12058" y="5867"/>
                    <a:pt x="12058" y="1876"/>
                  </a:cubicBezTo>
                  <a:close/>
                </a:path>
              </a:pathLst>
            </a:custGeom>
            <a:solidFill>
              <a:srgbClr val="000000"/>
            </a:solidFill>
            <a:ln w="12700" cap="flat">
              <a:noFill/>
              <a:prstDash val="solid"/>
              <a:miter/>
            </a:ln>
          </p:spPr>
          <p:txBody>
            <a:bodyPr rtlCol="0" anchor="ctr"/>
            <a:lstStyle/>
            <a:p>
              <a:endParaRPr lang="en-US"/>
            </a:p>
          </p:txBody>
        </p:sp>
        <p:sp>
          <p:nvSpPr>
            <p:cNvPr id="1871" name="Freeform: Shape 1870">
              <a:extLst>
                <a:ext uri="{FF2B5EF4-FFF2-40B4-BE49-F238E27FC236}">
                  <a16:creationId xmlns:a16="http://schemas.microsoft.com/office/drawing/2014/main" id="{4644E23C-0D1A-4289-8314-133BB033FA62}"/>
                </a:ext>
              </a:extLst>
            </p:cNvPr>
            <p:cNvSpPr/>
            <p:nvPr/>
          </p:nvSpPr>
          <p:spPr>
            <a:xfrm>
              <a:off x="3506286" y="5905473"/>
              <a:ext cx="13809" cy="593254"/>
            </a:xfrm>
            <a:custGeom>
              <a:avLst/>
              <a:gdLst>
                <a:gd name="connsiteX0" fmla="*/ 13706 w 13809"/>
                <a:gd name="connsiteY0" fmla="*/ 593255 h 593254"/>
                <a:gd name="connsiteX1" fmla="*/ 13706 w 13809"/>
                <a:gd name="connsiteY1" fmla="*/ 7462 h 593254"/>
                <a:gd name="connsiteX2" fmla="*/ 6471 w 13809"/>
                <a:gd name="connsiteY2" fmla="*/ 94 h 593254"/>
                <a:gd name="connsiteX3" fmla="*/ 4060 w 13809"/>
                <a:gd name="connsiteY3" fmla="*/ 94 h 593254"/>
                <a:gd name="connsiteX4" fmla="*/ 2720 w 13809"/>
                <a:gd name="connsiteY4" fmla="*/ 94 h 593254"/>
                <a:gd name="connsiteX5" fmla="*/ 1648 w 13809"/>
                <a:gd name="connsiteY5" fmla="*/ 764 h 593254"/>
                <a:gd name="connsiteX6" fmla="*/ 710 w 13809"/>
                <a:gd name="connsiteY6" fmla="*/ 1836 h 593254"/>
                <a:gd name="connsiteX7" fmla="*/ 40 w 13809"/>
                <a:gd name="connsiteY7" fmla="*/ 3041 h 593254"/>
                <a:gd name="connsiteX8" fmla="*/ 40 w 13809"/>
                <a:gd name="connsiteY8" fmla="*/ 4247 h 593254"/>
                <a:gd name="connsiteX9" fmla="*/ 40 w 13809"/>
                <a:gd name="connsiteY9" fmla="*/ 5721 h 593254"/>
                <a:gd name="connsiteX10" fmla="*/ 40 w 13809"/>
                <a:gd name="connsiteY10" fmla="*/ 584681 h 593254"/>
                <a:gd name="connsiteX11" fmla="*/ 7275 w 13809"/>
                <a:gd name="connsiteY11" fmla="*/ 584681 h 593254"/>
                <a:gd name="connsiteX12" fmla="*/ 13760 w 13809"/>
                <a:gd name="connsiteY12" fmla="*/ 592826 h 593254"/>
                <a:gd name="connsiteX13" fmla="*/ 13706 w 13809"/>
                <a:gd name="connsiteY13" fmla="*/ 593255 h 593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09" h="593254">
                  <a:moveTo>
                    <a:pt x="13706" y="593255"/>
                  </a:moveTo>
                  <a:lnTo>
                    <a:pt x="13706" y="7462"/>
                  </a:lnTo>
                  <a:cubicBezTo>
                    <a:pt x="13706" y="3445"/>
                    <a:pt x="10490" y="167"/>
                    <a:pt x="6471" y="94"/>
                  </a:cubicBezTo>
                  <a:cubicBezTo>
                    <a:pt x="5667" y="-31"/>
                    <a:pt x="4864" y="-31"/>
                    <a:pt x="4060" y="94"/>
                  </a:cubicBezTo>
                  <a:lnTo>
                    <a:pt x="2720" y="94"/>
                  </a:lnTo>
                  <a:lnTo>
                    <a:pt x="1648" y="764"/>
                  </a:lnTo>
                  <a:lnTo>
                    <a:pt x="710" y="1836"/>
                  </a:lnTo>
                  <a:cubicBezTo>
                    <a:pt x="416" y="2189"/>
                    <a:pt x="188" y="2599"/>
                    <a:pt x="40" y="3041"/>
                  </a:cubicBezTo>
                  <a:cubicBezTo>
                    <a:pt x="-13" y="3442"/>
                    <a:pt x="-13" y="3847"/>
                    <a:pt x="40" y="4247"/>
                  </a:cubicBezTo>
                  <a:cubicBezTo>
                    <a:pt x="40" y="4247"/>
                    <a:pt x="40" y="5185"/>
                    <a:pt x="40" y="5721"/>
                  </a:cubicBezTo>
                  <a:lnTo>
                    <a:pt x="40" y="584681"/>
                  </a:lnTo>
                  <a:lnTo>
                    <a:pt x="7275" y="584681"/>
                  </a:lnTo>
                  <a:cubicBezTo>
                    <a:pt x="11321" y="585137"/>
                    <a:pt x="14229" y="588794"/>
                    <a:pt x="13760" y="592826"/>
                  </a:cubicBezTo>
                  <a:cubicBezTo>
                    <a:pt x="13746" y="592973"/>
                    <a:pt x="13733" y="593121"/>
                    <a:pt x="13706" y="593255"/>
                  </a:cubicBezTo>
                  <a:close/>
                </a:path>
              </a:pathLst>
            </a:custGeom>
            <a:solidFill>
              <a:srgbClr val="000000"/>
            </a:solidFill>
            <a:ln w="12700" cap="flat">
              <a:noFill/>
              <a:prstDash val="solid"/>
              <a:miter/>
            </a:ln>
          </p:spPr>
          <p:txBody>
            <a:bodyPr rtlCol="0" anchor="ctr"/>
            <a:lstStyle/>
            <a:p>
              <a:endParaRPr lang="en-US"/>
            </a:p>
          </p:txBody>
        </p:sp>
        <p:sp>
          <p:nvSpPr>
            <p:cNvPr id="1872" name="Freeform: Shape 1871">
              <a:extLst>
                <a:ext uri="{FF2B5EF4-FFF2-40B4-BE49-F238E27FC236}">
                  <a16:creationId xmlns:a16="http://schemas.microsoft.com/office/drawing/2014/main" id="{4E9E9B01-4E13-4103-9AFE-4B3FB0DCB2E1}"/>
                </a:ext>
              </a:extLst>
            </p:cNvPr>
            <p:cNvSpPr/>
            <p:nvPr/>
          </p:nvSpPr>
          <p:spPr>
            <a:xfrm>
              <a:off x="970769" y="6132758"/>
              <a:ext cx="14501" cy="15271"/>
            </a:xfrm>
            <a:custGeom>
              <a:avLst/>
              <a:gdLst>
                <a:gd name="connsiteX0" fmla="*/ 7266 w 14501"/>
                <a:gd name="connsiteY0" fmla="*/ 7368 h 15271"/>
                <a:gd name="connsiteX1" fmla="*/ 14501 w 14501"/>
                <a:gd name="connsiteY1" fmla="*/ 0 h 15271"/>
                <a:gd name="connsiteX2" fmla="*/ 7266 w 14501"/>
                <a:gd name="connsiteY2" fmla="*/ 0 h 15271"/>
                <a:gd name="connsiteX3" fmla="*/ 32 w 14501"/>
                <a:gd name="connsiteY3" fmla="*/ 7368 h 15271"/>
                <a:gd name="connsiteX4" fmla="*/ 6566 w 14501"/>
                <a:gd name="connsiteY4" fmla="*/ 15244 h 15271"/>
                <a:gd name="connsiteX5" fmla="*/ 7266 w 14501"/>
                <a:gd name="connsiteY5" fmla="*/ 15271 h 15271"/>
                <a:gd name="connsiteX6" fmla="*/ 14367 w 14501"/>
                <a:gd name="connsiteY6" fmla="*/ 15271 h 15271"/>
                <a:gd name="connsiteX7" fmla="*/ 7236 w 14501"/>
                <a:gd name="connsiteY7" fmla="*/ 7930 h 15271"/>
                <a:gd name="connsiteX8" fmla="*/ 7266 w 14501"/>
                <a:gd name="connsiteY8" fmla="*/ 7368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1" h="15271">
                  <a:moveTo>
                    <a:pt x="7266" y="7368"/>
                  </a:moveTo>
                  <a:cubicBezTo>
                    <a:pt x="7266" y="3349"/>
                    <a:pt x="10484" y="67"/>
                    <a:pt x="14501" y="0"/>
                  </a:cubicBezTo>
                  <a:lnTo>
                    <a:pt x="7266" y="0"/>
                  </a:lnTo>
                  <a:cubicBezTo>
                    <a:pt x="3250" y="67"/>
                    <a:pt x="32" y="3349"/>
                    <a:pt x="32" y="7368"/>
                  </a:cubicBezTo>
                  <a:cubicBezTo>
                    <a:pt x="-338" y="11346"/>
                    <a:pt x="2587" y="14869"/>
                    <a:pt x="6566" y="15244"/>
                  </a:cubicBezTo>
                  <a:cubicBezTo>
                    <a:pt x="6799" y="15258"/>
                    <a:pt x="7032" y="15271"/>
                    <a:pt x="7266" y="15271"/>
                  </a:cubicBezTo>
                  <a:lnTo>
                    <a:pt x="14367" y="15271"/>
                  </a:lnTo>
                  <a:cubicBezTo>
                    <a:pt x="10372" y="15218"/>
                    <a:pt x="7179" y="11936"/>
                    <a:pt x="7236" y="7930"/>
                  </a:cubicBezTo>
                  <a:cubicBezTo>
                    <a:pt x="7238" y="7743"/>
                    <a:pt x="7249" y="7555"/>
                    <a:pt x="7266" y="7368"/>
                  </a:cubicBezTo>
                  <a:close/>
                </a:path>
              </a:pathLst>
            </a:custGeom>
            <a:solidFill>
              <a:srgbClr val="000000"/>
            </a:solidFill>
            <a:ln w="12700" cap="flat">
              <a:noFill/>
              <a:prstDash val="solid"/>
              <a:miter/>
            </a:ln>
          </p:spPr>
          <p:txBody>
            <a:bodyPr rtlCol="0" anchor="ctr"/>
            <a:lstStyle/>
            <a:p>
              <a:endParaRPr lang="en-US"/>
            </a:p>
          </p:txBody>
        </p:sp>
        <p:sp>
          <p:nvSpPr>
            <p:cNvPr id="1873" name="Freeform: Shape 1872">
              <a:extLst>
                <a:ext uri="{FF2B5EF4-FFF2-40B4-BE49-F238E27FC236}">
                  <a16:creationId xmlns:a16="http://schemas.microsoft.com/office/drawing/2014/main" id="{26B72895-0BF0-44E8-932E-CECA557F0883}"/>
                </a:ext>
              </a:extLst>
            </p:cNvPr>
            <p:cNvSpPr/>
            <p:nvPr/>
          </p:nvSpPr>
          <p:spPr>
            <a:xfrm>
              <a:off x="978170" y="6132758"/>
              <a:ext cx="28001" cy="14601"/>
            </a:xfrm>
            <a:custGeom>
              <a:avLst/>
              <a:gdLst>
                <a:gd name="connsiteX0" fmla="*/ 28001 w 28001"/>
                <a:gd name="connsiteY0" fmla="*/ 7368 h 14601"/>
                <a:gd name="connsiteX1" fmla="*/ 20633 w 28001"/>
                <a:gd name="connsiteY1" fmla="*/ 0 h 14601"/>
                <a:gd name="connsiteX2" fmla="*/ 7235 w 28001"/>
                <a:gd name="connsiteY2" fmla="*/ 0 h 14601"/>
                <a:gd name="connsiteX3" fmla="*/ 0 w 28001"/>
                <a:gd name="connsiteY3" fmla="*/ 7368 h 14601"/>
                <a:gd name="connsiteX4" fmla="*/ 7235 w 28001"/>
                <a:gd name="connsiteY4" fmla="*/ 14601 h 14601"/>
                <a:gd name="connsiteX5" fmla="*/ 20633 w 28001"/>
                <a:gd name="connsiteY5" fmla="*/ 14601 h 14601"/>
                <a:gd name="connsiteX6" fmla="*/ 28001 w 28001"/>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01" h="14601">
                  <a:moveTo>
                    <a:pt x="28001" y="7368"/>
                  </a:moveTo>
                  <a:cubicBezTo>
                    <a:pt x="28001" y="3295"/>
                    <a:pt x="24703" y="0"/>
                    <a:pt x="20633" y="0"/>
                  </a:cubicBezTo>
                  <a:lnTo>
                    <a:pt x="7235" y="0"/>
                  </a:lnTo>
                  <a:cubicBezTo>
                    <a:pt x="3218" y="67"/>
                    <a:pt x="0" y="3349"/>
                    <a:pt x="0" y="7368"/>
                  </a:cubicBezTo>
                  <a:cubicBezTo>
                    <a:pt x="0" y="11360"/>
                    <a:pt x="3240" y="14601"/>
                    <a:pt x="7235" y="14601"/>
                  </a:cubicBezTo>
                  <a:lnTo>
                    <a:pt x="20633" y="14601"/>
                  </a:lnTo>
                  <a:cubicBezTo>
                    <a:pt x="24650" y="14601"/>
                    <a:pt x="27929" y="11386"/>
                    <a:pt x="28001" y="7368"/>
                  </a:cubicBezTo>
                  <a:close/>
                </a:path>
              </a:pathLst>
            </a:custGeom>
            <a:solidFill>
              <a:srgbClr val="000000"/>
            </a:solidFill>
            <a:ln w="12700" cap="flat">
              <a:noFill/>
              <a:prstDash val="solid"/>
              <a:miter/>
            </a:ln>
          </p:spPr>
          <p:txBody>
            <a:bodyPr rtlCol="0" anchor="ctr"/>
            <a:lstStyle/>
            <a:p>
              <a:endParaRPr lang="en-US"/>
            </a:p>
          </p:txBody>
        </p:sp>
        <p:sp>
          <p:nvSpPr>
            <p:cNvPr id="1874" name="Freeform: Shape 1873">
              <a:extLst>
                <a:ext uri="{FF2B5EF4-FFF2-40B4-BE49-F238E27FC236}">
                  <a16:creationId xmlns:a16="http://schemas.microsoft.com/office/drawing/2014/main" id="{43C09DA0-E59F-45F8-9152-4A23637174F9}"/>
                </a:ext>
              </a:extLst>
            </p:cNvPr>
            <p:cNvSpPr/>
            <p:nvPr/>
          </p:nvSpPr>
          <p:spPr>
            <a:xfrm>
              <a:off x="1146713" y="6132758"/>
              <a:ext cx="68998" cy="14601"/>
            </a:xfrm>
            <a:custGeom>
              <a:avLst/>
              <a:gdLst>
                <a:gd name="connsiteX0" fmla="*/ 61764 w 68998"/>
                <a:gd name="connsiteY0" fmla="*/ 7368 h 14601"/>
                <a:gd name="connsiteX1" fmla="*/ 68998 w 68998"/>
                <a:gd name="connsiteY1" fmla="*/ 0 h 14601"/>
                <a:gd name="connsiteX2" fmla="*/ 7235 w 68998"/>
                <a:gd name="connsiteY2" fmla="*/ 0 h 14601"/>
                <a:gd name="connsiteX3" fmla="*/ 3483 w 68998"/>
                <a:gd name="connsiteY3" fmla="*/ 1206 h 14601"/>
                <a:gd name="connsiteX4" fmla="*/ 0 w 68998"/>
                <a:gd name="connsiteY4" fmla="*/ 7368 h 14601"/>
                <a:gd name="connsiteX5" fmla="*/ 3483 w 68998"/>
                <a:gd name="connsiteY5" fmla="*/ 13396 h 14601"/>
                <a:gd name="connsiteX6" fmla="*/ 7235 w 68998"/>
                <a:gd name="connsiteY6" fmla="*/ 14601 h 14601"/>
                <a:gd name="connsiteX7" fmla="*/ 68998 w 68998"/>
                <a:gd name="connsiteY7" fmla="*/ 14601 h 14601"/>
                <a:gd name="connsiteX8" fmla="*/ 61764 w 68998"/>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98" h="14601">
                  <a:moveTo>
                    <a:pt x="61764" y="7368"/>
                  </a:moveTo>
                  <a:cubicBezTo>
                    <a:pt x="61764" y="3349"/>
                    <a:pt x="64982" y="67"/>
                    <a:pt x="68998" y="0"/>
                  </a:cubicBezTo>
                  <a:lnTo>
                    <a:pt x="7235" y="0"/>
                  </a:lnTo>
                  <a:cubicBezTo>
                    <a:pt x="5902" y="67"/>
                    <a:pt x="4610" y="482"/>
                    <a:pt x="3483" y="1206"/>
                  </a:cubicBezTo>
                  <a:cubicBezTo>
                    <a:pt x="1347" y="2532"/>
                    <a:pt x="34" y="4849"/>
                    <a:pt x="0" y="7368"/>
                  </a:cubicBezTo>
                  <a:cubicBezTo>
                    <a:pt x="28" y="9846"/>
                    <a:pt x="1349" y="12136"/>
                    <a:pt x="3483" y="13396"/>
                  </a:cubicBezTo>
                  <a:cubicBezTo>
                    <a:pt x="4610" y="14119"/>
                    <a:pt x="5902" y="14534"/>
                    <a:pt x="7235" y="14601"/>
                  </a:cubicBezTo>
                  <a:lnTo>
                    <a:pt x="68998" y="14601"/>
                  </a:lnTo>
                  <a:cubicBezTo>
                    <a:pt x="65003" y="14601"/>
                    <a:pt x="61764" y="11360"/>
                    <a:pt x="61764" y="7368"/>
                  </a:cubicBezTo>
                  <a:close/>
                </a:path>
              </a:pathLst>
            </a:custGeom>
            <a:solidFill>
              <a:srgbClr val="000000"/>
            </a:solidFill>
            <a:ln w="12700" cap="flat">
              <a:noFill/>
              <a:prstDash val="solid"/>
              <a:miter/>
            </a:ln>
          </p:spPr>
          <p:txBody>
            <a:bodyPr rtlCol="0" anchor="ctr"/>
            <a:lstStyle/>
            <a:p>
              <a:endParaRPr lang="en-US"/>
            </a:p>
          </p:txBody>
        </p:sp>
        <p:sp>
          <p:nvSpPr>
            <p:cNvPr id="1875" name="Freeform: Shape 1874">
              <a:extLst>
                <a:ext uri="{FF2B5EF4-FFF2-40B4-BE49-F238E27FC236}">
                  <a16:creationId xmlns:a16="http://schemas.microsoft.com/office/drawing/2014/main" id="{789D01D8-AFDD-4A24-862A-098C161033AA}"/>
                </a:ext>
              </a:extLst>
            </p:cNvPr>
            <p:cNvSpPr/>
            <p:nvPr/>
          </p:nvSpPr>
          <p:spPr>
            <a:xfrm>
              <a:off x="1208477" y="6132758"/>
              <a:ext cx="15273" cy="14601"/>
            </a:xfrm>
            <a:custGeom>
              <a:avLst/>
              <a:gdLst>
                <a:gd name="connsiteX0" fmla="*/ 7235 w 15273"/>
                <a:gd name="connsiteY0" fmla="*/ 0 h 14601"/>
                <a:gd name="connsiteX1" fmla="*/ 0 w 15273"/>
                <a:gd name="connsiteY1" fmla="*/ 7368 h 14601"/>
                <a:gd name="connsiteX2" fmla="*/ 7235 w 15273"/>
                <a:gd name="connsiteY2" fmla="*/ 14601 h 14601"/>
                <a:gd name="connsiteX3" fmla="*/ 15273 w 15273"/>
                <a:gd name="connsiteY3" fmla="*/ 14601 h 14601"/>
                <a:gd name="connsiteX4" fmla="*/ 8039 w 15273"/>
                <a:gd name="connsiteY4" fmla="*/ 7368 h 14601"/>
                <a:gd name="connsiteX5" fmla="*/ 15273 w 15273"/>
                <a:gd name="connsiteY5" fmla="*/ 0 h 14601"/>
                <a:gd name="connsiteX6" fmla="*/ 7235 w 15273"/>
                <a:gd name="connsiteY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3" h="14601">
                  <a:moveTo>
                    <a:pt x="7235" y="0"/>
                  </a:moveTo>
                  <a:cubicBezTo>
                    <a:pt x="3218" y="67"/>
                    <a:pt x="0" y="3349"/>
                    <a:pt x="0" y="7368"/>
                  </a:cubicBezTo>
                  <a:cubicBezTo>
                    <a:pt x="0" y="11360"/>
                    <a:pt x="3240" y="14601"/>
                    <a:pt x="7235" y="14601"/>
                  </a:cubicBezTo>
                  <a:lnTo>
                    <a:pt x="15273" y="14601"/>
                  </a:lnTo>
                  <a:cubicBezTo>
                    <a:pt x="11278" y="14601"/>
                    <a:pt x="8039" y="11360"/>
                    <a:pt x="8039" y="7368"/>
                  </a:cubicBezTo>
                  <a:cubicBezTo>
                    <a:pt x="8037" y="3349"/>
                    <a:pt x="11257" y="67"/>
                    <a:pt x="15273" y="0"/>
                  </a:cubicBezTo>
                  <a:lnTo>
                    <a:pt x="7235" y="0"/>
                  </a:lnTo>
                  <a:close/>
                </a:path>
              </a:pathLst>
            </a:custGeom>
            <a:solidFill>
              <a:srgbClr val="000000"/>
            </a:solidFill>
            <a:ln w="12700" cap="flat">
              <a:noFill/>
              <a:prstDash val="solid"/>
              <a:miter/>
            </a:ln>
          </p:spPr>
          <p:txBody>
            <a:bodyPr rtlCol="0" anchor="ctr"/>
            <a:lstStyle/>
            <a:p>
              <a:endParaRPr lang="en-US"/>
            </a:p>
          </p:txBody>
        </p:sp>
        <p:sp>
          <p:nvSpPr>
            <p:cNvPr id="1876" name="Freeform: Shape 1875">
              <a:extLst>
                <a:ext uri="{FF2B5EF4-FFF2-40B4-BE49-F238E27FC236}">
                  <a16:creationId xmlns:a16="http://schemas.microsoft.com/office/drawing/2014/main" id="{D53C1D45-88B6-490D-ADD6-B80E13F7A8BF}"/>
                </a:ext>
              </a:extLst>
            </p:cNvPr>
            <p:cNvSpPr/>
            <p:nvPr/>
          </p:nvSpPr>
          <p:spPr>
            <a:xfrm>
              <a:off x="1216516" y="6132758"/>
              <a:ext cx="174036" cy="14601"/>
            </a:xfrm>
            <a:custGeom>
              <a:avLst/>
              <a:gdLst>
                <a:gd name="connsiteX0" fmla="*/ 0 w 174036"/>
                <a:gd name="connsiteY0" fmla="*/ 7368 h 14601"/>
                <a:gd name="connsiteX1" fmla="*/ 7235 w 174036"/>
                <a:gd name="connsiteY1" fmla="*/ 14601 h 14601"/>
                <a:gd name="connsiteX2" fmla="*/ 174037 w 174036"/>
                <a:gd name="connsiteY2" fmla="*/ 14601 h 14601"/>
                <a:gd name="connsiteX3" fmla="*/ 166802 w 174036"/>
                <a:gd name="connsiteY3" fmla="*/ 7368 h 14601"/>
                <a:gd name="connsiteX4" fmla="*/ 174037 w 174036"/>
                <a:gd name="connsiteY4" fmla="*/ 0 h 14601"/>
                <a:gd name="connsiteX5" fmla="*/ 7235 w 174036"/>
                <a:gd name="connsiteY5" fmla="*/ 0 h 14601"/>
                <a:gd name="connsiteX6" fmla="*/ 0 w 174036"/>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6" h="14601">
                  <a:moveTo>
                    <a:pt x="0" y="7368"/>
                  </a:moveTo>
                  <a:cubicBezTo>
                    <a:pt x="0" y="11360"/>
                    <a:pt x="3240" y="14601"/>
                    <a:pt x="7235" y="14601"/>
                  </a:cubicBezTo>
                  <a:lnTo>
                    <a:pt x="174037" y="14601"/>
                  </a:lnTo>
                  <a:cubicBezTo>
                    <a:pt x="170044" y="14601"/>
                    <a:pt x="166802" y="11360"/>
                    <a:pt x="166802" y="7368"/>
                  </a:cubicBezTo>
                  <a:cubicBezTo>
                    <a:pt x="166802" y="3349"/>
                    <a:pt x="170017" y="67"/>
                    <a:pt x="174037" y="0"/>
                  </a:cubicBezTo>
                  <a:lnTo>
                    <a:pt x="7235" y="0"/>
                  </a:lnTo>
                  <a:cubicBezTo>
                    <a:pt x="3218" y="67"/>
                    <a:pt x="-1" y="3349"/>
                    <a:pt x="0" y="7368"/>
                  </a:cubicBezTo>
                  <a:close/>
                </a:path>
              </a:pathLst>
            </a:custGeom>
            <a:solidFill>
              <a:srgbClr val="000000"/>
            </a:solidFill>
            <a:ln w="12700" cap="flat">
              <a:noFill/>
              <a:prstDash val="solid"/>
              <a:miter/>
            </a:ln>
          </p:spPr>
          <p:txBody>
            <a:bodyPr rtlCol="0" anchor="ctr"/>
            <a:lstStyle/>
            <a:p>
              <a:endParaRPr lang="en-US"/>
            </a:p>
          </p:txBody>
        </p:sp>
        <p:sp>
          <p:nvSpPr>
            <p:cNvPr id="1877" name="Freeform: Shape 1876">
              <a:extLst>
                <a:ext uri="{FF2B5EF4-FFF2-40B4-BE49-F238E27FC236}">
                  <a16:creationId xmlns:a16="http://schemas.microsoft.com/office/drawing/2014/main" id="{0A65CD13-25E8-47C2-9D13-13B2BAE67166}"/>
                </a:ext>
              </a:extLst>
            </p:cNvPr>
            <p:cNvSpPr/>
            <p:nvPr/>
          </p:nvSpPr>
          <p:spPr>
            <a:xfrm>
              <a:off x="2792896" y="6537441"/>
              <a:ext cx="14469" cy="8305"/>
            </a:xfrm>
            <a:custGeom>
              <a:avLst/>
              <a:gdLst>
                <a:gd name="connsiteX0" fmla="*/ 7235 w 14469"/>
                <a:gd name="connsiteY0" fmla="*/ 8305 h 8305"/>
                <a:gd name="connsiteX1" fmla="*/ 14469 w 14469"/>
                <a:gd name="connsiteY1" fmla="*/ 938 h 8305"/>
                <a:gd name="connsiteX2" fmla="*/ 14469 w 14469"/>
                <a:gd name="connsiteY2" fmla="*/ 0 h 8305"/>
                <a:gd name="connsiteX3" fmla="*/ 7235 w 14469"/>
                <a:gd name="connsiteY3" fmla="*/ 7234 h 8305"/>
                <a:gd name="connsiteX4" fmla="*/ 0 w 14469"/>
                <a:gd name="connsiteY4" fmla="*/ 0 h 8305"/>
                <a:gd name="connsiteX5" fmla="*/ 0 w 14469"/>
                <a:gd name="connsiteY5" fmla="*/ 938 h 8305"/>
                <a:gd name="connsiteX6" fmla="*/ 7235 w 14469"/>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305">
                  <a:moveTo>
                    <a:pt x="7235" y="8305"/>
                  </a:moveTo>
                  <a:cubicBezTo>
                    <a:pt x="11254" y="8238"/>
                    <a:pt x="14469" y="4956"/>
                    <a:pt x="14469" y="938"/>
                  </a:cubicBezTo>
                  <a:lnTo>
                    <a:pt x="14469" y="0"/>
                  </a:lnTo>
                  <a:cubicBezTo>
                    <a:pt x="14469" y="3992"/>
                    <a:pt x="11227" y="7234"/>
                    <a:pt x="7235" y="7234"/>
                  </a:cubicBezTo>
                  <a:cubicBezTo>
                    <a:pt x="3242" y="7234"/>
                    <a:pt x="0" y="3992"/>
                    <a:pt x="0" y="0"/>
                  </a:cubicBezTo>
                  <a:lnTo>
                    <a:pt x="0" y="938"/>
                  </a:lnTo>
                  <a:cubicBezTo>
                    <a:pt x="0" y="4956"/>
                    <a:pt x="3215" y="8238"/>
                    <a:pt x="7235" y="8305"/>
                  </a:cubicBezTo>
                  <a:close/>
                </a:path>
              </a:pathLst>
            </a:custGeom>
            <a:solidFill>
              <a:srgbClr val="000000"/>
            </a:solidFill>
            <a:ln w="12700" cap="flat">
              <a:noFill/>
              <a:prstDash val="solid"/>
              <a:miter/>
            </a:ln>
          </p:spPr>
          <p:txBody>
            <a:bodyPr rtlCol="0" anchor="ctr"/>
            <a:lstStyle/>
            <a:p>
              <a:endParaRPr lang="en-US"/>
            </a:p>
          </p:txBody>
        </p:sp>
        <p:sp>
          <p:nvSpPr>
            <p:cNvPr id="1878" name="Freeform: Shape 1877">
              <a:extLst>
                <a:ext uri="{FF2B5EF4-FFF2-40B4-BE49-F238E27FC236}">
                  <a16:creationId xmlns:a16="http://schemas.microsoft.com/office/drawing/2014/main" id="{CB2B3AD9-AF8C-4014-8E02-6E0AE6A10734}"/>
                </a:ext>
              </a:extLst>
            </p:cNvPr>
            <p:cNvSpPr/>
            <p:nvPr/>
          </p:nvSpPr>
          <p:spPr>
            <a:xfrm>
              <a:off x="2793163" y="6449069"/>
              <a:ext cx="14469" cy="95605"/>
            </a:xfrm>
            <a:custGeom>
              <a:avLst/>
              <a:gdLst>
                <a:gd name="connsiteX0" fmla="*/ 0 w 14469"/>
                <a:gd name="connsiteY0" fmla="*/ 88372 h 95605"/>
                <a:gd name="connsiteX1" fmla="*/ 7235 w 14469"/>
                <a:gd name="connsiteY1" fmla="*/ 95606 h 95605"/>
                <a:gd name="connsiteX2" fmla="*/ 14470 w 14469"/>
                <a:gd name="connsiteY2" fmla="*/ 88372 h 95605"/>
                <a:gd name="connsiteX3" fmla="*/ 14470 w 14469"/>
                <a:gd name="connsiteY3" fmla="*/ 7060 h 95605"/>
                <a:gd name="connsiteX4" fmla="*/ 14470 w 14469"/>
                <a:gd name="connsiteY4" fmla="*/ 5855 h 95605"/>
                <a:gd name="connsiteX5" fmla="*/ 5989 w 14469"/>
                <a:gd name="connsiteY5" fmla="*/ 135 h 95605"/>
                <a:gd name="connsiteX6" fmla="*/ 134 w 14469"/>
                <a:gd name="connsiteY6" fmla="*/ 7060 h 95605"/>
                <a:gd name="connsiteX7" fmla="*/ 134 w 14469"/>
                <a:gd name="connsiteY7" fmla="*/ 88640 h 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95605">
                  <a:moveTo>
                    <a:pt x="0" y="88372"/>
                  </a:moveTo>
                  <a:cubicBezTo>
                    <a:pt x="0" y="92364"/>
                    <a:pt x="3242" y="95606"/>
                    <a:pt x="7235" y="95606"/>
                  </a:cubicBezTo>
                  <a:cubicBezTo>
                    <a:pt x="11227" y="95606"/>
                    <a:pt x="14470" y="92364"/>
                    <a:pt x="14470" y="88372"/>
                  </a:cubicBezTo>
                  <a:lnTo>
                    <a:pt x="14470" y="7060"/>
                  </a:lnTo>
                  <a:cubicBezTo>
                    <a:pt x="14470" y="7060"/>
                    <a:pt x="14470" y="6257"/>
                    <a:pt x="14470" y="5855"/>
                  </a:cubicBezTo>
                  <a:cubicBezTo>
                    <a:pt x="13706" y="1930"/>
                    <a:pt x="9914" y="-629"/>
                    <a:pt x="5989" y="135"/>
                  </a:cubicBezTo>
                  <a:cubicBezTo>
                    <a:pt x="2653" y="778"/>
                    <a:pt x="214" y="3658"/>
                    <a:pt x="134" y="7060"/>
                  </a:cubicBezTo>
                  <a:lnTo>
                    <a:pt x="134" y="88640"/>
                  </a:lnTo>
                  <a:close/>
                </a:path>
              </a:pathLst>
            </a:custGeom>
            <a:solidFill>
              <a:srgbClr val="000000"/>
            </a:solidFill>
            <a:ln w="12700" cap="flat">
              <a:noFill/>
              <a:prstDash val="solid"/>
              <a:miter/>
            </a:ln>
          </p:spPr>
          <p:txBody>
            <a:bodyPr rtlCol="0" anchor="ctr"/>
            <a:lstStyle/>
            <a:p>
              <a:endParaRPr lang="en-US"/>
            </a:p>
          </p:txBody>
        </p:sp>
        <p:sp>
          <p:nvSpPr>
            <p:cNvPr id="1879" name="Freeform: Shape 1878">
              <a:extLst>
                <a:ext uri="{FF2B5EF4-FFF2-40B4-BE49-F238E27FC236}">
                  <a16:creationId xmlns:a16="http://schemas.microsoft.com/office/drawing/2014/main" id="{0867A89D-6A95-4261-B24B-DBA258928613}"/>
                </a:ext>
              </a:extLst>
            </p:cNvPr>
            <p:cNvSpPr/>
            <p:nvPr/>
          </p:nvSpPr>
          <p:spPr>
            <a:xfrm>
              <a:off x="4064476" y="6538379"/>
              <a:ext cx="14603" cy="8037"/>
            </a:xfrm>
            <a:custGeom>
              <a:avLst/>
              <a:gdLst>
                <a:gd name="connsiteX0" fmla="*/ 7369 w 14603"/>
                <a:gd name="connsiteY0" fmla="*/ 8037 h 8037"/>
                <a:gd name="connsiteX1" fmla="*/ 14604 w 14603"/>
                <a:gd name="connsiteY1" fmla="*/ 670 h 8037"/>
                <a:gd name="connsiteX2" fmla="*/ 14604 w 14603"/>
                <a:gd name="connsiteY2" fmla="*/ 0 h 8037"/>
                <a:gd name="connsiteX3" fmla="*/ 7369 w 14603"/>
                <a:gd name="connsiteY3" fmla="*/ 7368 h 8037"/>
                <a:gd name="connsiteX4" fmla="*/ 0 w 14603"/>
                <a:gd name="connsiteY4" fmla="*/ 0 h 8037"/>
                <a:gd name="connsiteX5" fmla="*/ 0 w 14603"/>
                <a:gd name="connsiteY5" fmla="*/ 670 h 8037"/>
                <a:gd name="connsiteX6" fmla="*/ 7369 w 14603"/>
                <a:gd name="connsiteY6" fmla="*/ 8037 h 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037">
                  <a:moveTo>
                    <a:pt x="7369" y="8037"/>
                  </a:moveTo>
                  <a:cubicBezTo>
                    <a:pt x="11388" y="7970"/>
                    <a:pt x="14604" y="4689"/>
                    <a:pt x="14604" y="670"/>
                  </a:cubicBezTo>
                  <a:lnTo>
                    <a:pt x="14604" y="0"/>
                  </a:lnTo>
                  <a:cubicBezTo>
                    <a:pt x="14604" y="4019"/>
                    <a:pt x="11388" y="7301"/>
                    <a:pt x="7369" y="7368"/>
                  </a:cubicBezTo>
                  <a:cubicBezTo>
                    <a:pt x="3296" y="7368"/>
                    <a:pt x="0" y="4072"/>
                    <a:pt x="0" y="0"/>
                  </a:cubicBezTo>
                  <a:lnTo>
                    <a:pt x="0" y="670"/>
                  </a:lnTo>
                  <a:cubicBezTo>
                    <a:pt x="0" y="4742"/>
                    <a:pt x="3296" y="8037"/>
                    <a:pt x="7369" y="8037"/>
                  </a:cubicBezTo>
                  <a:close/>
                </a:path>
              </a:pathLst>
            </a:custGeom>
            <a:solidFill>
              <a:srgbClr val="000000"/>
            </a:solidFill>
            <a:ln w="12700" cap="flat">
              <a:noFill/>
              <a:prstDash val="solid"/>
              <a:miter/>
            </a:ln>
          </p:spPr>
          <p:txBody>
            <a:bodyPr rtlCol="0" anchor="ctr"/>
            <a:lstStyle/>
            <a:p>
              <a:endParaRPr lang="en-US"/>
            </a:p>
          </p:txBody>
        </p:sp>
        <p:sp>
          <p:nvSpPr>
            <p:cNvPr id="1880" name="Freeform: Shape 1879">
              <a:extLst>
                <a:ext uri="{FF2B5EF4-FFF2-40B4-BE49-F238E27FC236}">
                  <a16:creationId xmlns:a16="http://schemas.microsoft.com/office/drawing/2014/main" id="{ACB54ECB-3E5B-4200-A09A-28A815864284}"/>
                </a:ext>
              </a:extLst>
            </p:cNvPr>
            <p:cNvSpPr/>
            <p:nvPr/>
          </p:nvSpPr>
          <p:spPr>
            <a:xfrm>
              <a:off x="1383318" y="6132758"/>
              <a:ext cx="47428" cy="14601"/>
            </a:xfrm>
            <a:custGeom>
              <a:avLst/>
              <a:gdLst>
                <a:gd name="connsiteX0" fmla="*/ 0 w 47428"/>
                <a:gd name="connsiteY0" fmla="*/ 7368 h 14601"/>
                <a:gd name="connsiteX1" fmla="*/ 7235 w 47428"/>
                <a:gd name="connsiteY1" fmla="*/ 14601 h 14601"/>
                <a:gd name="connsiteX2" fmla="*/ 47428 w 47428"/>
                <a:gd name="connsiteY2" fmla="*/ 14601 h 14601"/>
                <a:gd name="connsiteX3" fmla="*/ 40059 w 47428"/>
                <a:gd name="connsiteY3" fmla="*/ 7368 h 14601"/>
                <a:gd name="connsiteX4" fmla="*/ 47428 w 47428"/>
                <a:gd name="connsiteY4" fmla="*/ 0 h 14601"/>
                <a:gd name="connsiteX5" fmla="*/ 7235 w 47428"/>
                <a:gd name="connsiteY5" fmla="*/ 0 h 14601"/>
                <a:gd name="connsiteX6" fmla="*/ 0 w 4742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28" h="14601">
                  <a:moveTo>
                    <a:pt x="0" y="7368"/>
                  </a:moveTo>
                  <a:cubicBezTo>
                    <a:pt x="0" y="11360"/>
                    <a:pt x="3242" y="14601"/>
                    <a:pt x="7235" y="14601"/>
                  </a:cubicBezTo>
                  <a:lnTo>
                    <a:pt x="47428" y="14601"/>
                  </a:lnTo>
                  <a:cubicBezTo>
                    <a:pt x="43409" y="14601"/>
                    <a:pt x="40126" y="11386"/>
                    <a:pt x="40059" y="7368"/>
                  </a:cubicBezTo>
                  <a:cubicBezTo>
                    <a:pt x="40059" y="3295"/>
                    <a:pt x="43355" y="0"/>
                    <a:pt x="47428" y="0"/>
                  </a:cubicBezTo>
                  <a:lnTo>
                    <a:pt x="7235" y="0"/>
                  </a:lnTo>
                  <a:cubicBezTo>
                    <a:pt x="3215" y="67"/>
                    <a:pt x="0" y="3349"/>
                    <a:pt x="0" y="7368"/>
                  </a:cubicBezTo>
                  <a:close/>
                </a:path>
              </a:pathLst>
            </a:custGeom>
            <a:solidFill>
              <a:srgbClr val="000000"/>
            </a:solidFill>
            <a:ln w="12700" cap="flat">
              <a:noFill/>
              <a:prstDash val="solid"/>
              <a:miter/>
            </a:ln>
          </p:spPr>
          <p:txBody>
            <a:bodyPr rtlCol="0" anchor="ctr"/>
            <a:lstStyle/>
            <a:p>
              <a:endParaRPr lang="en-US"/>
            </a:p>
          </p:txBody>
        </p:sp>
        <p:sp>
          <p:nvSpPr>
            <p:cNvPr id="1881" name="Freeform: Shape 1880">
              <a:extLst>
                <a:ext uri="{FF2B5EF4-FFF2-40B4-BE49-F238E27FC236}">
                  <a16:creationId xmlns:a16="http://schemas.microsoft.com/office/drawing/2014/main" id="{230F376E-B272-4E54-AF81-F6BE8099B390}"/>
                </a:ext>
              </a:extLst>
            </p:cNvPr>
            <p:cNvSpPr/>
            <p:nvPr/>
          </p:nvSpPr>
          <p:spPr>
            <a:xfrm>
              <a:off x="4064476" y="6537441"/>
              <a:ext cx="14603" cy="8305"/>
            </a:xfrm>
            <a:custGeom>
              <a:avLst/>
              <a:gdLst>
                <a:gd name="connsiteX0" fmla="*/ 7369 w 14603"/>
                <a:gd name="connsiteY0" fmla="*/ 8305 h 8305"/>
                <a:gd name="connsiteX1" fmla="*/ 14604 w 14603"/>
                <a:gd name="connsiteY1" fmla="*/ 938 h 8305"/>
                <a:gd name="connsiteX2" fmla="*/ 14604 w 14603"/>
                <a:gd name="connsiteY2" fmla="*/ 0 h 8305"/>
                <a:gd name="connsiteX3" fmla="*/ 7369 w 14603"/>
                <a:gd name="connsiteY3" fmla="*/ 7234 h 8305"/>
                <a:gd name="connsiteX4" fmla="*/ 0 w 14603"/>
                <a:gd name="connsiteY4" fmla="*/ 0 h 8305"/>
                <a:gd name="connsiteX5" fmla="*/ 0 w 14603"/>
                <a:gd name="connsiteY5" fmla="*/ 938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88" y="8238"/>
                    <a:pt x="14604" y="4956"/>
                    <a:pt x="14604" y="938"/>
                  </a:cubicBezTo>
                  <a:lnTo>
                    <a:pt x="14604" y="0"/>
                  </a:lnTo>
                  <a:cubicBezTo>
                    <a:pt x="14604" y="3992"/>
                    <a:pt x="11361" y="7234"/>
                    <a:pt x="7369" y="7234"/>
                  </a:cubicBezTo>
                  <a:cubicBezTo>
                    <a:pt x="3349" y="7234"/>
                    <a:pt x="67" y="4019"/>
                    <a:pt x="0" y="0"/>
                  </a:cubicBezTo>
                  <a:lnTo>
                    <a:pt x="0" y="938"/>
                  </a:lnTo>
                  <a:cubicBezTo>
                    <a:pt x="0" y="5010"/>
                    <a:pt x="3296" y="8305"/>
                    <a:pt x="7369" y="8305"/>
                  </a:cubicBezTo>
                  <a:close/>
                </a:path>
              </a:pathLst>
            </a:custGeom>
            <a:solidFill>
              <a:srgbClr val="000000"/>
            </a:solidFill>
            <a:ln w="12700" cap="flat">
              <a:noFill/>
              <a:prstDash val="solid"/>
              <a:miter/>
            </a:ln>
          </p:spPr>
          <p:txBody>
            <a:bodyPr rtlCol="0" anchor="ctr"/>
            <a:lstStyle/>
            <a:p>
              <a:endParaRPr lang="en-US"/>
            </a:p>
          </p:txBody>
        </p:sp>
        <p:sp>
          <p:nvSpPr>
            <p:cNvPr id="1882" name="Freeform: Shape 1881">
              <a:extLst>
                <a:ext uri="{FF2B5EF4-FFF2-40B4-BE49-F238E27FC236}">
                  <a16:creationId xmlns:a16="http://schemas.microsoft.com/office/drawing/2014/main" id="{7677122B-FDA2-466D-B7DC-1719C7FE4120}"/>
                </a:ext>
              </a:extLst>
            </p:cNvPr>
            <p:cNvSpPr/>
            <p:nvPr/>
          </p:nvSpPr>
          <p:spPr>
            <a:xfrm>
              <a:off x="4064476" y="5888421"/>
              <a:ext cx="14603" cy="656253"/>
            </a:xfrm>
            <a:custGeom>
              <a:avLst/>
              <a:gdLst>
                <a:gd name="connsiteX0" fmla="*/ 0 w 14603"/>
                <a:gd name="connsiteY0" fmla="*/ 7368 h 656253"/>
                <a:gd name="connsiteX1" fmla="*/ 0 w 14603"/>
                <a:gd name="connsiteY1" fmla="*/ 649020 h 656253"/>
                <a:gd name="connsiteX2" fmla="*/ 7369 w 14603"/>
                <a:gd name="connsiteY2" fmla="*/ 656254 h 656253"/>
                <a:gd name="connsiteX3" fmla="*/ 14604 w 14603"/>
                <a:gd name="connsiteY3" fmla="*/ 649020 h 656253"/>
                <a:gd name="connsiteX4" fmla="*/ 14604 w 14603"/>
                <a:gd name="connsiteY4" fmla="*/ 7368 h 656253"/>
                <a:gd name="connsiteX5" fmla="*/ 7369 w 14603"/>
                <a:gd name="connsiteY5" fmla="*/ 0 h 656253"/>
                <a:gd name="connsiteX6" fmla="*/ 0 w 14603"/>
                <a:gd name="connsiteY6" fmla="*/ 7368 h 65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6253">
                  <a:moveTo>
                    <a:pt x="0" y="7368"/>
                  </a:moveTo>
                  <a:lnTo>
                    <a:pt x="0" y="649020"/>
                  </a:lnTo>
                  <a:cubicBezTo>
                    <a:pt x="67" y="653039"/>
                    <a:pt x="3349" y="656254"/>
                    <a:pt x="7369" y="656254"/>
                  </a:cubicBezTo>
                  <a:cubicBezTo>
                    <a:pt x="11361" y="656254"/>
                    <a:pt x="14604" y="653012"/>
                    <a:pt x="14604" y="649020"/>
                  </a:cubicBezTo>
                  <a:lnTo>
                    <a:pt x="14604" y="7368"/>
                  </a:lnTo>
                  <a:cubicBezTo>
                    <a:pt x="14604" y="3350"/>
                    <a:pt x="11388" y="74"/>
                    <a:pt x="7369" y="0"/>
                  </a:cubicBezTo>
                  <a:cubicBezTo>
                    <a:pt x="3296" y="0"/>
                    <a:pt x="0" y="3298"/>
                    <a:pt x="0" y="7368"/>
                  </a:cubicBezTo>
                  <a:close/>
                </a:path>
              </a:pathLst>
            </a:custGeom>
            <a:solidFill>
              <a:srgbClr val="000000"/>
            </a:solidFill>
            <a:ln w="12700" cap="flat">
              <a:noFill/>
              <a:prstDash val="solid"/>
              <a:miter/>
            </a:ln>
          </p:spPr>
          <p:txBody>
            <a:bodyPr rtlCol="0" anchor="ctr"/>
            <a:lstStyle/>
            <a:p>
              <a:endParaRPr lang="en-US"/>
            </a:p>
          </p:txBody>
        </p:sp>
        <p:sp>
          <p:nvSpPr>
            <p:cNvPr id="1883" name="Freeform: Shape 1882">
              <a:extLst>
                <a:ext uri="{FF2B5EF4-FFF2-40B4-BE49-F238E27FC236}">
                  <a16:creationId xmlns:a16="http://schemas.microsoft.com/office/drawing/2014/main" id="{45700BA3-7EA5-484C-BE28-3BB70527C1DA}"/>
                </a:ext>
              </a:extLst>
            </p:cNvPr>
            <p:cNvSpPr/>
            <p:nvPr/>
          </p:nvSpPr>
          <p:spPr>
            <a:xfrm>
              <a:off x="1424047" y="6132758"/>
              <a:ext cx="10718" cy="14601"/>
            </a:xfrm>
            <a:custGeom>
              <a:avLst/>
              <a:gdLst>
                <a:gd name="connsiteX0" fmla="*/ 0 w 10718"/>
                <a:gd name="connsiteY0" fmla="*/ 7368 h 14601"/>
                <a:gd name="connsiteX1" fmla="*/ 7369 w 10718"/>
                <a:gd name="connsiteY1" fmla="*/ 14601 h 14601"/>
                <a:gd name="connsiteX2" fmla="*/ 10718 w 10718"/>
                <a:gd name="connsiteY2" fmla="*/ 14601 h 14601"/>
                <a:gd name="connsiteX3" fmla="*/ 3483 w 10718"/>
                <a:gd name="connsiteY3" fmla="*/ 7368 h 14601"/>
                <a:gd name="connsiteX4" fmla="*/ 10718 w 10718"/>
                <a:gd name="connsiteY4" fmla="*/ 0 h 14601"/>
                <a:gd name="connsiteX5" fmla="*/ 7369 w 10718"/>
                <a:gd name="connsiteY5" fmla="*/ 0 h 14601"/>
                <a:gd name="connsiteX6" fmla="*/ 0 w 1071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8" h="14601">
                  <a:moveTo>
                    <a:pt x="0" y="7368"/>
                  </a:moveTo>
                  <a:cubicBezTo>
                    <a:pt x="67" y="11386"/>
                    <a:pt x="3349" y="14601"/>
                    <a:pt x="7369" y="14601"/>
                  </a:cubicBezTo>
                  <a:lnTo>
                    <a:pt x="10718" y="14601"/>
                  </a:lnTo>
                  <a:cubicBezTo>
                    <a:pt x="6726" y="14601"/>
                    <a:pt x="3483" y="11360"/>
                    <a:pt x="3483" y="7368"/>
                  </a:cubicBezTo>
                  <a:cubicBezTo>
                    <a:pt x="3483" y="3349"/>
                    <a:pt x="6699" y="67"/>
                    <a:pt x="10718" y="0"/>
                  </a:cubicBezTo>
                  <a:lnTo>
                    <a:pt x="7369" y="0"/>
                  </a:lnTo>
                  <a:cubicBezTo>
                    <a:pt x="3296" y="0"/>
                    <a:pt x="0" y="3295"/>
                    <a:pt x="0" y="7368"/>
                  </a:cubicBezTo>
                  <a:close/>
                </a:path>
              </a:pathLst>
            </a:custGeom>
            <a:solidFill>
              <a:srgbClr val="000000"/>
            </a:solidFill>
            <a:ln w="12700" cap="flat">
              <a:noFill/>
              <a:prstDash val="solid"/>
              <a:miter/>
            </a:ln>
          </p:spPr>
          <p:txBody>
            <a:bodyPr rtlCol="0" anchor="ctr"/>
            <a:lstStyle/>
            <a:p>
              <a:endParaRPr lang="en-US"/>
            </a:p>
          </p:txBody>
        </p:sp>
        <p:sp>
          <p:nvSpPr>
            <p:cNvPr id="1884" name="Freeform: Shape 1883">
              <a:extLst>
                <a:ext uri="{FF2B5EF4-FFF2-40B4-BE49-F238E27FC236}">
                  <a16:creationId xmlns:a16="http://schemas.microsoft.com/office/drawing/2014/main" id="{7FDC23AA-C65C-49AA-8B4C-9FF5E7E2B74D}"/>
                </a:ext>
              </a:extLst>
            </p:cNvPr>
            <p:cNvSpPr/>
            <p:nvPr/>
          </p:nvSpPr>
          <p:spPr>
            <a:xfrm>
              <a:off x="1427530" y="6134632"/>
              <a:ext cx="23020" cy="12726"/>
            </a:xfrm>
            <a:custGeom>
              <a:avLst/>
              <a:gdLst>
                <a:gd name="connsiteX0" fmla="*/ 0 w 23020"/>
                <a:gd name="connsiteY0" fmla="*/ 5493 h 12726"/>
                <a:gd name="connsiteX1" fmla="*/ 7235 w 23020"/>
                <a:gd name="connsiteY1" fmla="*/ 12727 h 12726"/>
                <a:gd name="connsiteX2" fmla="*/ 15675 w 23020"/>
                <a:gd name="connsiteY2" fmla="*/ 12727 h 12726"/>
                <a:gd name="connsiteX3" fmla="*/ 22910 w 23020"/>
                <a:gd name="connsiteY3" fmla="*/ 5493 h 12726"/>
                <a:gd name="connsiteX4" fmla="*/ 22910 w 23020"/>
                <a:gd name="connsiteY4" fmla="*/ 3350 h 12726"/>
                <a:gd name="connsiteX5" fmla="*/ 21972 w 23020"/>
                <a:gd name="connsiteY5" fmla="*/ 1340 h 12726"/>
                <a:gd name="connsiteX6" fmla="*/ 20900 w 23020"/>
                <a:gd name="connsiteY6" fmla="*/ 135 h 12726"/>
                <a:gd name="connsiteX7" fmla="*/ 19427 w 23020"/>
                <a:gd name="connsiteY7" fmla="*/ 1 h 12726"/>
                <a:gd name="connsiteX8" fmla="*/ 18221 w 23020"/>
                <a:gd name="connsiteY8" fmla="*/ 1 h 12726"/>
                <a:gd name="connsiteX9" fmla="*/ 16613 w 23020"/>
                <a:gd name="connsiteY9" fmla="*/ 1 h 12726"/>
                <a:gd name="connsiteX10" fmla="*/ 15675 w 23020"/>
                <a:gd name="connsiteY10" fmla="*/ 1 h 12726"/>
                <a:gd name="connsiteX11" fmla="*/ 7235 w 23020"/>
                <a:gd name="connsiteY11" fmla="*/ 1 h 12726"/>
                <a:gd name="connsiteX12" fmla="*/ 0 w 23020"/>
                <a:gd name="connsiteY12" fmla="*/ 5493 h 1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20" h="12726">
                  <a:moveTo>
                    <a:pt x="0" y="5493"/>
                  </a:moveTo>
                  <a:cubicBezTo>
                    <a:pt x="0" y="9485"/>
                    <a:pt x="3242" y="12727"/>
                    <a:pt x="7235" y="12727"/>
                  </a:cubicBezTo>
                  <a:lnTo>
                    <a:pt x="15675" y="12727"/>
                  </a:lnTo>
                  <a:cubicBezTo>
                    <a:pt x="19668" y="12727"/>
                    <a:pt x="22910" y="9485"/>
                    <a:pt x="22910" y="5493"/>
                  </a:cubicBezTo>
                  <a:cubicBezTo>
                    <a:pt x="23058" y="4783"/>
                    <a:pt x="23058" y="4060"/>
                    <a:pt x="22910" y="3350"/>
                  </a:cubicBezTo>
                  <a:cubicBezTo>
                    <a:pt x="22682" y="2640"/>
                    <a:pt x="22361" y="1970"/>
                    <a:pt x="21972" y="1340"/>
                  </a:cubicBezTo>
                  <a:lnTo>
                    <a:pt x="20900" y="135"/>
                  </a:lnTo>
                  <a:lnTo>
                    <a:pt x="19427" y="1"/>
                  </a:lnTo>
                  <a:lnTo>
                    <a:pt x="18221" y="1"/>
                  </a:lnTo>
                  <a:lnTo>
                    <a:pt x="16613" y="1"/>
                  </a:lnTo>
                  <a:lnTo>
                    <a:pt x="15675" y="1"/>
                  </a:lnTo>
                  <a:lnTo>
                    <a:pt x="7235" y="1"/>
                  </a:lnTo>
                  <a:cubicBezTo>
                    <a:pt x="3845" y="-53"/>
                    <a:pt x="857" y="2211"/>
                    <a:pt x="0" y="5493"/>
                  </a:cubicBezTo>
                  <a:close/>
                </a:path>
              </a:pathLst>
            </a:custGeom>
            <a:solidFill>
              <a:srgbClr val="000000"/>
            </a:solidFill>
            <a:ln w="12700" cap="flat">
              <a:noFill/>
              <a:prstDash val="solid"/>
              <a:miter/>
            </a:ln>
          </p:spPr>
          <p:txBody>
            <a:bodyPr rtlCol="0" anchor="ctr"/>
            <a:lstStyle/>
            <a:p>
              <a:endParaRPr lang="en-US"/>
            </a:p>
          </p:txBody>
        </p:sp>
        <p:sp>
          <p:nvSpPr>
            <p:cNvPr id="1885" name="Freeform: Shape 1884">
              <a:extLst>
                <a:ext uri="{FF2B5EF4-FFF2-40B4-BE49-F238E27FC236}">
                  <a16:creationId xmlns:a16="http://schemas.microsoft.com/office/drawing/2014/main" id="{14BFCC22-7477-432D-8221-2DB1056F98E1}"/>
                </a:ext>
              </a:extLst>
            </p:cNvPr>
            <p:cNvSpPr/>
            <p:nvPr/>
          </p:nvSpPr>
          <p:spPr>
            <a:xfrm>
              <a:off x="3416025" y="6491360"/>
              <a:ext cx="103966" cy="14601"/>
            </a:xfrm>
            <a:custGeom>
              <a:avLst/>
              <a:gdLst>
                <a:gd name="connsiteX0" fmla="*/ 7369 w 103966"/>
                <a:gd name="connsiteY0" fmla="*/ 14601 h 14601"/>
                <a:gd name="connsiteX1" fmla="*/ 96732 w 103966"/>
                <a:gd name="connsiteY1" fmla="*/ 14601 h 14601"/>
                <a:gd name="connsiteX2" fmla="*/ 103967 w 103966"/>
                <a:gd name="connsiteY2" fmla="*/ 7367 h 14601"/>
                <a:gd name="connsiteX3" fmla="*/ 96732 w 103966"/>
                <a:gd name="connsiteY3" fmla="*/ 0 h 14601"/>
                <a:gd name="connsiteX4" fmla="*/ 7369 w 103966"/>
                <a:gd name="connsiteY4" fmla="*/ 0 h 14601"/>
                <a:gd name="connsiteX5" fmla="*/ 0 w 103966"/>
                <a:gd name="connsiteY5" fmla="*/ 7367 h 14601"/>
                <a:gd name="connsiteX6" fmla="*/ 7369 w 103966"/>
                <a:gd name="connsiteY6"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66" h="14601">
                  <a:moveTo>
                    <a:pt x="7369" y="14601"/>
                  </a:moveTo>
                  <a:lnTo>
                    <a:pt x="96732" y="14601"/>
                  </a:lnTo>
                  <a:cubicBezTo>
                    <a:pt x="100724" y="14601"/>
                    <a:pt x="103967" y="11359"/>
                    <a:pt x="103967" y="7367"/>
                  </a:cubicBezTo>
                  <a:cubicBezTo>
                    <a:pt x="103967" y="3349"/>
                    <a:pt x="100751" y="67"/>
                    <a:pt x="96732" y="0"/>
                  </a:cubicBezTo>
                  <a:lnTo>
                    <a:pt x="7369" y="0"/>
                  </a:lnTo>
                  <a:cubicBezTo>
                    <a:pt x="3296" y="0"/>
                    <a:pt x="0" y="3295"/>
                    <a:pt x="0" y="7367"/>
                  </a:cubicBezTo>
                  <a:cubicBezTo>
                    <a:pt x="67" y="11386"/>
                    <a:pt x="3349" y="14601"/>
                    <a:pt x="7369" y="14601"/>
                  </a:cubicBezTo>
                  <a:close/>
                </a:path>
              </a:pathLst>
            </a:custGeom>
            <a:solidFill>
              <a:srgbClr val="000000"/>
            </a:solidFill>
            <a:ln w="12700" cap="flat">
              <a:noFill/>
              <a:prstDash val="solid"/>
              <a:miter/>
            </a:ln>
          </p:spPr>
          <p:txBody>
            <a:bodyPr rtlCol="0" anchor="ctr"/>
            <a:lstStyle/>
            <a:p>
              <a:endParaRPr lang="en-US"/>
            </a:p>
          </p:txBody>
        </p:sp>
        <p:sp>
          <p:nvSpPr>
            <p:cNvPr id="1886" name="Freeform: Shape 1885">
              <a:extLst>
                <a:ext uri="{FF2B5EF4-FFF2-40B4-BE49-F238E27FC236}">
                  <a16:creationId xmlns:a16="http://schemas.microsoft.com/office/drawing/2014/main" id="{7B2A7D1D-ABA2-48C7-AB96-7B48DD33631E}"/>
                </a:ext>
              </a:extLst>
            </p:cNvPr>
            <p:cNvSpPr/>
            <p:nvPr/>
          </p:nvSpPr>
          <p:spPr>
            <a:xfrm>
              <a:off x="4201790" y="6539039"/>
              <a:ext cx="2568" cy="314674"/>
            </a:xfrm>
            <a:custGeom>
              <a:avLst/>
              <a:gdLst>
                <a:gd name="connsiteX0" fmla="*/ 2559 w 2568"/>
                <a:gd name="connsiteY0" fmla="*/ 8315 h 314674"/>
                <a:gd name="connsiteX1" fmla="*/ 2559 w 2568"/>
                <a:gd name="connsiteY1" fmla="*/ 8315 h 314674"/>
                <a:gd name="connsiteX2" fmla="*/ 2559 w 2568"/>
                <a:gd name="connsiteY2" fmla="*/ 1350 h 314674"/>
                <a:gd name="connsiteX3" fmla="*/ 1501 w 2568"/>
                <a:gd name="connsiteY3" fmla="*/ 10 h 314674"/>
                <a:gd name="connsiteX4" fmla="*/ 1219 w 2568"/>
                <a:gd name="connsiteY4" fmla="*/ 10 h 314674"/>
                <a:gd name="connsiteX5" fmla="*/ 0 w 2568"/>
                <a:gd name="connsiteY5" fmla="*/ 1202 h 314674"/>
                <a:gd name="connsiteX6" fmla="*/ 13 w 2568"/>
                <a:gd name="connsiteY6" fmla="*/ 1350 h 314674"/>
                <a:gd name="connsiteX7" fmla="*/ 13 w 2568"/>
                <a:gd name="connsiteY7" fmla="*/ 314674 h 314674"/>
                <a:gd name="connsiteX8" fmla="*/ 2559 w 2568"/>
                <a:gd name="connsiteY8" fmla="*/ 314674 h 314674"/>
                <a:gd name="connsiteX9" fmla="*/ 2559 w 2568"/>
                <a:gd name="connsiteY9" fmla="*/ 8315 h 31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8" h="314674">
                  <a:moveTo>
                    <a:pt x="2559" y="8315"/>
                  </a:moveTo>
                  <a:lnTo>
                    <a:pt x="2559" y="8315"/>
                  </a:lnTo>
                  <a:lnTo>
                    <a:pt x="2559" y="1350"/>
                  </a:lnTo>
                  <a:cubicBezTo>
                    <a:pt x="2640" y="693"/>
                    <a:pt x="2171" y="90"/>
                    <a:pt x="1501" y="10"/>
                  </a:cubicBezTo>
                  <a:cubicBezTo>
                    <a:pt x="1407" y="-3"/>
                    <a:pt x="1313" y="-3"/>
                    <a:pt x="1219" y="10"/>
                  </a:cubicBezTo>
                  <a:cubicBezTo>
                    <a:pt x="550" y="10"/>
                    <a:pt x="13" y="546"/>
                    <a:pt x="0" y="1202"/>
                  </a:cubicBezTo>
                  <a:cubicBezTo>
                    <a:pt x="0" y="1256"/>
                    <a:pt x="13" y="1296"/>
                    <a:pt x="13" y="1350"/>
                  </a:cubicBezTo>
                  <a:lnTo>
                    <a:pt x="13" y="314674"/>
                  </a:lnTo>
                  <a:lnTo>
                    <a:pt x="2559" y="314674"/>
                  </a:lnTo>
                  <a:lnTo>
                    <a:pt x="2559" y="8315"/>
                  </a:lnTo>
                  <a:close/>
                </a:path>
              </a:pathLst>
            </a:custGeom>
            <a:solidFill>
              <a:srgbClr val="000000"/>
            </a:solidFill>
            <a:ln w="12700" cap="flat">
              <a:noFill/>
              <a:prstDash val="solid"/>
              <a:miter/>
            </a:ln>
          </p:spPr>
          <p:txBody>
            <a:bodyPr rtlCol="0" anchor="ctr"/>
            <a:lstStyle/>
            <a:p>
              <a:endParaRPr lang="en-US"/>
            </a:p>
          </p:txBody>
        </p:sp>
        <p:sp>
          <p:nvSpPr>
            <p:cNvPr id="1887" name="Freeform: Shape 1886">
              <a:extLst>
                <a:ext uri="{FF2B5EF4-FFF2-40B4-BE49-F238E27FC236}">
                  <a16:creationId xmlns:a16="http://schemas.microsoft.com/office/drawing/2014/main" id="{4BDC3268-9018-4987-8E3E-874CA18AD6D4}"/>
                </a:ext>
              </a:extLst>
            </p:cNvPr>
            <p:cNvSpPr/>
            <p:nvPr/>
          </p:nvSpPr>
          <p:spPr>
            <a:xfrm>
              <a:off x="2323438" y="5846091"/>
              <a:ext cx="14469" cy="698584"/>
            </a:xfrm>
            <a:custGeom>
              <a:avLst/>
              <a:gdLst>
                <a:gd name="connsiteX0" fmla="*/ 0 w 14469"/>
                <a:gd name="connsiteY0" fmla="*/ 7234 h 698584"/>
                <a:gd name="connsiteX1" fmla="*/ 0 w 14469"/>
                <a:gd name="connsiteY1" fmla="*/ 691351 h 698584"/>
                <a:gd name="connsiteX2" fmla="*/ 7235 w 14469"/>
                <a:gd name="connsiteY2" fmla="*/ 698584 h 698584"/>
                <a:gd name="connsiteX3" fmla="*/ 14470 w 14469"/>
                <a:gd name="connsiteY3" fmla="*/ 691351 h 698584"/>
                <a:gd name="connsiteX4" fmla="*/ 14470 w 14469"/>
                <a:gd name="connsiteY4" fmla="*/ 7234 h 698584"/>
                <a:gd name="connsiteX5" fmla="*/ 7235 w 14469"/>
                <a:gd name="connsiteY5" fmla="*/ 0 h 698584"/>
                <a:gd name="connsiteX6" fmla="*/ 0 w 14469"/>
                <a:gd name="connsiteY6" fmla="*/ 7234 h 69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698584">
                  <a:moveTo>
                    <a:pt x="0" y="7234"/>
                  </a:moveTo>
                  <a:lnTo>
                    <a:pt x="0" y="691351"/>
                  </a:lnTo>
                  <a:cubicBezTo>
                    <a:pt x="0" y="695342"/>
                    <a:pt x="3242" y="698584"/>
                    <a:pt x="7235" y="698584"/>
                  </a:cubicBezTo>
                  <a:cubicBezTo>
                    <a:pt x="11227" y="698584"/>
                    <a:pt x="14470" y="695342"/>
                    <a:pt x="14470" y="691351"/>
                  </a:cubicBezTo>
                  <a:lnTo>
                    <a:pt x="14470" y="7234"/>
                  </a:lnTo>
                  <a:cubicBezTo>
                    <a:pt x="14470" y="3239"/>
                    <a:pt x="11227" y="0"/>
                    <a:pt x="7235" y="0"/>
                  </a:cubicBezTo>
                  <a:cubicBezTo>
                    <a:pt x="3242" y="0"/>
                    <a:pt x="0" y="3239"/>
                    <a:pt x="0" y="7234"/>
                  </a:cubicBezTo>
                  <a:close/>
                </a:path>
              </a:pathLst>
            </a:custGeom>
            <a:solidFill>
              <a:srgbClr val="000000"/>
            </a:solidFill>
            <a:ln w="12700" cap="flat">
              <a:noFill/>
              <a:prstDash val="solid"/>
              <a:miter/>
            </a:ln>
          </p:spPr>
          <p:txBody>
            <a:bodyPr rtlCol="0" anchor="ctr"/>
            <a:lstStyle/>
            <a:p>
              <a:endParaRPr lang="en-US"/>
            </a:p>
          </p:txBody>
        </p:sp>
        <p:sp>
          <p:nvSpPr>
            <p:cNvPr id="1888" name="Freeform: Shape 1887">
              <a:extLst>
                <a:ext uri="{FF2B5EF4-FFF2-40B4-BE49-F238E27FC236}">
                  <a16:creationId xmlns:a16="http://schemas.microsoft.com/office/drawing/2014/main" id="{CC1817EA-818B-4C5A-BF44-B9EDF80E13E0}"/>
                </a:ext>
              </a:extLst>
            </p:cNvPr>
            <p:cNvSpPr/>
            <p:nvPr/>
          </p:nvSpPr>
          <p:spPr>
            <a:xfrm>
              <a:off x="4166517" y="5852951"/>
              <a:ext cx="13582" cy="109296"/>
            </a:xfrm>
            <a:custGeom>
              <a:avLst/>
              <a:gdLst>
                <a:gd name="connsiteX0" fmla="*/ 184 w 13582"/>
                <a:gd name="connsiteY0" fmla="*/ 103520 h 109296"/>
                <a:gd name="connsiteX1" fmla="*/ 184 w 13582"/>
                <a:gd name="connsiteY1" fmla="*/ 104994 h 109296"/>
                <a:gd name="connsiteX2" fmla="*/ 184 w 13582"/>
                <a:gd name="connsiteY2" fmla="*/ 106065 h 109296"/>
                <a:gd name="connsiteX3" fmla="*/ 1122 w 13582"/>
                <a:gd name="connsiteY3" fmla="*/ 107405 h 109296"/>
                <a:gd name="connsiteX4" fmla="*/ 1792 w 13582"/>
                <a:gd name="connsiteY4" fmla="*/ 108209 h 109296"/>
                <a:gd name="connsiteX5" fmla="*/ 3132 w 13582"/>
                <a:gd name="connsiteY5" fmla="*/ 109146 h 109296"/>
                <a:gd name="connsiteX6" fmla="*/ 3936 w 13582"/>
                <a:gd name="connsiteY6" fmla="*/ 109146 h 109296"/>
                <a:gd name="connsiteX7" fmla="*/ 6615 w 13582"/>
                <a:gd name="connsiteY7" fmla="*/ 109146 h 109296"/>
                <a:gd name="connsiteX8" fmla="*/ 9831 w 13582"/>
                <a:gd name="connsiteY8" fmla="*/ 108342 h 109296"/>
                <a:gd name="connsiteX9" fmla="*/ 9831 w 13582"/>
                <a:gd name="connsiteY9" fmla="*/ 108342 h 109296"/>
                <a:gd name="connsiteX10" fmla="*/ 13582 w 13582"/>
                <a:gd name="connsiteY10" fmla="*/ 102046 h 109296"/>
                <a:gd name="connsiteX11" fmla="*/ 13582 w 13582"/>
                <a:gd name="connsiteY11" fmla="*/ 6937 h 109296"/>
                <a:gd name="connsiteX12" fmla="*/ 8625 w 13582"/>
                <a:gd name="connsiteY12" fmla="*/ 106 h 109296"/>
                <a:gd name="connsiteX13" fmla="*/ 7151 w 13582"/>
                <a:gd name="connsiteY13" fmla="*/ 106 h 109296"/>
                <a:gd name="connsiteX14" fmla="*/ 6347 w 13582"/>
                <a:gd name="connsiteY14" fmla="*/ 106 h 109296"/>
                <a:gd name="connsiteX15" fmla="*/ 4204 w 13582"/>
                <a:gd name="connsiteY15" fmla="*/ 106 h 109296"/>
                <a:gd name="connsiteX16" fmla="*/ 2864 w 13582"/>
                <a:gd name="connsiteY16" fmla="*/ 106 h 109296"/>
                <a:gd name="connsiteX17" fmla="*/ 1658 w 13582"/>
                <a:gd name="connsiteY17" fmla="*/ 909 h 109296"/>
                <a:gd name="connsiteX18" fmla="*/ 720 w 13582"/>
                <a:gd name="connsiteY18" fmla="*/ 1847 h 109296"/>
                <a:gd name="connsiteX19" fmla="*/ 50 w 13582"/>
                <a:gd name="connsiteY19" fmla="*/ 3053 h 109296"/>
                <a:gd name="connsiteX20" fmla="*/ 50 w 13582"/>
                <a:gd name="connsiteY20" fmla="*/ 4258 h 109296"/>
                <a:gd name="connsiteX21" fmla="*/ 50 w 13582"/>
                <a:gd name="connsiteY21" fmla="*/ 5732 h 109296"/>
                <a:gd name="connsiteX22" fmla="*/ 50 w 13582"/>
                <a:gd name="connsiteY22" fmla="*/ 5732 h 109296"/>
                <a:gd name="connsiteX23" fmla="*/ 50 w 13582"/>
                <a:gd name="connsiteY23" fmla="*/ 101645 h 109296"/>
                <a:gd name="connsiteX24" fmla="*/ 184 w 13582"/>
                <a:gd name="connsiteY24" fmla="*/ 103520 h 10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582" h="109296">
                  <a:moveTo>
                    <a:pt x="184" y="103520"/>
                  </a:moveTo>
                  <a:cubicBezTo>
                    <a:pt x="104" y="104009"/>
                    <a:pt x="104" y="104505"/>
                    <a:pt x="184" y="104994"/>
                  </a:cubicBezTo>
                  <a:lnTo>
                    <a:pt x="184" y="106065"/>
                  </a:lnTo>
                  <a:cubicBezTo>
                    <a:pt x="412" y="106562"/>
                    <a:pt x="734" y="107015"/>
                    <a:pt x="1122" y="107405"/>
                  </a:cubicBezTo>
                  <a:lnTo>
                    <a:pt x="1792" y="108209"/>
                  </a:lnTo>
                  <a:lnTo>
                    <a:pt x="3132" y="109146"/>
                  </a:lnTo>
                  <a:cubicBezTo>
                    <a:pt x="3132" y="109146"/>
                    <a:pt x="3132" y="109146"/>
                    <a:pt x="3936" y="109146"/>
                  </a:cubicBezTo>
                  <a:cubicBezTo>
                    <a:pt x="4820" y="109347"/>
                    <a:pt x="5731" y="109347"/>
                    <a:pt x="6615" y="109146"/>
                  </a:cubicBezTo>
                  <a:cubicBezTo>
                    <a:pt x="7741" y="109164"/>
                    <a:pt x="8853" y="108886"/>
                    <a:pt x="9831" y="108342"/>
                  </a:cubicBezTo>
                  <a:lnTo>
                    <a:pt x="9831" y="108342"/>
                  </a:lnTo>
                  <a:cubicBezTo>
                    <a:pt x="12135" y="107079"/>
                    <a:pt x="13569" y="104671"/>
                    <a:pt x="13582" y="102046"/>
                  </a:cubicBezTo>
                  <a:lnTo>
                    <a:pt x="13582" y="6937"/>
                  </a:lnTo>
                  <a:cubicBezTo>
                    <a:pt x="13609" y="3819"/>
                    <a:pt x="11599" y="1047"/>
                    <a:pt x="8625" y="106"/>
                  </a:cubicBezTo>
                  <a:lnTo>
                    <a:pt x="7151" y="106"/>
                  </a:lnTo>
                  <a:lnTo>
                    <a:pt x="6347" y="106"/>
                  </a:lnTo>
                  <a:cubicBezTo>
                    <a:pt x="5637" y="-35"/>
                    <a:pt x="4914" y="-35"/>
                    <a:pt x="4204" y="106"/>
                  </a:cubicBezTo>
                  <a:lnTo>
                    <a:pt x="2864" y="106"/>
                  </a:lnTo>
                  <a:lnTo>
                    <a:pt x="1658" y="909"/>
                  </a:lnTo>
                  <a:cubicBezTo>
                    <a:pt x="1377" y="1255"/>
                    <a:pt x="1069" y="1570"/>
                    <a:pt x="720" y="1847"/>
                  </a:cubicBezTo>
                  <a:cubicBezTo>
                    <a:pt x="452" y="2219"/>
                    <a:pt x="224" y="2624"/>
                    <a:pt x="50" y="3053"/>
                  </a:cubicBezTo>
                  <a:cubicBezTo>
                    <a:pt x="-3" y="3453"/>
                    <a:pt x="-3" y="3858"/>
                    <a:pt x="50" y="4258"/>
                  </a:cubicBezTo>
                  <a:cubicBezTo>
                    <a:pt x="-17" y="4747"/>
                    <a:pt x="-17" y="5243"/>
                    <a:pt x="50" y="5732"/>
                  </a:cubicBezTo>
                  <a:cubicBezTo>
                    <a:pt x="50" y="5732"/>
                    <a:pt x="50" y="5732"/>
                    <a:pt x="50" y="5732"/>
                  </a:cubicBezTo>
                  <a:lnTo>
                    <a:pt x="50" y="101645"/>
                  </a:lnTo>
                  <a:cubicBezTo>
                    <a:pt x="50" y="101645"/>
                    <a:pt x="184" y="103252"/>
                    <a:pt x="184" y="103520"/>
                  </a:cubicBezTo>
                  <a:close/>
                </a:path>
              </a:pathLst>
            </a:custGeom>
            <a:solidFill>
              <a:srgbClr val="000000"/>
            </a:solidFill>
            <a:ln w="12700" cap="flat">
              <a:noFill/>
              <a:prstDash val="solid"/>
              <a:miter/>
            </a:ln>
          </p:spPr>
          <p:txBody>
            <a:bodyPr rtlCol="0" anchor="ctr"/>
            <a:lstStyle/>
            <a:p>
              <a:endParaRPr lang="en-US"/>
            </a:p>
          </p:txBody>
        </p:sp>
        <p:sp>
          <p:nvSpPr>
            <p:cNvPr id="1889" name="Freeform: Shape 1888">
              <a:extLst>
                <a:ext uri="{FF2B5EF4-FFF2-40B4-BE49-F238E27FC236}">
                  <a16:creationId xmlns:a16="http://schemas.microsoft.com/office/drawing/2014/main" id="{9EE56E6C-C8A1-404E-8247-3930FD9738A1}"/>
                </a:ext>
              </a:extLst>
            </p:cNvPr>
            <p:cNvSpPr/>
            <p:nvPr/>
          </p:nvSpPr>
          <p:spPr>
            <a:xfrm>
              <a:off x="306571" y="6105146"/>
              <a:ext cx="14707" cy="23459"/>
            </a:xfrm>
            <a:custGeom>
              <a:avLst/>
              <a:gdLst>
                <a:gd name="connsiteX0" fmla="*/ 13233 w 14707"/>
                <a:gd name="connsiteY0" fmla="*/ 4303 h 23459"/>
                <a:gd name="connsiteX1" fmla="*/ 11090 w 14707"/>
                <a:gd name="connsiteY1" fmla="*/ 1758 h 23459"/>
                <a:gd name="connsiteX2" fmla="*/ 2247 w 14707"/>
                <a:gd name="connsiteY2" fmla="*/ 1758 h 23459"/>
                <a:gd name="connsiteX3" fmla="*/ 103 w 14707"/>
                <a:gd name="connsiteY3" fmla="*/ 4303 h 23459"/>
                <a:gd name="connsiteX4" fmla="*/ 103 w 14707"/>
                <a:gd name="connsiteY4" fmla="*/ 6715 h 23459"/>
                <a:gd name="connsiteX5" fmla="*/ 103 w 14707"/>
                <a:gd name="connsiteY5" fmla="*/ 16092 h 23459"/>
                <a:gd name="connsiteX6" fmla="*/ 7338 w 14707"/>
                <a:gd name="connsiteY6" fmla="*/ 23459 h 23459"/>
                <a:gd name="connsiteX7" fmla="*/ 14707 w 14707"/>
                <a:gd name="connsiteY7" fmla="*/ 16092 h 23459"/>
                <a:gd name="connsiteX8" fmla="*/ 14707 w 14707"/>
                <a:gd name="connsiteY8" fmla="*/ 7652 h 23459"/>
                <a:gd name="connsiteX9" fmla="*/ 13233 w 14707"/>
                <a:gd name="connsiteY9" fmla="*/ 4303 h 2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 h="23459">
                  <a:moveTo>
                    <a:pt x="13233" y="4303"/>
                  </a:moveTo>
                  <a:cubicBezTo>
                    <a:pt x="12791" y="3259"/>
                    <a:pt x="12045" y="2374"/>
                    <a:pt x="11090" y="1758"/>
                  </a:cubicBezTo>
                  <a:cubicBezTo>
                    <a:pt x="8610" y="-586"/>
                    <a:pt x="4727" y="-586"/>
                    <a:pt x="2247" y="1758"/>
                  </a:cubicBezTo>
                  <a:cubicBezTo>
                    <a:pt x="1325" y="2415"/>
                    <a:pt x="587" y="3285"/>
                    <a:pt x="103" y="4303"/>
                  </a:cubicBezTo>
                  <a:cubicBezTo>
                    <a:pt x="-34" y="5107"/>
                    <a:pt x="-34" y="5911"/>
                    <a:pt x="103" y="6715"/>
                  </a:cubicBezTo>
                  <a:lnTo>
                    <a:pt x="103" y="16092"/>
                  </a:lnTo>
                  <a:cubicBezTo>
                    <a:pt x="102" y="20110"/>
                    <a:pt x="3322" y="23392"/>
                    <a:pt x="7338" y="23459"/>
                  </a:cubicBezTo>
                  <a:cubicBezTo>
                    <a:pt x="11409" y="23459"/>
                    <a:pt x="14707" y="20164"/>
                    <a:pt x="14707" y="16092"/>
                  </a:cubicBezTo>
                  <a:lnTo>
                    <a:pt x="14707" y="7652"/>
                  </a:lnTo>
                  <a:cubicBezTo>
                    <a:pt x="14479" y="6433"/>
                    <a:pt x="13976" y="5295"/>
                    <a:pt x="13233" y="4303"/>
                  </a:cubicBezTo>
                  <a:close/>
                </a:path>
              </a:pathLst>
            </a:custGeom>
            <a:solidFill>
              <a:srgbClr val="000000"/>
            </a:solidFill>
            <a:ln w="12700" cap="flat">
              <a:noFill/>
              <a:prstDash val="solid"/>
              <a:miter/>
            </a:ln>
          </p:spPr>
          <p:txBody>
            <a:bodyPr rtlCol="0" anchor="ctr"/>
            <a:lstStyle/>
            <a:p>
              <a:endParaRPr lang="en-US"/>
            </a:p>
          </p:txBody>
        </p:sp>
      </p:grpSp>
      <p:sp>
        <p:nvSpPr>
          <p:cNvPr id="959" name="Footer Placeholder 4">
            <a:extLst>
              <a:ext uri="{FF2B5EF4-FFF2-40B4-BE49-F238E27FC236}">
                <a16:creationId xmlns:a16="http://schemas.microsoft.com/office/drawing/2014/main" id="{FDDDAD91-4E9B-42FC-AE96-7FAC49BC7505}"/>
              </a:ext>
            </a:extLst>
          </p:cNvPr>
          <p:cNvSpPr>
            <a:spLocks noGrp="1"/>
          </p:cNvSpPr>
          <p:nvPr>
            <p:ph type="ftr" sz="quarter" idx="11"/>
          </p:nvPr>
        </p:nvSpPr>
        <p:spPr>
          <a:xfrm>
            <a:off x="4038600" y="6356350"/>
            <a:ext cx="4114800" cy="365125"/>
          </a:xfrm>
        </p:spPr>
        <p:txBody>
          <a:bodyPr/>
          <a:lstStyle>
            <a:lvl1pPr>
              <a:defRPr>
                <a:solidFill>
                  <a:schemeClr val="bg1"/>
                </a:solidFill>
              </a:defRPr>
            </a:lvl1pPr>
          </a:lstStyle>
          <a:p>
            <a:r>
              <a:rPr lang="en-US"/>
              <a:t>Pitch deck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bg1"/>
                </a:solidFill>
              </a:defRPr>
            </a:lvl1pPr>
          </a:lstStyle>
          <a:p>
            <a:r>
              <a:rPr lang="en-US"/>
              <a:t>7/1/20XX</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bg1"/>
                </a:solidFill>
              </a:defRPr>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1798524139"/>
      </p:ext>
    </p:extLst>
  </p:cSld>
  <p:clrMapOvr>
    <a:masterClrMapping/>
  </p:clrMapOvr>
  <p:extLst>
    <p:ext uri="{DCECCB84-F9BA-43D5-87BE-67443E8EF086}">
      <p15:sldGuideLst xmlns:p15="http://schemas.microsoft.com/office/powerpoint/2012/main">
        <p15:guide id="1" pos="3840" userDrawn="1">
          <p15:clr>
            <a:srgbClr val="FBAE40"/>
          </p15:clr>
        </p15:guide>
        <p15:guide id="2" pos="576" userDrawn="1">
          <p15:clr>
            <a:srgbClr val="FBAE40"/>
          </p15:clr>
        </p15:guide>
        <p15:guide id="3" pos="70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E034D-C1DD-48C0-BB6B-FDC6F8EBA558}"/>
              </a:ext>
            </a:extLst>
          </p:cNvPr>
          <p:cNvSpPr>
            <a:spLocks noGrp="1"/>
          </p:cNvSpPr>
          <p:nvPr>
            <p:ph type="title"/>
          </p:nvPr>
        </p:nvSpPr>
        <p:spPr>
          <a:xfrm>
            <a:off x="1572768" y="704088"/>
            <a:ext cx="9052560" cy="640080"/>
          </a:xfrm>
        </p:spPr>
        <p:txBody>
          <a:bodyPr/>
          <a:lstStyle>
            <a:lvl1pPr algn="ctr">
              <a:defRPr baseline="0"/>
            </a:lvl1pPr>
          </a:lstStyle>
          <a:p>
            <a:r>
              <a:rPr lang="en-US"/>
              <a:t>Click to edit Master title style</a:t>
            </a:r>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hasCustomPrompt="1"/>
          </p:nvPr>
        </p:nvSpPr>
        <p:spPr>
          <a:xfrm>
            <a:off x="923544" y="2002536"/>
            <a:ext cx="4901184" cy="393192"/>
          </a:xfrm>
        </p:spPr>
        <p:txBody>
          <a:bodyPr anchor="b">
            <a:normAutofit/>
          </a:bodyPr>
          <a:lstStyle>
            <a:lvl1pPr marL="0" indent="0">
              <a:buNone/>
              <a:defRPr sz="14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p:nvPr>
        </p:nvSpPr>
        <p:spPr>
          <a:xfrm>
            <a:off x="923544" y="2670048"/>
            <a:ext cx="4901184"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6364224" y="2002536"/>
            <a:ext cx="5166360" cy="393192"/>
          </a:xfrm>
        </p:spPr>
        <p:txBody>
          <a:bodyPr anchor="b">
            <a:normAutofit/>
          </a:bodyPr>
          <a:lstStyle>
            <a:lvl1pPr marL="0" indent="0">
              <a:buNone/>
              <a:defRPr sz="14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p:nvPr>
        </p:nvSpPr>
        <p:spPr>
          <a:xfrm>
            <a:off x="6364224" y="2532888"/>
            <a:ext cx="51663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a:lstStyle/>
          <a:p>
            <a:r>
              <a:rPr lang="en-US"/>
              <a:t>7/1/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a:lstStyle/>
          <a:p>
            <a:r>
              <a:rPr lang="en-US"/>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10" name="Text Placeholder 9">
            <a:extLst>
              <a:ext uri="{FF2B5EF4-FFF2-40B4-BE49-F238E27FC236}">
                <a16:creationId xmlns:a16="http://schemas.microsoft.com/office/drawing/2014/main" id="{870B9ACD-DA59-4E9B-AB31-746215B733B6}"/>
              </a:ext>
            </a:extLst>
          </p:cNvPr>
          <p:cNvSpPr>
            <a:spLocks noGrp="1"/>
          </p:cNvSpPr>
          <p:nvPr>
            <p:ph type="body" sz="quarter" idx="14" hasCustomPrompt="1"/>
          </p:nvPr>
        </p:nvSpPr>
        <p:spPr>
          <a:xfrm>
            <a:off x="1572768" y="1389888"/>
            <a:ext cx="9052560" cy="395859"/>
          </a:xfrm>
        </p:spPr>
        <p:txBody>
          <a:bodyPr>
            <a:noAutofit/>
          </a:bodyPr>
          <a:lstStyle>
            <a:lvl1pPr marL="0" indent="0" algn="ctr">
              <a:lnSpc>
                <a:spcPts val="2600"/>
              </a:lnSpc>
              <a:spcBef>
                <a:spcPts val="0"/>
              </a:spcBef>
              <a:buNone/>
              <a:defRPr sz="1800" b="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Tree>
    <p:extLst>
      <p:ext uri="{BB962C8B-B14F-4D97-AF65-F5344CB8AC3E}">
        <p14:creationId xmlns:p14="http://schemas.microsoft.com/office/powerpoint/2010/main" val="6926302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normAutofit/>
          </a:bodyPr>
          <a:lstStyle>
            <a:lvl1pPr>
              <a:defRPr sz="3800" cap="all" baseline="0">
                <a:solidFill>
                  <a:schemeClr val="tx1"/>
                </a:solidFill>
              </a:defRPr>
            </a:lvl1pPr>
          </a:lstStyle>
          <a:p>
            <a:r>
              <a:rPr lang="en-US"/>
              <a:t>Click to edit Master title style</a:t>
            </a:r>
            <a:endParaRPr lang="en-ZA"/>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solidFill>
              </a:defRPr>
            </a:lvl1pPr>
          </a:lstStyle>
          <a:p>
            <a:r>
              <a:rPr lang="en-ZA"/>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solidFill>
              </a:defRPr>
            </a:lvl1pPr>
          </a:lstStyle>
          <a:p>
            <a:fld id="{19B51A1E-902D-48AF-9020-955120F399B6}" type="slidenum">
              <a:rPr lang="en-ZA" smtClean="0"/>
              <a:pPr/>
              <a:t>‹#›</a:t>
            </a:fld>
            <a:endParaRPr lang="en-ZA"/>
          </a:p>
        </p:txBody>
      </p:sp>
      <p:sp>
        <p:nvSpPr>
          <p:cNvPr id="39" name="Text Placeholder 10">
            <a:extLst>
              <a:ext uri="{FF2B5EF4-FFF2-40B4-BE49-F238E27FC236}">
                <a16:creationId xmlns:a16="http://schemas.microsoft.com/office/drawing/2014/main" id="{FC6A7536-E874-4947-87B9-7BBDD96382DC}"/>
              </a:ext>
            </a:extLst>
          </p:cNvPr>
          <p:cNvSpPr>
            <a:spLocks noGrp="1"/>
          </p:cNvSpPr>
          <p:nvPr>
            <p:ph type="body" sz="quarter" idx="33" hasCustomPrompt="1"/>
          </p:nvPr>
        </p:nvSpPr>
        <p:spPr>
          <a:xfrm>
            <a:off x="914399" y="3422952"/>
            <a:ext cx="731520" cy="457200"/>
          </a:xfrm>
        </p:spPr>
        <p:txBody>
          <a:bodyPr anchor="ctr"/>
          <a:lstStyle>
            <a:lvl1pPr marL="0" indent="0" algn="ctr">
              <a:buNone/>
              <a:defRPr sz="1400" b="1">
                <a:solidFill>
                  <a:schemeClr val="tx1"/>
                </a:solidFill>
                <a:latin typeface="+mj-lt"/>
              </a:defRPr>
            </a:lvl1pPr>
          </a:lstStyle>
          <a:p>
            <a:pPr lvl="0"/>
            <a:r>
              <a:rPr lang="en-US"/>
              <a:t>Year</a:t>
            </a:r>
            <a:endParaRPr lang="en-ZA"/>
          </a:p>
        </p:txBody>
      </p:sp>
      <p:sp>
        <p:nvSpPr>
          <p:cNvPr id="40" name="Text Placeholder 10">
            <a:extLst>
              <a:ext uri="{FF2B5EF4-FFF2-40B4-BE49-F238E27FC236}">
                <a16:creationId xmlns:a16="http://schemas.microsoft.com/office/drawing/2014/main" id="{2EE2019A-1A0B-4D25-BAE2-71B69BA97418}"/>
              </a:ext>
            </a:extLst>
          </p:cNvPr>
          <p:cNvSpPr>
            <a:spLocks noGrp="1"/>
          </p:cNvSpPr>
          <p:nvPr>
            <p:ph type="body" sz="quarter" idx="34" hasCustomPrompt="1"/>
          </p:nvPr>
        </p:nvSpPr>
        <p:spPr>
          <a:xfrm>
            <a:off x="196596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1" name="Text Placeholder 10">
            <a:extLst>
              <a:ext uri="{FF2B5EF4-FFF2-40B4-BE49-F238E27FC236}">
                <a16:creationId xmlns:a16="http://schemas.microsoft.com/office/drawing/2014/main" id="{2FA81285-377E-4F1B-A411-6ADAE6E2E2FF}"/>
              </a:ext>
            </a:extLst>
          </p:cNvPr>
          <p:cNvSpPr>
            <a:spLocks noGrp="1"/>
          </p:cNvSpPr>
          <p:nvPr>
            <p:ph type="body" sz="quarter" idx="35" hasCustomPrompt="1"/>
          </p:nvPr>
        </p:nvSpPr>
        <p:spPr>
          <a:xfrm>
            <a:off x="275388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2" name="Text Placeholder 10">
            <a:extLst>
              <a:ext uri="{FF2B5EF4-FFF2-40B4-BE49-F238E27FC236}">
                <a16:creationId xmlns:a16="http://schemas.microsoft.com/office/drawing/2014/main" id="{CF13316C-EA9D-400F-83D5-7011014DC94D}"/>
              </a:ext>
            </a:extLst>
          </p:cNvPr>
          <p:cNvSpPr>
            <a:spLocks noGrp="1"/>
          </p:cNvSpPr>
          <p:nvPr>
            <p:ph type="body" sz="quarter" idx="36" hasCustomPrompt="1"/>
          </p:nvPr>
        </p:nvSpPr>
        <p:spPr>
          <a:xfrm>
            <a:off x="354180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3" name="Text Placeholder 10">
            <a:extLst>
              <a:ext uri="{FF2B5EF4-FFF2-40B4-BE49-F238E27FC236}">
                <a16:creationId xmlns:a16="http://schemas.microsoft.com/office/drawing/2014/main" id="{D3F29D29-DF16-44B2-B0BB-3B5E6BDB7E8C}"/>
              </a:ext>
            </a:extLst>
          </p:cNvPr>
          <p:cNvSpPr>
            <a:spLocks noGrp="1"/>
          </p:cNvSpPr>
          <p:nvPr>
            <p:ph type="body" sz="quarter" idx="37" hasCustomPrompt="1"/>
          </p:nvPr>
        </p:nvSpPr>
        <p:spPr>
          <a:xfrm>
            <a:off x="432972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4" name="Text Placeholder 10">
            <a:extLst>
              <a:ext uri="{FF2B5EF4-FFF2-40B4-BE49-F238E27FC236}">
                <a16:creationId xmlns:a16="http://schemas.microsoft.com/office/drawing/2014/main" id="{C7A5AAEF-B3B1-437E-B061-56D207453385}"/>
              </a:ext>
            </a:extLst>
          </p:cNvPr>
          <p:cNvSpPr>
            <a:spLocks noGrp="1"/>
          </p:cNvSpPr>
          <p:nvPr>
            <p:ph type="body" sz="quarter" idx="38" hasCustomPrompt="1"/>
          </p:nvPr>
        </p:nvSpPr>
        <p:spPr>
          <a:xfrm>
            <a:off x="914400" y="4224228"/>
            <a:ext cx="731520" cy="457200"/>
          </a:xfrm>
        </p:spPr>
        <p:txBody>
          <a:bodyPr anchor="ctr"/>
          <a:lstStyle>
            <a:lvl1pPr marL="0" indent="0" algn="ctr">
              <a:buNone/>
              <a:defRPr sz="1400" b="1">
                <a:solidFill>
                  <a:schemeClr val="tx1"/>
                </a:solidFill>
                <a:latin typeface="+mj-lt"/>
              </a:defRPr>
            </a:lvl1pPr>
          </a:lstStyle>
          <a:p>
            <a:pPr lvl="0"/>
            <a:r>
              <a:rPr lang="en-US"/>
              <a:t>Year</a:t>
            </a:r>
            <a:endParaRPr lang="en-ZA"/>
          </a:p>
        </p:txBody>
      </p:sp>
      <p:sp>
        <p:nvSpPr>
          <p:cNvPr id="45" name="Text Placeholder 10">
            <a:extLst>
              <a:ext uri="{FF2B5EF4-FFF2-40B4-BE49-F238E27FC236}">
                <a16:creationId xmlns:a16="http://schemas.microsoft.com/office/drawing/2014/main" id="{46F5413B-3B9F-4F5F-BC98-1E1665183D38}"/>
              </a:ext>
            </a:extLst>
          </p:cNvPr>
          <p:cNvSpPr>
            <a:spLocks noGrp="1"/>
          </p:cNvSpPr>
          <p:nvPr>
            <p:ph type="body" sz="quarter" idx="39" hasCustomPrompt="1"/>
          </p:nvPr>
        </p:nvSpPr>
        <p:spPr>
          <a:xfrm>
            <a:off x="511764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6" name="Text Placeholder 10">
            <a:extLst>
              <a:ext uri="{FF2B5EF4-FFF2-40B4-BE49-F238E27FC236}">
                <a16:creationId xmlns:a16="http://schemas.microsoft.com/office/drawing/2014/main" id="{811B74C5-AA62-45A7-AD20-F342A2D5D904}"/>
              </a:ext>
            </a:extLst>
          </p:cNvPr>
          <p:cNvSpPr>
            <a:spLocks noGrp="1"/>
          </p:cNvSpPr>
          <p:nvPr>
            <p:ph type="body" sz="quarter" idx="40" hasCustomPrompt="1"/>
          </p:nvPr>
        </p:nvSpPr>
        <p:spPr>
          <a:xfrm>
            <a:off x="590556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7" name="Text Placeholder 10">
            <a:extLst>
              <a:ext uri="{FF2B5EF4-FFF2-40B4-BE49-F238E27FC236}">
                <a16:creationId xmlns:a16="http://schemas.microsoft.com/office/drawing/2014/main" id="{FA00752C-760E-4D6D-B38E-ED20B3595666}"/>
              </a:ext>
            </a:extLst>
          </p:cNvPr>
          <p:cNvSpPr>
            <a:spLocks noGrp="1"/>
          </p:cNvSpPr>
          <p:nvPr>
            <p:ph type="body" sz="quarter" idx="41" hasCustomPrompt="1"/>
          </p:nvPr>
        </p:nvSpPr>
        <p:spPr>
          <a:xfrm>
            <a:off x="669348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8" name="Text Placeholder 10">
            <a:extLst>
              <a:ext uri="{FF2B5EF4-FFF2-40B4-BE49-F238E27FC236}">
                <a16:creationId xmlns:a16="http://schemas.microsoft.com/office/drawing/2014/main" id="{1FE58499-6C3A-48E2-90DE-27CDE58AAE3C}"/>
              </a:ext>
            </a:extLst>
          </p:cNvPr>
          <p:cNvSpPr>
            <a:spLocks noGrp="1"/>
          </p:cNvSpPr>
          <p:nvPr>
            <p:ph type="body" sz="quarter" idx="42" hasCustomPrompt="1"/>
          </p:nvPr>
        </p:nvSpPr>
        <p:spPr>
          <a:xfrm>
            <a:off x="905724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49" name="Text Placeholder 10">
            <a:extLst>
              <a:ext uri="{FF2B5EF4-FFF2-40B4-BE49-F238E27FC236}">
                <a16:creationId xmlns:a16="http://schemas.microsoft.com/office/drawing/2014/main" id="{0095F8F9-37B7-4167-AC03-EE11AD5DB250}"/>
              </a:ext>
            </a:extLst>
          </p:cNvPr>
          <p:cNvSpPr>
            <a:spLocks noGrp="1"/>
          </p:cNvSpPr>
          <p:nvPr>
            <p:ph type="body" sz="quarter" idx="43" hasCustomPrompt="1"/>
          </p:nvPr>
        </p:nvSpPr>
        <p:spPr>
          <a:xfrm>
            <a:off x="748140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0" name="Text Placeholder 10">
            <a:extLst>
              <a:ext uri="{FF2B5EF4-FFF2-40B4-BE49-F238E27FC236}">
                <a16:creationId xmlns:a16="http://schemas.microsoft.com/office/drawing/2014/main" id="{F1B27D52-5A0D-4223-9B94-D994052FBCB0}"/>
              </a:ext>
            </a:extLst>
          </p:cNvPr>
          <p:cNvSpPr>
            <a:spLocks noGrp="1"/>
          </p:cNvSpPr>
          <p:nvPr>
            <p:ph type="body" sz="quarter" idx="44" hasCustomPrompt="1"/>
          </p:nvPr>
        </p:nvSpPr>
        <p:spPr>
          <a:xfrm>
            <a:off x="826932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1" name="Text Placeholder 10">
            <a:extLst>
              <a:ext uri="{FF2B5EF4-FFF2-40B4-BE49-F238E27FC236}">
                <a16:creationId xmlns:a16="http://schemas.microsoft.com/office/drawing/2014/main" id="{0BD9531F-6F68-4C50-8D08-1934ED971C05}"/>
              </a:ext>
            </a:extLst>
          </p:cNvPr>
          <p:cNvSpPr>
            <a:spLocks noGrp="1"/>
          </p:cNvSpPr>
          <p:nvPr>
            <p:ph type="body" sz="quarter" idx="45" hasCustomPrompt="1"/>
          </p:nvPr>
        </p:nvSpPr>
        <p:spPr>
          <a:xfrm>
            <a:off x="9845160"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2" name="Text Placeholder 10">
            <a:extLst>
              <a:ext uri="{FF2B5EF4-FFF2-40B4-BE49-F238E27FC236}">
                <a16:creationId xmlns:a16="http://schemas.microsoft.com/office/drawing/2014/main" id="{26357C76-DD6D-4330-AD11-639E1B388CBA}"/>
              </a:ext>
            </a:extLst>
          </p:cNvPr>
          <p:cNvSpPr>
            <a:spLocks noGrp="1"/>
          </p:cNvSpPr>
          <p:nvPr>
            <p:ph type="body" sz="quarter" idx="46" hasCustomPrompt="1"/>
          </p:nvPr>
        </p:nvSpPr>
        <p:spPr>
          <a:xfrm>
            <a:off x="10633085" y="3570392"/>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3" name="Text Placeholder 10">
            <a:extLst>
              <a:ext uri="{FF2B5EF4-FFF2-40B4-BE49-F238E27FC236}">
                <a16:creationId xmlns:a16="http://schemas.microsoft.com/office/drawing/2014/main" id="{6293B0EF-4BE3-4B2F-B169-6E91B1748D99}"/>
              </a:ext>
            </a:extLst>
          </p:cNvPr>
          <p:cNvSpPr>
            <a:spLocks noGrp="1"/>
          </p:cNvSpPr>
          <p:nvPr>
            <p:ph type="body" sz="quarter" idx="47" hasCustomPrompt="1"/>
          </p:nvPr>
        </p:nvSpPr>
        <p:spPr>
          <a:xfrm>
            <a:off x="1969915"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4" name="Text Placeholder 10">
            <a:extLst>
              <a:ext uri="{FF2B5EF4-FFF2-40B4-BE49-F238E27FC236}">
                <a16:creationId xmlns:a16="http://schemas.microsoft.com/office/drawing/2014/main" id="{2E79FE94-2079-4F2E-9D07-CE6E4E5E7EF3}"/>
              </a:ext>
            </a:extLst>
          </p:cNvPr>
          <p:cNvSpPr>
            <a:spLocks noGrp="1"/>
          </p:cNvSpPr>
          <p:nvPr>
            <p:ph type="body" sz="quarter" idx="48" hasCustomPrompt="1"/>
          </p:nvPr>
        </p:nvSpPr>
        <p:spPr>
          <a:xfrm>
            <a:off x="2757602"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5" name="Text Placeholder 10">
            <a:extLst>
              <a:ext uri="{FF2B5EF4-FFF2-40B4-BE49-F238E27FC236}">
                <a16:creationId xmlns:a16="http://schemas.microsoft.com/office/drawing/2014/main" id="{E08B1E6E-A82D-4A7B-A59B-7F18C87ECEE8}"/>
              </a:ext>
            </a:extLst>
          </p:cNvPr>
          <p:cNvSpPr>
            <a:spLocks noGrp="1"/>
          </p:cNvSpPr>
          <p:nvPr>
            <p:ph type="body" sz="quarter" idx="49" hasCustomPrompt="1"/>
          </p:nvPr>
        </p:nvSpPr>
        <p:spPr>
          <a:xfrm>
            <a:off x="3545289"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6" name="Text Placeholder 10">
            <a:extLst>
              <a:ext uri="{FF2B5EF4-FFF2-40B4-BE49-F238E27FC236}">
                <a16:creationId xmlns:a16="http://schemas.microsoft.com/office/drawing/2014/main" id="{EE7B976B-FE1E-47EC-A0E2-46EC6E7E3221}"/>
              </a:ext>
            </a:extLst>
          </p:cNvPr>
          <p:cNvSpPr>
            <a:spLocks noGrp="1"/>
          </p:cNvSpPr>
          <p:nvPr>
            <p:ph type="body" sz="quarter" idx="50" hasCustomPrompt="1"/>
          </p:nvPr>
        </p:nvSpPr>
        <p:spPr>
          <a:xfrm>
            <a:off x="4332976"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7" name="Text Placeholder 10">
            <a:extLst>
              <a:ext uri="{FF2B5EF4-FFF2-40B4-BE49-F238E27FC236}">
                <a16:creationId xmlns:a16="http://schemas.microsoft.com/office/drawing/2014/main" id="{F637F34D-E49B-41B7-B9FA-020881639D6E}"/>
              </a:ext>
            </a:extLst>
          </p:cNvPr>
          <p:cNvSpPr>
            <a:spLocks noGrp="1"/>
          </p:cNvSpPr>
          <p:nvPr>
            <p:ph type="body" sz="quarter" idx="51" hasCustomPrompt="1"/>
          </p:nvPr>
        </p:nvSpPr>
        <p:spPr>
          <a:xfrm>
            <a:off x="5120663"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8" name="Text Placeholder 10">
            <a:extLst>
              <a:ext uri="{FF2B5EF4-FFF2-40B4-BE49-F238E27FC236}">
                <a16:creationId xmlns:a16="http://schemas.microsoft.com/office/drawing/2014/main" id="{55A6074B-EE5C-4389-AE2B-4D2C79E4E707}"/>
              </a:ext>
            </a:extLst>
          </p:cNvPr>
          <p:cNvSpPr>
            <a:spLocks noGrp="1"/>
          </p:cNvSpPr>
          <p:nvPr>
            <p:ph type="body" sz="quarter" idx="52" hasCustomPrompt="1"/>
          </p:nvPr>
        </p:nvSpPr>
        <p:spPr>
          <a:xfrm>
            <a:off x="5908350"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59" name="Text Placeholder 10">
            <a:extLst>
              <a:ext uri="{FF2B5EF4-FFF2-40B4-BE49-F238E27FC236}">
                <a16:creationId xmlns:a16="http://schemas.microsoft.com/office/drawing/2014/main" id="{9443A42F-D2D4-4F44-AA36-A29748E1086B}"/>
              </a:ext>
            </a:extLst>
          </p:cNvPr>
          <p:cNvSpPr>
            <a:spLocks noGrp="1"/>
          </p:cNvSpPr>
          <p:nvPr>
            <p:ph type="body" sz="quarter" idx="53" hasCustomPrompt="1"/>
          </p:nvPr>
        </p:nvSpPr>
        <p:spPr>
          <a:xfrm>
            <a:off x="6696037"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60" name="Text Placeholder 10">
            <a:extLst>
              <a:ext uri="{FF2B5EF4-FFF2-40B4-BE49-F238E27FC236}">
                <a16:creationId xmlns:a16="http://schemas.microsoft.com/office/drawing/2014/main" id="{FD1081C3-579C-4D7D-8D30-E2C5ADF7EE99}"/>
              </a:ext>
            </a:extLst>
          </p:cNvPr>
          <p:cNvSpPr>
            <a:spLocks noGrp="1"/>
          </p:cNvSpPr>
          <p:nvPr>
            <p:ph type="body" sz="quarter" idx="54" hasCustomPrompt="1"/>
          </p:nvPr>
        </p:nvSpPr>
        <p:spPr>
          <a:xfrm>
            <a:off x="9059098"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61" name="Text Placeholder 10">
            <a:extLst>
              <a:ext uri="{FF2B5EF4-FFF2-40B4-BE49-F238E27FC236}">
                <a16:creationId xmlns:a16="http://schemas.microsoft.com/office/drawing/2014/main" id="{CC0CFDE9-A49C-4F86-A0B1-62857270D814}"/>
              </a:ext>
            </a:extLst>
          </p:cNvPr>
          <p:cNvSpPr>
            <a:spLocks noGrp="1"/>
          </p:cNvSpPr>
          <p:nvPr>
            <p:ph type="body" sz="quarter" idx="55" hasCustomPrompt="1"/>
          </p:nvPr>
        </p:nvSpPr>
        <p:spPr>
          <a:xfrm>
            <a:off x="7483724"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62" name="Text Placeholder 10">
            <a:extLst>
              <a:ext uri="{FF2B5EF4-FFF2-40B4-BE49-F238E27FC236}">
                <a16:creationId xmlns:a16="http://schemas.microsoft.com/office/drawing/2014/main" id="{5683B9AD-4E50-442C-957A-A1D68108E5BD}"/>
              </a:ext>
            </a:extLst>
          </p:cNvPr>
          <p:cNvSpPr>
            <a:spLocks noGrp="1"/>
          </p:cNvSpPr>
          <p:nvPr>
            <p:ph type="body" sz="quarter" idx="56" hasCustomPrompt="1"/>
          </p:nvPr>
        </p:nvSpPr>
        <p:spPr>
          <a:xfrm>
            <a:off x="8271411"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63" name="Text Placeholder 10">
            <a:extLst>
              <a:ext uri="{FF2B5EF4-FFF2-40B4-BE49-F238E27FC236}">
                <a16:creationId xmlns:a16="http://schemas.microsoft.com/office/drawing/2014/main" id="{AA62259C-C0DD-4418-A003-2B8550039F23}"/>
              </a:ext>
            </a:extLst>
          </p:cNvPr>
          <p:cNvSpPr>
            <a:spLocks noGrp="1"/>
          </p:cNvSpPr>
          <p:nvPr>
            <p:ph type="body" sz="quarter" idx="57" hasCustomPrompt="1"/>
          </p:nvPr>
        </p:nvSpPr>
        <p:spPr>
          <a:xfrm>
            <a:off x="9846785"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sp>
        <p:nvSpPr>
          <p:cNvPr id="64" name="Text Placeholder 10">
            <a:extLst>
              <a:ext uri="{FF2B5EF4-FFF2-40B4-BE49-F238E27FC236}">
                <a16:creationId xmlns:a16="http://schemas.microsoft.com/office/drawing/2014/main" id="{EE933617-2859-40EE-AE5E-10A8996F769E}"/>
              </a:ext>
            </a:extLst>
          </p:cNvPr>
          <p:cNvSpPr>
            <a:spLocks noGrp="1"/>
          </p:cNvSpPr>
          <p:nvPr>
            <p:ph type="body" sz="quarter" idx="58" hasCustomPrompt="1"/>
          </p:nvPr>
        </p:nvSpPr>
        <p:spPr>
          <a:xfrm>
            <a:off x="10634472" y="4357456"/>
            <a:ext cx="640080" cy="274320"/>
          </a:xfrm>
        </p:spPr>
        <p:txBody>
          <a:bodyPr>
            <a:noAutofit/>
          </a:bodyPr>
          <a:lstStyle>
            <a:lvl1pPr marL="0" indent="0" algn="ctr">
              <a:buNone/>
              <a:defRPr sz="1000">
                <a:solidFill>
                  <a:schemeClr val="tx1"/>
                </a:solidFill>
              </a:defRPr>
            </a:lvl1pPr>
          </a:lstStyle>
          <a:p>
            <a:pPr lvl="0"/>
            <a:r>
              <a:rPr lang="en-US"/>
              <a:t>MM</a:t>
            </a:r>
            <a:endParaRPr lang="en-ZA"/>
          </a:p>
        </p:txBody>
      </p:sp>
      <p:cxnSp>
        <p:nvCxnSpPr>
          <p:cNvPr id="65" name="Straight Connector 64">
            <a:extLst>
              <a:ext uri="{FF2B5EF4-FFF2-40B4-BE49-F238E27FC236}">
                <a16:creationId xmlns:a16="http://schemas.microsoft.com/office/drawing/2014/main" id="{CE8B4B52-0962-4EA4-8D67-3A977ABC3160}"/>
              </a:ext>
            </a:extLst>
          </p:cNvPr>
          <p:cNvCxnSpPr/>
          <p:nvPr userDrawn="1"/>
        </p:nvCxnSpPr>
        <p:spPr>
          <a:xfrm>
            <a:off x="940445" y="4069080"/>
            <a:ext cx="103327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 Placeholder 3">
            <a:extLst>
              <a:ext uri="{FF2B5EF4-FFF2-40B4-BE49-F238E27FC236}">
                <a16:creationId xmlns:a16="http://schemas.microsoft.com/office/drawing/2014/main" id="{E27F3657-5309-405D-A48A-06B22B33E2AA}"/>
              </a:ext>
            </a:extLst>
          </p:cNvPr>
          <p:cNvSpPr>
            <a:spLocks noGrp="1"/>
          </p:cNvSpPr>
          <p:nvPr>
            <p:ph type="body" sz="quarter" idx="59" hasCustomPrompt="1"/>
          </p:nvPr>
        </p:nvSpPr>
        <p:spPr>
          <a:xfrm>
            <a:off x="5360988" y="2055840"/>
            <a:ext cx="1793875" cy="696885"/>
          </a:xfr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200">
                <a:solidFill>
                  <a:schemeClr val="tx1">
                    <a:lumMod val="75000"/>
                    <a:lumOff val="25000"/>
                  </a:schemeClr>
                </a:solidFill>
                <a:latin typeface="+mj-lt"/>
              </a:defRPr>
            </a:lvl1pPr>
          </a:lstStyle>
          <a:p>
            <a:pPr lvl="0"/>
            <a:r>
              <a:rPr lang="en-US"/>
              <a:t>Item Title</a:t>
            </a:r>
            <a:endParaRPr lang="en-ZA"/>
          </a:p>
        </p:txBody>
      </p:sp>
      <p:sp>
        <p:nvSpPr>
          <p:cNvPr id="67" name="Text Placeholder 36">
            <a:extLst>
              <a:ext uri="{FF2B5EF4-FFF2-40B4-BE49-F238E27FC236}">
                <a16:creationId xmlns:a16="http://schemas.microsoft.com/office/drawing/2014/main" id="{1787C639-A462-4A35-B451-A488A22C20B2}"/>
              </a:ext>
            </a:extLst>
          </p:cNvPr>
          <p:cNvSpPr>
            <a:spLocks noGrp="1"/>
          </p:cNvSpPr>
          <p:nvPr>
            <p:ph type="body" sz="quarter" idx="60" hasCustomPrompt="1"/>
          </p:nvPr>
        </p:nvSpPr>
        <p:spPr>
          <a:xfrm>
            <a:off x="5412717" y="2466901"/>
            <a:ext cx="1690417" cy="224670"/>
          </a:xfrm>
        </p:spPr>
        <p:txBody>
          <a:bodyPr>
            <a:noAutofit/>
          </a:bodyPr>
          <a:lstStyle>
            <a:lvl1pPr marL="0" indent="0" algn="ctr">
              <a:buNone/>
              <a:defRPr sz="1100">
                <a:solidFill>
                  <a:schemeClr val="tx1">
                    <a:lumMod val="75000"/>
                    <a:lumOff val="25000"/>
                  </a:schemeClr>
                </a:solidFill>
              </a:defRPr>
            </a:lvl1pPr>
          </a:lstStyle>
          <a:p>
            <a:pPr lvl="0"/>
            <a:r>
              <a:rPr lang="en-US"/>
              <a:t>Month, Year</a:t>
            </a:r>
            <a:endParaRPr lang="en-ZA"/>
          </a:p>
        </p:txBody>
      </p:sp>
      <p:sp>
        <p:nvSpPr>
          <p:cNvPr id="68" name="Date Placeholder 2">
            <a:extLst>
              <a:ext uri="{FF2B5EF4-FFF2-40B4-BE49-F238E27FC236}">
                <a16:creationId xmlns:a16="http://schemas.microsoft.com/office/drawing/2014/main" id="{77C700FC-5550-4F21-89E2-F38B13F00672}"/>
              </a:ext>
            </a:extLst>
          </p:cNvPr>
          <p:cNvSpPr>
            <a:spLocks noGrp="1"/>
          </p:cNvSpPr>
          <p:nvPr>
            <p:ph type="dt" sz="half" idx="61"/>
          </p:nvPr>
        </p:nvSpPr>
        <p:spPr>
          <a:xfrm>
            <a:off x="838200" y="6356350"/>
            <a:ext cx="2743200" cy="365125"/>
          </a:xfrm>
        </p:spPr>
        <p:txBody>
          <a:bodyPr/>
          <a:lstStyle>
            <a:lvl1pPr>
              <a:defRPr>
                <a:solidFill>
                  <a:schemeClr val="tx1"/>
                </a:solidFill>
              </a:defRPr>
            </a:lvl1pPr>
          </a:lstStyle>
          <a:p>
            <a:r>
              <a:rPr lang="en-US"/>
              <a:t>7/1/20XX</a:t>
            </a:r>
          </a:p>
        </p:txBody>
      </p:sp>
    </p:spTree>
    <p:extLst>
      <p:ext uri="{BB962C8B-B14F-4D97-AF65-F5344CB8AC3E}">
        <p14:creationId xmlns:p14="http://schemas.microsoft.com/office/powerpoint/2010/main" val="698738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6_Financi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F5A6A-E29E-401A-801A-8FD9CAABA7A5}"/>
              </a:ext>
            </a:extLst>
          </p:cNvPr>
          <p:cNvSpPr>
            <a:spLocks noGrp="1"/>
          </p:cNvSpPr>
          <p:nvPr>
            <p:ph idx="1"/>
          </p:nvPr>
        </p:nvSpPr>
        <p:spPr>
          <a:xfrm>
            <a:off x="915924" y="1825625"/>
            <a:ext cx="10360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1164587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Team 4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a:lstStyle/>
          <a:p>
            <a:r>
              <a:rPr lang="en-US"/>
              <a:t>7/1/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a:lstStyle/>
          <a:p>
            <a:r>
              <a:rPr lang="en-US"/>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6" name="Rectangle 5">
            <a:extLst>
              <a:ext uri="{FF2B5EF4-FFF2-40B4-BE49-F238E27FC236}">
                <a16:creationId xmlns:a16="http://schemas.microsoft.com/office/drawing/2014/main" id="{9C771235-79C8-415F-B624-D5501F4F42E2}"/>
              </a:ext>
            </a:extLst>
          </p:cNvPr>
          <p:cNvSpPr/>
          <p:nvPr userDrawn="1"/>
        </p:nvSpPr>
        <p:spPr>
          <a:xfrm>
            <a:off x="941832"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941832" y="4496637"/>
            <a:ext cx="2103120" cy="27432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941832" y="4776530"/>
            <a:ext cx="2103120" cy="4572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11" name="Picture Placeholder 10">
            <a:extLst>
              <a:ext uri="{FF2B5EF4-FFF2-40B4-BE49-F238E27FC236}">
                <a16:creationId xmlns:a16="http://schemas.microsoft.com/office/drawing/2014/main" id="{29E4817F-DFA8-417E-AFDB-482CF29E4C5D}"/>
              </a:ext>
            </a:extLst>
          </p:cNvPr>
          <p:cNvSpPr>
            <a:spLocks noGrp="1"/>
          </p:cNvSpPr>
          <p:nvPr>
            <p:ph type="pic" sz="quarter" idx="15"/>
          </p:nvPr>
        </p:nvSpPr>
        <p:spPr>
          <a:xfrm>
            <a:off x="1078992" y="2432304"/>
            <a:ext cx="1828800" cy="1682496"/>
          </a:xfrm>
          <a:solidFill>
            <a:schemeClr val="accent6"/>
          </a:solidFill>
        </p:spPr>
        <p:txBody>
          <a:bodyPr>
            <a:normAutofit/>
          </a:bodyPr>
          <a:lstStyle>
            <a:lvl1pPr>
              <a:defRPr sz="2000"/>
            </a:lvl1pPr>
          </a:lstStyle>
          <a:p>
            <a:r>
              <a:rPr lang="en-US"/>
              <a:t>Click icon to add picture</a:t>
            </a:r>
          </a:p>
        </p:txBody>
      </p:sp>
      <p:sp>
        <p:nvSpPr>
          <p:cNvPr id="12" name="Rectangle 11">
            <a:extLst>
              <a:ext uri="{FF2B5EF4-FFF2-40B4-BE49-F238E27FC236}">
                <a16:creationId xmlns:a16="http://schemas.microsoft.com/office/drawing/2014/main" id="{1160F5FB-7416-40BC-A46A-21C838A50239}"/>
              </a:ext>
            </a:extLst>
          </p:cNvPr>
          <p:cNvSpPr/>
          <p:nvPr userDrawn="1"/>
        </p:nvSpPr>
        <p:spPr>
          <a:xfrm>
            <a:off x="3689990"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3694176" y="4498909"/>
            <a:ext cx="2103120" cy="27432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3694176" y="4778802"/>
            <a:ext cx="2103120" cy="4572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15" name="Picture Placeholder 10">
            <a:extLst>
              <a:ext uri="{FF2B5EF4-FFF2-40B4-BE49-F238E27FC236}">
                <a16:creationId xmlns:a16="http://schemas.microsoft.com/office/drawing/2014/main" id="{AF3BFD7E-8448-4092-A1FA-620F7C1818EA}"/>
              </a:ext>
            </a:extLst>
          </p:cNvPr>
          <p:cNvSpPr>
            <a:spLocks noGrp="1"/>
          </p:cNvSpPr>
          <p:nvPr>
            <p:ph type="pic" sz="quarter" idx="18"/>
          </p:nvPr>
        </p:nvSpPr>
        <p:spPr>
          <a:xfrm>
            <a:off x="3827150" y="2432304"/>
            <a:ext cx="1828800" cy="1682496"/>
          </a:xfrm>
          <a:solidFill>
            <a:schemeClr val="accent6"/>
          </a:solidFill>
        </p:spPr>
        <p:txBody>
          <a:bodyPr>
            <a:normAutofit/>
          </a:bodyPr>
          <a:lstStyle>
            <a:lvl1pPr>
              <a:defRPr sz="2000"/>
            </a:lvl1pPr>
          </a:lstStyle>
          <a:p>
            <a:r>
              <a:rPr lang="en-US"/>
              <a:t>Click icon to add picture</a:t>
            </a:r>
          </a:p>
        </p:txBody>
      </p:sp>
      <p:sp>
        <p:nvSpPr>
          <p:cNvPr id="16" name="Rectangle 15">
            <a:extLst>
              <a:ext uri="{FF2B5EF4-FFF2-40B4-BE49-F238E27FC236}">
                <a16:creationId xmlns:a16="http://schemas.microsoft.com/office/drawing/2014/main" id="{115CD85B-85C1-4045-A81C-8A1CE2CC3776}"/>
              </a:ext>
            </a:extLst>
          </p:cNvPr>
          <p:cNvSpPr/>
          <p:nvPr userDrawn="1"/>
        </p:nvSpPr>
        <p:spPr>
          <a:xfrm>
            <a:off x="6441704"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6446520" y="4494357"/>
            <a:ext cx="2103120" cy="27432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6446520" y="4774250"/>
            <a:ext cx="2103120" cy="4572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19" name="Picture Placeholder 10">
            <a:extLst>
              <a:ext uri="{FF2B5EF4-FFF2-40B4-BE49-F238E27FC236}">
                <a16:creationId xmlns:a16="http://schemas.microsoft.com/office/drawing/2014/main" id="{CEE0C370-A123-4E33-88E1-10380AF73857}"/>
              </a:ext>
            </a:extLst>
          </p:cNvPr>
          <p:cNvSpPr>
            <a:spLocks noGrp="1"/>
          </p:cNvSpPr>
          <p:nvPr>
            <p:ph type="pic" sz="quarter" idx="21"/>
          </p:nvPr>
        </p:nvSpPr>
        <p:spPr>
          <a:xfrm>
            <a:off x="6578864" y="2432304"/>
            <a:ext cx="1828800" cy="1682496"/>
          </a:xfrm>
          <a:solidFill>
            <a:schemeClr val="accent6"/>
          </a:solidFill>
        </p:spPr>
        <p:txBody>
          <a:bodyPr>
            <a:normAutofit/>
          </a:bodyPr>
          <a:lstStyle>
            <a:lvl1pPr>
              <a:defRPr sz="2000"/>
            </a:lvl1pPr>
          </a:lstStyle>
          <a:p>
            <a:r>
              <a:rPr lang="en-US"/>
              <a:t>Click icon to add picture</a:t>
            </a:r>
          </a:p>
        </p:txBody>
      </p:sp>
      <p:sp>
        <p:nvSpPr>
          <p:cNvPr id="20" name="Rectangle 19">
            <a:extLst>
              <a:ext uri="{FF2B5EF4-FFF2-40B4-BE49-F238E27FC236}">
                <a16:creationId xmlns:a16="http://schemas.microsoft.com/office/drawing/2014/main" id="{F228058F-D5C5-43E9-B57A-E0376D24186D}"/>
              </a:ext>
            </a:extLst>
          </p:cNvPr>
          <p:cNvSpPr/>
          <p:nvPr userDrawn="1"/>
        </p:nvSpPr>
        <p:spPr>
          <a:xfrm>
            <a:off x="9165352"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9162288" y="4496629"/>
            <a:ext cx="2103120" cy="27432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9162288" y="4776522"/>
            <a:ext cx="2103120" cy="4572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23" name="Picture Placeholder 10">
            <a:extLst>
              <a:ext uri="{FF2B5EF4-FFF2-40B4-BE49-F238E27FC236}">
                <a16:creationId xmlns:a16="http://schemas.microsoft.com/office/drawing/2014/main" id="{70683A90-4CAD-4A4D-BA65-CD3980EBCF53}"/>
              </a:ext>
            </a:extLst>
          </p:cNvPr>
          <p:cNvSpPr>
            <a:spLocks noGrp="1"/>
          </p:cNvSpPr>
          <p:nvPr>
            <p:ph type="pic" sz="quarter" idx="24"/>
          </p:nvPr>
        </p:nvSpPr>
        <p:spPr>
          <a:xfrm>
            <a:off x="9302512" y="2432304"/>
            <a:ext cx="1828800" cy="1682496"/>
          </a:xfrm>
          <a:solidFill>
            <a:schemeClr val="accent6"/>
          </a:solidFill>
        </p:spPr>
        <p:txBody>
          <a:bodyPr>
            <a:normAutofit/>
          </a:bodyPr>
          <a:lstStyle>
            <a:lvl1pPr>
              <a:defRPr sz="2000"/>
            </a:lvl1pPr>
          </a:lstStyle>
          <a:p>
            <a:r>
              <a:rPr lang="en-US"/>
              <a:t>Click icon to add picture</a:t>
            </a:r>
          </a:p>
        </p:txBody>
      </p:sp>
    </p:spTree>
    <p:extLst>
      <p:ext uri="{BB962C8B-B14F-4D97-AF65-F5344CB8AC3E}">
        <p14:creationId xmlns:p14="http://schemas.microsoft.com/office/powerpoint/2010/main" val="33425224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Team 8up">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5E70D0E-EDAA-4490-8D97-5F245A32A2E6}"/>
              </a:ext>
            </a:extLst>
          </p:cNvPr>
          <p:cNvSpPr/>
          <p:nvPr userDrawn="1"/>
        </p:nvSpPr>
        <p:spPr>
          <a:xfrm>
            <a:off x="941832"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icture Placeholder 10">
            <a:extLst>
              <a:ext uri="{FF2B5EF4-FFF2-40B4-BE49-F238E27FC236}">
                <a16:creationId xmlns:a16="http://schemas.microsoft.com/office/drawing/2014/main" id="{F4300E0A-2C35-48E1-A7CE-95EBD8EBB9EB}"/>
              </a:ext>
            </a:extLst>
          </p:cNvPr>
          <p:cNvSpPr>
            <a:spLocks noGrp="1"/>
          </p:cNvSpPr>
          <p:nvPr>
            <p:ph type="pic" sz="quarter" idx="15"/>
          </p:nvPr>
        </p:nvSpPr>
        <p:spPr>
          <a:xfrm>
            <a:off x="1056132" y="1913382"/>
            <a:ext cx="1691640" cy="1325880"/>
          </a:xfrm>
          <a:solidFill>
            <a:schemeClr val="accent6"/>
          </a:solidFill>
        </p:spPr>
        <p:txBody>
          <a:bodyPr>
            <a:normAutofit/>
          </a:bodyPr>
          <a:lstStyle>
            <a:lvl1pPr>
              <a:defRPr sz="2000"/>
            </a:lvl1pPr>
          </a:lstStyle>
          <a:p>
            <a:r>
              <a:rPr lang="en-US"/>
              <a:t>Click icon to add picture</a:t>
            </a:r>
          </a:p>
        </p:txBody>
      </p:sp>
      <p:sp>
        <p:nvSpPr>
          <p:cNvPr id="42" name="Rectangle 41">
            <a:extLst>
              <a:ext uri="{FF2B5EF4-FFF2-40B4-BE49-F238E27FC236}">
                <a16:creationId xmlns:a16="http://schemas.microsoft.com/office/drawing/2014/main" id="{99D6C849-74CD-4E83-8CC4-99167CFD5052}"/>
              </a:ext>
            </a:extLst>
          </p:cNvPr>
          <p:cNvSpPr/>
          <p:nvPr userDrawn="1"/>
        </p:nvSpPr>
        <p:spPr>
          <a:xfrm>
            <a:off x="3740155"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10">
            <a:extLst>
              <a:ext uri="{FF2B5EF4-FFF2-40B4-BE49-F238E27FC236}">
                <a16:creationId xmlns:a16="http://schemas.microsoft.com/office/drawing/2014/main" id="{EC894F36-9611-4410-9632-21E5CE1FF1FA}"/>
              </a:ext>
            </a:extLst>
          </p:cNvPr>
          <p:cNvSpPr>
            <a:spLocks noGrp="1"/>
          </p:cNvSpPr>
          <p:nvPr>
            <p:ph type="pic" sz="quarter" idx="18"/>
          </p:nvPr>
        </p:nvSpPr>
        <p:spPr>
          <a:xfrm>
            <a:off x="3854455" y="1913382"/>
            <a:ext cx="1691640" cy="1325880"/>
          </a:xfrm>
          <a:solidFill>
            <a:schemeClr val="accent6"/>
          </a:solidFill>
        </p:spPr>
        <p:txBody>
          <a:bodyPr>
            <a:normAutofit/>
          </a:bodyPr>
          <a:lstStyle>
            <a:lvl1pPr>
              <a:defRPr sz="2000"/>
            </a:lvl1pPr>
          </a:lstStyle>
          <a:p>
            <a:r>
              <a:rPr lang="en-US"/>
              <a:t>Click icon to add picture</a:t>
            </a:r>
          </a:p>
        </p:txBody>
      </p:sp>
      <p:sp>
        <p:nvSpPr>
          <p:cNvPr id="44" name="Rectangle 43">
            <a:extLst>
              <a:ext uri="{FF2B5EF4-FFF2-40B4-BE49-F238E27FC236}">
                <a16:creationId xmlns:a16="http://schemas.microsoft.com/office/drawing/2014/main" id="{4FD21C66-AAE4-4F7A-836C-5ABFDB3E2C40}"/>
              </a:ext>
            </a:extLst>
          </p:cNvPr>
          <p:cNvSpPr/>
          <p:nvPr userDrawn="1"/>
        </p:nvSpPr>
        <p:spPr>
          <a:xfrm>
            <a:off x="6538478"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Picture Placeholder 10">
            <a:extLst>
              <a:ext uri="{FF2B5EF4-FFF2-40B4-BE49-F238E27FC236}">
                <a16:creationId xmlns:a16="http://schemas.microsoft.com/office/drawing/2014/main" id="{8663743D-14C0-41A7-8122-D4D2A7801780}"/>
              </a:ext>
            </a:extLst>
          </p:cNvPr>
          <p:cNvSpPr>
            <a:spLocks noGrp="1"/>
          </p:cNvSpPr>
          <p:nvPr>
            <p:ph type="pic" sz="quarter" idx="21"/>
          </p:nvPr>
        </p:nvSpPr>
        <p:spPr>
          <a:xfrm>
            <a:off x="6652778" y="1913382"/>
            <a:ext cx="1691640" cy="1325880"/>
          </a:xfrm>
          <a:solidFill>
            <a:schemeClr val="accent6"/>
          </a:solidFill>
        </p:spPr>
        <p:txBody>
          <a:bodyPr>
            <a:normAutofit/>
          </a:bodyPr>
          <a:lstStyle>
            <a:lvl1pPr>
              <a:defRPr sz="2000"/>
            </a:lvl1pPr>
          </a:lstStyle>
          <a:p>
            <a:r>
              <a:rPr lang="en-US"/>
              <a:t>Click icon to add picture</a:t>
            </a:r>
          </a:p>
        </p:txBody>
      </p:sp>
      <p:sp>
        <p:nvSpPr>
          <p:cNvPr id="46" name="Rectangle 45">
            <a:extLst>
              <a:ext uri="{FF2B5EF4-FFF2-40B4-BE49-F238E27FC236}">
                <a16:creationId xmlns:a16="http://schemas.microsoft.com/office/drawing/2014/main" id="{68F25CD1-436E-47AA-8A14-C090BF4316B6}"/>
              </a:ext>
            </a:extLst>
          </p:cNvPr>
          <p:cNvSpPr/>
          <p:nvPr userDrawn="1"/>
        </p:nvSpPr>
        <p:spPr>
          <a:xfrm>
            <a:off x="9336802"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Picture Placeholder 10">
            <a:extLst>
              <a:ext uri="{FF2B5EF4-FFF2-40B4-BE49-F238E27FC236}">
                <a16:creationId xmlns:a16="http://schemas.microsoft.com/office/drawing/2014/main" id="{68C01EED-EC2C-4D5E-969B-9815EC0237DA}"/>
              </a:ext>
            </a:extLst>
          </p:cNvPr>
          <p:cNvSpPr>
            <a:spLocks noGrp="1"/>
          </p:cNvSpPr>
          <p:nvPr>
            <p:ph type="pic" sz="quarter" idx="24"/>
          </p:nvPr>
        </p:nvSpPr>
        <p:spPr>
          <a:xfrm>
            <a:off x="9451102" y="1913382"/>
            <a:ext cx="1691640" cy="1325880"/>
          </a:xfrm>
          <a:solidFill>
            <a:schemeClr val="accent6"/>
          </a:solidFill>
        </p:spPr>
        <p:txBody>
          <a:bodyPr>
            <a:normAutofit/>
          </a:bodyPr>
          <a:lstStyle>
            <a:lvl1pPr>
              <a:defRPr sz="2000"/>
            </a:lvl1pPr>
          </a:lstStyle>
          <a:p>
            <a:r>
              <a:rPr lang="en-US"/>
              <a:t>Click icon to add picture</a:t>
            </a:r>
          </a:p>
        </p:txBody>
      </p:sp>
      <p:sp>
        <p:nvSpPr>
          <p:cNvPr id="2" name="Title 1">
            <a:extLst>
              <a:ext uri="{FF2B5EF4-FFF2-40B4-BE49-F238E27FC236}">
                <a16:creationId xmlns:a16="http://schemas.microsoft.com/office/drawing/2014/main" id="{A1F8C642-49FB-4E16-A3A0-B2ACBEABFF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a:lstStyle/>
          <a:p>
            <a:r>
              <a:rPr lang="en-US"/>
              <a:t>7/1/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a:lstStyle/>
          <a:p>
            <a:r>
              <a:rPr lang="en-US"/>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941832" y="3443293"/>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941832" y="3691331"/>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3739896" y="3447288"/>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3739896" y="3695369"/>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6537960" y="3447288"/>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6537960" y="3695369"/>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9336024" y="3447288"/>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9336024" y="3695369"/>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25" name="Text Placeholder 7">
            <a:extLst>
              <a:ext uri="{FF2B5EF4-FFF2-40B4-BE49-F238E27FC236}">
                <a16:creationId xmlns:a16="http://schemas.microsoft.com/office/drawing/2014/main" id="{A0E37C15-4439-4FA1-B82A-6543015098C1}"/>
              </a:ext>
            </a:extLst>
          </p:cNvPr>
          <p:cNvSpPr>
            <a:spLocks noGrp="1"/>
          </p:cNvSpPr>
          <p:nvPr>
            <p:ph type="body" sz="quarter" idx="25" hasCustomPrompt="1"/>
          </p:nvPr>
        </p:nvSpPr>
        <p:spPr>
          <a:xfrm>
            <a:off x="941832" y="5745281"/>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26" name="Text Placeholder 7">
            <a:extLst>
              <a:ext uri="{FF2B5EF4-FFF2-40B4-BE49-F238E27FC236}">
                <a16:creationId xmlns:a16="http://schemas.microsoft.com/office/drawing/2014/main" id="{B4B36042-0944-4E63-98F0-4C6088F4B012}"/>
              </a:ext>
            </a:extLst>
          </p:cNvPr>
          <p:cNvSpPr>
            <a:spLocks noGrp="1"/>
          </p:cNvSpPr>
          <p:nvPr>
            <p:ph type="body" sz="quarter" idx="26" hasCustomPrompt="1"/>
          </p:nvPr>
        </p:nvSpPr>
        <p:spPr>
          <a:xfrm>
            <a:off x="941832" y="5987343"/>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29" name="Text Placeholder 7">
            <a:extLst>
              <a:ext uri="{FF2B5EF4-FFF2-40B4-BE49-F238E27FC236}">
                <a16:creationId xmlns:a16="http://schemas.microsoft.com/office/drawing/2014/main" id="{525DBE17-3292-4AD9-9132-FEC89DF26EF6}"/>
              </a:ext>
            </a:extLst>
          </p:cNvPr>
          <p:cNvSpPr>
            <a:spLocks noGrp="1"/>
          </p:cNvSpPr>
          <p:nvPr>
            <p:ph type="body" sz="quarter" idx="28" hasCustomPrompt="1"/>
          </p:nvPr>
        </p:nvSpPr>
        <p:spPr>
          <a:xfrm>
            <a:off x="3739896" y="5741239"/>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30" name="Text Placeholder 7">
            <a:extLst>
              <a:ext uri="{FF2B5EF4-FFF2-40B4-BE49-F238E27FC236}">
                <a16:creationId xmlns:a16="http://schemas.microsoft.com/office/drawing/2014/main" id="{45D8728A-4ADC-409A-AF07-C6DC0796E542}"/>
              </a:ext>
            </a:extLst>
          </p:cNvPr>
          <p:cNvSpPr>
            <a:spLocks noGrp="1"/>
          </p:cNvSpPr>
          <p:nvPr>
            <p:ph type="body" sz="quarter" idx="29" hasCustomPrompt="1"/>
          </p:nvPr>
        </p:nvSpPr>
        <p:spPr>
          <a:xfrm>
            <a:off x="3739896" y="5989320"/>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33" name="Text Placeholder 7">
            <a:extLst>
              <a:ext uri="{FF2B5EF4-FFF2-40B4-BE49-F238E27FC236}">
                <a16:creationId xmlns:a16="http://schemas.microsoft.com/office/drawing/2014/main" id="{B49575FE-C1FA-4068-A233-77E5F5A13272}"/>
              </a:ext>
            </a:extLst>
          </p:cNvPr>
          <p:cNvSpPr>
            <a:spLocks noGrp="1"/>
          </p:cNvSpPr>
          <p:nvPr>
            <p:ph type="body" sz="quarter" idx="31" hasCustomPrompt="1"/>
          </p:nvPr>
        </p:nvSpPr>
        <p:spPr>
          <a:xfrm>
            <a:off x="6537960" y="5741239"/>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34" name="Text Placeholder 7">
            <a:extLst>
              <a:ext uri="{FF2B5EF4-FFF2-40B4-BE49-F238E27FC236}">
                <a16:creationId xmlns:a16="http://schemas.microsoft.com/office/drawing/2014/main" id="{166F420D-1588-4FD4-97C7-F6BE4424A8A3}"/>
              </a:ext>
            </a:extLst>
          </p:cNvPr>
          <p:cNvSpPr>
            <a:spLocks noGrp="1"/>
          </p:cNvSpPr>
          <p:nvPr>
            <p:ph type="body" sz="quarter" idx="32" hasCustomPrompt="1"/>
          </p:nvPr>
        </p:nvSpPr>
        <p:spPr>
          <a:xfrm>
            <a:off x="6537960" y="5989320"/>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37" name="Text Placeholder 7">
            <a:extLst>
              <a:ext uri="{FF2B5EF4-FFF2-40B4-BE49-F238E27FC236}">
                <a16:creationId xmlns:a16="http://schemas.microsoft.com/office/drawing/2014/main" id="{A50D099D-DBBB-4ABF-B900-9B4AF2B814AD}"/>
              </a:ext>
            </a:extLst>
          </p:cNvPr>
          <p:cNvSpPr>
            <a:spLocks noGrp="1"/>
          </p:cNvSpPr>
          <p:nvPr>
            <p:ph type="body" sz="quarter" idx="34" hasCustomPrompt="1"/>
          </p:nvPr>
        </p:nvSpPr>
        <p:spPr>
          <a:xfrm>
            <a:off x="9336024" y="5741239"/>
            <a:ext cx="1920240" cy="228600"/>
          </a:xfrm>
        </p:spPr>
        <p:txBody>
          <a:bodyPr>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Name</a:t>
            </a:r>
          </a:p>
        </p:txBody>
      </p:sp>
      <p:sp>
        <p:nvSpPr>
          <p:cNvPr id="38" name="Text Placeholder 7">
            <a:extLst>
              <a:ext uri="{FF2B5EF4-FFF2-40B4-BE49-F238E27FC236}">
                <a16:creationId xmlns:a16="http://schemas.microsoft.com/office/drawing/2014/main" id="{F4BB94E2-DE8B-4D7C-A9AD-5F1A452B75C8}"/>
              </a:ext>
            </a:extLst>
          </p:cNvPr>
          <p:cNvSpPr>
            <a:spLocks noGrp="1"/>
          </p:cNvSpPr>
          <p:nvPr>
            <p:ph type="body" sz="quarter" idx="35" hasCustomPrompt="1"/>
          </p:nvPr>
        </p:nvSpPr>
        <p:spPr>
          <a:xfrm>
            <a:off x="9336024" y="5989320"/>
            <a:ext cx="1920240" cy="228600"/>
          </a:xfrm>
        </p:spPr>
        <p:txBody>
          <a:bodyPr>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en-US"/>
              <a:t>Title</a:t>
            </a:r>
          </a:p>
        </p:txBody>
      </p:sp>
      <p:sp>
        <p:nvSpPr>
          <p:cNvPr id="54" name="Rectangle 53">
            <a:extLst>
              <a:ext uri="{FF2B5EF4-FFF2-40B4-BE49-F238E27FC236}">
                <a16:creationId xmlns:a16="http://schemas.microsoft.com/office/drawing/2014/main" id="{1BFAF5AF-131D-45FE-9220-15852C520008}"/>
              </a:ext>
            </a:extLst>
          </p:cNvPr>
          <p:cNvSpPr/>
          <p:nvPr userDrawn="1"/>
        </p:nvSpPr>
        <p:spPr>
          <a:xfrm>
            <a:off x="941832"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icture Placeholder 10">
            <a:extLst>
              <a:ext uri="{FF2B5EF4-FFF2-40B4-BE49-F238E27FC236}">
                <a16:creationId xmlns:a16="http://schemas.microsoft.com/office/drawing/2014/main" id="{86B14609-6CE7-4483-A952-6A0C59D63312}"/>
              </a:ext>
            </a:extLst>
          </p:cNvPr>
          <p:cNvSpPr>
            <a:spLocks noGrp="1"/>
          </p:cNvSpPr>
          <p:nvPr>
            <p:ph type="pic" sz="quarter" idx="36"/>
          </p:nvPr>
        </p:nvSpPr>
        <p:spPr>
          <a:xfrm>
            <a:off x="1056132" y="4227957"/>
            <a:ext cx="1691640" cy="1325880"/>
          </a:xfrm>
          <a:solidFill>
            <a:schemeClr val="accent6"/>
          </a:solidFill>
        </p:spPr>
        <p:txBody>
          <a:bodyPr>
            <a:normAutofit/>
          </a:bodyPr>
          <a:lstStyle>
            <a:lvl1pPr>
              <a:defRPr sz="2000"/>
            </a:lvl1pPr>
          </a:lstStyle>
          <a:p>
            <a:r>
              <a:rPr lang="en-US"/>
              <a:t>Click icon to add picture</a:t>
            </a:r>
          </a:p>
        </p:txBody>
      </p:sp>
      <p:sp>
        <p:nvSpPr>
          <p:cNvPr id="56" name="Rectangle 55">
            <a:extLst>
              <a:ext uri="{FF2B5EF4-FFF2-40B4-BE49-F238E27FC236}">
                <a16:creationId xmlns:a16="http://schemas.microsoft.com/office/drawing/2014/main" id="{6E1E5DFE-ABE4-4574-8214-460F40787767}"/>
              </a:ext>
            </a:extLst>
          </p:cNvPr>
          <p:cNvSpPr/>
          <p:nvPr userDrawn="1"/>
        </p:nvSpPr>
        <p:spPr>
          <a:xfrm>
            <a:off x="3739896"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icture Placeholder 10">
            <a:extLst>
              <a:ext uri="{FF2B5EF4-FFF2-40B4-BE49-F238E27FC236}">
                <a16:creationId xmlns:a16="http://schemas.microsoft.com/office/drawing/2014/main" id="{8C0FF998-B1F8-44FC-A045-B322FEC67A38}"/>
              </a:ext>
            </a:extLst>
          </p:cNvPr>
          <p:cNvSpPr>
            <a:spLocks noGrp="1"/>
          </p:cNvSpPr>
          <p:nvPr>
            <p:ph type="pic" sz="quarter" idx="37"/>
          </p:nvPr>
        </p:nvSpPr>
        <p:spPr>
          <a:xfrm>
            <a:off x="3854196" y="4227957"/>
            <a:ext cx="1691640" cy="1325880"/>
          </a:xfrm>
          <a:solidFill>
            <a:schemeClr val="accent6"/>
          </a:solidFill>
        </p:spPr>
        <p:txBody>
          <a:bodyPr>
            <a:normAutofit/>
          </a:bodyPr>
          <a:lstStyle>
            <a:lvl1pPr>
              <a:defRPr sz="2000"/>
            </a:lvl1pPr>
          </a:lstStyle>
          <a:p>
            <a:r>
              <a:rPr lang="en-US"/>
              <a:t>Click icon to add picture</a:t>
            </a:r>
          </a:p>
        </p:txBody>
      </p:sp>
      <p:sp>
        <p:nvSpPr>
          <p:cNvPr id="58" name="Rectangle 57">
            <a:extLst>
              <a:ext uri="{FF2B5EF4-FFF2-40B4-BE49-F238E27FC236}">
                <a16:creationId xmlns:a16="http://schemas.microsoft.com/office/drawing/2014/main" id="{99BFB914-76F2-40AA-B7E6-F06BCEBF6C79}"/>
              </a:ext>
            </a:extLst>
          </p:cNvPr>
          <p:cNvSpPr/>
          <p:nvPr userDrawn="1"/>
        </p:nvSpPr>
        <p:spPr>
          <a:xfrm>
            <a:off x="6537960"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icture Placeholder 10">
            <a:extLst>
              <a:ext uri="{FF2B5EF4-FFF2-40B4-BE49-F238E27FC236}">
                <a16:creationId xmlns:a16="http://schemas.microsoft.com/office/drawing/2014/main" id="{B101D19E-87CD-4005-9400-DB83194D9039}"/>
              </a:ext>
            </a:extLst>
          </p:cNvPr>
          <p:cNvSpPr>
            <a:spLocks noGrp="1"/>
          </p:cNvSpPr>
          <p:nvPr>
            <p:ph type="pic" sz="quarter" idx="38"/>
          </p:nvPr>
        </p:nvSpPr>
        <p:spPr>
          <a:xfrm>
            <a:off x="6652260" y="4227957"/>
            <a:ext cx="1691640" cy="1325880"/>
          </a:xfrm>
          <a:solidFill>
            <a:schemeClr val="accent6"/>
          </a:solidFill>
        </p:spPr>
        <p:txBody>
          <a:bodyPr>
            <a:normAutofit/>
          </a:bodyPr>
          <a:lstStyle>
            <a:lvl1pPr>
              <a:defRPr sz="2000"/>
            </a:lvl1pPr>
          </a:lstStyle>
          <a:p>
            <a:r>
              <a:rPr lang="en-US"/>
              <a:t>Click icon to add picture</a:t>
            </a:r>
          </a:p>
        </p:txBody>
      </p:sp>
      <p:sp>
        <p:nvSpPr>
          <p:cNvPr id="60" name="Rectangle 59">
            <a:extLst>
              <a:ext uri="{FF2B5EF4-FFF2-40B4-BE49-F238E27FC236}">
                <a16:creationId xmlns:a16="http://schemas.microsoft.com/office/drawing/2014/main" id="{7FA2C836-B950-48A3-94B2-47E0E9F4D843}"/>
              </a:ext>
            </a:extLst>
          </p:cNvPr>
          <p:cNvSpPr/>
          <p:nvPr userDrawn="1"/>
        </p:nvSpPr>
        <p:spPr>
          <a:xfrm>
            <a:off x="9336024"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Picture Placeholder 10">
            <a:extLst>
              <a:ext uri="{FF2B5EF4-FFF2-40B4-BE49-F238E27FC236}">
                <a16:creationId xmlns:a16="http://schemas.microsoft.com/office/drawing/2014/main" id="{D51652FF-DB34-4769-98B0-7BAF1150CDEA}"/>
              </a:ext>
            </a:extLst>
          </p:cNvPr>
          <p:cNvSpPr>
            <a:spLocks noGrp="1"/>
          </p:cNvSpPr>
          <p:nvPr>
            <p:ph type="pic" sz="quarter" idx="39"/>
          </p:nvPr>
        </p:nvSpPr>
        <p:spPr>
          <a:xfrm>
            <a:off x="9450324" y="4227957"/>
            <a:ext cx="1691640" cy="1325880"/>
          </a:xfrm>
          <a:solidFill>
            <a:schemeClr val="accent6"/>
          </a:solidFill>
        </p:spPr>
        <p:txBody>
          <a:bodyPr>
            <a:normAutofit/>
          </a:bodyPr>
          <a:lstStyle>
            <a:lvl1pPr>
              <a:defRPr sz="2000"/>
            </a:lvl1pPr>
          </a:lstStyle>
          <a:p>
            <a:r>
              <a:rPr lang="en-US"/>
              <a:t>Click icon to add picture</a:t>
            </a:r>
          </a:p>
        </p:txBody>
      </p:sp>
    </p:spTree>
    <p:extLst>
      <p:ext uri="{BB962C8B-B14F-4D97-AF65-F5344CB8AC3E}">
        <p14:creationId xmlns:p14="http://schemas.microsoft.com/office/powerpoint/2010/main" val="18314095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_Fun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7" name="Content Placeholder 6">
            <a:extLst>
              <a:ext uri="{FF2B5EF4-FFF2-40B4-BE49-F238E27FC236}">
                <a16:creationId xmlns:a16="http://schemas.microsoft.com/office/drawing/2014/main" id="{7604696C-9CC0-44FC-8AC2-8DFE99C4DB68}"/>
              </a:ext>
            </a:extLst>
          </p:cNvPr>
          <p:cNvSpPr>
            <a:spLocks noGrp="1"/>
          </p:cNvSpPr>
          <p:nvPr>
            <p:ph sz="quarter" idx="22" hasCustomPrompt="1"/>
          </p:nvPr>
        </p:nvSpPr>
        <p:spPr>
          <a:xfrm>
            <a:off x="1028700" y="2004810"/>
            <a:ext cx="1828800" cy="173736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8" name="Content Placeholder 6">
            <a:extLst>
              <a:ext uri="{FF2B5EF4-FFF2-40B4-BE49-F238E27FC236}">
                <a16:creationId xmlns:a16="http://schemas.microsoft.com/office/drawing/2014/main" id="{F699FD58-B1B9-484E-809F-8803AF860825}"/>
              </a:ext>
            </a:extLst>
          </p:cNvPr>
          <p:cNvSpPr>
            <a:spLocks noGrp="1"/>
          </p:cNvSpPr>
          <p:nvPr>
            <p:ph sz="quarter" idx="25" hasCustomPrompt="1"/>
          </p:nvPr>
        </p:nvSpPr>
        <p:spPr>
          <a:xfrm>
            <a:off x="3794126" y="2004810"/>
            <a:ext cx="1828800" cy="173736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9" name="Content Placeholder 6">
            <a:extLst>
              <a:ext uri="{FF2B5EF4-FFF2-40B4-BE49-F238E27FC236}">
                <a16:creationId xmlns:a16="http://schemas.microsoft.com/office/drawing/2014/main" id="{75FD3887-0B8F-4A14-87BF-BBB6BBD72F4D}"/>
              </a:ext>
            </a:extLst>
          </p:cNvPr>
          <p:cNvSpPr>
            <a:spLocks noGrp="1"/>
          </p:cNvSpPr>
          <p:nvPr>
            <p:ph sz="quarter" idx="28" hasCustomPrompt="1"/>
          </p:nvPr>
        </p:nvSpPr>
        <p:spPr>
          <a:xfrm>
            <a:off x="9324977" y="2004810"/>
            <a:ext cx="1828800" cy="173736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0" name="Content Placeholder 6">
            <a:extLst>
              <a:ext uri="{FF2B5EF4-FFF2-40B4-BE49-F238E27FC236}">
                <a16:creationId xmlns:a16="http://schemas.microsoft.com/office/drawing/2014/main" id="{9AC387C7-76B0-4819-9FC8-B40C19C3B39E}"/>
              </a:ext>
            </a:extLst>
          </p:cNvPr>
          <p:cNvSpPr>
            <a:spLocks noGrp="1"/>
          </p:cNvSpPr>
          <p:nvPr>
            <p:ph sz="quarter" idx="31" hasCustomPrompt="1"/>
          </p:nvPr>
        </p:nvSpPr>
        <p:spPr>
          <a:xfrm>
            <a:off x="6559552" y="2004810"/>
            <a:ext cx="1828800" cy="1737360"/>
          </a:xfr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1" name="Text Placeholder 10">
            <a:extLst>
              <a:ext uri="{FF2B5EF4-FFF2-40B4-BE49-F238E27FC236}">
                <a16:creationId xmlns:a16="http://schemas.microsoft.com/office/drawing/2014/main" id="{C3258F3F-4770-4107-AD7E-356E3E22E2A4}"/>
              </a:ext>
            </a:extLst>
          </p:cNvPr>
          <p:cNvSpPr>
            <a:spLocks noGrp="1"/>
          </p:cNvSpPr>
          <p:nvPr>
            <p:ph type="body" sz="quarter" idx="14" hasCustomPrompt="1"/>
          </p:nvPr>
        </p:nvSpPr>
        <p:spPr>
          <a:xfrm>
            <a:off x="914400" y="3886200"/>
            <a:ext cx="2057400" cy="548640"/>
          </a:xfrm>
        </p:spPr>
        <p:txBody>
          <a:bodyPr>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a:t>CLICK TO EDIT SUBTITLE</a:t>
            </a:r>
          </a:p>
        </p:txBody>
      </p:sp>
      <p:sp>
        <p:nvSpPr>
          <p:cNvPr id="12" name="Text Placeholder 12">
            <a:extLst>
              <a:ext uri="{FF2B5EF4-FFF2-40B4-BE49-F238E27FC236}">
                <a16:creationId xmlns:a16="http://schemas.microsoft.com/office/drawing/2014/main" id="{63B409B5-268E-4A89-9A3E-F04112557B6B}"/>
              </a:ext>
            </a:extLst>
          </p:cNvPr>
          <p:cNvSpPr>
            <a:spLocks noGrp="1"/>
          </p:cNvSpPr>
          <p:nvPr>
            <p:ph type="body" sz="quarter" idx="15" hasCustomPrompt="1"/>
          </p:nvPr>
        </p:nvSpPr>
        <p:spPr>
          <a:xfrm>
            <a:off x="914400" y="4919472"/>
            <a:ext cx="2057400" cy="91440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3" name="Text Placeholder 10">
            <a:extLst>
              <a:ext uri="{FF2B5EF4-FFF2-40B4-BE49-F238E27FC236}">
                <a16:creationId xmlns:a16="http://schemas.microsoft.com/office/drawing/2014/main" id="{36721D15-D416-46CA-B345-30DFABF2B1F9}"/>
              </a:ext>
            </a:extLst>
          </p:cNvPr>
          <p:cNvSpPr>
            <a:spLocks noGrp="1"/>
          </p:cNvSpPr>
          <p:nvPr>
            <p:ph type="body" sz="quarter" idx="23" hasCustomPrompt="1"/>
          </p:nvPr>
        </p:nvSpPr>
        <p:spPr>
          <a:xfrm>
            <a:off x="3679826" y="3886200"/>
            <a:ext cx="2057400" cy="548640"/>
          </a:xfrm>
        </p:spPr>
        <p:txBody>
          <a:bodyPr>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a:t>CLICK TO EDIT SUBTITLE</a:t>
            </a:r>
          </a:p>
        </p:txBody>
      </p:sp>
      <p:sp>
        <p:nvSpPr>
          <p:cNvPr id="14" name="Text Placeholder 12">
            <a:extLst>
              <a:ext uri="{FF2B5EF4-FFF2-40B4-BE49-F238E27FC236}">
                <a16:creationId xmlns:a16="http://schemas.microsoft.com/office/drawing/2014/main" id="{AC9D2393-012C-4C1F-9650-99EA950E702C}"/>
              </a:ext>
            </a:extLst>
          </p:cNvPr>
          <p:cNvSpPr>
            <a:spLocks noGrp="1"/>
          </p:cNvSpPr>
          <p:nvPr>
            <p:ph type="body" sz="quarter" idx="24" hasCustomPrompt="1"/>
          </p:nvPr>
        </p:nvSpPr>
        <p:spPr>
          <a:xfrm>
            <a:off x="3679826" y="4919472"/>
            <a:ext cx="2057400" cy="91440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5" name="Text Placeholder 10">
            <a:extLst>
              <a:ext uri="{FF2B5EF4-FFF2-40B4-BE49-F238E27FC236}">
                <a16:creationId xmlns:a16="http://schemas.microsoft.com/office/drawing/2014/main" id="{F8DA812D-8076-461A-9F49-953A009E6FE4}"/>
              </a:ext>
            </a:extLst>
          </p:cNvPr>
          <p:cNvSpPr>
            <a:spLocks noGrp="1"/>
          </p:cNvSpPr>
          <p:nvPr>
            <p:ph type="body" sz="quarter" idx="26" hasCustomPrompt="1"/>
          </p:nvPr>
        </p:nvSpPr>
        <p:spPr>
          <a:xfrm>
            <a:off x="9210677" y="3886200"/>
            <a:ext cx="2057400" cy="548640"/>
          </a:xfrm>
        </p:spPr>
        <p:txBody>
          <a:bodyPr>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a:t>CLICK TO EDIT SUBTITLE</a:t>
            </a:r>
          </a:p>
        </p:txBody>
      </p:sp>
      <p:sp>
        <p:nvSpPr>
          <p:cNvPr id="16" name="Text Placeholder 12">
            <a:extLst>
              <a:ext uri="{FF2B5EF4-FFF2-40B4-BE49-F238E27FC236}">
                <a16:creationId xmlns:a16="http://schemas.microsoft.com/office/drawing/2014/main" id="{8C219C4D-CBC4-4E40-A175-465A78AA608E}"/>
              </a:ext>
            </a:extLst>
          </p:cNvPr>
          <p:cNvSpPr>
            <a:spLocks noGrp="1"/>
          </p:cNvSpPr>
          <p:nvPr>
            <p:ph type="body" sz="quarter" idx="27" hasCustomPrompt="1"/>
          </p:nvPr>
        </p:nvSpPr>
        <p:spPr>
          <a:xfrm>
            <a:off x="9210677" y="4919472"/>
            <a:ext cx="2057400" cy="91440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7" name="Text Placeholder 10">
            <a:extLst>
              <a:ext uri="{FF2B5EF4-FFF2-40B4-BE49-F238E27FC236}">
                <a16:creationId xmlns:a16="http://schemas.microsoft.com/office/drawing/2014/main" id="{3E56ACE9-A0FF-4BBA-A8DD-2E6649B83D60}"/>
              </a:ext>
            </a:extLst>
          </p:cNvPr>
          <p:cNvSpPr>
            <a:spLocks noGrp="1"/>
          </p:cNvSpPr>
          <p:nvPr>
            <p:ph type="body" sz="quarter" idx="29" hasCustomPrompt="1"/>
          </p:nvPr>
        </p:nvSpPr>
        <p:spPr>
          <a:xfrm>
            <a:off x="6445252" y="3886200"/>
            <a:ext cx="2057400" cy="548640"/>
          </a:xfrm>
        </p:spPr>
        <p:txBody>
          <a:bodyPr>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a:r>
              <a:rPr lang="en-US"/>
              <a:t>CLICK TO EDIT SUBTITLE</a:t>
            </a:r>
          </a:p>
        </p:txBody>
      </p:sp>
      <p:sp>
        <p:nvSpPr>
          <p:cNvPr id="18" name="Text Placeholder 12">
            <a:extLst>
              <a:ext uri="{FF2B5EF4-FFF2-40B4-BE49-F238E27FC236}">
                <a16:creationId xmlns:a16="http://schemas.microsoft.com/office/drawing/2014/main" id="{CCCED8A0-8B7A-4AC1-B50A-DC4933FEBC3F}"/>
              </a:ext>
            </a:extLst>
          </p:cNvPr>
          <p:cNvSpPr>
            <a:spLocks noGrp="1"/>
          </p:cNvSpPr>
          <p:nvPr>
            <p:ph type="body" sz="quarter" idx="30" hasCustomPrompt="1"/>
          </p:nvPr>
        </p:nvSpPr>
        <p:spPr>
          <a:xfrm>
            <a:off x="6445252" y="4919472"/>
            <a:ext cx="2057400" cy="914400"/>
          </a:xfrm>
        </p:spPr>
        <p:txBody>
          <a:bodyPr>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19" name="Text Placeholder 12">
            <a:extLst>
              <a:ext uri="{FF2B5EF4-FFF2-40B4-BE49-F238E27FC236}">
                <a16:creationId xmlns:a16="http://schemas.microsoft.com/office/drawing/2014/main" id="{0476FD53-B37B-46FF-B4D7-8219A0920D98}"/>
              </a:ext>
            </a:extLst>
          </p:cNvPr>
          <p:cNvSpPr>
            <a:spLocks noGrp="1"/>
          </p:cNvSpPr>
          <p:nvPr>
            <p:ph type="body" sz="quarter" idx="32" hasCustomPrompt="1"/>
          </p:nvPr>
        </p:nvSpPr>
        <p:spPr>
          <a:xfrm>
            <a:off x="914400" y="4544568"/>
            <a:ext cx="20574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20" name="Text Placeholder 12">
            <a:extLst>
              <a:ext uri="{FF2B5EF4-FFF2-40B4-BE49-F238E27FC236}">
                <a16:creationId xmlns:a16="http://schemas.microsoft.com/office/drawing/2014/main" id="{F093374F-C753-4BE8-A368-3181FB016DEE}"/>
              </a:ext>
            </a:extLst>
          </p:cNvPr>
          <p:cNvSpPr>
            <a:spLocks noGrp="1"/>
          </p:cNvSpPr>
          <p:nvPr>
            <p:ph type="body" sz="quarter" idx="33" hasCustomPrompt="1"/>
          </p:nvPr>
        </p:nvSpPr>
        <p:spPr>
          <a:xfrm>
            <a:off x="3679826" y="4544568"/>
            <a:ext cx="20574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21" name="Text Placeholder 12">
            <a:extLst>
              <a:ext uri="{FF2B5EF4-FFF2-40B4-BE49-F238E27FC236}">
                <a16:creationId xmlns:a16="http://schemas.microsoft.com/office/drawing/2014/main" id="{BED1A083-6B0C-4F0D-B72D-0033321C8575}"/>
              </a:ext>
            </a:extLst>
          </p:cNvPr>
          <p:cNvSpPr>
            <a:spLocks noGrp="1"/>
          </p:cNvSpPr>
          <p:nvPr>
            <p:ph type="body" sz="quarter" idx="34" hasCustomPrompt="1"/>
          </p:nvPr>
        </p:nvSpPr>
        <p:spPr>
          <a:xfrm>
            <a:off x="9210677" y="4544568"/>
            <a:ext cx="20574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
        <p:nvSpPr>
          <p:cNvPr id="22" name="Text Placeholder 12">
            <a:extLst>
              <a:ext uri="{FF2B5EF4-FFF2-40B4-BE49-F238E27FC236}">
                <a16:creationId xmlns:a16="http://schemas.microsoft.com/office/drawing/2014/main" id="{0DCB1896-F06C-4D59-8766-46C845012E66}"/>
              </a:ext>
            </a:extLst>
          </p:cNvPr>
          <p:cNvSpPr>
            <a:spLocks noGrp="1"/>
          </p:cNvSpPr>
          <p:nvPr>
            <p:ph type="body" sz="quarter" idx="35" hasCustomPrompt="1"/>
          </p:nvPr>
        </p:nvSpPr>
        <p:spPr>
          <a:xfrm>
            <a:off x="6445252" y="4544568"/>
            <a:ext cx="2057400" cy="274320"/>
          </a:xfrm>
        </p:spPr>
        <p:txBody>
          <a:bodyPr>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Click to edit text</a:t>
            </a:r>
          </a:p>
        </p:txBody>
      </p:sp>
    </p:spTree>
    <p:extLst>
      <p:ext uri="{BB962C8B-B14F-4D97-AF65-F5344CB8AC3E}">
        <p14:creationId xmlns:p14="http://schemas.microsoft.com/office/powerpoint/2010/main" val="2273479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About U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38200" y="1289304"/>
            <a:ext cx="4114800" cy="1325563"/>
          </a:xfrm>
        </p:spPr>
        <p:txBody>
          <a:bodyPr/>
          <a:lstStyle>
            <a:lvl1pP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838200" y="6356350"/>
            <a:ext cx="1371600" cy="365125"/>
          </a:xfrm>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3867912" y="6356350"/>
            <a:ext cx="2743200" cy="365125"/>
          </a:xfrm>
        </p:spPr>
        <p:txBody>
          <a:bodyPr/>
          <a:lstStyle>
            <a:lvl1pPr algn="r">
              <a:defRPr/>
            </a:lvl1p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8" name="Text Placeholder 7">
            <a:extLst>
              <a:ext uri="{FF2B5EF4-FFF2-40B4-BE49-F238E27FC236}">
                <a16:creationId xmlns:a16="http://schemas.microsoft.com/office/drawing/2014/main" id="{1183D993-BA0D-4589-B631-1793D008E888}"/>
              </a:ext>
            </a:extLst>
          </p:cNvPr>
          <p:cNvSpPr>
            <a:spLocks noGrp="1"/>
          </p:cNvSpPr>
          <p:nvPr>
            <p:ph type="body" sz="quarter" idx="13"/>
          </p:nvPr>
        </p:nvSpPr>
        <p:spPr>
          <a:xfrm>
            <a:off x="838200" y="2816352"/>
            <a:ext cx="4114800" cy="2779776"/>
          </a:xfrm>
        </p:spPr>
        <p:txBody>
          <a:bodyPr>
            <a:normAutofit/>
          </a:bodyPr>
          <a:lstStyle>
            <a:lvl1pPr marL="0" indent="0">
              <a:lnSpc>
                <a:spcPts val="2400"/>
              </a:lnSpc>
              <a:buNone/>
              <a:defRPr sz="1400"/>
            </a:lvl1pPr>
            <a:lvl2pPr marL="457200" indent="0">
              <a:lnSpc>
                <a:spcPts val="2400"/>
              </a:lnSpc>
              <a:buNone/>
              <a:defRPr sz="1400"/>
            </a:lvl2pPr>
            <a:lvl3pPr marL="914400" indent="0">
              <a:lnSpc>
                <a:spcPts val="2400"/>
              </a:lnSpc>
              <a:buNone/>
              <a:defRPr sz="1400"/>
            </a:lvl3pPr>
            <a:lvl4pPr marL="1371600" indent="0">
              <a:lnSpc>
                <a:spcPts val="2400"/>
              </a:lnSpc>
              <a:buNone/>
              <a:defRPr sz="1400"/>
            </a:lvl4pPr>
            <a:lvl5pPr marL="1828800" indent="0">
              <a:lnSpc>
                <a:spcPts val="24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71" name="Picture Placeholder 986" descr="abstract colorful illustration of buildings">
            <a:extLst>
              <a:ext uri="{FF2B5EF4-FFF2-40B4-BE49-F238E27FC236}">
                <a16:creationId xmlns:a16="http://schemas.microsoft.com/office/drawing/2014/main" id="{1CD94EDA-0FB9-4299-9A56-007C349DD4B9}"/>
              </a:ext>
            </a:extLst>
          </p:cNvPr>
          <p:cNvGrpSpPr/>
          <p:nvPr userDrawn="1"/>
        </p:nvGrpSpPr>
        <p:grpSpPr>
          <a:xfrm>
            <a:off x="5441509" y="457478"/>
            <a:ext cx="6763997" cy="6416038"/>
            <a:chOff x="5441509" y="457478"/>
            <a:chExt cx="6763997" cy="6416038"/>
          </a:xfrm>
        </p:grpSpPr>
        <p:sp>
          <p:nvSpPr>
            <p:cNvPr id="972" name="Freeform: Shape 971">
              <a:extLst>
                <a:ext uri="{FF2B5EF4-FFF2-40B4-BE49-F238E27FC236}">
                  <a16:creationId xmlns:a16="http://schemas.microsoft.com/office/drawing/2014/main" id="{20F20B26-F141-40B7-BC76-4B81A46651AF}"/>
                </a:ext>
              </a:extLst>
            </p:cNvPr>
            <p:cNvSpPr/>
            <p:nvPr/>
          </p:nvSpPr>
          <p:spPr>
            <a:xfrm>
              <a:off x="11083741" y="5709480"/>
              <a:ext cx="325733" cy="1147542"/>
            </a:xfrm>
            <a:custGeom>
              <a:avLst/>
              <a:gdLst>
                <a:gd name="connsiteX0" fmla="*/ 0 w 325733"/>
                <a:gd name="connsiteY0" fmla="*/ 775941 h 1147542"/>
                <a:gd name="connsiteX1" fmla="*/ 5872 w 325733"/>
                <a:gd name="connsiteY1" fmla="*/ 781313 h 1147542"/>
                <a:gd name="connsiteX2" fmla="*/ 4998 w 325733"/>
                <a:gd name="connsiteY2" fmla="*/ 792809 h 1147542"/>
                <a:gd name="connsiteX3" fmla="*/ 274007 w 325733"/>
                <a:gd name="connsiteY3" fmla="*/ 1147542 h 1147542"/>
                <a:gd name="connsiteX4" fmla="*/ 325734 w 325733"/>
                <a:gd name="connsiteY4" fmla="*/ 364479 h 1147542"/>
                <a:gd name="connsiteX5" fmla="*/ 38358 w 325733"/>
                <a:gd name="connsiteY5" fmla="*/ 0 h 114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733" h="1147542">
                  <a:moveTo>
                    <a:pt x="0" y="775941"/>
                  </a:moveTo>
                  <a:cubicBezTo>
                    <a:pt x="2674" y="776740"/>
                    <a:pt x="4835" y="778714"/>
                    <a:pt x="5872" y="781313"/>
                  </a:cubicBezTo>
                  <a:cubicBezTo>
                    <a:pt x="7472" y="785062"/>
                    <a:pt x="7147" y="789348"/>
                    <a:pt x="4998" y="792809"/>
                  </a:cubicBezTo>
                  <a:lnTo>
                    <a:pt x="274007" y="1147542"/>
                  </a:lnTo>
                  <a:lnTo>
                    <a:pt x="325734" y="364479"/>
                  </a:lnTo>
                  <a:lnTo>
                    <a:pt x="38358" y="0"/>
                  </a:lnTo>
                  <a:close/>
                </a:path>
              </a:pathLst>
            </a:custGeom>
            <a:solidFill>
              <a:schemeClr val="bg2"/>
            </a:solidFill>
            <a:ln w="12483"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E0156BCD-E923-4EC6-8E9F-73EA6F80C4A1}"/>
                </a:ext>
              </a:extLst>
            </p:cNvPr>
            <p:cNvSpPr/>
            <p:nvPr/>
          </p:nvSpPr>
          <p:spPr>
            <a:xfrm>
              <a:off x="11705097" y="694605"/>
              <a:ext cx="499533" cy="1279114"/>
            </a:xfrm>
            <a:custGeom>
              <a:avLst/>
              <a:gdLst>
                <a:gd name="connsiteX0" fmla="*/ 0 w 499533"/>
                <a:gd name="connsiteY0" fmla="*/ 1279115 h 1279114"/>
                <a:gd name="connsiteX1" fmla="*/ 111077 w 499533"/>
                <a:gd name="connsiteY1" fmla="*/ 1223012 h 1279114"/>
                <a:gd name="connsiteX2" fmla="*/ 150185 w 499533"/>
                <a:gd name="connsiteY2" fmla="*/ 682478 h 1279114"/>
                <a:gd name="connsiteX3" fmla="*/ 150185 w 499533"/>
                <a:gd name="connsiteY3" fmla="*/ 681103 h 1279114"/>
                <a:gd name="connsiteX4" fmla="*/ 150185 w 499533"/>
                <a:gd name="connsiteY4" fmla="*/ 678854 h 1279114"/>
                <a:gd name="connsiteX5" fmla="*/ 151184 w 499533"/>
                <a:gd name="connsiteY5" fmla="*/ 677105 h 1279114"/>
                <a:gd name="connsiteX6" fmla="*/ 152184 w 499533"/>
                <a:gd name="connsiteY6" fmla="*/ 675481 h 1279114"/>
                <a:gd name="connsiteX7" fmla="*/ 153809 w 499533"/>
                <a:gd name="connsiteY7" fmla="*/ 674231 h 1279114"/>
                <a:gd name="connsiteX8" fmla="*/ 154933 w 499533"/>
                <a:gd name="connsiteY8" fmla="*/ 673357 h 1279114"/>
                <a:gd name="connsiteX9" fmla="*/ 280129 w 499533"/>
                <a:gd name="connsiteY9" fmla="*/ 612256 h 1279114"/>
                <a:gd name="connsiteX10" fmla="*/ 282503 w 499533"/>
                <a:gd name="connsiteY10" fmla="*/ 580519 h 1279114"/>
                <a:gd name="connsiteX11" fmla="*/ 282503 w 499533"/>
                <a:gd name="connsiteY11" fmla="*/ 579019 h 1279114"/>
                <a:gd name="connsiteX12" fmla="*/ 282503 w 499533"/>
                <a:gd name="connsiteY12" fmla="*/ 576895 h 1279114"/>
                <a:gd name="connsiteX13" fmla="*/ 283503 w 499533"/>
                <a:gd name="connsiteY13" fmla="*/ 575146 h 1279114"/>
                <a:gd name="connsiteX14" fmla="*/ 284502 w 499533"/>
                <a:gd name="connsiteY14" fmla="*/ 573646 h 1279114"/>
                <a:gd name="connsiteX15" fmla="*/ 286127 w 499533"/>
                <a:gd name="connsiteY15" fmla="*/ 572272 h 1279114"/>
                <a:gd name="connsiteX16" fmla="*/ 287126 w 499533"/>
                <a:gd name="connsiteY16" fmla="*/ 571522 h 1279114"/>
                <a:gd name="connsiteX17" fmla="*/ 499534 w 499533"/>
                <a:gd name="connsiteY17" fmla="*/ 468188 h 1279114"/>
                <a:gd name="connsiteX18" fmla="*/ 499534 w 499533"/>
                <a:gd name="connsiteY18" fmla="*/ 380723 h 1279114"/>
                <a:gd name="connsiteX19" fmla="*/ 85713 w 499533"/>
                <a:gd name="connsiteY19" fmla="*/ 0 h 127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533" h="1279114">
                  <a:moveTo>
                    <a:pt x="0" y="1279115"/>
                  </a:moveTo>
                  <a:lnTo>
                    <a:pt x="111077" y="1223012"/>
                  </a:lnTo>
                  <a:lnTo>
                    <a:pt x="150185" y="682478"/>
                  </a:lnTo>
                  <a:cubicBezTo>
                    <a:pt x="150123" y="682022"/>
                    <a:pt x="150123" y="681560"/>
                    <a:pt x="150185" y="681103"/>
                  </a:cubicBezTo>
                  <a:cubicBezTo>
                    <a:pt x="150123" y="680355"/>
                    <a:pt x="150123" y="679603"/>
                    <a:pt x="150185" y="678854"/>
                  </a:cubicBezTo>
                  <a:cubicBezTo>
                    <a:pt x="150473" y="678246"/>
                    <a:pt x="150810" y="677660"/>
                    <a:pt x="151184" y="677105"/>
                  </a:cubicBezTo>
                  <a:lnTo>
                    <a:pt x="152184" y="675481"/>
                  </a:lnTo>
                  <a:lnTo>
                    <a:pt x="153809" y="674231"/>
                  </a:lnTo>
                  <a:lnTo>
                    <a:pt x="154933" y="673357"/>
                  </a:lnTo>
                  <a:lnTo>
                    <a:pt x="280129" y="612256"/>
                  </a:lnTo>
                  <a:lnTo>
                    <a:pt x="282503" y="580519"/>
                  </a:lnTo>
                  <a:lnTo>
                    <a:pt x="282503" y="579019"/>
                  </a:lnTo>
                  <a:cubicBezTo>
                    <a:pt x="282378" y="578317"/>
                    <a:pt x="282378" y="577597"/>
                    <a:pt x="282503" y="576895"/>
                  </a:cubicBezTo>
                  <a:cubicBezTo>
                    <a:pt x="282765" y="576272"/>
                    <a:pt x="283103" y="575684"/>
                    <a:pt x="283503" y="575146"/>
                  </a:cubicBezTo>
                  <a:cubicBezTo>
                    <a:pt x="283765" y="574600"/>
                    <a:pt x="284102" y="574095"/>
                    <a:pt x="284502" y="573646"/>
                  </a:cubicBezTo>
                  <a:cubicBezTo>
                    <a:pt x="284952" y="573089"/>
                    <a:pt x="285501" y="572623"/>
                    <a:pt x="286127" y="572272"/>
                  </a:cubicBezTo>
                  <a:cubicBezTo>
                    <a:pt x="286127" y="572272"/>
                    <a:pt x="286127" y="572272"/>
                    <a:pt x="287126" y="571522"/>
                  </a:cubicBezTo>
                  <a:lnTo>
                    <a:pt x="499534" y="468188"/>
                  </a:lnTo>
                  <a:lnTo>
                    <a:pt x="499534" y="380723"/>
                  </a:lnTo>
                  <a:lnTo>
                    <a:pt x="85713" y="0"/>
                  </a:lnTo>
                  <a:close/>
                </a:path>
              </a:pathLst>
            </a:custGeom>
            <a:solidFill>
              <a:schemeClr val="accent2"/>
            </a:solidFill>
            <a:ln w="12483"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44624B82-5F45-40BD-883B-D0672D53AA70}"/>
                </a:ext>
              </a:extLst>
            </p:cNvPr>
            <p:cNvSpPr/>
            <p:nvPr/>
          </p:nvSpPr>
          <p:spPr>
            <a:xfrm>
              <a:off x="12003968" y="1286744"/>
              <a:ext cx="8496" cy="11245"/>
            </a:xfrm>
            <a:custGeom>
              <a:avLst/>
              <a:gdLst>
                <a:gd name="connsiteX0" fmla="*/ 875 w 8496"/>
                <a:gd name="connsiteY0" fmla="*/ 0 h 11245"/>
                <a:gd name="connsiteX1" fmla="*/ 0 w 8496"/>
                <a:gd name="connsiteY1" fmla="*/ 11246 h 11245"/>
                <a:gd name="connsiteX2" fmla="*/ 8496 w 8496"/>
                <a:gd name="connsiteY2" fmla="*/ 7122 h 11245"/>
                <a:gd name="connsiteX3" fmla="*/ 875 w 8496"/>
                <a:gd name="connsiteY3" fmla="*/ 0 h 11245"/>
              </a:gdLst>
              <a:ahLst/>
              <a:cxnLst>
                <a:cxn ang="0">
                  <a:pos x="connsiteX0" y="connsiteY0"/>
                </a:cxn>
                <a:cxn ang="0">
                  <a:pos x="connsiteX1" y="connsiteY1"/>
                </a:cxn>
                <a:cxn ang="0">
                  <a:pos x="connsiteX2" y="connsiteY2"/>
                </a:cxn>
                <a:cxn ang="0">
                  <a:pos x="connsiteX3" y="connsiteY3"/>
                </a:cxn>
              </a:cxnLst>
              <a:rect l="l" t="t" r="r" b="b"/>
              <a:pathLst>
                <a:path w="8496" h="11245">
                  <a:moveTo>
                    <a:pt x="875" y="0"/>
                  </a:moveTo>
                  <a:lnTo>
                    <a:pt x="0" y="11246"/>
                  </a:lnTo>
                  <a:lnTo>
                    <a:pt x="8496" y="7122"/>
                  </a:lnTo>
                  <a:lnTo>
                    <a:pt x="875" y="0"/>
                  </a:lnTo>
                  <a:close/>
                </a:path>
              </a:pathLst>
            </a:custGeom>
            <a:solidFill>
              <a:srgbClr val="F9AA19"/>
            </a:solidFill>
            <a:ln w="12483"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C4698F80-6FB4-4909-878B-2C849DD0140A}"/>
                </a:ext>
              </a:extLst>
            </p:cNvPr>
            <p:cNvSpPr/>
            <p:nvPr/>
          </p:nvSpPr>
          <p:spPr>
            <a:xfrm>
              <a:off x="12006467" y="1186534"/>
              <a:ext cx="198539" cy="105707"/>
            </a:xfrm>
            <a:custGeom>
              <a:avLst/>
              <a:gdLst>
                <a:gd name="connsiteX0" fmla="*/ 9371 w 198539"/>
                <a:gd name="connsiteY0" fmla="*/ 105708 h 105707"/>
                <a:gd name="connsiteX1" fmla="*/ 12495 w 198539"/>
                <a:gd name="connsiteY1" fmla="*/ 104208 h 105707"/>
                <a:gd name="connsiteX2" fmla="*/ 198539 w 198539"/>
                <a:gd name="connsiteY2" fmla="*/ 13245 h 105707"/>
                <a:gd name="connsiteX3" fmla="*/ 198539 w 198539"/>
                <a:gd name="connsiteY3" fmla="*/ 0 h 105707"/>
                <a:gd name="connsiteX4" fmla="*/ 0 w 198539"/>
                <a:gd name="connsiteY4" fmla="*/ 96836 h 105707"/>
                <a:gd name="connsiteX5" fmla="*/ 9371 w 198539"/>
                <a:gd name="connsiteY5" fmla="*/ 105708 h 10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539" h="105707">
                  <a:moveTo>
                    <a:pt x="9371" y="105708"/>
                  </a:moveTo>
                  <a:lnTo>
                    <a:pt x="12495" y="104208"/>
                  </a:lnTo>
                  <a:lnTo>
                    <a:pt x="198539" y="13245"/>
                  </a:lnTo>
                  <a:lnTo>
                    <a:pt x="198539" y="0"/>
                  </a:lnTo>
                  <a:lnTo>
                    <a:pt x="0" y="96836"/>
                  </a:lnTo>
                  <a:lnTo>
                    <a:pt x="9371" y="105708"/>
                  </a:lnTo>
                  <a:close/>
                </a:path>
              </a:pathLst>
            </a:custGeom>
            <a:solidFill>
              <a:schemeClr val="accent2">
                <a:lumMod val="75000"/>
              </a:schemeClr>
            </a:solidFill>
            <a:ln w="12483"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6D2F2005-B433-44A8-AA1B-A17C6C7D6702}"/>
                </a:ext>
              </a:extLst>
            </p:cNvPr>
            <p:cNvSpPr/>
            <p:nvPr/>
          </p:nvSpPr>
          <p:spPr>
            <a:xfrm>
              <a:off x="11874025" y="1223144"/>
              <a:ext cx="330981" cy="318248"/>
            </a:xfrm>
            <a:custGeom>
              <a:avLst/>
              <a:gdLst>
                <a:gd name="connsiteX0" fmla="*/ 122946 w 330981"/>
                <a:gd name="connsiteY0" fmla="*/ 101709 h 318248"/>
                <a:gd name="connsiteX1" fmla="*/ 0 w 330981"/>
                <a:gd name="connsiteY1" fmla="*/ 161810 h 318248"/>
                <a:gd name="connsiteX2" fmla="*/ 163554 w 330981"/>
                <a:gd name="connsiteY2" fmla="*/ 318248 h 318248"/>
                <a:gd name="connsiteX3" fmla="*/ 330982 w 330981"/>
                <a:gd name="connsiteY3" fmla="*/ 235156 h 318248"/>
                <a:gd name="connsiteX4" fmla="*/ 330982 w 330981"/>
                <a:gd name="connsiteY4" fmla="*/ 0 h 318248"/>
                <a:gd name="connsiteX5" fmla="*/ 151685 w 330981"/>
                <a:gd name="connsiteY5" fmla="*/ 87715 h 318248"/>
                <a:gd name="connsiteX6" fmla="*/ 122946 w 330981"/>
                <a:gd name="connsiteY6" fmla="*/ 101709 h 31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1" h="318248">
                  <a:moveTo>
                    <a:pt x="122946" y="101709"/>
                  </a:moveTo>
                  <a:lnTo>
                    <a:pt x="0" y="161810"/>
                  </a:lnTo>
                  <a:lnTo>
                    <a:pt x="163554" y="318248"/>
                  </a:lnTo>
                  <a:lnTo>
                    <a:pt x="330982" y="235156"/>
                  </a:lnTo>
                  <a:lnTo>
                    <a:pt x="330982" y="0"/>
                  </a:lnTo>
                  <a:lnTo>
                    <a:pt x="151685" y="87715"/>
                  </a:lnTo>
                  <a:lnTo>
                    <a:pt x="122946" y="101709"/>
                  </a:lnTo>
                  <a:close/>
                </a:path>
              </a:pathLst>
            </a:custGeom>
            <a:solidFill>
              <a:schemeClr val="accent6"/>
            </a:solidFill>
            <a:ln w="12483"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43C99B22-6962-4CFF-8DB9-90BFA49D1CFB}"/>
                </a:ext>
              </a:extLst>
            </p:cNvPr>
            <p:cNvSpPr/>
            <p:nvPr/>
          </p:nvSpPr>
          <p:spPr>
            <a:xfrm>
              <a:off x="12009216" y="1462424"/>
              <a:ext cx="194541" cy="838165"/>
            </a:xfrm>
            <a:custGeom>
              <a:avLst/>
              <a:gdLst>
                <a:gd name="connsiteX0" fmla="*/ 0 w 194541"/>
                <a:gd name="connsiteY0" fmla="*/ 449071 h 838165"/>
                <a:gd name="connsiteX1" fmla="*/ 3248 w 194541"/>
                <a:gd name="connsiteY1" fmla="*/ 452195 h 838165"/>
                <a:gd name="connsiteX2" fmla="*/ 114450 w 194541"/>
                <a:gd name="connsiteY2" fmla="*/ 561276 h 838165"/>
                <a:gd name="connsiteX3" fmla="*/ 114450 w 194541"/>
                <a:gd name="connsiteY3" fmla="*/ 562151 h 838165"/>
                <a:gd name="connsiteX4" fmla="*/ 115575 w 194541"/>
                <a:gd name="connsiteY4" fmla="*/ 563775 h 838165"/>
                <a:gd name="connsiteX5" fmla="*/ 116450 w 194541"/>
                <a:gd name="connsiteY5" fmla="*/ 565525 h 838165"/>
                <a:gd name="connsiteX6" fmla="*/ 116450 w 194541"/>
                <a:gd name="connsiteY6" fmla="*/ 567524 h 838165"/>
                <a:gd name="connsiteX7" fmla="*/ 116450 w 194541"/>
                <a:gd name="connsiteY7" fmla="*/ 569648 h 838165"/>
                <a:gd name="connsiteX8" fmla="*/ 116450 w 194541"/>
                <a:gd name="connsiteY8" fmla="*/ 570772 h 838165"/>
                <a:gd name="connsiteX9" fmla="*/ 101331 w 194541"/>
                <a:gd name="connsiteY9" fmla="*/ 745703 h 838165"/>
                <a:gd name="connsiteX10" fmla="*/ 194541 w 194541"/>
                <a:gd name="connsiteY10" fmla="*/ 838166 h 838165"/>
                <a:gd name="connsiteX11" fmla="*/ 194541 w 194541"/>
                <a:gd name="connsiteY11" fmla="*/ 0 h 838165"/>
                <a:gd name="connsiteX12" fmla="*/ 28362 w 194541"/>
                <a:gd name="connsiteY12" fmla="*/ 82592 h 83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541" h="838165">
                  <a:moveTo>
                    <a:pt x="0" y="449071"/>
                  </a:moveTo>
                  <a:lnTo>
                    <a:pt x="3248" y="452195"/>
                  </a:lnTo>
                  <a:lnTo>
                    <a:pt x="114450" y="561276"/>
                  </a:lnTo>
                  <a:cubicBezTo>
                    <a:pt x="114513" y="561564"/>
                    <a:pt x="114513" y="561864"/>
                    <a:pt x="114450" y="562151"/>
                  </a:cubicBezTo>
                  <a:cubicBezTo>
                    <a:pt x="114938" y="562613"/>
                    <a:pt x="115313" y="563163"/>
                    <a:pt x="115575" y="563775"/>
                  </a:cubicBezTo>
                  <a:lnTo>
                    <a:pt x="116450" y="565525"/>
                  </a:lnTo>
                  <a:cubicBezTo>
                    <a:pt x="116525" y="566187"/>
                    <a:pt x="116525" y="566862"/>
                    <a:pt x="116450" y="567524"/>
                  </a:cubicBezTo>
                  <a:cubicBezTo>
                    <a:pt x="116512" y="568236"/>
                    <a:pt x="116512" y="568936"/>
                    <a:pt x="116450" y="569648"/>
                  </a:cubicBezTo>
                  <a:cubicBezTo>
                    <a:pt x="116450" y="569648"/>
                    <a:pt x="116450" y="570398"/>
                    <a:pt x="116450" y="570772"/>
                  </a:cubicBezTo>
                  <a:lnTo>
                    <a:pt x="101331" y="745703"/>
                  </a:lnTo>
                  <a:lnTo>
                    <a:pt x="194541" y="838166"/>
                  </a:lnTo>
                  <a:lnTo>
                    <a:pt x="194541" y="0"/>
                  </a:lnTo>
                  <a:lnTo>
                    <a:pt x="28362" y="82592"/>
                  </a:lnTo>
                  <a:close/>
                </a:path>
              </a:pathLst>
            </a:custGeom>
            <a:solidFill>
              <a:schemeClr val="bg2"/>
            </a:solidFill>
            <a:ln w="12483"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5B05B1DD-304A-4481-B880-1C22F83964C0}"/>
                </a:ext>
              </a:extLst>
            </p:cNvPr>
            <p:cNvSpPr/>
            <p:nvPr/>
          </p:nvSpPr>
          <p:spPr>
            <a:xfrm>
              <a:off x="11835041" y="1388453"/>
              <a:ext cx="200538" cy="519792"/>
            </a:xfrm>
            <a:custGeom>
              <a:avLst/>
              <a:gdLst>
                <a:gd name="connsiteX0" fmla="*/ 108953 w 200538"/>
                <a:gd name="connsiteY0" fmla="*/ 464940 h 519792"/>
                <a:gd name="connsiteX1" fmla="*/ 110827 w 200538"/>
                <a:gd name="connsiteY1" fmla="*/ 464940 h 519792"/>
                <a:gd name="connsiteX2" fmla="*/ 112577 w 200538"/>
                <a:gd name="connsiteY2" fmla="*/ 464940 h 519792"/>
                <a:gd name="connsiteX3" fmla="*/ 114200 w 200538"/>
                <a:gd name="connsiteY3" fmla="*/ 464940 h 519792"/>
                <a:gd name="connsiteX4" fmla="*/ 115825 w 200538"/>
                <a:gd name="connsiteY4" fmla="*/ 466064 h 519792"/>
                <a:gd name="connsiteX5" fmla="*/ 116950 w 200538"/>
                <a:gd name="connsiteY5" fmla="*/ 466064 h 519792"/>
                <a:gd name="connsiteX6" fmla="*/ 171301 w 200538"/>
                <a:gd name="connsiteY6" fmla="*/ 519418 h 519792"/>
                <a:gd name="connsiteX7" fmla="*/ 200539 w 200538"/>
                <a:gd name="connsiteY7" fmla="*/ 155813 h 519792"/>
                <a:gd name="connsiteX8" fmla="*/ 37484 w 200538"/>
                <a:gd name="connsiteY8" fmla="*/ 0 h 519792"/>
                <a:gd name="connsiteX9" fmla="*/ 0 w 200538"/>
                <a:gd name="connsiteY9" fmla="*/ 519793 h 519792"/>
                <a:gd name="connsiteX10" fmla="*/ 107953 w 200538"/>
                <a:gd name="connsiteY10" fmla="*/ 465314 h 519792"/>
                <a:gd name="connsiteX11" fmla="*/ 108953 w 200538"/>
                <a:gd name="connsiteY11" fmla="*/ 464940 h 51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538" h="519792">
                  <a:moveTo>
                    <a:pt x="108953" y="464940"/>
                  </a:moveTo>
                  <a:lnTo>
                    <a:pt x="110827" y="464940"/>
                  </a:lnTo>
                  <a:lnTo>
                    <a:pt x="112577" y="464940"/>
                  </a:lnTo>
                  <a:lnTo>
                    <a:pt x="114200" y="464940"/>
                  </a:lnTo>
                  <a:cubicBezTo>
                    <a:pt x="114788" y="465240"/>
                    <a:pt x="115338" y="465614"/>
                    <a:pt x="115825" y="466064"/>
                  </a:cubicBezTo>
                  <a:lnTo>
                    <a:pt x="116950" y="466064"/>
                  </a:lnTo>
                  <a:lnTo>
                    <a:pt x="171301" y="519418"/>
                  </a:lnTo>
                  <a:lnTo>
                    <a:pt x="200539" y="155813"/>
                  </a:lnTo>
                  <a:lnTo>
                    <a:pt x="37484" y="0"/>
                  </a:lnTo>
                  <a:lnTo>
                    <a:pt x="0" y="519793"/>
                  </a:lnTo>
                  <a:lnTo>
                    <a:pt x="107953" y="465314"/>
                  </a:lnTo>
                  <a:cubicBezTo>
                    <a:pt x="108266" y="465140"/>
                    <a:pt x="108603" y="465015"/>
                    <a:pt x="108953" y="464940"/>
                  </a:cubicBezTo>
                  <a:close/>
                </a:path>
              </a:pathLst>
            </a:custGeom>
            <a:solidFill>
              <a:schemeClr val="accent6"/>
            </a:solidFill>
            <a:ln w="12483"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5909B800-A66F-4FEF-BE6F-E6DEB1D81710}"/>
                </a:ext>
              </a:extLst>
            </p:cNvPr>
            <p:cNvSpPr/>
            <p:nvPr/>
          </p:nvSpPr>
          <p:spPr>
            <a:xfrm>
              <a:off x="12055571" y="3054789"/>
              <a:ext cx="148560" cy="1860757"/>
            </a:xfrm>
            <a:custGeom>
              <a:avLst/>
              <a:gdLst>
                <a:gd name="connsiteX0" fmla="*/ 103206 w 148560"/>
                <a:gd name="connsiteY0" fmla="*/ 492429 h 1860757"/>
                <a:gd name="connsiteX1" fmla="*/ 96708 w 148560"/>
                <a:gd name="connsiteY1" fmla="*/ 562651 h 1860757"/>
                <a:gd name="connsiteX2" fmla="*/ 0 w 148560"/>
                <a:gd name="connsiteY2" fmla="*/ 1593490 h 1860757"/>
                <a:gd name="connsiteX3" fmla="*/ 116200 w 148560"/>
                <a:gd name="connsiteY3" fmla="*/ 1725687 h 1860757"/>
                <a:gd name="connsiteX4" fmla="*/ 116200 w 148560"/>
                <a:gd name="connsiteY4" fmla="*/ 1726312 h 1860757"/>
                <a:gd name="connsiteX5" fmla="*/ 117324 w 148560"/>
                <a:gd name="connsiteY5" fmla="*/ 1728186 h 1860757"/>
                <a:gd name="connsiteX6" fmla="*/ 118074 w 148560"/>
                <a:gd name="connsiteY6" fmla="*/ 1729935 h 1860757"/>
                <a:gd name="connsiteX7" fmla="*/ 118074 w 148560"/>
                <a:gd name="connsiteY7" fmla="*/ 1731809 h 1860757"/>
                <a:gd name="connsiteX8" fmla="*/ 118074 w 148560"/>
                <a:gd name="connsiteY8" fmla="*/ 1734183 h 1860757"/>
                <a:gd name="connsiteX9" fmla="*/ 118074 w 148560"/>
                <a:gd name="connsiteY9" fmla="*/ 1734933 h 1860757"/>
                <a:gd name="connsiteX10" fmla="*/ 110703 w 148560"/>
                <a:gd name="connsiteY10" fmla="*/ 1808654 h 1860757"/>
                <a:gd name="connsiteX11" fmla="*/ 110703 w 148560"/>
                <a:gd name="connsiteY11" fmla="*/ 1808654 h 1860757"/>
                <a:gd name="connsiteX12" fmla="*/ 109952 w 148560"/>
                <a:gd name="connsiteY12" fmla="*/ 1816651 h 1860757"/>
                <a:gd name="connsiteX13" fmla="*/ 148561 w 148560"/>
                <a:gd name="connsiteY13" fmla="*/ 1860758 h 1860757"/>
                <a:gd name="connsiteX14" fmla="*/ 148561 w 148560"/>
                <a:gd name="connsiteY14" fmla="*/ 0 h 1860757"/>
                <a:gd name="connsiteX15" fmla="*/ 137566 w 148560"/>
                <a:gd name="connsiteY15" fmla="*/ 116703 h 186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560" h="1860757">
                  <a:moveTo>
                    <a:pt x="103206" y="492429"/>
                  </a:moveTo>
                  <a:lnTo>
                    <a:pt x="96708" y="562651"/>
                  </a:lnTo>
                  <a:lnTo>
                    <a:pt x="0" y="1593490"/>
                  </a:lnTo>
                  <a:lnTo>
                    <a:pt x="116200" y="1725687"/>
                  </a:lnTo>
                  <a:cubicBezTo>
                    <a:pt x="116200" y="1725687"/>
                    <a:pt x="116200" y="1725687"/>
                    <a:pt x="116200" y="1726312"/>
                  </a:cubicBezTo>
                  <a:cubicBezTo>
                    <a:pt x="116625" y="1726911"/>
                    <a:pt x="117000" y="1727536"/>
                    <a:pt x="117324" y="1728186"/>
                  </a:cubicBezTo>
                  <a:lnTo>
                    <a:pt x="118074" y="1729935"/>
                  </a:lnTo>
                  <a:lnTo>
                    <a:pt x="118074" y="1731809"/>
                  </a:lnTo>
                  <a:cubicBezTo>
                    <a:pt x="118137" y="1732597"/>
                    <a:pt x="118137" y="1733396"/>
                    <a:pt x="118074" y="1734183"/>
                  </a:cubicBezTo>
                  <a:cubicBezTo>
                    <a:pt x="118074" y="1734183"/>
                    <a:pt x="118074" y="1734183"/>
                    <a:pt x="118074" y="1734933"/>
                  </a:cubicBezTo>
                  <a:lnTo>
                    <a:pt x="110703" y="1808654"/>
                  </a:lnTo>
                  <a:lnTo>
                    <a:pt x="110703" y="1808654"/>
                  </a:lnTo>
                  <a:lnTo>
                    <a:pt x="109952" y="1816651"/>
                  </a:lnTo>
                  <a:lnTo>
                    <a:pt x="148561" y="1860758"/>
                  </a:lnTo>
                  <a:lnTo>
                    <a:pt x="148561" y="0"/>
                  </a:lnTo>
                  <a:lnTo>
                    <a:pt x="137566" y="116703"/>
                  </a:lnTo>
                  <a:close/>
                </a:path>
              </a:pathLst>
            </a:custGeom>
            <a:solidFill>
              <a:schemeClr val="accent2">
                <a:lumMod val="75000"/>
              </a:schemeClr>
            </a:solidFill>
            <a:ln w="12483"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169ABF29-2DFD-484F-A6B0-82190376EDB6}"/>
                </a:ext>
              </a:extLst>
            </p:cNvPr>
            <p:cNvSpPr/>
            <p:nvPr/>
          </p:nvSpPr>
          <p:spPr>
            <a:xfrm>
              <a:off x="12139660" y="4871439"/>
              <a:ext cx="65346" cy="265019"/>
            </a:xfrm>
            <a:custGeom>
              <a:avLst/>
              <a:gdLst>
                <a:gd name="connsiteX0" fmla="*/ 0 w 65346"/>
                <a:gd name="connsiteY0" fmla="*/ 265019 h 265019"/>
                <a:gd name="connsiteX1" fmla="*/ 65347 w 65346"/>
                <a:gd name="connsiteY1" fmla="*/ 225410 h 265019"/>
                <a:gd name="connsiteX2" fmla="*/ 65347 w 65346"/>
                <a:gd name="connsiteY2" fmla="*/ 44107 h 265019"/>
                <a:gd name="connsiteX3" fmla="*/ 26738 w 65346"/>
                <a:gd name="connsiteY3" fmla="*/ 0 h 265019"/>
                <a:gd name="connsiteX4" fmla="*/ 0 w 65346"/>
                <a:gd name="connsiteY4" fmla="*/ 265019 h 265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46" h="265019">
                  <a:moveTo>
                    <a:pt x="0" y="265019"/>
                  </a:moveTo>
                  <a:lnTo>
                    <a:pt x="65347" y="225410"/>
                  </a:lnTo>
                  <a:lnTo>
                    <a:pt x="65347" y="44107"/>
                  </a:lnTo>
                  <a:lnTo>
                    <a:pt x="26738" y="0"/>
                  </a:lnTo>
                  <a:lnTo>
                    <a:pt x="0" y="265019"/>
                  </a:lnTo>
                  <a:close/>
                </a:path>
              </a:pathLst>
            </a:custGeom>
            <a:solidFill>
              <a:schemeClr val="accent5">
                <a:lumMod val="75000"/>
              </a:schemeClr>
            </a:solidFill>
            <a:ln w="12483"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27ADD333-FDE0-4DBC-A95B-E1D68DE0011F}"/>
                </a:ext>
              </a:extLst>
            </p:cNvPr>
            <p:cNvSpPr/>
            <p:nvPr/>
          </p:nvSpPr>
          <p:spPr>
            <a:xfrm>
              <a:off x="12122667" y="5101098"/>
              <a:ext cx="82339" cy="204793"/>
            </a:xfrm>
            <a:custGeom>
              <a:avLst/>
              <a:gdLst>
                <a:gd name="connsiteX0" fmla="*/ 16119 w 82339"/>
                <a:gd name="connsiteY0" fmla="*/ 44857 h 204793"/>
                <a:gd name="connsiteX1" fmla="*/ 0 w 82339"/>
                <a:gd name="connsiteY1" fmla="*/ 204793 h 204793"/>
                <a:gd name="connsiteX2" fmla="*/ 82340 w 82339"/>
                <a:gd name="connsiteY2" fmla="*/ 154438 h 204793"/>
                <a:gd name="connsiteX3" fmla="*/ 82340 w 82339"/>
                <a:gd name="connsiteY3" fmla="*/ 0 h 204793"/>
                <a:gd name="connsiteX4" fmla="*/ 16493 w 82339"/>
                <a:gd name="connsiteY4" fmla="*/ 39984 h 204793"/>
                <a:gd name="connsiteX5" fmla="*/ 16119 w 82339"/>
                <a:gd name="connsiteY5" fmla="*/ 44857 h 20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339" h="204793">
                  <a:moveTo>
                    <a:pt x="16119" y="44857"/>
                  </a:moveTo>
                  <a:lnTo>
                    <a:pt x="0" y="204793"/>
                  </a:lnTo>
                  <a:lnTo>
                    <a:pt x="82340" y="154438"/>
                  </a:lnTo>
                  <a:lnTo>
                    <a:pt x="82340" y="0"/>
                  </a:lnTo>
                  <a:lnTo>
                    <a:pt x="16493" y="39984"/>
                  </a:lnTo>
                  <a:lnTo>
                    <a:pt x="16119" y="44857"/>
                  </a:lnTo>
                  <a:close/>
                </a:path>
              </a:pathLst>
            </a:custGeom>
            <a:solidFill>
              <a:schemeClr val="accent1"/>
            </a:solidFill>
            <a:ln w="12483"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6E651AAE-B35D-4792-BC74-2DDCCA851830}"/>
                </a:ext>
              </a:extLst>
            </p:cNvPr>
            <p:cNvSpPr/>
            <p:nvPr/>
          </p:nvSpPr>
          <p:spPr>
            <a:xfrm>
              <a:off x="12099427" y="5255536"/>
              <a:ext cx="105579" cy="406962"/>
            </a:xfrm>
            <a:custGeom>
              <a:avLst/>
              <a:gdLst>
                <a:gd name="connsiteX0" fmla="*/ 22490 w 105579"/>
                <a:gd name="connsiteY0" fmla="*/ 57602 h 406962"/>
                <a:gd name="connsiteX1" fmla="*/ 500 w 105579"/>
                <a:gd name="connsiteY1" fmla="*/ 275890 h 406962"/>
                <a:gd name="connsiteX2" fmla="*/ 0 w 105579"/>
                <a:gd name="connsiteY2" fmla="*/ 281763 h 406962"/>
                <a:gd name="connsiteX3" fmla="*/ 105580 w 105579"/>
                <a:gd name="connsiteY3" fmla="*/ 406963 h 406962"/>
                <a:gd name="connsiteX4" fmla="*/ 105580 w 105579"/>
                <a:gd name="connsiteY4" fmla="*/ 0 h 406962"/>
                <a:gd name="connsiteX5" fmla="*/ 23240 w 105579"/>
                <a:gd name="connsiteY5" fmla="*/ 50355 h 406962"/>
                <a:gd name="connsiteX6" fmla="*/ 22490 w 105579"/>
                <a:gd name="connsiteY6" fmla="*/ 57602 h 40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79" h="406962">
                  <a:moveTo>
                    <a:pt x="22490" y="57602"/>
                  </a:moveTo>
                  <a:lnTo>
                    <a:pt x="500" y="275890"/>
                  </a:lnTo>
                  <a:lnTo>
                    <a:pt x="0" y="281763"/>
                  </a:lnTo>
                  <a:lnTo>
                    <a:pt x="105580" y="406963"/>
                  </a:lnTo>
                  <a:lnTo>
                    <a:pt x="105580" y="0"/>
                  </a:lnTo>
                  <a:lnTo>
                    <a:pt x="23240" y="50355"/>
                  </a:lnTo>
                  <a:lnTo>
                    <a:pt x="22490" y="57602"/>
                  </a:lnTo>
                  <a:close/>
                </a:path>
              </a:pathLst>
            </a:custGeom>
            <a:solidFill>
              <a:schemeClr val="accent2"/>
            </a:solidFill>
            <a:ln w="12483"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753FFF20-B92F-4EC2-A2E0-41219EA1FA3C}"/>
                </a:ext>
              </a:extLst>
            </p:cNvPr>
            <p:cNvSpPr/>
            <p:nvPr/>
          </p:nvSpPr>
          <p:spPr>
            <a:xfrm>
              <a:off x="12028957" y="5652253"/>
              <a:ext cx="176049" cy="584392"/>
            </a:xfrm>
            <a:custGeom>
              <a:avLst/>
              <a:gdLst>
                <a:gd name="connsiteX0" fmla="*/ 0 w 176049"/>
                <a:gd name="connsiteY0" fmla="*/ 584392 h 584392"/>
                <a:gd name="connsiteX1" fmla="*/ 176049 w 176049"/>
                <a:gd name="connsiteY1" fmla="*/ 472062 h 584392"/>
                <a:gd name="connsiteX2" fmla="*/ 176049 w 176049"/>
                <a:gd name="connsiteY2" fmla="*/ 139695 h 584392"/>
                <a:gd name="connsiteX3" fmla="*/ 58850 w 176049"/>
                <a:gd name="connsiteY3" fmla="*/ 0 h 584392"/>
                <a:gd name="connsiteX4" fmla="*/ 0 w 176049"/>
                <a:gd name="connsiteY4" fmla="*/ 584392 h 58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49" h="584392">
                  <a:moveTo>
                    <a:pt x="0" y="584392"/>
                  </a:moveTo>
                  <a:lnTo>
                    <a:pt x="176049" y="472062"/>
                  </a:lnTo>
                  <a:lnTo>
                    <a:pt x="176049" y="139695"/>
                  </a:lnTo>
                  <a:lnTo>
                    <a:pt x="58850" y="0"/>
                  </a:lnTo>
                  <a:lnTo>
                    <a:pt x="0" y="584392"/>
                  </a:lnTo>
                  <a:close/>
                </a:path>
              </a:pathLst>
            </a:custGeom>
            <a:solidFill>
              <a:srgbClr val="F4F5F3"/>
            </a:solidFill>
            <a:ln w="12483"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7473FE2F-7FD7-4AA6-8635-8644EEC36DF1}"/>
                </a:ext>
              </a:extLst>
            </p:cNvPr>
            <p:cNvSpPr/>
            <p:nvPr/>
          </p:nvSpPr>
          <p:spPr>
            <a:xfrm>
              <a:off x="12000345" y="6128688"/>
              <a:ext cx="204536" cy="317623"/>
            </a:xfrm>
            <a:custGeom>
              <a:avLst/>
              <a:gdLst>
                <a:gd name="connsiteX0" fmla="*/ 27738 w 204536"/>
                <a:gd name="connsiteY0" fmla="*/ 117828 h 317623"/>
                <a:gd name="connsiteX1" fmla="*/ 19241 w 204536"/>
                <a:gd name="connsiteY1" fmla="*/ 127075 h 317623"/>
                <a:gd name="connsiteX2" fmla="*/ 0 w 204536"/>
                <a:gd name="connsiteY2" fmla="*/ 317624 h 317623"/>
                <a:gd name="connsiteX3" fmla="*/ 204537 w 204536"/>
                <a:gd name="connsiteY3" fmla="*/ 185801 h 317623"/>
                <a:gd name="connsiteX4" fmla="*/ 204537 w 204536"/>
                <a:gd name="connsiteY4" fmla="*/ 0 h 317623"/>
                <a:gd name="connsiteX5" fmla="*/ 28113 w 204536"/>
                <a:gd name="connsiteY5" fmla="*/ 112455 h 31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536" h="317623">
                  <a:moveTo>
                    <a:pt x="27738" y="117828"/>
                  </a:moveTo>
                  <a:cubicBezTo>
                    <a:pt x="27488" y="122551"/>
                    <a:pt x="23927" y="126425"/>
                    <a:pt x="19241" y="127075"/>
                  </a:cubicBezTo>
                  <a:lnTo>
                    <a:pt x="0" y="317624"/>
                  </a:lnTo>
                  <a:lnTo>
                    <a:pt x="204537" y="185801"/>
                  </a:lnTo>
                  <a:lnTo>
                    <a:pt x="204537" y="0"/>
                  </a:lnTo>
                  <a:lnTo>
                    <a:pt x="28113" y="112455"/>
                  </a:lnTo>
                  <a:close/>
                </a:path>
              </a:pathLst>
            </a:custGeom>
            <a:solidFill>
              <a:schemeClr val="accent1"/>
            </a:solidFill>
            <a:ln w="12483" cap="flat">
              <a:noFill/>
              <a:prstDash val="solid"/>
              <a:miter/>
            </a:ln>
          </p:spPr>
          <p:txBody>
            <a:bodyPr rtlCol="0" anchor="ctr"/>
            <a:lstStyle/>
            <a:p>
              <a:endParaRPr lang="en-US"/>
            </a:p>
          </p:txBody>
        </p:sp>
        <p:sp>
          <p:nvSpPr>
            <p:cNvPr id="985" name="Freeform: Shape 984">
              <a:extLst>
                <a:ext uri="{FF2B5EF4-FFF2-40B4-BE49-F238E27FC236}">
                  <a16:creationId xmlns:a16="http://schemas.microsoft.com/office/drawing/2014/main" id="{457E876B-5CAE-4F92-AD90-80A8FACE77A5}"/>
                </a:ext>
              </a:extLst>
            </p:cNvPr>
            <p:cNvSpPr/>
            <p:nvPr/>
          </p:nvSpPr>
          <p:spPr>
            <a:xfrm>
              <a:off x="12001095" y="6318862"/>
              <a:ext cx="203911" cy="385221"/>
            </a:xfrm>
            <a:custGeom>
              <a:avLst/>
              <a:gdLst>
                <a:gd name="connsiteX0" fmla="*/ 203912 w 203911"/>
                <a:gd name="connsiteY0" fmla="*/ 385222 h 385221"/>
                <a:gd name="connsiteX1" fmla="*/ 203912 w 203911"/>
                <a:gd name="connsiteY1" fmla="*/ 0 h 385221"/>
                <a:gd name="connsiteX2" fmla="*/ 0 w 203911"/>
                <a:gd name="connsiteY2" fmla="*/ 131323 h 385221"/>
                <a:gd name="connsiteX3" fmla="*/ 203912 w 203911"/>
                <a:gd name="connsiteY3" fmla="*/ 385222 h 385221"/>
              </a:gdLst>
              <a:ahLst/>
              <a:cxnLst>
                <a:cxn ang="0">
                  <a:pos x="connsiteX0" y="connsiteY0"/>
                </a:cxn>
                <a:cxn ang="0">
                  <a:pos x="connsiteX1" y="connsiteY1"/>
                </a:cxn>
                <a:cxn ang="0">
                  <a:pos x="connsiteX2" y="connsiteY2"/>
                </a:cxn>
                <a:cxn ang="0">
                  <a:pos x="connsiteX3" y="connsiteY3"/>
                </a:cxn>
              </a:cxnLst>
              <a:rect l="l" t="t" r="r" b="b"/>
              <a:pathLst>
                <a:path w="203911" h="385221">
                  <a:moveTo>
                    <a:pt x="203912" y="385222"/>
                  </a:moveTo>
                  <a:lnTo>
                    <a:pt x="203912" y="0"/>
                  </a:lnTo>
                  <a:lnTo>
                    <a:pt x="0" y="131323"/>
                  </a:lnTo>
                  <a:lnTo>
                    <a:pt x="203912" y="385222"/>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986" name="Freeform: Shape 985">
              <a:extLst>
                <a:ext uri="{FF2B5EF4-FFF2-40B4-BE49-F238E27FC236}">
                  <a16:creationId xmlns:a16="http://schemas.microsoft.com/office/drawing/2014/main" id="{D879C136-581C-4611-9F5C-219620D71DD1}"/>
                </a:ext>
              </a:extLst>
            </p:cNvPr>
            <p:cNvSpPr/>
            <p:nvPr/>
          </p:nvSpPr>
          <p:spPr>
            <a:xfrm>
              <a:off x="11957614" y="6453933"/>
              <a:ext cx="247392" cy="418332"/>
            </a:xfrm>
            <a:custGeom>
              <a:avLst/>
              <a:gdLst>
                <a:gd name="connsiteX0" fmla="*/ 0 w 247392"/>
                <a:gd name="connsiteY0" fmla="*/ 418333 h 418332"/>
                <a:gd name="connsiteX1" fmla="*/ 247393 w 247392"/>
                <a:gd name="connsiteY1" fmla="*/ 418333 h 418332"/>
                <a:gd name="connsiteX2" fmla="*/ 247393 w 247392"/>
                <a:gd name="connsiteY2" fmla="*/ 255648 h 418332"/>
                <a:gd name="connsiteX3" fmla="*/ 42107 w 247392"/>
                <a:gd name="connsiteY3" fmla="*/ 0 h 418332"/>
                <a:gd name="connsiteX4" fmla="*/ 0 w 247392"/>
                <a:gd name="connsiteY4" fmla="*/ 418333 h 418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392" h="418332">
                  <a:moveTo>
                    <a:pt x="0" y="418333"/>
                  </a:moveTo>
                  <a:lnTo>
                    <a:pt x="247393" y="418333"/>
                  </a:lnTo>
                  <a:lnTo>
                    <a:pt x="247393" y="255648"/>
                  </a:lnTo>
                  <a:lnTo>
                    <a:pt x="42107" y="0"/>
                  </a:lnTo>
                  <a:lnTo>
                    <a:pt x="0" y="418333"/>
                  </a:lnTo>
                  <a:close/>
                </a:path>
              </a:pathLst>
            </a:custGeom>
            <a:solidFill>
              <a:schemeClr val="accent6"/>
            </a:solidFill>
            <a:ln w="12483" cap="flat">
              <a:noFill/>
              <a:prstDash val="solid"/>
              <a:miter/>
            </a:ln>
          </p:spPr>
          <p:txBody>
            <a:bodyPr rtlCol="0" anchor="ctr"/>
            <a:lstStyle/>
            <a:p>
              <a:endParaRPr lang="en-US"/>
            </a:p>
          </p:txBody>
        </p:sp>
        <p:sp>
          <p:nvSpPr>
            <p:cNvPr id="987" name="Freeform: Shape 986">
              <a:extLst>
                <a:ext uri="{FF2B5EF4-FFF2-40B4-BE49-F238E27FC236}">
                  <a16:creationId xmlns:a16="http://schemas.microsoft.com/office/drawing/2014/main" id="{D0CE1535-C772-421C-8924-58391096F057}"/>
                </a:ext>
              </a:extLst>
            </p:cNvPr>
            <p:cNvSpPr/>
            <p:nvPr/>
          </p:nvSpPr>
          <p:spPr>
            <a:xfrm>
              <a:off x="11361371" y="4795969"/>
              <a:ext cx="794406" cy="2060803"/>
            </a:xfrm>
            <a:custGeom>
              <a:avLst/>
              <a:gdLst>
                <a:gd name="connsiteX0" fmla="*/ 489039 w 794406"/>
                <a:gd name="connsiteY0" fmla="*/ 1005349 h 2060803"/>
                <a:gd name="connsiteX1" fmla="*/ 489039 w 794406"/>
                <a:gd name="connsiteY1" fmla="*/ 1005349 h 2060803"/>
                <a:gd name="connsiteX2" fmla="*/ 489039 w 794406"/>
                <a:gd name="connsiteY2" fmla="*/ 1005349 h 2060803"/>
                <a:gd name="connsiteX3" fmla="*/ 489039 w 794406"/>
                <a:gd name="connsiteY3" fmla="*/ 1005349 h 2060803"/>
                <a:gd name="connsiteX4" fmla="*/ 489039 w 794406"/>
                <a:gd name="connsiteY4" fmla="*/ 1005349 h 2060803"/>
                <a:gd name="connsiteX5" fmla="*/ 489039 w 794406"/>
                <a:gd name="connsiteY5" fmla="*/ 1005349 h 2060803"/>
                <a:gd name="connsiteX6" fmla="*/ 51728 w 794406"/>
                <a:gd name="connsiteY6" fmla="*/ 1277116 h 2060803"/>
                <a:gd name="connsiteX7" fmla="*/ 0 w 794406"/>
                <a:gd name="connsiteY7" fmla="*/ 2060803 h 2060803"/>
                <a:gd name="connsiteX8" fmla="*/ 398453 w 794406"/>
                <a:gd name="connsiteY8" fmla="*/ 1804156 h 2060803"/>
                <a:gd name="connsiteX9" fmla="*/ 635850 w 794406"/>
                <a:gd name="connsiteY9" fmla="*/ 1650967 h 2060803"/>
                <a:gd name="connsiteX10" fmla="*/ 655092 w 794406"/>
                <a:gd name="connsiteY10" fmla="*/ 1458918 h 2060803"/>
                <a:gd name="connsiteX11" fmla="*/ 648845 w 794406"/>
                <a:gd name="connsiteY11" fmla="*/ 1447548 h 2060803"/>
                <a:gd name="connsiteX12" fmla="*/ 709693 w 794406"/>
                <a:gd name="connsiteY12" fmla="*/ 842539 h 2060803"/>
                <a:gd name="connsiteX13" fmla="*/ 720814 w 794406"/>
                <a:gd name="connsiteY13" fmla="*/ 732458 h 2060803"/>
                <a:gd name="connsiteX14" fmla="*/ 742679 w 794406"/>
                <a:gd name="connsiteY14" fmla="*/ 514170 h 2060803"/>
                <a:gd name="connsiteX15" fmla="*/ 759547 w 794406"/>
                <a:gd name="connsiteY15" fmla="*/ 346862 h 2060803"/>
                <a:gd name="connsiteX16" fmla="*/ 787910 w 794406"/>
                <a:gd name="connsiteY16" fmla="*/ 64350 h 2060803"/>
                <a:gd name="connsiteX17" fmla="*/ 794407 w 794406"/>
                <a:gd name="connsiteY17" fmla="*/ 0 h 2060803"/>
                <a:gd name="connsiteX18" fmla="*/ 566381 w 794406"/>
                <a:gd name="connsiteY18" fmla="*/ 136071 h 206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4406" h="2060803">
                  <a:moveTo>
                    <a:pt x="489039" y="1005349"/>
                  </a:moveTo>
                  <a:lnTo>
                    <a:pt x="489039" y="1005349"/>
                  </a:lnTo>
                  <a:cubicBezTo>
                    <a:pt x="489039" y="1005349"/>
                    <a:pt x="489039" y="1005349"/>
                    <a:pt x="489039" y="1005349"/>
                  </a:cubicBezTo>
                  <a:lnTo>
                    <a:pt x="489039" y="1005349"/>
                  </a:lnTo>
                  <a:lnTo>
                    <a:pt x="489039" y="1005349"/>
                  </a:lnTo>
                  <a:lnTo>
                    <a:pt x="489039" y="1005349"/>
                  </a:lnTo>
                  <a:lnTo>
                    <a:pt x="51728" y="1277116"/>
                  </a:lnTo>
                  <a:lnTo>
                    <a:pt x="0" y="2060803"/>
                  </a:lnTo>
                  <a:lnTo>
                    <a:pt x="398453" y="1804156"/>
                  </a:lnTo>
                  <a:lnTo>
                    <a:pt x="635850" y="1650967"/>
                  </a:lnTo>
                  <a:lnTo>
                    <a:pt x="655092" y="1458918"/>
                  </a:lnTo>
                  <a:cubicBezTo>
                    <a:pt x="650694" y="1456957"/>
                    <a:pt x="648145" y="1452309"/>
                    <a:pt x="648845" y="1447548"/>
                  </a:cubicBezTo>
                  <a:lnTo>
                    <a:pt x="709693" y="842539"/>
                  </a:lnTo>
                  <a:lnTo>
                    <a:pt x="720814" y="732458"/>
                  </a:lnTo>
                  <a:lnTo>
                    <a:pt x="742679" y="514170"/>
                  </a:lnTo>
                  <a:lnTo>
                    <a:pt x="759547" y="346862"/>
                  </a:lnTo>
                  <a:lnTo>
                    <a:pt x="787910" y="64350"/>
                  </a:lnTo>
                  <a:lnTo>
                    <a:pt x="794407" y="0"/>
                  </a:lnTo>
                  <a:lnTo>
                    <a:pt x="566381" y="136071"/>
                  </a:lnTo>
                  <a:close/>
                </a:path>
              </a:pathLst>
            </a:custGeom>
            <a:solidFill>
              <a:schemeClr val="accent5"/>
            </a:solidFill>
            <a:ln w="12483" cap="flat">
              <a:noFill/>
              <a:prstDash val="solid"/>
              <a:miter/>
            </a:ln>
          </p:spPr>
          <p:txBody>
            <a:bodyPr rtlCol="0" anchor="ctr"/>
            <a:lstStyle/>
            <a:p>
              <a:endParaRPr lang="en-US"/>
            </a:p>
          </p:txBody>
        </p:sp>
        <p:sp>
          <p:nvSpPr>
            <p:cNvPr id="988" name="Freeform: Shape 987">
              <a:extLst>
                <a:ext uri="{FF2B5EF4-FFF2-40B4-BE49-F238E27FC236}">
                  <a16:creationId xmlns:a16="http://schemas.microsoft.com/office/drawing/2014/main" id="{0FBCAEBE-DAFE-42FF-9F81-7748A3891264}"/>
                </a:ext>
              </a:extLst>
            </p:cNvPr>
            <p:cNvSpPr/>
            <p:nvPr/>
          </p:nvSpPr>
          <p:spPr>
            <a:xfrm>
              <a:off x="11738083" y="6453184"/>
              <a:ext cx="258513" cy="419082"/>
            </a:xfrm>
            <a:custGeom>
              <a:avLst/>
              <a:gdLst>
                <a:gd name="connsiteX0" fmla="*/ 23490 w 258513"/>
                <a:gd name="connsiteY0" fmla="*/ 151315 h 419082"/>
                <a:gd name="connsiteX1" fmla="*/ 0 w 258513"/>
                <a:gd name="connsiteY1" fmla="*/ 419083 h 419082"/>
                <a:gd name="connsiteX2" fmla="*/ 216282 w 258513"/>
                <a:gd name="connsiteY2" fmla="*/ 419083 h 419082"/>
                <a:gd name="connsiteX3" fmla="*/ 258513 w 258513"/>
                <a:gd name="connsiteY3" fmla="*/ 0 h 419082"/>
                <a:gd name="connsiteX4" fmla="*/ 23490 w 258513"/>
                <a:gd name="connsiteY4" fmla="*/ 151315 h 419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13" h="419082">
                  <a:moveTo>
                    <a:pt x="23490" y="151315"/>
                  </a:moveTo>
                  <a:lnTo>
                    <a:pt x="0" y="419083"/>
                  </a:lnTo>
                  <a:lnTo>
                    <a:pt x="216282" y="419083"/>
                  </a:lnTo>
                  <a:lnTo>
                    <a:pt x="258513" y="0"/>
                  </a:lnTo>
                  <a:lnTo>
                    <a:pt x="23490" y="151315"/>
                  </a:lnTo>
                  <a:close/>
                </a:path>
              </a:pathLst>
            </a:custGeom>
            <a:solidFill>
              <a:schemeClr val="accent1"/>
            </a:solidFill>
            <a:ln w="12483" cap="flat">
              <a:noFill/>
              <a:prstDash val="solid"/>
              <a:miter/>
            </a:ln>
          </p:spPr>
          <p:txBody>
            <a:bodyPr rtlCol="0" anchor="ctr"/>
            <a:lstStyle/>
            <a:p>
              <a:endParaRPr lang="en-US"/>
            </a:p>
          </p:txBody>
        </p:sp>
        <p:sp>
          <p:nvSpPr>
            <p:cNvPr id="989" name="Freeform: Shape 988">
              <a:extLst>
                <a:ext uri="{FF2B5EF4-FFF2-40B4-BE49-F238E27FC236}">
                  <a16:creationId xmlns:a16="http://schemas.microsoft.com/office/drawing/2014/main" id="{F9ED4FFA-C5A3-4648-A0C7-9C4B89879537}"/>
                </a:ext>
              </a:extLst>
            </p:cNvPr>
            <p:cNvSpPr/>
            <p:nvPr/>
          </p:nvSpPr>
          <p:spPr>
            <a:xfrm>
              <a:off x="11359872" y="6606747"/>
              <a:ext cx="398327" cy="265518"/>
            </a:xfrm>
            <a:custGeom>
              <a:avLst/>
              <a:gdLst>
                <a:gd name="connsiteX0" fmla="*/ 750 w 398327"/>
                <a:gd name="connsiteY0" fmla="*/ 256023 h 265518"/>
                <a:gd name="connsiteX1" fmla="*/ 0 w 398327"/>
                <a:gd name="connsiteY1" fmla="*/ 265519 h 265518"/>
                <a:gd name="connsiteX2" fmla="*/ 374963 w 398327"/>
                <a:gd name="connsiteY2" fmla="*/ 265519 h 265518"/>
                <a:gd name="connsiteX3" fmla="*/ 398328 w 398327"/>
                <a:gd name="connsiteY3" fmla="*/ 0 h 265518"/>
                <a:gd name="connsiteX4" fmla="*/ 750 w 398327"/>
                <a:gd name="connsiteY4" fmla="*/ 256023 h 265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327" h="265518">
                  <a:moveTo>
                    <a:pt x="750" y="256023"/>
                  </a:moveTo>
                  <a:lnTo>
                    <a:pt x="0" y="265519"/>
                  </a:lnTo>
                  <a:lnTo>
                    <a:pt x="374963" y="265519"/>
                  </a:lnTo>
                  <a:lnTo>
                    <a:pt x="398328" y="0"/>
                  </a:lnTo>
                  <a:lnTo>
                    <a:pt x="750" y="256023"/>
                  </a:lnTo>
                  <a:close/>
                </a:path>
              </a:pathLst>
            </a:custGeom>
            <a:solidFill>
              <a:schemeClr val="bg2"/>
            </a:solidFill>
            <a:ln w="12483" cap="flat">
              <a:noFill/>
              <a:prstDash val="solid"/>
              <a:miter/>
            </a:ln>
          </p:spPr>
          <p:txBody>
            <a:bodyPr rtlCol="0" anchor="ctr"/>
            <a:lstStyle/>
            <a:p>
              <a:endParaRPr lang="en-US"/>
            </a:p>
          </p:txBody>
        </p:sp>
        <p:sp>
          <p:nvSpPr>
            <p:cNvPr id="990" name="Freeform: Shape 989">
              <a:extLst>
                <a:ext uri="{FF2B5EF4-FFF2-40B4-BE49-F238E27FC236}">
                  <a16:creationId xmlns:a16="http://schemas.microsoft.com/office/drawing/2014/main" id="{FB744346-709E-4867-A908-07DE2E4D7FA3}"/>
                </a:ext>
              </a:extLst>
            </p:cNvPr>
            <p:cNvSpPr/>
            <p:nvPr/>
          </p:nvSpPr>
          <p:spPr>
            <a:xfrm>
              <a:off x="11407601" y="4197583"/>
              <a:ext cx="748676" cy="732083"/>
            </a:xfrm>
            <a:custGeom>
              <a:avLst/>
              <a:gdLst>
                <a:gd name="connsiteX0" fmla="*/ 226527 w 748676"/>
                <a:gd name="connsiteY0" fmla="*/ 1125 h 732083"/>
                <a:gd name="connsiteX1" fmla="*/ 226527 w 748676"/>
                <a:gd name="connsiteY1" fmla="*/ 1125 h 732083"/>
                <a:gd name="connsiteX2" fmla="*/ 226527 w 748676"/>
                <a:gd name="connsiteY2" fmla="*/ 1125 h 732083"/>
                <a:gd name="connsiteX3" fmla="*/ 225778 w 748676"/>
                <a:gd name="connsiteY3" fmla="*/ 0 h 732083"/>
                <a:gd name="connsiteX4" fmla="*/ 0 w 748676"/>
                <a:gd name="connsiteY4" fmla="*/ 128574 h 732083"/>
                <a:gd name="connsiteX5" fmla="*/ 519526 w 748676"/>
                <a:gd name="connsiteY5" fmla="*/ 732083 h 732083"/>
                <a:gd name="connsiteX6" fmla="*/ 748676 w 748676"/>
                <a:gd name="connsiteY6" fmla="*/ 595262 h 732083"/>
                <a:gd name="connsiteX7" fmla="*/ 632852 w 748676"/>
                <a:gd name="connsiteY7" fmla="*/ 463565 h 732083"/>
                <a:gd name="connsiteX8" fmla="*/ 564381 w 748676"/>
                <a:gd name="connsiteY8" fmla="*/ 385596 h 73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676" h="732083">
                  <a:moveTo>
                    <a:pt x="226527" y="1125"/>
                  </a:moveTo>
                  <a:lnTo>
                    <a:pt x="226527" y="1125"/>
                  </a:lnTo>
                  <a:cubicBezTo>
                    <a:pt x="226527" y="1125"/>
                    <a:pt x="226527" y="1125"/>
                    <a:pt x="226527" y="1125"/>
                  </a:cubicBezTo>
                  <a:cubicBezTo>
                    <a:pt x="226240" y="774"/>
                    <a:pt x="225977" y="400"/>
                    <a:pt x="225778" y="0"/>
                  </a:cubicBezTo>
                  <a:lnTo>
                    <a:pt x="0" y="128574"/>
                  </a:lnTo>
                  <a:lnTo>
                    <a:pt x="519526" y="732083"/>
                  </a:lnTo>
                  <a:lnTo>
                    <a:pt x="748676" y="595262"/>
                  </a:lnTo>
                  <a:lnTo>
                    <a:pt x="632852" y="463565"/>
                  </a:lnTo>
                  <a:lnTo>
                    <a:pt x="564381" y="385596"/>
                  </a:lnTo>
                  <a:close/>
                </a:path>
              </a:pathLst>
            </a:custGeom>
            <a:solidFill>
              <a:schemeClr val="accent4"/>
            </a:solidFill>
            <a:ln w="12483" cap="flat">
              <a:noFill/>
              <a:prstDash val="solid"/>
              <a:miter/>
            </a:ln>
          </p:spPr>
          <p:txBody>
            <a:bodyPr rtlCol="0" anchor="ctr"/>
            <a:lstStyle/>
            <a:p>
              <a:endParaRPr lang="en-US"/>
            </a:p>
          </p:txBody>
        </p:sp>
        <p:sp>
          <p:nvSpPr>
            <p:cNvPr id="991" name="Freeform: Shape 990">
              <a:extLst>
                <a:ext uri="{FF2B5EF4-FFF2-40B4-BE49-F238E27FC236}">
                  <a16:creationId xmlns:a16="http://schemas.microsoft.com/office/drawing/2014/main" id="{56C66DE4-CEC3-407A-9B19-3C53037189EB}"/>
                </a:ext>
              </a:extLst>
            </p:cNvPr>
            <p:cNvSpPr/>
            <p:nvPr/>
          </p:nvSpPr>
          <p:spPr>
            <a:xfrm>
              <a:off x="11406102" y="4170844"/>
              <a:ext cx="226277" cy="150940"/>
            </a:xfrm>
            <a:custGeom>
              <a:avLst/>
              <a:gdLst>
                <a:gd name="connsiteX0" fmla="*/ 226277 w 226277"/>
                <a:gd name="connsiteY0" fmla="*/ 0 h 150940"/>
                <a:gd name="connsiteX1" fmla="*/ 1374 w 226277"/>
                <a:gd name="connsiteY1" fmla="*/ 128074 h 150940"/>
                <a:gd name="connsiteX2" fmla="*/ 0 w 226277"/>
                <a:gd name="connsiteY2" fmla="*/ 150940 h 150940"/>
                <a:gd name="connsiteX3" fmla="*/ 224903 w 226277"/>
                <a:gd name="connsiteY3" fmla="*/ 22491 h 150940"/>
                <a:gd name="connsiteX4" fmla="*/ 224903 w 226277"/>
                <a:gd name="connsiteY4" fmla="*/ 21617 h 150940"/>
                <a:gd name="connsiteX5" fmla="*/ 224903 w 226277"/>
                <a:gd name="connsiteY5" fmla="*/ 21617 h 150940"/>
                <a:gd name="connsiteX6" fmla="*/ 224903 w 226277"/>
                <a:gd name="connsiteY6" fmla="*/ 20242 h 150940"/>
                <a:gd name="connsiteX7" fmla="*/ 224903 w 226277"/>
                <a:gd name="connsiteY7" fmla="*/ 18868 h 150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77" h="150940">
                  <a:moveTo>
                    <a:pt x="226277" y="0"/>
                  </a:moveTo>
                  <a:lnTo>
                    <a:pt x="1374" y="128074"/>
                  </a:lnTo>
                  <a:lnTo>
                    <a:pt x="0" y="150940"/>
                  </a:lnTo>
                  <a:lnTo>
                    <a:pt x="224903" y="22491"/>
                  </a:lnTo>
                  <a:cubicBezTo>
                    <a:pt x="224828" y="22204"/>
                    <a:pt x="224828" y="21904"/>
                    <a:pt x="224903" y="21617"/>
                  </a:cubicBezTo>
                  <a:lnTo>
                    <a:pt x="224903" y="21617"/>
                  </a:lnTo>
                  <a:cubicBezTo>
                    <a:pt x="224840" y="21154"/>
                    <a:pt x="224840" y="20704"/>
                    <a:pt x="224903" y="20242"/>
                  </a:cubicBezTo>
                  <a:lnTo>
                    <a:pt x="224903" y="18868"/>
                  </a:lnTo>
                  <a:close/>
                </a:path>
              </a:pathLst>
            </a:custGeom>
            <a:solidFill>
              <a:schemeClr val="accent2"/>
            </a:solidFill>
            <a:ln w="12483" cap="flat">
              <a:noFill/>
              <a:prstDash val="solid"/>
              <a:miter/>
            </a:ln>
          </p:spPr>
          <p:txBody>
            <a:bodyPr rtlCol="0" anchor="ctr"/>
            <a:lstStyle/>
            <a:p>
              <a:endParaRPr lang="en-US"/>
            </a:p>
          </p:txBody>
        </p:sp>
        <p:sp>
          <p:nvSpPr>
            <p:cNvPr id="992" name="Freeform: Shape 991">
              <a:extLst>
                <a:ext uri="{FF2B5EF4-FFF2-40B4-BE49-F238E27FC236}">
                  <a16:creationId xmlns:a16="http://schemas.microsoft.com/office/drawing/2014/main" id="{E09DC410-D7CF-4FE6-9913-F1AB31269BE2}"/>
                </a:ext>
              </a:extLst>
            </p:cNvPr>
            <p:cNvSpPr/>
            <p:nvPr/>
          </p:nvSpPr>
          <p:spPr>
            <a:xfrm>
              <a:off x="11578527" y="3499861"/>
              <a:ext cx="236398" cy="672856"/>
            </a:xfrm>
            <a:custGeom>
              <a:avLst/>
              <a:gdLst>
                <a:gd name="connsiteX0" fmla="*/ 4123 w 236398"/>
                <a:gd name="connsiteY0" fmla="*/ 321747 h 672856"/>
                <a:gd name="connsiteX1" fmla="*/ 86713 w 236398"/>
                <a:gd name="connsiteY1" fmla="*/ 414210 h 672856"/>
                <a:gd name="connsiteX2" fmla="*/ 86713 w 236398"/>
                <a:gd name="connsiteY2" fmla="*/ 414210 h 672856"/>
                <a:gd name="connsiteX3" fmla="*/ 87712 w 236398"/>
                <a:gd name="connsiteY3" fmla="*/ 415959 h 672856"/>
                <a:gd name="connsiteX4" fmla="*/ 88587 w 236398"/>
                <a:gd name="connsiteY4" fmla="*/ 417834 h 672856"/>
                <a:gd name="connsiteX5" fmla="*/ 88587 w 236398"/>
                <a:gd name="connsiteY5" fmla="*/ 419583 h 672856"/>
                <a:gd name="connsiteX6" fmla="*/ 88587 w 236398"/>
                <a:gd name="connsiteY6" fmla="*/ 421957 h 672856"/>
                <a:gd name="connsiteX7" fmla="*/ 88587 w 236398"/>
                <a:gd name="connsiteY7" fmla="*/ 422581 h 672856"/>
                <a:gd name="connsiteX8" fmla="*/ 71969 w 236398"/>
                <a:gd name="connsiteY8" fmla="*/ 664360 h 672856"/>
                <a:gd name="connsiteX9" fmla="*/ 71344 w 236398"/>
                <a:gd name="connsiteY9" fmla="*/ 672857 h 672856"/>
                <a:gd name="connsiteX10" fmla="*/ 204787 w 236398"/>
                <a:gd name="connsiteY10" fmla="*/ 596762 h 672856"/>
                <a:gd name="connsiteX11" fmla="*/ 207910 w 236398"/>
                <a:gd name="connsiteY11" fmla="*/ 595013 h 672856"/>
                <a:gd name="connsiteX12" fmla="*/ 236398 w 236398"/>
                <a:gd name="connsiteY12" fmla="*/ 231658 h 672856"/>
                <a:gd name="connsiteX13" fmla="*/ 25489 w 236398"/>
                <a:gd name="connsiteY13" fmla="*/ 0 h 672856"/>
                <a:gd name="connsiteX14" fmla="*/ 23865 w 236398"/>
                <a:gd name="connsiteY14" fmla="*/ 1500 h 672856"/>
                <a:gd name="connsiteX15" fmla="*/ 20991 w 236398"/>
                <a:gd name="connsiteY15" fmla="*/ 2999 h 672856"/>
                <a:gd name="connsiteX16" fmla="*/ 0 w 236398"/>
                <a:gd name="connsiteY16" fmla="*/ 317499 h 67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98" h="672856">
                  <a:moveTo>
                    <a:pt x="4123" y="321747"/>
                  </a:moveTo>
                  <a:lnTo>
                    <a:pt x="86713" y="414210"/>
                  </a:lnTo>
                  <a:cubicBezTo>
                    <a:pt x="86713" y="414210"/>
                    <a:pt x="86713" y="414210"/>
                    <a:pt x="86713" y="414210"/>
                  </a:cubicBezTo>
                  <a:lnTo>
                    <a:pt x="87712" y="415959"/>
                  </a:lnTo>
                  <a:cubicBezTo>
                    <a:pt x="88049" y="416559"/>
                    <a:pt x="88350" y="417184"/>
                    <a:pt x="88587" y="417834"/>
                  </a:cubicBezTo>
                  <a:cubicBezTo>
                    <a:pt x="88649" y="418421"/>
                    <a:pt x="88649" y="418995"/>
                    <a:pt x="88587" y="419583"/>
                  </a:cubicBezTo>
                  <a:cubicBezTo>
                    <a:pt x="88637" y="420370"/>
                    <a:pt x="88637" y="421170"/>
                    <a:pt x="88587" y="421957"/>
                  </a:cubicBezTo>
                  <a:lnTo>
                    <a:pt x="88587" y="422581"/>
                  </a:lnTo>
                  <a:lnTo>
                    <a:pt x="71969" y="664360"/>
                  </a:lnTo>
                  <a:lnTo>
                    <a:pt x="71344" y="672857"/>
                  </a:lnTo>
                  <a:lnTo>
                    <a:pt x="204787" y="596762"/>
                  </a:lnTo>
                  <a:lnTo>
                    <a:pt x="207910" y="595013"/>
                  </a:lnTo>
                  <a:lnTo>
                    <a:pt x="236398" y="231658"/>
                  </a:lnTo>
                  <a:lnTo>
                    <a:pt x="25489" y="0"/>
                  </a:lnTo>
                  <a:cubicBezTo>
                    <a:pt x="25014" y="562"/>
                    <a:pt x="24465" y="1062"/>
                    <a:pt x="23865" y="1500"/>
                  </a:cubicBezTo>
                  <a:lnTo>
                    <a:pt x="20991" y="2999"/>
                  </a:lnTo>
                  <a:lnTo>
                    <a:pt x="0" y="317499"/>
                  </a:lnTo>
                  <a:close/>
                </a:path>
              </a:pathLst>
            </a:custGeom>
            <a:solidFill>
              <a:schemeClr val="accent5">
                <a:lumMod val="75000"/>
              </a:schemeClr>
            </a:solidFill>
            <a:ln w="12483" cap="flat">
              <a:noFill/>
              <a:prstDash val="solid"/>
              <a:miter/>
            </a:ln>
          </p:spPr>
          <p:txBody>
            <a:bodyPr rtlCol="0" anchor="ctr"/>
            <a:lstStyle/>
            <a:p>
              <a:endParaRPr lang="en-US"/>
            </a:p>
          </p:txBody>
        </p:sp>
        <p:sp>
          <p:nvSpPr>
            <p:cNvPr id="993" name="Freeform: Shape 992">
              <a:extLst>
                <a:ext uri="{FF2B5EF4-FFF2-40B4-BE49-F238E27FC236}">
                  <a16:creationId xmlns:a16="http://schemas.microsoft.com/office/drawing/2014/main" id="{10570A28-0451-4305-9E4B-0DA420563662}"/>
                </a:ext>
              </a:extLst>
            </p:cNvPr>
            <p:cNvSpPr/>
            <p:nvPr/>
          </p:nvSpPr>
          <p:spPr>
            <a:xfrm>
              <a:off x="11244796" y="3503735"/>
              <a:ext cx="351473" cy="359481"/>
            </a:xfrm>
            <a:custGeom>
              <a:avLst/>
              <a:gdLst>
                <a:gd name="connsiteX0" fmla="*/ 146062 w 351473"/>
                <a:gd name="connsiteY0" fmla="*/ 359482 h 359481"/>
                <a:gd name="connsiteX1" fmla="*/ 293248 w 351473"/>
                <a:gd name="connsiteY1" fmla="*/ 277139 h 359481"/>
                <a:gd name="connsiteX2" fmla="*/ 293248 w 351473"/>
                <a:gd name="connsiteY2" fmla="*/ 277139 h 359481"/>
                <a:gd name="connsiteX3" fmla="*/ 296622 w 351473"/>
                <a:gd name="connsiteY3" fmla="*/ 276140 h 359481"/>
                <a:gd name="connsiteX4" fmla="*/ 297871 w 351473"/>
                <a:gd name="connsiteY4" fmla="*/ 276140 h 359481"/>
                <a:gd name="connsiteX5" fmla="*/ 299996 w 351473"/>
                <a:gd name="connsiteY5" fmla="*/ 276140 h 359481"/>
                <a:gd name="connsiteX6" fmla="*/ 302994 w 351473"/>
                <a:gd name="connsiteY6" fmla="*/ 278389 h 359481"/>
                <a:gd name="connsiteX7" fmla="*/ 302994 w 351473"/>
                <a:gd name="connsiteY7" fmla="*/ 278389 h 359481"/>
                <a:gd name="connsiteX8" fmla="*/ 330732 w 351473"/>
                <a:gd name="connsiteY8" fmla="*/ 309376 h 359481"/>
                <a:gd name="connsiteX9" fmla="*/ 351473 w 351473"/>
                <a:gd name="connsiteY9" fmla="*/ 0 h 359481"/>
                <a:gd name="connsiteX10" fmla="*/ 101581 w 351473"/>
                <a:gd name="connsiteY10" fmla="*/ 137445 h 359481"/>
                <a:gd name="connsiteX11" fmla="*/ 0 w 351473"/>
                <a:gd name="connsiteY11" fmla="*/ 193048 h 35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473" h="359481">
                  <a:moveTo>
                    <a:pt x="146062" y="359482"/>
                  </a:moveTo>
                  <a:lnTo>
                    <a:pt x="293248" y="277139"/>
                  </a:lnTo>
                  <a:lnTo>
                    <a:pt x="293248" y="277139"/>
                  </a:lnTo>
                  <a:cubicBezTo>
                    <a:pt x="294260" y="276502"/>
                    <a:pt x="295423" y="276165"/>
                    <a:pt x="296622" y="276140"/>
                  </a:cubicBezTo>
                  <a:cubicBezTo>
                    <a:pt x="296622" y="276140"/>
                    <a:pt x="297496" y="276140"/>
                    <a:pt x="297871" y="276140"/>
                  </a:cubicBezTo>
                  <a:cubicBezTo>
                    <a:pt x="298571" y="276015"/>
                    <a:pt x="299296" y="276015"/>
                    <a:pt x="299996" y="276140"/>
                  </a:cubicBezTo>
                  <a:cubicBezTo>
                    <a:pt x="301145" y="276665"/>
                    <a:pt x="302169" y="277427"/>
                    <a:pt x="302994" y="278389"/>
                  </a:cubicBezTo>
                  <a:lnTo>
                    <a:pt x="302994" y="278389"/>
                  </a:lnTo>
                  <a:lnTo>
                    <a:pt x="330732" y="309376"/>
                  </a:lnTo>
                  <a:lnTo>
                    <a:pt x="351473" y="0"/>
                  </a:lnTo>
                  <a:lnTo>
                    <a:pt x="101581" y="137445"/>
                  </a:lnTo>
                  <a:lnTo>
                    <a:pt x="0" y="193048"/>
                  </a:lnTo>
                  <a:close/>
                </a:path>
              </a:pathLst>
            </a:custGeom>
            <a:solidFill>
              <a:schemeClr val="accent1"/>
            </a:solidFill>
            <a:ln w="12483" cap="flat">
              <a:noFill/>
              <a:prstDash val="solid"/>
              <a:miter/>
            </a:ln>
          </p:spPr>
          <p:txBody>
            <a:bodyPr rtlCol="0" anchor="ctr"/>
            <a:lstStyle/>
            <a:p>
              <a:endParaRPr lang="en-US"/>
            </a:p>
          </p:txBody>
        </p:sp>
        <p:sp>
          <p:nvSpPr>
            <p:cNvPr id="994" name="Freeform: Shape 993">
              <a:extLst>
                <a:ext uri="{FF2B5EF4-FFF2-40B4-BE49-F238E27FC236}">
                  <a16:creationId xmlns:a16="http://schemas.microsoft.com/office/drawing/2014/main" id="{A5451AA1-2635-4624-AF64-997D02AEB4A3}"/>
                </a:ext>
              </a:extLst>
            </p:cNvPr>
            <p:cNvSpPr/>
            <p:nvPr/>
          </p:nvSpPr>
          <p:spPr>
            <a:xfrm>
              <a:off x="11606640" y="3469124"/>
              <a:ext cx="252765" cy="259396"/>
            </a:xfrm>
            <a:custGeom>
              <a:avLst/>
              <a:gdLst>
                <a:gd name="connsiteX0" fmla="*/ 0 w 252765"/>
                <a:gd name="connsiteY0" fmla="*/ 27989 h 259396"/>
                <a:gd name="connsiteX1" fmla="*/ 210659 w 252765"/>
                <a:gd name="connsiteY1" fmla="*/ 259397 h 259396"/>
                <a:gd name="connsiteX2" fmla="*/ 252766 w 252765"/>
                <a:gd name="connsiteY2" fmla="*/ 235906 h 259396"/>
                <a:gd name="connsiteX3" fmla="*/ 37109 w 252765"/>
                <a:gd name="connsiteY3" fmla="*/ 0 h 259396"/>
                <a:gd name="connsiteX4" fmla="*/ 1124 w 252765"/>
                <a:gd name="connsiteY4" fmla="*/ 19742 h 259396"/>
                <a:gd name="connsiteX5" fmla="*/ 0 w 252765"/>
                <a:gd name="connsiteY5" fmla="*/ 27989 h 25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65" h="259396">
                  <a:moveTo>
                    <a:pt x="0" y="27989"/>
                  </a:moveTo>
                  <a:lnTo>
                    <a:pt x="210659" y="259397"/>
                  </a:lnTo>
                  <a:lnTo>
                    <a:pt x="252766" y="235906"/>
                  </a:lnTo>
                  <a:lnTo>
                    <a:pt x="37109" y="0"/>
                  </a:lnTo>
                  <a:lnTo>
                    <a:pt x="1124" y="19742"/>
                  </a:lnTo>
                  <a:cubicBezTo>
                    <a:pt x="1699" y="22541"/>
                    <a:pt x="1312" y="25452"/>
                    <a:pt x="0" y="27989"/>
                  </a:cubicBezTo>
                  <a:close/>
                </a:path>
              </a:pathLst>
            </a:custGeom>
            <a:solidFill>
              <a:schemeClr val="tx2"/>
            </a:solidFill>
            <a:ln w="12483" cap="flat">
              <a:no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476190D4-6FA7-486B-9EBD-02BAE09F9152}"/>
                </a:ext>
              </a:extLst>
            </p:cNvPr>
            <p:cNvSpPr/>
            <p:nvPr/>
          </p:nvSpPr>
          <p:spPr>
            <a:xfrm>
              <a:off x="11645748" y="3207353"/>
              <a:ext cx="236397" cy="493428"/>
            </a:xfrm>
            <a:custGeom>
              <a:avLst/>
              <a:gdLst>
                <a:gd name="connsiteX0" fmla="*/ 20366 w 236397"/>
                <a:gd name="connsiteY0" fmla="*/ 1874 h 493428"/>
                <a:gd name="connsiteX1" fmla="*/ 19367 w 236397"/>
                <a:gd name="connsiteY1" fmla="*/ 1874 h 493428"/>
                <a:gd name="connsiteX2" fmla="*/ 17617 w 236397"/>
                <a:gd name="connsiteY2" fmla="*/ 1874 h 493428"/>
                <a:gd name="connsiteX3" fmla="*/ 0 w 236397"/>
                <a:gd name="connsiteY3" fmla="*/ 258022 h 493428"/>
                <a:gd name="connsiteX4" fmla="*/ 215157 w 236397"/>
                <a:gd name="connsiteY4" fmla="*/ 493428 h 493428"/>
                <a:gd name="connsiteX5" fmla="*/ 236398 w 236397"/>
                <a:gd name="connsiteY5" fmla="*/ 230283 h 493428"/>
                <a:gd name="connsiteX6" fmla="*/ 22491 w 236397"/>
                <a:gd name="connsiteY6" fmla="*/ 0 h 493428"/>
                <a:gd name="connsiteX7" fmla="*/ 20616 w 236397"/>
                <a:gd name="connsiteY7" fmla="*/ 999 h 493428"/>
                <a:gd name="connsiteX8" fmla="*/ 20616 w 236397"/>
                <a:gd name="connsiteY8" fmla="*/ 999 h 49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97" h="493428">
                  <a:moveTo>
                    <a:pt x="20366" y="1874"/>
                  </a:moveTo>
                  <a:lnTo>
                    <a:pt x="19367" y="1874"/>
                  </a:lnTo>
                  <a:cubicBezTo>
                    <a:pt x="18792" y="1987"/>
                    <a:pt x="18192" y="1987"/>
                    <a:pt x="17617" y="1874"/>
                  </a:cubicBezTo>
                  <a:lnTo>
                    <a:pt x="0" y="258022"/>
                  </a:lnTo>
                  <a:lnTo>
                    <a:pt x="215157" y="493428"/>
                  </a:lnTo>
                  <a:lnTo>
                    <a:pt x="236398" y="230283"/>
                  </a:lnTo>
                  <a:lnTo>
                    <a:pt x="22491" y="0"/>
                  </a:lnTo>
                  <a:lnTo>
                    <a:pt x="20616" y="999"/>
                  </a:lnTo>
                  <a:lnTo>
                    <a:pt x="20616" y="999"/>
                  </a:lnTo>
                  <a:close/>
                </a:path>
              </a:pathLst>
            </a:custGeom>
            <a:solidFill>
              <a:schemeClr val="accent1"/>
            </a:solidFill>
            <a:ln w="12483" cap="flat">
              <a:noFill/>
              <a:prstDash val="solid"/>
              <a:miter/>
            </a:ln>
          </p:spPr>
          <p:txBody>
            <a:bodyPr rtlCol="0" anchor="ctr"/>
            <a:lstStyle/>
            <a:p>
              <a:endParaRPr lang="en-US"/>
            </a:p>
          </p:txBody>
        </p:sp>
        <p:sp>
          <p:nvSpPr>
            <p:cNvPr id="996" name="Freeform: Shape 995">
              <a:extLst>
                <a:ext uri="{FF2B5EF4-FFF2-40B4-BE49-F238E27FC236}">
                  <a16:creationId xmlns:a16="http://schemas.microsoft.com/office/drawing/2014/main" id="{954AF317-74D2-43CE-A029-F101160DD5E4}"/>
                </a:ext>
              </a:extLst>
            </p:cNvPr>
            <p:cNvSpPr/>
            <p:nvPr/>
          </p:nvSpPr>
          <p:spPr>
            <a:xfrm>
              <a:off x="11671487" y="3107518"/>
              <a:ext cx="396453" cy="327744"/>
            </a:xfrm>
            <a:custGeom>
              <a:avLst/>
              <a:gdLst>
                <a:gd name="connsiteX0" fmla="*/ 396453 w 396453"/>
                <a:gd name="connsiteY0" fmla="*/ 226285 h 327744"/>
                <a:gd name="connsiteX1" fmla="*/ 337729 w 396453"/>
                <a:gd name="connsiteY1" fmla="*/ 164060 h 327744"/>
                <a:gd name="connsiteX2" fmla="*/ 182671 w 396453"/>
                <a:gd name="connsiteY2" fmla="*/ 0 h 327744"/>
                <a:gd name="connsiteX3" fmla="*/ 8621 w 396453"/>
                <a:gd name="connsiteY3" fmla="*/ 94087 h 327744"/>
                <a:gd name="connsiteX4" fmla="*/ 0 w 396453"/>
                <a:gd name="connsiteY4" fmla="*/ 98836 h 327744"/>
                <a:gd name="connsiteX5" fmla="*/ 212533 w 396453"/>
                <a:gd name="connsiteY5" fmla="*/ 327744 h 327744"/>
                <a:gd name="connsiteX6" fmla="*/ 396453 w 396453"/>
                <a:gd name="connsiteY6" fmla="*/ 226285 h 32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453" h="327744">
                  <a:moveTo>
                    <a:pt x="396453" y="226285"/>
                  </a:moveTo>
                  <a:lnTo>
                    <a:pt x="337729" y="164060"/>
                  </a:lnTo>
                  <a:lnTo>
                    <a:pt x="182671" y="0"/>
                  </a:lnTo>
                  <a:lnTo>
                    <a:pt x="8621" y="94087"/>
                  </a:lnTo>
                  <a:lnTo>
                    <a:pt x="0" y="98836"/>
                  </a:lnTo>
                  <a:lnTo>
                    <a:pt x="212533" y="327744"/>
                  </a:lnTo>
                  <a:lnTo>
                    <a:pt x="396453" y="226285"/>
                  </a:lnTo>
                  <a:close/>
                </a:path>
              </a:pathLst>
            </a:custGeom>
            <a:solidFill>
              <a:schemeClr val="accent5"/>
            </a:solidFill>
            <a:ln w="12483" cap="flat">
              <a:noFill/>
              <a:prstDash val="solid"/>
              <a:miter/>
            </a:ln>
          </p:spPr>
          <p:txBody>
            <a:bodyPr rtlCol="0" anchor="ctr"/>
            <a:lstStyle/>
            <a:p>
              <a:endParaRPr lang="en-US"/>
            </a:p>
          </p:txBody>
        </p:sp>
        <p:sp>
          <p:nvSpPr>
            <p:cNvPr id="997" name="Freeform: Shape 996">
              <a:extLst>
                <a:ext uri="{FF2B5EF4-FFF2-40B4-BE49-F238E27FC236}">
                  <a16:creationId xmlns:a16="http://schemas.microsoft.com/office/drawing/2014/main" id="{971E76D3-9E73-427F-8527-55209A29994D}"/>
                </a:ext>
              </a:extLst>
            </p:cNvPr>
            <p:cNvSpPr/>
            <p:nvPr/>
          </p:nvSpPr>
          <p:spPr>
            <a:xfrm>
              <a:off x="11601517" y="3205604"/>
              <a:ext cx="58724" cy="279638"/>
            </a:xfrm>
            <a:custGeom>
              <a:avLst/>
              <a:gdLst>
                <a:gd name="connsiteX0" fmla="*/ 0 w 58724"/>
                <a:gd name="connsiteY0" fmla="*/ 275390 h 279638"/>
                <a:gd name="connsiteX1" fmla="*/ 4873 w 58724"/>
                <a:gd name="connsiteY1" fmla="*/ 279638 h 279638"/>
                <a:gd name="connsiteX2" fmla="*/ 40982 w 58724"/>
                <a:gd name="connsiteY2" fmla="*/ 259896 h 279638"/>
                <a:gd name="connsiteX3" fmla="*/ 58725 w 58724"/>
                <a:gd name="connsiteY3" fmla="*/ 3873 h 279638"/>
                <a:gd name="connsiteX4" fmla="*/ 57975 w 58724"/>
                <a:gd name="connsiteY4" fmla="*/ 3873 h 279638"/>
                <a:gd name="connsiteX5" fmla="*/ 56101 w 58724"/>
                <a:gd name="connsiteY5" fmla="*/ 2499 h 279638"/>
                <a:gd name="connsiteX6" fmla="*/ 54977 w 58724"/>
                <a:gd name="connsiteY6" fmla="*/ 1749 h 279638"/>
                <a:gd name="connsiteX7" fmla="*/ 53352 w 58724"/>
                <a:gd name="connsiteY7" fmla="*/ 0 h 279638"/>
                <a:gd name="connsiteX8" fmla="*/ 17118 w 58724"/>
                <a:gd name="connsiteY8" fmla="*/ 19492 h 27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24" h="279638">
                  <a:moveTo>
                    <a:pt x="0" y="275390"/>
                  </a:moveTo>
                  <a:cubicBezTo>
                    <a:pt x="2099" y="276140"/>
                    <a:pt x="3836" y="277664"/>
                    <a:pt x="4873" y="279638"/>
                  </a:cubicBezTo>
                  <a:lnTo>
                    <a:pt x="40982" y="259896"/>
                  </a:lnTo>
                  <a:lnTo>
                    <a:pt x="58725" y="3873"/>
                  </a:lnTo>
                  <a:lnTo>
                    <a:pt x="57975" y="3873"/>
                  </a:lnTo>
                  <a:cubicBezTo>
                    <a:pt x="57300" y="3486"/>
                    <a:pt x="56676" y="3024"/>
                    <a:pt x="56101" y="2499"/>
                  </a:cubicBezTo>
                  <a:cubicBezTo>
                    <a:pt x="55701" y="2299"/>
                    <a:pt x="55326" y="2037"/>
                    <a:pt x="54977" y="1749"/>
                  </a:cubicBezTo>
                  <a:lnTo>
                    <a:pt x="53352" y="0"/>
                  </a:lnTo>
                  <a:lnTo>
                    <a:pt x="17118" y="19492"/>
                  </a:lnTo>
                  <a:close/>
                </a:path>
              </a:pathLst>
            </a:custGeom>
            <a:solidFill>
              <a:srgbClr val="E8E7E3"/>
            </a:solidFill>
            <a:ln w="12483" cap="flat">
              <a:noFill/>
              <a:prstDash val="solid"/>
              <a:miter/>
            </a:ln>
          </p:spPr>
          <p:txBody>
            <a:bodyPr rtlCol="0" anchor="ctr"/>
            <a:lstStyle/>
            <a:p>
              <a:endParaRPr lang="en-US"/>
            </a:p>
          </p:txBody>
        </p:sp>
        <p:sp>
          <p:nvSpPr>
            <p:cNvPr id="998" name="Freeform: Shape 997">
              <a:extLst>
                <a:ext uri="{FF2B5EF4-FFF2-40B4-BE49-F238E27FC236}">
                  <a16:creationId xmlns:a16="http://schemas.microsoft.com/office/drawing/2014/main" id="{A4149803-4A5E-434C-A44E-AF08E5F8108B}"/>
                </a:ext>
              </a:extLst>
            </p:cNvPr>
            <p:cNvSpPr/>
            <p:nvPr/>
          </p:nvSpPr>
          <p:spPr>
            <a:xfrm>
              <a:off x="11388235" y="2955578"/>
              <a:ext cx="264010" cy="266019"/>
            </a:xfrm>
            <a:custGeom>
              <a:avLst/>
              <a:gdLst>
                <a:gd name="connsiteX0" fmla="*/ 34485 w 264010"/>
                <a:gd name="connsiteY0" fmla="*/ 0 h 266019"/>
                <a:gd name="connsiteX1" fmla="*/ 0 w 264010"/>
                <a:gd name="connsiteY1" fmla="*/ 18243 h 266019"/>
                <a:gd name="connsiteX2" fmla="*/ 229151 w 264010"/>
                <a:gd name="connsiteY2" fmla="*/ 266019 h 266019"/>
                <a:gd name="connsiteX3" fmla="*/ 264011 w 264010"/>
                <a:gd name="connsiteY3" fmla="*/ 247151 h 266019"/>
                <a:gd name="connsiteX4" fmla="*/ 203162 w 264010"/>
                <a:gd name="connsiteY4" fmla="*/ 181678 h 266019"/>
                <a:gd name="connsiteX5" fmla="*/ 127820 w 264010"/>
                <a:gd name="connsiteY5" fmla="*/ 100585 h 266019"/>
                <a:gd name="connsiteX6" fmla="*/ 34485 w 264010"/>
                <a:gd name="connsiteY6" fmla="*/ 0 h 26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10" h="266019">
                  <a:moveTo>
                    <a:pt x="34485" y="0"/>
                  </a:moveTo>
                  <a:lnTo>
                    <a:pt x="0" y="18243"/>
                  </a:lnTo>
                  <a:lnTo>
                    <a:pt x="229151" y="266019"/>
                  </a:lnTo>
                  <a:lnTo>
                    <a:pt x="264011" y="247151"/>
                  </a:lnTo>
                  <a:lnTo>
                    <a:pt x="203162" y="181678"/>
                  </a:lnTo>
                  <a:lnTo>
                    <a:pt x="127820" y="100585"/>
                  </a:lnTo>
                  <a:lnTo>
                    <a:pt x="34485" y="0"/>
                  </a:lnTo>
                  <a:close/>
                </a:path>
              </a:pathLst>
            </a:custGeom>
            <a:solidFill>
              <a:schemeClr val="accent6"/>
            </a:solidFill>
            <a:ln w="12483" cap="flat">
              <a:noFill/>
              <a:prstDash val="solid"/>
              <a:miter/>
            </a:ln>
          </p:spPr>
          <p:txBody>
            <a:bodyPr rtlCol="0" anchor="ctr"/>
            <a:lstStyle/>
            <a:p>
              <a:endParaRPr lang="en-US"/>
            </a:p>
          </p:txBody>
        </p:sp>
        <p:sp>
          <p:nvSpPr>
            <p:cNvPr id="999" name="Freeform: Shape 998">
              <a:extLst>
                <a:ext uri="{FF2B5EF4-FFF2-40B4-BE49-F238E27FC236}">
                  <a16:creationId xmlns:a16="http://schemas.microsoft.com/office/drawing/2014/main" id="{1E1E7B69-A334-4C9D-98F0-E2201C9BBAA6}"/>
                </a:ext>
              </a:extLst>
            </p:cNvPr>
            <p:cNvSpPr/>
            <p:nvPr/>
          </p:nvSpPr>
          <p:spPr>
            <a:xfrm>
              <a:off x="10935055" y="2409671"/>
              <a:ext cx="585497" cy="819423"/>
            </a:xfrm>
            <a:custGeom>
              <a:avLst/>
              <a:gdLst>
                <a:gd name="connsiteX0" fmla="*/ 0 w 585497"/>
                <a:gd name="connsiteY0" fmla="*/ 356733 h 819423"/>
                <a:gd name="connsiteX1" fmla="*/ 81840 w 585497"/>
                <a:gd name="connsiteY1" fmla="*/ 446697 h 819423"/>
                <a:gd name="connsiteX2" fmla="*/ 420818 w 585497"/>
                <a:gd name="connsiteY2" fmla="*/ 819423 h 819423"/>
                <a:gd name="connsiteX3" fmla="*/ 435187 w 585497"/>
                <a:gd name="connsiteY3" fmla="*/ 556278 h 819423"/>
                <a:gd name="connsiteX4" fmla="*/ 435187 w 585497"/>
                <a:gd name="connsiteY4" fmla="*/ 554779 h 819423"/>
                <a:gd name="connsiteX5" fmla="*/ 435187 w 585497"/>
                <a:gd name="connsiteY5" fmla="*/ 552655 h 819423"/>
                <a:gd name="connsiteX6" fmla="*/ 436062 w 585497"/>
                <a:gd name="connsiteY6" fmla="*/ 550905 h 819423"/>
                <a:gd name="connsiteX7" fmla="*/ 437186 w 585497"/>
                <a:gd name="connsiteY7" fmla="*/ 549281 h 819423"/>
                <a:gd name="connsiteX8" fmla="*/ 438561 w 585497"/>
                <a:gd name="connsiteY8" fmla="*/ 548032 h 819423"/>
                <a:gd name="connsiteX9" fmla="*/ 439685 w 585497"/>
                <a:gd name="connsiteY9" fmla="*/ 547032 h 819423"/>
                <a:gd name="connsiteX10" fmla="*/ 484791 w 585497"/>
                <a:gd name="connsiteY10" fmla="*/ 523167 h 819423"/>
                <a:gd name="connsiteX11" fmla="*/ 486040 w 585497"/>
                <a:gd name="connsiteY11" fmla="*/ 523167 h 819423"/>
                <a:gd name="connsiteX12" fmla="*/ 488164 w 585497"/>
                <a:gd name="connsiteY12" fmla="*/ 523167 h 819423"/>
                <a:gd name="connsiteX13" fmla="*/ 489663 w 585497"/>
                <a:gd name="connsiteY13" fmla="*/ 523167 h 819423"/>
                <a:gd name="connsiteX14" fmla="*/ 491538 w 585497"/>
                <a:gd name="connsiteY14" fmla="*/ 523167 h 819423"/>
                <a:gd name="connsiteX15" fmla="*/ 493037 w 585497"/>
                <a:gd name="connsiteY15" fmla="*/ 524291 h 819423"/>
                <a:gd name="connsiteX16" fmla="*/ 494411 w 585497"/>
                <a:gd name="connsiteY16" fmla="*/ 525166 h 819423"/>
                <a:gd name="connsiteX17" fmla="*/ 585497 w 585497"/>
                <a:gd name="connsiteY17" fmla="*/ 623252 h 819423"/>
                <a:gd name="connsiteX18" fmla="*/ 585497 w 585497"/>
                <a:gd name="connsiteY18" fmla="*/ 618379 h 819423"/>
                <a:gd name="connsiteX19" fmla="*/ 10746 w 585497"/>
                <a:gd name="connsiteY19" fmla="*/ 0 h 819423"/>
                <a:gd name="connsiteX20" fmla="*/ 1124 w 585497"/>
                <a:gd name="connsiteY20" fmla="*/ 292508 h 8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5497" h="819423">
                  <a:moveTo>
                    <a:pt x="0" y="356733"/>
                  </a:moveTo>
                  <a:lnTo>
                    <a:pt x="81840" y="446697"/>
                  </a:lnTo>
                  <a:lnTo>
                    <a:pt x="420818" y="819423"/>
                  </a:lnTo>
                  <a:lnTo>
                    <a:pt x="435187" y="556278"/>
                  </a:lnTo>
                  <a:lnTo>
                    <a:pt x="435187" y="554779"/>
                  </a:lnTo>
                  <a:cubicBezTo>
                    <a:pt x="435112" y="554067"/>
                    <a:pt x="435112" y="553367"/>
                    <a:pt x="435187" y="552655"/>
                  </a:cubicBezTo>
                  <a:cubicBezTo>
                    <a:pt x="435187" y="552030"/>
                    <a:pt x="435812" y="551530"/>
                    <a:pt x="436062" y="550905"/>
                  </a:cubicBezTo>
                  <a:cubicBezTo>
                    <a:pt x="436362" y="550318"/>
                    <a:pt x="436736" y="549768"/>
                    <a:pt x="437186" y="549281"/>
                  </a:cubicBezTo>
                  <a:cubicBezTo>
                    <a:pt x="437586" y="548806"/>
                    <a:pt x="438048" y="548381"/>
                    <a:pt x="438561" y="548032"/>
                  </a:cubicBezTo>
                  <a:cubicBezTo>
                    <a:pt x="438561" y="548032"/>
                    <a:pt x="439310" y="547282"/>
                    <a:pt x="439685" y="547032"/>
                  </a:cubicBezTo>
                  <a:lnTo>
                    <a:pt x="484791" y="523167"/>
                  </a:lnTo>
                  <a:lnTo>
                    <a:pt x="486040" y="523167"/>
                  </a:lnTo>
                  <a:cubicBezTo>
                    <a:pt x="486740" y="523054"/>
                    <a:pt x="487464" y="523054"/>
                    <a:pt x="488164" y="523167"/>
                  </a:cubicBezTo>
                  <a:cubicBezTo>
                    <a:pt x="488651" y="523041"/>
                    <a:pt x="489176" y="523041"/>
                    <a:pt x="489663" y="523167"/>
                  </a:cubicBezTo>
                  <a:cubicBezTo>
                    <a:pt x="490288" y="523104"/>
                    <a:pt x="490913" y="523104"/>
                    <a:pt x="491538" y="523167"/>
                  </a:cubicBezTo>
                  <a:cubicBezTo>
                    <a:pt x="492100" y="523454"/>
                    <a:pt x="492600" y="523841"/>
                    <a:pt x="493037" y="524291"/>
                  </a:cubicBezTo>
                  <a:cubicBezTo>
                    <a:pt x="493537" y="524503"/>
                    <a:pt x="493999" y="524803"/>
                    <a:pt x="494411" y="525166"/>
                  </a:cubicBezTo>
                  <a:lnTo>
                    <a:pt x="585497" y="623252"/>
                  </a:lnTo>
                  <a:lnTo>
                    <a:pt x="585497" y="618379"/>
                  </a:lnTo>
                  <a:lnTo>
                    <a:pt x="10746" y="0"/>
                  </a:lnTo>
                  <a:lnTo>
                    <a:pt x="1124" y="292508"/>
                  </a:lnTo>
                  <a:close/>
                </a:path>
              </a:pathLst>
            </a:custGeom>
            <a:solidFill>
              <a:schemeClr val="accent6">
                <a:lumMod val="50000"/>
              </a:schemeClr>
            </a:solidFill>
            <a:ln w="12483" cap="flat">
              <a:noFill/>
              <a:prstDash val="solid"/>
              <a:miter/>
            </a:ln>
          </p:spPr>
          <p:txBody>
            <a:bodyPr rtlCol="0" anchor="ctr"/>
            <a:lstStyle/>
            <a:p>
              <a:endParaRPr lang="en-US"/>
            </a:p>
          </p:txBody>
        </p:sp>
        <p:sp>
          <p:nvSpPr>
            <p:cNvPr id="1000" name="Freeform: Shape 999">
              <a:extLst>
                <a:ext uri="{FF2B5EF4-FFF2-40B4-BE49-F238E27FC236}">
                  <a16:creationId xmlns:a16="http://schemas.microsoft.com/office/drawing/2014/main" id="{429DBDF9-DCBD-476E-BD1E-C0D97077DFE7}"/>
                </a:ext>
              </a:extLst>
            </p:cNvPr>
            <p:cNvSpPr/>
            <p:nvPr/>
          </p:nvSpPr>
          <p:spPr>
            <a:xfrm>
              <a:off x="11374116" y="2978319"/>
              <a:ext cx="241270" cy="504298"/>
            </a:xfrm>
            <a:custGeom>
              <a:avLst/>
              <a:gdLst>
                <a:gd name="connsiteX0" fmla="*/ 219405 w 241270"/>
                <a:gd name="connsiteY0" fmla="*/ 504299 h 504298"/>
                <a:gd name="connsiteX1" fmla="*/ 221404 w 241270"/>
                <a:gd name="connsiteY1" fmla="*/ 503299 h 504298"/>
                <a:gd name="connsiteX2" fmla="*/ 224153 w 241270"/>
                <a:gd name="connsiteY2" fmla="*/ 502425 h 504298"/>
                <a:gd name="connsiteX3" fmla="*/ 241271 w 241270"/>
                <a:gd name="connsiteY3" fmla="*/ 246277 h 504298"/>
                <a:gd name="connsiteX4" fmla="*/ 13994 w 241270"/>
                <a:gd name="connsiteY4" fmla="*/ 0 h 504298"/>
                <a:gd name="connsiteX5" fmla="*/ 0 w 241270"/>
                <a:gd name="connsiteY5" fmla="*/ 256148 h 504298"/>
                <a:gd name="connsiteX6" fmla="*/ 0 w 241270"/>
                <a:gd name="connsiteY6" fmla="*/ 262270 h 5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70" h="504298">
                  <a:moveTo>
                    <a:pt x="219405" y="504299"/>
                  </a:moveTo>
                  <a:lnTo>
                    <a:pt x="221404" y="503299"/>
                  </a:lnTo>
                  <a:cubicBezTo>
                    <a:pt x="222254" y="502837"/>
                    <a:pt x="223191" y="502550"/>
                    <a:pt x="224153" y="502425"/>
                  </a:cubicBezTo>
                  <a:lnTo>
                    <a:pt x="241271" y="246277"/>
                  </a:lnTo>
                  <a:lnTo>
                    <a:pt x="13994" y="0"/>
                  </a:lnTo>
                  <a:lnTo>
                    <a:pt x="0" y="256148"/>
                  </a:lnTo>
                  <a:lnTo>
                    <a:pt x="0" y="262270"/>
                  </a:lnTo>
                  <a:close/>
                </a:path>
              </a:pathLst>
            </a:custGeom>
            <a:solidFill>
              <a:schemeClr val="accent2"/>
            </a:solidFill>
            <a:ln w="12483" cap="flat">
              <a:noFill/>
              <a:prstDash val="solid"/>
              <a:miter/>
            </a:ln>
          </p:spPr>
          <p:txBody>
            <a:bodyPr rtlCol="0" anchor="ctr"/>
            <a:lstStyle/>
            <a:p>
              <a:endParaRPr lang="en-US"/>
            </a:p>
          </p:txBody>
        </p:sp>
        <p:sp>
          <p:nvSpPr>
            <p:cNvPr id="1001" name="Freeform: Shape 1000">
              <a:extLst>
                <a:ext uri="{FF2B5EF4-FFF2-40B4-BE49-F238E27FC236}">
                  <a16:creationId xmlns:a16="http://schemas.microsoft.com/office/drawing/2014/main" id="{6F17DED5-1F2E-4201-B68F-21FD38624391}"/>
                </a:ext>
              </a:extLst>
            </p:cNvPr>
            <p:cNvSpPr/>
            <p:nvPr/>
          </p:nvSpPr>
          <p:spPr>
            <a:xfrm>
              <a:off x="11352750" y="3245588"/>
              <a:ext cx="237647" cy="369102"/>
            </a:xfrm>
            <a:custGeom>
              <a:avLst/>
              <a:gdLst>
                <a:gd name="connsiteX0" fmla="*/ 20241 w 237647"/>
                <a:gd name="connsiteY0" fmla="*/ 0 h 369102"/>
                <a:gd name="connsiteX1" fmla="*/ 19741 w 237647"/>
                <a:gd name="connsiteY1" fmla="*/ 7372 h 369102"/>
                <a:gd name="connsiteX2" fmla="*/ 0 w 237647"/>
                <a:gd name="connsiteY2" fmla="*/ 369103 h 369102"/>
                <a:gd name="connsiteX3" fmla="*/ 237647 w 237647"/>
                <a:gd name="connsiteY3" fmla="*/ 238780 h 369102"/>
                <a:gd name="connsiteX4" fmla="*/ 20241 w 237647"/>
                <a:gd name="connsiteY4" fmla="*/ 0 h 369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7" h="369102">
                  <a:moveTo>
                    <a:pt x="20241" y="0"/>
                  </a:moveTo>
                  <a:lnTo>
                    <a:pt x="19741" y="7372"/>
                  </a:lnTo>
                  <a:lnTo>
                    <a:pt x="0" y="369103"/>
                  </a:lnTo>
                  <a:lnTo>
                    <a:pt x="237647" y="238780"/>
                  </a:lnTo>
                  <a:lnTo>
                    <a:pt x="20241" y="0"/>
                  </a:lnTo>
                  <a:close/>
                </a:path>
              </a:pathLst>
            </a:custGeom>
            <a:solidFill>
              <a:schemeClr val="accent5"/>
            </a:solidFill>
            <a:ln w="12483" cap="flat">
              <a:noFill/>
              <a:prstDash val="solid"/>
              <a:miter/>
            </a:ln>
          </p:spPr>
          <p:txBody>
            <a:bodyPr rtlCol="0" anchor="ctr"/>
            <a:lstStyle/>
            <a:p>
              <a:endParaRPr lang="en-US"/>
            </a:p>
          </p:txBody>
        </p:sp>
        <p:sp>
          <p:nvSpPr>
            <p:cNvPr id="1002" name="Freeform: Shape 1001">
              <a:extLst>
                <a:ext uri="{FF2B5EF4-FFF2-40B4-BE49-F238E27FC236}">
                  <a16:creationId xmlns:a16="http://schemas.microsoft.com/office/drawing/2014/main" id="{97290B3F-54FB-44CB-886B-56A025D24C4D}"/>
                </a:ext>
              </a:extLst>
            </p:cNvPr>
            <p:cNvSpPr/>
            <p:nvPr/>
          </p:nvSpPr>
          <p:spPr>
            <a:xfrm>
              <a:off x="11407726" y="3929565"/>
              <a:ext cx="241895" cy="364979"/>
            </a:xfrm>
            <a:custGeom>
              <a:avLst/>
              <a:gdLst>
                <a:gd name="connsiteX0" fmla="*/ 14119 w 241895"/>
                <a:gd name="connsiteY0" fmla="*/ 127949 h 364979"/>
                <a:gd name="connsiteX1" fmla="*/ 1749 w 241895"/>
                <a:gd name="connsiteY1" fmla="*/ 334742 h 364979"/>
                <a:gd name="connsiteX2" fmla="*/ 0 w 241895"/>
                <a:gd name="connsiteY2" fmla="*/ 364979 h 364979"/>
                <a:gd name="connsiteX3" fmla="*/ 225028 w 241895"/>
                <a:gd name="connsiteY3" fmla="*/ 236905 h 364979"/>
                <a:gd name="connsiteX4" fmla="*/ 225278 w 241895"/>
                <a:gd name="connsiteY4" fmla="*/ 232907 h 364979"/>
                <a:gd name="connsiteX5" fmla="*/ 241895 w 241895"/>
                <a:gd name="connsiteY5" fmla="*/ 0 h 364979"/>
                <a:gd name="connsiteX6" fmla="*/ 14119 w 241895"/>
                <a:gd name="connsiteY6" fmla="*/ 127949 h 36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95" h="364979">
                  <a:moveTo>
                    <a:pt x="14119" y="127949"/>
                  </a:moveTo>
                  <a:lnTo>
                    <a:pt x="1749" y="334742"/>
                  </a:lnTo>
                  <a:lnTo>
                    <a:pt x="0" y="364979"/>
                  </a:lnTo>
                  <a:lnTo>
                    <a:pt x="225028" y="236905"/>
                  </a:lnTo>
                  <a:lnTo>
                    <a:pt x="225278" y="232907"/>
                  </a:lnTo>
                  <a:lnTo>
                    <a:pt x="241895" y="0"/>
                  </a:lnTo>
                  <a:lnTo>
                    <a:pt x="14119" y="127949"/>
                  </a:lnTo>
                  <a:close/>
                </a:path>
              </a:pathLst>
            </a:custGeom>
            <a:solidFill>
              <a:schemeClr val="accent5"/>
            </a:solidFill>
            <a:ln w="12483" cap="flat">
              <a:noFill/>
              <a:prstDash val="solid"/>
              <a:miter/>
            </a:ln>
          </p:spPr>
          <p:txBody>
            <a:bodyPr rtlCol="0" anchor="ctr"/>
            <a:lstStyle/>
            <a:p>
              <a:endParaRPr lang="en-US"/>
            </a:p>
          </p:txBody>
        </p:sp>
        <p:sp>
          <p:nvSpPr>
            <p:cNvPr id="1003" name="Freeform: Shape 1002">
              <a:extLst>
                <a:ext uri="{FF2B5EF4-FFF2-40B4-BE49-F238E27FC236}">
                  <a16:creationId xmlns:a16="http://schemas.microsoft.com/office/drawing/2014/main" id="{F9E0CE3B-A32F-449D-8F35-6CA37C78CE8A}"/>
                </a:ext>
              </a:extLst>
            </p:cNvPr>
            <p:cNvSpPr/>
            <p:nvPr/>
          </p:nvSpPr>
          <p:spPr>
            <a:xfrm>
              <a:off x="11312892" y="3803865"/>
              <a:ext cx="336229" cy="250150"/>
            </a:xfrm>
            <a:custGeom>
              <a:avLst/>
              <a:gdLst>
                <a:gd name="connsiteX0" fmla="*/ 0 w 336229"/>
                <a:gd name="connsiteY0" fmla="*/ 126700 h 250150"/>
                <a:gd name="connsiteX1" fmla="*/ 0 w 336229"/>
                <a:gd name="connsiteY1" fmla="*/ 126700 h 250150"/>
                <a:gd name="connsiteX2" fmla="*/ 107828 w 336229"/>
                <a:gd name="connsiteY2" fmla="*/ 250150 h 250150"/>
                <a:gd name="connsiteX3" fmla="*/ 336230 w 336229"/>
                <a:gd name="connsiteY3" fmla="*/ 121701 h 250150"/>
                <a:gd name="connsiteX4" fmla="*/ 257639 w 336229"/>
                <a:gd name="connsiteY4" fmla="*/ 33612 h 250150"/>
                <a:gd name="connsiteX5" fmla="*/ 227652 w 336229"/>
                <a:gd name="connsiteY5" fmla="*/ 0 h 250150"/>
                <a:gd name="connsiteX6" fmla="*/ 79965 w 336229"/>
                <a:gd name="connsiteY6" fmla="*/ 82217 h 250150"/>
                <a:gd name="connsiteX7" fmla="*/ 62848 w 336229"/>
                <a:gd name="connsiteY7" fmla="*/ 91713 h 250150"/>
                <a:gd name="connsiteX8" fmla="*/ 0 w 336229"/>
                <a:gd name="connsiteY8" fmla="*/ 126700 h 25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29" h="250150">
                  <a:moveTo>
                    <a:pt x="0" y="126700"/>
                  </a:moveTo>
                  <a:lnTo>
                    <a:pt x="0" y="126700"/>
                  </a:lnTo>
                  <a:lnTo>
                    <a:pt x="107828" y="250150"/>
                  </a:lnTo>
                  <a:lnTo>
                    <a:pt x="336230" y="121701"/>
                  </a:lnTo>
                  <a:lnTo>
                    <a:pt x="257639" y="33612"/>
                  </a:lnTo>
                  <a:lnTo>
                    <a:pt x="227652" y="0"/>
                  </a:lnTo>
                  <a:lnTo>
                    <a:pt x="79965" y="82217"/>
                  </a:lnTo>
                  <a:lnTo>
                    <a:pt x="62848" y="91713"/>
                  </a:lnTo>
                  <a:lnTo>
                    <a:pt x="0" y="126700"/>
                  </a:lnTo>
                  <a:close/>
                </a:path>
              </a:pathLst>
            </a:custGeom>
            <a:solidFill>
              <a:schemeClr val="accent6"/>
            </a:solidFill>
            <a:ln w="12483" cap="flat">
              <a:noFill/>
              <a:prstDash val="solid"/>
              <a:miter/>
            </a:ln>
          </p:spPr>
          <p:txBody>
            <a:bodyPr rtlCol="0" anchor="ctr"/>
            <a:lstStyle/>
            <a:p>
              <a:endParaRPr lang="en-US"/>
            </a:p>
          </p:txBody>
        </p:sp>
        <p:sp>
          <p:nvSpPr>
            <p:cNvPr id="1004" name="Freeform: Shape 1003">
              <a:extLst>
                <a:ext uri="{FF2B5EF4-FFF2-40B4-BE49-F238E27FC236}">
                  <a16:creationId xmlns:a16="http://schemas.microsoft.com/office/drawing/2014/main" id="{FF965609-B882-4F1E-89CA-1FA25FFEB157}"/>
                </a:ext>
              </a:extLst>
            </p:cNvPr>
            <p:cNvSpPr/>
            <p:nvPr/>
          </p:nvSpPr>
          <p:spPr>
            <a:xfrm>
              <a:off x="11301272" y="3935563"/>
              <a:ext cx="118574" cy="324370"/>
            </a:xfrm>
            <a:custGeom>
              <a:avLst/>
              <a:gdLst>
                <a:gd name="connsiteX0" fmla="*/ 750 w 118574"/>
                <a:gd name="connsiteY0" fmla="*/ 196422 h 324370"/>
                <a:gd name="connsiteX1" fmla="*/ 750 w 118574"/>
                <a:gd name="connsiteY1" fmla="*/ 197796 h 324370"/>
                <a:gd name="connsiteX2" fmla="*/ 750 w 118574"/>
                <a:gd name="connsiteY2" fmla="*/ 200045 h 324370"/>
                <a:gd name="connsiteX3" fmla="*/ 0 w 118574"/>
                <a:gd name="connsiteY3" fmla="*/ 201545 h 324370"/>
                <a:gd name="connsiteX4" fmla="*/ 106079 w 118574"/>
                <a:gd name="connsiteY4" fmla="*/ 324371 h 324370"/>
                <a:gd name="connsiteX5" fmla="*/ 118574 w 118574"/>
                <a:gd name="connsiteY5" fmla="*/ 121452 h 324370"/>
                <a:gd name="connsiteX6" fmla="*/ 11870 w 118574"/>
                <a:gd name="connsiteY6" fmla="*/ 0 h 32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74" h="324370">
                  <a:moveTo>
                    <a:pt x="750" y="196422"/>
                  </a:moveTo>
                  <a:cubicBezTo>
                    <a:pt x="750" y="196422"/>
                    <a:pt x="750" y="197296"/>
                    <a:pt x="750" y="197796"/>
                  </a:cubicBezTo>
                  <a:cubicBezTo>
                    <a:pt x="812" y="198546"/>
                    <a:pt x="812" y="199295"/>
                    <a:pt x="750" y="200045"/>
                  </a:cubicBezTo>
                  <a:lnTo>
                    <a:pt x="0" y="201545"/>
                  </a:lnTo>
                  <a:lnTo>
                    <a:pt x="106079" y="324371"/>
                  </a:lnTo>
                  <a:lnTo>
                    <a:pt x="118574" y="121452"/>
                  </a:lnTo>
                  <a:lnTo>
                    <a:pt x="11870" y="0"/>
                  </a:lnTo>
                  <a:close/>
                </a:path>
              </a:pathLst>
            </a:custGeom>
            <a:solidFill>
              <a:srgbClr val="E8E7E3"/>
            </a:solidFill>
            <a:ln w="12483" cap="flat">
              <a:noFill/>
              <a:prstDash val="solid"/>
              <a:miter/>
            </a:ln>
          </p:spPr>
          <p:txBody>
            <a:bodyPr rtlCol="0" anchor="ctr"/>
            <a:lstStyle/>
            <a:p>
              <a:endParaRPr lang="en-US"/>
            </a:p>
          </p:txBody>
        </p:sp>
        <p:sp>
          <p:nvSpPr>
            <p:cNvPr id="1005" name="Freeform: Shape 1004">
              <a:extLst>
                <a:ext uri="{FF2B5EF4-FFF2-40B4-BE49-F238E27FC236}">
                  <a16:creationId xmlns:a16="http://schemas.microsoft.com/office/drawing/2014/main" id="{C3D8C31C-32B5-4E68-8FC2-C40B8F97C79A}"/>
                </a:ext>
              </a:extLst>
            </p:cNvPr>
            <p:cNvSpPr/>
            <p:nvPr/>
          </p:nvSpPr>
          <p:spPr>
            <a:xfrm>
              <a:off x="11394857" y="4288922"/>
              <a:ext cx="9370" cy="31737"/>
            </a:xfrm>
            <a:custGeom>
              <a:avLst/>
              <a:gdLst>
                <a:gd name="connsiteX0" fmla="*/ 375 w 9370"/>
                <a:gd name="connsiteY0" fmla="*/ 15744 h 31737"/>
                <a:gd name="connsiteX1" fmla="*/ 0 w 9370"/>
                <a:gd name="connsiteY1" fmla="*/ 22241 h 31737"/>
                <a:gd name="connsiteX2" fmla="*/ 8121 w 9370"/>
                <a:gd name="connsiteY2" fmla="*/ 31737 h 31737"/>
                <a:gd name="connsiteX3" fmla="*/ 9371 w 9370"/>
                <a:gd name="connsiteY3" fmla="*/ 9496 h 31737"/>
                <a:gd name="connsiteX4" fmla="*/ 1250 w 9370"/>
                <a:gd name="connsiteY4" fmla="*/ 0 h 31737"/>
                <a:gd name="connsiteX5" fmla="*/ 375 w 9370"/>
                <a:gd name="connsiteY5" fmla="*/ 15744 h 3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0" h="31737">
                  <a:moveTo>
                    <a:pt x="375" y="15744"/>
                  </a:moveTo>
                  <a:lnTo>
                    <a:pt x="0" y="22241"/>
                  </a:lnTo>
                  <a:lnTo>
                    <a:pt x="8121" y="31737"/>
                  </a:lnTo>
                  <a:lnTo>
                    <a:pt x="9371" y="9496"/>
                  </a:lnTo>
                  <a:lnTo>
                    <a:pt x="1250" y="0"/>
                  </a:lnTo>
                  <a:lnTo>
                    <a:pt x="375" y="15744"/>
                  </a:lnTo>
                  <a:close/>
                </a:path>
              </a:pathLst>
            </a:custGeom>
            <a:solidFill>
              <a:srgbClr val="F9C996"/>
            </a:solidFill>
            <a:ln w="12483" cap="flat">
              <a:noFill/>
              <a:prstDash val="solid"/>
              <a:miter/>
            </a:ln>
          </p:spPr>
          <p:txBody>
            <a:bodyPr rtlCol="0" anchor="ctr"/>
            <a:lstStyle/>
            <a:p>
              <a:endParaRPr lang="en-US"/>
            </a:p>
          </p:txBody>
        </p:sp>
        <p:sp>
          <p:nvSpPr>
            <p:cNvPr id="1006" name="Freeform: Shape 1005">
              <a:extLst>
                <a:ext uri="{FF2B5EF4-FFF2-40B4-BE49-F238E27FC236}">
                  <a16:creationId xmlns:a16="http://schemas.microsoft.com/office/drawing/2014/main" id="{3F9D3C6B-75D7-47F0-AFFF-B6A0889727C0}"/>
                </a:ext>
              </a:extLst>
            </p:cNvPr>
            <p:cNvSpPr/>
            <p:nvPr/>
          </p:nvSpPr>
          <p:spPr>
            <a:xfrm>
              <a:off x="11393607" y="4316161"/>
              <a:ext cx="8996" cy="25239"/>
            </a:xfrm>
            <a:custGeom>
              <a:avLst/>
              <a:gdLst>
                <a:gd name="connsiteX0" fmla="*/ 0 w 8996"/>
                <a:gd name="connsiteY0" fmla="*/ 15869 h 25239"/>
                <a:gd name="connsiteX1" fmla="*/ 8121 w 8996"/>
                <a:gd name="connsiteY1" fmla="*/ 25240 h 25239"/>
                <a:gd name="connsiteX2" fmla="*/ 8996 w 8996"/>
                <a:gd name="connsiteY2" fmla="*/ 9496 h 25239"/>
                <a:gd name="connsiteX3" fmla="*/ 875 w 8996"/>
                <a:gd name="connsiteY3" fmla="*/ 0 h 25239"/>
                <a:gd name="connsiteX4" fmla="*/ 0 w 8996"/>
                <a:gd name="connsiteY4" fmla="*/ 15869 h 25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 h="25239">
                  <a:moveTo>
                    <a:pt x="0" y="15869"/>
                  </a:moveTo>
                  <a:lnTo>
                    <a:pt x="8121" y="25240"/>
                  </a:lnTo>
                  <a:lnTo>
                    <a:pt x="8996" y="9496"/>
                  </a:lnTo>
                  <a:lnTo>
                    <a:pt x="875" y="0"/>
                  </a:lnTo>
                  <a:lnTo>
                    <a:pt x="0" y="15869"/>
                  </a:lnTo>
                  <a:close/>
                </a:path>
              </a:pathLst>
            </a:custGeom>
            <a:solidFill>
              <a:srgbClr val="F4F5F3"/>
            </a:solidFill>
            <a:ln w="12483" cap="flat">
              <a:noFill/>
              <a:prstDash val="solid"/>
              <a:miter/>
            </a:ln>
          </p:spPr>
          <p:txBody>
            <a:bodyPr rtlCol="0" anchor="ctr"/>
            <a:lstStyle/>
            <a:p>
              <a:endParaRPr lang="en-US"/>
            </a:p>
          </p:txBody>
        </p:sp>
        <p:sp>
          <p:nvSpPr>
            <p:cNvPr id="1007" name="Freeform: Shape 1006">
              <a:extLst>
                <a:ext uri="{FF2B5EF4-FFF2-40B4-BE49-F238E27FC236}">
                  <a16:creationId xmlns:a16="http://schemas.microsoft.com/office/drawing/2014/main" id="{0BE063D1-3D61-4A66-AA25-60E77E380A17}"/>
                </a:ext>
              </a:extLst>
            </p:cNvPr>
            <p:cNvSpPr/>
            <p:nvPr/>
          </p:nvSpPr>
          <p:spPr>
            <a:xfrm>
              <a:off x="11294025" y="4140106"/>
              <a:ext cx="112201" cy="153438"/>
            </a:xfrm>
            <a:custGeom>
              <a:avLst/>
              <a:gdLst>
                <a:gd name="connsiteX0" fmla="*/ 3873 w 112201"/>
                <a:gd name="connsiteY0" fmla="*/ 125 h 153438"/>
                <a:gd name="connsiteX1" fmla="*/ 2874 w 112201"/>
                <a:gd name="connsiteY1" fmla="*/ 999 h 153438"/>
                <a:gd name="connsiteX2" fmla="*/ 0 w 112201"/>
                <a:gd name="connsiteY2" fmla="*/ 2624 h 153438"/>
                <a:gd name="connsiteX3" fmla="*/ 0 w 112201"/>
                <a:gd name="connsiteY3" fmla="*/ 11121 h 153438"/>
                <a:gd name="connsiteX4" fmla="*/ 3873 w 112201"/>
                <a:gd name="connsiteY4" fmla="*/ 15744 h 153438"/>
                <a:gd name="connsiteX5" fmla="*/ 100457 w 112201"/>
                <a:gd name="connsiteY5" fmla="*/ 128199 h 153438"/>
                <a:gd name="connsiteX6" fmla="*/ 100457 w 112201"/>
                <a:gd name="connsiteY6" fmla="*/ 128199 h 153438"/>
                <a:gd name="connsiteX7" fmla="*/ 101456 w 112201"/>
                <a:gd name="connsiteY7" fmla="*/ 130073 h 153438"/>
                <a:gd name="connsiteX8" fmla="*/ 102331 w 112201"/>
                <a:gd name="connsiteY8" fmla="*/ 131822 h 153438"/>
                <a:gd name="connsiteX9" fmla="*/ 102331 w 112201"/>
                <a:gd name="connsiteY9" fmla="*/ 133572 h 153438"/>
                <a:gd name="connsiteX10" fmla="*/ 102331 w 112201"/>
                <a:gd name="connsiteY10" fmla="*/ 135946 h 153438"/>
                <a:gd name="connsiteX11" fmla="*/ 102331 w 112201"/>
                <a:gd name="connsiteY11" fmla="*/ 137445 h 153438"/>
                <a:gd name="connsiteX12" fmla="*/ 102331 w 112201"/>
                <a:gd name="connsiteY12" fmla="*/ 143942 h 153438"/>
                <a:gd name="connsiteX13" fmla="*/ 110577 w 112201"/>
                <a:gd name="connsiteY13" fmla="*/ 153439 h 153438"/>
                <a:gd name="connsiteX14" fmla="*/ 112202 w 112201"/>
                <a:gd name="connsiteY14" fmla="*/ 124950 h 153438"/>
                <a:gd name="connsiteX15" fmla="*/ 4248 w 112201"/>
                <a:gd name="connsiteY15" fmla="*/ 0 h 15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201" h="153438">
                  <a:moveTo>
                    <a:pt x="3873" y="125"/>
                  </a:moveTo>
                  <a:lnTo>
                    <a:pt x="2874" y="999"/>
                  </a:lnTo>
                  <a:lnTo>
                    <a:pt x="0" y="2624"/>
                  </a:lnTo>
                  <a:lnTo>
                    <a:pt x="0" y="11121"/>
                  </a:lnTo>
                  <a:lnTo>
                    <a:pt x="3873" y="15744"/>
                  </a:lnTo>
                  <a:lnTo>
                    <a:pt x="100457" y="128199"/>
                  </a:lnTo>
                  <a:lnTo>
                    <a:pt x="100457" y="128199"/>
                  </a:lnTo>
                  <a:cubicBezTo>
                    <a:pt x="100869" y="128786"/>
                    <a:pt x="101194" y="129411"/>
                    <a:pt x="101456" y="130073"/>
                  </a:cubicBezTo>
                  <a:cubicBezTo>
                    <a:pt x="101818" y="130610"/>
                    <a:pt x="102118" y="131210"/>
                    <a:pt x="102331" y="131822"/>
                  </a:cubicBezTo>
                  <a:lnTo>
                    <a:pt x="102331" y="133572"/>
                  </a:lnTo>
                  <a:cubicBezTo>
                    <a:pt x="102393" y="134359"/>
                    <a:pt x="102393" y="135158"/>
                    <a:pt x="102331" y="135946"/>
                  </a:cubicBezTo>
                  <a:lnTo>
                    <a:pt x="102331" y="137445"/>
                  </a:lnTo>
                  <a:lnTo>
                    <a:pt x="102331" y="143942"/>
                  </a:lnTo>
                  <a:lnTo>
                    <a:pt x="110577" y="153439"/>
                  </a:lnTo>
                  <a:lnTo>
                    <a:pt x="112202" y="124950"/>
                  </a:lnTo>
                  <a:lnTo>
                    <a:pt x="4248" y="0"/>
                  </a:lnTo>
                  <a:close/>
                </a:path>
              </a:pathLst>
            </a:custGeom>
            <a:solidFill>
              <a:schemeClr val="accent6">
                <a:lumMod val="50000"/>
              </a:schemeClr>
            </a:solidFill>
            <a:ln w="12483" cap="flat">
              <a:noFill/>
              <a:prstDash val="solid"/>
              <a:miter/>
            </a:ln>
          </p:spPr>
          <p:txBody>
            <a:bodyPr rtlCol="0" anchor="ctr"/>
            <a:lstStyle/>
            <a:p>
              <a:endParaRPr lang="en-US"/>
            </a:p>
          </p:txBody>
        </p:sp>
        <p:sp>
          <p:nvSpPr>
            <p:cNvPr id="1008" name="Freeform: Shape 1007">
              <a:extLst>
                <a:ext uri="{FF2B5EF4-FFF2-40B4-BE49-F238E27FC236}">
                  <a16:creationId xmlns:a16="http://schemas.microsoft.com/office/drawing/2014/main" id="{919CA287-0713-44F5-A413-AC52F133FEB2}"/>
                </a:ext>
              </a:extLst>
            </p:cNvPr>
            <p:cNvSpPr/>
            <p:nvPr/>
          </p:nvSpPr>
          <p:spPr>
            <a:xfrm>
              <a:off x="11288777" y="4144479"/>
              <a:ext cx="1999" cy="3248"/>
            </a:xfrm>
            <a:custGeom>
              <a:avLst/>
              <a:gdLst>
                <a:gd name="connsiteX0" fmla="*/ 1999 w 1999"/>
                <a:gd name="connsiteY0" fmla="*/ 0 h 3248"/>
                <a:gd name="connsiteX1" fmla="*/ 0 w 1999"/>
                <a:gd name="connsiteY1" fmla="*/ 1125 h 3248"/>
                <a:gd name="connsiteX2" fmla="*/ 1874 w 1999"/>
                <a:gd name="connsiteY2" fmla="*/ 3248 h 3248"/>
                <a:gd name="connsiteX3" fmla="*/ 1999 w 1999"/>
                <a:gd name="connsiteY3" fmla="*/ 0 h 3248"/>
              </a:gdLst>
              <a:ahLst/>
              <a:cxnLst>
                <a:cxn ang="0">
                  <a:pos x="connsiteX0" y="connsiteY0"/>
                </a:cxn>
                <a:cxn ang="0">
                  <a:pos x="connsiteX1" y="connsiteY1"/>
                </a:cxn>
                <a:cxn ang="0">
                  <a:pos x="connsiteX2" y="connsiteY2"/>
                </a:cxn>
                <a:cxn ang="0">
                  <a:pos x="connsiteX3" y="connsiteY3"/>
                </a:cxn>
              </a:cxnLst>
              <a:rect l="l" t="t" r="r" b="b"/>
              <a:pathLst>
                <a:path w="1999" h="3248">
                  <a:moveTo>
                    <a:pt x="1999" y="0"/>
                  </a:moveTo>
                  <a:lnTo>
                    <a:pt x="0" y="1125"/>
                  </a:lnTo>
                  <a:lnTo>
                    <a:pt x="1874" y="3248"/>
                  </a:lnTo>
                  <a:lnTo>
                    <a:pt x="1999" y="0"/>
                  </a:lnTo>
                  <a:close/>
                </a:path>
              </a:pathLst>
            </a:custGeom>
            <a:solidFill>
              <a:srgbClr val="DD2A27"/>
            </a:solidFill>
            <a:ln w="12483" cap="flat">
              <a:noFill/>
              <a:prstDash val="solid"/>
              <a:miter/>
            </a:ln>
          </p:spPr>
          <p:txBody>
            <a:bodyPr rtlCol="0" anchor="ctr"/>
            <a:lstStyle/>
            <a:p>
              <a:endParaRPr lang="en-US"/>
            </a:p>
          </p:txBody>
        </p:sp>
        <p:sp>
          <p:nvSpPr>
            <p:cNvPr id="1009" name="Freeform: Shape 1008">
              <a:extLst>
                <a:ext uri="{FF2B5EF4-FFF2-40B4-BE49-F238E27FC236}">
                  <a16:creationId xmlns:a16="http://schemas.microsoft.com/office/drawing/2014/main" id="{EFC33803-0103-464E-B9D4-71DDA43F5802}"/>
                </a:ext>
              </a:extLst>
            </p:cNvPr>
            <p:cNvSpPr/>
            <p:nvPr/>
          </p:nvSpPr>
          <p:spPr>
            <a:xfrm>
              <a:off x="11363120" y="4329156"/>
              <a:ext cx="561132" cy="1466789"/>
            </a:xfrm>
            <a:custGeom>
              <a:avLst/>
              <a:gdLst>
                <a:gd name="connsiteX0" fmla="*/ 45481 w 561132"/>
                <a:gd name="connsiteY0" fmla="*/ 20242 h 1466789"/>
                <a:gd name="connsiteX1" fmla="*/ 48479 w 561132"/>
                <a:gd name="connsiteY1" fmla="*/ 23740 h 1466789"/>
                <a:gd name="connsiteX2" fmla="*/ 48479 w 561132"/>
                <a:gd name="connsiteY2" fmla="*/ 23740 h 1466789"/>
                <a:gd name="connsiteX3" fmla="*/ 49604 w 561132"/>
                <a:gd name="connsiteY3" fmla="*/ 25615 h 1466789"/>
                <a:gd name="connsiteX4" fmla="*/ 50353 w 561132"/>
                <a:gd name="connsiteY4" fmla="*/ 27239 h 1466789"/>
                <a:gd name="connsiteX5" fmla="*/ 50353 w 561132"/>
                <a:gd name="connsiteY5" fmla="*/ 29238 h 1466789"/>
                <a:gd name="connsiteX6" fmla="*/ 50353 w 561132"/>
                <a:gd name="connsiteY6" fmla="*/ 31363 h 1466789"/>
                <a:gd name="connsiteX7" fmla="*/ 50353 w 561132"/>
                <a:gd name="connsiteY7" fmla="*/ 31363 h 1466789"/>
                <a:gd name="connsiteX8" fmla="*/ 42732 w 561132"/>
                <a:gd name="connsiteY8" fmla="*/ 159311 h 1466789"/>
                <a:gd name="connsiteX9" fmla="*/ 0 w 561132"/>
                <a:gd name="connsiteY9" fmla="*/ 870028 h 1466789"/>
                <a:gd name="connsiteX10" fmla="*/ 0 w 561132"/>
                <a:gd name="connsiteY10" fmla="*/ 876900 h 1466789"/>
                <a:gd name="connsiteX11" fmla="*/ 484291 w 561132"/>
                <a:gd name="connsiteY11" fmla="*/ 1466790 h 1466789"/>
                <a:gd name="connsiteX12" fmla="*/ 561132 w 561132"/>
                <a:gd name="connsiteY12" fmla="*/ 602010 h 1466789"/>
                <a:gd name="connsiteX13" fmla="*/ 42482 w 561132"/>
                <a:gd name="connsiteY13" fmla="*/ 0 h 1466789"/>
                <a:gd name="connsiteX14" fmla="*/ 41607 w 561132"/>
                <a:gd name="connsiteY14" fmla="*/ 15744 h 14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1132" h="1466789">
                  <a:moveTo>
                    <a:pt x="45481" y="20242"/>
                  </a:moveTo>
                  <a:lnTo>
                    <a:pt x="48479" y="23740"/>
                  </a:lnTo>
                  <a:cubicBezTo>
                    <a:pt x="48479" y="23740"/>
                    <a:pt x="48479" y="23740"/>
                    <a:pt x="48479" y="23740"/>
                  </a:cubicBezTo>
                  <a:cubicBezTo>
                    <a:pt x="48929" y="24315"/>
                    <a:pt x="49304" y="24953"/>
                    <a:pt x="49604" y="25615"/>
                  </a:cubicBezTo>
                  <a:cubicBezTo>
                    <a:pt x="49928" y="26115"/>
                    <a:pt x="50178" y="26664"/>
                    <a:pt x="50353" y="27239"/>
                  </a:cubicBezTo>
                  <a:cubicBezTo>
                    <a:pt x="50416" y="27901"/>
                    <a:pt x="50416" y="28576"/>
                    <a:pt x="50353" y="29238"/>
                  </a:cubicBezTo>
                  <a:cubicBezTo>
                    <a:pt x="50416" y="29951"/>
                    <a:pt x="50416" y="30650"/>
                    <a:pt x="50353" y="31363"/>
                  </a:cubicBezTo>
                  <a:lnTo>
                    <a:pt x="50353" y="31363"/>
                  </a:lnTo>
                  <a:lnTo>
                    <a:pt x="42732" y="159311"/>
                  </a:lnTo>
                  <a:lnTo>
                    <a:pt x="0" y="870028"/>
                  </a:lnTo>
                  <a:lnTo>
                    <a:pt x="0" y="876900"/>
                  </a:lnTo>
                  <a:lnTo>
                    <a:pt x="484291" y="1466790"/>
                  </a:lnTo>
                  <a:lnTo>
                    <a:pt x="561132" y="602010"/>
                  </a:lnTo>
                  <a:lnTo>
                    <a:pt x="42482" y="0"/>
                  </a:lnTo>
                  <a:lnTo>
                    <a:pt x="41607" y="15744"/>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10" name="Freeform: Shape 1009">
              <a:extLst>
                <a:ext uri="{FF2B5EF4-FFF2-40B4-BE49-F238E27FC236}">
                  <a16:creationId xmlns:a16="http://schemas.microsoft.com/office/drawing/2014/main" id="{F7B0F491-CBE3-4DB8-AB63-6325B6DD88CE}"/>
                </a:ext>
              </a:extLst>
            </p:cNvPr>
            <p:cNvSpPr/>
            <p:nvPr/>
          </p:nvSpPr>
          <p:spPr>
            <a:xfrm>
              <a:off x="10869084" y="6504788"/>
              <a:ext cx="487914" cy="366853"/>
            </a:xfrm>
            <a:custGeom>
              <a:avLst/>
              <a:gdLst>
                <a:gd name="connsiteX0" fmla="*/ 217281 w 487914"/>
                <a:gd name="connsiteY0" fmla="*/ 0 h 366853"/>
                <a:gd name="connsiteX1" fmla="*/ 216656 w 487914"/>
                <a:gd name="connsiteY1" fmla="*/ 0 h 366853"/>
                <a:gd name="connsiteX2" fmla="*/ 11870 w 487914"/>
                <a:gd name="connsiteY2" fmla="*/ 128699 h 366853"/>
                <a:gd name="connsiteX3" fmla="*/ 8871 w 487914"/>
                <a:gd name="connsiteY3" fmla="*/ 130573 h 366853"/>
                <a:gd name="connsiteX4" fmla="*/ 0 w 487914"/>
                <a:gd name="connsiteY4" fmla="*/ 366854 h 366853"/>
                <a:gd name="connsiteX5" fmla="*/ 487289 w 487914"/>
                <a:gd name="connsiteY5" fmla="*/ 366854 h 366853"/>
                <a:gd name="connsiteX6" fmla="*/ 487914 w 487914"/>
                <a:gd name="connsiteY6" fmla="*/ 356858 h 36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914" h="366853">
                  <a:moveTo>
                    <a:pt x="217281" y="0"/>
                  </a:moveTo>
                  <a:lnTo>
                    <a:pt x="216656" y="0"/>
                  </a:lnTo>
                  <a:lnTo>
                    <a:pt x="11870" y="128699"/>
                  </a:lnTo>
                  <a:lnTo>
                    <a:pt x="8871" y="130573"/>
                  </a:lnTo>
                  <a:lnTo>
                    <a:pt x="0" y="366854"/>
                  </a:lnTo>
                  <a:lnTo>
                    <a:pt x="487289" y="366854"/>
                  </a:lnTo>
                  <a:lnTo>
                    <a:pt x="487914" y="356858"/>
                  </a:lnTo>
                  <a:close/>
                </a:path>
              </a:pathLst>
            </a:custGeom>
            <a:solidFill>
              <a:schemeClr val="accent5">
                <a:lumMod val="75000"/>
              </a:schemeClr>
            </a:solidFill>
            <a:ln w="12483" cap="flat">
              <a:noFill/>
              <a:prstDash val="solid"/>
              <a:miter/>
            </a:ln>
          </p:spPr>
          <p:txBody>
            <a:bodyPr rtlCol="0" anchor="ctr"/>
            <a:lstStyle/>
            <a:p>
              <a:endParaRPr lang="en-US"/>
            </a:p>
          </p:txBody>
        </p:sp>
        <p:sp>
          <p:nvSpPr>
            <p:cNvPr id="1011" name="Freeform: Shape 1010">
              <a:extLst>
                <a:ext uri="{FF2B5EF4-FFF2-40B4-BE49-F238E27FC236}">
                  <a16:creationId xmlns:a16="http://schemas.microsoft.com/office/drawing/2014/main" id="{D787DF48-60B6-4D68-B75A-018268A4B6FC}"/>
                </a:ext>
              </a:extLst>
            </p:cNvPr>
            <p:cNvSpPr/>
            <p:nvPr/>
          </p:nvSpPr>
          <p:spPr>
            <a:xfrm>
              <a:off x="9654984" y="6536400"/>
              <a:ext cx="34859" cy="335865"/>
            </a:xfrm>
            <a:custGeom>
              <a:avLst/>
              <a:gdLst>
                <a:gd name="connsiteX0" fmla="*/ 24864 w 34859"/>
                <a:gd name="connsiteY0" fmla="*/ 0 h 335865"/>
                <a:gd name="connsiteX1" fmla="*/ 0 w 34859"/>
                <a:gd name="connsiteY1" fmla="*/ 14994 h 335865"/>
                <a:gd name="connsiteX2" fmla="*/ 10245 w 34859"/>
                <a:gd name="connsiteY2" fmla="*/ 335866 h 335865"/>
                <a:gd name="connsiteX3" fmla="*/ 34860 w 34859"/>
                <a:gd name="connsiteY3" fmla="*/ 335866 h 335865"/>
                <a:gd name="connsiteX4" fmla="*/ 25864 w 34859"/>
                <a:gd name="connsiteY4" fmla="*/ 35236 h 335865"/>
                <a:gd name="connsiteX5" fmla="*/ 24864 w 34859"/>
                <a:gd name="connsiteY5" fmla="*/ 0 h 3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9" h="335865">
                  <a:moveTo>
                    <a:pt x="24864" y="0"/>
                  </a:moveTo>
                  <a:lnTo>
                    <a:pt x="0" y="14994"/>
                  </a:lnTo>
                  <a:lnTo>
                    <a:pt x="10245" y="335866"/>
                  </a:lnTo>
                  <a:lnTo>
                    <a:pt x="34860" y="335866"/>
                  </a:lnTo>
                  <a:lnTo>
                    <a:pt x="25864" y="35236"/>
                  </a:lnTo>
                  <a:lnTo>
                    <a:pt x="24864" y="0"/>
                  </a:lnTo>
                  <a:close/>
                </a:path>
              </a:pathLst>
            </a:custGeom>
            <a:solidFill>
              <a:srgbClr val="F4F5F3"/>
            </a:solidFill>
            <a:ln w="12483" cap="flat">
              <a:noFill/>
              <a:prstDash val="solid"/>
              <a:miter/>
            </a:ln>
          </p:spPr>
          <p:txBody>
            <a:bodyPr rtlCol="0" anchor="ctr"/>
            <a:lstStyle/>
            <a:p>
              <a:endParaRPr lang="en-US"/>
            </a:p>
          </p:txBody>
        </p:sp>
        <p:sp>
          <p:nvSpPr>
            <p:cNvPr id="1012" name="Freeform: Shape 1011">
              <a:extLst>
                <a:ext uri="{FF2B5EF4-FFF2-40B4-BE49-F238E27FC236}">
                  <a16:creationId xmlns:a16="http://schemas.microsoft.com/office/drawing/2014/main" id="{23B72176-302A-4073-BC40-B36A3AE355C8}"/>
                </a:ext>
              </a:extLst>
            </p:cNvPr>
            <p:cNvSpPr/>
            <p:nvPr/>
          </p:nvSpPr>
          <p:spPr>
            <a:xfrm>
              <a:off x="8932920" y="6120441"/>
              <a:ext cx="746427" cy="695472"/>
            </a:xfrm>
            <a:custGeom>
              <a:avLst/>
              <a:gdLst>
                <a:gd name="connsiteX0" fmla="*/ 598866 w 746427"/>
                <a:gd name="connsiteY0" fmla="*/ 198921 h 695472"/>
                <a:gd name="connsiteX1" fmla="*/ 477918 w 746427"/>
                <a:gd name="connsiteY1" fmla="*/ 24116 h 695472"/>
                <a:gd name="connsiteX2" fmla="*/ 461301 w 746427"/>
                <a:gd name="connsiteY2" fmla="*/ 0 h 695472"/>
                <a:gd name="connsiteX3" fmla="*/ 183171 w 746427"/>
                <a:gd name="connsiteY3" fmla="*/ 163435 h 695472"/>
                <a:gd name="connsiteX4" fmla="*/ 94209 w 746427"/>
                <a:gd name="connsiteY4" fmla="*/ 215789 h 695472"/>
                <a:gd name="connsiteX5" fmla="*/ 0 w 746427"/>
                <a:gd name="connsiteY5" fmla="*/ 271142 h 695472"/>
                <a:gd name="connsiteX6" fmla="*/ 375 w 746427"/>
                <a:gd name="connsiteY6" fmla="*/ 276515 h 695472"/>
                <a:gd name="connsiteX7" fmla="*/ 277255 w 746427"/>
                <a:gd name="connsiteY7" fmla="*/ 695473 h 695472"/>
                <a:gd name="connsiteX8" fmla="*/ 719689 w 746427"/>
                <a:gd name="connsiteY8" fmla="*/ 428079 h 695472"/>
                <a:gd name="connsiteX9" fmla="*/ 746427 w 746427"/>
                <a:gd name="connsiteY9" fmla="*/ 411961 h 695472"/>
                <a:gd name="connsiteX10" fmla="*/ 664838 w 746427"/>
                <a:gd name="connsiteY10" fmla="*/ 294258 h 695472"/>
                <a:gd name="connsiteX11" fmla="*/ 598866 w 746427"/>
                <a:gd name="connsiteY11" fmla="*/ 198921 h 69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6427" h="695472">
                  <a:moveTo>
                    <a:pt x="598866" y="198921"/>
                  </a:moveTo>
                  <a:lnTo>
                    <a:pt x="477918" y="24116"/>
                  </a:lnTo>
                  <a:lnTo>
                    <a:pt x="461301" y="0"/>
                  </a:lnTo>
                  <a:lnTo>
                    <a:pt x="183171" y="163435"/>
                  </a:lnTo>
                  <a:lnTo>
                    <a:pt x="94209" y="215789"/>
                  </a:lnTo>
                  <a:lnTo>
                    <a:pt x="0" y="271142"/>
                  </a:lnTo>
                  <a:lnTo>
                    <a:pt x="375" y="276515"/>
                  </a:lnTo>
                  <a:lnTo>
                    <a:pt x="277255" y="695473"/>
                  </a:lnTo>
                  <a:lnTo>
                    <a:pt x="719689" y="428079"/>
                  </a:lnTo>
                  <a:lnTo>
                    <a:pt x="746427" y="411961"/>
                  </a:lnTo>
                  <a:lnTo>
                    <a:pt x="664838" y="294258"/>
                  </a:lnTo>
                  <a:lnTo>
                    <a:pt x="598866" y="198921"/>
                  </a:lnTo>
                  <a:close/>
                </a:path>
              </a:pathLst>
            </a:custGeom>
            <a:solidFill>
              <a:schemeClr val="accent1"/>
            </a:solidFill>
            <a:ln w="12483" cap="flat">
              <a:noFill/>
              <a:prstDash val="solid"/>
              <a:miter/>
            </a:ln>
          </p:spPr>
          <p:txBody>
            <a:bodyPr rtlCol="0" anchor="ctr"/>
            <a:lstStyle/>
            <a:p>
              <a:endParaRPr lang="en-US"/>
            </a:p>
          </p:txBody>
        </p:sp>
        <p:sp>
          <p:nvSpPr>
            <p:cNvPr id="1013" name="Freeform: Shape 1012">
              <a:extLst>
                <a:ext uri="{FF2B5EF4-FFF2-40B4-BE49-F238E27FC236}">
                  <a16:creationId xmlns:a16="http://schemas.microsoft.com/office/drawing/2014/main" id="{F2B70680-58D7-47BD-B4BD-E8EB76666A40}"/>
                </a:ext>
              </a:extLst>
            </p:cNvPr>
            <p:cNvSpPr/>
            <p:nvPr/>
          </p:nvSpPr>
          <p:spPr>
            <a:xfrm>
              <a:off x="9210425" y="6862895"/>
              <a:ext cx="999" cy="8996"/>
            </a:xfrm>
            <a:custGeom>
              <a:avLst/>
              <a:gdLst>
                <a:gd name="connsiteX0" fmla="*/ 0 w 999"/>
                <a:gd name="connsiteY0" fmla="*/ 750 h 8996"/>
                <a:gd name="connsiteX1" fmla="*/ 0 w 999"/>
                <a:gd name="connsiteY1" fmla="*/ 750 h 8996"/>
                <a:gd name="connsiteX2" fmla="*/ 0 w 999"/>
                <a:gd name="connsiteY2" fmla="*/ 8997 h 8996"/>
                <a:gd name="connsiteX3" fmla="*/ 1000 w 999"/>
                <a:gd name="connsiteY3" fmla="*/ 8997 h 8996"/>
                <a:gd name="connsiteX4" fmla="*/ 1000 w 999"/>
                <a:gd name="connsiteY4" fmla="*/ 0 h 8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 h="8996">
                  <a:moveTo>
                    <a:pt x="0" y="750"/>
                  </a:moveTo>
                  <a:lnTo>
                    <a:pt x="0" y="750"/>
                  </a:lnTo>
                  <a:lnTo>
                    <a:pt x="0" y="8997"/>
                  </a:lnTo>
                  <a:lnTo>
                    <a:pt x="1000" y="8997"/>
                  </a:lnTo>
                  <a:lnTo>
                    <a:pt x="1000" y="0"/>
                  </a:lnTo>
                  <a:close/>
                </a:path>
              </a:pathLst>
            </a:custGeom>
            <a:solidFill>
              <a:srgbClr val="F9AA19"/>
            </a:solidFill>
            <a:ln w="12483" cap="flat">
              <a:noFill/>
              <a:prstDash val="solid"/>
              <a:miter/>
            </a:ln>
          </p:spPr>
          <p:txBody>
            <a:bodyPr rtlCol="0" anchor="ctr"/>
            <a:lstStyle/>
            <a:p>
              <a:endParaRPr lang="en-US"/>
            </a:p>
          </p:txBody>
        </p:sp>
        <p:sp>
          <p:nvSpPr>
            <p:cNvPr id="1014" name="Freeform: Shape 1013">
              <a:extLst>
                <a:ext uri="{FF2B5EF4-FFF2-40B4-BE49-F238E27FC236}">
                  <a16:creationId xmlns:a16="http://schemas.microsoft.com/office/drawing/2014/main" id="{A601D6A0-CF82-4FD6-8330-8FBD5056B9A8}"/>
                </a:ext>
              </a:extLst>
            </p:cNvPr>
            <p:cNvSpPr/>
            <p:nvPr/>
          </p:nvSpPr>
          <p:spPr>
            <a:xfrm>
              <a:off x="8932046" y="6403828"/>
              <a:ext cx="278004" cy="456692"/>
            </a:xfrm>
            <a:custGeom>
              <a:avLst/>
              <a:gdLst>
                <a:gd name="connsiteX0" fmla="*/ 3374 w 278004"/>
                <a:gd name="connsiteY0" fmla="*/ 22241 h 456692"/>
                <a:gd name="connsiteX1" fmla="*/ 3374 w 278004"/>
                <a:gd name="connsiteY1" fmla="*/ 22241 h 456692"/>
                <a:gd name="connsiteX2" fmla="*/ 3374 w 278004"/>
                <a:gd name="connsiteY2" fmla="*/ 22241 h 456692"/>
                <a:gd name="connsiteX3" fmla="*/ 3374 w 278004"/>
                <a:gd name="connsiteY3" fmla="*/ 27989 h 456692"/>
                <a:gd name="connsiteX4" fmla="*/ 0 w 278004"/>
                <a:gd name="connsiteY4" fmla="*/ 37360 h 456692"/>
                <a:gd name="connsiteX5" fmla="*/ 108953 w 278004"/>
                <a:gd name="connsiteY5" fmla="*/ 202544 h 456692"/>
                <a:gd name="connsiteX6" fmla="*/ 108953 w 278004"/>
                <a:gd name="connsiteY6" fmla="*/ 202544 h 456692"/>
                <a:gd name="connsiteX7" fmla="*/ 111077 w 278004"/>
                <a:gd name="connsiteY7" fmla="*/ 203419 h 456692"/>
                <a:gd name="connsiteX8" fmla="*/ 111077 w 278004"/>
                <a:gd name="connsiteY8" fmla="*/ 205668 h 456692"/>
                <a:gd name="connsiteX9" fmla="*/ 173550 w 278004"/>
                <a:gd name="connsiteY9" fmla="*/ 300755 h 456692"/>
                <a:gd name="connsiteX10" fmla="*/ 173550 w 278004"/>
                <a:gd name="connsiteY10" fmla="*/ 300755 h 456692"/>
                <a:gd name="connsiteX11" fmla="*/ 175624 w 278004"/>
                <a:gd name="connsiteY11" fmla="*/ 301217 h 456692"/>
                <a:gd name="connsiteX12" fmla="*/ 175799 w 278004"/>
                <a:gd name="connsiteY12" fmla="*/ 301630 h 456692"/>
                <a:gd name="connsiteX13" fmla="*/ 175799 w 278004"/>
                <a:gd name="connsiteY13" fmla="*/ 303879 h 456692"/>
                <a:gd name="connsiteX14" fmla="*/ 276506 w 278004"/>
                <a:gd name="connsiteY14" fmla="*/ 456692 h 456692"/>
                <a:gd name="connsiteX15" fmla="*/ 276506 w 278004"/>
                <a:gd name="connsiteY15" fmla="*/ 456692 h 456692"/>
                <a:gd name="connsiteX16" fmla="*/ 278005 w 278004"/>
                <a:gd name="connsiteY16" fmla="*/ 456692 h 456692"/>
                <a:gd name="connsiteX17" fmla="*/ 275631 w 278004"/>
                <a:gd name="connsiteY17" fmla="*/ 415334 h 456692"/>
                <a:gd name="connsiteX18" fmla="*/ 750 w 278004"/>
                <a:gd name="connsiteY18" fmla="*/ 0 h 45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004" h="456692">
                  <a:moveTo>
                    <a:pt x="3374" y="22241"/>
                  </a:moveTo>
                  <a:lnTo>
                    <a:pt x="3374" y="22241"/>
                  </a:lnTo>
                  <a:lnTo>
                    <a:pt x="3374" y="22241"/>
                  </a:lnTo>
                  <a:lnTo>
                    <a:pt x="3374" y="27989"/>
                  </a:lnTo>
                  <a:cubicBezTo>
                    <a:pt x="3711" y="31462"/>
                    <a:pt x="2474" y="34899"/>
                    <a:pt x="0" y="37360"/>
                  </a:cubicBezTo>
                  <a:lnTo>
                    <a:pt x="108953" y="202544"/>
                  </a:lnTo>
                  <a:lnTo>
                    <a:pt x="108953" y="202544"/>
                  </a:lnTo>
                  <a:cubicBezTo>
                    <a:pt x="109778" y="202194"/>
                    <a:pt x="110727" y="202594"/>
                    <a:pt x="111077" y="203419"/>
                  </a:cubicBezTo>
                  <a:cubicBezTo>
                    <a:pt x="111577" y="204081"/>
                    <a:pt x="111577" y="205006"/>
                    <a:pt x="111077" y="205668"/>
                  </a:cubicBezTo>
                  <a:lnTo>
                    <a:pt x="173550" y="300755"/>
                  </a:lnTo>
                  <a:lnTo>
                    <a:pt x="173550" y="300755"/>
                  </a:lnTo>
                  <a:cubicBezTo>
                    <a:pt x="174250" y="300317"/>
                    <a:pt x="175175" y="300518"/>
                    <a:pt x="175624" y="301217"/>
                  </a:cubicBezTo>
                  <a:cubicBezTo>
                    <a:pt x="175699" y="301342"/>
                    <a:pt x="175762" y="301480"/>
                    <a:pt x="175799" y="301630"/>
                  </a:cubicBezTo>
                  <a:cubicBezTo>
                    <a:pt x="176161" y="302342"/>
                    <a:pt x="176161" y="303167"/>
                    <a:pt x="175799" y="303879"/>
                  </a:cubicBezTo>
                  <a:lnTo>
                    <a:pt x="276506" y="456692"/>
                  </a:lnTo>
                  <a:lnTo>
                    <a:pt x="276506" y="456692"/>
                  </a:lnTo>
                  <a:cubicBezTo>
                    <a:pt x="276930" y="456306"/>
                    <a:pt x="277580" y="456306"/>
                    <a:pt x="278005" y="456692"/>
                  </a:cubicBezTo>
                  <a:lnTo>
                    <a:pt x="275631" y="415334"/>
                  </a:lnTo>
                  <a:lnTo>
                    <a:pt x="750" y="0"/>
                  </a:lnTo>
                  <a:close/>
                </a:path>
              </a:pathLst>
            </a:custGeom>
            <a:solidFill>
              <a:schemeClr val="accent4"/>
            </a:solidFill>
            <a:ln w="12483" cap="flat">
              <a:noFill/>
              <a:prstDash val="solid"/>
              <a:miter/>
            </a:ln>
          </p:spPr>
          <p:txBody>
            <a:bodyPr rtlCol="0" anchor="ctr"/>
            <a:lstStyle/>
            <a:p>
              <a:endParaRPr lang="en-US"/>
            </a:p>
          </p:txBody>
        </p:sp>
        <p:sp>
          <p:nvSpPr>
            <p:cNvPr id="1015" name="Freeform: Shape 1014">
              <a:extLst>
                <a:ext uri="{FF2B5EF4-FFF2-40B4-BE49-F238E27FC236}">
                  <a16:creationId xmlns:a16="http://schemas.microsoft.com/office/drawing/2014/main" id="{D771EAB5-798E-46D7-8EA1-D4606C16CA09}"/>
                </a:ext>
              </a:extLst>
            </p:cNvPr>
            <p:cNvSpPr/>
            <p:nvPr/>
          </p:nvSpPr>
          <p:spPr>
            <a:xfrm>
              <a:off x="9196182" y="6864020"/>
              <a:ext cx="14118" cy="8246"/>
            </a:xfrm>
            <a:custGeom>
              <a:avLst/>
              <a:gdLst>
                <a:gd name="connsiteX0" fmla="*/ 0 w 14118"/>
                <a:gd name="connsiteY0" fmla="*/ 8246 h 8246"/>
                <a:gd name="connsiteX1" fmla="*/ 14119 w 14118"/>
                <a:gd name="connsiteY1" fmla="*/ 8246 h 8246"/>
                <a:gd name="connsiteX2" fmla="*/ 13744 w 14118"/>
                <a:gd name="connsiteY2" fmla="*/ 0 h 8246"/>
                <a:gd name="connsiteX3" fmla="*/ 0 w 14118"/>
                <a:gd name="connsiteY3" fmla="*/ 8246 h 8246"/>
              </a:gdLst>
              <a:ahLst/>
              <a:cxnLst>
                <a:cxn ang="0">
                  <a:pos x="connsiteX0" y="connsiteY0"/>
                </a:cxn>
                <a:cxn ang="0">
                  <a:pos x="connsiteX1" y="connsiteY1"/>
                </a:cxn>
                <a:cxn ang="0">
                  <a:pos x="connsiteX2" y="connsiteY2"/>
                </a:cxn>
                <a:cxn ang="0">
                  <a:pos x="connsiteX3" y="connsiteY3"/>
                </a:cxn>
              </a:cxnLst>
              <a:rect l="l" t="t" r="r" b="b"/>
              <a:pathLst>
                <a:path w="14118" h="8246">
                  <a:moveTo>
                    <a:pt x="0" y="8246"/>
                  </a:moveTo>
                  <a:lnTo>
                    <a:pt x="14119" y="8246"/>
                  </a:lnTo>
                  <a:lnTo>
                    <a:pt x="13744" y="0"/>
                  </a:lnTo>
                  <a:lnTo>
                    <a:pt x="0" y="8246"/>
                  </a:lnTo>
                  <a:close/>
                </a:path>
              </a:pathLst>
            </a:custGeom>
            <a:solidFill>
              <a:srgbClr val="0A4054"/>
            </a:solidFill>
            <a:ln w="12483" cap="flat">
              <a:noFill/>
              <a:prstDash val="solid"/>
              <a:miter/>
            </a:ln>
          </p:spPr>
          <p:txBody>
            <a:bodyPr rtlCol="0" anchor="ctr"/>
            <a:lstStyle/>
            <a:p>
              <a:endParaRPr lang="en-US"/>
            </a:p>
          </p:txBody>
        </p:sp>
        <p:sp>
          <p:nvSpPr>
            <p:cNvPr id="1016" name="Freeform: Shape 1015">
              <a:extLst>
                <a:ext uri="{FF2B5EF4-FFF2-40B4-BE49-F238E27FC236}">
                  <a16:creationId xmlns:a16="http://schemas.microsoft.com/office/drawing/2014/main" id="{BA2D0868-9E73-42A9-B271-787CA5E79879}"/>
                </a:ext>
              </a:extLst>
            </p:cNvPr>
            <p:cNvSpPr/>
            <p:nvPr/>
          </p:nvSpPr>
          <p:spPr>
            <a:xfrm>
              <a:off x="8833089" y="6707582"/>
              <a:ext cx="375587" cy="164434"/>
            </a:xfrm>
            <a:custGeom>
              <a:avLst/>
              <a:gdLst>
                <a:gd name="connsiteX0" fmla="*/ 274881 w 375587"/>
                <a:gd name="connsiteY0" fmla="*/ 0 h 164434"/>
                <a:gd name="connsiteX1" fmla="*/ 274881 w 375587"/>
                <a:gd name="connsiteY1" fmla="*/ 0 h 164434"/>
                <a:gd name="connsiteX2" fmla="*/ 0 w 375587"/>
                <a:gd name="connsiteY2" fmla="*/ 164434 h 164434"/>
                <a:gd name="connsiteX3" fmla="*/ 355971 w 375587"/>
                <a:gd name="connsiteY3" fmla="*/ 164434 h 164434"/>
                <a:gd name="connsiteX4" fmla="*/ 375588 w 375587"/>
                <a:gd name="connsiteY4" fmla="*/ 152564 h 16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587" h="164434">
                  <a:moveTo>
                    <a:pt x="274881" y="0"/>
                  </a:moveTo>
                  <a:lnTo>
                    <a:pt x="274881" y="0"/>
                  </a:lnTo>
                  <a:lnTo>
                    <a:pt x="0" y="164434"/>
                  </a:lnTo>
                  <a:lnTo>
                    <a:pt x="355971" y="164434"/>
                  </a:lnTo>
                  <a:lnTo>
                    <a:pt x="375588" y="152564"/>
                  </a:lnTo>
                  <a:close/>
                </a:path>
              </a:pathLst>
            </a:custGeom>
            <a:solidFill>
              <a:schemeClr val="accent1"/>
            </a:solidFill>
            <a:ln w="12483" cap="flat">
              <a:noFill/>
              <a:prstDash val="solid"/>
              <a:miter/>
            </a:ln>
          </p:spPr>
          <p:txBody>
            <a:bodyPr rtlCol="0" anchor="ctr"/>
            <a:lstStyle/>
            <a:p>
              <a:endParaRPr lang="en-US"/>
            </a:p>
          </p:txBody>
        </p:sp>
        <p:sp>
          <p:nvSpPr>
            <p:cNvPr id="1017" name="Freeform: Shape 1016">
              <a:extLst>
                <a:ext uri="{FF2B5EF4-FFF2-40B4-BE49-F238E27FC236}">
                  <a16:creationId xmlns:a16="http://schemas.microsoft.com/office/drawing/2014/main" id="{170BB9D0-1EB0-4F2B-93AA-D14653EB6C36}"/>
                </a:ext>
              </a:extLst>
            </p:cNvPr>
            <p:cNvSpPr/>
            <p:nvPr/>
          </p:nvSpPr>
          <p:spPr>
            <a:xfrm>
              <a:off x="8605312" y="6609496"/>
              <a:ext cx="500658" cy="262395"/>
            </a:xfrm>
            <a:custGeom>
              <a:avLst/>
              <a:gdLst>
                <a:gd name="connsiteX0" fmla="*/ 437936 w 500658"/>
                <a:gd name="connsiteY0" fmla="*/ 0 h 262395"/>
                <a:gd name="connsiteX1" fmla="*/ 437936 w 500658"/>
                <a:gd name="connsiteY1" fmla="*/ 0 h 262395"/>
                <a:gd name="connsiteX2" fmla="*/ 0 w 500658"/>
                <a:gd name="connsiteY2" fmla="*/ 260896 h 262395"/>
                <a:gd name="connsiteX3" fmla="*/ 0 w 500658"/>
                <a:gd name="connsiteY3" fmla="*/ 262395 h 262395"/>
                <a:gd name="connsiteX4" fmla="*/ 221404 w 500658"/>
                <a:gd name="connsiteY4" fmla="*/ 262395 h 262395"/>
                <a:gd name="connsiteX5" fmla="*/ 500659 w 500658"/>
                <a:gd name="connsiteY5" fmla="*/ 95212 h 26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658" h="262395">
                  <a:moveTo>
                    <a:pt x="437936" y="0"/>
                  </a:moveTo>
                  <a:lnTo>
                    <a:pt x="437936" y="0"/>
                  </a:lnTo>
                  <a:lnTo>
                    <a:pt x="0" y="260896"/>
                  </a:lnTo>
                  <a:lnTo>
                    <a:pt x="0" y="262395"/>
                  </a:lnTo>
                  <a:lnTo>
                    <a:pt x="221404" y="262395"/>
                  </a:lnTo>
                  <a:lnTo>
                    <a:pt x="500659" y="95212"/>
                  </a:lnTo>
                  <a:close/>
                </a:path>
              </a:pathLst>
            </a:custGeom>
            <a:solidFill>
              <a:schemeClr val="accent5"/>
            </a:solidFill>
            <a:ln w="12483" cap="flat">
              <a:noFill/>
              <a:prstDash val="solid"/>
              <a:miter/>
            </a:ln>
          </p:spPr>
          <p:txBody>
            <a:bodyPr rtlCol="0" anchor="ctr"/>
            <a:lstStyle/>
            <a:p>
              <a:endParaRPr lang="en-US"/>
            </a:p>
          </p:txBody>
        </p:sp>
        <p:sp>
          <p:nvSpPr>
            <p:cNvPr id="1018" name="Freeform: Shape 1017">
              <a:extLst>
                <a:ext uri="{FF2B5EF4-FFF2-40B4-BE49-F238E27FC236}">
                  <a16:creationId xmlns:a16="http://schemas.microsoft.com/office/drawing/2014/main" id="{4C9E3411-5C2A-4E08-90AD-EBB60AE8DF5F}"/>
                </a:ext>
              </a:extLst>
            </p:cNvPr>
            <p:cNvSpPr/>
            <p:nvPr/>
          </p:nvSpPr>
          <p:spPr>
            <a:xfrm>
              <a:off x="8583571" y="6441438"/>
              <a:ext cx="458427" cy="425705"/>
            </a:xfrm>
            <a:custGeom>
              <a:avLst/>
              <a:gdLst>
                <a:gd name="connsiteX0" fmla="*/ 348849 w 458427"/>
                <a:gd name="connsiteY0" fmla="*/ 0 h 425705"/>
                <a:gd name="connsiteX1" fmla="*/ 344101 w 458427"/>
                <a:gd name="connsiteY1" fmla="*/ 2374 h 425705"/>
                <a:gd name="connsiteX2" fmla="*/ 338229 w 458427"/>
                <a:gd name="connsiteY2" fmla="*/ 375 h 425705"/>
                <a:gd name="connsiteX3" fmla="*/ 194291 w 458427"/>
                <a:gd name="connsiteY3" fmla="*/ 85091 h 425705"/>
                <a:gd name="connsiteX4" fmla="*/ 132693 w 458427"/>
                <a:gd name="connsiteY4" fmla="*/ 121327 h 425705"/>
                <a:gd name="connsiteX5" fmla="*/ 0 w 458427"/>
                <a:gd name="connsiteY5" fmla="*/ 199545 h 425705"/>
                <a:gd name="connsiteX6" fmla="*/ 21116 w 458427"/>
                <a:gd name="connsiteY6" fmla="*/ 425705 h 425705"/>
                <a:gd name="connsiteX7" fmla="*/ 458427 w 458427"/>
                <a:gd name="connsiteY7" fmla="*/ 165559 h 42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427" h="425705">
                  <a:moveTo>
                    <a:pt x="348849" y="0"/>
                  </a:moveTo>
                  <a:cubicBezTo>
                    <a:pt x="347588" y="1312"/>
                    <a:pt x="345913" y="2162"/>
                    <a:pt x="344101" y="2374"/>
                  </a:cubicBezTo>
                  <a:cubicBezTo>
                    <a:pt x="341952" y="2549"/>
                    <a:pt x="339828" y="1824"/>
                    <a:pt x="338229" y="375"/>
                  </a:cubicBezTo>
                  <a:lnTo>
                    <a:pt x="194291" y="85091"/>
                  </a:lnTo>
                  <a:lnTo>
                    <a:pt x="132693" y="121327"/>
                  </a:lnTo>
                  <a:lnTo>
                    <a:pt x="0" y="199545"/>
                  </a:lnTo>
                  <a:lnTo>
                    <a:pt x="21116" y="425705"/>
                  </a:lnTo>
                  <a:lnTo>
                    <a:pt x="458427" y="165559"/>
                  </a:lnTo>
                  <a:close/>
                </a:path>
              </a:pathLst>
            </a:custGeom>
            <a:solidFill>
              <a:schemeClr val="accent1">
                <a:lumMod val="75000"/>
              </a:schemeClr>
            </a:solidFill>
            <a:ln w="12483" cap="flat">
              <a:noFill/>
              <a:prstDash val="solid"/>
              <a:miter/>
            </a:ln>
          </p:spPr>
          <p:txBody>
            <a:bodyPr rtlCol="0" anchor="ctr"/>
            <a:lstStyle/>
            <a:p>
              <a:endParaRPr lang="en-US"/>
            </a:p>
          </p:txBody>
        </p:sp>
        <p:sp>
          <p:nvSpPr>
            <p:cNvPr id="1019" name="Freeform: Shape 1018">
              <a:extLst>
                <a:ext uri="{FF2B5EF4-FFF2-40B4-BE49-F238E27FC236}">
                  <a16:creationId xmlns:a16="http://schemas.microsoft.com/office/drawing/2014/main" id="{3CF57AC3-D721-490F-BE65-D0554AE7ADAC}"/>
                </a:ext>
              </a:extLst>
            </p:cNvPr>
            <p:cNvSpPr/>
            <p:nvPr/>
          </p:nvSpPr>
          <p:spPr>
            <a:xfrm>
              <a:off x="9211425" y="6553269"/>
              <a:ext cx="450679" cy="318997"/>
            </a:xfrm>
            <a:custGeom>
              <a:avLst/>
              <a:gdLst>
                <a:gd name="connsiteX0" fmla="*/ 0 w 450679"/>
                <a:gd name="connsiteY0" fmla="*/ 266269 h 318997"/>
                <a:gd name="connsiteX1" fmla="*/ 2999 w 450679"/>
                <a:gd name="connsiteY1" fmla="*/ 318997 h 318997"/>
                <a:gd name="connsiteX2" fmla="*/ 450680 w 450679"/>
                <a:gd name="connsiteY2" fmla="*/ 318997 h 318997"/>
                <a:gd name="connsiteX3" fmla="*/ 440435 w 450679"/>
                <a:gd name="connsiteY3" fmla="*/ 0 h 318997"/>
                <a:gd name="connsiteX4" fmla="*/ 0 w 450679"/>
                <a:gd name="connsiteY4" fmla="*/ 266269 h 318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679" h="318997">
                  <a:moveTo>
                    <a:pt x="0" y="266269"/>
                  </a:moveTo>
                  <a:lnTo>
                    <a:pt x="2999" y="318997"/>
                  </a:lnTo>
                  <a:lnTo>
                    <a:pt x="450680" y="318997"/>
                  </a:lnTo>
                  <a:lnTo>
                    <a:pt x="440435" y="0"/>
                  </a:lnTo>
                  <a:lnTo>
                    <a:pt x="0" y="266269"/>
                  </a:lnTo>
                  <a:close/>
                </a:path>
              </a:pathLst>
            </a:custGeom>
            <a:solidFill>
              <a:schemeClr val="accent2"/>
            </a:solidFill>
            <a:ln w="12483" cap="flat">
              <a:noFill/>
              <a:prstDash val="solid"/>
              <a:miter/>
            </a:ln>
          </p:spPr>
          <p:txBody>
            <a:bodyPr rtlCol="0" anchor="ctr"/>
            <a:lstStyle/>
            <a:p>
              <a:endParaRPr lang="en-US"/>
            </a:p>
          </p:txBody>
        </p:sp>
        <p:sp>
          <p:nvSpPr>
            <p:cNvPr id="1020" name="Freeform: Shape 1019">
              <a:extLst>
                <a:ext uri="{FF2B5EF4-FFF2-40B4-BE49-F238E27FC236}">
                  <a16:creationId xmlns:a16="http://schemas.microsoft.com/office/drawing/2014/main" id="{21E43B51-4104-4F16-92A1-779289D0BF5D}"/>
                </a:ext>
              </a:extLst>
            </p:cNvPr>
            <p:cNvSpPr/>
            <p:nvPr/>
          </p:nvSpPr>
          <p:spPr>
            <a:xfrm>
              <a:off x="10501617" y="6637985"/>
              <a:ext cx="373088" cy="234281"/>
            </a:xfrm>
            <a:custGeom>
              <a:avLst/>
              <a:gdLst>
                <a:gd name="connsiteX0" fmla="*/ 0 w 373088"/>
                <a:gd name="connsiteY0" fmla="*/ 234281 h 234281"/>
                <a:gd name="connsiteX1" fmla="*/ 364218 w 373088"/>
                <a:gd name="connsiteY1" fmla="*/ 234281 h 234281"/>
                <a:gd name="connsiteX2" fmla="*/ 373089 w 373088"/>
                <a:gd name="connsiteY2" fmla="*/ 0 h 234281"/>
                <a:gd name="connsiteX3" fmla="*/ 0 w 373088"/>
                <a:gd name="connsiteY3" fmla="*/ 234281 h 234281"/>
              </a:gdLst>
              <a:ahLst/>
              <a:cxnLst>
                <a:cxn ang="0">
                  <a:pos x="connsiteX0" y="connsiteY0"/>
                </a:cxn>
                <a:cxn ang="0">
                  <a:pos x="connsiteX1" y="connsiteY1"/>
                </a:cxn>
                <a:cxn ang="0">
                  <a:pos x="connsiteX2" y="connsiteY2"/>
                </a:cxn>
                <a:cxn ang="0">
                  <a:pos x="connsiteX3" y="connsiteY3"/>
                </a:cxn>
              </a:cxnLst>
              <a:rect l="l" t="t" r="r" b="b"/>
              <a:pathLst>
                <a:path w="373088" h="234281">
                  <a:moveTo>
                    <a:pt x="0" y="234281"/>
                  </a:moveTo>
                  <a:lnTo>
                    <a:pt x="364218" y="234281"/>
                  </a:lnTo>
                  <a:lnTo>
                    <a:pt x="373089" y="0"/>
                  </a:lnTo>
                  <a:lnTo>
                    <a:pt x="0" y="234281"/>
                  </a:lnTo>
                  <a:close/>
                </a:path>
              </a:pathLst>
            </a:custGeom>
            <a:solidFill>
              <a:schemeClr val="accent2"/>
            </a:solidFill>
            <a:ln w="12483" cap="flat">
              <a:noFill/>
              <a:prstDash val="solid"/>
              <a:miter/>
            </a:ln>
          </p:spPr>
          <p:txBody>
            <a:bodyPr rtlCol="0" anchor="ctr"/>
            <a:lstStyle/>
            <a:p>
              <a:endParaRPr lang="en-US"/>
            </a:p>
          </p:txBody>
        </p:sp>
        <p:sp>
          <p:nvSpPr>
            <p:cNvPr id="1021" name="Freeform: Shape 1020">
              <a:extLst>
                <a:ext uri="{FF2B5EF4-FFF2-40B4-BE49-F238E27FC236}">
                  <a16:creationId xmlns:a16="http://schemas.microsoft.com/office/drawing/2014/main" id="{97124921-399B-4F74-A702-50E7671A062C}"/>
                </a:ext>
              </a:extLst>
            </p:cNvPr>
            <p:cNvSpPr/>
            <p:nvPr/>
          </p:nvSpPr>
          <p:spPr>
            <a:xfrm>
              <a:off x="10943302" y="5212054"/>
              <a:ext cx="902984" cy="858907"/>
            </a:xfrm>
            <a:custGeom>
              <a:avLst/>
              <a:gdLst>
                <a:gd name="connsiteX0" fmla="*/ 418694 w 902984"/>
                <a:gd name="connsiteY0" fmla="*/ 20367 h 858907"/>
                <a:gd name="connsiteX1" fmla="*/ 409074 w 902984"/>
                <a:gd name="connsiteY1" fmla="*/ 30363 h 858907"/>
                <a:gd name="connsiteX2" fmla="*/ 402576 w 902984"/>
                <a:gd name="connsiteY2" fmla="*/ 25989 h 858907"/>
                <a:gd name="connsiteX3" fmla="*/ 0 w 902984"/>
                <a:gd name="connsiteY3" fmla="*/ 265769 h 858907"/>
                <a:gd name="connsiteX4" fmla="*/ 67846 w 902984"/>
                <a:gd name="connsiteY4" fmla="*/ 351860 h 858907"/>
                <a:gd name="connsiteX5" fmla="*/ 178173 w 902984"/>
                <a:gd name="connsiteY5" fmla="*/ 491554 h 858907"/>
                <a:gd name="connsiteX6" fmla="*/ 468048 w 902984"/>
                <a:gd name="connsiteY6" fmla="*/ 858907 h 858907"/>
                <a:gd name="connsiteX7" fmla="*/ 902985 w 902984"/>
                <a:gd name="connsiteY7" fmla="*/ 588515 h 858907"/>
                <a:gd name="connsiteX8" fmla="*/ 419819 w 902984"/>
                <a:gd name="connsiteY8" fmla="*/ 0 h 85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984" h="858907">
                  <a:moveTo>
                    <a:pt x="418694" y="20367"/>
                  </a:moveTo>
                  <a:cubicBezTo>
                    <a:pt x="418769" y="25777"/>
                    <a:pt x="414471" y="30226"/>
                    <a:pt x="409074" y="30363"/>
                  </a:cubicBezTo>
                  <a:cubicBezTo>
                    <a:pt x="406337" y="30013"/>
                    <a:pt x="403938" y="28389"/>
                    <a:pt x="402576" y="25989"/>
                  </a:cubicBezTo>
                  <a:lnTo>
                    <a:pt x="0" y="265769"/>
                  </a:lnTo>
                  <a:lnTo>
                    <a:pt x="67846" y="351860"/>
                  </a:lnTo>
                  <a:lnTo>
                    <a:pt x="178173" y="491554"/>
                  </a:lnTo>
                  <a:lnTo>
                    <a:pt x="468048" y="858907"/>
                  </a:lnTo>
                  <a:lnTo>
                    <a:pt x="902985" y="588515"/>
                  </a:lnTo>
                  <a:lnTo>
                    <a:pt x="419819" y="0"/>
                  </a:lnTo>
                  <a:close/>
                </a:path>
              </a:pathLst>
            </a:custGeom>
            <a:solidFill>
              <a:schemeClr val="accent1"/>
            </a:solidFill>
            <a:ln w="12483" cap="flat">
              <a:noFill/>
              <a:prstDash val="solid"/>
              <a:miter/>
            </a:ln>
          </p:spPr>
          <p:txBody>
            <a:bodyPr rtlCol="0" anchor="ctr"/>
            <a:lstStyle/>
            <a:p>
              <a:endParaRPr lang="en-US"/>
            </a:p>
          </p:txBody>
        </p:sp>
        <p:sp>
          <p:nvSpPr>
            <p:cNvPr id="1022" name="Freeform: Shape 1021">
              <a:extLst>
                <a:ext uri="{FF2B5EF4-FFF2-40B4-BE49-F238E27FC236}">
                  <a16:creationId xmlns:a16="http://schemas.microsoft.com/office/drawing/2014/main" id="{629DAEBF-44A6-4805-BCC6-5BBE8FD29F67}"/>
                </a:ext>
              </a:extLst>
            </p:cNvPr>
            <p:cNvSpPr/>
            <p:nvPr/>
          </p:nvSpPr>
          <p:spPr>
            <a:xfrm>
              <a:off x="10942302" y="4496089"/>
              <a:ext cx="445807" cy="977985"/>
            </a:xfrm>
            <a:custGeom>
              <a:avLst/>
              <a:gdLst>
                <a:gd name="connsiteX0" fmla="*/ 28612 w 445807"/>
                <a:gd name="connsiteY0" fmla="*/ 239655 h 977985"/>
                <a:gd name="connsiteX1" fmla="*/ 0 w 445807"/>
                <a:gd name="connsiteY1" fmla="*/ 977985 h 977985"/>
                <a:gd name="connsiteX2" fmla="*/ 402201 w 445807"/>
                <a:gd name="connsiteY2" fmla="*/ 738456 h 977985"/>
                <a:gd name="connsiteX3" fmla="*/ 402201 w 445807"/>
                <a:gd name="connsiteY3" fmla="*/ 734707 h 977985"/>
                <a:gd name="connsiteX4" fmla="*/ 404200 w 445807"/>
                <a:gd name="connsiteY4" fmla="*/ 702470 h 977985"/>
                <a:gd name="connsiteX5" fmla="*/ 445807 w 445807"/>
                <a:gd name="connsiteY5" fmla="*/ 0 h 97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807" h="977985">
                  <a:moveTo>
                    <a:pt x="28612" y="239655"/>
                  </a:moveTo>
                  <a:lnTo>
                    <a:pt x="0" y="977985"/>
                  </a:lnTo>
                  <a:lnTo>
                    <a:pt x="402201" y="738456"/>
                  </a:lnTo>
                  <a:cubicBezTo>
                    <a:pt x="402014" y="737219"/>
                    <a:pt x="402014" y="735944"/>
                    <a:pt x="402201" y="734707"/>
                  </a:cubicBezTo>
                  <a:lnTo>
                    <a:pt x="404200" y="702470"/>
                  </a:lnTo>
                  <a:lnTo>
                    <a:pt x="445807" y="0"/>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23" name="Freeform: Shape 1022">
              <a:extLst>
                <a:ext uri="{FF2B5EF4-FFF2-40B4-BE49-F238E27FC236}">
                  <a16:creationId xmlns:a16="http://schemas.microsoft.com/office/drawing/2014/main" id="{87497C99-7E72-4A11-8B2B-B9974E8EEF74}"/>
                </a:ext>
              </a:extLst>
            </p:cNvPr>
            <p:cNvSpPr/>
            <p:nvPr/>
          </p:nvSpPr>
          <p:spPr>
            <a:xfrm>
              <a:off x="11834666" y="3337801"/>
              <a:ext cx="233899" cy="729958"/>
            </a:xfrm>
            <a:custGeom>
              <a:avLst/>
              <a:gdLst>
                <a:gd name="connsiteX0" fmla="*/ 0 w 233899"/>
                <a:gd name="connsiteY0" fmla="*/ 729959 h 729958"/>
                <a:gd name="connsiteX1" fmla="*/ 177674 w 233899"/>
                <a:gd name="connsiteY1" fmla="*/ 628625 h 729958"/>
                <a:gd name="connsiteX2" fmla="*/ 204411 w 233899"/>
                <a:gd name="connsiteY2" fmla="*/ 330743 h 729958"/>
                <a:gd name="connsiteX3" fmla="*/ 210659 w 233899"/>
                <a:gd name="connsiteY3" fmla="*/ 260521 h 729958"/>
                <a:gd name="connsiteX4" fmla="*/ 233899 w 233899"/>
                <a:gd name="connsiteY4" fmla="*/ 0 h 729958"/>
                <a:gd name="connsiteX5" fmla="*/ 50603 w 233899"/>
                <a:gd name="connsiteY5" fmla="*/ 101085 h 729958"/>
                <a:gd name="connsiteX6" fmla="*/ 29113 w 233899"/>
                <a:gd name="connsiteY6" fmla="*/ 367854 h 729958"/>
                <a:gd name="connsiteX7" fmla="*/ 0 w 233899"/>
                <a:gd name="connsiteY7" fmla="*/ 729959 h 7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899" h="729958">
                  <a:moveTo>
                    <a:pt x="0" y="729959"/>
                  </a:moveTo>
                  <a:lnTo>
                    <a:pt x="177674" y="628625"/>
                  </a:lnTo>
                  <a:lnTo>
                    <a:pt x="204411" y="330743"/>
                  </a:lnTo>
                  <a:lnTo>
                    <a:pt x="210659" y="260521"/>
                  </a:lnTo>
                  <a:lnTo>
                    <a:pt x="233899" y="0"/>
                  </a:lnTo>
                  <a:lnTo>
                    <a:pt x="50603" y="101085"/>
                  </a:lnTo>
                  <a:lnTo>
                    <a:pt x="29113" y="367854"/>
                  </a:lnTo>
                  <a:lnTo>
                    <a:pt x="0" y="729959"/>
                  </a:lnTo>
                  <a:close/>
                </a:path>
              </a:pathLst>
            </a:custGeom>
            <a:solidFill>
              <a:schemeClr val="bg2"/>
            </a:solidFill>
            <a:ln w="12483" cap="flat">
              <a:noFill/>
              <a:prstDash val="solid"/>
              <a:miter/>
            </a:ln>
          </p:spPr>
          <p:txBody>
            <a:bodyPr rtlCol="0" anchor="ctr"/>
            <a:lstStyle/>
            <a:p>
              <a:endParaRPr lang="en-US"/>
            </a:p>
          </p:txBody>
        </p:sp>
        <p:sp>
          <p:nvSpPr>
            <p:cNvPr id="1024" name="Freeform: Shape 1023">
              <a:extLst>
                <a:ext uri="{FF2B5EF4-FFF2-40B4-BE49-F238E27FC236}">
                  <a16:creationId xmlns:a16="http://schemas.microsoft.com/office/drawing/2014/main" id="{FA0A1500-C87C-497A-86CD-C94CB51E719A}"/>
                </a:ext>
              </a:extLst>
            </p:cNvPr>
            <p:cNvSpPr/>
            <p:nvPr/>
          </p:nvSpPr>
          <p:spPr>
            <a:xfrm>
              <a:off x="11790311" y="3708653"/>
              <a:ext cx="70094" cy="384346"/>
            </a:xfrm>
            <a:custGeom>
              <a:avLst/>
              <a:gdLst>
                <a:gd name="connsiteX0" fmla="*/ 37859 w 70094"/>
                <a:gd name="connsiteY0" fmla="*/ 362730 h 384346"/>
                <a:gd name="connsiteX1" fmla="*/ 40982 w 70094"/>
                <a:gd name="connsiteY1" fmla="*/ 360981 h 384346"/>
                <a:gd name="connsiteX2" fmla="*/ 70095 w 70094"/>
                <a:gd name="connsiteY2" fmla="*/ 0 h 384346"/>
                <a:gd name="connsiteX3" fmla="*/ 28238 w 70094"/>
                <a:gd name="connsiteY3" fmla="*/ 23366 h 384346"/>
                <a:gd name="connsiteX4" fmla="*/ 0 w 70094"/>
                <a:gd name="connsiteY4" fmla="*/ 384347 h 384346"/>
                <a:gd name="connsiteX5" fmla="*/ 37859 w 70094"/>
                <a:gd name="connsiteY5" fmla="*/ 362730 h 38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94" h="384346">
                  <a:moveTo>
                    <a:pt x="37859" y="362730"/>
                  </a:moveTo>
                  <a:lnTo>
                    <a:pt x="40982" y="360981"/>
                  </a:lnTo>
                  <a:lnTo>
                    <a:pt x="70095" y="0"/>
                  </a:lnTo>
                  <a:lnTo>
                    <a:pt x="28238" y="23366"/>
                  </a:lnTo>
                  <a:lnTo>
                    <a:pt x="0" y="384347"/>
                  </a:lnTo>
                  <a:lnTo>
                    <a:pt x="37859" y="362730"/>
                  </a:lnTo>
                  <a:close/>
                </a:path>
              </a:pathLst>
            </a:custGeom>
            <a:solidFill>
              <a:schemeClr val="accent5"/>
            </a:solidFill>
            <a:ln w="12483" cap="flat">
              <a:noFill/>
              <a:prstDash val="solid"/>
              <a:miter/>
            </a:ln>
          </p:spPr>
          <p:txBody>
            <a:bodyPr rtlCol="0" anchor="ctr"/>
            <a:lstStyle/>
            <a:p>
              <a:endParaRPr lang="en-US"/>
            </a:p>
          </p:txBody>
        </p:sp>
        <p:sp>
          <p:nvSpPr>
            <p:cNvPr id="1025" name="Freeform: Shape 1024">
              <a:extLst>
                <a:ext uri="{FF2B5EF4-FFF2-40B4-BE49-F238E27FC236}">
                  <a16:creationId xmlns:a16="http://schemas.microsoft.com/office/drawing/2014/main" id="{51A27297-2D6E-4A62-A383-E1E14A6A5A7C}"/>
                </a:ext>
              </a:extLst>
            </p:cNvPr>
            <p:cNvSpPr/>
            <p:nvPr/>
          </p:nvSpPr>
          <p:spPr>
            <a:xfrm>
              <a:off x="12088307" y="5542047"/>
              <a:ext cx="116699" cy="244527"/>
            </a:xfrm>
            <a:custGeom>
              <a:avLst/>
              <a:gdLst>
                <a:gd name="connsiteX0" fmla="*/ 625 w 116699"/>
                <a:gd name="connsiteY0" fmla="*/ 99460 h 244527"/>
                <a:gd name="connsiteX1" fmla="*/ 0 w 116699"/>
                <a:gd name="connsiteY1" fmla="*/ 105333 h 244527"/>
                <a:gd name="connsiteX2" fmla="*/ 116700 w 116699"/>
                <a:gd name="connsiteY2" fmla="*/ 244527 h 244527"/>
                <a:gd name="connsiteX3" fmla="*/ 116700 w 116699"/>
                <a:gd name="connsiteY3" fmla="*/ 125825 h 244527"/>
                <a:gd name="connsiteX4" fmla="*/ 10621 w 116699"/>
                <a:gd name="connsiteY4" fmla="*/ 0 h 244527"/>
                <a:gd name="connsiteX5" fmla="*/ 625 w 116699"/>
                <a:gd name="connsiteY5" fmla="*/ 99460 h 24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99" h="244527">
                  <a:moveTo>
                    <a:pt x="625" y="99460"/>
                  </a:moveTo>
                  <a:lnTo>
                    <a:pt x="0" y="105333"/>
                  </a:lnTo>
                  <a:lnTo>
                    <a:pt x="116700" y="244527"/>
                  </a:lnTo>
                  <a:lnTo>
                    <a:pt x="116700" y="125825"/>
                  </a:lnTo>
                  <a:lnTo>
                    <a:pt x="10621" y="0"/>
                  </a:lnTo>
                  <a:lnTo>
                    <a:pt x="625" y="99460"/>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26" name="Freeform: Shape 1025">
              <a:extLst>
                <a:ext uri="{FF2B5EF4-FFF2-40B4-BE49-F238E27FC236}">
                  <a16:creationId xmlns:a16="http://schemas.microsoft.com/office/drawing/2014/main" id="{AE1987A8-2507-4622-8596-08BF974D7AC4}"/>
                </a:ext>
              </a:extLst>
            </p:cNvPr>
            <p:cNvSpPr/>
            <p:nvPr/>
          </p:nvSpPr>
          <p:spPr>
            <a:xfrm>
              <a:off x="9698715" y="5708231"/>
              <a:ext cx="1419886" cy="1164035"/>
            </a:xfrm>
            <a:custGeom>
              <a:avLst/>
              <a:gdLst>
                <a:gd name="connsiteX0" fmla="*/ 1378779 w 1419886"/>
                <a:gd name="connsiteY0" fmla="*/ 777940 h 1164035"/>
                <a:gd name="connsiteX1" fmla="*/ 1381778 w 1419886"/>
                <a:gd name="connsiteY1" fmla="*/ 776940 h 1164035"/>
                <a:gd name="connsiteX2" fmla="*/ 1419886 w 1419886"/>
                <a:gd name="connsiteY2" fmla="*/ 0 h 1164035"/>
                <a:gd name="connsiteX3" fmla="*/ 0 w 1419886"/>
                <a:gd name="connsiteY3" fmla="*/ 859782 h 1164035"/>
                <a:gd name="connsiteX4" fmla="*/ 0 w 1419886"/>
                <a:gd name="connsiteY4" fmla="*/ 862656 h 1164035"/>
                <a:gd name="connsiteX5" fmla="*/ 8996 w 1419886"/>
                <a:gd name="connsiteY5" fmla="*/ 1164036 h 1164035"/>
                <a:gd name="connsiteX6" fmla="*/ 763920 w 1419886"/>
                <a:gd name="connsiteY6" fmla="*/ 1164036 h 1164035"/>
                <a:gd name="connsiteX7" fmla="*/ 1173743 w 1419886"/>
                <a:gd name="connsiteY7" fmla="*/ 906638 h 116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9886" h="1164035">
                  <a:moveTo>
                    <a:pt x="1378779" y="777940"/>
                  </a:moveTo>
                  <a:cubicBezTo>
                    <a:pt x="1379691" y="777390"/>
                    <a:pt x="1380716" y="777040"/>
                    <a:pt x="1381778" y="776940"/>
                  </a:cubicBezTo>
                  <a:lnTo>
                    <a:pt x="1419886" y="0"/>
                  </a:lnTo>
                  <a:lnTo>
                    <a:pt x="0" y="859782"/>
                  </a:lnTo>
                  <a:lnTo>
                    <a:pt x="0" y="862656"/>
                  </a:lnTo>
                  <a:lnTo>
                    <a:pt x="8996" y="1164036"/>
                  </a:lnTo>
                  <a:lnTo>
                    <a:pt x="763920" y="1164036"/>
                  </a:lnTo>
                  <a:lnTo>
                    <a:pt x="1173743" y="906638"/>
                  </a:lnTo>
                  <a:close/>
                </a:path>
              </a:pathLst>
            </a:custGeom>
            <a:solidFill>
              <a:schemeClr val="accent6"/>
            </a:solidFill>
            <a:ln w="12483" cap="flat">
              <a:noFill/>
              <a:prstDash val="solid"/>
              <a:miter/>
            </a:ln>
          </p:spPr>
          <p:txBody>
            <a:bodyPr rtlCol="0" anchor="ctr"/>
            <a:lstStyle/>
            <a:p>
              <a:endParaRPr lang="en-US"/>
            </a:p>
          </p:txBody>
        </p:sp>
        <p:sp>
          <p:nvSpPr>
            <p:cNvPr id="1027" name="Freeform: Shape 1026">
              <a:extLst>
                <a:ext uri="{FF2B5EF4-FFF2-40B4-BE49-F238E27FC236}">
                  <a16:creationId xmlns:a16="http://schemas.microsoft.com/office/drawing/2014/main" id="{BB9827CB-A335-4C10-ABD3-07E5BE20EA16}"/>
                </a:ext>
              </a:extLst>
            </p:cNvPr>
            <p:cNvSpPr/>
            <p:nvPr/>
          </p:nvSpPr>
          <p:spPr>
            <a:xfrm>
              <a:off x="8137514" y="6332107"/>
              <a:ext cx="62473" cy="539659"/>
            </a:xfrm>
            <a:custGeom>
              <a:avLst/>
              <a:gdLst>
                <a:gd name="connsiteX0" fmla="*/ 4248 w 62473"/>
                <a:gd name="connsiteY0" fmla="*/ 22741 h 539659"/>
                <a:gd name="connsiteX1" fmla="*/ 4248 w 62473"/>
                <a:gd name="connsiteY1" fmla="*/ 20492 h 539659"/>
                <a:gd name="connsiteX2" fmla="*/ 4248 w 62473"/>
                <a:gd name="connsiteY2" fmla="*/ 18618 h 539659"/>
                <a:gd name="connsiteX3" fmla="*/ 4998 w 62473"/>
                <a:gd name="connsiteY3" fmla="*/ 16743 h 539659"/>
                <a:gd name="connsiteX4" fmla="*/ 5872 w 62473"/>
                <a:gd name="connsiteY4" fmla="*/ 14994 h 539659"/>
                <a:gd name="connsiteX5" fmla="*/ 5872 w 62473"/>
                <a:gd name="connsiteY5" fmla="*/ 14119 h 539659"/>
                <a:gd name="connsiteX6" fmla="*/ 4998 w 62473"/>
                <a:gd name="connsiteY6" fmla="*/ 5873 h 539659"/>
                <a:gd name="connsiteX7" fmla="*/ 1250 w 62473"/>
                <a:gd name="connsiteY7" fmla="*/ 0 h 539659"/>
                <a:gd name="connsiteX8" fmla="*/ 0 w 62473"/>
                <a:gd name="connsiteY8" fmla="*/ 0 h 539659"/>
                <a:gd name="connsiteX9" fmla="*/ 62473 w 62473"/>
                <a:gd name="connsiteY9" fmla="*/ 539660 h 539659"/>
                <a:gd name="connsiteX10" fmla="*/ 62473 w 62473"/>
                <a:gd name="connsiteY10" fmla="*/ 539660 h 539659"/>
                <a:gd name="connsiteX11" fmla="*/ 4248 w 62473"/>
                <a:gd name="connsiteY11" fmla="*/ 22741 h 53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73" h="539659">
                  <a:moveTo>
                    <a:pt x="4248" y="22741"/>
                  </a:moveTo>
                  <a:cubicBezTo>
                    <a:pt x="4186" y="21991"/>
                    <a:pt x="4186" y="21242"/>
                    <a:pt x="4248" y="20492"/>
                  </a:cubicBezTo>
                  <a:cubicBezTo>
                    <a:pt x="4248" y="19867"/>
                    <a:pt x="4248" y="19242"/>
                    <a:pt x="4248" y="18618"/>
                  </a:cubicBezTo>
                  <a:cubicBezTo>
                    <a:pt x="4398" y="17955"/>
                    <a:pt x="4648" y="17331"/>
                    <a:pt x="4998" y="16743"/>
                  </a:cubicBezTo>
                  <a:cubicBezTo>
                    <a:pt x="5210" y="16131"/>
                    <a:pt x="5510" y="15531"/>
                    <a:pt x="5872" y="14994"/>
                  </a:cubicBezTo>
                  <a:lnTo>
                    <a:pt x="5872" y="14119"/>
                  </a:lnTo>
                  <a:lnTo>
                    <a:pt x="4998" y="5873"/>
                  </a:lnTo>
                  <a:lnTo>
                    <a:pt x="1250" y="0"/>
                  </a:lnTo>
                  <a:lnTo>
                    <a:pt x="0" y="0"/>
                  </a:lnTo>
                  <a:lnTo>
                    <a:pt x="62473" y="539660"/>
                  </a:lnTo>
                  <a:lnTo>
                    <a:pt x="62473" y="539660"/>
                  </a:lnTo>
                  <a:lnTo>
                    <a:pt x="4248" y="22741"/>
                  </a:lnTo>
                  <a:close/>
                </a:path>
              </a:pathLst>
            </a:custGeom>
            <a:solidFill>
              <a:srgbClr val="66B2B0"/>
            </a:solidFill>
            <a:ln w="12483" cap="flat">
              <a:no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87254FDE-3735-4ED6-A879-AA90603E357A}"/>
                </a:ext>
              </a:extLst>
            </p:cNvPr>
            <p:cNvSpPr/>
            <p:nvPr/>
          </p:nvSpPr>
          <p:spPr>
            <a:xfrm>
              <a:off x="7865132" y="6363719"/>
              <a:ext cx="247518" cy="508546"/>
            </a:xfrm>
            <a:custGeom>
              <a:avLst/>
              <a:gdLst>
                <a:gd name="connsiteX0" fmla="*/ 0 w 247518"/>
                <a:gd name="connsiteY0" fmla="*/ 106582 h 508546"/>
                <a:gd name="connsiteX1" fmla="*/ 53477 w 247518"/>
                <a:gd name="connsiteY1" fmla="*/ 508547 h 508546"/>
                <a:gd name="connsiteX2" fmla="*/ 247518 w 247518"/>
                <a:gd name="connsiteY2" fmla="*/ 508547 h 508546"/>
                <a:gd name="connsiteX3" fmla="*/ 185920 w 247518"/>
                <a:gd name="connsiteY3" fmla="*/ 0 h 508546"/>
                <a:gd name="connsiteX4" fmla="*/ 0 w 247518"/>
                <a:gd name="connsiteY4" fmla="*/ 106582 h 50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18" h="508546">
                  <a:moveTo>
                    <a:pt x="0" y="106582"/>
                  </a:moveTo>
                  <a:lnTo>
                    <a:pt x="53477" y="508547"/>
                  </a:lnTo>
                  <a:lnTo>
                    <a:pt x="247518" y="508547"/>
                  </a:lnTo>
                  <a:lnTo>
                    <a:pt x="185920" y="0"/>
                  </a:lnTo>
                  <a:lnTo>
                    <a:pt x="0" y="106582"/>
                  </a:lnTo>
                  <a:close/>
                </a:path>
              </a:pathLst>
            </a:custGeom>
            <a:solidFill>
              <a:schemeClr val="accent3"/>
            </a:solidFill>
            <a:ln w="12483" cap="flat">
              <a:noFill/>
              <a:prstDash val="solid"/>
              <a:miter/>
            </a:ln>
          </p:spPr>
          <p:txBody>
            <a:bodyPr rtlCol="0" anchor="ctr"/>
            <a:lstStyle/>
            <a:p>
              <a:endParaRPr lang="en-US"/>
            </a:p>
          </p:txBody>
        </p:sp>
        <p:sp>
          <p:nvSpPr>
            <p:cNvPr id="1029" name="Freeform: Shape 1028">
              <a:extLst>
                <a:ext uri="{FF2B5EF4-FFF2-40B4-BE49-F238E27FC236}">
                  <a16:creationId xmlns:a16="http://schemas.microsoft.com/office/drawing/2014/main" id="{E959BD77-8DF6-40D6-8B03-67A816AADC86}"/>
                </a:ext>
              </a:extLst>
            </p:cNvPr>
            <p:cNvSpPr/>
            <p:nvPr/>
          </p:nvSpPr>
          <p:spPr>
            <a:xfrm>
              <a:off x="7682336" y="6174920"/>
              <a:ext cx="233024" cy="697346"/>
            </a:xfrm>
            <a:custGeom>
              <a:avLst/>
              <a:gdLst>
                <a:gd name="connsiteX0" fmla="*/ 0 w 233024"/>
                <a:gd name="connsiteY0" fmla="*/ 0 h 697346"/>
                <a:gd name="connsiteX1" fmla="*/ 34985 w 233024"/>
                <a:gd name="connsiteY1" fmla="*/ 247651 h 697346"/>
                <a:gd name="connsiteX2" fmla="*/ 37859 w 233024"/>
                <a:gd name="connsiteY2" fmla="*/ 267518 h 697346"/>
                <a:gd name="connsiteX3" fmla="*/ 76842 w 233024"/>
                <a:gd name="connsiteY3" fmla="*/ 543908 h 697346"/>
                <a:gd name="connsiteX4" fmla="*/ 98582 w 233024"/>
                <a:gd name="connsiteY4" fmla="*/ 697347 h 697346"/>
                <a:gd name="connsiteX5" fmla="*/ 233024 w 233024"/>
                <a:gd name="connsiteY5" fmla="*/ 697347 h 697346"/>
                <a:gd name="connsiteX6" fmla="*/ 179547 w 233024"/>
                <a:gd name="connsiteY6" fmla="*/ 295007 h 697346"/>
                <a:gd name="connsiteX7" fmla="*/ 0 w 233024"/>
                <a:gd name="connsiteY7" fmla="*/ 0 h 6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024" h="697346">
                  <a:moveTo>
                    <a:pt x="0" y="0"/>
                  </a:moveTo>
                  <a:lnTo>
                    <a:pt x="34985" y="247651"/>
                  </a:lnTo>
                  <a:lnTo>
                    <a:pt x="37859" y="267518"/>
                  </a:lnTo>
                  <a:lnTo>
                    <a:pt x="76842" y="543908"/>
                  </a:lnTo>
                  <a:lnTo>
                    <a:pt x="98582" y="697347"/>
                  </a:lnTo>
                  <a:lnTo>
                    <a:pt x="233024" y="697347"/>
                  </a:lnTo>
                  <a:lnTo>
                    <a:pt x="179547" y="295007"/>
                  </a:lnTo>
                  <a:lnTo>
                    <a:pt x="0" y="0"/>
                  </a:lnTo>
                  <a:close/>
                </a:path>
              </a:pathLst>
            </a:custGeom>
            <a:solidFill>
              <a:schemeClr val="accent2"/>
            </a:solidFill>
            <a:ln w="12483"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AF3F7A73-F11B-4EB4-BF83-1136588527EA}"/>
                </a:ext>
              </a:extLst>
            </p:cNvPr>
            <p:cNvSpPr/>
            <p:nvPr/>
          </p:nvSpPr>
          <p:spPr>
            <a:xfrm>
              <a:off x="7679962" y="5997366"/>
              <a:ext cx="370589" cy="469312"/>
            </a:xfrm>
            <a:custGeom>
              <a:avLst/>
              <a:gdLst>
                <a:gd name="connsiteX0" fmla="*/ 336729 w 370589"/>
                <a:gd name="connsiteY0" fmla="*/ 82592 h 469312"/>
                <a:gd name="connsiteX1" fmla="*/ 284877 w 370589"/>
                <a:gd name="connsiteY1" fmla="*/ 0 h 469312"/>
                <a:gd name="connsiteX2" fmla="*/ 0 w 370589"/>
                <a:gd name="connsiteY2" fmla="*/ 160186 h 469312"/>
                <a:gd name="connsiteX3" fmla="*/ 1250 w 370589"/>
                <a:gd name="connsiteY3" fmla="*/ 169058 h 469312"/>
                <a:gd name="connsiteX4" fmla="*/ 183921 w 370589"/>
                <a:gd name="connsiteY4" fmla="*/ 469313 h 469312"/>
                <a:gd name="connsiteX5" fmla="*/ 370590 w 370589"/>
                <a:gd name="connsiteY5" fmla="*/ 362356 h 469312"/>
                <a:gd name="connsiteX6" fmla="*/ 370465 w 370589"/>
                <a:gd name="connsiteY6" fmla="*/ 360981 h 469312"/>
                <a:gd name="connsiteX7" fmla="*/ 346975 w 370589"/>
                <a:gd name="connsiteY7" fmla="*/ 166933 h 469312"/>
                <a:gd name="connsiteX8" fmla="*/ 336729 w 370589"/>
                <a:gd name="connsiteY8" fmla="*/ 82592 h 46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589" h="469312">
                  <a:moveTo>
                    <a:pt x="336729" y="82592"/>
                  </a:moveTo>
                  <a:lnTo>
                    <a:pt x="284877" y="0"/>
                  </a:lnTo>
                  <a:lnTo>
                    <a:pt x="0" y="160186"/>
                  </a:lnTo>
                  <a:lnTo>
                    <a:pt x="1250" y="169058"/>
                  </a:lnTo>
                  <a:lnTo>
                    <a:pt x="183921" y="469313"/>
                  </a:lnTo>
                  <a:lnTo>
                    <a:pt x="370590" y="362356"/>
                  </a:lnTo>
                  <a:lnTo>
                    <a:pt x="370465" y="360981"/>
                  </a:lnTo>
                  <a:lnTo>
                    <a:pt x="346975" y="166933"/>
                  </a:lnTo>
                  <a:lnTo>
                    <a:pt x="336729" y="82592"/>
                  </a:lnTo>
                  <a:close/>
                </a:path>
              </a:pathLst>
            </a:custGeom>
            <a:solidFill>
              <a:schemeClr val="accent6"/>
            </a:solidFill>
            <a:ln w="12483"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26130A25-3A03-4E40-BE51-0E462CBF8382}"/>
                </a:ext>
              </a:extLst>
            </p:cNvPr>
            <p:cNvSpPr/>
            <p:nvPr/>
          </p:nvSpPr>
          <p:spPr>
            <a:xfrm>
              <a:off x="6974642" y="4975773"/>
              <a:ext cx="1131635" cy="1464540"/>
            </a:xfrm>
            <a:custGeom>
              <a:avLst/>
              <a:gdLst>
                <a:gd name="connsiteX0" fmla="*/ 989198 w 1131635"/>
                <a:gd name="connsiteY0" fmla="*/ 998352 h 1464540"/>
                <a:gd name="connsiteX1" fmla="*/ 990072 w 1131635"/>
                <a:gd name="connsiteY1" fmla="*/ 998352 h 1464540"/>
                <a:gd name="connsiteX2" fmla="*/ 991821 w 1131635"/>
                <a:gd name="connsiteY2" fmla="*/ 998352 h 1464540"/>
                <a:gd name="connsiteX3" fmla="*/ 993446 w 1131635"/>
                <a:gd name="connsiteY3" fmla="*/ 998352 h 1464540"/>
                <a:gd name="connsiteX4" fmla="*/ 995195 w 1131635"/>
                <a:gd name="connsiteY4" fmla="*/ 998352 h 1464540"/>
                <a:gd name="connsiteX5" fmla="*/ 996819 w 1131635"/>
                <a:gd name="connsiteY5" fmla="*/ 999102 h 1464540"/>
                <a:gd name="connsiteX6" fmla="*/ 998194 w 1131635"/>
                <a:gd name="connsiteY6" fmla="*/ 1000101 h 1464540"/>
                <a:gd name="connsiteX7" fmla="*/ 999568 w 1131635"/>
                <a:gd name="connsiteY7" fmla="*/ 1001601 h 1464540"/>
                <a:gd name="connsiteX8" fmla="*/ 999568 w 1131635"/>
                <a:gd name="connsiteY8" fmla="*/ 1002225 h 1464540"/>
                <a:gd name="connsiteX9" fmla="*/ 1036177 w 1131635"/>
                <a:gd name="connsiteY9" fmla="*/ 1060577 h 1464540"/>
                <a:gd name="connsiteX10" fmla="*/ 1036177 w 1131635"/>
                <a:gd name="connsiteY10" fmla="*/ 1059203 h 1464540"/>
                <a:gd name="connsiteX11" fmla="*/ 1036177 w 1131635"/>
                <a:gd name="connsiteY11" fmla="*/ 1057203 h 1464540"/>
                <a:gd name="connsiteX12" fmla="*/ 1036802 w 1131635"/>
                <a:gd name="connsiteY12" fmla="*/ 1055329 h 1464540"/>
                <a:gd name="connsiteX13" fmla="*/ 1037677 w 1131635"/>
                <a:gd name="connsiteY13" fmla="*/ 1053580 h 1464540"/>
                <a:gd name="connsiteX14" fmla="*/ 1039051 w 1131635"/>
                <a:gd name="connsiteY14" fmla="*/ 1052205 h 1464540"/>
                <a:gd name="connsiteX15" fmla="*/ 1040425 w 1131635"/>
                <a:gd name="connsiteY15" fmla="*/ 1050956 h 1464540"/>
                <a:gd name="connsiteX16" fmla="*/ 1040425 w 1131635"/>
                <a:gd name="connsiteY16" fmla="*/ 1050956 h 1464540"/>
                <a:gd name="connsiteX17" fmla="*/ 1131636 w 1131635"/>
                <a:gd name="connsiteY17" fmla="*/ 999601 h 1464540"/>
                <a:gd name="connsiteX18" fmla="*/ 497160 w 1131635"/>
                <a:gd name="connsiteY18" fmla="*/ 0 h 1464540"/>
                <a:gd name="connsiteX19" fmla="*/ 497160 w 1131635"/>
                <a:gd name="connsiteY19" fmla="*/ 0 h 1464540"/>
                <a:gd name="connsiteX20" fmla="*/ 0 w 1131635"/>
                <a:gd name="connsiteY20" fmla="*/ 262395 h 1464540"/>
                <a:gd name="connsiteX21" fmla="*/ 1874 w 1131635"/>
                <a:gd name="connsiteY21" fmla="*/ 272766 h 1464540"/>
                <a:gd name="connsiteX22" fmla="*/ 718440 w 1131635"/>
                <a:gd name="connsiteY22" fmla="*/ 1464541 h 1464540"/>
                <a:gd name="connsiteX23" fmla="*/ 717190 w 1131635"/>
                <a:gd name="connsiteY23" fmla="*/ 1455045 h 1464540"/>
                <a:gd name="connsiteX24" fmla="*/ 717190 w 1131635"/>
                <a:gd name="connsiteY24" fmla="*/ 1454045 h 1464540"/>
                <a:gd name="connsiteX25" fmla="*/ 717190 w 1131635"/>
                <a:gd name="connsiteY25" fmla="*/ 1451921 h 1464540"/>
                <a:gd name="connsiteX26" fmla="*/ 717190 w 1131635"/>
                <a:gd name="connsiteY26" fmla="*/ 1449922 h 1464540"/>
                <a:gd name="connsiteX27" fmla="*/ 717940 w 1131635"/>
                <a:gd name="connsiteY27" fmla="*/ 1448047 h 1464540"/>
                <a:gd name="connsiteX28" fmla="*/ 718814 w 1131635"/>
                <a:gd name="connsiteY28" fmla="*/ 1446298 h 1464540"/>
                <a:gd name="connsiteX29" fmla="*/ 720064 w 1131635"/>
                <a:gd name="connsiteY29" fmla="*/ 1444924 h 1464540"/>
                <a:gd name="connsiteX30" fmla="*/ 721438 w 1131635"/>
                <a:gd name="connsiteY30" fmla="*/ 1443549 h 1464540"/>
                <a:gd name="connsiteX31" fmla="*/ 721438 w 1131635"/>
                <a:gd name="connsiteY31" fmla="*/ 1443549 h 1464540"/>
                <a:gd name="connsiteX32" fmla="*/ 721438 w 1131635"/>
                <a:gd name="connsiteY32" fmla="*/ 1443549 h 1464540"/>
                <a:gd name="connsiteX33" fmla="*/ 683954 w 1131635"/>
                <a:gd name="connsiteY33" fmla="*/ 1178530 h 1464540"/>
                <a:gd name="connsiteX34" fmla="*/ 683954 w 1131635"/>
                <a:gd name="connsiteY34" fmla="*/ 1177781 h 1464540"/>
                <a:gd name="connsiteX35" fmla="*/ 683954 w 1131635"/>
                <a:gd name="connsiteY35" fmla="*/ 1175531 h 1464540"/>
                <a:gd name="connsiteX36" fmla="*/ 683954 w 1131635"/>
                <a:gd name="connsiteY36" fmla="*/ 1173532 h 1464540"/>
                <a:gd name="connsiteX37" fmla="*/ 684704 w 1131635"/>
                <a:gd name="connsiteY37" fmla="*/ 1171658 h 1464540"/>
                <a:gd name="connsiteX38" fmla="*/ 685579 w 1131635"/>
                <a:gd name="connsiteY38" fmla="*/ 1169909 h 1464540"/>
                <a:gd name="connsiteX39" fmla="*/ 686828 w 1131635"/>
                <a:gd name="connsiteY39" fmla="*/ 1168534 h 1464540"/>
                <a:gd name="connsiteX40" fmla="*/ 688203 w 1131635"/>
                <a:gd name="connsiteY40" fmla="*/ 1167284 h 1464540"/>
                <a:gd name="connsiteX41" fmla="*/ 688203 w 1131635"/>
                <a:gd name="connsiteY41" fmla="*/ 1167284 h 146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31635" h="1464540">
                  <a:moveTo>
                    <a:pt x="989198" y="998352"/>
                  </a:moveTo>
                  <a:lnTo>
                    <a:pt x="990072" y="998352"/>
                  </a:lnTo>
                  <a:lnTo>
                    <a:pt x="991821" y="998352"/>
                  </a:lnTo>
                  <a:lnTo>
                    <a:pt x="993446" y="998352"/>
                  </a:lnTo>
                  <a:lnTo>
                    <a:pt x="995195" y="998352"/>
                  </a:lnTo>
                  <a:lnTo>
                    <a:pt x="996819" y="999102"/>
                  </a:lnTo>
                  <a:lnTo>
                    <a:pt x="998194" y="1000101"/>
                  </a:lnTo>
                  <a:lnTo>
                    <a:pt x="999568" y="1001601"/>
                  </a:lnTo>
                  <a:cubicBezTo>
                    <a:pt x="999568" y="1001601"/>
                    <a:pt x="999568" y="1001601"/>
                    <a:pt x="999568" y="1002225"/>
                  </a:cubicBezTo>
                  <a:lnTo>
                    <a:pt x="1036177" y="1060577"/>
                  </a:lnTo>
                  <a:cubicBezTo>
                    <a:pt x="1036177" y="1060577"/>
                    <a:pt x="1036177" y="1059702"/>
                    <a:pt x="1036177" y="1059203"/>
                  </a:cubicBezTo>
                  <a:cubicBezTo>
                    <a:pt x="1036102" y="1058540"/>
                    <a:pt x="1036102" y="1057866"/>
                    <a:pt x="1036177" y="1057203"/>
                  </a:cubicBezTo>
                  <a:cubicBezTo>
                    <a:pt x="1036327" y="1056566"/>
                    <a:pt x="1036540" y="1055929"/>
                    <a:pt x="1036802" y="1055329"/>
                  </a:cubicBezTo>
                  <a:cubicBezTo>
                    <a:pt x="1036802" y="1054705"/>
                    <a:pt x="1036802" y="1054080"/>
                    <a:pt x="1037677" y="1053580"/>
                  </a:cubicBezTo>
                  <a:lnTo>
                    <a:pt x="1039051" y="1052205"/>
                  </a:lnTo>
                  <a:cubicBezTo>
                    <a:pt x="1039451" y="1051731"/>
                    <a:pt x="1039913" y="1051306"/>
                    <a:pt x="1040425" y="1050956"/>
                  </a:cubicBezTo>
                  <a:lnTo>
                    <a:pt x="1040425" y="1050956"/>
                  </a:lnTo>
                  <a:lnTo>
                    <a:pt x="1131636" y="999601"/>
                  </a:lnTo>
                  <a:lnTo>
                    <a:pt x="497160" y="0"/>
                  </a:lnTo>
                  <a:cubicBezTo>
                    <a:pt x="497160" y="0"/>
                    <a:pt x="497160" y="0"/>
                    <a:pt x="497160" y="0"/>
                  </a:cubicBezTo>
                  <a:lnTo>
                    <a:pt x="0" y="262395"/>
                  </a:lnTo>
                  <a:lnTo>
                    <a:pt x="1874" y="272766"/>
                  </a:lnTo>
                  <a:lnTo>
                    <a:pt x="718440" y="1464541"/>
                  </a:lnTo>
                  <a:lnTo>
                    <a:pt x="717190" y="1455045"/>
                  </a:lnTo>
                  <a:lnTo>
                    <a:pt x="717190" y="1454045"/>
                  </a:lnTo>
                  <a:cubicBezTo>
                    <a:pt x="717128" y="1453333"/>
                    <a:pt x="717128" y="1452633"/>
                    <a:pt x="717190" y="1451921"/>
                  </a:cubicBezTo>
                  <a:cubicBezTo>
                    <a:pt x="717190" y="1451296"/>
                    <a:pt x="717190" y="1450547"/>
                    <a:pt x="717190" y="1449922"/>
                  </a:cubicBezTo>
                  <a:lnTo>
                    <a:pt x="717940" y="1448047"/>
                  </a:lnTo>
                  <a:cubicBezTo>
                    <a:pt x="718152" y="1447435"/>
                    <a:pt x="718452" y="1446836"/>
                    <a:pt x="718814" y="1446298"/>
                  </a:cubicBezTo>
                  <a:lnTo>
                    <a:pt x="720064" y="1444924"/>
                  </a:lnTo>
                  <a:cubicBezTo>
                    <a:pt x="720451" y="1444399"/>
                    <a:pt x="720914" y="1443937"/>
                    <a:pt x="721438" y="1443549"/>
                  </a:cubicBezTo>
                  <a:cubicBezTo>
                    <a:pt x="721438" y="1443549"/>
                    <a:pt x="721438" y="1443549"/>
                    <a:pt x="721438" y="1443549"/>
                  </a:cubicBezTo>
                  <a:lnTo>
                    <a:pt x="721438" y="1443549"/>
                  </a:lnTo>
                  <a:lnTo>
                    <a:pt x="683954" y="1178530"/>
                  </a:lnTo>
                  <a:cubicBezTo>
                    <a:pt x="683954" y="1178530"/>
                    <a:pt x="683954" y="1178530"/>
                    <a:pt x="683954" y="1177781"/>
                  </a:cubicBezTo>
                  <a:cubicBezTo>
                    <a:pt x="683892" y="1177030"/>
                    <a:pt x="683892" y="1176281"/>
                    <a:pt x="683954" y="1175531"/>
                  </a:cubicBezTo>
                  <a:cubicBezTo>
                    <a:pt x="683954" y="1174907"/>
                    <a:pt x="683954" y="1174157"/>
                    <a:pt x="683954" y="1173532"/>
                  </a:cubicBezTo>
                  <a:lnTo>
                    <a:pt x="684704" y="1171658"/>
                  </a:lnTo>
                  <a:cubicBezTo>
                    <a:pt x="684942" y="1171046"/>
                    <a:pt x="685242" y="1170471"/>
                    <a:pt x="685579" y="1169909"/>
                  </a:cubicBezTo>
                  <a:lnTo>
                    <a:pt x="686828" y="1168534"/>
                  </a:lnTo>
                  <a:cubicBezTo>
                    <a:pt x="687228" y="1168059"/>
                    <a:pt x="687690" y="1167634"/>
                    <a:pt x="688203" y="1167284"/>
                  </a:cubicBezTo>
                  <a:lnTo>
                    <a:pt x="688203" y="1167284"/>
                  </a:lnTo>
                  <a:close/>
                </a:path>
              </a:pathLst>
            </a:custGeom>
            <a:solidFill>
              <a:schemeClr val="accent6"/>
            </a:solidFill>
            <a:ln w="12483"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F8962E02-49F7-4AA8-89CA-B7F9BC07198E}"/>
                </a:ext>
              </a:extLst>
            </p:cNvPr>
            <p:cNvSpPr/>
            <p:nvPr/>
          </p:nvSpPr>
          <p:spPr>
            <a:xfrm>
              <a:off x="7482797" y="6716828"/>
              <a:ext cx="279878" cy="155437"/>
            </a:xfrm>
            <a:custGeom>
              <a:avLst/>
              <a:gdLst>
                <a:gd name="connsiteX0" fmla="*/ 257889 w 279878"/>
                <a:gd name="connsiteY0" fmla="*/ 0 h 155437"/>
                <a:gd name="connsiteX1" fmla="*/ 254890 w 279878"/>
                <a:gd name="connsiteY1" fmla="*/ 1749 h 155437"/>
                <a:gd name="connsiteX2" fmla="*/ 0 w 279878"/>
                <a:gd name="connsiteY2" fmla="*/ 148941 h 155437"/>
                <a:gd name="connsiteX3" fmla="*/ 1000 w 279878"/>
                <a:gd name="connsiteY3" fmla="*/ 155438 h 155437"/>
                <a:gd name="connsiteX4" fmla="*/ 279879 w 279878"/>
                <a:gd name="connsiteY4" fmla="*/ 155438 h 155437"/>
                <a:gd name="connsiteX5" fmla="*/ 258763 w 279878"/>
                <a:gd name="connsiteY5" fmla="*/ 5748 h 155437"/>
                <a:gd name="connsiteX6" fmla="*/ 257889 w 279878"/>
                <a:gd name="connsiteY6" fmla="*/ 0 h 15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878" h="155437">
                  <a:moveTo>
                    <a:pt x="257889" y="0"/>
                  </a:moveTo>
                  <a:lnTo>
                    <a:pt x="254890" y="1749"/>
                  </a:lnTo>
                  <a:lnTo>
                    <a:pt x="0" y="148941"/>
                  </a:lnTo>
                  <a:lnTo>
                    <a:pt x="1000" y="155438"/>
                  </a:lnTo>
                  <a:lnTo>
                    <a:pt x="279879" y="155438"/>
                  </a:lnTo>
                  <a:lnTo>
                    <a:pt x="258763" y="5748"/>
                  </a:lnTo>
                  <a:lnTo>
                    <a:pt x="257889" y="0"/>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E71AD40C-C21C-4C18-BC97-8B6410B77813}"/>
                </a:ext>
              </a:extLst>
            </p:cNvPr>
            <p:cNvSpPr/>
            <p:nvPr/>
          </p:nvSpPr>
          <p:spPr>
            <a:xfrm>
              <a:off x="7014999" y="3814861"/>
              <a:ext cx="1252583" cy="2157764"/>
            </a:xfrm>
            <a:custGeom>
              <a:avLst/>
              <a:gdLst>
                <a:gd name="connsiteX0" fmla="*/ 1095652 w 1252583"/>
                <a:gd name="connsiteY0" fmla="*/ 2157765 h 2157764"/>
                <a:gd name="connsiteX1" fmla="*/ 1095652 w 1252583"/>
                <a:gd name="connsiteY1" fmla="*/ 2157765 h 2157764"/>
                <a:gd name="connsiteX2" fmla="*/ 1252584 w 1252583"/>
                <a:gd name="connsiteY2" fmla="*/ 2069175 h 2157764"/>
                <a:gd name="connsiteX3" fmla="*/ 1234217 w 1252583"/>
                <a:gd name="connsiteY3" fmla="*/ 1895994 h 2157764"/>
                <a:gd name="connsiteX4" fmla="*/ 1233092 w 1252583"/>
                <a:gd name="connsiteY4" fmla="*/ 1895994 h 2157764"/>
                <a:gd name="connsiteX5" fmla="*/ 1231593 w 1252583"/>
                <a:gd name="connsiteY5" fmla="*/ 1894869 h 2157764"/>
                <a:gd name="connsiteX6" fmla="*/ 1230343 w 1252583"/>
                <a:gd name="connsiteY6" fmla="*/ 1893495 h 2157764"/>
                <a:gd name="connsiteX7" fmla="*/ 1229719 w 1252583"/>
                <a:gd name="connsiteY7" fmla="*/ 1893495 h 2157764"/>
                <a:gd name="connsiteX8" fmla="*/ 1094652 w 1252583"/>
                <a:gd name="connsiteY8" fmla="*/ 1684079 h 2157764"/>
                <a:gd name="connsiteX9" fmla="*/ 778664 w 1252583"/>
                <a:gd name="connsiteY9" fmla="*/ 1197772 h 2157764"/>
                <a:gd name="connsiteX10" fmla="*/ 674708 w 1252583"/>
                <a:gd name="connsiteY10" fmla="*/ 1037461 h 2157764"/>
                <a:gd name="connsiteX11" fmla="*/ 503782 w 1252583"/>
                <a:gd name="connsiteY11" fmla="*/ 775066 h 2157764"/>
                <a:gd name="connsiteX12" fmla="*/ 427690 w 1252583"/>
                <a:gd name="connsiteY12" fmla="*/ 657988 h 2157764"/>
                <a:gd name="connsiteX13" fmla="*/ 0 w 1252583"/>
                <a:gd name="connsiteY13" fmla="*/ 0 h 2157764"/>
                <a:gd name="connsiteX14" fmla="*/ 78466 w 1252583"/>
                <a:gd name="connsiteY14" fmla="*/ 498176 h 2157764"/>
                <a:gd name="connsiteX15" fmla="*/ 127445 w 1252583"/>
                <a:gd name="connsiteY15" fmla="*/ 808303 h 2157764"/>
                <a:gd name="connsiteX16" fmla="*/ 317863 w 1252583"/>
                <a:gd name="connsiteY16" fmla="*/ 1111182 h 2157764"/>
                <a:gd name="connsiteX17" fmla="*/ 287376 w 1252583"/>
                <a:gd name="connsiteY17" fmla="*/ 904514 h 2157764"/>
                <a:gd name="connsiteX18" fmla="*/ 278880 w 1252583"/>
                <a:gd name="connsiteY18" fmla="*/ 891145 h 2157764"/>
                <a:gd name="connsiteX19" fmla="*/ 280504 w 1252583"/>
                <a:gd name="connsiteY19" fmla="*/ 875901 h 2157764"/>
                <a:gd name="connsiteX20" fmla="*/ 291811 w 1252583"/>
                <a:gd name="connsiteY20" fmla="*/ 876251 h 2157764"/>
                <a:gd name="connsiteX21" fmla="*/ 292998 w 1252583"/>
                <a:gd name="connsiteY21" fmla="*/ 877900 h 2157764"/>
                <a:gd name="connsiteX22" fmla="*/ 423317 w 1252583"/>
                <a:gd name="connsiteY22" fmla="*/ 1083068 h 2157764"/>
                <a:gd name="connsiteX23" fmla="*/ 461925 w 1252583"/>
                <a:gd name="connsiteY23" fmla="*/ 1143919 h 2157764"/>
                <a:gd name="connsiteX24" fmla="*/ 461925 w 1252583"/>
                <a:gd name="connsiteY24" fmla="*/ 1145043 h 2157764"/>
                <a:gd name="connsiteX25" fmla="*/ 462675 w 1252583"/>
                <a:gd name="connsiteY25" fmla="*/ 1146168 h 2157764"/>
                <a:gd name="connsiteX26" fmla="*/ 462675 w 1252583"/>
                <a:gd name="connsiteY26" fmla="*/ 1147043 h 2157764"/>
                <a:gd name="connsiteX27" fmla="*/ 462675 w 1252583"/>
                <a:gd name="connsiteY27" fmla="*/ 1149167 h 2157764"/>
                <a:gd name="connsiteX28" fmla="*/ 462675 w 1252583"/>
                <a:gd name="connsiteY28" fmla="*/ 1151166 h 2157764"/>
                <a:gd name="connsiteX29" fmla="*/ 462675 w 1252583"/>
                <a:gd name="connsiteY29" fmla="*/ 1153165 h 2157764"/>
                <a:gd name="connsiteX30" fmla="*/ 462675 w 1252583"/>
                <a:gd name="connsiteY30" fmla="*/ 1155165 h 2157764"/>
                <a:gd name="connsiteX31" fmla="*/ 461801 w 1252583"/>
                <a:gd name="connsiteY31" fmla="*/ 1156789 h 2157764"/>
                <a:gd name="connsiteX32" fmla="*/ 461801 w 1252583"/>
                <a:gd name="connsiteY32" fmla="*/ 1157788 h 215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2583" h="2157764">
                  <a:moveTo>
                    <a:pt x="1095652" y="2157765"/>
                  </a:moveTo>
                  <a:lnTo>
                    <a:pt x="1095652" y="2157765"/>
                  </a:lnTo>
                  <a:lnTo>
                    <a:pt x="1252584" y="2069175"/>
                  </a:lnTo>
                  <a:lnTo>
                    <a:pt x="1234217" y="1895994"/>
                  </a:lnTo>
                  <a:lnTo>
                    <a:pt x="1233092" y="1895994"/>
                  </a:lnTo>
                  <a:lnTo>
                    <a:pt x="1231593" y="1894869"/>
                  </a:lnTo>
                  <a:cubicBezTo>
                    <a:pt x="1231118" y="1894470"/>
                    <a:pt x="1230693" y="1894007"/>
                    <a:pt x="1230343" y="1893495"/>
                  </a:cubicBezTo>
                  <a:lnTo>
                    <a:pt x="1229719" y="1893495"/>
                  </a:lnTo>
                  <a:lnTo>
                    <a:pt x="1094652" y="1684079"/>
                  </a:lnTo>
                  <a:lnTo>
                    <a:pt x="778664" y="1197772"/>
                  </a:lnTo>
                  <a:lnTo>
                    <a:pt x="674708" y="1037461"/>
                  </a:lnTo>
                  <a:lnTo>
                    <a:pt x="503782" y="775066"/>
                  </a:lnTo>
                  <a:lnTo>
                    <a:pt x="427690" y="657988"/>
                  </a:lnTo>
                  <a:lnTo>
                    <a:pt x="0" y="0"/>
                  </a:lnTo>
                  <a:lnTo>
                    <a:pt x="78466" y="498176"/>
                  </a:lnTo>
                  <a:lnTo>
                    <a:pt x="127445" y="808303"/>
                  </a:lnTo>
                  <a:lnTo>
                    <a:pt x="317863" y="1111182"/>
                  </a:lnTo>
                  <a:lnTo>
                    <a:pt x="287376" y="904514"/>
                  </a:lnTo>
                  <a:lnTo>
                    <a:pt x="278880" y="891145"/>
                  </a:lnTo>
                  <a:cubicBezTo>
                    <a:pt x="275868" y="886284"/>
                    <a:pt x="276543" y="880011"/>
                    <a:pt x="280504" y="875901"/>
                  </a:cubicBezTo>
                  <a:cubicBezTo>
                    <a:pt x="283727" y="872877"/>
                    <a:pt x="288788" y="873039"/>
                    <a:pt x="291811" y="876251"/>
                  </a:cubicBezTo>
                  <a:cubicBezTo>
                    <a:pt x="292274" y="876750"/>
                    <a:pt x="292673" y="877300"/>
                    <a:pt x="292998" y="877900"/>
                  </a:cubicBezTo>
                  <a:lnTo>
                    <a:pt x="423317" y="1083068"/>
                  </a:lnTo>
                  <a:lnTo>
                    <a:pt x="461925" y="1143919"/>
                  </a:lnTo>
                  <a:cubicBezTo>
                    <a:pt x="461975" y="1144294"/>
                    <a:pt x="461975" y="1144668"/>
                    <a:pt x="461925" y="1145043"/>
                  </a:cubicBezTo>
                  <a:lnTo>
                    <a:pt x="462675" y="1146168"/>
                  </a:lnTo>
                  <a:cubicBezTo>
                    <a:pt x="462613" y="1146455"/>
                    <a:pt x="462613" y="1146755"/>
                    <a:pt x="462675" y="1147043"/>
                  </a:cubicBezTo>
                  <a:lnTo>
                    <a:pt x="462675" y="1149167"/>
                  </a:lnTo>
                  <a:cubicBezTo>
                    <a:pt x="462675" y="1149791"/>
                    <a:pt x="462675" y="1150541"/>
                    <a:pt x="462675" y="1151166"/>
                  </a:cubicBezTo>
                  <a:lnTo>
                    <a:pt x="462675" y="1153165"/>
                  </a:lnTo>
                  <a:cubicBezTo>
                    <a:pt x="462738" y="1153827"/>
                    <a:pt x="462738" y="1154502"/>
                    <a:pt x="462675" y="1155165"/>
                  </a:cubicBezTo>
                  <a:cubicBezTo>
                    <a:pt x="462675" y="1155789"/>
                    <a:pt x="462050" y="1156289"/>
                    <a:pt x="461801" y="1156789"/>
                  </a:cubicBezTo>
                  <a:cubicBezTo>
                    <a:pt x="461738" y="1157114"/>
                    <a:pt x="461738" y="1157464"/>
                    <a:pt x="461801" y="1157788"/>
                  </a:cubicBezTo>
                  <a:close/>
                </a:path>
              </a:pathLst>
            </a:custGeom>
            <a:solidFill>
              <a:schemeClr val="accent2"/>
            </a:solidFill>
            <a:ln w="12483" cap="flat">
              <a:noFill/>
              <a:prstDash val="solid"/>
              <a:miter/>
            </a:ln>
          </p:spPr>
          <p:txBody>
            <a:bodyPr rtlCol="0" anchor="ctr"/>
            <a:lstStyle/>
            <a:p>
              <a:endParaRPr lang="en-US"/>
            </a:p>
          </p:txBody>
        </p:sp>
        <p:sp>
          <p:nvSpPr>
            <p:cNvPr id="1034" name="Freeform: Shape 1033">
              <a:extLst>
                <a:ext uri="{FF2B5EF4-FFF2-40B4-BE49-F238E27FC236}">
                  <a16:creationId xmlns:a16="http://schemas.microsoft.com/office/drawing/2014/main" id="{D0647682-3F89-43E7-BD9B-AD8917E41326}"/>
                </a:ext>
              </a:extLst>
            </p:cNvPr>
            <p:cNvSpPr/>
            <p:nvPr/>
          </p:nvSpPr>
          <p:spPr>
            <a:xfrm>
              <a:off x="6217719" y="4322158"/>
              <a:ext cx="1502600" cy="2550107"/>
            </a:xfrm>
            <a:custGeom>
              <a:avLst/>
              <a:gdLst>
                <a:gd name="connsiteX0" fmla="*/ 1246087 w 1502600"/>
                <a:gd name="connsiteY0" fmla="*/ 2538738 h 2550107"/>
                <a:gd name="connsiteX1" fmla="*/ 1246087 w 1502600"/>
                <a:gd name="connsiteY1" fmla="*/ 2536489 h 2550107"/>
                <a:gd name="connsiteX2" fmla="*/ 1246087 w 1502600"/>
                <a:gd name="connsiteY2" fmla="*/ 2534489 h 2550107"/>
                <a:gd name="connsiteX3" fmla="*/ 1247086 w 1502600"/>
                <a:gd name="connsiteY3" fmla="*/ 2532490 h 2550107"/>
                <a:gd name="connsiteX4" fmla="*/ 1247961 w 1502600"/>
                <a:gd name="connsiteY4" fmla="*/ 2530741 h 2550107"/>
                <a:gd name="connsiteX5" fmla="*/ 1249085 w 1502600"/>
                <a:gd name="connsiteY5" fmla="*/ 2529366 h 2550107"/>
                <a:gd name="connsiteX6" fmla="*/ 1250585 w 1502600"/>
                <a:gd name="connsiteY6" fmla="*/ 2527992 h 2550107"/>
                <a:gd name="connsiteX7" fmla="*/ 1250585 w 1502600"/>
                <a:gd name="connsiteY7" fmla="*/ 2527992 h 2550107"/>
                <a:gd name="connsiteX8" fmla="*/ 1502601 w 1502600"/>
                <a:gd name="connsiteY8" fmla="*/ 2382550 h 2550107"/>
                <a:gd name="connsiteX9" fmla="*/ 785786 w 1502600"/>
                <a:gd name="connsiteY9" fmla="*/ 1179530 h 2550107"/>
                <a:gd name="connsiteX10" fmla="*/ 785786 w 1502600"/>
                <a:gd name="connsiteY10" fmla="*/ 1179530 h 2550107"/>
                <a:gd name="connsiteX11" fmla="*/ 785036 w 1502600"/>
                <a:gd name="connsiteY11" fmla="*/ 1177655 h 2550107"/>
                <a:gd name="connsiteX12" fmla="*/ 784286 w 1502600"/>
                <a:gd name="connsiteY12" fmla="*/ 1175656 h 2550107"/>
                <a:gd name="connsiteX13" fmla="*/ 784286 w 1502600"/>
                <a:gd name="connsiteY13" fmla="*/ 1175656 h 2550107"/>
                <a:gd name="connsiteX14" fmla="*/ 738931 w 1502600"/>
                <a:gd name="connsiteY14" fmla="*/ 911387 h 2550107"/>
                <a:gd name="connsiteX15" fmla="*/ 738931 w 1502600"/>
                <a:gd name="connsiteY15" fmla="*/ 910387 h 2550107"/>
                <a:gd name="connsiteX16" fmla="*/ 738931 w 1502600"/>
                <a:gd name="connsiteY16" fmla="*/ 908138 h 2550107"/>
                <a:gd name="connsiteX17" fmla="*/ 738931 w 1502600"/>
                <a:gd name="connsiteY17" fmla="*/ 906264 h 2550107"/>
                <a:gd name="connsiteX18" fmla="*/ 739555 w 1502600"/>
                <a:gd name="connsiteY18" fmla="*/ 904264 h 2550107"/>
                <a:gd name="connsiteX19" fmla="*/ 740555 w 1502600"/>
                <a:gd name="connsiteY19" fmla="*/ 902515 h 2550107"/>
                <a:gd name="connsiteX20" fmla="*/ 741680 w 1502600"/>
                <a:gd name="connsiteY20" fmla="*/ 901141 h 2550107"/>
                <a:gd name="connsiteX21" fmla="*/ 743179 w 1502600"/>
                <a:gd name="connsiteY21" fmla="*/ 899891 h 2550107"/>
                <a:gd name="connsiteX22" fmla="*/ 743179 w 1502600"/>
                <a:gd name="connsiteY22" fmla="*/ 899266 h 2550107"/>
                <a:gd name="connsiteX23" fmla="*/ 1236591 w 1502600"/>
                <a:gd name="connsiteY23" fmla="*/ 639245 h 2550107"/>
                <a:gd name="connsiteX24" fmla="*/ 1209602 w 1502600"/>
                <a:gd name="connsiteY24" fmla="*/ 595762 h 2550107"/>
                <a:gd name="connsiteX25" fmla="*/ 1123765 w 1502600"/>
                <a:gd name="connsiteY25" fmla="*/ 640869 h 2550107"/>
                <a:gd name="connsiteX26" fmla="*/ 1123015 w 1502600"/>
                <a:gd name="connsiteY26" fmla="*/ 640869 h 2550107"/>
                <a:gd name="connsiteX27" fmla="*/ 1121265 w 1502600"/>
                <a:gd name="connsiteY27" fmla="*/ 640869 h 2550107"/>
                <a:gd name="connsiteX28" fmla="*/ 1119641 w 1502600"/>
                <a:gd name="connsiteY28" fmla="*/ 640869 h 2550107"/>
                <a:gd name="connsiteX29" fmla="*/ 1117892 w 1502600"/>
                <a:gd name="connsiteY29" fmla="*/ 640869 h 2550107"/>
                <a:gd name="connsiteX30" fmla="*/ 1116393 w 1502600"/>
                <a:gd name="connsiteY30" fmla="*/ 640245 h 2550107"/>
                <a:gd name="connsiteX31" fmla="*/ 1114893 w 1502600"/>
                <a:gd name="connsiteY31" fmla="*/ 639120 h 2550107"/>
                <a:gd name="connsiteX32" fmla="*/ 1113519 w 1502600"/>
                <a:gd name="connsiteY32" fmla="*/ 637745 h 2550107"/>
                <a:gd name="connsiteX33" fmla="*/ 1113519 w 1502600"/>
                <a:gd name="connsiteY33" fmla="*/ 637121 h 2550107"/>
                <a:gd name="connsiteX34" fmla="*/ 908982 w 1502600"/>
                <a:gd name="connsiteY34" fmla="*/ 312250 h 2550107"/>
                <a:gd name="connsiteX35" fmla="*/ 908982 w 1502600"/>
                <a:gd name="connsiteY35" fmla="*/ 312250 h 2550107"/>
                <a:gd name="connsiteX36" fmla="*/ 908233 w 1502600"/>
                <a:gd name="connsiteY36" fmla="*/ 310251 h 2550107"/>
                <a:gd name="connsiteX37" fmla="*/ 907608 w 1502600"/>
                <a:gd name="connsiteY37" fmla="*/ 308377 h 2550107"/>
                <a:gd name="connsiteX38" fmla="*/ 907608 w 1502600"/>
                <a:gd name="connsiteY38" fmla="*/ 308377 h 2550107"/>
                <a:gd name="connsiteX39" fmla="*/ 859004 w 1502600"/>
                <a:gd name="connsiteY39" fmla="*/ 0 h 2550107"/>
                <a:gd name="connsiteX40" fmla="*/ 0 w 1502600"/>
                <a:gd name="connsiteY40" fmla="*/ 432452 h 2550107"/>
                <a:gd name="connsiteX41" fmla="*/ 65097 w 1502600"/>
                <a:gd name="connsiteY41" fmla="*/ 747452 h 2550107"/>
                <a:gd name="connsiteX42" fmla="*/ 1095277 w 1502600"/>
                <a:gd name="connsiteY42" fmla="*/ 2550108 h 2550107"/>
                <a:gd name="connsiteX43" fmla="*/ 1247836 w 1502600"/>
                <a:gd name="connsiteY43" fmla="*/ 2550108 h 2550107"/>
                <a:gd name="connsiteX44" fmla="*/ 1246087 w 1502600"/>
                <a:gd name="connsiteY44" fmla="*/ 2539487 h 2550107"/>
                <a:gd name="connsiteX45" fmla="*/ 1246087 w 1502600"/>
                <a:gd name="connsiteY45" fmla="*/ 2538738 h 255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02600" h="2550107">
                  <a:moveTo>
                    <a:pt x="1246087" y="2538738"/>
                  </a:moveTo>
                  <a:cubicBezTo>
                    <a:pt x="1246024" y="2537988"/>
                    <a:pt x="1246024" y="2537238"/>
                    <a:pt x="1246087" y="2536489"/>
                  </a:cubicBezTo>
                  <a:cubicBezTo>
                    <a:pt x="1245962" y="2535827"/>
                    <a:pt x="1245962" y="2535152"/>
                    <a:pt x="1246087" y="2534489"/>
                  </a:cubicBezTo>
                  <a:cubicBezTo>
                    <a:pt x="1246349" y="2533790"/>
                    <a:pt x="1246686" y="2533128"/>
                    <a:pt x="1247086" y="2532490"/>
                  </a:cubicBezTo>
                  <a:cubicBezTo>
                    <a:pt x="1247299" y="2531878"/>
                    <a:pt x="1247598" y="2531291"/>
                    <a:pt x="1247961" y="2530741"/>
                  </a:cubicBezTo>
                  <a:lnTo>
                    <a:pt x="1249085" y="2529366"/>
                  </a:lnTo>
                  <a:lnTo>
                    <a:pt x="1250585" y="2527992"/>
                  </a:lnTo>
                  <a:lnTo>
                    <a:pt x="1250585" y="2527992"/>
                  </a:lnTo>
                  <a:lnTo>
                    <a:pt x="1502601" y="2382550"/>
                  </a:lnTo>
                  <a:lnTo>
                    <a:pt x="785786" y="1179530"/>
                  </a:lnTo>
                  <a:lnTo>
                    <a:pt x="785786" y="1179530"/>
                  </a:lnTo>
                  <a:cubicBezTo>
                    <a:pt x="785461" y="1178942"/>
                    <a:pt x="785211" y="1178305"/>
                    <a:pt x="785036" y="1177655"/>
                  </a:cubicBezTo>
                  <a:cubicBezTo>
                    <a:pt x="784748" y="1177006"/>
                    <a:pt x="784499" y="1176331"/>
                    <a:pt x="784286" y="1175656"/>
                  </a:cubicBezTo>
                  <a:lnTo>
                    <a:pt x="784286" y="1175656"/>
                  </a:lnTo>
                  <a:lnTo>
                    <a:pt x="738931" y="911387"/>
                  </a:lnTo>
                  <a:cubicBezTo>
                    <a:pt x="738931" y="911387"/>
                    <a:pt x="738931" y="910762"/>
                    <a:pt x="738931" y="910387"/>
                  </a:cubicBezTo>
                  <a:cubicBezTo>
                    <a:pt x="738806" y="909637"/>
                    <a:pt x="738806" y="908887"/>
                    <a:pt x="738931" y="908138"/>
                  </a:cubicBezTo>
                  <a:cubicBezTo>
                    <a:pt x="738868" y="907513"/>
                    <a:pt x="738868" y="906888"/>
                    <a:pt x="738931" y="906264"/>
                  </a:cubicBezTo>
                  <a:cubicBezTo>
                    <a:pt x="739068" y="905577"/>
                    <a:pt x="739268" y="904902"/>
                    <a:pt x="739555" y="904264"/>
                  </a:cubicBezTo>
                  <a:cubicBezTo>
                    <a:pt x="739843" y="903652"/>
                    <a:pt x="740180" y="903065"/>
                    <a:pt x="740555" y="902515"/>
                  </a:cubicBezTo>
                  <a:cubicBezTo>
                    <a:pt x="740855" y="902003"/>
                    <a:pt x="741230" y="901540"/>
                    <a:pt x="741680" y="901141"/>
                  </a:cubicBezTo>
                  <a:cubicBezTo>
                    <a:pt x="742117" y="900653"/>
                    <a:pt x="742629" y="900241"/>
                    <a:pt x="743179" y="899891"/>
                  </a:cubicBezTo>
                  <a:lnTo>
                    <a:pt x="743179" y="899266"/>
                  </a:lnTo>
                  <a:lnTo>
                    <a:pt x="1236591" y="639245"/>
                  </a:lnTo>
                  <a:lnTo>
                    <a:pt x="1209602" y="595762"/>
                  </a:lnTo>
                  <a:lnTo>
                    <a:pt x="1123765" y="640869"/>
                  </a:lnTo>
                  <a:lnTo>
                    <a:pt x="1123015" y="640869"/>
                  </a:lnTo>
                  <a:cubicBezTo>
                    <a:pt x="1122440" y="640982"/>
                    <a:pt x="1121840" y="640982"/>
                    <a:pt x="1121265" y="640869"/>
                  </a:cubicBezTo>
                  <a:cubicBezTo>
                    <a:pt x="1120728" y="640982"/>
                    <a:pt x="1120179" y="640982"/>
                    <a:pt x="1119641" y="640869"/>
                  </a:cubicBezTo>
                  <a:cubicBezTo>
                    <a:pt x="1119066" y="640982"/>
                    <a:pt x="1118467" y="640982"/>
                    <a:pt x="1117892" y="640869"/>
                  </a:cubicBezTo>
                  <a:lnTo>
                    <a:pt x="1116393" y="640245"/>
                  </a:lnTo>
                  <a:cubicBezTo>
                    <a:pt x="1115818" y="639982"/>
                    <a:pt x="1115306" y="639607"/>
                    <a:pt x="1114893" y="639120"/>
                  </a:cubicBezTo>
                  <a:lnTo>
                    <a:pt x="1113519" y="637745"/>
                  </a:lnTo>
                  <a:lnTo>
                    <a:pt x="1113519" y="637121"/>
                  </a:lnTo>
                  <a:lnTo>
                    <a:pt x="908982" y="312250"/>
                  </a:lnTo>
                  <a:lnTo>
                    <a:pt x="908982" y="312250"/>
                  </a:lnTo>
                  <a:lnTo>
                    <a:pt x="908233" y="310251"/>
                  </a:lnTo>
                  <a:cubicBezTo>
                    <a:pt x="907970" y="309651"/>
                    <a:pt x="907758" y="309014"/>
                    <a:pt x="907608" y="308377"/>
                  </a:cubicBezTo>
                  <a:lnTo>
                    <a:pt x="907608" y="308377"/>
                  </a:lnTo>
                  <a:lnTo>
                    <a:pt x="859004" y="0"/>
                  </a:lnTo>
                  <a:lnTo>
                    <a:pt x="0" y="432452"/>
                  </a:lnTo>
                  <a:lnTo>
                    <a:pt x="65097" y="747452"/>
                  </a:lnTo>
                  <a:lnTo>
                    <a:pt x="1095277" y="2550108"/>
                  </a:lnTo>
                  <a:lnTo>
                    <a:pt x="1247836" y="2550108"/>
                  </a:lnTo>
                  <a:lnTo>
                    <a:pt x="1246087" y="2539487"/>
                  </a:lnTo>
                  <a:cubicBezTo>
                    <a:pt x="1246087" y="2539487"/>
                    <a:pt x="1246211" y="2538988"/>
                    <a:pt x="1246087" y="2538738"/>
                  </a:cubicBezTo>
                  <a:close/>
                </a:path>
              </a:pathLst>
            </a:custGeom>
            <a:solidFill>
              <a:schemeClr val="accent2"/>
            </a:solidFill>
            <a:ln w="12483" cap="flat">
              <a:noFill/>
              <a:prstDash val="solid"/>
              <a:miter/>
            </a:ln>
          </p:spPr>
          <p:txBody>
            <a:bodyPr rtlCol="0" anchor="ctr"/>
            <a:lstStyle/>
            <a:p>
              <a:endParaRPr lang="en-US"/>
            </a:p>
          </p:txBody>
        </p:sp>
        <p:sp>
          <p:nvSpPr>
            <p:cNvPr id="1035" name="Freeform: Shape 1034">
              <a:extLst>
                <a:ext uri="{FF2B5EF4-FFF2-40B4-BE49-F238E27FC236}">
                  <a16:creationId xmlns:a16="http://schemas.microsoft.com/office/drawing/2014/main" id="{68A2AF3B-D0CF-4E2A-B175-DD5C1FFC22BD}"/>
                </a:ext>
              </a:extLst>
            </p:cNvPr>
            <p:cNvSpPr/>
            <p:nvPr/>
          </p:nvSpPr>
          <p:spPr>
            <a:xfrm>
              <a:off x="7305998" y="4725997"/>
              <a:ext cx="110577" cy="213664"/>
            </a:xfrm>
            <a:custGeom>
              <a:avLst/>
              <a:gdLst>
                <a:gd name="connsiteX0" fmla="*/ 30987 w 110577"/>
                <a:gd name="connsiteY0" fmla="*/ 206792 h 213664"/>
                <a:gd name="connsiteX1" fmla="*/ 35235 w 110577"/>
                <a:gd name="connsiteY1" fmla="*/ 213665 h 213664"/>
                <a:gd name="connsiteX2" fmla="*/ 110577 w 110577"/>
                <a:gd name="connsiteY2" fmla="*/ 174180 h 213664"/>
                <a:gd name="connsiteX3" fmla="*/ 0 w 110577"/>
                <a:gd name="connsiteY3" fmla="*/ 0 h 213664"/>
                <a:gd name="connsiteX4" fmla="*/ 30987 w 110577"/>
                <a:gd name="connsiteY4" fmla="*/ 206792 h 21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7" h="213664">
                  <a:moveTo>
                    <a:pt x="30987" y="206792"/>
                  </a:moveTo>
                  <a:lnTo>
                    <a:pt x="35235" y="213665"/>
                  </a:lnTo>
                  <a:lnTo>
                    <a:pt x="110577" y="174180"/>
                  </a:lnTo>
                  <a:lnTo>
                    <a:pt x="0" y="0"/>
                  </a:lnTo>
                  <a:lnTo>
                    <a:pt x="30987" y="206792"/>
                  </a:lnTo>
                  <a:close/>
                </a:path>
              </a:pathLst>
            </a:custGeom>
            <a:solidFill>
              <a:schemeClr val="accent6">
                <a:lumMod val="75000"/>
              </a:schemeClr>
            </a:solidFill>
            <a:ln w="12483" cap="flat">
              <a:noFill/>
              <a:prstDash val="solid"/>
              <a:miter/>
            </a:ln>
          </p:spPr>
          <p:txBody>
            <a:bodyPr rtlCol="0" anchor="ctr"/>
            <a:lstStyle/>
            <a:p>
              <a:endParaRPr lang="en-US"/>
            </a:p>
          </p:txBody>
        </p:sp>
        <p:sp>
          <p:nvSpPr>
            <p:cNvPr id="1036" name="Freeform: Shape 1035">
              <a:extLst>
                <a:ext uri="{FF2B5EF4-FFF2-40B4-BE49-F238E27FC236}">
                  <a16:creationId xmlns:a16="http://schemas.microsoft.com/office/drawing/2014/main" id="{B1135371-C48D-40E0-AF1B-1345F337F1A8}"/>
                </a:ext>
              </a:extLst>
            </p:cNvPr>
            <p:cNvSpPr/>
            <p:nvPr/>
          </p:nvSpPr>
          <p:spPr>
            <a:xfrm>
              <a:off x="8126144" y="5414223"/>
              <a:ext cx="420568" cy="536286"/>
            </a:xfrm>
            <a:custGeom>
              <a:avLst/>
              <a:gdLst>
                <a:gd name="connsiteX0" fmla="*/ 0 w 420568"/>
                <a:gd name="connsiteY0" fmla="*/ 74845 h 536286"/>
                <a:gd name="connsiteX1" fmla="*/ 128819 w 420568"/>
                <a:gd name="connsiteY1" fmla="*/ 273016 h 536286"/>
                <a:gd name="connsiteX2" fmla="*/ 129944 w 420568"/>
                <a:gd name="connsiteY2" fmla="*/ 273016 h 536286"/>
                <a:gd name="connsiteX3" fmla="*/ 129944 w 420568"/>
                <a:gd name="connsiteY3" fmla="*/ 273016 h 536286"/>
                <a:gd name="connsiteX4" fmla="*/ 131818 w 420568"/>
                <a:gd name="connsiteY4" fmla="*/ 273016 h 536286"/>
                <a:gd name="connsiteX5" fmla="*/ 133318 w 420568"/>
                <a:gd name="connsiteY5" fmla="*/ 273016 h 536286"/>
                <a:gd name="connsiteX6" fmla="*/ 134942 w 420568"/>
                <a:gd name="connsiteY6" fmla="*/ 273891 h 536286"/>
                <a:gd name="connsiteX7" fmla="*/ 137441 w 420568"/>
                <a:gd name="connsiteY7" fmla="*/ 276390 h 536286"/>
                <a:gd name="connsiteX8" fmla="*/ 138565 w 420568"/>
                <a:gd name="connsiteY8" fmla="*/ 278264 h 536286"/>
                <a:gd name="connsiteX9" fmla="*/ 138565 w 420568"/>
                <a:gd name="connsiteY9" fmla="*/ 278264 h 536286"/>
                <a:gd name="connsiteX10" fmla="*/ 138565 w 420568"/>
                <a:gd name="connsiteY10" fmla="*/ 279888 h 536286"/>
                <a:gd name="connsiteX11" fmla="*/ 138565 w 420568"/>
                <a:gd name="connsiteY11" fmla="*/ 281513 h 536286"/>
                <a:gd name="connsiteX12" fmla="*/ 157432 w 420568"/>
                <a:gd name="connsiteY12" fmla="*/ 459567 h 536286"/>
                <a:gd name="connsiteX13" fmla="*/ 209410 w 420568"/>
                <a:gd name="connsiteY13" fmla="*/ 430328 h 536286"/>
                <a:gd name="connsiteX14" fmla="*/ 210159 w 420568"/>
                <a:gd name="connsiteY14" fmla="*/ 430328 h 536286"/>
                <a:gd name="connsiteX15" fmla="*/ 212033 w 420568"/>
                <a:gd name="connsiteY15" fmla="*/ 430328 h 536286"/>
                <a:gd name="connsiteX16" fmla="*/ 213658 w 420568"/>
                <a:gd name="connsiteY16" fmla="*/ 430328 h 536286"/>
                <a:gd name="connsiteX17" fmla="*/ 215282 w 420568"/>
                <a:gd name="connsiteY17" fmla="*/ 430328 h 536286"/>
                <a:gd name="connsiteX18" fmla="*/ 216906 w 420568"/>
                <a:gd name="connsiteY18" fmla="*/ 430953 h 536286"/>
                <a:gd name="connsiteX19" fmla="*/ 218406 w 420568"/>
                <a:gd name="connsiteY19" fmla="*/ 431953 h 536286"/>
                <a:gd name="connsiteX20" fmla="*/ 219780 w 420568"/>
                <a:gd name="connsiteY20" fmla="*/ 433452 h 536286"/>
                <a:gd name="connsiteX21" fmla="*/ 219780 w 420568"/>
                <a:gd name="connsiteY21" fmla="*/ 434077 h 536286"/>
                <a:gd name="connsiteX22" fmla="*/ 286251 w 420568"/>
                <a:gd name="connsiteY22" fmla="*/ 536286 h 536286"/>
                <a:gd name="connsiteX23" fmla="*/ 286251 w 420568"/>
                <a:gd name="connsiteY23" fmla="*/ 536286 h 536286"/>
                <a:gd name="connsiteX24" fmla="*/ 420568 w 420568"/>
                <a:gd name="connsiteY24" fmla="*/ 460067 h 536286"/>
                <a:gd name="connsiteX25" fmla="*/ 420568 w 420568"/>
                <a:gd name="connsiteY25" fmla="*/ 458442 h 536286"/>
                <a:gd name="connsiteX26" fmla="*/ 419694 w 420568"/>
                <a:gd name="connsiteY26" fmla="*/ 448696 h 536286"/>
                <a:gd name="connsiteX27" fmla="*/ 418069 w 420568"/>
                <a:gd name="connsiteY27" fmla="*/ 431703 h 536286"/>
                <a:gd name="connsiteX28" fmla="*/ 133318 w 420568"/>
                <a:gd name="connsiteY28" fmla="*/ 0 h 536286"/>
                <a:gd name="connsiteX29" fmla="*/ 133318 w 420568"/>
                <a:gd name="connsiteY29" fmla="*/ 0 h 5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568" h="536286">
                  <a:moveTo>
                    <a:pt x="0" y="74845"/>
                  </a:moveTo>
                  <a:lnTo>
                    <a:pt x="128819" y="273016"/>
                  </a:lnTo>
                  <a:lnTo>
                    <a:pt x="129944" y="273016"/>
                  </a:lnTo>
                  <a:cubicBezTo>
                    <a:pt x="129944" y="273016"/>
                    <a:pt x="129944" y="273016"/>
                    <a:pt x="129944" y="273016"/>
                  </a:cubicBezTo>
                  <a:cubicBezTo>
                    <a:pt x="130569" y="272891"/>
                    <a:pt x="131193" y="272891"/>
                    <a:pt x="131818" y="273016"/>
                  </a:cubicBezTo>
                  <a:lnTo>
                    <a:pt x="133318" y="273016"/>
                  </a:lnTo>
                  <a:cubicBezTo>
                    <a:pt x="133892" y="273229"/>
                    <a:pt x="134442" y="273528"/>
                    <a:pt x="134942" y="273891"/>
                  </a:cubicBezTo>
                  <a:cubicBezTo>
                    <a:pt x="135929" y="274553"/>
                    <a:pt x="136778" y="275403"/>
                    <a:pt x="137441" y="276390"/>
                  </a:cubicBezTo>
                  <a:lnTo>
                    <a:pt x="138565" y="278264"/>
                  </a:lnTo>
                  <a:lnTo>
                    <a:pt x="138565" y="278264"/>
                  </a:lnTo>
                  <a:cubicBezTo>
                    <a:pt x="138565" y="278264"/>
                    <a:pt x="138565" y="279388"/>
                    <a:pt x="138565" y="279888"/>
                  </a:cubicBezTo>
                  <a:cubicBezTo>
                    <a:pt x="138565" y="280388"/>
                    <a:pt x="138565" y="280888"/>
                    <a:pt x="138565" y="281513"/>
                  </a:cubicBezTo>
                  <a:lnTo>
                    <a:pt x="157432" y="459567"/>
                  </a:lnTo>
                  <a:lnTo>
                    <a:pt x="209410" y="430328"/>
                  </a:lnTo>
                  <a:cubicBezTo>
                    <a:pt x="209410" y="430328"/>
                    <a:pt x="209410" y="430328"/>
                    <a:pt x="210159" y="430328"/>
                  </a:cubicBezTo>
                  <a:cubicBezTo>
                    <a:pt x="210784" y="430216"/>
                    <a:pt x="211409" y="430216"/>
                    <a:pt x="212033" y="430328"/>
                  </a:cubicBezTo>
                  <a:lnTo>
                    <a:pt x="213658" y="430328"/>
                  </a:lnTo>
                  <a:lnTo>
                    <a:pt x="215282" y="430328"/>
                  </a:lnTo>
                  <a:lnTo>
                    <a:pt x="216906" y="430953"/>
                  </a:lnTo>
                  <a:lnTo>
                    <a:pt x="218406" y="431953"/>
                  </a:lnTo>
                  <a:lnTo>
                    <a:pt x="219780" y="433452"/>
                  </a:lnTo>
                  <a:lnTo>
                    <a:pt x="219780" y="434077"/>
                  </a:lnTo>
                  <a:lnTo>
                    <a:pt x="286251" y="536286"/>
                  </a:lnTo>
                  <a:lnTo>
                    <a:pt x="286251" y="536286"/>
                  </a:lnTo>
                  <a:lnTo>
                    <a:pt x="420568" y="460067"/>
                  </a:lnTo>
                  <a:cubicBezTo>
                    <a:pt x="420506" y="459529"/>
                    <a:pt x="420506" y="458980"/>
                    <a:pt x="420568" y="458442"/>
                  </a:cubicBezTo>
                  <a:lnTo>
                    <a:pt x="419694" y="448696"/>
                  </a:lnTo>
                  <a:lnTo>
                    <a:pt x="418069" y="431703"/>
                  </a:lnTo>
                  <a:lnTo>
                    <a:pt x="133318" y="0"/>
                  </a:lnTo>
                  <a:lnTo>
                    <a:pt x="133318" y="0"/>
                  </a:lnTo>
                  <a:close/>
                </a:path>
              </a:pathLst>
            </a:custGeom>
            <a:solidFill>
              <a:schemeClr val="accent5">
                <a:lumMod val="75000"/>
              </a:schemeClr>
            </a:solidFill>
            <a:ln w="12483"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9697EE5B-A76B-40C8-BFDF-8CD2521CE026}"/>
                </a:ext>
              </a:extLst>
            </p:cNvPr>
            <p:cNvSpPr/>
            <p:nvPr/>
          </p:nvSpPr>
          <p:spPr>
            <a:xfrm>
              <a:off x="7523155" y="4048267"/>
              <a:ext cx="1024307" cy="1797533"/>
            </a:xfrm>
            <a:custGeom>
              <a:avLst/>
              <a:gdLst>
                <a:gd name="connsiteX0" fmla="*/ 372839 w 1024307"/>
                <a:gd name="connsiteY0" fmla="*/ 894643 h 1797533"/>
                <a:gd name="connsiteX1" fmla="*/ 415321 w 1024307"/>
                <a:gd name="connsiteY1" fmla="*/ 872027 h 1797533"/>
                <a:gd name="connsiteX2" fmla="*/ 426903 w 1024307"/>
                <a:gd name="connsiteY2" fmla="*/ 875238 h 1797533"/>
                <a:gd name="connsiteX3" fmla="*/ 427815 w 1024307"/>
                <a:gd name="connsiteY3" fmla="*/ 877650 h 1797533"/>
                <a:gd name="connsiteX4" fmla="*/ 425066 w 1024307"/>
                <a:gd name="connsiteY4" fmla="*/ 890145 h 1797533"/>
                <a:gd name="connsiteX5" fmla="*/ 737431 w 1024307"/>
                <a:gd name="connsiteY5" fmla="*/ 1362707 h 1797533"/>
                <a:gd name="connsiteX6" fmla="*/ 737431 w 1024307"/>
                <a:gd name="connsiteY6" fmla="*/ 1362707 h 1797533"/>
                <a:gd name="connsiteX7" fmla="*/ 739555 w 1024307"/>
                <a:gd name="connsiteY7" fmla="*/ 1363706 h 1797533"/>
                <a:gd name="connsiteX8" fmla="*/ 739555 w 1024307"/>
                <a:gd name="connsiteY8" fmla="*/ 1365830 h 1797533"/>
                <a:gd name="connsiteX9" fmla="*/ 1024307 w 1024307"/>
                <a:gd name="connsiteY9" fmla="*/ 1797533 h 1797533"/>
                <a:gd name="connsiteX10" fmla="*/ 997444 w 1024307"/>
                <a:gd name="connsiteY10" fmla="*/ 1501152 h 1797533"/>
                <a:gd name="connsiteX11" fmla="*/ 997444 w 1024307"/>
                <a:gd name="connsiteY11" fmla="*/ 1501152 h 1797533"/>
                <a:gd name="connsiteX12" fmla="*/ 997444 w 1024307"/>
                <a:gd name="connsiteY12" fmla="*/ 1497528 h 1797533"/>
                <a:gd name="connsiteX13" fmla="*/ 997444 w 1024307"/>
                <a:gd name="connsiteY13" fmla="*/ 1495779 h 1797533"/>
                <a:gd name="connsiteX14" fmla="*/ 997444 w 1024307"/>
                <a:gd name="connsiteY14" fmla="*/ 1494529 h 1797533"/>
                <a:gd name="connsiteX15" fmla="*/ 997444 w 1024307"/>
                <a:gd name="connsiteY15" fmla="*/ 1493529 h 1797533"/>
                <a:gd name="connsiteX16" fmla="*/ 998194 w 1024307"/>
                <a:gd name="connsiteY16" fmla="*/ 1492030 h 1797533"/>
                <a:gd name="connsiteX17" fmla="*/ 998194 w 1024307"/>
                <a:gd name="connsiteY17" fmla="*/ 1492030 h 1797533"/>
                <a:gd name="connsiteX18" fmla="*/ 0 w 1024307"/>
                <a:gd name="connsiteY18" fmla="*/ 0 h 1797533"/>
                <a:gd name="connsiteX19" fmla="*/ 55351 w 1024307"/>
                <a:gd name="connsiteY19" fmla="*/ 412961 h 1797533"/>
                <a:gd name="connsiteX20" fmla="*/ 372214 w 1024307"/>
                <a:gd name="connsiteY20" fmla="*/ 895393 h 179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307" h="1797533">
                  <a:moveTo>
                    <a:pt x="372839" y="894643"/>
                  </a:moveTo>
                  <a:lnTo>
                    <a:pt x="415321" y="872027"/>
                  </a:lnTo>
                  <a:cubicBezTo>
                    <a:pt x="419406" y="869716"/>
                    <a:pt x="424591" y="871153"/>
                    <a:pt x="426903" y="875238"/>
                  </a:cubicBezTo>
                  <a:cubicBezTo>
                    <a:pt x="427328" y="875988"/>
                    <a:pt x="427640" y="876800"/>
                    <a:pt x="427815" y="877650"/>
                  </a:cubicBezTo>
                  <a:cubicBezTo>
                    <a:pt x="429265" y="881998"/>
                    <a:pt x="428202" y="886797"/>
                    <a:pt x="425066" y="890145"/>
                  </a:cubicBezTo>
                  <a:lnTo>
                    <a:pt x="737431" y="1362707"/>
                  </a:lnTo>
                  <a:lnTo>
                    <a:pt x="737431" y="1362707"/>
                  </a:lnTo>
                  <a:cubicBezTo>
                    <a:pt x="738306" y="1362707"/>
                    <a:pt x="739181" y="1362707"/>
                    <a:pt x="739555" y="1363706"/>
                  </a:cubicBezTo>
                  <a:cubicBezTo>
                    <a:pt x="740030" y="1364331"/>
                    <a:pt x="740030" y="1365206"/>
                    <a:pt x="739555" y="1365830"/>
                  </a:cubicBezTo>
                  <a:lnTo>
                    <a:pt x="1024307" y="1797533"/>
                  </a:lnTo>
                  <a:lnTo>
                    <a:pt x="997444" y="1501152"/>
                  </a:lnTo>
                  <a:lnTo>
                    <a:pt x="997444" y="1501152"/>
                  </a:lnTo>
                  <a:lnTo>
                    <a:pt x="997444" y="1497528"/>
                  </a:lnTo>
                  <a:cubicBezTo>
                    <a:pt x="997382" y="1496941"/>
                    <a:pt x="997382" y="1496366"/>
                    <a:pt x="997444" y="1495779"/>
                  </a:cubicBezTo>
                  <a:cubicBezTo>
                    <a:pt x="997382" y="1495366"/>
                    <a:pt x="997382" y="1494942"/>
                    <a:pt x="997444" y="1494529"/>
                  </a:cubicBezTo>
                  <a:lnTo>
                    <a:pt x="997444" y="1493529"/>
                  </a:lnTo>
                  <a:lnTo>
                    <a:pt x="998194" y="1492030"/>
                  </a:lnTo>
                  <a:lnTo>
                    <a:pt x="998194" y="1492030"/>
                  </a:lnTo>
                  <a:lnTo>
                    <a:pt x="0" y="0"/>
                  </a:lnTo>
                  <a:lnTo>
                    <a:pt x="55351" y="412961"/>
                  </a:lnTo>
                  <a:lnTo>
                    <a:pt x="372214" y="895393"/>
                  </a:lnTo>
                  <a:close/>
                </a:path>
              </a:pathLst>
            </a:custGeom>
            <a:solidFill>
              <a:schemeClr val="accent1"/>
            </a:solidFill>
            <a:ln w="12483"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FF3FD335-8DB5-4909-91F8-C411B2C42262}"/>
                </a:ext>
              </a:extLst>
            </p:cNvPr>
            <p:cNvSpPr/>
            <p:nvPr/>
          </p:nvSpPr>
          <p:spPr>
            <a:xfrm>
              <a:off x="7814904" y="4937538"/>
              <a:ext cx="444183" cy="547531"/>
            </a:xfrm>
            <a:custGeom>
              <a:avLst/>
              <a:gdLst>
                <a:gd name="connsiteX0" fmla="*/ 88337 w 444183"/>
                <a:gd name="connsiteY0" fmla="*/ 25615 h 547531"/>
                <a:gd name="connsiteX1" fmla="*/ 21866 w 444183"/>
                <a:gd name="connsiteY1" fmla="*/ 61100 h 547531"/>
                <a:gd name="connsiteX2" fmla="*/ 0 w 444183"/>
                <a:gd name="connsiteY2" fmla="*/ 72721 h 547531"/>
                <a:gd name="connsiteX3" fmla="*/ 308867 w 444183"/>
                <a:gd name="connsiteY3" fmla="*/ 547532 h 547531"/>
                <a:gd name="connsiteX4" fmla="*/ 308867 w 444183"/>
                <a:gd name="connsiteY4" fmla="*/ 547532 h 547531"/>
                <a:gd name="connsiteX5" fmla="*/ 444183 w 444183"/>
                <a:gd name="connsiteY5" fmla="*/ 472562 h 547531"/>
                <a:gd name="connsiteX6" fmla="*/ 131818 w 444183"/>
                <a:gd name="connsiteY6" fmla="*/ 0 h 547531"/>
                <a:gd name="connsiteX7" fmla="*/ 129944 w 444183"/>
                <a:gd name="connsiteY7" fmla="*/ 1624 h 54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183" h="547531">
                  <a:moveTo>
                    <a:pt x="88337" y="25615"/>
                  </a:moveTo>
                  <a:lnTo>
                    <a:pt x="21866" y="61100"/>
                  </a:lnTo>
                  <a:lnTo>
                    <a:pt x="0" y="72721"/>
                  </a:lnTo>
                  <a:lnTo>
                    <a:pt x="308867" y="547532"/>
                  </a:lnTo>
                  <a:lnTo>
                    <a:pt x="308867" y="547532"/>
                  </a:lnTo>
                  <a:lnTo>
                    <a:pt x="444183" y="472562"/>
                  </a:lnTo>
                  <a:lnTo>
                    <a:pt x="131818" y="0"/>
                  </a:lnTo>
                  <a:cubicBezTo>
                    <a:pt x="131281" y="637"/>
                    <a:pt x="130656" y="1187"/>
                    <a:pt x="129944" y="1624"/>
                  </a:cubicBezTo>
                  <a:close/>
                </a:path>
              </a:pathLst>
            </a:custGeom>
            <a:solidFill>
              <a:schemeClr val="accent6"/>
            </a:solidFill>
            <a:ln w="12483"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3D7C1652-2B69-4154-9A5F-8FE82415BA63}"/>
                </a:ext>
              </a:extLst>
            </p:cNvPr>
            <p:cNvSpPr/>
            <p:nvPr/>
          </p:nvSpPr>
          <p:spPr>
            <a:xfrm>
              <a:off x="7145568" y="2343947"/>
              <a:ext cx="451055" cy="2279341"/>
            </a:xfrm>
            <a:custGeom>
              <a:avLst/>
              <a:gdLst>
                <a:gd name="connsiteX0" fmla="*/ 179422 w 451055"/>
                <a:gd name="connsiteY0" fmla="*/ 1272243 h 2279341"/>
                <a:gd name="connsiteX1" fmla="*/ 283253 w 451055"/>
                <a:gd name="connsiteY1" fmla="*/ 2007450 h 2279341"/>
                <a:gd name="connsiteX2" fmla="*/ 342727 w 451055"/>
                <a:gd name="connsiteY2" fmla="*/ 2098663 h 2279341"/>
                <a:gd name="connsiteX3" fmla="*/ 419069 w 451055"/>
                <a:gd name="connsiteY3" fmla="*/ 2215617 h 2279341"/>
                <a:gd name="connsiteX4" fmla="*/ 419069 w 451055"/>
                <a:gd name="connsiteY4" fmla="*/ 2216866 h 2279341"/>
                <a:gd name="connsiteX5" fmla="*/ 419694 w 451055"/>
                <a:gd name="connsiteY5" fmla="*/ 2217991 h 2279341"/>
                <a:gd name="connsiteX6" fmla="*/ 419694 w 451055"/>
                <a:gd name="connsiteY6" fmla="*/ 2218740 h 2279341"/>
                <a:gd name="connsiteX7" fmla="*/ 419694 w 451055"/>
                <a:gd name="connsiteY7" fmla="*/ 2220864 h 2279341"/>
                <a:gd name="connsiteX8" fmla="*/ 419694 w 451055"/>
                <a:gd name="connsiteY8" fmla="*/ 2222864 h 2279341"/>
                <a:gd name="connsiteX9" fmla="*/ 419694 w 451055"/>
                <a:gd name="connsiteY9" fmla="*/ 2224863 h 2279341"/>
                <a:gd name="connsiteX10" fmla="*/ 419069 w 451055"/>
                <a:gd name="connsiteY10" fmla="*/ 2226862 h 2279341"/>
                <a:gd name="connsiteX11" fmla="*/ 418194 w 451055"/>
                <a:gd name="connsiteY11" fmla="*/ 2228487 h 2279341"/>
                <a:gd name="connsiteX12" fmla="*/ 418194 w 451055"/>
                <a:gd name="connsiteY12" fmla="*/ 2229361 h 2279341"/>
                <a:gd name="connsiteX13" fmla="*/ 451055 w 451055"/>
                <a:gd name="connsiteY13" fmla="*/ 2279341 h 2279341"/>
                <a:gd name="connsiteX14" fmla="*/ 429440 w 451055"/>
                <a:gd name="connsiteY14" fmla="*/ 2118031 h 2279341"/>
                <a:gd name="connsiteX15" fmla="*/ 373214 w 451055"/>
                <a:gd name="connsiteY15" fmla="*/ 1697323 h 2279341"/>
                <a:gd name="connsiteX16" fmla="*/ 180047 w 451055"/>
                <a:gd name="connsiteY16" fmla="*/ 253024 h 2279341"/>
                <a:gd name="connsiteX17" fmla="*/ 0 w 451055"/>
                <a:gd name="connsiteY17" fmla="*/ 0 h 2279341"/>
                <a:gd name="connsiteX18" fmla="*/ 49978 w 451055"/>
                <a:gd name="connsiteY18" fmla="*/ 349861 h 2279341"/>
                <a:gd name="connsiteX19" fmla="*/ 69345 w 451055"/>
                <a:gd name="connsiteY19" fmla="*/ 487306 h 227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1055" h="2279341">
                  <a:moveTo>
                    <a:pt x="179422" y="1272243"/>
                  </a:moveTo>
                  <a:lnTo>
                    <a:pt x="283253" y="2007450"/>
                  </a:lnTo>
                  <a:lnTo>
                    <a:pt x="342727" y="2098663"/>
                  </a:lnTo>
                  <a:lnTo>
                    <a:pt x="419069" y="2215617"/>
                  </a:lnTo>
                  <a:cubicBezTo>
                    <a:pt x="419094" y="2216029"/>
                    <a:pt x="419094" y="2216454"/>
                    <a:pt x="419069" y="2216866"/>
                  </a:cubicBezTo>
                  <a:cubicBezTo>
                    <a:pt x="419069" y="2216866"/>
                    <a:pt x="419069" y="2217491"/>
                    <a:pt x="419694" y="2217991"/>
                  </a:cubicBezTo>
                  <a:cubicBezTo>
                    <a:pt x="419756" y="2218241"/>
                    <a:pt x="419756" y="2218490"/>
                    <a:pt x="419694" y="2218740"/>
                  </a:cubicBezTo>
                  <a:cubicBezTo>
                    <a:pt x="419756" y="2219453"/>
                    <a:pt x="419756" y="2220153"/>
                    <a:pt x="419694" y="2220864"/>
                  </a:cubicBezTo>
                  <a:cubicBezTo>
                    <a:pt x="419756" y="2221527"/>
                    <a:pt x="419756" y="2222201"/>
                    <a:pt x="419694" y="2222864"/>
                  </a:cubicBezTo>
                  <a:cubicBezTo>
                    <a:pt x="419756" y="2223526"/>
                    <a:pt x="419756" y="2224201"/>
                    <a:pt x="419694" y="2224863"/>
                  </a:cubicBezTo>
                  <a:cubicBezTo>
                    <a:pt x="419694" y="2225488"/>
                    <a:pt x="419694" y="2226238"/>
                    <a:pt x="419069" y="2226862"/>
                  </a:cubicBezTo>
                  <a:cubicBezTo>
                    <a:pt x="418857" y="2227437"/>
                    <a:pt x="418557" y="2227987"/>
                    <a:pt x="418194" y="2228487"/>
                  </a:cubicBezTo>
                  <a:cubicBezTo>
                    <a:pt x="418257" y="2228774"/>
                    <a:pt x="418257" y="2229074"/>
                    <a:pt x="418194" y="2229361"/>
                  </a:cubicBezTo>
                  <a:lnTo>
                    <a:pt x="451055" y="2279341"/>
                  </a:lnTo>
                  <a:lnTo>
                    <a:pt x="429440" y="2118031"/>
                  </a:lnTo>
                  <a:lnTo>
                    <a:pt x="373214" y="1697323"/>
                  </a:lnTo>
                  <a:lnTo>
                    <a:pt x="180047" y="253024"/>
                  </a:lnTo>
                  <a:lnTo>
                    <a:pt x="0" y="0"/>
                  </a:lnTo>
                  <a:lnTo>
                    <a:pt x="49978" y="349861"/>
                  </a:lnTo>
                  <a:lnTo>
                    <a:pt x="69345" y="487306"/>
                  </a:lnTo>
                  <a:close/>
                </a:path>
              </a:pathLst>
            </a:custGeom>
            <a:solidFill>
              <a:schemeClr val="tx2"/>
            </a:solidFill>
            <a:ln w="12483"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6FC17CED-D88A-476D-A41B-CAB662B860F9}"/>
                </a:ext>
              </a:extLst>
            </p:cNvPr>
            <p:cNvSpPr/>
            <p:nvPr/>
          </p:nvSpPr>
          <p:spPr>
            <a:xfrm>
              <a:off x="7539772" y="4575682"/>
              <a:ext cx="186044" cy="263895"/>
            </a:xfrm>
            <a:custGeom>
              <a:avLst/>
              <a:gdLst>
                <a:gd name="connsiteX0" fmla="*/ 0 w 186044"/>
                <a:gd name="connsiteY0" fmla="*/ 11496 h 263895"/>
                <a:gd name="connsiteX1" fmla="*/ 163679 w 186044"/>
                <a:gd name="connsiteY1" fmla="*/ 263270 h 263895"/>
                <a:gd name="connsiteX2" fmla="*/ 163679 w 186044"/>
                <a:gd name="connsiteY2" fmla="*/ 263895 h 263895"/>
                <a:gd name="connsiteX3" fmla="*/ 186045 w 186044"/>
                <a:gd name="connsiteY3" fmla="*/ 252150 h 263895"/>
                <a:gd name="connsiteX4" fmla="*/ 58225 w 186044"/>
                <a:gd name="connsiteY4" fmla="*/ 56228 h 263895"/>
                <a:gd name="connsiteX5" fmla="*/ 21491 w 186044"/>
                <a:gd name="connsiteY5" fmla="*/ 0 h 263895"/>
                <a:gd name="connsiteX6" fmla="*/ 20866 w 186044"/>
                <a:gd name="connsiteY6" fmla="*/ 0 h 26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044" h="263895">
                  <a:moveTo>
                    <a:pt x="0" y="11496"/>
                  </a:moveTo>
                  <a:lnTo>
                    <a:pt x="163679" y="263270"/>
                  </a:lnTo>
                  <a:lnTo>
                    <a:pt x="163679" y="263895"/>
                  </a:lnTo>
                  <a:lnTo>
                    <a:pt x="186045" y="252150"/>
                  </a:lnTo>
                  <a:lnTo>
                    <a:pt x="58225" y="56228"/>
                  </a:lnTo>
                  <a:lnTo>
                    <a:pt x="21491" y="0"/>
                  </a:lnTo>
                  <a:lnTo>
                    <a:pt x="20866" y="0"/>
                  </a:lnTo>
                  <a:close/>
                </a:path>
              </a:pathLst>
            </a:custGeom>
            <a:solidFill>
              <a:srgbClr val="66B2B0"/>
            </a:solidFill>
            <a:ln w="12483"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ED33C828-71CB-48A4-9024-3C2DCADE712A}"/>
                </a:ext>
              </a:extLst>
            </p:cNvPr>
            <p:cNvSpPr/>
            <p:nvPr/>
          </p:nvSpPr>
          <p:spPr>
            <a:xfrm>
              <a:off x="7458932" y="4455230"/>
              <a:ext cx="84338" cy="114329"/>
            </a:xfrm>
            <a:custGeom>
              <a:avLst/>
              <a:gdLst>
                <a:gd name="connsiteX0" fmla="*/ 69345 w 84338"/>
                <a:gd name="connsiteY0" fmla="*/ 114329 h 114329"/>
                <a:gd name="connsiteX1" fmla="*/ 84339 w 84338"/>
                <a:gd name="connsiteY1" fmla="*/ 106582 h 114329"/>
                <a:gd name="connsiteX2" fmla="*/ 15243 w 84338"/>
                <a:gd name="connsiteY2" fmla="*/ 750 h 114329"/>
                <a:gd name="connsiteX3" fmla="*/ 14744 w 84338"/>
                <a:gd name="connsiteY3" fmla="*/ 0 h 114329"/>
                <a:gd name="connsiteX4" fmla="*/ 0 w 84338"/>
                <a:gd name="connsiteY4" fmla="*/ 7622 h 114329"/>
                <a:gd name="connsiteX5" fmla="*/ 69345 w 84338"/>
                <a:gd name="connsiteY5" fmla="*/ 114329 h 11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38" h="114329">
                  <a:moveTo>
                    <a:pt x="69345" y="114329"/>
                  </a:moveTo>
                  <a:lnTo>
                    <a:pt x="84339" y="106582"/>
                  </a:lnTo>
                  <a:lnTo>
                    <a:pt x="15243" y="750"/>
                  </a:lnTo>
                  <a:lnTo>
                    <a:pt x="14744" y="0"/>
                  </a:lnTo>
                  <a:lnTo>
                    <a:pt x="0" y="7622"/>
                  </a:lnTo>
                  <a:lnTo>
                    <a:pt x="69345" y="114329"/>
                  </a:lnTo>
                  <a:close/>
                </a:path>
              </a:pathLst>
            </a:custGeom>
            <a:solidFill>
              <a:srgbClr val="F26544"/>
            </a:solidFill>
            <a:ln w="12483"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98CC4452-02B2-418F-9DEF-552B02E57354}"/>
                </a:ext>
              </a:extLst>
            </p:cNvPr>
            <p:cNvSpPr/>
            <p:nvPr/>
          </p:nvSpPr>
          <p:spPr>
            <a:xfrm>
              <a:off x="7014000" y="3634058"/>
              <a:ext cx="457177" cy="825670"/>
            </a:xfrm>
            <a:custGeom>
              <a:avLst/>
              <a:gdLst>
                <a:gd name="connsiteX0" fmla="*/ 442434 w 457177"/>
                <a:gd name="connsiteY0" fmla="*/ 824921 h 825670"/>
                <a:gd name="connsiteX1" fmla="*/ 442434 w 457177"/>
                <a:gd name="connsiteY1" fmla="*/ 825671 h 825670"/>
                <a:gd name="connsiteX2" fmla="*/ 457177 w 457177"/>
                <a:gd name="connsiteY2" fmla="*/ 818049 h 825670"/>
                <a:gd name="connsiteX3" fmla="*/ 398828 w 457177"/>
                <a:gd name="connsiteY3" fmla="*/ 728584 h 825670"/>
                <a:gd name="connsiteX4" fmla="*/ 398828 w 457177"/>
                <a:gd name="connsiteY4" fmla="*/ 728584 h 825670"/>
                <a:gd name="connsiteX5" fmla="*/ 397953 w 457177"/>
                <a:gd name="connsiteY5" fmla="*/ 726585 h 825670"/>
                <a:gd name="connsiteX6" fmla="*/ 397953 w 457177"/>
                <a:gd name="connsiteY6" fmla="*/ 724711 h 825670"/>
                <a:gd name="connsiteX7" fmla="*/ 397953 w 457177"/>
                <a:gd name="connsiteY7" fmla="*/ 724711 h 825670"/>
                <a:gd name="connsiteX8" fmla="*/ 295747 w 457177"/>
                <a:gd name="connsiteY8" fmla="*/ 0 h 825670"/>
                <a:gd name="connsiteX9" fmla="*/ 0 w 457177"/>
                <a:gd name="connsiteY9" fmla="*/ 144692 h 82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77" h="825670">
                  <a:moveTo>
                    <a:pt x="442434" y="824921"/>
                  </a:moveTo>
                  <a:lnTo>
                    <a:pt x="442434" y="825671"/>
                  </a:lnTo>
                  <a:lnTo>
                    <a:pt x="457177" y="818049"/>
                  </a:lnTo>
                  <a:lnTo>
                    <a:pt x="398828" y="728584"/>
                  </a:lnTo>
                  <a:cubicBezTo>
                    <a:pt x="398828" y="728584"/>
                    <a:pt x="398828" y="728584"/>
                    <a:pt x="398828" y="728584"/>
                  </a:cubicBezTo>
                  <a:cubicBezTo>
                    <a:pt x="398478" y="727947"/>
                    <a:pt x="398190" y="727272"/>
                    <a:pt x="397953" y="726585"/>
                  </a:cubicBezTo>
                  <a:cubicBezTo>
                    <a:pt x="397903" y="725961"/>
                    <a:pt x="397903" y="725336"/>
                    <a:pt x="397953" y="724711"/>
                  </a:cubicBezTo>
                  <a:cubicBezTo>
                    <a:pt x="397953" y="724711"/>
                    <a:pt x="397953" y="724711"/>
                    <a:pt x="397953" y="724711"/>
                  </a:cubicBezTo>
                  <a:lnTo>
                    <a:pt x="295747" y="0"/>
                  </a:lnTo>
                  <a:lnTo>
                    <a:pt x="0" y="144692"/>
                  </a:lnTo>
                  <a:close/>
                </a:path>
              </a:pathLst>
            </a:custGeom>
            <a:solidFill>
              <a:schemeClr val="accent4"/>
            </a:solidFill>
            <a:ln w="12483"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C71C7A02-F77E-4B67-9525-C93ABA17930E}"/>
                </a:ext>
              </a:extLst>
            </p:cNvPr>
            <p:cNvSpPr/>
            <p:nvPr/>
          </p:nvSpPr>
          <p:spPr>
            <a:xfrm>
              <a:off x="5732678" y="2839874"/>
              <a:ext cx="1571321" cy="1910988"/>
            </a:xfrm>
            <a:custGeom>
              <a:avLst/>
              <a:gdLst>
                <a:gd name="connsiteX0" fmla="*/ 1257332 w 1571321"/>
                <a:gd name="connsiteY0" fmla="*/ 934252 h 1910988"/>
                <a:gd name="connsiteX1" fmla="*/ 1257332 w 1571321"/>
                <a:gd name="connsiteY1" fmla="*/ 932503 h 1910988"/>
                <a:gd name="connsiteX2" fmla="*/ 1257332 w 1571321"/>
                <a:gd name="connsiteY2" fmla="*/ 931503 h 1910988"/>
                <a:gd name="connsiteX3" fmla="*/ 1257332 w 1571321"/>
                <a:gd name="connsiteY3" fmla="*/ 930004 h 1910988"/>
                <a:gd name="connsiteX4" fmla="*/ 1257332 w 1571321"/>
                <a:gd name="connsiteY4" fmla="*/ 928505 h 1910988"/>
                <a:gd name="connsiteX5" fmla="*/ 1257332 w 1571321"/>
                <a:gd name="connsiteY5" fmla="*/ 927630 h 1910988"/>
                <a:gd name="connsiteX6" fmla="*/ 1258081 w 1571321"/>
                <a:gd name="connsiteY6" fmla="*/ 926506 h 1910988"/>
                <a:gd name="connsiteX7" fmla="*/ 1259081 w 1571321"/>
                <a:gd name="connsiteY7" fmla="*/ 925256 h 1910988"/>
                <a:gd name="connsiteX8" fmla="*/ 1259081 w 1571321"/>
                <a:gd name="connsiteY8" fmla="*/ 925256 h 1910988"/>
                <a:gd name="connsiteX9" fmla="*/ 1259081 w 1571321"/>
                <a:gd name="connsiteY9" fmla="*/ 925256 h 1910988"/>
                <a:gd name="connsiteX10" fmla="*/ 1260081 w 1571321"/>
                <a:gd name="connsiteY10" fmla="*/ 924631 h 1910988"/>
                <a:gd name="connsiteX11" fmla="*/ 1260955 w 1571321"/>
                <a:gd name="connsiteY11" fmla="*/ 924007 h 1910988"/>
                <a:gd name="connsiteX12" fmla="*/ 1571321 w 1571321"/>
                <a:gd name="connsiteY12" fmla="*/ 772067 h 1910988"/>
                <a:gd name="connsiteX13" fmla="*/ 1462368 w 1571321"/>
                <a:gd name="connsiteY13" fmla="*/ 0 h 1910988"/>
                <a:gd name="connsiteX14" fmla="*/ 0 w 1571321"/>
                <a:gd name="connsiteY14" fmla="*/ 683727 h 1910988"/>
                <a:gd name="connsiteX15" fmla="*/ 354347 w 1571321"/>
                <a:gd name="connsiteY15" fmla="*/ 1284488 h 1910988"/>
                <a:gd name="connsiteX16" fmla="*/ 354972 w 1571321"/>
                <a:gd name="connsiteY16" fmla="*/ 1286362 h 1910988"/>
                <a:gd name="connsiteX17" fmla="*/ 355721 w 1571321"/>
                <a:gd name="connsiteY17" fmla="*/ 1288236 h 1910988"/>
                <a:gd name="connsiteX18" fmla="*/ 484291 w 1571321"/>
                <a:gd name="connsiteY18" fmla="*/ 1910988 h 1910988"/>
                <a:gd name="connsiteX19" fmla="*/ 1343170 w 1571321"/>
                <a:gd name="connsiteY19" fmla="*/ 1477536 h 1910988"/>
                <a:gd name="connsiteX20" fmla="*/ 1343170 w 1571321"/>
                <a:gd name="connsiteY20" fmla="*/ 1477536 h 1910988"/>
                <a:gd name="connsiteX21" fmla="*/ 1257332 w 1571321"/>
                <a:gd name="connsiteY21" fmla="*/ 935252 h 191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1321" h="1910988">
                  <a:moveTo>
                    <a:pt x="1257332" y="934252"/>
                  </a:moveTo>
                  <a:cubicBezTo>
                    <a:pt x="1257269" y="933665"/>
                    <a:pt x="1257269" y="933090"/>
                    <a:pt x="1257332" y="932503"/>
                  </a:cubicBezTo>
                  <a:lnTo>
                    <a:pt x="1257332" y="931503"/>
                  </a:lnTo>
                  <a:lnTo>
                    <a:pt x="1257332" y="930004"/>
                  </a:lnTo>
                  <a:cubicBezTo>
                    <a:pt x="1257282" y="929504"/>
                    <a:pt x="1257282" y="929005"/>
                    <a:pt x="1257332" y="928505"/>
                  </a:cubicBezTo>
                  <a:lnTo>
                    <a:pt x="1257332" y="927630"/>
                  </a:lnTo>
                  <a:lnTo>
                    <a:pt x="1258081" y="926506"/>
                  </a:lnTo>
                  <a:cubicBezTo>
                    <a:pt x="1258344" y="926031"/>
                    <a:pt x="1258681" y="925619"/>
                    <a:pt x="1259081" y="925256"/>
                  </a:cubicBezTo>
                  <a:cubicBezTo>
                    <a:pt x="1259081" y="925256"/>
                    <a:pt x="1259081" y="925256"/>
                    <a:pt x="1259081" y="925256"/>
                  </a:cubicBezTo>
                  <a:lnTo>
                    <a:pt x="1259081" y="925256"/>
                  </a:lnTo>
                  <a:lnTo>
                    <a:pt x="1260081" y="924631"/>
                  </a:lnTo>
                  <a:cubicBezTo>
                    <a:pt x="1260081" y="924631"/>
                    <a:pt x="1260081" y="924631"/>
                    <a:pt x="1260955" y="924007"/>
                  </a:cubicBezTo>
                  <a:lnTo>
                    <a:pt x="1571321" y="772067"/>
                  </a:lnTo>
                  <a:lnTo>
                    <a:pt x="1462368" y="0"/>
                  </a:lnTo>
                  <a:lnTo>
                    <a:pt x="0" y="683727"/>
                  </a:lnTo>
                  <a:lnTo>
                    <a:pt x="354347" y="1284488"/>
                  </a:lnTo>
                  <a:lnTo>
                    <a:pt x="354972" y="1286362"/>
                  </a:lnTo>
                  <a:cubicBezTo>
                    <a:pt x="355296" y="1286950"/>
                    <a:pt x="355548" y="1287587"/>
                    <a:pt x="355721" y="1288236"/>
                  </a:cubicBezTo>
                  <a:lnTo>
                    <a:pt x="484291" y="1910988"/>
                  </a:lnTo>
                  <a:lnTo>
                    <a:pt x="1343170" y="1477536"/>
                  </a:lnTo>
                  <a:lnTo>
                    <a:pt x="1343170" y="1477536"/>
                  </a:lnTo>
                  <a:lnTo>
                    <a:pt x="1257332" y="935252"/>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5FF424F3-BE6E-4458-B259-44173679062F}"/>
                </a:ext>
              </a:extLst>
            </p:cNvPr>
            <p:cNvSpPr/>
            <p:nvPr/>
          </p:nvSpPr>
          <p:spPr>
            <a:xfrm>
              <a:off x="7579505" y="4468975"/>
              <a:ext cx="312864" cy="510171"/>
            </a:xfrm>
            <a:custGeom>
              <a:avLst/>
              <a:gdLst>
                <a:gd name="connsiteX0" fmla="*/ 249392 w 312864"/>
                <a:gd name="connsiteY0" fmla="*/ 510171 h 510171"/>
                <a:gd name="connsiteX1" fmla="*/ 250017 w 312864"/>
                <a:gd name="connsiteY1" fmla="*/ 509797 h 510171"/>
                <a:gd name="connsiteX2" fmla="*/ 312865 w 312864"/>
                <a:gd name="connsiteY2" fmla="*/ 476310 h 510171"/>
                <a:gd name="connsiteX3" fmla="*/ 0 w 312864"/>
                <a:gd name="connsiteY3" fmla="*/ 0 h 510171"/>
                <a:gd name="connsiteX4" fmla="*/ 21616 w 312864"/>
                <a:gd name="connsiteY4" fmla="*/ 160936 h 510171"/>
                <a:gd name="connsiteX5" fmla="*/ 150435 w 312864"/>
                <a:gd name="connsiteY5" fmla="*/ 358357 h 510171"/>
                <a:gd name="connsiteX6" fmla="*/ 249392 w 312864"/>
                <a:gd name="connsiteY6" fmla="*/ 510171 h 5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864" h="510171">
                  <a:moveTo>
                    <a:pt x="249392" y="510171"/>
                  </a:moveTo>
                  <a:lnTo>
                    <a:pt x="250017" y="509797"/>
                  </a:lnTo>
                  <a:lnTo>
                    <a:pt x="312865" y="476310"/>
                  </a:lnTo>
                  <a:lnTo>
                    <a:pt x="0" y="0"/>
                  </a:lnTo>
                  <a:lnTo>
                    <a:pt x="21616" y="160936"/>
                  </a:lnTo>
                  <a:lnTo>
                    <a:pt x="150435" y="358357"/>
                  </a:lnTo>
                  <a:lnTo>
                    <a:pt x="249392" y="510171"/>
                  </a:lnTo>
                  <a:close/>
                </a:path>
              </a:pathLst>
            </a:custGeom>
            <a:solidFill>
              <a:schemeClr val="accent6">
                <a:lumMod val="50000"/>
              </a:schemeClr>
            </a:solidFill>
            <a:ln w="12483"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7A690CDF-EFFF-4833-8DEA-E9E99F17DA70}"/>
                </a:ext>
              </a:extLst>
            </p:cNvPr>
            <p:cNvSpPr/>
            <p:nvPr/>
          </p:nvSpPr>
          <p:spPr>
            <a:xfrm>
              <a:off x="7522780" y="3836352"/>
              <a:ext cx="1431006" cy="1701196"/>
            </a:xfrm>
            <a:custGeom>
              <a:avLst/>
              <a:gdLst>
                <a:gd name="connsiteX0" fmla="*/ 1000318 w 1431006"/>
                <a:gd name="connsiteY0" fmla="*/ 1701197 h 1701196"/>
                <a:gd name="connsiteX1" fmla="*/ 1001192 w 1431006"/>
                <a:gd name="connsiteY1" fmla="*/ 1700447 h 1701196"/>
                <a:gd name="connsiteX2" fmla="*/ 1001192 w 1431006"/>
                <a:gd name="connsiteY2" fmla="*/ 1700447 h 1701196"/>
                <a:gd name="connsiteX3" fmla="*/ 1431007 w 1431006"/>
                <a:gd name="connsiteY3" fmla="*/ 1460542 h 1701196"/>
                <a:gd name="connsiteX4" fmla="*/ 1132136 w 1431006"/>
                <a:gd name="connsiteY4" fmla="*/ 1031589 h 1701196"/>
                <a:gd name="connsiteX5" fmla="*/ 794782 w 1431006"/>
                <a:gd name="connsiteY5" fmla="*/ 1214391 h 1701196"/>
                <a:gd name="connsiteX6" fmla="*/ 794782 w 1431006"/>
                <a:gd name="connsiteY6" fmla="*/ 1214391 h 1701196"/>
                <a:gd name="connsiteX7" fmla="*/ 793407 w 1431006"/>
                <a:gd name="connsiteY7" fmla="*/ 1216640 h 1701196"/>
                <a:gd name="connsiteX8" fmla="*/ 791533 w 1431006"/>
                <a:gd name="connsiteY8" fmla="*/ 1215015 h 1701196"/>
                <a:gd name="connsiteX9" fmla="*/ 791533 w 1431006"/>
                <a:gd name="connsiteY9" fmla="*/ 1214891 h 1701196"/>
                <a:gd name="connsiteX10" fmla="*/ 791533 w 1431006"/>
                <a:gd name="connsiteY10" fmla="*/ 1211892 h 1701196"/>
                <a:gd name="connsiteX11" fmla="*/ 732309 w 1431006"/>
                <a:gd name="connsiteY11" fmla="*/ 1124427 h 1701196"/>
                <a:gd name="connsiteX12" fmla="*/ 731559 w 1431006"/>
                <a:gd name="connsiteY12" fmla="*/ 1124427 h 1701196"/>
                <a:gd name="connsiteX13" fmla="*/ 729810 w 1431006"/>
                <a:gd name="connsiteY13" fmla="*/ 1122927 h 1701196"/>
                <a:gd name="connsiteX14" fmla="*/ 729810 w 1431006"/>
                <a:gd name="connsiteY14" fmla="*/ 1122802 h 1701196"/>
                <a:gd name="connsiteX15" fmla="*/ 729810 w 1431006"/>
                <a:gd name="connsiteY15" fmla="*/ 1119678 h 1701196"/>
                <a:gd name="connsiteX16" fmla="*/ 475170 w 1431006"/>
                <a:gd name="connsiteY16" fmla="*/ 742204 h 1701196"/>
                <a:gd name="connsiteX17" fmla="*/ 470797 w 1431006"/>
                <a:gd name="connsiteY17" fmla="*/ 744703 h 1701196"/>
                <a:gd name="connsiteX18" fmla="*/ 460688 w 1431006"/>
                <a:gd name="connsiteY18" fmla="*/ 735857 h 1701196"/>
                <a:gd name="connsiteX19" fmla="*/ 460676 w 1431006"/>
                <a:gd name="connsiteY19" fmla="*/ 735457 h 1701196"/>
                <a:gd name="connsiteX20" fmla="*/ 459301 w 1431006"/>
                <a:gd name="connsiteY20" fmla="*/ 722962 h 1701196"/>
                <a:gd name="connsiteX21" fmla="*/ 459301 w 1431006"/>
                <a:gd name="connsiteY21" fmla="*/ 722337 h 1701196"/>
                <a:gd name="connsiteX22" fmla="*/ 459301 w 1431006"/>
                <a:gd name="connsiteY22" fmla="*/ 720088 h 1701196"/>
                <a:gd name="connsiteX23" fmla="*/ 459301 w 1431006"/>
                <a:gd name="connsiteY23" fmla="*/ 718089 h 1701196"/>
                <a:gd name="connsiteX24" fmla="*/ 460051 w 1431006"/>
                <a:gd name="connsiteY24" fmla="*/ 716339 h 1701196"/>
                <a:gd name="connsiteX25" fmla="*/ 460926 w 1431006"/>
                <a:gd name="connsiteY25" fmla="*/ 714590 h 1701196"/>
                <a:gd name="connsiteX26" fmla="*/ 462175 w 1431006"/>
                <a:gd name="connsiteY26" fmla="*/ 713215 h 1701196"/>
                <a:gd name="connsiteX27" fmla="*/ 463675 w 1431006"/>
                <a:gd name="connsiteY27" fmla="*/ 711966 h 1701196"/>
                <a:gd name="connsiteX28" fmla="*/ 463675 w 1431006"/>
                <a:gd name="connsiteY28" fmla="*/ 711966 h 1701196"/>
                <a:gd name="connsiteX29" fmla="*/ 787785 w 1431006"/>
                <a:gd name="connsiteY29" fmla="*/ 542159 h 1701196"/>
                <a:gd name="connsiteX30" fmla="*/ 673334 w 1431006"/>
                <a:gd name="connsiteY30" fmla="*/ 378474 h 1701196"/>
                <a:gd name="connsiteX31" fmla="*/ 666962 w 1431006"/>
                <a:gd name="connsiteY31" fmla="*/ 369228 h 1701196"/>
                <a:gd name="connsiteX32" fmla="*/ 666962 w 1431006"/>
                <a:gd name="connsiteY32" fmla="*/ 369228 h 1701196"/>
                <a:gd name="connsiteX33" fmla="*/ 666087 w 1431006"/>
                <a:gd name="connsiteY33" fmla="*/ 367978 h 1701196"/>
                <a:gd name="connsiteX34" fmla="*/ 666087 w 1431006"/>
                <a:gd name="connsiteY34" fmla="*/ 367978 h 1701196"/>
                <a:gd name="connsiteX35" fmla="*/ 637849 w 1431006"/>
                <a:gd name="connsiteY35" fmla="*/ 327619 h 1701196"/>
                <a:gd name="connsiteX36" fmla="*/ 436811 w 1431006"/>
                <a:gd name="connsiteY36" fmla="*/ 40234 h 1701196"/>
                <a:gd name="connsiteX37" fmla="*/ 408698 w 1431006"/>
                <a:gd name="connsiteY37" fmla="*/ 0 h 1701196"/>
                <a:gd name="connsiteX38" fmla="*/ 0 w 1431006"/>
                <a:gd name="connsiteY38" fmla="*/ 205793 h 1701196"/>
                <a:gd name="connsiteX39" fmla="*/ 999568 w 1431006"/>
                <a:gd name="connsiteY39" fmla="*/ 1701197 h 170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1006" h="1701196">
                  <a:moveTo>
                    <a:pt x="1000318" y="1701197"/>
                  </a:moveTo>
                  <a:lnTo>
                    <a:pt x="1001192" y="1700447"/>
                  </a:lnTo>
                  <a:lnTo>
                    <a:pt x="1001192" y="1700447"/>
                  </a:lnTo>
                  <a:lnTo>
                    <a:pt x="1431007" y="1460542"/>
                  </a:lnTo>
                  <a:lnTo>
                    <a:pt x="1132136" y="1031589"/>
                  </a:lnTo>
                  <a:lnTo>
                    <a:pt x="794782" y="1214391"/>
                  </a:lnTo>
                  <a:lnTo>
                    <a:pt x="794782" y="1214391"/>
                  </a:lnTo>
                  <a:cubicBezTo>
                    <a:pt x="794957" y="1215378"/>
                    <a:pt x="794369" y="1216340"/>
                    <a:pt x="793407" y="1216640"/>
                  </a:cubicBezTo>
                  <a:cubicBezTo>
                    <a:pt x="792445" y="1216715"/>
                    <a:pt x="791608" y="1215978"/>
                    <a:pt x="791533" y="1215015"/>
                  </a:cubicBezTo>
                  <a:cubicBezTo>
                    <a:pt x="791533" y="1214978"/>
                    <a:pt x="791533" y="1214928"/>
                    <a:pt x="791533" y="1214891"/>
                  </a:cubicBezTo>
                  <a:lnTo>
                    <a:pt x="791533" y="1211892"/>
                  </a:lnTo>
                  <a:lnTo>
                    <a:pt x="732309" y="1124427"/>
                  </a:lnTo>
                  <a:cubicBezTo>
                    <a:pt x="732071" y="1124539"/>
                    <a:pt x="731796" y="1124539"/>
                    <a:pt x="731559" y="1124427"/>
                  </a:cubicBezTo>
                  <a:cubicBezTo>
                    <a:pt x="730659" y="1124502"/>
                    <a:pt x="729885" y="1123827"/>
                    <a:pt x="729810" y="1122927"/>
                  </a:cubicBezTo>
                  <a:cubicBezTo>
                    <a:pt x="729810" y="1122890"/>
                    <a:pt x="729810" y="1122840"/>
                    <a:pt x="729810" y="1122802"/>
                  </a:cubicBezTo>
                  <a:lnTo>
                    <a:pt x="729810" y="1119678"/>
                  </a:lnTo>
                  <a:lnTo>
                    <a:pt x="475170" y="742204"/>
                  </a:lnTo>
                  <a:cubicBezTo>
                    <a:pt x="474033" y="743504"/>
                    <a:pt x="472496" y="744378"/>
                    <a:pt x="470797" y="744703"/>
                  </a:cubicBezTo>
                  <a:cubicBezTo>
                    <a:pt x="465561" y="745053"/>
                    <a:pt x="461038" y="741092"/>
                    <a:pt x="460688" y="735857"/>
                  </a:cubicBezTo>
                  <a:cubicBezTo>
                    <a:pt x="460688" y="735719"/>
                    <a:pt x="460676" y="735594"/>
                    <a:pt x="460676" y="735457"/>
                  </a:cubicBezTo>
                  <a:lnTo>
                    <a:pt x="459301" y="722962"/>
                  </a:lnTo>
                  <a:cubicBezTo>
                    <a:pt x="459301" y="722962"/>
                    <a:pt x="459301" y="722962"/>
                    <a:pt x="459301" y="722337"/>
                  </a:cubicBezTo>
                  <a:cubicBezTo>
                    <a:pt x="459301" y="721712"/>
                    <a:pt x="459301" y="720838"/>
                    <a:pt x="459301" y="720088"/>
                  </a:cubicBezTo>
                  <a:cubicBezTo>
                    <a:pt x="459239" y="719426"/>
                    <a:pt x="459239" y="718751"/>
                    <a:pt x="459301" y="718089"/>
                  </a:cubicBezTo>
                  <a:cubicBezTo>
                    <a:pt x="459439" y="717464"/>
                    <a:pt x="459701" y="716876"/>
                    <a:pt x="460051" y="716339"/>
                  </a:cubicBezTo>
                  <a:cubicBezTo>
                    <a:pt x="460264" y="715727"/>
                    <a:pt x="460564" y="715127"/>
                    <a:pt x="460926" y="714590"/>
                  </a:cubicBezTo>
                  <a:lnTo>
                    <a:pt x="462175" y="713215"/>
                  </a:lnTo>
                  <a:lnTo>
                    <a:pt x="463675" y="711966"/>
                  </a:lnTo>
                  <a:lnTo>
                    <a:pt x="463675" y="711966"/>
                  </a:lnTo>
                  <a:lnTo>
                    <a:pt x="787785" y="542159"/>
                  </a:lnTo>
                  <a:lnTo>
                    <a:pt x="673334" y="378474"/>
                  </a:lnTo>
                  <a:lnTo>
                    <a:pt x="666962" y="369228"/>
                  </a:lnTo>
                  <a:lnTo>
                    <a:pt x="666962" y="369228"/>
                  </a:lnTo>
                  <a:lnTo>
                    <a:pt x="666087" y="367978"/>
                  </a:lnTo>
                  <a:lnTo>
                    <a:pt x="666087" y="367978"/>
                  </a:lnTo>
                  <a:lnTo>
                    <a:pt x="637849" y="327619"/>
                  </a:lnTo>
                  <a:lnTo>
                    <a:pt x="436811" y="40234"/>
                  </a:lnTo>
                  <a:lnTo>
                    <a:pt x="408698" y="0"/>
                  </a:lnTo>
                  <a:lnTo>
                    <a:pt x="0" y="205793"/>
                  </a:lnTo>
                  <a:lnTo>
                    <a:pt x="999568" y="1701197"/>
                  </a:lnTo>
                  <a:close/>
                </a:path>
              </a:pathLst>
            </a:custGeom>
            <a:solidFill>
              <a:schemeClr val="accent6"/>
            </a:solidFill>
            <a:ln w="12483"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C2E50DCF-4AA5-4FD8-AB37-2828C4ED41E0}"/>
                </a:ext>
              </a:extLst>
            </p:cNvPr>
            <p:cNvSpPr/>
            <p:nvPr/>
          </p:nvSpPr>
          <p:spPr>
            <a:xfrm>
              <a:off x="7997450" y="4575432"/>
              <a:ext cx="254514" cy="380972"/>
            </a:xfrm>
            <a:custGeom>
              <a:avLst/>
              <a:gdLst>
                <a:gd name="connsiteX0" fmla="*/ 2249 w 254514"/>
                <a:gd name="connsiteY0" fmla="*/ 0 h 380972"/>
                <a:gd name="connsiteX1" fmla="*/ 0 w 254514"/>
                <a:gd name="connsiteY1" fmla="*/ 3499 h 380972"/>
                <a:gd name="connsiteX2" fmla="*/ 254515 w 254514"/>
                <a:gd name="connsiteY2" fmla="*/ 380973 h 380972"/>
                <a:gd name="connsiteX3" fmla="*/ 253640 w 254514"/>
                <a:gd name="connsiteY3" fmla="*/ 372602 h 380972"/>
              </a:gdLst>
              <a:ahLst/>
              <a:cxnLst>
                <a:cxn ang="0">
                  <a:pos x="connsiteX0" y="connsiteY0"/>
                </a:cxn>
                <a:cxn ang="0">
                  <a:pos x="connsiteX1" y="connsiteY1"/>
                </a:cxn>
                <a:cxn ang="0">
                  <a:pos x="connsiteX2" y="connsiteY2"/>
                </a:cxn>
                <a:cxn ang="0">
                  <a:pos x="connsiteX3" y="connsiteY3"/>
                </a:cxn>
              </a:cxnLst>
              <a:rect l="l" t="t" r="r" b="b"/>
              <a:pathLst>
                <a:path w="254514" h="380972">
                  <a:moveTo>
                    <a:pt x="2249" y="0"/>
                  </a:moveTo>
                  <a:cubicBezTo>
                    <a:pt x="1774" y="1325"/>
                    <a:pt x="1000" y="2511"/>
                    <a:pt x="0" y="3499"/>
                  </a:cubicBezTo>
                  <a:lnTo>
                    <a:pt x="254515" y="380973"/>
                  </a:lnTo>
                  <a:lnTo>
                    <a:pt x="253640" y="372602"/>
                  </a:lnTo>
                  <a:close/>
                </a:path>
              </a:pathLst>
            </a:custGeom>
            <a:solidFill>
              <a:srgbClr val="9FD1D0"/>
            </a:solidFill>
            <a:ln w="12483" cap="flat">
              <a:noFill/>
              <a:prstDash val="solid"/>
              <a:miter/>
            </a:ln>
          </p:spPr>
          <p:txBody>
            <a:bodyPr rtlCol="0" anchor="ctr"/>
            <a:lstStyle/>
            <a:p>
              <a:endParaRPr lang="en-US"/>
            </a:p>
          </p:txBody>
        </p:sp>
        <p:sp>
          <p:nvSpPr>
            <p:cNvPr id="1047" name="Freeform: Shape 1046">
              <a:extLst>
                <a:ext uri="{FF2B5EF4-FFF2-40B4-BE49-F238E27FC236}">
                  <a16:creationId xmlns:a16="http://schemas.microsoft.com/office/drawing/2014/main" id="{9F4568EC-2526-40BE-908D-A071533A022A}"/>
                </a:ext>
              </a:extLst>
            </p:cNvPr>
            <p:cNvSpPr/>
            <p:nvPr/>
          </p:nvSpPr>
          <p:spPr>
            <a:xfrm>
              <a:off x="8254214" y="4953656"/>
              <a:ext cx="59224" cy="94462"/>
            </a:xfrm>
            <a:custGeom>
              <a:avLst/>
              <a:gdLst>
                <a:gd name="connsiteX0" fmla="*/ 750 w 59224"/>
                <a:gd name="connsiteY0" fmla="*/ 0 h 94462"/>
                <a:gd name="connsiteX1" fmla="*/ 750 w 59224"/>
                <a:gd name="connsiteY1" fmla="*/ 5373 h 94462"/>
                <a:gd name="connsiteX2" fmla="*/ 0 w 59224"/>
                <a:gd name="connsiteY2" fmla="*/ 6998 h 94462"/>
                <a:gd name="connsiteX3" fmla="*/ 59224 w 59224"/>
                <a:gd name="connsiteY3" fmla="*/ 94463 h 94462"/>
                <a:gd name="connsiteX4" fmla="*/ 58350 w 59224"/>
                <a:gd name="connsiteY4" fmla="*/ 86091 h 94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24" h="94462">
                  <a:moveTo>
                    <a:pt x="750" y="0"/>
                  </a:moveTo>
                  <a:lnTo>
                    <a:pt x="750" y="5373"/>
                  </a:lnTo>
                  <a:cubicBezTo>
                    <a:pt x="775" y="5998"/>
                    <a:pt x="487" y="6610"/>
                    <a:pt x="0" y="6998"/>
                  </a:cubicBezTo>
                  <a:lnTo>
                    <a:pt x="59224" y="94463"/>
                  </a:lnTo>
                  <a:lnTo>
                    <a:pt x="58350" y="86091"/>
                  </a:lnTo>
                  <a:close/>
                </a:path>
              </a:pathLst>
            </a:custGeom>
            <a:solidFill>
              <a:srgbClr val="F9AA19"/>
            </a:solidFill>
            <a:ln w="12483" cap="flat">
              <a:noFill/>
              <a:prstDash val="solid"/>
              <a:miter/>
            </a:ln>
          </p:spPr>
          <p:txBody>
            <a:bodyPr rtlCol="0" anchor="ctr"/>
            <a:lstStyle/>
            <a:p>
              <a:endParaRPr lang="en-US"/>
            </a:p>
          </p:txBody>
        </p:sp>
        <p:sp>
          <p:nvSpPr>
            <p:cNvPr id="1048" name="Freeform: Shape 1047">
              <a:extLst>
                <a:ext uri="{FF2B5EF4-FFF2-40B4-BE49-F238E27FC236}">
                  <a16:creationId xmlns:a16="http://schemas.microsoft.com/office/drawing/2014/main" id="{4C65984C-595C-4DFF-A21D-0B285EC750DE}"/>
                </a:ext>
              </a:extLst>
            </p:cNvPr>
            <p:cNvSpPr/>
            <p:nvPr/>
          </p:nvSpPr>
          <p:spPr>
            <a:xfrm>
              <a:off x="8316437" y="4857820"/>
              <a:ext cx="338228" cy="192548"/>
            </a:xfrm>
            <a:custGeom>
              <a:avLst/>
              <a:gdLst>
                <a:gd name="connsiteX0" fmla="*/ 338104 w 338228"/>
                <a:gd name="connsiteY0" fmla="*/ 9246 h 192548"/>
                <a:gd name="connsiteX1" fmla="*/ 337354 w 338228"/>
                <a:gd name="connsiteY1" fmla="*/ 0 h 192548"/>
                <a:gd name="connsiteX2" fmla="*/ 0 w 338228"/>
                <a:gd name="connsiteY2" fmla="*/ 182552 h 192548"/>
                <a:gd name="connsiteX3" fmla="*/ 875 w 338228"/>
                <a:gd name="connsiteY3" fmla="*/ 192548 h 192548"/>
                <a:gd name="connsiteX4" fmla="*/ 338229 w 338228"/>
                <a:gd name="connsiteY4" fmla="*/ 9746 h 192548"/>
                <a:gd name="connsiteX5" fmla="*/ 338229 w 338228"/>
                <a:gd name="connsiteY5" fmla="*/ 9746 h 192548"/>
                <a:gd name="connsiteX6" fmla="*/ 338104 w 338228"/>
                <a:gd name="connsiteY6" fmla="*/ 9246 h 19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228" h="192548">
                  <a:moveTo>
                    <a:pt x="338104" y="9246"/>
                  </a:moveTo>
                  <a:lnTo>
                    <a:pt x="337354" y="0"/>
                  </a:lnTo>
                  <a:lnTo>
                    <a:pt x="0" y="182552"/>
                  </a:lnTo>
                  <a:lnTo>
                    <a:pt x="875" y="192548"/>
                  </a:lnTo>
                  <a:lnTo>
                    <a:pt x="338229" y="9746"/>
                  </a:lnTo>
                  <a:lnTo>
                    <a:pt x="338229" y="9746"/>
                  </a:lnTo>
                  <a:cubicBezTo>
                    <a:pt x="338116" y="9609"/>
                    <a:pt x="338067" y="9421"/>
                    <a:pt x="338104" y="9246"/>
                  </a:cubicBezTo>
                  <a:close/>
                </a:path>
              </a:pathLst>
            </a:custGeom>
            <a:solidFill>
              <a:srgbClr val="F4F5F3"/>
            </a:solidFill>
            <a:ln w="12483" cap="flat">
              <a:noFill/>
              <a:prstDash val="solid"/>
              <a:miter/>
            </a:ln>
          </p:spPr>
          <p:txBody>
            <a:bodyPr rtlCol="0" anchor="ctr"/>
            <a:lstStyle/>
            <a:p>
              <a:endParaRPr lang="en-US"/>
            </a:p>
          </p:txBody>
        </p:sp>
        <p:sp>
          <p:nvSpPr>
            <p:cNvPr id="1049" name="Freeform: Shape 1048">
              <a:extLst>
                <a:ext uri="{FF2B5EF4-FFF2-40B4-BE49-F238E27FC236}">
                  <a16:creationId xmlns:a16="http://schemas.microsoft.com/office/drawing/2014/main" id="{ADCA798A-E28E-4578-95DE-7B52F4AA85C5}"/>
                </a:ext>
              </a:extLst>
            </p:cNvPr>
            <p:cNvSpPr/>
            <p:nvPr/>
          </p:nvSpPr>
          <p:spPr>
            <a:xfrm>
              <a:off x="8255338" y="4767231"/>
              <a:ext cx="397078" cy="269642"/>
            </a:xfrm>
            <a:custGeom>
              <a:avLst/>
              <a:gdLst>
                <a:gd name="connsiteX0" fmla="*/ 336105 w 397078"/>
                <a:gd name="connsiteY0" fmla="*/ 0 h 269642"/>
                <a:gd name="connsiteX1" fmla="*/ 0 w 397078"/>
                <a:gd name="connsiteY1" fmla="*/ 180803 h 269642"/>
                <a:gd name="connsiteX2" fmla="*/ 59849 w 397078"/>
                <a:gd name="connsiteY2" fmla="*/ 269642 h 269642"/>
                <a:gd name="connsiteX3" fmla="*/ 397078 w 397078"/>
                <a:gd name="connsiteY3" fmla="*/ 87090 h 269642"/>
                <a:gd name="connsiteX4" fmla="*/ 336729 w 397078"/>
                <a:gd name="connsiteY4" fmla="*/ 875 h 269642"/>
                <a:gd name="connsiteX5" fmla="*/ 336105 w 397078"/>
                <a:gd name="connsiteY5" fmla="*/ 0 h 26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078" h="269642">
                  <a:moveTo>
                    <a:pt x="336105" y="0"/>
                  </a:moveTo>
                  <a:lnTo>
                    <a:pt x="0" y="180803"/>
                  </a:lnTo>
                  <a:lnTo>
                    <a:pt x="59849" y="269642"/>
                  </a:lnTo>
                  <a:lnTo>
                    <a:pt x="397078" y="87090"/>
                  </a:lnTo>
                  <a:lnTo>
                    <a:pt x="336729" y="875"/>
                  </a:lnTo>
                  <a:lnTo>
                    <a:pt x="336105" y="0"/>
                  </a:lnTo>
                  <a:close/>
                </a:path>
              </a:pathLst>
            </a:custGeom>
            <a:solidFill>
              <a:schemeClr val="accent6">
                <a:lumMod val="75000"/>
              </a:schemeClr>
            </a:solidFill>
            <a:ln w="12483" cap="flat">
              <a:noFill/>
              <a:prstDash val="solid"/>
              <a:miter/>
            </a:ln>
          </p:spPr>
          <p:txBody>
            <a:bodyPr rtlCol="0" anchor="ctr"/>
            <a:lstStyle/>
            <a:p>
              <a:endParaRPr lang="en-US"/>
            </a:p>
          </p:txBody>
        </p:sp>
        <p:sp>
          <p:nvSpPr>
            <p:cNvPr id="1050" name="Freeform: Shape 1049">
              <a:extLst>
                <a:ext uri="{FF2B5EF4-FFF2-40B4-BE49-F238E27FC236}">
                  <a16:creationId xmlns:a16="http://schemas.microsoft.com/office/drawing/2014/main" id="{E012377B-3D1C-4581-ABEB-446D97D0CD37}"/>
                </a:ext>
              </a:extLst>
            </p:cNvPr>
            <p:cNvSpPr/>
            <p:nvPr/>
          </p:nvSpPr>
          <p:spPr>
            <a:xfrm>
              <a:off x="8000948" y="4393130"/>
              <a:ext cx="588370" cy="551780"/>
            </a:xfrm>
            <a:custGeom>
              <a:avLst/>
              <a:gdLst>
                <a:gd name="connsiteX0" fmla="*/ 588371 w 588370"/>
                <a:gd name="connsiteY0" fmla="*/ 370977 h 551780"/>
                <a:gd name="connsiteX1" fmla="*/ 371464 w 588370"/>
                <a:gd name="connsiteY1" fmla="*/ 60726 h 551780"/>
                <a:gd name="connsiteX2" fmla="*/ 328858 w 588370"/>
                <a:gd name="connsiteY2" fmla="*/ 0 h 551780"/>
                <a:gd name="connsiteX3" fmla="*/ 328858 w 588370"/>
                <a:gd name="connsiteY3" fmla="*/ 0 h 551780"/>
                <a:gd name="connsiteX4" fmla="*/ 328858 w 588370"/>
                <a:gd name="connsiteY4" fmla="*/ 0 h 551780"/>
                <a:gd name="connsiteX5" fmla="*/ 323735 w 588370"/>
                <a:gd name="connsiteY5" fmla="*/ 2749 h 551780"/>
                <a:gd name="connsiteX6" fmla="*/ 323735 w 588370"/>
                <a:gd name="connsiteY6" fmla="*/ 2749 h 551780"/>
                <a:gd name="connsiteX7" fmla="*/ 0 w 588370"/>
                <a:gd name="connsiteY7" fmla="*/ 172306 h 551780"/>
                <a:gd name="connsiteX8" fmla="*/ 0 w 588370"/>
                <a:gd name="connsiteY8" fmla="*/ 176055 h 551780"/>
                <a:gd name="connsiteX9" fmla="*/ 0 w 588370"/>
                <a:gd name="connsiteY9" fmla="*/ 177679 h 551780"/>
                <a:gd name="connsiteX10" fmla="*/ 252516 w 588370"/>
                <a:gd name="connsiteY10" fmla="*/ 551780 h 55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70" h="551780">
                  <a:moveTo>
                    <a:pt x="588371" y="370977"/>
                  </a:moveTo>
                  <a:lnTo>
                    <a:pt x="371464" y="60726"/>
                  </a:lnTo>
                  <a:lnTo>
                    <a:pt x="328858" y="0"/>
                  </a:lnTo>
                  <a:lnTo>
                    <a:pt x="328858" y="0"/>
                  </a:lnTo>
                  <a:lnTo>
                    <a:pt x="328858" y="0"/>
                  </a:lnTo>
                  <a:lnTo>
                    <a:pt x="323735" y="2749"/>
                  </a:lnTo>
                  <a:lnTo>
                    <a:pt x="323735" y="2749"/>
                  </a:lnTo>
                  <a:lnTo>
                    <a:pt x="0" y="172306"/>
                  </a:lnTo>
                  <a:lnTo>
                    <a:pt x="0" y="176055"/>
                  </a:lnTo>
                  <a:cubicBezTo>
                    <a:pt x="62" y="176592"/>
                    <a:pt x="62" y="177142"/>
                    <a:pt x="0" y="177679"/>
                  </a:cubicBezTo>
                  <a:lnTo>
                    <a:pt x="252516" y="551780"/>
                  </a:lnTo>
                  <a:close/>
                </a:path>
              </a:pathLst>
            </a:custGeom>
            <a:solidFill>
              <a:schemeClr val="tx2"/>
            </a:solidFill>
            <a:ln w="12483" cap="flat">
              <a:noFill/>
              <a:prstDash val="solid"/>
              <a:miter/>
            </a:ln>
          </p:spPr>
          <p:txBody>
            <a:bodyPr rtlCol="0" anchor="ctr"/>
            <a:lstStyle/>
            <a:p>
              <a:endParaRPr lang="en-US"/>
            </a:p>
          </p:txBody>
        </p:sp>
        <p:sp>
          <p:nvSpPr>
            <p:cNvPr id="1051" name="Freeform: Shape 1050">
              <a:extLst>
                <a:ext uri="{FF2B5EF4-FFF2-40B4-BE49-F238E27FC236}">
                  <a16:creationId xmlns:a16="http://schemas.microsoft.com/office/drawing/2014/main" id="{98B50659-0FD4-475D-94DB-8ACBA7668CF5}"/>
                </a:ext>
              </a:extLst>
            </p:cNvPr>
            <p:cNvSpPr/>
            <p:nvPr/>
          </p:nvSpPr>
          <p:spPr>
            <a:xfrm>
              <a:off x="8213231" y="3990915"/>
              <a:ext cx="436936" cy="449320"/>
            </a:xfrm>
            <a:custGeom>
              <a:avLst/>
              <a:gdLst>
                <a:gd name="connsiteX0" fmla="*/ 116075 w 436936"/>
                <a:gd name="connsiteY0" fmla="*/ 378724 h 449320"/>
                <a:gd name="connsiteX1" fmla="*/ 117949 w 436936"/>
                <a:gd name="connsiteY1" fmla="*/ 378724 h 449320"/>
                <a:gd name="connsiteX2" fmla="*/ 119449 w 436936"/>
                <a:gd name="connsiteY2" fmla="*/ 378724 h 449320"/>
                <a:gd name="connsiteX3" fmla="*/ 121198 w 436936"/>
                <a:gd name="connsiteY3" fmla="*/ 378724 h 449320"/>
                <a:gd name="connsiteX4" fmla="*/ 122822 w 436936"/>
                <a:gd name="connsiteY4" fmla="*/ 378724 h 449320"/>
                <a:gd name="connsiteX5" fmla="*/ 124196 w 436936"/>
                <a:gd name="connsiteY5" fmla="*/ 379724 h 449320"/>
                <a:gd name="connsiteX6" fmla="*/ 125696 w 436936"/>
                <a:gd name="connsiteY6" fmla="*/ 381223 h 449320"/>
                <a:gd name="connsiteX7" fmla="*/ 125696 w 436936"/>
                <a:gd name="connsiteY7" fmla="*/ 381223 h 449320"/>
                <a:gd name="connsiteX8" fmla="*/ 172551 w 436936"/>
                <a:gd name="connsiteY8" fmla="*/ 448321 h 449320"/>
                <a:gd name="connsiteX9" fmla="*/ 172551 w 436936"/>
                <a:gd name="connsiteY9" fmla="*/ 449321 h 449320"/>
                <a:gd name="connsiteX10" fmla="*/ 414071 w 436936"/>
                <a:gd name="connsiteY10" fmla="*/ 322122 h 449320"/>
                <a:gd name="connsiteX11" fmla="*/ 436936 w 436936"/>
                <a:gd name="connsiteY11" fmla="*/ 310252 h 449320"/>
                <a:gd name="connsiteX12" fmla="*/ 411947 w 436936"/>
                <a:gd name="connsiteY12" fmla="*/ 0 h 449320"/>
                <a:gd name="connsiteX13" fmla="*/ 0 w 436936"/>
                <a:gd name="connsiteY13" fmla="*/ 214789 h 449320"/>
                <a:gd name="connsiteX14" fmla="*/ 114950 w 436936"/>
                <a:gd name="connsiteY14" fmla="*/ 379474 h 449320"/>
                <a:gd name="connsiteX15" fmla="*/ 115575 w 436936"/>
                <a:gd name="connsiteY15" fmla="*/ 379474 h 44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6936" h="449320">
                  <a:moveTo>
                    <a:pt x="116075" y="378724"/>
                  </a:moveTo>
                  <a:lnTo>
                    <a:pt x="117949" y="378724"/>
                  </a:lnTo>
                  <a:lnTo>
                    <a:pt x="119449" y="378724"/>
                  </a:lnTo>
                  <a:lnTo>
                    <a:pt x="121198" y="378724"/>
                  </a:lnTo>
                  <a:lnTo>
                    <a:pt x="122822" y="378724"/>
                  </a:lnTo>
                  <a:lnTo>
                    <a:pt x="124196" y="379724"/>
                  </a:lnTo>
                  <a:lnTo>
                    <a:pt x="125696" y="381223"/>
                  </a:lnTo>
                  <a:lnTo>
                    <a:pt x="125696" y="381223"/>
                  </a:lnTo>
                  <a:lnTo>
                    <a:pt x="172551" y="448321"/>
                  </a:lnTo>
                  <a:lnTo>
                    <a:pt x="172551" y="449321"/>
                  </a:lnTo>
                  <a:lnTo>
                    <a:pt x="414071" y="322122"/>
                  </a:lnTo>
                  <a:lnTo>
                    <a:pt x="436936" y="310252"/>
                  </a:lnTo>
                  <a:lnTo>
                    <a:pt x="411947" y="0"/>
                  </a:lnTo>
                  <a:lnTo>
                    <a:pt x="0" y="214789"/>
                  </a:lnTo>
                  <a:lnTo>
                    <a:pt x="114950" y="379474"/>
                  </a:lnTo>
                  <a:lnTo>
                    <a:pt x="115575" y="379474"/>
                  </a:lnTo>
                  <a:close/>
                </a:path>
              </a:pathLst>
            </a:custGeom>
            <a:solidFill>
              <a:schemeClr val="accent2"/>
            </a:solidFill>
            <a:ln w="12483" cap="flat">
              <a:noFill/>
              <a:prstDash val="solid"/>
              <a:miter/>
            </a:ln>
          </p:spPr>
          <p:txBody>
            <a:bodyPr rtlCol="0" anchor="ctr"/>
            <a:lstStyle/>
            <a:p>
              <a:endParaRPr lang="en-US"/>
            </a:p>
          </p:txBody>
        </p:sp>
        <p:sp>
          <p:nvSpPr>
            <p:cNvPr id="1052" name="Freeform: Shape 1051">
              <a:extLst>
                <a:ext uri="{FF2B5EF4-FFF2-40B4-BE49-F238E27FC236}">
                  <a16:creationId xmlns:a16="http://schemas.microsoft.com/office/drawing/2014/main" id="{5E14DADA-3E83-494C-964B-25672E2D32EA}"/>
                </a:ext>
              </a:extLst>
            </p:cNvPr>
            <p:cNvSpPr/>
            <p:nvPr/>
          </p:nvSpPr>
          <p:spPr>
            <a:xfrm>
              <a:off x="8389405" y="4318160"/>
              <a:ext cx="517526" cy="519917"/>
            </a:xfrm>
            <a:custGeom>
              <a:avLst/>
              <a:gdLst>
                <a:gd name="connsiteX0" fmla="*/ 216407 w 517526"/>
                <a:gd name="connsiteY0" fmla="*/ 435951 h 519917"/>
                <a:gd name="connsiteX1" fmla="*/ 275131 w 517526"/>
                <a:gd name="connsiteY1" fmla="*/ 519918 h 519917"/>
                <a:gd name="connsiteX2" fmla="*/ 515902 w 517526"/>
                <a:gd name="connsiteY2" fmla="*/ 389470 h 519917"/>
                <a:gd name="connsiteX3" fmla="*/ 515902 w 517526"/>
                <a:gd name="connsiteY3" fmla="*/ 389470 h 519917"/>
                <a:gd name="connsiteX4" fmla="*/ 517527 w 517526"/>
                <a:gd name="connsiteY4" fmla="*/ 389470 h 519917"/>
                <a:gd name="connsiteX5" fmla="*/ 239147 w 517526"/>
                <a:gd name="connsiteY5" fmla="*/ 0 h 519917"/>
                <a:gd name="connsiteX6" fmla="*/ 0 w 517526"/>
                <a:gd name="connsiteY6" fmla="*/ 125700 h 51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526" h="519917">
                  <a:moveTo>
                    <a:pt x="216407" y="435951"/>
                  </a:moveTo>
                  <a:lnTo>
                    <a:pt x="275131" y="519918"/>
                  </a:lnTo>
                  <a:lnTo>
                    <a:pt x="515902" y="389470"/>
                  </a:lnTo>
                  <a:lnTo>
                    <a:pt x="515902" y="389470"/>
                  </a:lnTo>
                  <a:cubicBezTo>
                    <a:pt x="516439" y="389357"/>
                    <a:pt x="516989" y="389357"/>
                    <a:pt x="517527" y="389470"/>
                  </a:cubicBezTo>
                  <a:lnTo>
                    <a:pt x="239147" y="0"/>
                  </a:lnTo>
                  <a:lnTo>
                    <a:pt x="0" y="125700"/>
                  </a:lnTo>
                  <a:close/>
                </a:path>
              </a:pathLst>
            </a:custGeom>
            <a:solidFill>
              <a:srgbClr val="F4F5F3"/>
            </a:solidFill>
            <a:ln w="12483" cap="flat">
              <a:noFill/>
              <a:prstDash val="solid"/>
              <a:miter/>
            </a:ln>
          </p:spPr>
          <p:txBody>
            <a:bodyPr rtlCol="0" anchor="ctr"/>
            <a:lstStyle/>
            <a:p>
              <a:endParaRPr lang="en-US"/>
            </a:p>
          </p:txBody>
        </p:sp>
        <p:sp>
          <p:nvSpPr>
            <p:cNvPr id="1053" name="Freeform: Shape 1052">
              <a:extLst>
                <a:ext uri="{FF2B5EF4-FFF2-40B4-BE49-F238E27FC236}">
                  <a16:creationId xmlns:a16="http://schemas.microsoft.com/office/drawing/2014/main" id="{4D1B7878-E999-4E56-A360-203DCDDB7330}"/>
                </a:ext>
              </a:extLst>
            </p:cNvPr>
            <p:cNvSpPr/>
            <p:nvPr/>
          </p:nvSpPr>
          <p:spPr>
            <a:xfrm>
              <a:off x="8669534" y="4730496"/>
              <a:ext cx="324984" cy="560776"/>
            </a:xfrm>
            <a:custGeom>
              <a:avLst/>
              <a:gdLst>
                <a:gd name="connsiteX0" fmla="*/ 0 w 324984"/>
                <a:gd name="connsiteY0" fmla="*/ 128574 h 560776"/>
                <a:gd name="connsiteX1" fmla="*/ 299870 w 324984"/>
                <a:gd name="connsiteY1" fmla="*/ 557778 h 560776"/>
                <a:gd name="connsiteX2" fmla="*/ 310703 w 324984"/>
                <a:gd name="connsiteY2" fmla="*/ 559414 h 560776"/>
                <a:gd name="connsiteX3" fmla="*/ 311116 w 324984"/>
                <a:gd name="connsiteY3" fmla="*/ 560027 h 560776"/>
                <a:gd name="connsiteX4" fmla="*/ 311116 w 324984"/>
                <a:gd name="connsiteY4" fmla="*/ 560776 h 560776"/>
                <a:gd name="connsiteX5" fmla="*/ 324984 w 324984"/>
                <a:gd name="connsiteY5" fmla="*/ 553030 h 560776"/>
                <a:gd name="connsiteX6" fmla="*/ 324984 w 324984"/>
                <a:gd name="connsiteY6" fmla="*/ 551030 h 560776"/>
                <a:gd name="connsiteX7" fmla="*/ 294872 w 324984"/>
                <a:gd name="connsiteY7" fmla="*/ 81592 h 560776"/>
                <a:gd name="connsiteX8" fmla="*/ 237023 w 324984"/>
                <a:gd name="connsiteY8" fmla="*/ 0 h 56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984" h="560776">
                  <a:moveTo>
                    <a:pt x="0" y="128574"/>
                  </a:moveTo>
                  <a:lnTo>
                    <a:pt x="299870" y="557778"/>
                  </a:lnTo>
                  <a:cubicBezTo>
                    <a:pt x="303306" y="555241"/>
                    <a:pt x="308167" y="555966"/>
                    <a:pt x="310703" y="559414"/>
                  </a:cubicBezTo>
                  <a:cubicBezTo>
                    <a:pt x="310853" y="559602"/>
                    <a:pt x="310990" y="559814"/>
                    <a:pt x="311116" y="560027"/>
                  </a:cubicBezTo>
                  <a:lnTo>
                    <a:pt x="311116" y="560776"/>
                  </a:lnTo>
                  <a:lnTo>
                    <a:pt x="324984" y="553030"/>
                  </a:lnTo>
                  <a:lnTo>
                    <a:pt x="324984" y="551030"/>
                  </a:lnTo>
                  <a:lnTo>
                    <a:pt x="294872" y="81592"/>
                  </a:lnTo>
                  <a:lnTo>
                    <a:pt x="237023" y="0"/>
                  </a:lnTo>
                  <a:close/>
                </a:path>
              </a:pathLst>
            </a:custGeom>
            <a:solidFill>
              <a:schemeClr val="accent2"/>
            </a:solidFill>
            <a:ln w="12483" cap="flat">
              <a:noFill/>
              <a:prstDash val="solid"/>
              <a:miter/>
            </a:ln>
          </p:spPr>
          <p:txBody>
            <a:bodyPr rtlCol="0" anchor="ctr"/>
            <a:lstStyle/>
            <a:p>
              <a:endParaRPr lang="en-US"/>
            </a:p>
          </p:txBody>
        </p:sp>
        <p:sp>
          <p:nvSpPr>
            <p:cNvPr id="1054" name="Freeform: Shape 1053">
              <a:extLst>
                <a:ext uri="{FF2B5EF4-FFF2-40B4-BE49-F238E27FC236}">
                  <a16:creationId xmlns:a16="http://schemas.microsoft.com/office/drawing/2014/main" id="{0A45711E-87B1-4818-9884-7BD2E19C9649}"/>
                </a:ext>
              </a:extLst>
            </p:cNvPr>
            <p:cNvSpPr/>
            <p:nvPr/>
          </p:nvSpPr>
          <p:spPr>
            <a:xfrm>
              <a:off x="8662787" y="4860194"/>
              <a:ext cx="304368" cy="430827"/>
            </a:xfrm>
            <a:custGeom>
              <a:avLst/>
              <a:gdLst>
                <a:gd name="connsiteX0" fmla="*/ 2874 w 304368"/>
                <a:gd name="connsiteY0" fmla="*/ 999 h 430827"/>
                <a:gd name="connsiteX1" fmla="*/ 2874 w 304368"/>
                <a:gd name="connsiteY1" fmla="*/ 999 h 430827"/>
                <a:gd name="connsiteX2" fmla="*/ 999 w 304368"/>
                <a:gd name="connsiteY2" fmla="*/ 999 h 430827"/>
                <a:gd name="connsiteX3" fmla="*/ 0 w 304368"/>
                <a:gd name="connsiteY3" fmla="*/ 999 h 430827"/>
                <a:gd name="connsiteX4" fmla="*/ 299870 w 304368"/>
                <a:gd name="connsiteY4" fmla="*/ 430828 h 430827"/>
                <a:gd name="connsiteX5" fmla="*/ 300620 w 304368"/>
                <a:gd name="connsiteY5" fmla="*/ 430828 h 430827"/>
                <a:gd name="connsiteX6" fmla="*/ 304368 w 304368"/>
                <a:gd name="connsiteY6" fmla="*/ 429829 h 430827"/>
                <a:gd name="connsiteX7" fmla="*/ 4498 w 304368"/>
                <a:gd name="connsiteY7" fmla="*/ 0 h 43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68" h="430827">
                  <a:moveTo>
                    <a:pt x="2874" y="999"/>
                  </a:moveTo>
                  <a:lnTo>
                    <a:pt x="2874" y="999"/>
                  </a:lnTo>
                  <a:lnTo>
                    <a:pt x="999" y="999"/>
                  </a:lnTo>
                  <a:lnTo>
                    <a:pt x="0" y="999"/>
                  </a:lnTo>
                  <a:lnTo>
                    <a:pt x="299870" y="430828"/>
                  </a:lnTo>
                  <a:lnTo>
                    <a:pt x="300620" y="430828"/>
                  </a:lnTo>
                  <a:cubicBezTo>
                    <a:pt x="301745" y="430153"/>
                    <a:pt x="303044" y="429804"/>
                    <a:pt x="304368" y="429829"/>
                  </a:cubicBezTo>
                  <a:lnTo>
                    <a:pt x="4498" y="0"/>
                  </a:lnTo>
                  <a:close/>
                </a:path>
              </a:pathLst>
            </a:custGeom>
            <a:solidFill>
              <a:srgbClr val="088A8F"/>
            </a:solidFill>
            <a:ln w="12483" cap="flat">
              <a:noFill/>
              <a:prstDash val="solid"/>
              <a:miter/>
            </a:ln>
          </p:spPr>
          <p:txBody>
            <a:bodyPr rtlCol="0" anchor="ctr"/>
            <a:lstStyle/>
            <a:p>
              <a:endParaRPr lang="en-US"/>
            </a:p>
          </p:txBody>
        </p:sp>
        <p:sp>
          <p:nvSpPr>
            <p:cNvPr id="1055" name="Freeform: Shape 1054">
              <a:extLst>
                <a:ext uri="{FF2B5EF4-FFF2-40B4-BE49-F238E27FC236}">
                  <a16:creationId xmlns:a16="http://schemas.microsoft.com/office/drawing/2014/main" id="{EB839667-AD1A-462B-B136-F275E0380133}"/>
                </a:ext>
              </a:extLst>
            </p:cNvPr>
            <p:cNvSpPr/>
            <p:nvPr/>
          </p:nvSpPr>
          <p:spPr>
            <a:xfrm>
              <a:off x="8542214" y="5310639"/>
              <a:ext cx="456427" cy="279888"/>
            </a:xfrm>
            <a:custGeom>
              <a:avLst/>
              <a:gdLst>
                <a:gd name="connsiteX0" fmla="*/ 26614 w 456427"/>
                <a:gd name="connsiteY0" fmla="*/ 279888 h 279888"/>
                <a:gd name="connsiteX1" fmla="*/ 456428 w 456427"/>
                <a:gd name="connsiteY1" fmla="*/ 39109 h 279888"/>
                <a:gd name="connsiteX2" fmla="*/ 429065 w 456427"/>
                <a:gd name="connsiteY2" fmla="*/ 0 h 279888"/>
                <a:gd name="connsiteX3" fmla="*/ 428440 w 456427"/>
                <a:gd name="connsiteY3" fmla="*/ 0 h 279888"/>
                <a:gd name="connsiteX4" fmla="*/ 423067 w 456427"/>
                <a:gd name="connsiteY4" fmla="*/ 3124 h 279888"/>
                <a:gd name="connsiteX5" fmla="*/ 0 w 456427"/>
                <a:gd name="connsiteY5" fmla="*/ 239280 h 279888"/>
                <a:gd name="connsiteX6" fmla="*/ 26364 w 456427"/>
                <a:gd name="connsiteY6" fmla="*/ 278764 h 279888"/>
                <a:gd name="connsiteX7" fmla="*/ 26614 w 456427"/>
                <a:gd name="connsiteY7" fmla="*/ 279888 h 27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427" h="279888">
                  <a:moveTo>
                    <a:pt x="26614" y="279888"/>
                  </a:moveTo>
                  <a:lnTo>
                    <a:pt x="456428" y="39109"/>
                  </a:lnTo>
                  <a:lnTo>
                    <a:pt x="429065" y="0"/>
                  </a:lnTo>
                  <a:lnTo>
                    <a:pt x="428440" y="0"/>
                  </a:lnTo>
                  <a:lnTo>
                    <a:pt x="423067" y="3124"/>
                  </a:lnTo>
                  <a:lnTo>
                    <a:pt x="0" y="239280"/>
                  </a:lnTo>
                  <a:lnTo>
                    <a:pt x="26364" y="278764"/>
                  </a:lnTo>
                  <a:cubicBezTo>
                    <a:pt x="26364" y="278764"/>
                    <a:pt x="26489" y="279639"/>
                    <a:pt x="26614" y="279888"/>
                  </a:cubicBezTo>
                  <a:close/>
                </a:path>
              </a:pathLst>
            </a:custGeom>
            <a:solidFill>
              <a:schemeClr val="accent5"/>
            </a:solidFill>
            <a:ln w="12483" cap="flat">
              <a:noFill/>
              <a:prstDash val="solid"/>
              <a:miter/>
            </a:ln>
          </p:spPr>
          <p:txBody>
            <a:bodyPr rtlCol="0" anchor="ctr"/>
            <a:lstStyle/>
            <a:p>
              <a:endParaRPr lang="en-US"/>
            </a:p>
          </p:txBody>
        </p:sp>
        <p:sp>
          <p:nvSpPr>
            <p:cNvPr id="1056" name="Freeform: Shape 1055">
              <a:extLst>
                <a:ext uri="{FF2B5EF4-FFF2-40B4-BE49-F238E27FC236}">
                  <a16:creationId xmlns:a16="http://schemas.microsoft.com/office/drawing/2014/main" id="{25B5E229-C921-4A1D-87A9-73178E3CBE8F}"/>
                </a:ext>
              </a:extLst>
            </p:cNvPr>
            <p:cNvSpPr/>
            <p:nvPr/>
          </p:nvSpPr>
          <p:spPr>
            <a:xfrm>
              <a:off x="8983399" y="5287648"/>
              <a:ext cx="13619" cy="26239"/>
            </a:xfrm>
            <a:custGeom>
              <a:avLst/>
              <a:gdLst>
                <a:gd name="connsiteX0" fmla="*/ 13619 w 13619"/>
                <a:gd name="connsiteY0" fmla="*/ 26240 h 26239"/>
                <a:gd name="connsiteX1" fmla="*/ 11870 w 13619"/>
                <a:gd name="connsiteY1" fmla="*/ 0 h 26239"/>
                <a:gd name="connsiteX2" fmla="*/ 0 w 13619"/>
                <a:gd name="connsiteY2" fmla="*/ 6622 h 26239"/>
                <a:gd name="connsiteX3" fmla="*/ 13619 w 13619"/>
                <a:gd name="connsiteY3" fmla="*/ 26240 h 26239"/>
              </a:gdLst>
              <a:ahLst/>
              <a:cxnLst>
                <a:cxn ang="0">
                  <a:pos x="connsiteX0" y="connsiteY0"/>
                </a:cxn>
                <a:cxn ang="0">
                  <a:pos x="connsiteX1" y="connsiteY1"/>
                </a:cxn>
                <a:cxn ang="0">
                  <a:pos x="connsiteX2" y="connsiteY2"/>
                </a:cxn>
                <a:cxn ang="0">
                  <a:pos x="connsiteX3" y="connsiteY3"/>
                </a:cxn>
              </a:cxnLst>
              <a:rect l="l" t="t" r="r" b="b"/>
              <a:pathLst>
                <a:path w="13619" h="26239">
                  <a:moveTo>
                    <a:pt x="13619" y="26240"/>
                  </a:moveTo>
                  <a:lnTo>
                    <a:pt x="11870" y="0"/>
                  </a:lnTo>
                  <a:lnTo>
                    <a:pt x="0" y="6622"/>
                  </a:lnTo>
                  <a:lnTo>
                    <a:pt x="13619" y="26240"/>
                  </a:lnTo>
                  <a:close/>
                </a:path>
              </a:pathLst>
            </a:custGeom>
            <a:solidFill>
              <a:srgbClr val="F9C996"/>
            </a:solidFill>
            <a:ln w="12483" cap="flat">
              <a:no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AE1E4170-E0E6-452E-9832-2829C2D407F8}"/>
                </a:ext>
              </a:extLst>
            </p:cNvPr>
            <p:cNvSpPr/>
            <p:nvPr/>
          </p:nvSpPr>
          <p:spPr>
            <a:xfrm>
              <a:off x="8630051" y="3993289"/>
              <a:ext cx="329232" cy="733707"/>
            </a:xfrm>
            <a:custGeom>
              <a:avLst/>
              <a:gdLst>
                <a:gd name="connsiteX0" fmla="*/ 318987 w 329232"/>
                <a:gd name="connsiteY0" fmla="*/ 437326 h 733707"/>
                <a:gd name="connsiteX1" fmla="*/ 0 w 329232"/>
                <a:gd name="connsiteY1" fmla="*/ 0 h 733707"/>
                <a:gd name="connsiteX2" fmla="*/ 24240 w 329232"/>
                <a:gd name="connsiteY2" fmla="*/ 308877 h 733707"/>
                <a:gd name="connsiteX3" fmla="*/ 329233 w 329232"/>
                <a:gd name="connsiteY3" fmla="*/ 733707 h 733707"/>
                <a:gd name="connsiteX4" fmla="*/ 310991 w 329232"/>
                <a:gd name="connsiteY4" fmla="*/ 449821 h 733707"/>
                <a:gd name="connsiteX5" fmla="*/ 310991 w 329232"/>
                <a:gd name="connsiteY5" fmla="*/ 449821 h 733707"/>
                <a:gd name="connsiteX6" fmla="*/ 310991 w 329232"/>
                <a:gd name="connsiteY6" fmla="*/ 447572 h 733707"/>
                <a:gd name="connsiteX7" fmla="*/ 310991 w 329232"/>
                <a:gd name="connsiteY7" fmla="*/ 445697 h 733707"/>
                <a:gd name="connsiteX8" fmla="*/ 311865 w 329232"/>
                <a:gd name="connsiteY8" fmla="*/ 443823 h 733707"/>
                <a:gd name="connsiteX9" fmla="*/ 312740 w 329232"/>
                <a:gd name="connsiteY9" fmla="*/ 442199 h 733707"/>
                <a:gd name="connsiteX10" fmla="*/ 313990 w 329232"/>
                <a:gd name="connsiteY10" fmla="*/ 440949 h 733707"/>
                <a:gd name="connsiteX11" fmla="*/ 315489 w 329232"/>
                <a:gd name="connsiteY11" fmla="*/ 439700 h 733707"/>
                <a:gd name="connsiteX12" fmla="*/ 315489 w 329232"/>
                <a:gd name="connsiteY12" fmla="*/ 439700 h 7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232" h="733707">
                  <a:moveTo>
                    <a:pt x="318987" y="437326"/>
                  </a:moveTo>
                  <a:lnTo>
                    <a:pt x="0" y="0"/>
                  </a:lnTo>
                  <a:lnTo>
                    <a:pt x="24240" y="308877"/>
                  </a:lnTo>
                  <a:lnTo>
                    <a:pt x="329233" y="733707"/>
                  </a:lnTo>
                  <a:lnTo>
                    <a:pt x="310991" y="449821"/>
                  </a:lnTo>
                  <a:lnTo>
                    <a:pt x="310991" y="449821"/>
                  </a:lnTo>
                  <a:cubicBezTo>
                    <a:pt x="310928" y="449071"/>
                    <a:pt x="310928" y="448321"/>
                    <a:pt x="310991" y="447572"/>
                  </a:cubicBezTo>
                  <a:cubicBezTo>
                    <a:pt x="310928" y="446947"/>
                    <a:pt x="310928" y="446322"/>
                    <a:pt x="310991" y="445697"/>
                  </a:cubicBezTo>
                  <a:cubicBezTo>
                    <a:pt x="311178" y="445035"/>
                    <a:pt x="311478" y="444398"/>
                    <a:pt x="311865" y="443823"/>
                  </a:cubicBezTo>
                  <a:cubicBezTo>
                    <a:pt x="312103" y="443261"/>
                    <a:pt x="312403" y="442711"/>
                    <a:pt x="312740" y="442199"/>
                  </a:cubicBezTo>
                  <a:cubicBezTo>
                    <a:pt x="313052" y="441699"/>
                    <a:pt x="313490" y="441262"/>
                    <a:pt x="313990" y="440949"/>
                  </a:cubicBezTo>
                  <a:cubicBezTo>
                    <a:pt x="314402" y="440437"/>
                    <a:pt x="314914" y="440012"/>
                    <a:pt x="315489" y="439700"/>
                  </a:cubicBezTo>
                  <a:lnTo>
                    <a:pt x="315489" y="439700"/>
                  </a:lnTo>
                  <a:close/>
                </a:path>
              </a:pathLst>
            </a:custGeom>
            <a:solidFill>
              <a:srgbClr val="0A4054"/>
            </a:solidFill>
            <a:ln w="12483" cap="flat">
              <a:no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3529FC48-C98E-49E1-B911-519B51123B73}"/>
                </a:ext>
              </a:extLst>
            </p:cNvPr>
            <p:cNvSpPr/>
            <p:nvPr/>
          </p:nvSpPr>
          <p:spPr>
            <a:xfrm>
              <a:off x="8557083" y="3710902"/>
              <a:ext cx="152434" cy="272016"/>
            </a:xfrm>
            <a:custGeom>
              <a:avLst/>
              <a:gdLst>
                <a:gd name="connsiteX0" fmla="*/ 59974 w 152434"/>
                <a:gd name="connsiteY0" fmla="*/ 257397 h 272016"/>
                <a:gd name="connsiteX1" fmla="*/ 59974 w 152434"/>
                <a:gd name="connsiteY1" fmla="*/ 257397 h 272016"/>
                <a:gd name="connsiteX2" fmla="*/ 61224 w 152434"/>
                <a:gd name="connsiteY2" fmla="*/ 257397 h 272016"/>
                <a:gd name="connsiteX3" fmla="*/ 61848 w 152434"/>
                <a:gd name="connsiteY3" fmla="*/ 256023 h 272016"/>
                <a:gd name="connsiteX4" fmla="*/ 62723 w 152434"/>
                <a:gd name="connsiteY4" fmla="*/ 254523 h 272016"/>
                <a:gd name="connsiteX5" fmla="*/ 62723 w 152434"/>
                <a:gd name="connsiteY5" fmla="*/ 253899 h 272016"/>
                <a:gd name="connsiteX6" fmla="*/ 62723 w 152434"/>
                <a:gd name="connsiteY6" fmla="*/ 253899 h 272016"/>
                <a:gd name="connsiteX7" fmla="*/ 63597 w 152434"/>
                <a:gd name="connsiteY7" fmla="*/ 253274 h 272016"/>
                <a:gd name="connsiteX8" fmla="*/ 64847 w 152434"/>
                <a:gd name="connsiteY8" fmla="*/ 252400 h 272016"/>
                <a:gd name="connsiteX9" fmla="*/ 64847 w 152434"/>
                <a:gd name="connsiteY9" fmla="*/ 252400 h 272016"/>
                <a:gd name="connsiteX10" fmla="*/ 84589 w 152434"/>
                <a:gd name="connsiteY10" fmla="*/ 242154 h 272016"/>
                <a:gd name="connsiteX11" fmla="*/ 152434 w 152434"/>
                <a:gd name="connsiteY11" fmla="*/ 207043 h 272016"/>
                <a:gd name="connsiteX12" fmla="*/ 0 w 152434"/>
                <a:gd name="connsiteY12" fmla="*/ 0 h 272016"/>
                <a:gd name="connsiteX13" fmla="*/ 21491 w 152434"/>
                <a:gd name="connsiteY13" fmla="*/ 244902 h 272016"/>
                <a:gd name="connsiteX14" fmla="*/ 18367 w 152434"/>
                <a:gd name="connsiteY14" fmla="*/ 254024 h 272016"/>
                <a:gd name="connsiteX15" fmla="*/ 31486 w 152434"/>
                <a:gd name="connsiteY15" fmla="*/ 272017 h 272016"/>
                <a:gd name="connsiteX16" fmla="*/ 34110 w 152434"/>
                <a:gd name="connsiteY16" fmla="*/ 270642 h 27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34" h="272016">
                  <a:moveTo>
                    <a:pt x="59974" y="257397"/>
                  </a:moveTo>
                  <a:lnTo>
                    <a:pt x="59974" y="257397"/>
                  </a:lnTo>
                  <a:lnTo>
                    <a:pt x="61224" y="257397"/>
                  </a:lnTo>
                  <a:cubicBezTo>
                    <a:pt x="61361" y="256910"/>
                    <a:pt x="61561" y="256448"/>
                    <a:pt x="61848" y="256023"/>
                  </a:cubicBezTo>
                  <a:cubicBezTo>
                    <a:pt x="62098" y="255498"/>
                    <a:pt x="62385" y="254999"/>
                    <a:pt x="62723" y="254523"/>
                  </a:cubicBezTo>
                  <a:lnTo>
                    <a:pt x="62723" y="253899"/>
                  </a:lnTo>
                  <a:lnTo>
                    <a:pt x="62723" y="253899"/>
                  </a:lnTo>
                  <a:lnTo>
                    <a:pt x="63597" y="253274"/>
                  </a:lnTo>
                  <a:lnTo>
                    <a:pt x="64847" y="252400"/>
                  </a:lnTo>
                  <a:lnTo>
                    <a:pt x="64847" y="252400"/>
                  </a:lnTo>
                  <a:lnTo>
                    <a:pt x="84589" y="242154"/>
                  </a:lnTo>
                  <a:lnTo>
                    <a:pt x="152434" y="207043"/>
                  </a:lnTo>
                  <a:lnTo>
                    <a:pt x="0" y="0"/>
                  </a:lnTo>
                  <a:lnTo>
                    <a:pt x="21491" y="244902"/>
                  </a:lnTo>
                  <a:cubicBezTo>
                    <a:pt x="21716" y="248239"/>
                    <a:pt x="20591" y="251525"/>
                    <a:pt x="18367" y="254024"/>
                  </a:cubicBezTo>
                  <a:lnTo>
                    <a:pt x="31486" y="272017"/>
                  </a:lnTo>
                  <a:lnTo>
                    <a:pt x="34110" y="270642"/>
                  </a:lnTo>
                  <a:close/>
                </a:path>
              </a:pathLst>
            </a:custGeom>
            <a:solidFill>
              <a:schemeClr val="accent2"/>
            </a:solidFill>
            <a:ln w="12483" cap="flat">
              <a:no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F1F048A0-1741-4651-B214-95916D849CB9}"/>
                </a:ext>
              </a:extLst>
            </p:cNvPr>
            <p:cNvSpPr/>
            <p:nvPr/>
          </p:nvSpPr>
          <p:spPr>
            <a:xfrm>
              <a:off x="7975459" y="3438636"/>
              <a:ext cx="905733" cy="706468"/>
            </a:xfrm>
            <a:custGeom>
              <a:avLst/>
              <a:gdLst>
                <a:gd name="connsiteX0" fmla="*/ 418194 w 905733"/>
                <a:gd name="connsiteY0" fmla="*/ 590889 h 706468"/>
                <a:gd name="connsiteX1" fmla="*/ 420069 w 905733"/>
                <a:gd name="connsiteY1" fmla="*/ 590889 h 706468"/>
                <a:gd name="connsiteX2" fmla="*/ 421693 w 905733"/>
                <a:gd name="connsiteY2" fmla="*/ 590889 h 706468"/>
                <a:gd name="connsiteX3" fmla="*/ 423317 w 905733"/>
                <a:gd name="connsiteY3" fmla="*/ 590889 h 706468"/>
                <a:gd name="connsiteX4" fmla="*/ 425066 w 905733"/>
                <a:gd name="connsiteY4" fmla="*/ 591514 h 706468"/>
                <a:gd name="connsiteX5" fmla="*/ 426316 w 905733"/>
                <a:gd name="connsiteY5" fmla="*/ 592389 h 706468"/>
                <a:gd name="connsiteX6" fmla="*/ 427815 w 905733"/>
                <a:gd name="connsiteY6" fmla="*/ 593888 h 706468"/>
                <a:gd name="connsiteX7" fmla="*/ 427815 w 905733"/>
                <a:gd name="connsiteY7" fmla="*/ 593888 h 706468"/>
                <a:gd name="connsiteX8" fmla="*/ 452055 w 905733"/>
                <a:gd name="connsiteY8" fmla="*/ 627750 h 706468"/>
                <a:gd name="connsiteX9" fmla="*/ 612735 w 905733"/>
                <a:gd name="connsiteY9" fmla="*/ 544658 h 706468"/>
                <a:gd name="connsiteX10" fmla="*/ 599616 w 905733"/>
                <a:gd name="connsiteY10" fmla="*/ 526665 h 706468"/>
                <a:gd name="connsiteX11" fmla="*/ 594618 w 905733"/>
                <a:gd name="connsiteY11" fmla="*/ 529414 h 706468"/>
                <a:gd name="connsiteX12" fmla="*/ 584747 w 905733"/>
                <a:gd name="connsiteY12" fmla="*/ 520043 h 706468"/>
                <a:gd name="connsiteX13" fmla="*/ 584747 w 905733"/>
                <a:gd name="connsiteY13" fmla="*/ 519668 h 706468"/>
                <a:gd name="connsiteX14" fmla="*/ 563881 w 905733"/>
                <a:gd name="connsiteY14" fmla="*/ 255523 h 706468"/>
                <a:gd name="connsiteX15" fmla="*/ 563881 w 905733"/>
                <a:gd name="connsiteY15" fmla="*/ 255523 h 706468"/>
                <a:gd name="connsiteX16" fmla="*/ 563881 w 905733"/>
                <a:gd name="connsiteY16" fmla="*/ 253274 h 706468"/>
                <a:gd name="connsiteX17" fmla="*/ 563881 w 905733"/>
                <a:gd name="connsiteY17" fmla="*/ 251400 h 706468"/>
                <a:gd name="connsiteX18" fmla="*/ 564631 w 905733"/>
                <a:gd name="connsiteY18" fmla="*/ 249525 h 706468"/>
                <a:gd name="connsiteX19" fmla="*/ 565631 w 905733"/>
                <a:gd name="connsiteY19" fmla="*/ 247901 h 706468"/>
                <a:gd name="connsiteX20" fmla="*/ 566880 w 905733"/>
                <a:gd name="connsiteY20" fmla="*/ 246652 h 706468"/>
                <a:gd name="connsiteX21" fmla="*/ 568379 w 905733"/>
                <a:gd name="connsiteY21" fmla="*/ 245277 h 706468"/>
                <a:gd name="connsiteX22" fmla="*/ 568379 w 905733"/>
                <a:gd name="connsiteY22" fmla="*/ 245277 h 706468"/>
                <a:gd name="connsiteX23" fmla="*/ 905734 w 905733"/>
                <a:gd name="connsiteY23" fmla="*/ 73596 h 706468"/>
                <a:gd name="connsiteX24" fmla="*/ 850633 w 905733"/>
                <a:gd name="connsiteY24" fmla="*/ 1374 h 706468"/>
                <a:gd name="connsiteX25" fmla="*/ 849633 w 905733"/>
                <a:gd name="connsiteY25" fmla="*/ 0 h 706468"/>
                <a:gd name="connsiteX26" fmla="*/ 0 w 905733"/>
                <a:gd name="connsiteY26" fmla="*/ 428829 h 706468"/>
                <a:gd name="connsiteX27" fmla="*/ 193916 w 905733"/>
                <a:gd name="connsiteY27" fmla="*/ 706468 h 706468"/>
                <a:gd name="connsiteX28" fmla="*/ 416570 w 905733"/>
                <a:gd name="connsiteY28" fmla="*/ 591639 h 70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5733" h="706468">
                  <a:moveTo>
                    <a:pt x="418194" y="590889"/>
                  </a:moveTo>
                  <a:cubicBezTo>
                    <a:pt x="418819" y="590777"/>
                    <a:pt x="419444" y="590777"/>
                    <a:pt x="420069" y="590889"/>
                  </a:cubicBezTo>
                  <a:lnTo>
                    <a:pt x="421693" y="590889"/>
                  </a:lnTo>
                  <a:lnTo>
                    <a:pt x="423317" y="590889"/>
                  </a:lnTo>
                  <a:cubicBezTo>
                    <a:pt x="423929" y="590989"/>
                    <a:pt x="424529" y="591189"/>
                    <a:pt x="425066" y="591514"/>
                  </a:cubicBezTo>
                  <a:lnTo>
                    <a:pt x="426316" y="592389"/>
                  </a:lnTo>
                  <a:cubicBezTo>
                    <a:pt x="426878" y="592826"/>
                    <a:pt x="427378" y="593326"/>
                    <a:pt x="427815" y="593888"/>
                  </a:cubicBezTo>
                  <a:lnTo>
                    <a:pt x="427815" y="593888"/>
                  </a:lnTo>
                  <a:lnTo>
                    <a:pt x="452055" y="627750"/>
                  </a:lnTo>
                  <a:lnTo>
                    <a:pt x="612735" y="544658"/>
                  </a:lnTo>
                  <a:lnTo>
                    <a:pt x="599616" y="526665"/>
                  </a:lnTo>
                  <a:cubicBezTo>
                    <a:pt x="598304" y="528127"/>
                    <a:pt x="596542" y="529089"/>
                    <a:pt x="594618" y="529414"/>
                  </a:cubicBezTo>
                  <a:cubicBezTo>
                    <a:pt x="589308" y="529551"/>
                    <a:pt x="584885" y="525353"/>
                    <a:pt x="584747" y="520043"/>
                  </a:cubicBezTo>
                  <a:cubicBezTo>
                    <a:pt x="584747" y="519918"/>
                    <a:pt x="584747" y="519793"/>
                    <a:pt x="584747" y="519668"/>
                  </a:cubicBezTo>
                  <a:lnTo>
                    <a:pt x="563881" y="255523"/>
                  </a:lnTo>
                  <a:cubicBezTo>
                    <a:pt x="563881" y="255523"/>
                    <a:pt x="563881" y="255523"/>
                    <a:pt x="563881" y="255523"/>
                  </a:cubicBezTo>
                  <a:cubicBezTo>
                    <a:pt x="563757" y="254773"/>
                    <a:pt x="563757" y="254024"/>
                    <a:pt x="563881" y="253274"/>
                  </a:cubicBezTo>
                  <a:cubicBezTo>
                    <a:pt x="563819" y="252649"/>
                    <a:pt x="563819" y="252024"/>
                    <a:pt x="563881" y="251400"/>
                  </a:cubicBezTo>
                  <a:cubicBezTo>
                    <a:pt x="564081" y="250750"/>
                    <a:pt x="564331" y="250125"/>
                    <a:pt x="564631" y="249525"/>
                  </a:cubicBezTo>
                  <a:lnTo>
                    <a:pt x="565631" y="247901"/>
                  </a:lnTo>
                  <a:cubicBezTo>
                    <a:pt x="565943" y="247401"/>
                    <a:pt x="566380" y="246964"/>
                    <a:pt x="566880" y="246652"/>
                  </a:cubicBezTo>
                  <a:cubicBezTo>
                    <a:pt x="567317" y="246127"/>
                    <a:pt x="567817" y="245664"/>
                    <a:pt x="568379" y="245277"/>
                  </a:cubicBezTo>
                  <a:lnTo>
                    <a:pt x="568379" y="245277"/>
                  </a:lnTo>
                  <a:lnTo>
                    <a:pt x="905734" y="73596"/>
                  </a:lnTo>
                  <a:lnTo>
                    <a:pt x="850633" y="1374"/>
                  </a:lnTo>
                  <a:lnTo>
                    <a:pt x="849633" y="0"/>
                  </a:lnTo>
                  <a:lnTo>
                    <a:pt x="0" y="428829"/>
                  </a:lnTo>
                  <a:lnTo>
                    <a:pt x="193916" y="706468"/>
                  </a:lnTo>
                  <a:lnTo>
                    <a:pt x="416570" y="591639"/>
                  </a:lnTo>
                  <a:close/>
                </a:path>
              </a:pathLst>
            </a:custGeom>
            <a:solidFill>
              <a:schemeClr val="accent5"/>
            </a:solidFill>
            <a:ln w="12483" cap="flat">
              <a:no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1DE3BFBA-D74A-4E59-9A6C-AD7E069B0FE8}"/>
                </a:ext>
              </a:extLst>
            </p:cNvPr>
            <p:cNvSpPr/>
            <p:nvPr/>
          </p:nvSpPr>
          <p:spPr>
            <a:xfrm>
              <a:off x="8651042" y="3986667"/>
              <a:ext cx="318487" cy="433952"/>
            </a:xfrm>
            <a:custGeom>
              <a:avLst/>
              <a:gdLst>
                <a:gd name="connsiteX0" fmla="*/ 750 w 318487"/>
                <a:gd name="connsiteY0" fmla="*/ 1499 h 433952"/>
                <a:gd name="connsiteX1" fmla="*/ 750 w 318487"/>
                <a:gd name="connsiteY1" fmla="*/ 1499 h 433952"/>
                <a:gd name="connsiteX2" fmla="*/ 0 w 318487"/>
                <a:gd name="connsiteY2" fmla="*/ 1499 h 433952"/>
                <a:gd name="connsiteX3" fmla="*/ 315489 w 318487"/>
                <a:gd name="connsiteY3" fmla="*/ 433952 h 433952"/>
                <a:gd name="connsiteX4" fmla="*/ 318487 w 318487"/>
                <a:gd name="connsiteY4" fmla="*/ 432452 h 433952"/>
                <a:gd name="connsiteX5" fmla="*/ 2249 w 318487"/>
                <a:gd name="connsiteY5" fmla="*/ 0 h 43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487" h="433952">
                  <a:moveTo>
                    <a:pt x="750" y="1499"/>
                  </a:moveTo>
                  <a:lnTo>
                    <a:pt x="750" y="1499"/>
                  </a:lnTo>
                  <a:lnTo>
                    <a:pt x="0" y="1499"/>
                  </a:lnTo>
                  <a:lnTo>
                    <a:pt x="315489" y="433952"/>
                  </a:lnTo>
                  <a:lnTo>
                    <a:pt x="318487" y="432452"/>
                  </a:lnTo>
                  <a:lnTo>
                    <a:pt x="2249" y="0"/>
                  </a:lnTo>
                  <a:close/>
                </a:path>
              </a:pathLst>
            </a:custGeom>
            <a:solidFill>
              <a:srgbClr val="0A4054"/>
            </a:solidFill>
            <a:ln w="12483" cap="flat">
              <a:no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7B01FD17-5B95-4D2C-B82F-F8F61947F948}"/>
                </a:ext>
              </a:extLst>
            </p:cNvPr>
            <p:cNvSpPr/>
            <p:nvPr/>
          </p:nvSpPr>
          <p:spPr>
            <a:xfrm>
              <a:off x="8631551" y="4305665"/>
              <a:ext cx="330481" cy="469187"/>
            </a:xfrm>
            <a:custGeom>
              <a:avLst/>
              <a:gdLst>
                <a:gd name="connsiteX0" fmla="*/ 0 w 330481"/>
                <a:gd name="connsiteY0" fmla="*/ 10496 h 469187"/>
                <a:gd name="connsiteX1" fmla="*/ 280379 w 330481"/>
                <a:gd name="connsiteY1" fmla="*/ 401715 h 469187"/>
                <a:gd name="connsiteX2" fmla="*/ 281003 w 330481"/>
                <a:gd name="connsiteY2" fmla="*/ 401715 h 469187"/>
                <a:gd name="connsiteX3" fmla="*/ 282378 w 330481"/>
                <a:gd name="connsiteY3" fmla="*/ 402715 h 469187"/>
                <a:gd name="connsiteX4" fmla="*/ 283877 w 330481"/>
                <a:gd name="connsiteY4" fmla="*/ 404089 h 469187"/>
                <a:gd name="connsiteX5" fmla="*/ 283877 w 330481"/>
                <a:gd name="connsiteY5" fmla="*/ 404089 h 469187"/>
                <a:gd name="connsiteX6" fmla="*/ 330482 w 330481"/>
                <a:gd name="connsiteY6" fmla="*/ 469188 h 469187"/>
                <a:gd name="connsiteX7" fmla="*/ 328483 w 330481"/>
                <a:gd name="connsiteY7" fmla="*/ 438075 h 469187"/>
                <a:gd name="connsiteX8" fmla="*/ 327858 w 330481"/>
                <a:gd name="connsiteY8" fmla="*/ 426705 h 469187"/>
                <a:gd name="connsiteX9" fmla="*/ 20866 w 330481"/>
                <a:gd name="connsiteY9" fmla="*/ 0 h 4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481" h="469187">
                  <a:moveTo>
                    <a:pt x="0" y="10496"/>
                  </a:moveTo>
                  <a:lnTo>
                    <a:pt x="280379" y="401715"/>
                  </a:lnTo>
                  <a:lnTo>
                    <a:pt x="281003" y="401715"/>
                  </a:lnTo>
                  <a:lnTo>
                    <a:pt x="282378" y="402715"/>
                  </a:lnTo>
                  <a:lnTo>
                    <a:pt x="283877" y="404089"/>
                  </a:lnTo>
                  <a:lnTo>
                    <a:pt x="283877" y="404089"/>
                  </a:lnTo>
                  <a:lnTo>
                    <a:pt x="330482" y="469188"/>
                  </a:lnTo>
                  <a:lnTo>
                    <a:pt x="328483" y="438075"/>
                  </a:lnTo>
                  <a:lnTo>
                    <a:pt x="327858" y="426705"/>
                  </a:lnTo>
                  <a:lnTo>
                    <a:pt x="20866" y="0"/>
                  </a:lnTo>
                  <a:close/>
                </a:path>
              </a:pathLst>
            </a:custGeom>
            <a:solidFill>
              <a:srgbClr val="F39896"/>
            </a:solidFill>
            <a:ln w="12483" cap="flat">
              <a:no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22B322AB-2355-452B-8CB5-F9E499103B2B}"/>
                </a:ext>
              </a:extLst>
            </p:cNvPr>
            <p:cNvSpPr/>
            <p:nvPr/>
          </p:nvSpPr>
          <p:spPr>
            <a:xfrm>
              <a:off x="8657290" y="4860944"/>
              <a:ext cx="302119" cy="433952"/>
            </a:xfrm>
            <a:custGeom>
              <a:avLst/>
              <a:gdLst>
                <a:gd name="connsiteX0" fmla="*/ 0 w 302119"/>
                <a:gd name="connsiteY0" fmla="*/ 0 h 433952"/>
                <a:gd name="connsiteX1" fmla="*/ 375 w 302119"/>
                <a:gd name="connsiteY1" fmla="*/ 5248 h 433952"/>
                <a:gd name="connsiteX2" fmla="*/ 299745 w 302119"/>
                <a:gd name="connsiteY2" fmla="*/ 433952 h 433952"/>
                <a:gd name="connsiteX3" fmla="*/ 300495 w 302119"/>
                <a:gd name="connsiteY3" fmla="*/ 433577 h 433952"/>
                <a:gd name="connsiteX4" fmla="*/ 302119 w 302119"/>
                <a:gd name="connsiteY4" fmla="*/ 432703 h 433952"/>
                <a:gd name="connsiteX5" fmla="*/ 0 w 302119"/>
                <a:gd name="connsiteY5" fmla="*/ 0 h 43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119" h="433952">
                  <a:moveTo>
                    <a:pt x="0" y="0"/>
                  </a:moveTo>
                  <a:lnTo>
                    <a:pt x="375" y="5248"/>
                  </a:lnTo>
                  <a:lnTo>
                    <a:pt x="299745" y="433952"/>
                  </a:lnTo>
                  <a:lnTo>
                    <a:pt x="300495" y="433577"/>
                  </a:lnTo>
                  <a:lnTo>
                    <a:pt x="302119" y="432703"/>
                  </a:lnTo>
                  <a:lnTo>
                    <a:pt x="0" y="0"/>
                  </a:lnTo>
                  <a:close/>
                </a:path>
              </a:pathLst>
            </a:custGeom>
            <a:solidFill>
              <a:srgbClr val="66B2B0"/>
            </a:solidFill>
            <a:ln w="12483" cap="flat">
              <a:no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03A8E48D-A3AA-4C38-98D4-983B1372913E}"/>
                </a:ext>
              </a:extLst>
            </p:cNvPr>
            <p:cNvSpPr/>
            <p:nvPr/>
          </p:nvSpPr>
          <p:spPr>
            <a:xfrm>
              <a:off x="8571174" y="5353247"/>
              <a:ext cx="456205" cy="561651"/>
            </a:xfrm>
            <a:custGeom>
              <a:avLst/>
              <a:gdLst>
                <a:gd name="connsiteX0" fmla="*/ 435090 w 456205"/>
                <a:gd name="connsiteY0" fmla="*/ 3749 h 561651"/>
                <a:gd name="connsiteX1" fmla="*/ 433466 w 456205"/>
                <a:gd name="connsiteY1" fmla="*/ 3124 h 561651"/>
                <a:gd name="connsiteX2" fmla="*/ 432092 w 456205"/>
                <a:gd name="connsiteY2" fmla="*/ 2124 h 561651"/>
                <a:gd name="connsiteX3" fmla="*/ 430592 w 456205"/>
                <a:gd name="connsiteY3" fmla="*/ 750 h 561651"/>
                <a:gd name="connsiteX4" fmla="*/ 430592 w 456205"/>
                <a:gd name="connsiteY4" fmla="*/ 750 h 561651"/>
                <a:gd name="connsiteX5" fmla="*/ 430592 w 456205"/>
                <a:gd name="connsiteY5" fmla="*/ 0 h 561651"/>
                <a:gd name="connsiteX6" fmla="*/ 28 w 456205"/>
                <a:gd name="connsiteY6" fmla="*/ 241154 h 561651"/>
                <a:gd name="connsiteX7" fmla="*/ 28 w 456205"/>
                <a:gd name="connsiteY7" fmla="*/ 241904 h 561651"/>
                <a:gd name="connsiteX8" fmla="*/ 28 w 456205"/>
                <a:gd name="connsiteY8" fmla="*/ 242778 h 561651"/>
                <a:gd name="connsiteX9" fmla="*/ 22518 w 456205"/>
                <a:gd name="connsiteY9" fmla="*/ 501800 h 561651"/>
                <a:gd name="connsiteX10" fmla="*/ 27766 w 456205"/>
                <a:gd name="connsiteY10" fmla="*/ 561651 h 561651"/>
                <a:gd name="connsiteX11" fmla="*/ 456206 w 456205"/>
                <a:gd name="connsiteY11" fmla="*/ 317748 h 561651"/>
                <a:gd name="connsiteX12" fmla="*/ 435965 w 456205"/>
                <a:gd name="connsiteY12" fmla="*/ 3873 h 56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205" h="561651">
                  <a:moveTo>
                    <a:pt x="435090" y="3749"/>
                  </a:moveTo>
                  <a:lnTo>
                    <a:pt x="433466" y="3124"/>
                  </a:lnTo>
                  <a:lnTo>
                    <a:pt x="432092" y="2124"/>
                  </a:lnTo>
                  <a:cubicBezTo>
                    <a:pt x="431504" y="1774"/>
                    <a:pt x="430992" y="1300"/>
                    <a:pt x="430592" y="750"/>
                  </a:cubicBezTo>
                  <a:lnTo>
                    <a:pt x="430592" y="750"/>
                  </a:lnTo>
                  <a:lnTo>
                    <a:pt x="430592" y="0"/>
                  </a:lnTo>
                  <a:lnTo>
                    <a:pt x="28" y="241154"/>
                  </a:lnTo>
                  <a:cubicBezTo>
                    <a:pt x="91" y="241404"/>
                    <a:pt x="91" y="241654"/>
                    <a:pt x="28" y="241904"/>
                  </a:cubicBezTo>
                  <a:cubicBezTo>
                    <a:pt x="-9" y="242191"/>
                    <a:pt x="-9" y="242491"/>
                    <a:pt x="28" y="242778"/>
                  </a:cubicBezTo>
                  <a:lnTo>
                    <a:pt x="22518" y="501800"/>
                  </a:lnTo>
                  <a:lnTo>
                    <a:pt x="27766" y="561651"/>
                  </a:lnTo>
                  <a:lnTo>
                    <a:pt x="456206" y="317748"/>
                  </a:lnTo>
                  <a:lnTo>
                    <a:pt x="435965" y="3873"/>
                  </a:lnTo>
                  <a:close/>
                </a:path>
              </a:pathLst>
            </a:custGeom>
            <a:solidFill>
              <a:schemeClr val="accent6"/>
            </a:solidFill>
            <a:ln w="12483" cap="flat">
              <a:no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A9B06069-65ED-46C2-A67A-5AD8D657CEA2}"/>
                </a:ext>
              </a:extLst>
            </p:cNvPr>
            <p:cNvSpPr/>
            <p:nvPr/>
          </p:nvSpPr>
          <p:spPr>
            <a:xfrm>
              <a:off x="8960908" y="4459104"/>
              <a:ext cx="371339" cy="1434927"/>
            </a:xfrm>
            <a:custGeom>
              <a:avLst/>
              <a:gdLst>
                <a:gd name="connsiteX0" fmla="*/ 371340 w 371339"/>
                <a:gd name="connsiteY0" fmla="*/ 1350212 h 1434927"/>
                <a:gd name="connsiteX1" fmla="*/ 260638 w 371339"/>
                <a:gd name="connsiteY1" fmla="*/ 1191900 h 1434927"/>
                <a:gd name="connsiteX2" fmla="*/ 260638 w 371339"/>
                <a:gd name="connsiteY2" fmla="*/ 1191900 h 1434927"/>
                <a:gd name="connsiteX3" fmla="*/ 260638 w 371339"/>
                <a:gd name="connsiteY3" fmla="*/ 1191900 h 1434927"/>
                <a:gd name="connsiteX4" fmla="*/ 260638 w 371339"/>
                <a:gd name="connsiteY4" fmla="*/ 1191900 h 1434927"/>
                <a:gd name="connsiteX5" fmla="*/ 260638 w 371339"/>
                <a:gd name="connsiteY5" fmla="*/ 1191900 h 1434927"/>
                <a:gd name="connsiteX6" fmla="*/ 212408 w 371339"/>
                <a:gd name="connsiteY6" fmla="*/ 292259 h 1434927"/>
                <a:gd name="connsiteX7" fmla="*/ 0 w 371339"/>
                <a:gd name="connsiteY7" fmla="*/ 0 h 1434927"/>
                <a:gd name="connsiteX8" fmla="*/ 17493 w 371339"/>
                <a:gd name="connsiteY8" fmla="*/ 283887 h 1434927"/>
                <a:gd name="connsiteX9" fmla="*/ 20741 w 371339"/>
                <a:gd name="connsiteY9" fmla="*/ 335366 h 1434927"/>
                <a:gd name="connsiteX10" fmla="*/ 21616 w 371339"/>
                <a:gd name="connsiteY10" fmla="*/ 347861 h 1434927"/>
                <a:gd name="connsiteX11" fmla="*/ 51978 w 371339"/>
                <a:gd name="connsiteY11" fmla="*/ 821173 h 1434927"/>
                <a:gd name="connsiteX12" fmla="*/ 56101 w 371339"/>
                <a:gd name="connsiteY12" fmla="*/ 887021 h 1434927"/>
                <a:gd name="connsiteX13" fmla="*/ 56101 w 371339"/>
                <a:gd name="connsiteY13" fmla="*/ 887771 h 1434927"/>
                <a:gd name="connsiteX14" fmla="*/ 56101 w 371339"/>
                <a:gd name="connsiteY14" fmla="*/ 890020 h 1434927"/>
                <a:gd name="connsiteX15" fmla="*/ 56101 w 371339"/>
                <a:gd name="connsiteY15" fmla="*/ 891894 h 1434927"/>
                <a:gd name="connsiteX16" fmla="*/ 55351 w 371339"/>
                <a:gd name="connsiteY16" fmla="*/ 893644 h 1434927"/>
                <a:gd name="connsiteX17" fmla="*/ 54227 w 371339"/>
                <a:gd name="connsiteY17" fmla="*/ 895393 h 1434927"/>
                <a:gd name="connsiteX18" fmla="*/ 54227 w 371339"/>
                <a:gd name="connsiteY18" fmla="*/ 895393 h 1434927"/>
                <a:gd name="connsiteX19" fmla="*/ 53352 w 371339"/>
                <a:gd name="connsiteY19" fmla="*/ 896018 h 1434927"/>
                <a:gd name="connsiteX20" fmla="*/ 51853 w 371339"/>
                <a:gd name="connsiteY20" fmla="*/ 897017 h 1434927"/>
                <a:gd name="connsiteX21" fmla="*/ 50728 w 371339"/>
                <a:gd name="connsiteY21" fmla="*/ 897017 h 1434927"/>
                <a:gd name="connsiteX22" fmla="*/ 70970 w 371339"/>
                <a:gd name="connsiteY22" fmla="*/ 1212267 h 1434927"/>
                <a:gd name="connsiteX23" fmla="*/ 70970 w 371339"/>
                <a:gd name="connsiteY23" fmla="*/ 1212267 h 1434927"/>
                <a:gd name="connsiteX24" fmla="*/ 70970 w 371339"/>
                <a:gd name="connsiteY24" fmla="*/ 1212892 h 1434927"/>
                <a:gd name="connsiteX25" fmla="*/ 223903 w 371339"/>
                <a:gd name="connsiteY25" fmla="*/ 1434928 h 1434927"/>
                <a:gd name="connsiteX26" fmla="*/ 225903 w 371339"/>
                <a:gd name="connsiteY26" fmla="*/ 1433803 h 143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1339" h="1434927">
                  <a:moveTo>
                    <a:pt x="371340" y="1350212"/>
                  </a:moveTo>
                  <a:lnTo>
                    <a:pt x="260638" y="1191900"/>
                  </a:lnTo>
                  <a:lnTo>
                    <a:pt x="260638" y="1191900"/>
                  </a:lnTo>
                  <a:lnTo>
                    <a:pt x="260638" y="1191900"/>
                  </a:lnTo>
                  <a:cubicBezTo>
                    <a:pt x="260638" y="1191900"/>
                    <a:pt x="260638" y="1191900"/>
                    <a:pt x="260638" y="1191900"/>
                  </a:cubicBezTo>
                  <a:lnTo>
                    <a:pt x="260638" y="1191900"/>
                  </a:lnTo>
                  <a:lnTo>
                    <a:pt x="212408" y="292259"/>
                  </a:lnTo>
                  <a:lnTo>
                    <a:pt x="0" y="0"/>
                  </a:lnTo>
                  <a:lnTo>
                    <a:pt x="17493" y="283887"/>
                  </a:lnTo>
                  <a:lnTo>
                    <a:pt x="20741" y="335366"/>
                  </a:lnTo>
                  <a:lnTo>
                    <a:pt x="21616" y="347861"/>
                  </a:lnTo>
                  <a:lnTo>
                    <a:pt x="51978" y="821173"/>
                  </a:lnTo>
                  <a:lnTo>
                    <a:pt x="56101" y="887021"/>
                  </a:lnTo>
                  <a:lnTo>
                    <a:pt x="56101" y="887771"/>
                  </a:lnTo>
                  <a:cubicBezTo>
                    <a:pt x="56163" y="888521"/>
                    <a:pt x="56163" y="889271"/>
                    <a:pt x="56101" y="890020"/>
                  </a:cubicBezTo>
                  <a:cubicBezTo>
                    <a:pt x="56163" y="890645"/>
                    <a:pt x="56163" y="891269"/>
                    <a:pt x="56101" y="891894"/>
                  </a:cubicBezTo>
                  <a:cubicBezTo>
                    <a:pt x="55926" y="892507"/>
                    <a:pt x="55676" y="893094"/>
                    <a:pt x="55351" y="893644"/>
                  </a:cubicBezTo>
                  <a:lnTo>
                    <a:pt x="54227" y="895393"/>
                  </a:lnTo>
                  <a:cubicBezTo>
                    <a:pt x="54227" y="895393"/>
                    <a:pt x="54227" y="895393"/>
                    <a:pt x="54227" y="895393"/>
                  </a:cubicBezTo>
                  <a:cubicBezTo>
                    <a:pt x="54227" y="895393"/>
                    <a:pt x="54227" y="895393"/>
                    <a:pt x="53352" y="896018"/>
                  </a:cubicBezTo>
                  <a:lnTo>
                    <a:pt x="51853" y="897017"/>
                  </a:lnTo>
                  <a:cubicBezTo>
                    <a:pt x="51490" y="897117"/>
                    <a:pt x="51103" y="897117"/>
                    <a:pt x="50728" y="897017"/>
                  </a:cubicBezTo>
                  <a:lnTo>
                    <a:pt x="70970" y="1212267"/>
                  </a:lnTo>
                  <a:lnTo>
                    <a:pt x="70970" y="1212267"/>
                  </a:lnTo>
                  <a:cubicBezTo>
                    <a:pt x="70970" y="1212267"/>
                    <a:pt x="70970" y="1212267"/>
                    <a:pt x="70970" y="1212892"/>
                  </a:cubicBezTo>
                  <a:lnTo>
                    <a:pt x="223903" y="1434928"/>
                  </a:lnTo>
                  <a:lnTo>
                    <a:pt x="225903" y="1433803"/>
                  </a:lnTo>
                  <a:close/>
                </a:path>
              </a:pathLst>
            </a:custGeom>
            <a:solidFill>
              <a:schemeClr val="bg2"/>
            </a:solidFill>
            <a:ln w="12483" cap="flat">
              <a:no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37563D6F-B108-4CB5-8289-B328F7923819}"/>
                </a:ext>
              </a:extLst>
            </p:cNvPr>
            <p:cNvSpPr/>
            <p:nvPr/>
          </p:nvSpPr>
          <p:spPr>
            <a:xfrm>
              <a:off x="8454627" y="5674119"/>
              <a:ext cx="727310" cy="942374"/>
            </a:xfrm>
            <a:custGeom>
              <a:avLst/>
              <a:gdLst>
                <a:gd name="connsiteX0" fmla="*/ 235898 w 727310"/>
                <a:gd name="connsiteY0" fmla="*/ 728959 h 942374"/>
                <a:gd name="connsiteX1" fmla="*/ 235898 w 727310"/>
                <a:gd name="connsiteY1" fmla="*/ 726586 h 942374"/>
                <a:gd name="connsiteX2" fmla="*/ 235898 w 727310"/>
                <a:gd name="connsiteY2" fmla="*/ 724711 h 942374"/>
                <a:gd name="connsiteX3" fmla="*/ 236773 w 727310"/>
                <a:gd name="connsiteY3" fmla="*/ 722962 h 942374"/>
                <a:gd name="connsiteX4" fmla="*/ 237647 w 727310"/>
                <a:gd name="connsiteY4" fmla="*/ 721088 h 942374"/>
                <a:gd name="connsiteX5" fmla="*/ 238647 w 727310"/>
                <a:gd name="connsiteY5" fmla="*/ 720088 h 942374"/>
                <a:gd name="connsiteX6" fmla="*/ 240396 w 727310"/>
                <a:gd name="connsiteY6" fmla="*/ 718464 h 942374"/>
                <a:gd name="connsiteX7" fmla="*/ 240396 w 727310"/>
                <a:gd name="connsiteY7" fmla="*/ 718464 h 942374"/>
                <a:gd name="connsiteX8" fmla="*/ 504157 w 727310"/>
                <a:gd name="connsiteY8" fmla="*/ 564400 h 942374"/>
                <a:gd name="connsiteX9" fmla="*/ 490413 w 727310"/>
                <a:gd name="connsiteY9" fmla="*/ 366854 h 942374"/>
                <a:gd name="connsiteX10" fmla="*/ 490413 w 727310"/>
                <a:gd name="connsiteY10" fmla="*/ 366854 h 942374"/>
                <a:gd name="connsiteX11" fmla="*/ 490413 w 727310"/>
                <a:gd name="connsiteY11" fmla="*/ 364105 h 942374"/>
                <a:gd name="connsiteX12" fmla="*/ 490413 w 727310"/>
                <a:gd name="connsiteY12" fmla="*/ 362730 h 942374"/>
                <a:gd name="connsiteX13" fmla="*/ 491412 w 727310"/>
                <a:gd name="connsiteY13" fmla="*/ 360731 h 942374"/>
                <a:gd name="connsiteX14" fmla="*/ 492162 w 727310"/>
                <a:gd name="connsiteY14" fmla="*/ 359107 h 942374"/>
                <a:gd name="connsiteX15" fmla="*/ 493162 w 727310"/>
                <a:gd name="connsiteY15" fmla="*/ 358107 h 942374"/>
                <a:gd name="connsiteX16" fmla="*/ 494911 w 727310"/>
                <a:gd name="connsiteY16" fmla="*/ 356483 h 942374"/>
                <a:gd name="connsiteX17" fmla="*/ 494911 w 727310"/>
                <a:gd name="connsiteY17" fmla="*/ 356483 h 942374"/>
                <a:gd name="connsiteX18" fmla="*/ 727311 w 727310"/>
                <a:gd name="connsiteY18" fmla="*/ 222037 h 942374"/>
                <a:gd name="connsiteX19" fmla="*/ 574377 w 727310"/>
                <a:gd name="connsiteY19" fmla="*/ 0 h 942374"/>
                <a:gd name="connsiteX20" fmla="*/ 574377 w 727310"/>
                <a:gd name="connsiteY20" fmla="*/ 0 h 942374"/>
                <a:gd name="connsiteX21" fmla="*/ 574377 w 727310"/>
                <a:gd name="connsiteY21" fmla="*/ 0 h 942374"/>
                <a:gd name="connsiteX22" fmla="*/ 144688 w 727310"/>
                <a:gd name="connsiteY22" fmla="*/ 244902 h 942374"/>
                <a:gd name="connsiteX23" fmla="*/ 144688 w 727310"/>
                <a:gd name="connsiteY23" fmla="*/ 246652 h 942374"/>
                <a:gd name="connsiteX24" fmla="*/ 144688 w 727310"/>
                <a:gd name="connsiteY24" fmla="*/ 246652 h 942374"/>
                <a:gd name="connsiteX25" fmla="*/ 144688 w 727310"/>
                <a:gd name="connsiteY25" fmla="*/ 248901 h 942374"/>
                <a:gd name="connsiteX26" fmla="*/ 144688 w 727310"/>
                <a:gd name="connsiteY26" fmla="*/ 250900 h 942374"/>
                <a:gd name="connsiteX27" fmla="*/ 143938 w 727310"/>
                <a:gd name="connsiteY27" fmla="*/ 252649 h 942374"/>
                <a:gd name="connsiteX28" fmla="*/ 143063 w 727310"/>
                <a:gd name="connsiteY28" fmla="*/ 254399 h 942374"/>
                <a:gd name="connsiteX29" fmla="*/ 141814 w 727310"/>
                <a:gd name="connsiteY29" fmla="*/ 255648 h 942374"/>
                <a:gd name="connsiteX30" fmla="*/ 140314 w 727310"/>
                <a:gd name="connsiteY30" fmla="*/ 257023 h 942374"/>
                <a:gd name="connsiteX31" fmla="*/ 140314 w 727310"/>
                <a:gd name="connsiteY31" fmla="*/ 257023 h 942374"/>
                <a:gd name="connsiteX32" fmla="*/ 117199 w 727310"/>
                <a:gd name="connsiteY32" fmla="*/ 270143 h 942374"/>
                <a:gd name="connsiteX33" fmla="*/ 117199 w 727310"/>
                <a:gd name="connsiteY33" fmla="*/ 270143 h 942374"/>
                <a:gd name="connsiteX34" fmla="*/ 113201 w 727310"/>
                <a:gd name="connsiteY34" fmla="*/ 272392 h 942374"/>
                <a:gd name="connsiteX35" fmla="*/ 113201 w 727310"/>
                <a:gd name="connsiteY35" fmla="*/ 272392 h 942374"/>
                <a:gd name="connsiteX36" fmla="*/ 0 w 727310"/>
                <a:gd name="connsiteY36" fmla="*/ 336741 h 942374"/>
                <a:gd name="connsiteX37" fmla="*/ 14744 w 727310"/>
                <a:gd name="connsiteY37" fmla="*/ 359357 h 942374"/>
                <a:gd name="connsiteX38" fmla="*/ 14744 w 727310"/>
                <a:gd name="connsiteY38" fmla="*/ 360107 h 942374"/>
                <a:gd name="connsiteX39" fmla="*/ 15368 w 727310"/>
                <a:gd name="connsiteY39" fmla="*/ 361106 h 942374"/>
                <a:gd name="connsiteX40" fmla="*/ 15368 w 727310"/>
                <a:gd name="connsiteY40" fmla="*/ 361106 h 942374"/>
                <a:gd name="connsiteX41" fmla="*/ 15368 w 727310"/>
                <a:gd name="connsiteY41" fmla="*/ 362106 h 942374"/>
                <a:gd name="connsiteX42" fmla="*/ 15368 w 727310"/>
                <a:gd name="connsiteY42" fmla="*/ 363855 h 942374"/>
                <a:gd name="connsiteX43" fmla="*/ 15368 w 727310"/>
                <a:gd name="connsiteY43" fmla="*/ 363855 h 942374"/>
                <a:gd name="connsiteX44" fmla="*/ 27863 w 727310"/>
                <a:gd name="connsiteY44" fmla="*/ 488055 h 942374"/>
                <a:gd name="connsiteX45" fmla="*/ 91960 w 727310"/>
                <a:gd name="connsiteY45" fmla="*/ 587141 h 942374"/>
                <a:gd name="connsiteX46" fmla="*/ 91960 w 727310"/>
                <a:gd name="connsiteY46" fmla="*/ 587891 h 942374"/>
                <a:gd name="connsiteX47" fmla="*/ 92710 w 727310"/>
                <a:gd name="connsiteY47" fmla="*/ 589765 h 942374"/>
                <a:gd name="connsiteX48" fmla="*/ 92710 w 727310"/>
                <a:gd name="connsiteY48" fmla="*/ 591764 h 942374"/>
                <a:gd name="connsiteX49" fmla="*/ 92710 w 727310"/>
                <a:gd name="connsiteY49" fmla="*/ 592514 h 942374"/>
                <a:gd name="connsiteX50" fmla="*/ 125446 w 727310"/>
                <a:gd name="connsiteY50" fmla="*/ 942374 h 942374"/>
                <a:gd name="connsiteX51" fmla="*/ 246893 w 727310"/>
                <a:gd name="connsiteY51" fmla="*/ 870903 h 942374"/>
                <a:gd name="connsiteX52" fmla="*/ 234399 w 727310"/>
                <a:gd name="connsiteY52" fmla="*/ 727585 h 94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27310" h="942374">
                  <a:moveTo>
                    <a:pt x="235898" y="728959"/>
                  </a:moveTo>
                  <a:cubicBezTo>
                    <a:pt x="235836" y="728172"/>
                    <a:pt x="235836" y="727373"/>
                    <a:pt x="235898" y="726586"/>
                  </a:cubicBezTo>
                  <a:cubicBezTo>
                    <a:pt x="235836" y="725961"/>
                    <a:pt x="235836" y="725336"/>
                    <a:pt x="235898" y="724711"/>
                  </a:cubicBezTo>
                  <a:lnTo>
                    <a:pt x="236773" y="722962"/>
                  </a:lnTo>
                  <a:cubicBezTo>
                    <a:pt x="237010" y="722312"/>
                    <a:pt x="237310" y="721688"/>
                    <a:pt x="237647" y="721088"/>
                  </a:cubicBezTo>
                  <a:lnTo>
                    <a:pt x="238647" y="720088"/>
                  </a:lnTo>
                  <a:cubicBezTo>
                    <a:pt x="239134" y="719451"/>
                    <a:pt x="239721" y="718901"/>
                    <a:pt x="240396" y="718464"/>
                  </a:cubicBezTo>
                  <a:lnTo>
                    <a:pt x="240396" y="718464"/>
                  </a:lnTo>
                  <a:lnTo>
                    <a:pt x="504157" y="564400"/>
                  </a:lnTo>
                  <a:lnTo>
                    <a:pt x="490413" y="366854"/>
                  </a:lnTo>
                  <a:lnTo>
                    <a:pt x="490413" y="366854"/>
                  </a:lnTo>
                  <a:cubicBezTo>
                    <a:pt x="490351" y="365942"/>
                    <a:pt x="490351" y="365017"/>
                    <a:pt x="490413" y="364105"/>
                  </a:cubicBezTo>
                  <a:cubicBezTo>
                    <a:pt x="490413" y="364105"/>
                    <a:pt x="490413" y="363105"/>
                    <a:pt x="490413" y="362730"/>
                  </a:cubicBezTo>
                  <a:cubicBezTo>
                    <a:pt x="490675" y="362031"/>
                    <a:pt x="491000" y="361356"/>
                    <a:pt x="491412" y="360731"/>
                  </a:cubicBezTo>
                  <a:cubicBezTo>
                    <a:pt x="491613" y="360169"/>
                    <a:pt x="491862" y="359619"/>
                    <a:pt x="492162" y="359107"/>
                  </a:cubicBezTo>
                  <a:cubicBezTo>
                    <a:pt x="492162" y="359107"/>
                    <a:pt x="492912" y="358482"/>
                    <a:pt x="493162" y="358107"/>
                  </a:cubicBezTo>
                  <a:cubicBezTo>
                    <a:pt x="493687" y="357495"/>
                    <a:pt x="494262" y="356958"/>
                    <a:pt x="494911" y="356483"/>
                  </a:cubicBezTo>
                  <a:lnTo>
                    <a:pt x="494911" y="356483"/>
                  </a:lnTo>
                  <a:lnTo>
                    <a:pt x="727311" y="222037"/>
                  </a:lnTo>
                  <a:lnTo>
                    <a:pt x="574377" y="0"/>
                  </a:lnTo>
                  <a:lnTo>
                    <a:pt x="574377" y="0"/>
                  </a:lnTo>
                  <a:lnTo>
                    <a:pt x="574377" y="0"/>
                  </a:lnTo>
                  <a:lnTo>
                    <a:pt x="144688" y="244902"/>
                  </a:lnTo>
                  <a:lnTo>
                    <a:pt x="144688" y="246652"/>
                  </a:lnTo>
                  <a:cubicBezTo>
                    <a:pt x="144688" y="246652"/>
                    <a:pt x="144688" y="246652"/>
                    <a:pt x="144688" y="246652"/>
                  </a:cubicBezTo>
                  <a:cubicBezTo>
                    <a:pt x="144812" y="247402"/>
                    <a:pt x="144812" y="248151"/>
                    <a:pt x="144688" y="248901"/>
                  </a:cubicBezTo>
                  <a:cubicBezTo>
                    <a:pt x="144688" y="249651"/>
                    <a:pt x="144688" y="250275"/>
                    <a:pt x="144688" y="250900"/>
                  </a:cubicBezTo>
                  <a:cubicBezTo>
                    <a:pt x="144488" y="251500"/>
                    <a:pt x="144238" y="252087"/>
                    <a:pt x="143938" y="252649"/>
                  </a:cubicBezTo>
                  <a:cubicBezTo>
                    <a:pt x="143938" y="253274"/>
                    <a:pt x="143938" y="253899"/>
                    <a:pt x="143063" y="254399"/>
                  </a:cubicBezTo>
                  <a:lnTo>
                    <a:pt x="141814" y="255648"/>
                  </a:lnTo>
                  <a:lnTo>
                    <a:pt x="140314" y="257023"/>
                  </a:lnTo>
                  <a:lnTo>
                    <a:pt x="140314" y="257023"/>
                  </a:lnTo>
                  <a:lnTo>
                    <a:pt x="117199" y="270143"/>
                  </a:lnTo>
                  <a:lnTo>
                    <a:pt x="117199" y="270143"/>
                  </a:lnTo>
                  <a:lnTo>
                    <a:pt x="113201" y="272392"/>
                  </a:lnTo>
                  <a:lnTo>
                    <a:pt x="113201" y="272392"/>
                  </a:lnTo>
                  <a:lnTo>
                    <a:pt x="0" y="336741"/>
                  </a:lnTo>
                  <a:lnTo>
                    <a:pt x="14744" y="359357"/>
                  </a:lnTo>
                  <a:lnTo>
                    <a:pt x="14744" y="360107"/>
                  </a:lnTo>
                  <a:cubicBezTo>
                    <a:pt x="14981" y="360419"/>
                    <a:pt x="15193" y="360756"/>
                    <a:pt x="15368" y="361106"/>
                  </a:cubicBezTo>
                  <a:lnTo>
                    <a:pt x="15368" y="361106"/>
                  </a:lnTo>
                  <a:cubicBezTo>
                    <a:pt x="15368" y="361106"/>
                    <a:pt x="15368" y="361731"/>
                    <a:pt x="15368" y="362106"/>
                  </a:cubicBezTo>
                  <a:lnTo>
                    <a:pt x="15368" y="363855"/>
                  </a:lnTo>
                  <a:cubicBezTo>
                    <a:pt x="15368" y="363855"/>
                    <a:pt x="15368" y="363855"/>
                    <a:pt x="15368" y="363855"/>
                  </a:cubicBezTo>
                  <a:lnTo>
                    <a:pt x="27863" y="488055"/>
                  </a:lnTo>
                  <a:lnTo>
                    <a:pt x="91960" y="587141"/>
                  </a:lnTo>
                  <a:lnTo>
                    <a:pt x="91960" y="587891"/>
                  </a:lnTo>
                  <a:cubicBezTo>
                    <a:pt x="92285" y="588478"/>
                    <a:pt x="92535" y="589115"/>
                    <a:pt x="92710" y="589765"/>
                  </a:cubicBezTo>
                  <a:cubicBezTo>
                    <a:pt x="92747" y="590427"/>
                    <a:pt x="92747" y="591102"/>
                    <a:pt x="92710" y="591764"/>
                  </a:cubicBezTo>
                  <a:cubicBezTo>
                    <a:pt x="92710" y="591764"/>
                    <a:pt x="92710" y="591764"/>
                    <a:pt x="92710" y="592514"/>
                  </a:cubicBezTo>
                  <a:lnTo>
                    <a:pt x="125446" y="942374"/>
                  </a:lnTo>
                  <a:lnTo>
                    <a:pt x="246893" y="870903"/>
                  </a:lnTo>
                  <a:lnTo>
                    <a:pt x="234399" y="727585"/>
                  </a:lnTo>
                  <a:close/>
                </a:path>
              </a:pathLst>
            </a:custGeom>
            <a:solidFill>
              <a:schemeClr val="accent6"/>
            </a:solidFill>
            <a:ln w="12483" cap="flat">
              <a:no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FC674023-64D1-44A6-8AB9-73C70C3C8B6F}"/>
                </a:ext>
              </a:extLst>
            </p:cNvPr>
            <p:cNvSpPr/>
            <p:nvPr/>
          </p:nvSpPr>
          <p:spPr>
            <a:xfrm>
              <a:off x="8964907" y="6058466"/>
              <a:ext cx="140064" cy="258147"/>
            </a:xfrm>
            <a:custGeom>
              <a:avLst/>
              <a:gdLst>
                <a:gd name="connsiteX0" fmla="*/ 12744 w 140064"/>
                <a:gd name="connsiteY0" fmla="*/ 185426 h 258147"/>
                <a:gd name="connsiteX1" fmla="*/ 12744 w 140064"/>
                <a:gd name="connsiteY1" fmla="*/ 185426 h 258147"/>
                <a:gd name="connsiteX2" fmla="*/ 12744 w 140064"/>
                <a:gd name="connsiteY2" fmla="*/ 188175 h 258147"/>
                <a:gd name="connsiteX3" fmla="*/ 12744 w 140064"/>
                <a:gd name="connsiteY3" fmla="*/ 189550 h 258147"/>
                <a:gd name="connsiteX4" fmla="*/ 11870 w 140064"/>
                <a:gd name="connsiteY4" fmla="*/ 191424 h 258147"/>
                <a:gd name="connsiteX5" fmla="*/ 11120 w 140064"/>
                <a:gd name="connsiteY5" fmla="*/ 193173 h 258147"/>
                <a:gd name="connsiteX6" fmla="*/ 11120 w 140064"/>
                <a:gd name="connsiteY6" fmla="*/ 193173 h 258147"/>
                <a:gd name="connsiteX7" fmla="*/ 54477 w 140064"/>
                <a:gd name="connsiteY7" fmla="*/ 258147 h 258147"/>
                <a:gd name="connsiteX8" fmla="*/ 54477 w 140064"/>
                <a:gd name="connsiteY8" fmla="*/ 258147 h 258147"/>
                <a:gd name="connsiteX9" fmla="*/ 140064 w 140064"/>
                <a:gd name="connsiteY9" fmla="*/ 208167 h 258147"/>
                <a:gd name="connsiteX10" fmla="*/ 0 w 140064"/>
                <a:gd name="connsiteY10" fmla="*/ 0 h 25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64" h="258147">
                  <a:moveTo>
                    <a:pt x="12744" y="185426"/>
                  </a:moveTo>
                  <a:lnTo>
                    <a:pt x="12744" y="185426"/>
                  </a:lnTo>
                  <a:cubicBezTo>
                    <a:pt x="12795" y="186338"/>
                    <a:pt x="12795" y="187263"/>
                    <a:pt x="12744" y="188175"/>
                  </a:cubicBezTo>
                  <a:cubicBezTo>
                    <a:pt x="12744" y="188175"/>
                    <a:pt x="12744" y="189175"/>
                    <a:pt x="12744" y="189550"/>
                  </a:cubicBezTo>
                  <a:cubicBezTo>
                    <a:pt x="12582" y="190224"/>
                    <a:pt x="12282" y="190861"/>
                    <a:pt x="11870" y="191424"/>
                  </a:cubicBezTo>
                  <a:cubicBezTo>
                    <a:pt x="11695" y="192036"/>
                    <a:pt x="11445" y="192623"/>
                    <a:pt x="11120" y="193173"/>
                  </a:cubicBezTo>
                  <a:lnTo>
                    <a:pt x="11120" y="193173"/>
                  </a:lnTo>
                  <a:lnTo>
                    <a:pt x="54477" y="258147"/>
                  </a:lnTo>
                  <a:lnTo>
                    <a:pt x="54477" y="258147"/>
                  </a:lnTo>
                  <a:lnTo>
                    <a:pt x="140064" y="208167"/>
                  </a:lnTo>
                  <a:lnTo>
                    <a:pt x="0" y="0"/>
                  </a:lnTo>
                  <a:close/>
                </a:path>
              </a:pathLst>
            </a:custGeom>
            <a:solidFill>
              <a:srgbClr val="0A4054"/>
            </a:solidFill>
            <a:ln w="12483" cap="flat">
              <a:noFill/>
              <a:prstDash val="solid"/>
              <a:miter/>
            </a:ln>
          </p:spPr>
          <p:txBody>
            <a:bodyPr rtlCol="0" anchor="ctr"/>
            <a:lstStyle/>
            <a:p>
              <a:endParaRPr lang="en-US"/>
            </a:p>
          </p:txBody>
        </p:sp>
        <p:sp>
          <p:nvSpPr>
            <p:cNvPr id="1067" name="Freeform: Shape 1066">
              <a:extLst>
                <a:ext uri="{FF2B5EF4-FFF2-40B4-BE49-F238E27FC236}">
                  <a16:creationId xmlns:a16="http://schemas.microsoft.com/office/drawing/2014/main" id="{A61258CB-465B-48BD-8A4D-3BD0B836DA91}"/>
                </a:ext>
              </a:extLst>
            </p:cNvPr>
            <p:cNvSpPr/>
            <p:nvPr/>
          </p:nvSpPr>
          <p:spPr>
            <a:xfrm>
              <a:off x="8959534" y="4222948"/>
              <a:ext cx="643471" cy="524665"/>
            </a:xfrm>
            <a:custGeom>
              <a:avLst/>
              <a:gdLst>
                <a:gd name="connsiteX0" fmla="*/ 422317 w 643471"/>
                <a:gd name="connsiteY0" fmla="*/ 0 h 524665"/>
                <a:gd name="connsiteX1" fmla="*/ 28113 w 643471"/>
                <a:gd name="connsiteY1" fmla="*/ 210666 h 524665"/>
                <a:gd name="connsiteX2" fmla="*/ 7872 w 643471"/>
                <a:gd name="connsiteY2" fmla="*/ 221412 h 524665"/>
                <a:gd name="connsiteX3" fmla="*/ 5872 w 643471"/>
                <a:gd name="connsiteY3" fmla="*/ 222536 h 524665"/>
                <a:gd name="connsiteX4" fmla="*/ 0 w 643471"/>
                <a:gd name="connsiteY4" fmla="*/ 225660 h 524665"/>
                <a:gd name="connsiteX5" fmla="*/ 125 w 643471"/>
                <a:gd name="connsiteY5" fmla="*/ 229159 h 524665"/>
                <a:gd name="connsiteX6" fmla="*/ 215407 w 643471"/>
                <a:gd name="connsiteY6" fmla="*/ 524666 h 524665"/>
                <a:gd name="connsiteX7" fmla="*/ 643472 w 643471"/>
                <a:gd name="connsiteY7" fmla="*/ 290884 h 524665"/>
                <a:gd name="connsiteX8" fmla="*/ 422317 w 643471"/>
                <a:gd name="connsiteY8" fmla="*/ 0 h 52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471" h="524665">
                  <a:moveTo>
                    <a:pt x="422317" y="0"/>
                  </a:moveTo>
                  <a:lnTo>
                    <a:pt x="28113" y="210666"/>
                  </a:lnTo>
                  <a:lnTo>
                    <a:pt x="7872" y="221412"/>
                  </a:lnTo>
                  <a:lnTo>
                    <a:pt x="5872" y="222536"/>
                  </a:lnTo>
                  <a:lnTo>
                    <a:pt x="0" y="225660"/>
                  </a:lnTo>
                  <a:lnTo>
                    <a:pt x="125" y="229159"/>
                  </a:lnTo>
                  <a:lnTo>
                    <a:pt x="215407" y="524666"/>
                  </a:lnTo>
                  <a:lnTo>
                    <a:pt x="643472" y="290884"/>
                  </a:lnTo>
                  <a:lnTo>
                    <a:pt x="422317" y="0"/>
                  </a:lnTo>
                  <a:close/>
                </a:path>
              </a:pathLst>
            </a:custGeom>
            <a:solidFill>
              <a:schemeClr val="tx2"/>
            </a:solidFill>
            <a:ln w="12483" cap="flat">
              <a:noFill/>
              <a:prstDash val="solid"/>
              <a:miter/>
            </a:ln>
          </p:spPr>
          <p:txBody>
            <a:bodyPr rtlCol="0" anchor="ctr"/>
            <a:lstStyle/>
            <a:p>
              <a:endParaRPr lang="en-US"/>
            </a:p>
          </p:txBody>
        </p:sp>
        <p:sp>
          <p:nvSpPr>
            <p:cNvPr id="1068" name="Freeform: Shape 1067">
              <a:extLst>
                <a:ext uri="{FF2B5EF4-FFF2-40B4-BE49-F238E27FC236}">
                  <a16:creationId xmlns:a16="http://schemas.microsoft.com/office/drawing/2014/main" id="{2A6AE354-2940-4953-97DE-3BF976BA003E}"/>
                </a:ext>
              </a:extLst>
            </p:cNvPr>
            <p:cNvSpPr/>
            <p:nvPr/>
          </p:nvSpPr>
          <p:spPr>
            <a:xfrm>
              <a:off x="9176565" y="4517456"/>
              <a:ext cx="455678" cy="1129299"/>
            </a:xfrm>
            <a:custGeom>
              <a:avLst/>
              <a:gdLst>
                <a:gd name="connsiteX0" fmla="*/ 454803 w 455678"/>
                <a:gd name="connsiteY0" fmla="*/ 893893 h 1129299"/>
                <a:gd name="connsiteX1" fmla="*/ 453179 w 455678"/>
                <a:gd name="connsiteY1" fmla="*/ 842414 h 1129299"/>
                <a:gd name="connsiteX2" fmla="*/ 451930 w 455678"/>
                <a:gd name="connsiteY2" fmla="*/ 800556 h 1129299"/>
                <a:gd name="connsiteX3" fmla="*/ 426941 w 455678"/>
                <a:gd name="connsiteY3" fmla="*/ 0 h 1129299"/>
                <a:gd name="connsiteX4" fmla="*/ 0 w 455678"/>
                <a:gd name="connsiteY4" fmla="*/ 233657 h 1129299"/>
                <a:gd name="connsiteX5" fmla="*/ 48104 w 455678"/>
                <a:gd name="connsiteY5" fmla="*/ 1129299 h 1129299"/>
                <a:gd name="connsiteX6" fmla="*/ 455678 w 455678"/>
                <a:gd name="connsiteY6" fmla="*/ 896143 h 1129299"/>
                <a:gd name="connsiteX7" fmla="*/ 454803 w 455678"/>
                <a:gd name="connsiteY7" fmla="*/ 893893 h 1129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678" h="1129299">
                  <a:moveTo>
                    <a:pt x="454803" y="893893"/>
                  </a:moveTo>
                  <a:lnTo>
                    <a:pt x="453179" y="842414"/>
                  </a:lnTo>
                  <a:lnTo>
                    <a:pt x="451930" y="800556"/>
                  </a:lnTo>
                  <a:lnTo>
                    <a:pt x="426941" y="0"/>
                  </a:lnTo>
                  <a:lnTo>
                    <a:pt x="0" y="233657"/>
                  </a:lnTo>
                  <a:lnTo>
                    <a:pt x="48104" y="1129299"/>
                  </a:lnTo>
                  <a:lnTo>
                    <a:pt x="455678" y="896143"/>
                  </a:lnTo>
                  <a:cubicBezTo>
                    <a:pt x="455266" y="895443"/>
                    <a:pt x="454966" y="894681"/>
                    <a:pt x="454803" y="893893"/>
                  </a:cubicBezTo>
                  <a:close/>
                </a:path>
              </a:pathLst>
            </a:custGeom>
            <a:solidFill>
              <a:schemeClr val="accent1">
                <a:lumMod val="75000"/>
              </a:schemeClr>
            </a:solidFill>
            <a:ln w="12483" cap="flat">
              <a:noFill/>
              <a:prstDash val="solid"/>
              <a:miter/>
            </a:ln>
          </p:spPr>
          <p:txBody>
            <a:bodyPr rtlCol="0" anchor="ctr"/>
            <a:lstStyle/>
            <a:p>
              <a:endParaRPr lang="en-US"/>
            </a:p>
          </p:txBody>
        </p:sp>
        <p:sp>
          <p:nvSpPr>
            <p:cNvPr id="1069" name="Freeform: Shape 1068">
              <a:extLst>
                <a:ext uri="{FF2B5EF4-FFF2-40B4-BE49-F238E27FC236}">
                  <a16:creationId xmlns:a16="http://schemas.microsoft.com/office/drawing/2014/main" id="{6C53031F-EA13-4B9C-BD66-FA39FF3DB722}"/>
                </a:ext>
              </a:extLst>
            </p:cNvPr>
            <p:cNvSpPr/>
            <p:nvPr/>
          </p:nvSpPr>
          <p:spPr>
            <a:xfrm>
              <a:off x="8661163" y="3752386"/>
              <a:ext cx="1532587" cy="1716940"/>
            </a:xfrm>
            <a:custGeom>
              <a:avLst/>
              <a:gdLst>
                <a:gd name="connsiteX0" fmla="*/ 325109 w 1532587"/>
                <a:gd name="connsiteY0" fmla="*/ 658113 h 1716940"/>
                <a:gd name="connsiteX1" fmla="*/ 719314 w 1532587"/>
                <a:gd name="connsiteY1" fmla="*/ 447572 h 1716940"/>
                <a:gd name="connsiteX2" fmla="*/ 719314 w 1532587"/>
                <a:gd name="connsiteY2" fmla="*/ 447572 h 1716940"/>
                <a:gd name="connsiteX3" fmla="*/ 721063 w 1532587"/>
                <a:gd name="connsiteY3" fmla="*/ 447572 h 1716940"/>
                <a:gd name="connsiteX4" fmla="*/ 722688 w 1532587"/>
                <a:gd name="connsiteY4" fmla="*/ 447572 h 1716940"/>
                <a:gd name="connsiteX5" fmla="*/ 724187 w 1532587"/>
                <a:gd name="connsiteY5" fmla="*/ 447572 h 1716940"/>
                <a:gd name="connsiteX6" fmla="*/ 726061 w 1532587"/>
                <a:gd name="connsiteY6" fmla="*/ 447572 h 1716940"/>
                <a:gd name="connsiteX7" fmla="*/ 727311 w 1532587"/>
                <a:gd name="connsiteY7" fmla="*/ 448446 h 1716940"/>
                <a:gd name="connsiteX8" fmla="*/ 728935 w 1532587"/>
                <a:gd name="connsiteY8" fmla="*/ 449946 h 1716940"/>
                <a:gd name="connsiteX9" fmla="*/ 728935 w 1532587"/>
                <a:gd name="connsiteY9" fmla="*/ 449946 h 1716940"/>
                <a:gd name="connsiteX10" fmla="*/ 957586 w 1532587"/>
                <a:gd name="connsiteY10" fmla="*/ 750576 h 1716940"/>
                <a:gd name="connsiteX11" fmla="*/ 958211 w 1532587"/>
                <a:gd name="connsiteY11" fmla="*/ 751950 h 1716940"/>
                <a:gd name="connsiteX12" fmla="*/ 959210 w 1532587"/>
                <a:gd name="connsiteY12" fmla="*/ 753824 h 1716940"/>
                <a:gd name="connsiteX13" fmla="*/ 959210 w 1532587"/>
                <a:gd name="connsiteY13" fmla="*/ 756198 h 1716940"/>
                <a:gd name="connsiteX14" fmla="*/ 959210 w 1532587"/>
                <a:gd name="connsiteY14" fmla="*/ 757573 h 1716940"/>
                <a:gd name="connsiteX15" fmla="*/ 984200 w 1532587"/>
                <a:gd name="connsiteY15" fmla="*/ 1560753 h 1716940"/>
                <a:gd name="connsiteX16" fmla="*/ 1098275 w 1532587"/>
                <a:gd name="connsiteY16" fmla="*/ 1716940 h 1716940"/>
                <a:gd name="connsiteX17" fmla="*/ 1532588 w 1532587"/>
                <a:gd name="connsiteY17" fmla="*/ 1467040 h 1716940"/>
                <a:gd name="connsiteX18" fmla="*/ 414321 w 1532587"/>
                <a:gd name="connsiteY18" fmla="*/ 0 h 1716940"/>
                <a:gd name="connsiteX19" fmla="*/ 376837 w 1532587"/>
                <a:gd name="connsiteY19" fmla="*/ 19242 h 1716940"/>
                <a:gd name="connsiteX20" fmla="*/ 60724 w 1532587"/>
                <a:gd name="connsiteY20" fmla="*/ 182552 h 1716940"/>
                <a:gd name="connsiteX21" fmla="*/ 0 w 1532587"/>
                <a:gd name="connsiteY21" fmla="*/ 213915 h 1716940"/>
                <a:gd name="connsiteX22" fmla="*/ 750 w 1532587"/>
                <a:gd name="connsiteY22" fmla="*/ 214914 h 171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2587" h="1716940">
                  <a:moveTo>
                    <a:pt x="325109" y="658113"/>
                  </a:moveTo>
                  <a:lnTo>
                    <a:pt x="719314" y="447572"/>
                  </a:lnTo>
                  <a:lnTo>
                    <a:pt x="719314" y="447572"/>
                  </a:lnTo>
                  <a:lnTo>
                    <a:pt x="721063" y="447572"/>
                  </a:lnTo>
                  <a:lnTo>
                    <a:pt x="722688" y="447572"/>
                  </a:lnTo>
                  <a:lnTo>
                    <a:pt x="724187" y="447572"/>
                  </a:lnTo>
                  <a:cubicBezTo>
                    <a:pt x="724812" y="447459"/>
                    <a:pt x="725437" y="447459"/>
                    <a:pt x="726061" y="447572"/>
                  </a:cubicBezTo>
                  <a:lnTo>
                    <a:pt x="727311" y="448446"/>
                  </a:lnTo>
                  <a:cubicBezTo>
                    <a:pt x="727886" y="448909"/>
                    <a:pt x="728423" y="449408"/>
                    <a:pt x="728935" y="449946"/>
                  </a:cubicBezTo>
                  <a:lnTo>
                    <a:pt x="728935" y="449946"/>
                  </a:lnTo>
                  <a:lnTo>
                    <a:pt x="957586" y="750576"/>
                  </a:lnTo>
                  <a:cubicBezTo>
                    <a:pt x="957824" y="751025"/>
                    <a:pt x="958023" y="751488"/>
                    <a:pt x="958211" y="751950"/>
                  </a:cubicBezTo>
                  <a:cubicBezTo>
                    <a:pt x="958623" y="752537"/>
                    <a:pt x="958948" y="753162"/>
                    <a:pt x="959210" y="753824"/>
                  </a:cubicBezTo>
                  <a:cubicBezTo>
                    <a:pt x="959286" y="754612"/>
                    <a:pt x="959286" y="755411"/>
                    <a:pt x="959210" y="756198"/>
                  </a:cubicBezTo>
                  <a:cubicBezTo>
                    <a:pt x="959286" y="756648"/>
                    <a:pt x="959286" y="757123"/>
                    <a:pt x="959210" y="757573"/>
                  </a:cubicBezTo>
                  <a:lnTo>
                    <a:pt x="984200" y="1560753"/>
                  </a:lnTo>
                  <a:lnTo>
                    <a:pt x="1098275" y="1716940"/>
                  </a:lnTo>
                  <a:lnTo>
                    <a:pt x="1532588" y="1467040"/>
                  </a:lnTo>
                  <a:lnTo>
                    <a:pt x="414321" y="0"/>
                  </a:lnTo>
                  <a:lnTo>
                    <a:pt x="376837" y="19242"/>
                  </a:lnTo>
                  <a:lnTo>
                    <a:pt x="60724" y="182552"/>
                  </a:lnTo>
                  <a:lnTo>
                    <a:pt x="0" y="213915"/>
                  </a:lnTo>
                  <a:lnTo>
                    <a:pt x="750" y="214914"/>
                  </a:lnTo>
                  <a:close/>
                </a:path>
              </a:pathLst>
            </a:custGeom>
            <a:solidFill>
              <a:schemeClr val="accent1"/>
            </a:solidFill>
            <a:ln w="12483" cap="flat">
              <a:noFill/>
              <a:prstDash val="solid"/>
              <a:miter/>
            </a:ln>
          </p:spPr>
          <p:txBody>
            <a:bodyPr rtlCol="0" anchor="ctr"/>
            <a:lstStyle/>
            <a:p>
              <a:endParaRPr lang="en-US"/>
            </a:p>
          </p:txBody>
        </p:sp>
        <p:sp>
          <p:nvSpPr>
            <p:cNvPr id="1070" name="Freeform: Shape 1069">
              <a:extLst>
                <a:ext uri="{FF2B5EF4-FFF2-40B4-BE49-F238E27FC236}">
                  <a16:creationId xmlns:a16="http://schemas.microsoft.com/office/drawing/2014/main" id="{70B9B5BD-CC6E-43EE-A248-B5C4C5EDBB8C}"/>
                </a:ext>
              </a:extLst>
            </p:cNvPr>
            <p:cNvSpPr/>
            <p:nvPr/>
          </p:nvSpPr>
          <p:spPr>
            <a:xfrm>
              <a:off x="8710142" y="6421821"/>
              <a:ext cx="56600" cy="114704"/>
            </a:xfrm>
            <a:custGeom>
              <a:avLst/>
              <a:gdLst>
                <a:gd name="connsiteX0" fmla="*/ 9746 w 56600"/>
                <a:gd name="connsiteY0" fmla="*/ 114705 h 114704"/>
                <a:gd name="connsiteX1" fmla="*/ 56601 w 56600"/>
                <a:gd name="connsiteY1" fmla="*/ 87090 h 114704"/>
                <a:gd name="connsiteX2" fmla="*/ 0 w 56600"/>
                <a:gd name="connsiteY2" fmla="*/ 0 h 114704"/>
                <a:gd name="connsiteX3" fmla="*/ 9746 w 56600"/>
                <a:gd name="connsiteY3" fmla="*/ 114705 h 114704"/>
              </a:gdLst>
              <a:ahLst/>
              <a:cxnLst>
                <a:cxn ang="0">
                  <a:pos x="connsiteX0" y="connsiteY0"/>
                </a:cxn>
                <a:cxn ang="0">
                  <a:pos x="connsiteX1" y="connsiteY1"/>
                </a:cxn>
                <a:cxn ang="0">
                  <a:pos x="connsiteX2" y="connsiteY2"/>
                </a:cxn>
                <a:cxn ang="0">
                  <a:pos x="connsiteX3" y="connsiteY3"/>
                </a:cxn>
              </a:cxnLst>
              <a:rect l="l" t="t" r="r" b="b"/>
              <a:pathLst>
                <a:path w="56600" h="114704">
                  <a:moveTo>
                    <a:pt x="9746" y="114705"/>
                  </a:moveTo>
                  <a:lnTo>
                    <a:pt x="56601" y="87090"/>
                  </a:lnTo>
                  <a:lnTo>
                    <a:pt x="0" y="0"/>
                  </a:lnTo>
                  <a:lnTo>
                    <a:pt x="9746" y="114705"/>
                  </a:lnTo>
                  <a:close/>
                </a:path>
              </a:pathLst>
            </a:custGeom>
            <a:solidFill>
              <a:srgbClr val="E8E7E3"/>
            </a:solidFill>
            <a:ln w="12483" cap="flat">
              <a:noFill/>
              <a:prstDash val="solid"/>
              <a:miter/>
            </a:ln>
          </p:spPr>
          <p:txBody>
            <a:bodyPr rtlCol="0" anchor="ctr"/>
            <a:lstStyle/>
            <a:p>
              <a:endParaRPr lang="en-US"/>
            </a:p>
          </p:txBody>
        </p:sp>
        <p:sp>
          <p:nvSpPr>
            <p:cNvPr id="1071" name="Freeform: Shape 1070">
              <a:extLst>
                <a:ext uri="{FF2B5EF4-FFF2-40B4-BE49-F238E27FC236}">
                  <a16:creationId xmlns:a16="http://schemas.microsoft.com/office/drawing/2014/main" id="{F2EFC6CC-4504-4AAE-8748-E66A42324A20}"/>
                </a:ext>
              </a:extLst>
            </p:cNvPr>
            <p:cNvSpPr/>
            <p:nvPr/>
          </p:nvSpPr>
          <p:spPr>
            <a:xfrm>
              <a:off x="8182745" y="4052641"/>
              <a:ext cx="227776" cy="132072"/>
            </a:xfrm>
            <a:custGeom>
              <a:avLst/>
              <a:gdLst>
                <a:gd name="connsiteX0" fmla="*/ 211534 w 227776"/>
                <a:gd name="connsiteY0" fmla="*/ 0 h 132072"/>
                <a:gd name="connsiteX1" fmla="*/ 0 w 227776"/>
                <a:gd name="connsiteY1" fmla="*/ 109082 h 132072"/>
                <a:gd name="connsiteX2" fmla="*/ 16118 w 227776"/>
                <a:gd name="connsiteY2" fmla="*/ 132072 h 132072"/>
                <a:gd name="connsiteX3" fmla="*/ 227777 w 227776"/>
                <a:gd name="connsiteY3" fmla="*/ 22741 h 132072"/>
                <a:gd name="connsiteX4" fmla="*/ 211534 w 227776"/>
                <a:gd name="connsiteY4" fmla="*/ 0 h 13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76" h="132072">
                  <a:moveTo>
                    <a:pt x="211534" y="0"/>
                  </a:moveTo>
                  <a:lnTo>
                    <a:pt x="0" y="109082"/>
                  </a:lnTo>
                  <a:lnTo>
                    <a:pt x="16118" y="132072"/>
                  </a:lnTo>
                  <a:lnTo>
                    <a:pt x="227777" y="22741"/>
                  </a:lnTo>
                  <a:lnTo>
                    <a:pt x="211534" y="0"/>
                  </a:lnTo>
                  <a:close/>
                </a:path>
              </a:pathLst>
            </a:custGeom>
            <a:solidFill>
              <a:srgbClr val="E8E7E3"/>
            </a:solidFill>
            <a:ln w="12483" cap="flat">
              <a:noFill/>
              <a:prstDash val="solid"/>
              <a:miter/>
            </a:ln>
          </p:spPr>
          <p:txBody>
            <a:bodyPr rtlCol="0" anchor="ctr"/>
            <a:lstStyle/>
            <a:p>
              <a:endParaRPr lang="en-US"/>
            </a:p>
          </p:txBody>
        </p:sp>
        <p:sp>
          <p:nvSpPr>
            <p:cNvPr id="1072" name="Freeform: Shape 1071">
              <a:extLst>
                <a:ext uri="{FF2B5EF4-FFF2-40B4-BE49-F238E27FC236}">
                  <a16:creationId xmlns:a16="http://schemas.microsoft.com/office/drawing/2014/main" id="{AA36D0F2-8425-46FC-95E4-10DAA39E4550}"/>
                </a:ext>
              </a:extLst>
            </p:cNvPr>
            <p:cNvSpPr/>
            <p:nvPr/>
          </p:nvSpPr>
          <p:spPr>
            <a:xfrm>
              <a:off x="9647362" y="5347625"/>
              <a:ext cx="96333" cy="133946"/>
            </a:xfrm>
            <a:custGeom>
              <a:avLst/>
              <a:gdLst>
                <a:gd name="connsiteX0" fmla="*/ 96334 w 96333"/>
                <a:gd name="connsiteY0" fmla="*/ 131697 h 133946"/>
                <a:gd name="connsiteX1" fmla="*/ 0 w 96333"/>
                <a:gd name="connsiteY1" fmla="*/ 0 h 133946"/>
                <a:gd name="connsiteX2" fmla="*/ 250 w 96333"/>
                <a:gd name="connsiteY2" fmla="*/ 7622 h 133946"/>
                <a:gd name="connsiteX3" fmla="*/ 92335 w 96333"/>
                <a:gd name="connsiteY3" fmla="*/ 133946 h 133946"/>
                <a:gd name="connsiteX4" fmla="*/ 96334 w 96333"/>
                <a:gd name="connsiteY4" fmla="*/ 131697 h 13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33" h="133946">
                  <a:moveTo>
                    <a:pt x="96334" y="131697"/>
                  </a:moveTo>
                  <a:lnTo>
                    <a:pt x="0" y="0"/>
                  </a:lnTo>
                  <a:lnTo>
                    <a:pt x="250" y="7622"/>
                  </a:lnTo>
                  <a:lnTo>
                    <a:pt x="92335" y="133946"/>
                  </a:lnTo>
                  <a:lnTo>
                    <a:pt x="96334" y="131697"/>
                  </a:lnTo>
                  <a:close/>
                </a:path>
              </a:pathLst>
            </a:custGeom>
            <a:solidFill>
              <a:srgbClr val="DD2A27"/>
            </a:solidFill>
            <a:ln w="12483" cap="flat">
              <a:noFill/>
              <a:prstDash val="solid"/>
              <a:miter/>
            </a:ln>
          </p:spPr>
          <p:txBody>
            <a:bodyPr rtlCol="0" anchor="ctr"/>
            <a:lstStyle/>
            <a:p>
              <a:endParaRPr lang="en-US"/>
            </a:p>
          </p:txBody>
        </p:sp>
        <p:sp>
          <p:nvSpPr>
            <p:cNvPr id="1073" name="Freeform: Shape 1072">
              <a:extLst>
                <a:ext uri="{FF2B5EF4-FFF2-40B4-BE49-F238E27FC236}">
                  <a16:creationId xmlns:a16="http://schemas.microsoft.com/office/drawing/2014/main" id="{E8690EFF-2BE6-4BC7-82F7-200171490911}"/>
                </a:ext>
              </a:extLst>
            </p:cNvPr>
            <p:cNvSpPr/>
            <p:nvPr/>
          </p:nvSpPr>
          <p:spPr>
            <a:xfrm>
              <a:off x="9647987" y="5390482"/>
              <a:ext cx="209159" cy="315499"/>
            </a:xfrm>
            <a:custGeom>
              <a:avLst/>
              <a:gdLst>
                <a:gd name="connsiteX0" fmla="*/ 149186 w 209159"/>
                <a:gd name="connsiteY0" fmla="*/ 189674 h 315499"/>
                <a:gd name="connsiteX1" fmla="*/ 97958 w 209159"/>
                <a:gd name="connsiteY1" fmla="*/ 119577 h 315499"/>
                <a:gd name="connsiteX2" fmla="*/ 96708 w 209159"/>
                <a:gd name="connsiteY2" fmla="*/ 120327 h 315499"/>
                <a:gd name="connsiteX3" fmla="*/ 94834 w 209159"/>
                <a:gd name="connsiteY3" fmla="*/ 120327 h 315499"/>
                <a:gd name="connsiteX4" fmla="*/ 93710 w 209159"/>
                <a:gd name="connsiteY4" fmla="*/ 120327 h 315499"/>
                <a:gd name="connsiteX5" fmla="*/ 93710 w 209159"/>
                <a:gd name="connsiteY5" fmla="*/ 120327 h 315499"/>
                <a:gd name="connsiteX6" fmla="*/ 91835 w 209159"/>
                <a:gd name="connsiteY6" fmla="*/ 120327 h 315499"/>
                <a:gd name="connsiteX7" fmla="*/ 90211 w 209159"/>
                <a:gd name="connsiteY7" fmla="*/ 120327 h 315499"/>
                <a:gd name="connsiteX8" fmla="*/ 88962 w 209159"/>
                <a:gd name="connsiteY8" fmla="*/ 119327 h 315499"/>
                <a:gd name="connsiteX9" fmla="*/ 87462 w 209159"/>
                <a:gd name="connsiteY9" fmla="*/ 117953 h 315499"/>
                <a:gd name="connsiteX10" fmla="*/ 87462 w 209159"/>
                <a:gd name="connsiteY10" fmla="*/ 117953 h 315499"/>
                <a:gd name="connsiteX11" fmla="*/ 1374 w 209159"/>
                <a:gd name="connsiteY11" fmla="*/ 0 h 315499"/>
                <a:gd name="connsiteX12" fmla="*/ 2124 w 209159"/>
                <a:gd name="connsiteY12" fmla="*/ 20992 h 315499"/>
                <a:gd name="connsiteX13" fmla="*/ 0 w 209159"/>
                <a:gd name="connsiteY13" fmla="*/ 28114 h 315499"/>
                <a:gd name="connsiteX14" fmla="*/ 209160 w 209159"/>
                <a:gd name="connsiteY14" fmla="*/ 315499 h 315499"/>
                <a:gd name="connsiteX15" fmla="*/ 209160 w 209159"/>
                <a:gd name="connsiteY15" fmla="*/ 284137 h 315499"/>
                <a:gd name="connsiteX16" fmla="*/ 150560 w 209159"/>
                <a:gd name="connsiteY16" fmla="*/ 203919 h 315499"/>
                <a:gd name="connsiteX17" fmla="*/ 149186 w 209159"/>
                <a:gd name="connsiteY17" fmla="*/ 189674 h 315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159" h="315499">
                  <a:moveTo>
                    <a:pt x="149186" y="189674"/>
                  </a:moveTo>
                  <a:lnTo>
                    <a:pt x="97958" y="119577"/>
                  </a:lnTo>
                  <a:lnTo>
                    <a:pt x="96708" y="120327"/>
                  </a:lnTo>
                  <a:cubicBezTo>
                    <a:pt x="96084" y="120440"/>
                    <a:pt x="95459" y="120440"/>
                    <a:pt x="94834" y="120327"/>
                  </a:cubicBezTo>
                  <a:lnTo>
                    <a:pt x="93710" y="120327"/>
                  </a:lnTo>
                  <a:lnTo>
                    <a:pt x="93710" y="120327"/>
                  </a:lnTo>
                  <a:lnTo>
                    <a:pt x="91835" y="120327"/>
                  </a:lnTo>
                  <a:lnTo>
                    <a:pt x="90211" y="120327"/>
                  </a:lnTo>
                  <a:lnTo>
                    <a:pt x="88962" y="119327"/>
                  </a:lnTo>
                  <a:cubicBezTo>
                    <a:pt x="88374" y="118965"/>
                    <a:pt x="87874" y="118502"/>
                    <a:pt x="87462" y="117953"/>
                  </a:cubicBezTo>
                  <a:lnTo>
                    <a:pt x="87462" y="117953"/>
                  </a:lnTo>
                  <a:lnTo>
                    <a:pt x="1374" y="0"/>
                  </a:lnTo>
                  <a:lnTo>
                    <a:pt x="2124" y="20992"/>
                  </a:lnTo>
                  <a:cubicBezTo>
                    <a:pt x="2149" y="23528"/>
                    <a:pt x="1412" y="26015"/>
                    <a:pt x="0" y="28114"/>
                  </a:cubicBezTo>
                  <a:lnTo>
                    <a:pt x="209160" y="315499"/>
                  </a:lnTo>
                  <a:lnTo>
                    <a:pt x="209160" y="284137"/>
                  </a:lnTo>
                  <a:lnTo>
                    <a:pt x="150560" y="203919"/>
                  </a:lnTo>
                  <a:cubicBezTo>
                    <a:pt x="147161" y="199933"/>
                    <a:pt x="146611" y="194235"/>
                    <a:pt x="149186" y="189674"/>
                  </a:cubicBezTo>
                  <a:close/>
                </a:path>
              </a:pathLst>
            </a:custGeom>
            <a:solidFill>
              <a:schemeClr val="accent4"/>
            </a:solidFill>
            <a:ln w="12483" cap="flat">
              <a:noFill/>
              <a:prstDash val="solid"/>
              <a:miter/>
            </a:ln>
          </p:spPr>
          <p:txBody>
            <a:bodyPr rtlCol="0" anchor="ctr"/>
            <a:lstStyle/>
            <a:p>
              <a:endParaRPr lang="en-US"/>
            </a:p>
          </p:txBody>
        </p:sp>
        <p:sp>
          <p:nvSpPr>
            <p:cNvPr id="1074" name="Freeform: Shape 1073">
              <a:extLst>
                <a:ext uri="{FF2B5EF4-FFF2-40B4-BE49-F238E27FC236}">
                  <a16:creationId xmlns:a16="http://schemas.microsoft.com/office/drawing/2014/main" id="{602C7AC1-F765-4623-AD62-71D0D89F54EC}"/>
                </a:ext>
              </a:extLst>
            </p:cNvPr>
            <p:cNvSpPr/>
            <p:nvPr/>
          </p:nvSpPr>
          <p:spPr>
            <a:xfrm>
              <a:off x="9225669" y="5417472"/>
              <a:ext cx="711192" cy="644492"/>
            </a:xfrm>
            <a:custGeom>
              <a:avLst/>
              <a:gdLst>
                <a:gd name="connsiteX0" fmla="*/ 113326 w 711192"/>
                <a:gd name="connsiteY0" fmla="*/ 388345 h 644492"/>
                <a:gd name="connsiteX1" fmla="*/ 115200 w 711192"/>
                <a:gd name="connsiteY1" fmla="*/ 388345 h 644492"/>
                <a:gd name="connsiteX2" fmla="*/ 116825 w 711192"/>
                <a:gd name="connsiteY2" fmla="*/ 388345 h 644492"/>
                <a:gd name="connsiteX3" fmla="*/ 118574 w 711192"/>
                <a:gd name="connsiteY3" fmla="*/ 388345 h 644492"/>
                <a:gd name="connsiteX4" fmla="*/ 120073 w 711192"/>
                <a:gd name="connsiteY4" fmla="*/ 388970 h 644492"/>
                <a:gd name="connsiteX5" fmla="*/ 121573 w 711192"/>
                <a:gd name="connsiteY5" fmla="*/ 389969 h 644492"/>
                <a:gd name="connsiteX6" fmla="*/ 122947 w 711192"/>
                <a:gd name="connsiteY6" fmla="*/ 391344 h 644492"/>
                <a:gd name="connsiteX7" fmla="*/ 122947 w 711192"/>
                <a:gd name="connsiteY7" fmla="*/ 391344 h 644492"/>
                <a:gd name="connsiteX8" fmla="*/ 300745 w 711192"/>
                <a:gd name="connsiteY8" fmla="*/ 644493 h 644492"/>
                <a:gd name="connsiteX9" fmla="*/ 711193 w 711192"/>
                <a:gd name="connsiteY9" fmla="*/ 402839 h 644492"/>
                <a:gd name="connsiteX10" fmla="*/ 644596 w 711192"/>
                <a:gd name="connsiteY10" fmla="*/ 312625 h 644492"/>
                <a:gd name="connsiteX11" fmla="*/ 640224 w 711192"/>
                <a:gd name="connsiteY11" fmla="*/ 314250 h 644492"/>
                <a:gd name="connsiteX12" fmla="*/ 631090 w 711192"/>
                <a:gd name="connsiteY12" fmla="*/ 303929 h 644492"/>
                <a:gd name="connsiteX13" fmla="*/ 631102 w 711192"/>
                <a:gd name="connsiteY13" fmla="*/ 303754 h 644492"/>
                <a:gd name="connsiteX14" fmla="*/ 631102 w 711192"/>
                <a:gd name="connsiteY14" fmla="*/ 293758 h 644492"/>
                <a:gd name="connsiteX15" fmla="*/ 419444 w 711192"/>
                <a:gd name="connsiteY15" fmla="*/ 2999 h 644492"/>
                <a:gd name="connsiteX16" fmla="*/ 415196 w 711192"/>
                <a:gd name="connsiteY16" fmla="*/ 4623 h 644492"/>
                <a:gd name="connsiteX17" fmla="*/ 407824 w 711192"/>
                <a:gd name="connsiteY17" fmla="*/ 0 h 644492"/>
                <a:gd name="connsiteX18" fmla="*/ 0 w 711192"/>
                <a:gd name="connsiteY18" fmla="*/ 233282 h 644492"/>
                <a:gd name="connsiteX19" fmla="*/ 109828 w 711192"/>
                <a:gd name="connsiteY19" fmla="*/ 390469 h 644492"/>
                <a:gd name="connsiteX20" fmla="*/ 110452 w 711192"/>
                <a:gd name="connsiteY20" fmla="*/ 390469 h 644492"/>
                <a:gd name="connsiteX21" fmla="*/ 112576 w 711192"/>
                <a:gd name="connsiteY21" fmla="*/ 389345 h 6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1192" h="644492">
                  <a:moveTo>
                    <a:pt x="113326" y="388345"/>
                  </a:moveTo>
                  <a:lnTo>
                    <a:pt x="115200" y="388345"/>
                  </a:lnTo>
                  <a:lnTo>
                    <a:pt x="116825" y="388345"/>
                  </a:lnTo>
                  <a:lnTo>
                    <a:pt x="118574" y="388345"/>
                  </a:lnTo>
                  <a:lnTo>
                    <a:pt x="120073" y="388970"/>
                  </a:lnTo>
                  <a:cubicBezTo>
                    <a:pt x="120623" y="389232"/>
                    <a:pt x="121123" y="389569"/>
                    <a:pt x="121573" y="389969"/>
                  </a:cubicBezTo>
                  <a:lnTo>
                    <a:pt x="122947" y="391344"/>
                  </a:lnTo>
                  <a:lnTo>
                    <a:pt x="122947" y="391344"/>
                  </a:lnTo>
                  <a:lnTo>
                    <a:pt x="300745" y="644493"/>
                  </a:lnTo>
                  <a:lnTo>
                    <a:pt x="711193" y="402839"/>
                  </a:lnTo>
                  <a:lnTo>
                    <a:pt x="644596" y="312625"/>
                  </a:lnTo>
                  <a:cubicBezTo>
                    <a:pt x="643335" y="313600"/>
                    <a:pt x="641810" y="314162"/>
                    <a:pt x="640224" y="314250"/>
                  </a:cubicBezTo>
                  <a:cubicBezTo>
                    <a:pt x="634851" y="313925"/>
                    <a:pt x="630765" y="309302"/>
                    <a:pt x="631090" y="303929"/>
                  </a:cubicBezTo>
                  <a:cubicBezTo>
                    <a:pt x="631090" y="303866"/>
                    <a:pt x="631102" y="303816"/>
                    <a:pt x="631102" y="303754"/>
                  </a:cubicBezTo>
                  <a:lnTo>
                    <a:pt x="631102" y="293758"/>
                  </a:lnTo>
                  <a:lnTo>
                    <a:pt x="419444" y="2999"/>
                  </a:lnTo>
                  <a:cubicBezTo>
                    <a:pt x="418232" y="3973"/>
                    <a:pt x="416745" y="4548"/>
                    <a:pt x="415196" y="4623"/>
                  </a:cubicBezTo>
                  <a:cubicBezTo>
                    <a:pt x="412072" y="4585"/>
                    <a:pt x="409223" y="2799"/>
                    <a:pt x="407824" y="0"/>
                  </a:cubicBezTo>
                  <a:lnTo>
                    <a:pt x="0" y="233282"/>
                  </a:lnTo>
                  <a:lnTo>
                    <a:pt x="109828" y="390469"/>
                  </a:lnTo>
                  <a:lnTo>
                    <a:pt x="110452" y="390469"/>
                  </a:lnTo>
                  <a:lnTo>
                    <a:pt x="112576" y="389345"/>
                  </a:lnTo>
                  <a:close/>
                </a:path>
              </a:pathLst>
            </a:custGeom>
            <a:solidFill>
              <a:schemeClr val="accent5"/>
            </a:solidFill>
            <a:ln w="12483" cap="flat">
              <a:noFill/>
              <a:prstDash val="solid"/>
              <a:miter/>
            </a:ln>
          </p:spPr>
          <p:txBody>
            <a:bodyPr rtlCol="0" anchor="ctr"/>
            <a:lstStyle/>
            <a:p>
              <a:endParaRPr lang="en-US"/>
            </a:p>
          </p:txBody>
        </p:sp>
        <p:sp>
          <p:nvSpPr>
            <p:cNvPr id="1075" name="Freeform: Shape 1074">
              <a:extLst>
                <a:ext uri="{FF2B5EF4-FFF2-40B4-BE49-F238E27FC236}">
                  <a16:creationId xmlns:a16="http://schemas.microsoft.com/office/drawing/2014/main" id="{544C401B-B017-4404-8821-EF7E00688797}"/>
                </a:ext>
              </a:extLst>
            </p:cNvPr>
            <p:cNvSpPr/>
            <p:nvPr/>
          </p:nvSpPr>
          <p:spPr>
            <a:xfrm>
              <a:off x="9748818" y="5505936"/>
              <a:ext cx="51852" cy="71096"/>
            </a:xfrm>
            <a:custGeom>
              <a:avLst/>
              <a:gdLst>
                <a:gd name="connsiteX0" fmla="*/ 0 w 51852"/>
                <a:gd name="connsiteY0" fmla="*/ 125 h 71096"/>
                <a:gd name="connsiteX1" fmla="*/ 0 w 51852"/>
                <a:gd name="connsiteY1" fmla="*/ 875 h 71096"/>
                <a:gd name="connsiteX2" fmla="*/ 51103 w 51852"/>
                <a:gd name="connsiteY2" fmla="*/ 71097 h 71096"/>
                <a:gd name="connsiteX3" fmla="*/ 51853 w 51852"/>
                <a:gd name="connsiteY3" fmla="*/ 70472 h 71096"/>
                <a:gd name="connsiteX4" fmla="*/ 375 w 51852"/>
                <a:gd name="connsiteY4" fmla="*/ 0 h 71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52" h="71096">
                  <a:moveTo>
                    <a:pt x="0" y="125"/>
                  </a:moveTo>
                  <a:lnTo>
                    <a:pt x="0" y="875"/>
                  </a:lnTo>
                  <a:lnTo>
                    <a:pt x="51103" y="71097"/>
                  </a:lnTo>
                  <a:lnTo>
                    <a:pt x="51853" y="70472"/>
                  </a:lnTo>
                  <a:lnTo>
                    <a:pt x="375" y="0"/>
                  </a:lnTo>
                  <a:close/>
                </a:path>
              </a:pathLst>
            </a:custGeom>
            <a:solidFill>
              <a:srgbClr val="F9AA19"/>
            </a:solidFill>
            <a:ln w="12483" cap="flat">
              <a:noFill/>
              <a:prstDash val="solid"/>
              <a:miter/>
            </a:ln>
          </p:spPr>
          <p:txBody>
            <a:bodyPr rtlCol="0" anchor="ctr"/>
            <a:lstStyle/>
            <a:p>
              <a:endParaRPr lang="en-US"/>
            </a:p>
          </p:txBody>
        </p:sp>
        <p:sp>
          <p:nvSpPr>
            <p:cNvPr id="1076" name="Freeform: Shape 1075">
              <a:extLst>
                <a:ext uri="{FF2B5EF4-FFF2-40B4-BE49-F238E27FC236}">
                  <a16:creationId xmlns:a16="http://schemas.microsoft.com/office/drawing/2014/main" id="{3E7A358E-E64B-4618-A119-CED3631B5126}"/>
                </a:ext>
              </a:extLst>
            </p:cNvPr>
            <p:cNvSpPr/>
            <p:nvPr/>
          </p:nvSpPr>
          <p:spPr>
            <a:xfrm>
              <a:off x="9851399" y="5551918"/>
              <a:ext cx="2248" cy="4498"/>
            </a:xfrm>
            <a:custGeom>
              <a:avLst/>
              <a:gdLst>
                <a:gd name="connsiteX0" fmla="*/ 2249 w 2248"/>
                <a:gd name="connsiteY0" fmla="*/ 4498 h 4498"/>
                <a:gd name="connsiteX1" fmla="*/ 2249 w 2248"/>
                <a:gd name="connsiteY1" fmla="*/ 0 h 4498"/>
                <a:gd name="connsiteX2" fmla="*/ 0 w 2248"/>
                <a:gd name="connsiteY2" fmla="*/ 1250 h 4498"/>
                <a:gd name="connsiteX3" fmla="*/ 2249 w 2248"/>
                <a:gd name="connsiteY3" fmla="*/ 4498 h 4498"/>
              </a:gdLst>
              <a:ahLst/>
              <a:cxnLst>
                <a:cxn ang="0">
                  <a:pos x="connsiteX0" y="connsiteY0"/>
                </a:cxn>
                <a:cxn ang="0">
                  <a:pos x="connsiteX1" y="connsiteY1"/>
                </a:cxn>
                <a:cxn ang="0">
                  <a:pos x="connsiteX2" y="connsiteY2"/>
                </a:cxn>
                <a:cxn ang="0">
                  <a:pos x="connsiteX3" y="connsiteY3"/>
                </a:cxn>
              </a:cxnLst>
              <a:rect l="l" t="t" r="r" b="b"/>
              <a:pathLst>
                <a:path w="2248" h="4498">
                  <a:moveTo>
                    <a:pt x="2249" y="4498"/>
                  </a:moveTo>
                  <a:lnTo>
                    <a:pt x="2249" y="0"/>
                  </a:lnTo>
                  <a:lnTo>
                    <a:pt x="0" y="1250"/>
                  </a:lnTo>
                  <a:cubicBezTo>
                    <a:pt x="912" y="2212"/>
                    <a:pt x="1674" y="3299"/>
                    <a:pt x="2249" y="4498"/>
                  </a:cubicBezTo>
                  <a:close/>
                </a:path>
              </a:pathLst>
            </a:custGeom>
            <a:solidFill>
              <a:srgbClr val="E8E7E3"/>
            </a:solidFill>
            <a:ln w="12483" cap="flat">
              <a:noFill/>
              <a:prstDash val="solid"/>
              <a:miter/>
            </a:ln>
          </p:spPr>
          <p:txBody>
            <a:bodyPr rtlCol="0" anchor="ctr"/>
            <a:lstStyle/>
            <a:p>
              <a:endParaRPr lang="en-US"/>
            </a:p>
          </p:txBody>
        </p:sp>
        <p:sp>
          <p:nvSpPr>
            <p:cNvPr id="1077" name="Freeform: Shape 1076">
              <a:extLst>
                <a:ext uri="{FF2B5EF4-FFF2-40B4-BE49-F238E27FC236}">
                  <a16:creationId xmlns:a16="http://schemas.microsoft.com/office/drawing/2014/main" id="{174588F5-5BEC-4285-A4F6-7560C29FDF83}"/>
                </a:ext>
              </a:extLst>
            </p:cNvPr>
            <p:cNvSpPr/>
            <p:nvPr/>
          </p:nvSpPr>
          <p:spPr>
            <a:xfrm>
              <a:off x="9813540" y="5567162"/>
              <a:ext cx="41606" cy="72970"/>
            </a:xfrm>
            <a:custGeom>
              <a:avLst/>
              <a:gdLst>
                <a:gd name="connsiteX0" fmla="*/ 36359 w 41606"/>
                <a:gd name="connsiteY0" fmla="*/ 4498 h 72970"/>
                <a:gd name="connsiteX1" fmla="*/ 15243 w 41606"/>
                <a:gd name="connsiteY1" fmla="*/ 16993 h 72970"/>
                <a:gd name="connsiteX2" fmla="*/ 4523 w 41606"/>
                <a:gd name="connsiteY2" fmla="*/ 14020 h 72970"/>
                <a:gd name="connsiteX3" fmla="*/ 4248 w 41606"/>
                <a:gd name="connsiteY3" fmla="*/ 13495 h 72970"/>
                <a:gd name="connsiteX4" fmla="*/ 0 w 41606"/>
                <a:gd name="connsiteY4" fmla="*/ 15994 h 72970"/>
                <a:gd name="connsiteX5" fmla="*/ 41607 w 41606"/>
                <a:gd name="connsiteY5" fmla="*/ 72971 h 72970"/>
                <a:gd name="connsiteX6" fmla="*/ 40233 w 41606"/>
                <a:gd name="connsiteY6" fmla="*/ 0 h 72970"/>
                <a:gd name="connsiteX7" fmla="*/ 36359 w 41606"/>
                <a:gd name="connsiteY7" fmla="*/ 4498 h 7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06" h="72970">
                  <a:moveTo>
                    <a:pt x="36359" y="4498"/>
                  </a:moveTo>
                  <a:lnTo>
                    <a:pt x="15243" y="16993"/>
                  </a:lnTo>
                  <a:cubicBezTo>
                    <a:pt x="11457" y="19130"/>
                    <a:pt x="6659" y="17806"/>
                    <a:pt x="4523" y="14020"/>
                  </a:cubicBezTo>
                  <a:cubicBezTo>
                    <a:pt x="4423" y="13845"/>
                    <a:pt x="4335" y="13669"/>
                    <a:pt x="4248" y="13495"/>
                  </a:cubicBezTo>
                  <a:lnTo>
                    <a:pt x="0" y="15994"/>
                  </a:lnTo>
                  <a:lnTo>
                    <a:pt x="41607" y="72971"/>
                  </a:lnTo>
                  <a:lnTo>
                    <a:pt x="40233" y="0"/>
                  </a:lnTo>
                  <a:cubicBezTo>
                    <a:pt x="39395" y="1837"/>
                    <a:pt x="38046" y="3386"/>
                    <a:pt x="36359" y="4498"/>
                  </a:cubicBezTo>
                  <a:close/>
                </a:path>
              </a:pathLst>
            </a:custGeom>
            <a:solidFill>
              <a:srgbClr val="E8E7E3"/>
            </a:solidFill>
            <a:ln w="12483" cap="flat">
              <a:noFill/>
              <a:prstDash val="solid"/>
              <a:miter/>
            </a:ln>
          </p:spPr>
          <p:txBody>
            <a:bodyPr rtlCol="0" anchor="ctr"/>
            <a:lstStyle/>
            <a:p>
              <a:endParaRPr lang="en-US"/>
            </a:p>
          </p:txBody>
        </p:sp>
        <p:sp>
          <p:nvSpPr>
            <p:cNvPr id="1078" name="Freeform: Shape 1077">
              <a:extLst>
                <a:ext uri="{FF2B5EF4-FFF2-40B4-BE49-F238E27FC236}">
                  <a16:creationId xmlns:a16="http://schemas.microsoft.com/office/drawing/2014/main" id="{4AF8C815-E906-492A-BD6F-6D2262135935}"/>
                </a:ext>
              </a:extLst>
            </p:cNvPr>
            <p:cNvSpPr/>
            <p:nvPr/>
          </p:nvSpPr>
          <p:spPr>
            <a:xfrm>
              <a:off x="9809292" y="5573534"/>
              <a:ext cx="7121" cy="6122"/>
            </a:xfrm>
            <a:custGeom>
              <a:avLst/>
              <a:gdLst>
                <a:gd name="connsiteX0" fmla="*/ 6747 w 7121"/>
                <a:gd name="connsiteY0" fmla="*/ 0 h 6122"/>
                <a:gd name="connsiteX1" fmla="*/ 0 w 7121"/>
                <a:gd name="connsiteY1" fmla="*/ 3998 h 6122"/>
                <a:gd name="connsiteX2" fmla="*/ 1499 w 7121"/>
                <a:gd name="connsiteY2" fmla="*/ 5373 h 6122"/>
                <a:gd name="connsiteX3" fmla="*/ 2124 w 7121"/>
                <a:gd name="connsiteY3" fmla="*/ 6122 h 6122"/>
                <a:gd name="connsiteX4" fmla="*/ 7122 w 7121"/>
                <a:gd name="connsiteY4" fmla="*/ 3249 h 6122"/>
                <a:gd name="connsiteX5" fmla="*/ 6747 w 7121"/>
                <a:gd name="connsiteY5" fmla="*/ 0 h 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1" h="6122">
                  <a:moveTo>
                    <a:pt x="6747" y="0"/>
                  </a:moveTo>
                  <a:lnTo>
                    <a:pt x="0" y="3998"/>
                  </a:lnTo>
                  <a:cubicBezTo>
                    <a:pt x="587" y="4348"/>
                    <a:pt x="1099" y="4823"/>
                    <a:pt x="1499" y="5373"/>
                  </a:cubicBezTo>
                  <a:lnTo>
                    <a:pt x="2124" y="6122"/>
                  </a:lnTo>
                  <a:lnTo>
                    <a:pt x="7122" y="3249"/>
                  </a:lnTo>
                  <a:cubicBezTo>
                    <a:pt x="6872" y="2186"/>
                    <a:pt x="6747" y="1100"/>
                    <a:pt x="6747" y="0"/>
                  </a:cubicBezTo>
                  <a:close/>
                </a:path>
              </a:pathLst>
            </a:custGeom>
            <a:solidFill>
              <a:srgbClr val="22B0AE"/>
            </a:solidFill>
            <a:ln w="12483" cap="flat">
              <a:noFill/>
              <a:prstDash val="solid"/>
              <a:miter/>
            </a:ln>
          </p:spPr>
          <p:txBody>
            <a:bodyPr rtlCol="0" anchor="ctr"/>
            <a:lstStyle/>
            <a:p>
              <a:endParaRPr lang="en-US"/>
            </a:p>
          </p:txBody>
        </p:sp>
        <p:sp>
          <p:nvSpPr>
            <p:cNvPr id="1079" name="Freeform: Shape 1078">
              <a:extLst>
                <a:ext uri="{FF2B5EF4-FFF2-40B4-BE49-F238E27FC236}">
                  <a16:creationId xmlns:a16="http://schemas.microsoft.com/office/drawing/2014/main" id="{E9547F8D-F47F-4A6D-BDB5-D370526A4A8D}"/>
                </a:ext>
              </a:extLst>
            </p:cNvPr>
            <p:cNvSpPr/>
            <p:nvPr/>
          </p:nvSpPr>
          <p:spPr>
            <a:xfrm>
              <a:off x="8964157" y="5829182"/>
              <a:ext cx="543889" cy="435451"/>
            </a:xfrm>
            <a:custGeom>
              <a:avLst/>
              <a:gdLst>
                <a:gd name="connsiteX0" fmla="*/ 374838 w 543889"/>
                <a:gd name="connsiteY0" fmla="*/ 0 h 435451"/>
                <a:gd name="connsiteX1" fmla="*/ 228152 w 543889"/>
                <a:gd name="connsiteY1" fmla="*/ 84841 h 435451"/>
                <a:gd name="connsiteX2" fmla="*/ 228152 w 543889"/>
                <a:gd name="connsiteY2" fmla="*/ 84841 h 435451"/>
                <a:gd name="connsiteX3" fmla="*/ 0 w 543889"/>
                <a:gd name="connsiteY3" fmla="*/ 217289 h 435451"/>
                <a:gd name="connsiteX4" fmla="*/ 0 w 543889"/>
                <a:gd name="connsiteY4" fmla="*/ 222286 h 435451"/>
                <a:gd name="connsiteX5" fmla="*/ 143563 w 543889"/>
                <a:gd name="connsiteY5" fmla="*/ 435451 h 435451"/>
                <a:gd name="connsiteX6" fmla="*/ 143563 w 543889"/>
                <a:gd name="connsiteY6" fmla="*/ 435451 h 435451"/>
                <a:gd name="connsiteX7" fmla="*/ 427940 w 543889"/>
                <a:gd name="connsiteY7" fmla="*/ 268393 h 435451"/>
                <a:gd name="connsiteX8" fmla="*/ 428690 w 543889"/>
                <a:gd name="connsiteY8" fmla="*/ 268393 h 435451"/>
                <a:gd name="connsiteX9" fmla="*/ 430439 w 543889"/>
                <a:gd name="connsiteY9" fmla="*/ 268393 h 435451"/>
                <a:gd name="connsiteX10" fmla="*/ 432063 w 543889"/>
                <a:gd name="connsiteY10" fmla="*/ 268393 h 435451"/>
                <a:gd name="connsiteX11" fmla="*/ 433688 w 543889"/>
                <a:gd name="connsiteY11" fmla="*/ 268393 h 435451"/>
                <a:gd name="connsiteX12" fmla="*/ 435437 w 543889"/>
                <a:gd name="connsiteY12" fmla="*/ 269018 h 435451"/>
                <a:gd name="connsiteX13" fmla="*/ 436811 w 543889"/>
                <a:gd name="connsiteY13" fmla="*/ 270018 h 435451"/>
                <a:gd name="connsiteX14" fmla="*/ 438310 w 543889"/>
                <a:gd name="connsiteY14" fmla="*/ 271392 h 435451"/>
                <a:gd name="connsiteX15" fmla="*/ 438310 w 543889"/>
                <a:gd name="connsiteY15" fmla="*/ 271392 h 435451"/>
                <a:gd name="connsiteX16" fmla="*/ 455054 w 543889"/>
                <a:gd name="connsiteY16" fmla="*/ 295507 h 435451"/>
                <a:gd name="connsiteX17" fmla="*/ 543890 w 543889"/>
                <a:gd name="connsiteY17" fmla="*/ 243153 h 43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3889" h="435451">
                  <a:moveTo>
                    <a:pt x="374838" y="0"/>
                  </a:moveTo>
                  <a:lnTo>
                    <a:pt x="228152" y="84841"/>
                  </a:lnTo>
                  <a:lnTo>
                    <a:pt x="228152" y="84841"/>
                  </a:lnTo>
                  <a:lnTo>
                    <a:pt x="0" y="217289"/>
                  </a:lnTo>
                  <a:lnTo>
                    <a:pt x="0" y="222286"/>
                  </a:lnTo>
                  <a:lnTo>
                    <a:pt x="143563" y="435451"/>
                  </a:lnTo>
                  <a:lnTo>
                    <a:pt x="143563" y="435451"/>
                  </a:lnTo>
                  <a:lnTo>
                    <a:pt x="427940" y="268393"/>
                  </a:lnTo>
                  <a:lnTo>
                    <a:pt x="428690" y="268393"/>
                  </a:lnTo>
                  <a:lnTo>
                    <a:pt x="430439" y="268393"/>
                  </a:lnTo>
                  <a:lnTo>
                    <a:pt x="432063" y="268393"/>
                  </a:lnTo>
                  <a:lnTo>
                    <a:pt x="433688" y="268393"/>
                  </a:lnTo>
                  <a:lnTo>
                    <a:pt x="435437" y="269018"/>
                  </a:lnTo>
                  <a:lnTo>
                    <a:pt x="436811" y="270018"/>
                  </a:lnTo>
                  <a:lnTo>
                    <a:pt x="438310" y="271392"/>
                  </a:lnTo>
                  <a:lnTo>
                    <a:pt x="438310" y="271392"/>
                  </a:lnTo>
                  <a:lnTo>
                    <a:pt x="455054" y="295507"/>
                  </a:lnTo>
                  <a:lnTo>
                    <a:pt x="543890" y="243153"/>
                  </a:lnTo>
                  <a:close/>
                </a:path>
              </a:pathLst>
            </a:custGeom>
            <a:solidFill>
              <a:schemeClr val="accent6"/>
            </a:solidFill>
            <a:ln w="12483" cap="flat">
              <a:noFill/>
              <a:prstDash val="solid"/>
              <a:miter/>
            </a:ln>
          </p:spPr>
          <p:txBody>
            <a:bodyPr rtlCol="0" anchor="ctr"/>
            <a:lstStyle/>
            <a:p>
              <a:endParaRPr lang="en-US"/>
            </a:p>
          </p:txBody>
        </p:sp>
        <p:sp>
          <p:nvSpPr>
            <p:cNvPr id="1080" name="Freeform: Shape 1079">
              <a:extLst>
                <a:ext uri="{FF2B5EF4-FFF2-40B4-BE49-F238E27FC236}">
                  <a16:creationId xmlns:a16="http://schemas.microsoft.com/office/drawing/2014/main" id="{CF3B2DC3-5E6A-4678-B595-AABF95C72B4C}"/>
                </a:ext>
              </a:extLst>
            </p:cNvPr>
            <p:cNvSpPr/>
            <p:nvPr/>
          </p:nvSpPr>
          <p:spPr>
            <a:xfrm>
              <a:off x="9750442" y="5233920"/>
              <a:ext cx="496410" cy="341488"/>
            </a:xfrm>
            <a:custGeom>
              <a:avLst/>
              <a:gdLst>
                <a:gd name="connsiteX0" fmla="*/ 0 w 496410"/>
                <a:gd name="connsiteY0" fmla="*/ 265519 h 341488"/>
                <a:gd name="connsiteX1" fmla="*/ 0 w 496410"/>
                <a:gd name="connsiteY1" fmla="*/ 266393 h 341488"/>
                <a:gd name="connsiteX2" fmla="*/ 0 w 496410"/>
                <a:gd name="connsiteY2" fmla="*/ 268018 h 341488"/>
                <a:gd name="connsiteX3" fmla="*/ 53602 w 496410"/>
                <a:gd name="connsiteY3" fmla="*/ 341489 h 341488"/>
                <a:gd name="connsiteX4" fmla="*/ 55101 w 496410"/>
                <a:gd name="connsiteY4" fmla="*/ 341489 h 341488"/>
                <a:gd name="connsiteX5" fmla="*/ 67596 w 496410"/>
                <a:gd name="connsiteY5" fmla="*/ 334491 h 341488"/>
                <a:gd name="connsiteX6" fmla="*/ 71344 w 496410"/>
                <a:gd name="connsiteY6" fmla="*/ 330243 h 341488"/>
                <a:gd name="connsiteX7" fmla="*/ 92460 w 496410"/>
                <a:gd name="connsiteY7" fmla="*/ 317748 h 341488"/>
                <a:gd name="connsiteX8" fmla="*/ 97458 w 496410"/>
                <a:gd name="connsiteY8" fmla="*/ 316999 h 341488"/>
                <a:gd name="connsiteX9" fmla="*/ 103705 w 496410"/>
                <a:gd name="connsiteY9" fmla="*/ 313375 h 341488"/>
                <a:gd name="connsiteX10" fmla="*/ 103705 w 496410"/>
                <a:gd name="connsiteY10" fmla="*/ 310626 h 341488"/>
                <a:gd name="connsiteX11" fmla="*/ 103705 w 496410"/>
                <a:gd name="connsiteY11" fmla="*/ 281138 h 341488"/>
                <a:gd name="connsiteX12" fmla="*/ 103705 w 496410"/>
                <a:gd name="connsiteY12" fmla="*/ 281138 h 341488"/>
                <a:gd name="connsiteX13" fmla="*/ 103705 w 496410"/>
                <a:gd name="connsiteY13" fmla="*/ 281138 h 341488"/>
                <a:gd name="connsiteX14" fmla="*/ 103705 w 496410"/>
                <a:gd name="connsiteY14" fmla="*/ 279639 h 341488"/>
                <a:gd name="connsiteX15" fmla="*/ 103705 w 496410"/>
                <a:gd name="connsiteY15" fmla="*/ 277139 h 341488"/>
                <a:gd name="connsiteX16" fmla="*/ 104580 w 496410"/>
                <a:gd name="connsiteY16" fmla="*/ 275265 h 341488"/>
                <a:gd name="connsiteX17" fmla="*/ 105580 w 496410"/>
                <a:gd name="connsiteY17" fmla="*/ 273641 h 341488"/>
                <a:gd name="connsiteX18" fmla="*/ 107204 w 496410"/>
                <a:gd name="connsiteY18" fmla="*/ 272016 h 341488"/>
                <a:gd name="connsiteX19" fmla="*/ 108203 w 496410"/>
                <a:gd name="connsiteY19" fmla="*/ 271142 h 341488"/>
                <a:gd name="connsiteX20" fmla="*/ 134067 w 496410"/>
                <a:gd name="connsiteY20" fmla="*/ 256148 h 341488"/>
                <a:gd name="connsiteX21" fmla="*/ 496411 w 496410"/>
                <a:gd name="connsiteY21" fmla="*/ 46356 h 341488"/>
                <a:gd name="connsiteX22" fmla="*/ 461051 w 496410"/>
                <a:gd name="connsiteY22" fmla="*/ 0 h 341488"/>
                <a:gd name="connsiteX23" fmla="*/ 11245 w 496410"/>
                <a:gd name="connsiteY23" fmla="*/ 258897 h 34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410" h="341488">
                  <a:moveTo>
                    <a:pt x="0" y="265519"/>
                  </a:moveTo>
                  <a:lnTo>
                    <a:pt x="0" y="266393"/>
                  </a:lnTo>
                  <a:cubicBezTo>
                    <a:pt x="0" y="267018"/>
                    <a:pt x="0" y="267518"/>
                    <a:pt x="0" y="268018"/>
                  </a:cubicBezTo>
                  <a:lnTo>
                    <a:pt x="53602" y="341489"/>
                  </a:lnTo>
                  <a:lnTo>
                    <a:pt x="55101" y="341489"/>
                  </a:lnTo>
                  <a:lnTo>
                    <a:pt x="67596" y="334491"/>
                  </a:lnTo>
                  <a:cubicBezTo>
                    <a:pt x="68395" y="332730"/>
                    <a:pt x="69695" y="331255"/>
                    <a:pt x="71344" y="330243"/>
                  </a:cubicBezTo>
                  <a:lnTo>
                    <a:pt x="92460" y="317748"/>
                  </a:lnTo>
                  <a:cubicBezTo>
                    <a:pt x="93997" y="316961"/>
                    <a:pt x="95759" y="316686"/>
                    <a:pt x="97458" y="316999"/>
                  </a:cubicBezTo>
                  <a:lnTo>
                    <a:pt x="103705" y="313375"/>
                  </a:lnTo>
                  <a:lnTo>
                    <a:pt x="103705" y="310626"/>
                  </a:lnTo>
                  <a:lnTo>
                    <a:pt x="103705" y="281138"/>
                  </a:lnTo>
                  <a:lnTo>
                    <a:pt x="103705" y="281138"/>
                  </a:lnTo>
                  <a:lnTo>
                    <a:pt x="103705" y="281138"/>
                  </a:lnTo>
                  <a:cubicBezTo>
                    <a:pt x="103705" y="281138"/>
                    <a:pt x="103705" y="280138"/>
                    <a:pt x="103705" y="279639"/>
                  </a:cubicBezTo>
                  <a:cubicBezTo>
                    <a:pt x="103630" y="278801"/>
                    <a:pt x="103630" y="277976"/>
                    <a:pt x="103705" y="277139"/>
                  </a:cubicBezTo>
                  <a:cubicBezTo>
                    <a:pt x="103705" y="276390"/>
                    <a:pt x="104330" y="275890"/>
                    <a:pt x="104580" y="275265"/>
                  </a:cubicBezTo>
                  <a:lnTo>
                    <a:pt x="105580" y="273641"/>
                  </a:lnTo>
                  <a:cubicBezTo>
                    <a:pt x="106017" y="273004"/>
                    <a:pt x="106567" y="272454"/>
                    <a:pt x="107204" y="272016"/>
                  </a:cubicBezTo>
                  <a:lnTo>
                    <a:pt x="108203" y="271142"/>
                  </a:lnTo>
                  <a:lnTo>
                    <a:pt x="134067" y="256148"/>
                  </a:lnTo>
                  <a:lnTo>
                    <a:pt x="496411" y="46356"/>
                  </a:lnTo>
                  <a:lnTo>
                    <a:pt x="461051" y="0"/>
                  </a:lnTo>
                  <a:lnTo>
                    <a:pt x="11245" y="258897"/>
                  </a:lnTo>
                  <a:close/>
                </a:path>
              </a:pathLst>
            </a:custGeom>
            <a:solidFill>
              <a:schemeClr val="accent6"/>
            </a:solidFill>
            <a:ln w="12483" cap="flat">
              <a:noFill/>
              <a:prstDash val="solid"/>
              <a:miter/>
            </a:ln>
          </p:spPr>
          <p:txBody>
            <a:bodyPr rtlCol="0" anchor="ctr"/>
            <a:lstStyle/>
            <a:p>
              <a:endParaRPr lang="en-US"/>
            </a:p>
          </p:txBody>
        </p:sp>
        <p:sp>
          <p:nvSpPr>
            <p:cNvPr id="1081" name="Freeform: Shape 1080">
              <a:extLst>
                <a:ext uri="{FF2B5EF4-FFF2-40B4-BE49-F238E27FC236}">
                  <a16:creationId xmlns:a16="http://schemas.microsoft.com/office/drawing/2014/main" id="{842982E3-6289-48F6-9F70-06465031848A}"/>
                </a:ext>
              </a:extLst>
            </p:cNvPr>
            <p:cNvSpPr/>
            <p:nvPr/>
          </p:nvSpPr>
          <p:spPr>
            <a:xfrm>
              <a:off x="9870890" y="5509310"/>
              <a:ext cx="194541" cy="248526"/>
            </a:xfrm>
            <a:custGeom>
              <a:avLst/>
              <a:gdLst>
                <a:gd name="connsiteX0" fmla="*/ 20616 w 194541"/>
                <a:gd name="connsiteY0" fmla="*/ 500 h 248526"/>
                <a:gd name="connsiteX1" fmla="*/ 0 w 194541"/>
                <a:gd name="connsiteY1" fmla="*/ 12370 h 248526"/>
                <a:gd name="connsiteX2" fmla="*/ 125 w 194541"/>
                <a:gd name="connsiteY2" fmla="*/ 15244 h 248526"/>
                <a:gd name="connsiteX3" fmla="*/ 171551 w 194541"/>
                <a:gd name="connsiteY3" fmla="*/ 248526 h 248526"/>
                <a:gd name="connsiteX4" fmla="*/ 172300 w 194541"/>
                <a:gd name="connsiteY4" fmla="*/ 248026 h 248526"/>
                <a:gd name="connsiteX5" fmla="*/ 194541 w 194541"/>
                <a:gd name="connsiteY5" fmla="*/ 234907 h 248526"/>
                <a:gd name="connsiteX6" fmla="*/ 21491 w 194541"/>
                <a:gd name="connsiteY6" fmla="*/ 0 h 248526"/>
                <a:gd name="connsiteX7" fmla="*/ 20616 w 194541"/>
                <a:gd name="connsiteY7" fmla="*/ 500 h 24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541" h="248526">
                  <a:moveTo>
                    <a:pt x="20616" y="500"/>
                  </a:moveTo>
                  <a:lnTo>
                    <a:pt x="0" y="12370"/>
                  </a:lnTo>
                  <a:lnTo>
                    <a:pt x="125" y="15244"/>
                  </a:lnTo>
                  <a:lnTo>
                    <a:pt x="171551" y="248526"/>
                  </a:lnTo>
                  <a:lnTo>
                    <a:pt x="172300" y="248026"/>
                  </a:lnTo>
                  <a:lnTo>
                    <a:pt x="194541" y="234907"/>
                  </a:lnTo>
                  <a:lnTo>
                    <a:pt x="21491" y="0"/>
                  </a:lnTo>
                  <a:lnTo>
                    <a:pt x="20616" y="500"/>
                  </a:lnTo>
                  <a:close/>
                </a:path>
              </a:pathLst>
            </a:custGeom>
            <a:solidFill>
              <a:srgbClr val="F4F5F3"/>
            </a:solidFill>
            <a:ln w="12483" cap="flat">
              <a:noFill/>
              <a:prstDash val="solid"/>
              <a:miter/>
            </a:ln>
          </p:spPr>
          <p:txBody>
            <a:bodyPr rtlCol="0" anchor="ctr"/>
            <a:lstStyle/>
            <a:p>
              <a:endParaRPr lang="en-US"/>
            </a:p>
          </p:txBody>
        </p:sp>
        <p:sp>
          <p:nvSpPr>
            <p:cNvPr id="1082" name="Freeform: Shape 1081">
              <a:extLst>
                <a:ext uri="{FF2B5EF4-FFF2-40B4-BE49-F238E27FC236}">
                  <a16:creationId xmlns:a16="http://schemas.microsoft.com/office/drawing/2014/main" id="{9D045AD9-AC5C-46F7-AF3C-CE975F556BA5}"/>
                </a:ext>
              </a:extLst>
            </p:cNvPr>
            <p:cNvSpPr/>
            <p:nvPr/>
          </p:nvSpPr>
          <p:spPr>
            <a:xfrm>
              <a:off x="9037875" y="3658048"/>
              <a:ext cx="1229468" cy="1611232"/>
            </a:xfrm>
            <a:custGeom>
              <a:avLst/>
              <a:gdLst>
                <a:gd name="connsiteX0" fmla="*/ 36359 w 1229468"/>
                <a:gd name="connsiteY0" fmla="*/ 71472 h 1611232"/>
                <a:gd name="connsiteX1" fmla="*/ 36359 w 1229468"/>
                <a:gd name="connsiteY1" fmla="*/ 71472 h 1611232"/>
                <a:gd name="connsiteX2" fmla="*/ 38233 w 1229468"/>
                <a:gd name="connsiteY2" fmla="*/ 71472 h 1611232"/>
                <a:gd name="connsiteX3" fmla="*/ 39858 w 1229468"/>
                <a:gd name="connsiteY3" fmla="*/ 71472 h 1611232"/>
                <a:gd name="connsiteX4" fmla="*/ 41482 w 1229468"/>
                <a:gd name="connsiteY4" fmla="*/ 71472 h 1611232"/>
                <a:gd name="connsiteX5" fmla="*/ 43107 w 1229468"/>
                <a:gd name="connsiteY5" fmla="*/ 71472 h 1611232"/>
                <a:gd name="connsiteX6" fmla="*/ 44481 w 1229468"/>
                <a:gd name="connsiteY6" fmla="*/ 72471 h 1611232"/>
                <a:gd name="connsiteX7" fmla="*/ 45980 w 1229468"/>
                <a:gd name="connsiteY7" fmla="*/ 73845 h 1611232"/>
                <a:gd name="connsiteX8" fmla="*/ 45980 w 1229468"/>
                <a:gd name="connsiteY8" fmla="*/ 73845 h 1611232"/>
                <a:gd name="connsiteX9" fmla="*/ 1173618 w 1229468"/>
                <a:gd name="connsiteY9" fmla="*/ 1551881 h 1611232"/>
                <a:gd name="connsiteX10" fmla="*/ 1173618 w 1229468"/>
                <a:gd name="connsiteY10" fmla="*/ 1551881 h 1611232"/>
                <a:gd name="connsiteX11" fmla="*/ 1175118 w 1229468"/>
                <a:gd name="connsiteY11" fmla="*/ 1551881 h 1611232"/>
                <a:gd name="connsiteX12" fmla="*/ 1176867 w 1229468"/>
                <a:gd name="connsiteY12" fmla="*/ 1551881 h 1611232"/>
                <a:gd name="connsiteX13" fmla="*/ 1178491 w 1229468"/>
                <a:gd name="connsiteY13" fmla="*/ 1551881 h 1611232"/>
                <a:gd name="connsiteX14" fmla="*/ 1179865 w 1229468"/>
                <a:gd name="connsiteY14" fmla="*/ 1552756 h 1611232"/>
                <a:gd name="connsiteX15" fmla="*/ 1181489 w 1229468"/>
                <a:gd name="connsiteY15" fmla="*/ 1554130 h 1611232"/>
                <a:gd name="connsiteX16" fmla="*/ 1181489 w 1229468"/>
                <a:gd name="connsiteY16" fmla="*/ 1554130 h 1611232"/>
                <a:gd name="connsiteX17" fmla="*/ 1225096 w 1229468"/>
                <a:gd name="connsiteY17" fmla="*/ 1611232 h 1611232"/>
                <a:gd name="connsiteX18" fmla="*/ 1229469 w 1229468"/>
                <a:gd name="connsiteY18" fmla="*/ 1608608 h 1611232"/>
                <a:gd name="connsiteX19" fmla="*/ 0 w 1229468"/>
                <a:gd name="connsiteY19" fmla="*/ 0 h 1611232"/>
                <a:gd name="connsiteX20" fmla="*/ 1749 w 1229468"/>
                <a:gd name="connsiteY20" fmla="*/ 31112 h 1611232"/>
                <a:gd name="connsiteX21" fmla="*/ 4998 w 1229468"/>
                <a:gd name="connsiteY21" fmla="*/ 87590 h 161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9468" h="1611232">
                  <a:moveTo>
                    <a:pt x="36359" y="71472"/>
                  </a:moveTo>
                  <a:lnTo>
                    <a:pt x="36359" y="71472"/>
                  </a:lnTo>
                  <a:lnTo>
                    <a:pt x="38233" y="71472"/>
                  </a:lnTo>
                  <a:lnTo>
                    <a:pt x="39858" y="71472"/>
                  </a:lnTo>
                  <a:lnTo>
                    <a:pt x="41482" y="71472"/>
                  </a:lnTo>
                  <a:lnTo>
                    <a:pt x="43107" y="71472"/>
                  </a:lnTo>
                  <a:lnTo>
                    <a:pt x="44481" y="72471"/>
                  </a:lnTo>
                  <a:cubicBezTo>
                    <a:pt x="45006" y="72896"/>
                    <a:pt x="45505" y="73358"/>
                    <a:pt x="45980" y="73845"/>
                  </a:cubicBezTo>
                  <a:cubicBezTo>
                    <a:pt x="45980" y="73845"/>
                    <a:pt x="45980" y="73845"/>
                    <a:pt x="45980" y="73845"/>
                  </a:cubicBezTo>
                  <a:lnTo>
                    <a:pt x="1173618" y="1551881"/>
                  </a:lnTo>
                  <a:lnTo>
                    <a:pt x="1173618" y="1551881"/>
                  </a:lnTo>
                  <a:lnTo>
                    <a:pt x="1175118" y="1551881"/>
                  </a:lnTo>
                  <a:cubicBezTo>
                    <a:pt x="1175705" y="1551818"/>
                    <a:pt x="1176279" y="1551818"/>
                    <a:pt x="1176867" y="1551881"/>
                  </a:cubicBezTo>
                  <a:cubicBezTo>
                    <a:pt x="1177404" y="1551756"/>
                    <a:pt x="1177954" y="1551756"/>
                    <a:pt x="1178491" y="1551881"/>
                  </a:cubicBezTo>
                  <a:cubicBezTo>
                    <a:pt x="1178491" y="1551881"/>
                    <a:pt x="1179366" y="1552506"/>
                    <a:pt x="1179865" y="1552756"/>
                  </a:cubicBezTo>
                  <a:lnTo>
                    <a:pt x="1181489" y="1554130"/>
                  </a:lnTo>
                  <a:lnTo>
                    <a:pt x="1181489" y="1554130"/>
                  </a:lnTo>
                  <a:lnTo>
                    <a:pt x="1225096" y="1611232"/>
                  </a:lnTo>
                  <a:lnTo>
                    <a:pt x="1229469" y="1608608"/>
                  </a:lnTo>
                  <a:lnTo>
                    <a:pt x="0" y="0"/>
                  </a:lnTo>
                  <a:lnTo>
                    <a:pt x="1749" y="31112"/>
                  </a:lnTo>
                  <a:lnTo>
                    <a:pt x="4998" y="87590"/>
                  </a:lnTo>
                  <a:close/>
                </a:path>
              </a:pathLst>
            </a:custGeom>
            <a:solidFill>
              <a:schemeClr val="accent4"/>
            </a:solidFill>
            <a:ln w="12483" cap="flat">
              <a:noFill/>
              <a:prstDash val="solid"/>
              <a:miter/>
            </a:ln>
          </p:spPr>
          <p:txBody>
            <a:bodyPr rtlCol="0" anchor="ctr"/>
            <a:lstStyle/>
            <a:p>
              <a:endParaRPr lang="en-US"/>
            </a:p>
          </p:txBody>
        </p:sp>
        <p:sp>
          <p:nvSpPr>
            <p:cNvPr id="1083" name="Freeform: Shape 1082">
              <a:extLst>
                <a:ext uri="{FF2B5EF4-FFF2-40B4-BE49-F238E27FC236}">
                  <a16:creationId xmlns:a16="http://schemas.microsoft.com/office/drawing/2014/main" id="{C0B29F6F-8DA0-4A8B-8D8D-E531AABF09A1}"/>
                </a:ext>
              </a:extLst>
            </p:cNvPr>
            <p:cNvSpPr/>
            <p:nvPr/>
          </p:nvSpPr>
          <p:spPr>
            <a:xfrm>
              <a:off x="7329363" y="2395801"/>
              <a:ext cx="600490" cy="1642845"/>
            </a:xfrm>
            <a:custGeom>
              <a:avLst/>
              <a:gdLst>
                <a:gd name="connsiteX0" fmla="*/ 192542 w 600490"/>
                <a:gd name="connsiteY0" fmla="*/ 1642845 h 1642845"/>
                <a:gd name="connsiteX1" fmla="*/ 600491 w 600490"/>
                <a:gd name="connsiteY1" fmla="*/ 1437552 h 1642845"/>
                <a:gd name="connsiteX2" fmla="*/ 596867 w 600490"/>
                <a:gd name="connsiteY2" fmla="*/ 1432304 h 1642845"/>
                <a:gd name="connsiteX3" fmla="*/ 596867 w 600490"/>
                <a:gd name="connsiteY3" fmla="*/ 1431554 h 1642845"/>
                <a:gd name="connsiteX4" fmla="*/ 595992 w 600490"/>
                <a:gd name="connsiteY4" fmla="*/ 1429680 h 1642845"/>
                <a:gd name="connsiteX5" fmla="*/ 595368 w 600490"/>
                <a:gd name="connsiteY5" fmla="*/ 1427681 h 1642845"/>
                <a:gd name="connsiteX6" fmla="*/ 595368 w 600490"/>
                <a:gd name="connsiteY6" fmla="*/ 1426806 h 1642845"/>
                <a:gd name="connsiteX7" fmla="*/ 453804 w 600490"/>
                <a:gd name="connsiteY7" fmla="*/ 164809 h 1642845"/>
                <a:gd name="connsiteX8" fmla="*/ 438436 w 600490"/>
                <a:gd name="connsiteY8" fmla="*/ 28114 h 1642845"/>
                <a:gd name="connsiteX9" fmla="*/ 435312 w 600490"/>
                <a:gd name="connsiteY9" fmla="*/ 0 h 1642845"/>
                <a:gd name="connsiteX10" fmla="*/ 0 w 600490"/>
                <a:gd name="connsiteY10" fmla="*/ 201295 h 164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0490" h="1642845">
                  <a:moveTo>
                    <a:pt x="192542" y="1642845"/>
                  </a:moveTo>
                  <a:lnTo>
                    <a:pt x="600491" y="1437552"/>
                  </a:lnTo>
                  <a:lnTo>
                    <a:pt x="596867" y="1432304"/>
                  </a:lnTo>
                  <a:cubicBezTo>
                    <a:pt x="596867" y="1432304"/>
                    <a:pt x="596867" y="1432304"/>
                    <a:pt x="596867" y="1431554"/>
                  </a:cubicBezTo>
                  <a:cubicBezTo>
                    <a:pt x="596480" y="1430980"/>
                    <a:pt x="596180" y="1430342"/>
                    <a:pt x="595992" y="1429680"/>
                  </a:cubicBezTo>
                  <a:cubicBezTo>
                    <a:pt x="595730" y="1429030"/>
                    <a:pt x="595518" y="1428368"/>
                    <a:pt x="595368" y="1427681"/>
                  </a:cubicBezTo>
                  <a:cubicBezTo>
                    <a:pt x="595330" y="1427393"/>
                    <a:pt x="595330" y="1427094"/>
                    <a:pt x="595368" y="1426806"/>
                  </a:cubicBezTo>
                  <a:lnTo>
                    <a:pt x="453804" y="164809"/>
                  </a:lnTo>
                  <a:lnTo>
                    <a:pt x="438436" y="28114"/>
                  </a:lnTo>
                  <a:lnTo>
                    <a:pt x="435312" y="0"/>
                  </a:lnTo>
                  <a:lnTo>
                    <a:pt x="0" y="201295"/>
                  </a:lnTo>
                  <a:close/>
                </a:path>
              </a:pathLst>
            </a:custGeom>
            <a:solidFill>
              <a:schemeClr val="accent6">
                <a:lumMod val="50000"/>
              </a:schemeClr>
            </a:solidFill>
            <a:ln w="12483" cap="flat">
              <a:noFill/>
              <a:prstDash val="solid"/>
              <a:miter/>
            </a:ln>
          </p:spPr>
          <p:txBody>
            <a:bodyPr rtlCol="0" anchor="ctr"/>
            <a:lstStyle/>
            <a:p>
              <a:endParaRPr lang="en-US"/>
            </a:p>
          </p:txBody>
        </p:sp>
        <p:sp>
          <p:nvSpPr>
            <p:cNvPr id="1084" name="Freeform: Shape 1083">
              <a:extLst>
                <a:ext uri="{FF2B5EF4-FFF2-40B4-BE49-F238E27FC236}">
                  <a16:creationId xmlns:a16="http://schemas.microsoft.com/office/drawing/2014/main" id="{F8A671E7-903D-43C2-ADC3-0A2BDF0BD881}"/>
                </a:ext>
              </a:extLst>
            </p:cNvPr>
            <p:cNvSpPr/>
            <p:nvPr/>
          </p:nvSpPr>
          <p:spPr>
            <a:xfrm>
              <a:off x="9037125" y="3500986"/>
              <a:ext cx="1287818" cy="1765170"/>
            </a:xfrm>
            <a:custGeom>
              <a:avLst/>
              <a:gdLst>
                <a:gd name="connsiteX0" fmla="*/ 159556 w 1287818"/>
                <a:gd name="connsiteY0" fmla="*/ 62725 h 1765170"/>
                <a:gd name="connsiteX1" fmla="*/ 158682 w 1287818"/>
                <a:gd name="connsiteY1" fmla="*/ 64474 h 1765170"/>
                <a:gd name="connsiteX2" fmla="*/ 157682 w 1287818"/>
                <a:gd name="connsiteY2" fmla="*/ 66223 h 1765170"/>
                <a:gd name="connsiteX3" fmla="*/ 156432 w 1287818"/>
                <a:gd name="connsiteY3" fmla="*/ 67348 h 1765170"/>
                <a:gd name="connsiteX4" fmla="*/ 154808 w 1287818"/>
                <a:gd name="connsiteY4" fmla="*/ 68723 h 1765170"/>
                <a:gd name="connsiteX5" fmla="*/ 154808 w 1287818"/>
                <a:gd name="connsiteY5" fmla="*/ 68723 h 1765170"/>
                <a:gd name="connsiteX6" fmla="*/ 51978 w 1287818"/>
                <a:gd name="connsiteY6" fmla="*/ 121576 h 1765170"/>
                <a:gd name="connsiteX7" fmla="*/ 0 w 1287818"/>
                <a:gd name="connsiteY7" fmla="*/ 148191 h 1765170"/>
                <a:gd name="connsiteX8" fmla="*/ 0 w 1287818"/>
                <a:gd name="connsiteY8" fmla="*/ 150940 h 1765170"/>
                <a:gd name="connsiteX9" fmla="*/ 1233967 w 1287818"/>
                <a:gd name="connsiteY9" fmla="*/ 1765171 h 1765170"/>
                <a:gd name="connsiteX10" fmla="*/ 1234966 w 1287818"/>
                <a:gd name="connsiteY10" fmla="*/ 1764546 h 1765170"/>
                <a:gd name="connsiteX11" fmla="*/ 1255707 w 1287818"/>
                <a:gd name="connsiteY11" fmla="*/ 1752051 h 1765170"/>
                <a:gd name="connsiteX12" fmla="*/ 1256707 w 1287818"/>
                <a:gd name="connsiteY12" fmla="*/ 1548382 h 1765170"/>
                <a:gd name="connsiteX13" fmla="*/ 1256707 w 1287818"/>
                <a:gd name="connsiteY13" fmla="*/ 1546633 h 1765170"/>
                <a:gd name="connsiteX14" fmla="*/ 1256707 w 1287818"/>
                <a:gd name="connsiteY14" fmla="*/ 1544509 h 1765170"/>
                <a:gd name="connsiteX15" fmla="*/ 1257582 w 1287818"/>
                <a:gd name="connsiteY15" fmla="*/ 1542635 h 1765170"/>
                <a:gd name="connsiteX16" fmla="*/ 1258581 w 1287818"/>
                <a:gd name="connsiteY16" fmla="*/ 1541010 h 1765170"/>
                <a:gd name="connsiteX17" fmla="*/ 1260206 w 1287818"/>
                <a:gd name="connsiteY17" fmla="*/ 1539511 h 1765170"/>
                <a:gd name="connsiteX18" fmla="*/ 1261205 w 1287818"/>
                <a:gd name="connsiteY18" fmla="*/ 1538636 h 1765170"/>
                <a:gd name="connsiteX19" fmla="*/ 1287819 w 1287818"/>
                <a:gd name="connsiteY19" fmla="*/ 1523392 h 1765170"/>
                <a:gd name="connsiteX20" fmla="*/ 769668 w 1287818"/>
                <a:gd name="connsiteY20" fmla="*/ 855909 h 1765170"/>
                <a:gd name="connsiteX21" fmla="*/ 763795 w 1287818"/>
                <a:gd name="connsiteY21" fmla="*/ 858907 h 1765170"/>
                <a:gd name="connsiteX22" fmla="*/ 754549 w 1287818"/>
                <a:gd name="connsiteY22" fmla="*/ 848287 h 1765170"/>
                <a:gd name="connsiteX23" fmla="*/ 751675 w 1287818"/>
                <a:gd name="connsiteY23" fmla="*/ 678479 h 1765170"/>
                <a:gd name="connsiteX24" fmla="*/ 751675 w 1287818"/>
                <a:gd name="connsiteY24" fmla="*/ 678479 h 1765170"/>
                <a:gd name="connsiteX25" fmla="*/ 751675 w 1287818"/>
                <a:gd name="connsiteY25" fmla="*/ 674356 h 1765170"/>
                <a:gd name="connsiteX26" fmla="*/ 752675 w 1287818"/>
                <a:gd name="connsiteY26" fmla="*/ 672607 h 1765170"/>
                <a:gd name="connsiteX27" fmla="*/ 753549 w 1287818"/>
                <a:gd name="connsiteY27" fmla="*/ 670858 h 1765170"/>
                <a:gd name="connsiteX28" fmla="*/ 756423 w 1287818"/>
                <a:gd name="connsiteY28" fmla="*/ 668358 h 1765170"/>
                <a:gd name="connsiteX29" fmla="*/ 756423 w 1287818"/>
                <a:gd name="connsiteY29" fmla="*/ 668358 h 1765170"/>
                <a:gd name="connsiteX30" fmla="*/ 783162 w 1287818"/>
                <a:gd name="connsiteY30" fmla="*/ 653989 h 1765170"/>
                <a:gd name="connsiteX31" fmla="*/ 270009 w 1287818"/>
                <a:gd name="connsiteY31" fmla="*/ 0 h 1765170"/>
                <a:gd name="connsiteX32" fmla="*/ 160056 w 1287818"/>
                <a:gd name="connsiteY32" fmla="*/ 56477 h 1765170"/>
                <a:gd name="connsiteX33" fmla="*/ 160056 w 1287818"/>
                <a:gd name="connsiteY33" fmla="*/ 58601 h 1765170"/>
                <a:gd name="connsiteX34" fmla="*/ 160056 w 1287818"/>
                <a:gd name="connsiteY34" fmla="*/ 60851 h 1765170"/>
                <a:gd name="connsiteX35" fmla="*/ 159556 w 1287818"/>
                <a:gd name="connsiteY35" fmla="*/ 62725 h 176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87818" h="1765170">
                  <a:moveTo>
                    <a:pt x="159556" y="62725"/>
                  </a:moveTo>
                  <a:cubicBezTo>
                    <a:pt x="159556" y="62725"/>
                    <a:pt x="158931" y="63850"/>
                    <a:pt x="158682" y="64474"/>
                  </a:cubicBezTo>
                  <a:cubicBezTo>
                    <a:pt x="158431" y="65099"/>
                    <a:pt x="158057" y="65724"/>
                    <a:pt x="157682" y="66223"/>
                  </a:cubicBezTo>
                  <a:cubicBezTo>
                    <a:pt x="157332" y="66661"/>
                    <a:pt x="156907" y="67036"/>
                    <a:pt x="156432" y="67348"/>
                  </a:cubicBezTo>
                  <a:cubicBezTo>
                    <a:pt x="155945" y="67873"/>
                    <a:pt x="155408" y="68335"/>
                    <a:pt x="154808" y="68723"/>
                  </a:cubicBezTo>
                  <a:lnTo>
                    <a:pt x="154808" y="68723"/>
                  </a:lnTo>
                  <a:lnTo>
                    <a:pt x="51978" y="121576"/>
                  </a:lnTo>
                  <a:lnTo>
                    <a:pt x="0" y="148191"/>
                  </a:lnTo>
                  <a:lnTo>
                    <a:pt x="0" y="150940"/>
                  </a:lnTo>
                  <a:lnTo>
                    <a:pt x="1233967" y="1765171"/>
                  </a:lnTo>
                  <a:lnTo>
                    <a:pt x="1234966" y="1764546"/>
                  </a:lnTo>
                  <a:lnTo>
                    <a:pt x="1255707" y="1752051"/>
                  </a:lnTo>
                  <a:lnTo>
                    <a:pt x="1256707" y="1548382"/>
                  </a:lnTo>
                  <a:cubicBezTo>
                    <a:pt x="1256645" y="1547795"/>
                    <a:pt x="1256645" y="1547221"/>
                    <a:pt x="1256707" y="1546633"/>
                  </a:cubicBezTo>
                  <a:cubicBezTo>
                    <a:pt x="1256645" y="1545921"/>
                    <a:pt x="1256645" y="1545221"/>
                    <a:pt x="1256707" y="1544509"/>
                  </a:cubicBezTo>
                  <a:cubicBezTo>
                    <a:pt x="1256707" y="1543759"/>
                    <a:pt x="1256707" y="1543259"/>
                    <a:pt x="1257582" y="1542635"/>
                  </a:cubicBezTo>
                  <a:lnTo>
                    <a:pt x="1258581" y="1541010"/>
                  </a:lnTo>
                  <a:cubicBezTo>
                    <a:pt x="1259031" y="1540423"/>
                    <a:pt x="1259581" y="1539911"/>
                    <a:pt x="1260206" y="1539511"/>
                  </a:cubicBezTo>
                  <a:lnTo>
                    <a:pt x="1261205" y="1538636"/>
                  </a:lnTo>
                  <a:lnTo>
                    <a:pt x="1287819" y="1523392"/>
                  </a:lnTo>
                  <a:lnTo>
                    <a:pt x="769668" y="855909"/>
                  </a:lnTo>
                  <a:cubicBezTo>
                    <a:pt x="768181" y="857633"/>
                    <a:pt x="766069" y="858708"/>
                    <a:pt x="763795" y="858907"/>
                  </a:cubicBezTo>
                  <a:cubicBezTo>
                    <a:pt x="758323" y="858508"/>
                    <a:pt x="754187" y="853760"/>
                    <a:pt x="754549" y="848287"/>
                  </a:cubicBezTo>
                  <a:lnTo>
                    <a:pt x="751675" y="678479"/>
                  </a:lnTo>
                  <a:lnTo>
                    <a:pt x="751675" y="678479"/>
                  </a:lnTo>
                  <a:cubicBezTo>
                    <a:pt x="751426" y="677117"/>
                    <a:pt x="751426" y="675718"/>
                    <a:pt x="751675" y="674356"/>
                  </a:cubicBezTo>
                  <a:cubicBezTo>
                    <a:pt x="751963" y="673744"/>
                    <a:pt x="752300" y="673157"/>
                    <a:pt x="752675" y="672607"/>
                  </a:cubicBezTo>
                  <a:cubicBezTo>
                    <a:pt x="752887" y="671995"/>
                    <a:pt x="753187" y="671395"/>
                    <a:pt x="753549" y="670858"/>
                  </a:cubicBezTo>
                  <a:cubicBezTo>
                    <a:pt x="754349" y="669858"/>
                    <a:pt x="755324" y="669021"/>
                    <a:pt x="756423" y="668358"/>
                  </a:cubicBezTo>
                  <a:lnTo>
                    <a:pt x="756423" y="668358"/>
                  </a:lnTo>
                  <a:lnTo>
                    <a:pt x="783162" y="653989"/>
                  </a:lnTo>
                  <a:lnTo>
                    <a:pt x="270009" y="0"/>
                  </a:lnTo>
                  <a:lnTo>
                    <a:pt x="160056" y="56477"/>
                  </a:lnTo>
                  <a:lnTo>
                    <a:pt x="160056" y="58601"/>
                  </a:lnTo>
                  <a:cubicBezTo>
                    <a:pt x="160118" y="59351"/>
                    <a:pt x="160118" y="60101"/>
                    <a:pt x="160056" y="60851"/>
                  </a:cubicBezTo>
                  <a:cubicBezTo>
                    <a:pt x="159681" y="61475"/>
                    <a:pt x="159681" y="62100"/>
                    <a:pt x="159556" y="62725"/>
                  </a:cubicBezTo>
                  <a:close/>
                </a:path>
              </a:pathLst>
            </a:custGeom>
            <a:solidFill>
              <a:schemeClr val="accent6">
                <a:lumMod val="50000"/>
              </a:schemeClr>
            </a:solidFill>
            <a:ln w="12483" cap="flat">
              <a:noFill/>
              <a:prstDash val="solid"/>
              <a:miter/>
            </a:ln>
          </p:spPr>
          <p:txBody>
            <a:bodyPr rtlCol="0" anchor="ctr"/>
            <a:lstStyle/>
            <a:p>
              <a:endParaRPr lang="en-US"/>
            </a:p>
          </p:txBody>
        </p:sp>
        <p:sp>
          <p:nvSpPr>
            <p:cNvPr id="1085" name="Freeform: Shape 1084">
              <a:extLst>
                <a:ext uri="{FF2B5EF4-FFF2-40B4-BE49-F238E27FC236}">
                  <a16:creationId xmlns:a16="http://schemas.microsoft.com/office/drawing/2014/main" id="{03C099B8-E52D-4C3C-B13D-73EC3A6B21EA}"/>
                </a:ext>
              </a:extLst>
            </p:cNvPr>
            <p:cNvSpPr/>
            <p:nvPr/>
          </p:nvSpPr>
          <p:spPr>
            <a:xfrm>
              <a:off x="9807043" y="4193834"/>
              <a:ext cx="609861" cy="831043"/>
            </a:xfrm>
            <a:custGeom>
              <a:avLst/>
              <a:gdLst>
                <a:gd name="connsiteX0" fmla="*/ 609861 w 609861"/>
                <a:gd name="connsiteY0" fmla="*/ 778815 h 831043"/>
                <a:gd name="connsiteX1" fmla="*/ 0 w 609861"/>
                <a:gd name="connsiteY1" fmla="*/ 0 h 831043"/>
                <a:gd name="connsiteX2" fmla="*/ 3249 w 609861"/>
                <a:gd name="connsiteY2" fmla="*/ 155438 h 831043"/>
                <a:gd name="connsiteX3" fmla="*/ 375 w 609861"/>
                <a:gd name="connsiteY3" fmla="*/ 163560 h 831043"/>
                <a:gd name="connsiteX4" fmla="*/ 519026 w 609861"/>
                <a:gd name="connsiteY4" fmla="*/ 831044 h 831043"/>
                <a:gd name="connsiteX5" fmla="*/ 521650 w 609861"/>
                <a:gd name="connsiteY5" fmla="*/ 829544 h 83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861" h="831043">
                  <a:moveTo>
                    <a:pt x="609861" y="778815"/>
                  </a:moveTo>
                  <a:lnTo>
                    <a:pt x="0" y="0"/>
                  </a:lnTo>
                  <a:lnTo>
                    <a:pt x="3249" y="155438"/>
                  </a:lnTo>
                  <a:cubicBezTo>
                    <a:pt x="3286" y="158399"/>
                    <a:pt x="2262" y="161273"/>
                    <a:pt x="375" y="163560"/>
                  </a:cubicBezTo>
                  <a:lnTo>
                    <a:pt x="519026" y="831044"/>
                  </a:lnTo>
                  <a:lnTo>
                    <a:pt x="521650" y="829544"/>
                  </a:lnTo>
                  <a:close/>
                </a:path>
              </a:pathLst>
            </a:custGeom>
            <a:solidFill>
              <a:schemeClr val="accent6"/>
            </a:solidFill>
            <a:ln w="12483" cap="flat">
              <a:noFill/>
              <a:prstDash val="solid"/>
              <a:miter/>
            </a:ln>
          </p:spPr>
          <p:txBody>
            <a:bodyPr rtlCol="0" anchor="ctr"/>
            <a:lstStyle/>
            <a:p>
              <a:endParaRPr lang="en-US"/>
            </a:p>
          </p:txBody>
        </p:sp>
        <p:sp>
          <p:nvSpPr>
            <p:cNvPr id="1086" name="Freeform: Shape 1085">
              <a:extLst>
                <a:ext uri="{FF2B5EF4-FFF2-40B4-BE49-F238E27FC236}">
                  <a16:creationId xmlns:a16="http://schemas.microsoft.com/office/drawing/2014/main" id="{720E6D30-A6FB-4B01-B49C-1CE3FC3CABF2}"/>
                </a:ext>
              </a:extLst>
            </p:cNvPr>
            <p:cNvSpPr/>
            <p:nvPr/>
          </p:nvSpPr>
          <p:spPr>
            <a:xfrm>
              <a:off x="9806168" y="3675041"/>
              <a:ext cx="930597" cy="1295858"/>
            </a:xfrm>
            <a:custGeom>
              <a:avLst/>
              <a:gdLst>
                <a:gd name="connsiteX0" fmla="*/ 613735 w 930597"/>
                <a:gd name="connsiteY0" fmla="*/ 1295858 h 1295858"/>
                <a:gd name="connsiteX1" fmla="*/ 614859 w 930597"/>
                <a:gd name="connsiteY1" fmla="*/ 1295234 h 1295858"/>
                <a:gd name="connsiteX2" fmla="*/ 756423 w 930597"/>
                <a:gd name="connsiteY2" fmla="*/ 1214141 h 1295858"/>
                <a:gd name="connsiteX3" fmla="*/ 248268 w 930597"/>
                <a:gd name="connsiteY3" fmla="*/ 573771 h 1295858"/>
                <a:gd name="connsiteX4" fmla="*/ 242145 w 930597"/>
                <a:gd name="connsiteY4" fmla="*/ 576895 h 1295858"/>
                <a:gd name="connsiteX5" fmla="*/ 233137 w 930597"/>
                <a:gd name="connsiteY5" fmla="*/ 566224 h 1295858"/>
                <a:gd name="connsiteX6" fmla="*/ 233149 w 930597"/>
                <a:gd name="connsiteY6" fmla="*/ 566149 h 1295858"/>
                <a:gd name="connsiteX7" fmla="*/ 232150 w 930597"/>
                <a:gd name="connsiteY7" fmla="*/ 451070 h 1295858"/>
                <a:gd name="connsiteX8" fmla="*/ 232150 w 930597"/>
                <a:gd name="connsiteY8" fmla="*/ 451070 h 1295858"/>
                <a:gd name="connsiteX9" fmla="*/ 232150 w 930597"/>
                <a:gd name="connsiteY9" fmla="*/ 450321 h 1295858"/>
                <a:gd name="connsiteX10" fmla="*/ 232150 w 930597"/>
                <a:gd name="connsiteY10" fmla="*/ 446947 h 1295858"/>
                <a:gd name="connsiteX11" fmla="*/ 233024 w 930597"/>
                <a:gd name="connsiteY11" fmla="*/ 445198 h 1295858"/>
                <a:gd name="connsiteX12" fmla="*/ 234024 w 930597"/>
                <a:gd name="connsiteY12" fmla="*/ 443448 h 1295858"/>
                <a:gd name="connsiteX13" fmla="*/ 236148 w 930597"/>
                <a:gd name="connsiteY13" fmla="*/ 441574 h 1295858"/>
                <a:gd name="connsiteX14" fmla="*/ 236772 w 930597"/>
                <a:gd name="connsiteY14" fmla="*/ 441574 h 1295858"/>
                <a:gd name="connsiteX15" fmla="*/ 236772 w 930597"/>
                <a:gd name="connsiteY15" fmla="*/ 441574 h 1295858"/>
                <a:gd name="connsiteX16" fmla="*/ 928849 w 930597"/>
                <a:gd name="connsiteY16" fmla="*/ 66723 h 1295858"/>
                <a:gd name="connsiteX17" fmla="*/ 930598 w 930597"/>
                <a:gd name="connsiteY17" fmla="*/ 0 h 1295858"/>
                <a:gd name="connsiteX18" fmla="*/ 122697 w 930597"/>
                <a:gd name="connsiteY18" fmla="*/ 436076 h 1295858"/>
                <a:gd name="connsiteX19" fmla="*/ 117824 w 930597"/>
                <a:gd name="connsiteY19" fmla="*/ 448571 h 1295858"/>
                <a:gd name="connsiteX20" fmla="*/ 25614 w 930597"/>
                <a:gd name="connsiteY20" fmla="*/ 498551 h 1295858"/>
                <a:gd name="connsiteX21" fmla="*/ 0 w 930597"/>
                <a:gd name="connsiteY21" fmla="*/ 512421 h 1295858"/>
                <a:gd name="connsiteX22" fmla="*/ 0 w 930597"/>
                <a:gd name="connsiteY22" fmla="*/ 514420 h 129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30597" h="1295858">
                  <a:moveTo>
                    <a:pt x="613735" y="1295858"/>
                  </a:moveTo>
                  <a:lnTo>
                    <a:pt x="614859" y="1295234"/>
                  </a:lnTo>
                  <a:lnTo>
                    <a:pt x="756423" y="1214141"/>
                  </a:lnTo>
                  <a:lnTo>
                    <a:pt x="248268" y="573771"/>
                  </a:lnTo>
                  <a:cubicBezTo>
                    <a:pt x="246781" y="575658"/>
                    <a:pt x="244544" y="576795"/>
                    <a:pt x="242145" y="576895"/>
                  </a:cubicBezTo>
                  <a:cubicBezTo>
                    <a:pt x="236710" y="576433"/>
                    <a:pt x="232687" y="571660"/>
                    <a:pt x="233137" y="566224"/>
                  </a:cubicBezTo>
                  <a:cubicBezTo>
                    <a:pt x="233149" y="566199"/>
                    <a:pt x="233149" y="566174"/>
                    <a:pt x="233149" y="566149"/>
                  </a:cubicBezTo>
                  <a:lnTo>
                    <a:pt x="232150" y="451070"/>
                  </a:lnTo>
                  <a:lnTo>
                    <a:pt x="232150" y="451070"/>
                  </a:lnTo>
                  <a:cubicBezTo>
                    <a:pt x="232150" y="451070"/>
                    <a:pt x="232150" y="451070"/>
                    <a:pt x="232150" y="450321"/>
                  </a:cubicBezTo>
                  <a:cubicBezTo>
                    <a:pt x="231962" y="449208"/>
                    <a:pt x="231962" y="448059"/>
                    <a:pt x="232150" y="446947"/>
                  </a:cubicBezTo>
                  <a:cubicBezTo>
                    <a:pt x="232150" y="446322"/>
                    <a:pt x="232774" y="445822"/>
                    <a:pt x="233024" y="445198"/>
                  </a:cubicBezTo>
                  <a:cubicBezTo>
                    <a:pt x="233274" y="444573"/>
                    <a:pt x="233649" y="443948"/>
                    <a:pt x="234024" y="443448"/>
                  </a:cubicBezTo>
                  <a:cubicBezTo>
                    <a:pt x="234636" y="442724"/>
                    <a:pt x="235360" y="442099"/>
                    <a:pt x="236148" y="441574"/>
                  </a:cubicBezTo>
                  <a:lnTo>
                    <a:pt x="236772" y="441574"/>
                  </a:lnTo>
                  <a:lnTo>
                    <a:pt x="236772" y="441574"/>
                  </a:lnTo>
                  <a:lnTo>
                    <a:pt x="928849" y="66723"/>
                  </a:lnTo>
                  <a:lnTo>
                    <a:pt x="930598" y="0"/>
                  </a:lnTo>
                  <a:lnTo>
                    <a:pt x="122697" y="436076"/>
                  </a:lnTo>
                  <a:cubicBezTo>
                    <a:pt x="123921" y="440849"/>
                    <a:pt x="121960" y="445885"/>
                    <a:pt x="117824" y="448571"/>
                  </a:cubicBezTo>
                  <a:lnTo>
                    <a:pt x="25614" y="498551"/>
                  </a:lnTo>
                  <a:lnTo>
                    <a:pt x="0" y="512421"/>
                  </a:lnTo>
                  <a:lnTo>
                    <a:pt x="0" y="514420"/>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087" name="Freeform: Shape 1086">
              <a:extLst>
                <a:ext uri="{FF2B5EF4-FFF2-40B4-BE49-F238E27FC236}">
                  <a16:creationId xmlns:a16="http://schemas.microsoft.com/office/drawing/2014/main" id="{155CB475-97DC-4A54-A61D-56260B7093A4}"/>
                </a:ext>
              </a:extLst>
            </p:cNvPr>
            <p:cNvSpPr/>
            <p:nvPr/>
          </p:nvSpPr>
          <p:spPr>
            <a:xfrm>
              <a:off x="10054686" y="4139981"/>
              <a:ext cx="571253" cy="749201"/>
            </a:xfrm>
            <a:custGeom>
              <a:avLst/>
              <a:gdLst>
                <a:gd name="connsiteX0" fmla="*/ 571253 w 571253"/>
                <a:gd name="connsiteY0" fmla="*/ 713091 h 749201"/>
                <a:gd name="connsiteX1" fmla="*/ 1999 w 571253"/>
                <a:gd name="connsiteY1" fmla="*/ 0 h 749201"/>
                <a:gd name="connsiteX2" fmla="*/ 2749 w 571253"/>
                <a:gd name="connsiteY2" fmla="*/ 100960 h 749201"/>
                <a:gd name="connsiteX3" fmla="*/ 0 w 571253"/>
                <a:gd name="connsiteY3" fmla="*/ 108832 h 749201"/>
                <a:gd name="connsiteX4" fmla="*/ 508156 w 571253"/>
                <a:gd name="connsiteY4" fmla="*/ 749202 h 749201"/>
                <a:gd name="connsiteX5" fmla="*/ 510904 w 571253"/>
                <a:gd name="connsiteY5" fmla="*/ 747577 h 74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53" h="749201">
                  <a:moveTo>
                    <a:pt x="571253" y="713091"/>
                  </a:moveTo>
                  <a:lnTo>
                    <a:pt x="1999" y="0"/>
                  </a:lnTo>
                  <a:lnTo>
                    <a:pt x="2749" y="100960"/>
                  </a:lnTo>
                  <a:cubicBezTo>
                    <a:pt x="2874" y="103834"/>
                    <a:pt x="1887" y="106658"/>
                    <a:pt x="0" y="108832"/>
                  </a:cubicBezTo>
                  <a:lnTo>
                    <a:pt x="508156" y="749202"/>
                  </a:lnTo>
                  <a:lnTo>
                    <a:pt x="510904" y="747577"/>
                  </a:lnTo>
                  <a:close/>
                </a:path>
              </a:pathLst>
            </a:custGeom>
            <a:solidFill>
              <a:schemeClr val="tx2"/>
            </a:solidFill>
            <a:ln w="12483" cap="flat">
              <a:noFill/>
              <a:prstDash val="solid"/>
              <a:miter/>
            </a:ln>
          </p:spPr>
          <p:txBody>
            <a:bodyPr rtlCol="0" anchor="ctr"/>
            <a:lstStyle/>
            <a:p>
              <a:endParaRPr lang="en-US"/>
            </a:p>
          </p:txBody>
        </p:sp>
        <p:sp>
          <p:nvSpPr>
            <p:cNvPr id="1088" name="Freeform: Shape 1087">
              <a:extLst>
                <a:ext uri="{FF2B5EF4-FFF2-40B4-BE49-F238E27FC236}">
                  <a16:creationId xmlns:a16="http://schemas.microsoft.com/office/drawing/2014/main" id="{21C4A397-5553-4D47-B50E-584C64B61EB3}"/>
                </a:ext>
              </a:extLst>
            </p:cNvPr>
            <p:cNvSpPr/>
            <p:nvPr/>
          </p:nvSpPr>
          <p:spPr>
            <a:xfrm>
              <a:off x="8709392" y="6254888"/>
              <a:ext cx="306367" cy="252524"/>
            </a:xfrm>
            <a:custGeom>
              <a:avLst/>
              <a:gdLst>
                <a:gd name="connsiteX0" fmla="*/ 205536 w 306367"/>
                <a:gd name="connsiteY0" fmla="*/ 126824 h 252524"/>
                <a:gd name="connsiteX1" fmla="*/ 206536 w 306367"/>
                <a:gd name="connsiteY1" fmla="*/ 124575 h 252524"/>
                <a:gd name="connsiteX2" fmla="*/ 207161 w 306367"/>
                <a:gd name="connsiteY2" fmla="*/ 123201 h 252524"/>
                <a:gd name="connsiteX3" fmla="*/ 208410 w 306367"/>
                <a:gd name="connsiteY3" fmla="*/ 121951 h 252524"/>
                <a:gd name="connsiteX4" fmla="*/ 209910 w 306367"/>
                <a:gd name="connsiteY4" fmla="*/ 120577 h 252524"/>
                <a:gd name="connsiteX5" fmla="*/ 209910 w 306367"/>
                <a:gd name="connsiteY5" fmla="*/ 120577 h 252524"/>
                <a:gd name="connsiteX6" fmla="*/ 306368 w 306367"/>
                <a:gd name="connsiteY6" fmla="*/ 63849 h 252524"/>
                <a:gd name="connsiteX7" fmla="*/ 263636 w 306367"/>
                <a:gd name="connsiteY7" fmla="*/ 0 h 252524"/>
                <a:gd name="connsiteX8" fmla="*/ 263636 w 306367"/>
                <a:gd name="connsiteY8" fmla="*/ 0 h 252524"/>
                <a:gd name="connsiteX9" fmla="*/ 0 w 306367"/>
                <a:gd name="connsiteY9" fmla="*/ 154063 h 252524"/>
                <a:gd name="connsiteX10" fmla="*/ 0 w 306367"/>
                <a:gd name="connsiteY10" fmla="*/ 159936 h 252524"/>
                <a:gd name="connsiteX11" fmla="*/ 60224 w 306367"/>
                <a:gd name="connsiteY11" fmla="*/ 252524 h 252524"/>
                <a:gd name="connsiteX12" fmla="*/ 60224 w 306367"/>
                <a:gd name="connsiteY12" fmla="*/ 252524 h 252524"/>
                <a:gd name="connsiteX13" fmla="*/ 207161 w 306367"/>
                <a:gd name="connsiteY13" fmla="*/ 165934 h 252524"/>
                <a:gd name="connsiteX14" fmla="*/ 204662 w 306367"/>
                <a:gd name="connsiteY14" fmla="*/ 131447 h 252524"/>
                <a:gd name="connsiteX15" fmla="*/ 204662 w 306367"/>
                <a:gd name="connsiteY15" fmla="*/ 131447 h 252524"/>
                <a:gd name="connsiteX16" fmla="*/ 204662 w 306367"/>
                <a:gd name="connsiteY16" fmla="*/ 128449 h 252524"/>
                <a:gd name="connsiteX17" fmla="*/ 205536 w 306367"/>
                <a:gd name="connsiteY17" fmla="*/ 126824 h 25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367" h="252524">
                  <a:moveTo>
                    <a:pt x="205536" y="126824"/>
                  </a:moveTo>
                  <a:cubicBezTo>
                    <a:pt x="205736" y="126025"/>
                    <a:pt x="206074" y="125262"/>
                    <a:pt x="206536" y="124575"/>
                  </a:cubicBezTo>
                  <a:cubicBezTo>
                    <a:pt x="206723" y="124101"/>
                    <a:pt x="206923" y="123651"/>
                    <a:pt x="207161" y="123201"/>
                  </a:cubicBezTo>
                  <a:lnTo>
                    <a:pt x="208410" y="121951"/>
                  </a:lnTo>
                  <a:cubicBezTo>
                    <a:pt x="208848" y="121426"/>
                    <a:pt x="209347" y="120964"/>
                    <a:pt x="209910" y="120577"/>
                  </a:cubicBezTo>
                  <a:lnTo>
                    <a:pt x="209910" y="120577"/>
                  </a:lnTo>
                  <a:lnTo>
                    <a:pt x="306368" y="63849"/>
                  </a:lnTo>
                  <a:lnTo>
                    <a:pt x="263636" y="0"/>
                  </a:lnTo>
                  <a:lnTo>
                    <a:pt x="263636" y="0"/>
                  </a:lnTo>
                  <a:lnTo>
                    <a:pt x="0" y="154063"/>
                  </a:lnTo>
                  <a:lnTo>
                    <a:pt x="0" y="159936"/>
                  </a:lnTo>
                  <a:lnTo>
                    <a:pt x="60224" y="252524"/>
                  </a:lnTo>
                  <a:lnTo>
                    <a:pt x="60224" y="252524"/>
                  </a:lnTo>
                  <a:lnTo>
                    <a:pt x="207161" y="165934"/>
                  </a:lnTo>
                  <a:lnTo>
                    <a:pt x="204662" y="131447"/>
                  </a:lnTo>
                  <a:lnTo>
                    <a:pt x="204662" y="131447"/>
                  </a:lnTo>
                  <a:cubicBezTo>
                    <a:pt x="204537" y="130448"/>
                    <a:pt x="204537" y="129448"/>
                    <a:pt x="204662" y="128449"/>
                  </a:cubicBezTo>
                  <a:cubicBezTo>
                    <a:pt x="204799" y="127836"/>
                    <a:pt x="205099" y="127274"/>
                    <a:pt x="205536" y="126824"/>
                  </a:cubicBezTo>
                  <a:close/>
                </a:path>
              </a:pathLst>
            </a:custGeom>
            <a:solidFill>
              <a:schemeClr val="accent4"/>
            </a:solidFill>
            <a:ln w="12483" cap="flat">
              <a:noFill/>
              <a:prstDash val="solid"/>
              <a:miter/>
            </a:ln>
          </p:spPr>
          <p:txBody>
            <a:bodyPr rtlCol="0" anchor="ctr"/>
            <a:lstStyle/>
            <a:p>
              <a:endParaRPr lang="en-US"/>
            </a:p>
          </p:txBody>
        </p:sp>
        <p:sp>
          <p:nvSpPr>
            <p:cNvPr id="1089" name="Freeform: Shape 1088">
              <a:extLst>
                <a:ext uri="{FF2B5EF4-FFF2-40B4-BE49-F238E27FC236}">
                  <a16:creationId xmlns:a16="http://schemas.microsoft.com/office/drawing/2014/main" id="{EB14C521-1FD2-4F28-8CD5-02C6A0F006CB}"/>
                </a:ext>
              </a:extLst>
            </p:cNvPr>
            <p:cNvSpPr/>
            <p:nvPr/>
          </p:nvSpPr>
          <p:spPr>
            <a:xfrm>
              <a:off x="9154450" y="2604218"/>
              <a:ext cx="151434" cy="951620"/>
            </a:xfrm>
            <a:custGeom>
              <a:avLst/>
              <a:gdLst>
                <a:gd name="connsiteX0" fmla="*/ 151435 w 151434"/>
                <a:gd name="connsiteY0" fmla="*/ 893269 h 951620"/>
                <a:gd name="connsiteX1" fmla="*/ 144063 w 151434"/>
                <a:gd name="connsiteY1" fmla="*/ 724711 h 951620"/>
                <a:gd name="connsiteX2" fmla="*/ 138065 w 151434"/>
                <a:gd name="connsiteY2" fmla="*/ 589390 h 951620"/>
                <a:gd name="connsiteX3" fmla="*/ 132817 w 151434"/>
                <a:gd name="connsiteY3" fmla="*/ 582768 h 951620"/>
                <a:gd name="connsiteX4" fmla="*/ 132817 w 151434"/>
                <a:gd name="connsiteY4" fmla="*/ 582768 h 951620"/>
                <a:gd name="connsiteX5" fmla="*/ 132817 w 151434"/>
                <a:gd name="connsiteY5" fmla="*/ 581518 h 951620"/>
                <a:gd name="connsiteX6" fmla="*/ 131818 w 151434"/>
                <a:gd name="connsiteY6" fmla="*/ 579644 h 951620"/>
                <a:gd name="connsiteX7" fmla="*/ 131818 w 151434"/>
                <a:gd name="connsiteY7" fmla="*/ 579644 h 951620"/>
                <a:gd name="connsiteX8" fmla="*/ 131818 w 151434"/>
                <a:gd name="connsiteY8" fmla="*/ 579644 h 951620"/>
                <a:gd name="connsiteX9" fmla="*/ 131818 w 151434"/>
                <a:gd name="connsiteY9" fmla="*/ 577770 h 951620"/>
                <a:gd name="connsiteX10" fmla="*/ 131818 w 151434"/>
                <a:gd name="connsiteY10" fmla="*/ 576145 h 951620"/>
                <a:gd name="connsiteX11" fmla="*/ 126820 w 151434"/>
                <a:gd name="connsiteY11" fmla="*/ 463690 h 951620"/>
                <a:gd name="connsiteX12" fmla="*/ 126820 w 151434"/>
                <a:gd name="connsiteY12" fmla="*/ 463690 h 951620"/>
                <a:gd name="connsiteX13" fmla="*/ 126820 w 151434"/>
                <a:gd name="connsiteY13" fmla="*/ 461441 h 951620"/>
                <a:gd name="connsiteX14" fmla="*/ 126820 w 151434"/>
                <a:gd name="connsiteY14" fmla="*/ 459442 h 951620"/>
                <a:gd name="connsiteX15" fmla="*/ 127570 w 151434"/>
                <a:gd name="connsiteY15" fmla="*/ 457817 h 951620"/>
                <a:gd name="connsiteX16" fmla="*/ 128694 w 151434"/>
                <a:gd name="connsiteY16" fmla="*/ 455943 h 951620"/>
                <a:gd name="connsiteX17" fmla="*/ 128694 w 151434"/>
                <a:gd name="connsiteY17" fmla="*/ 455943 h 951620"/>
                <a:gd name="connsiteX18" fmla="*/ 129819 w 151434"/>
                <a:gd name="connsiteY18" fmla="*/ 455069 h 951620"/>
                <a:gd name="connsiteX19" fmla="*/ 131443 w 151434"/>
                <a:gd name="connsiteY19" fmla="*/ 453819 h 951620"/>
                <a:gd name="connsiteX20" fmla="*/ 132942 w 151434"/>
                <a:gd name="connsiteY20" fmla="*/ 453819 h 951620"/>
                <a:gd name="connsiteX21" fmla="*/ 112951 w 151434"/>
                <a:gd name="connsiteY21" fmla="*/ 0 h 951620"/>
                <a:gd name="connsiteX22" fmla="*/ 58849 w 151434"/>
                <a:gd name="connsiteY22" fmla="*/ 26364 h 951620"/>
                <a:gd name="connsiteX23" fmla="*/ 58849 w 151434"/>
                <a:gd name="connsiteY23" fmla="*/ 28614 h 951620"/>
                <a:gd name="connsiteX24" fmla="*/ 58849 w 151434"/>
                <a:gd name="connsiteY24" fmla="*/ 30988 h 951620"/>
                <a:gd name="connsiteX25" fmla="*/ 58849 w 151434"/>
                <a:gd name="connsiteY25" fmla="*/ 32737 h 951620"/>
                <a:gd name="connsiteX26" fmla="*/ 56975 w 151434"/>
                <a:gd name="connsiteY26" fmla="*/ 36235 h 951620"/>
                <a:gd name="connsiteX27" fmla="*/ 56975 w 151434"/>
                <a:gd name="connsiteY27" fmla="*/ 36235 h 951620"/>
                <a:gd name="connsiteX28" fmla="*/ 56975 w 151434"/>
                <a:gd name="connsiteY28" fmla="*/ 36235 h 951620"/>
                <a:gd name="connsiteX29" fmla="*/ 54476 w 151434"/>
                <a:gd name="connsiteY29" fmla="*/ 38235 h 951620"/>
                <a:gd name="connsiteX30" fmla="*/ 54476 w 151434"/>
                <a:gd name="connsiteY30" fmla="*/ 38235 h 951620"/>
                <a:gd name="connsiteX31" fmla="*/ 0 w 151434"/>
                <a:gd name="connsiteY31" fmla="*/ 64849 h 951620"/>
                <a:gd name="connsiteX32" fmla="*/ 8621 w 151434"/>
                <a:gd name="connsiteY32" fmla="*/ 238280 h 951620"/>
                <a:gd name="connsiteX33" fmla="*/ 44231 w 151434"/>
                <a:gd name="connsiteY33" fmla="*/ 951621 h 95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1434" h="951620">
                  <a:moveTo>
                    <a:pt x="151435" y="893269"/>
                  </a:moveTo>
                  <a:lnTo>
                    <a:pt x="144063" y="724711"/>
                  </a:lnTo>
                  <a:lnTo>
                    <a:pt x="138065" y="589390"/>
                  </a:lnTo>
                  <a:lnTo>
                    <a:pt x="132817" y="582768"/>
                  </a:lnTo>
                  <a:lnTo>
                    <a:pt x="132817" y="582768"/>
                  </a:lnTo>
                  <a:lnTo>
                    <a:pt x="132817" y="581518"/>
                  </a:lnTo>
                  <a:cubicBezTo>
                    <a:pt x="132405" y="580931"/>
                    <a:pt x="132080" y="580306"/>
                    <a:pt x="131818" y="579644"/>
                  </a:cubicBezTo>
                  <a:cubicBezTo>
                    <a:pt x="131818" y="579644"/>
                    <a:pt x="131818" y="579644"/>
                    <a:pt x="131818" y="579644"/>
                  </a:cubicBezTo>
                  <a:lnTo>
                    <a:pt x="131818" y="579644"/>
                  </a:lnTo>
                  <a:cubicBezTo>
                    <a:pt x="131818" y="579019"/>
                    <a:pt x="131818" y="578394"/>
                    <a:pt x="131818" y="577770"/>
                  </a:cubicBezTo>
                  <a:cubicBezTo>
                    <a:pt x="131743" y="577232"/>
                    <a:pt x="131743" y="576683"/>
                    <a:pt x="131818" y="576145"/>
                  </a:cubicBezTo>
                  <a:lnTo>
                    <a:pt x="126820" y="463690"/>
                  </a:lnTo>
                  <a:cubicBezTo>
                    <a:pt x="126820" y="463690"/>
                    <a:pt x="126820" y="463690"/>
                    <a:pt x="126820" y="463690"/>
                  </a:cubicBezTo>
                  <a:cubicBezTo>
                    <a:pt x="126758" y="462940"/>
                    <a:pt x="126758" y="462191"/>
                    <a:pt x="126820" y="461441"/>
                  </a:cubicBezTo>
                  <a:cubicBezTo>
                    <a:pt x="126745" y="460779"/>
                    <a:pt x="126745" y="460104"/>
                    <a:pt x="126820" y="459442"/>
                  </a:cubicBezTo>
                  <a:cubicBezTo>
                    <a:pt x="127045" y="458892"/>
                    <a:pt x="127295" y="458342"/>
                    <a:pt x="127570" y="457817"/>
                  </a:cubicBezTo>
                  <a:cubicBezTo>
                    <a:pt x="127895" y="457168"/>
                    <a:pt x="128269" y="456543"/>
                    <a:pt x="128694" y="455943"/>
                  </a:cubicBezTo>
                  <a:lnTo>
                    <a:pt x="128694" y="455943"/>
                  </a:lnTo>
                  <a:lnTo>
                    <a:pt x="129819" y="455069"/>
                  </a:lnTo>
                  <a:lnTo>
                    <a:pt x="131443" y="453819"/>
                  </a:lnTo>
                  <a:lnTo>
                    <a:pt x="132942" y="453819"/>
                  </a:lnTo>
                  <a:lnTo>
                    <a:pt x="112951" y="0"/>
                  </a:lnTo>
                  <a:lnTo>
                    <a:pt x="58849" y="26364"/>
                  </a:lnTo>
                  <a:cubicBezTo>
                    <a:pt x="58912" y="27114"/>
                    <a:pt x="58912" y="27864"/>
                    <a:pt x="58849" y="28614"/>
                  </a:cubicBezTo>
                  <a:cubicBezTo>
                    <a:pt x="58925" y="29401"/>
                    <a:pt x="58925" y="30200"/>
                    <a:pt x="58849" y="30988"/>
                  </a:cubicBezTo>
                  <a:cubicBezTo>
                    <a:pt x="58925" y="31562"/>
                    <a:pt x="58925" y="32162"/>
                    <a:pt x="58849" y="32737"/>
                  </a:cubicBezTo>
                  <a:cubicBezTo>
                    <a:pt x="58425" y="33999"/>
                    <a:pt x="57800" y="35186"/>
                    <a:pt x="56975" y="36235"/>
                  </a:cubicBezTo>
                  <a:lnTo>
                    <a:pt x="56975" y="36235"/>
                  </a:lnTo>
                  <a:lnTo>
                    <a:pt x="56975" y="36235"/>
                  </a:lnTo>
                  <a:cubicBezTo>
                    <a:pt x="56263" y="37035"/>
                    <a:pt x="55414" y="37710"/>
                    <a:pt x="54476" y="38235"/>
                  </a:cubicBezTo>
                  <a:lnTo>
                    <a:pt x="54476" y="38235"/>
                  </a:lnTo>
                  <a:lnTo>
                    <a:pt x="0" y="64849"/>
                  </a:lnTo>
                  <a:lnTo>
                    <a:pt x="8621" y="238280"/>
                  </a:lnTo>
                  <a:lnTo>
                    <a:pt x="44231" y="951621"/>
                  </a:lnTo>
                  <a:close/>
                </a:path>
              </a:pathLst>
            </a:custGeom>
            <a:solidFill>
              <a:schemeClr val="accent2"/>
            </a:solidFill>
            <a:ln w="12483" cap="flat">
              <a:noFill/>
              <a:prstDash val="solid"/>
              <a:miter/>
            </a:ln>
          </p:spPr>
          <p:txBody>
            <a:bodyPr rtlCol="0" anchor="ctr"/>
            <a:lstStyle/>
            <a:p>
              <a:endParaRPr lang="en-US"/>
            </a:p>
          </p:txBody>
        </p:sp>
        <p:sp>
          <p:nvSpPr>
            <p:cNvPr id="1090" name="Freeform: Shape 1089">
              <a:extLst>
                <a:ext uri="{FF2B5EF4-FFF2-40B4-BE49-F238E27FC236}">
                  <a16:creationId xmlns:a16="http://schemas.microsoft.com/office/drawing/2014/main" id="{B4A82D94-912F-488F-B54A-A6C0D471BB06}"/>
                </a:ext>
              </a:extLst>
            </p:cNvPr>
            <p:cNvSpPr/>
            <p:nvPr/>
          </p:nvSpPr>
          <p:spPr>
            <a:xfrm>
              <a:off x="7800410" y="1440432"/>
              <a:ext cx="2389467" cy="2423283"/>
            </a:xfrm>
            <a:custGeom>
              <a:avLst/>
              <a:gdLst>
                <a:gd name="connsiteX0" fmla="*/ 173425 w 2389467"/>
                <a:gd name="connsiteY0" fmla="*/ 2422159 h 2423283"/>
                <a:gd name="connsiteX1" fmla="*/ 174175 w 2389467"/>
                <a:gd name="connsiteY1" fmla="*/ 2423284 h 2423283"/>
                <a:gd name="connsiteX2" fmla="*/ 1023807 w 2389467"/>
                <a:gd name="connsiteY2" fmla="*/ 1994455 h 2423283"/>
                <a:gd name="connsiteX3" fmla="*/ 878620 w 2389467"/>
                <a:gd name="connsiteY3" fmla="*/ 1804031 h 2423283"/>
                <a:gd name="connsiteX4" fmla="*/ 878620 w 2389467"/>
                <a:gd name="connsiteY4" fmla="*/ 1802781 h 2423283"/>
                <a:gd name="connsiteX5" fmla="*/ 877621 w 2389467"/>
                <a:gd name="connsiteY5" fmla="*/ 1801032 h 2423283"/>
                <a:gd name="connsiteX6" fmla="*/ 877621 w 2389467"/>
                <a:gd name="connsiteY6" fmla="*/ 1798783 h 2423283"/>
                <a:gd name="connsiteX7" fmla="*/ 877621 w 2389467"/>
                <a:gd name="connsiteY7" fmla="*/ 1797533 h 2423283"/>
                <a:gd name="connsiteX8" fmla="*/ 863877 w 2389467"/>
                <a:gd name="connsiteY8" fmla="*/ 1637097 h 2423283"/>
                <a:gd name="connsiteX9" fmla="*/ 863877 w 2389467"/>
                <a:gd name="connsiteY9" fmla="*/ 1637097 h 2423283"/>
                <a:gd name="connsiteX10" fmla="*/ 863877 w 2389467"/>
                <a:gd name="connsiteY10" fmla="*/ 1634848 h 2423283"/>
                <a:gd name="connsiteX11" fmla="*/ 863877 w 2389467"/>
                <a:gd name="connsiteY11" fmla="*/ 1632849 h 2423283"/>
                <a:gd name="connsiteX12" fmla="*/ 864751 w 2389467"/>
                <a:gd name="connsiteY12" fmla="*/ 1631100 h 2423283"/>
                <a:gd name="connsiteX13" fmla="*/ 865626 w 2389467"/>
                <a:gd name="connsiteY13" fmla="*/ 1629350 h 2423283"/>
                <a:gd name="connsiteX14" fmla="*/ 866875 w 2389467"/>
                <a:gd name="connsiteY14" fmla="*/ 1628226 h 2423283"/>
                <a:gd name="connsiteX15" fmla="*/ 868500 w 2389467"/>
                <a:gd name="connsiteY15" fmla="*/ 1626976 h 2423283"/>
                <a:gd name="connsiteX16" fmla="*/ 868500 w 2389467"/>
                <a:gd name="connsiteY16" fmla="*/ 1626976 h 2423283"/>
                <a:gd name="connsiteX17" fmla="*/ 1341295 w 2389467"/>
                <a:gd name="connsiteY17" fmla="*/ 1394069 h 2423283"/>
                <a:gd name="connsiteX18" fmla="*/ 1332549 w 2389467"/>
                <a:gd name="connsiteY18" fmla="*/ 1220513 h 2423283"/>
                <a:gd name="connsiteX19" fmla="*/ 1332549 w 2389467"/>
                <a:gd name="connsiteY19" fmla="*/ 1220513 h 2423283"/>
                <a:gd name="connsiteX20" fmla="*/ 1332549 w 2389467"/>
                <a:gd name="connsiteY20" fmla="*/ 1218139 h 2423283"/>
                <a:gd name="connsiteX21" fmla="*/ 1332549 w 2389467"/>
                <a:gd name="connsiteY21" fmla="*/ 1216265 h 2423283"/>
                <a:gd name="connsiteX22" fmla="*/ 1333299 w 2389467"/>
                <a:gd name="connsiteY22" fmla="*/ 1214641 h 2423283"/>
                <a:gd name="connsiteX23" fmla="*/ 1334298 w 2389467"/>
                <a:gd name="connsiteY23" fmla="*/ 1212766 h 2423283"/>
                <a:gd name="connsiteX24" fmla="*/ 1335423 w 2389467"/>
                <a:gd name="connsiteY24" fmla="*/ 1211767 h 2423283"/>
                <a:gd name="connsiteX25" fmla="*/ 1337172 w 2389467"/>
                <a:gd name="connsiteY25" fmla="*/ 1210392 h 2423283"/>
                <a:gd name="connsiteX26" fmla="*/ 1337172 w 2389467"/>
                <a:gd name="connsiteY26" fmla="*/ 1210392 h 2423283"/>
                <a:gd name="connsiteX27" fmla="*/ 1385152 w 2389467"/>
                <a:gd name="connsiteY27" fmla="*/ 1187027 h 2423283"/>
                <a:gd name="connsiteX28" fmla="*/ 1345044 w 2389467"/>
                <a:gd name="connsiteY28" fmla="*/ 1138046 h 2423283"/>
                <a:gd name="connsiteX29" fmla="*/ 1343669 w 2389467"/>
                <a:gd name="connsiteY29" fmla="*/ 1135297 h 2423283"/>
                <a:gd name="connsiteX30" fmla="*/ 1343669 w 2389467"/>
                <a:gd name="connsiteY30" fmla="*/ 1134423 h 2423283"/>
                <a:gd name="connsiteX31" fmla="*/ 1343669 w 2389467"/>
                <a:gd name="connsiteY31" fmla="*/ 1134423 h 2423283"/>
                <a:gd name="connsiteX32" fmla="*/ 1343045 w 2389467"/>
                <a:gd name="connsiteY32" fmla="*/ 1130299 h 2423283"/>
                <a:gd name="connsiteX33" fmla="*/ 1343045 w 2389467"/>
                <a:gd name="connsiteY33" fmla="*/ 1128425 h 2423283"/>
                <a:gd name="connsiteX34" fmla="*/ 1345419 w 2389467"/>
                <a:gd name="connsiteY34" fmla="*/ 1122677 h 2423283"/>
                <a:gd name="connsiteX35" fmla="*/ 1345419 w 2389467"/>
                <a:gd name="connsiteY35" fmla="*/ 1122677 h 2423283"/>
                <a:gd name="connsiteX36" fmla="*/ 1347293 w 2389467"/>
                <a:gd name="connsiteY36" fmla="*/ 1121178 h 2423283"/>
                <a:gd name="connsiteX37" fmla="*/ 1348417 w 2389467"/>
                <a:gd name="connsiteY37" fmla="*/ 1120428 h 2423283"/>
                <a:gd name="connsiteX38" fmla="*/ 1399645 w 2389467"/>
                <a:gd name="connsiteY38" fmla="*/ 1095438 h 2423283"/>
                <a:gd name="connsiteX39" fmla="*/ 1399645 w 2389467"/>
                <a:gd name="connsiteY39" fmla="*/ 1090565 h 2423283"/>
                <a:gd name="connsiteX40" fmla="*/ 1399645 w 2389467"/>
                <a:gd name="connsiteY40" fmla="*/ 1088316 h 2423283"/>
                <a:gd name="connsiteX41" fmla="*/ 1399645 w 2389467"/>
                <a:gd name="connsiteY41" fmla="*/ 1086442 h 2423283"/>
                <a:gd name="connsiteX42" fmla="*/ 1400520 w 2389467"/>
                <a:gd name="connsiteY42" fmla="*/ 1084693 h 2423283"/>
                <a:gd name="connsiteX43" fmla="*/ 1401519 w 2389467"/>
                <a:gd name="connsiteY43" fmla="*/ 1082943 h 2423283"/>
                <a:gd name="connsiteX44" fmla="*/ 1402644 w 2389467"/>
                <a:gd name="connsiteY44" fmla="*/ 1081819 h 2423283"/>
                <a:gd name="connsiteX45" fmla="*/ 1404393 w 2389467"/>
                <a:gd name="connsiteY45" fmla="*/ 1080569 h 2423283"/>
                <a:gd name="connsiteX46" fmla="*/ 1404393 w 2389467"/>
                <a:gd name="connsiteY46" fmla="*/ 1080569 h 2423283"/>
                <a:gd name="connsiteX47" fmla="*/ 1950907 w 2389467"/>
                <a:gd name="connsiteY47" fmla="*/ 815050 h 2423283"/>
                <a:gd name="connsiteX48" fmla="*/ 1944535 w 2389467"/>
                <a:gd name="connsiteY48" fmla="*/ 512671 h 2423283"/>
                <a:gd name="connsiteX49" fmla="*/ 1944535 w 2389467"/>
                <a:gd name="connsiteY49" fmla="*/ 512671 h 2423283"/>
                <a:gd name="connsiteX50" fmla="*/ 1944535 w 2389467"/>
                <a:gd name="connsiteY50" fmla="*/ 510172 h 2423283"/>
                <a:gd name="connsiteX51" fmla="*/ 1944535 w 2389467"/>
                <a:gd name="connsiteY51" fmla="*/ 508547 h 2423283"/>
                <a:gd name="connsiteX52" fmla="*/ 1945534 w 2389467"/>
                <a:gd name="connsiteY52" fmla="*/ 506548 h 2423283"/>
                <a:gd name="connsiteX53" fmla="*/ 1946409 w 2389467"/>
                <a:gd name="connsiteY53" fmla="*/ 505049 h 2423283"/>
                <a:gd name="connsiteX54" fmla="*/ 1947658 w 2389467"/>
                <a:gd name="connsiteY54" fmla="*/ 504049 h 2423283"/>
                <a:gd name="connsiteX55" fmla="*/ 1949283 w 2389467"/>
                <a:gd name="connsiteY55" fmla="*/ 502675 h 2423283"/>
                <a:gd name="connsiteX56" fmla="*/ 1949283 w 2389467"/>
                <a:gd name="connsiteY56" fmla="*/ 502675 h 2423283"/>
                <a:gd name="connsiteX57" fmla="*/ 2389468 w 2389467"/>
                <a:gd name="connsiteY57" fmla="*/ 293133 h 2423283"/>
                <a:gd name="connsiteX58" fmla="*/ 2389468 w 2389467"/>
                <a:gd name="connsiteY58" fmla="*/ 0 h 2423283"/>
                <a:gd name="connsiteX59" fmla="*/ 0 w 2389467"/>
                <a:gd name="connsiteY59" fmla="*/ 1116930 h 2423283"/>
                <a:gd name="connsiteX60" fmla="*/ 0 w 2389467"/>
                <a:gd name="connsiteY60" fmla="*/ 1116930 h 2423283"/>
                <a:gd name="connsiteX61" fmla="*/ 141314 w 2389467"/>
                <a:gd name="connsiteY61" fmla="*/ 2375678 h 24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389467" h="2423283">
                  <a:moveTo>
                    <a:pt x="173425" y="2422159"/>
                  </a:moveTo>
                  <a:lnTo>
                    <a:pt x="174175" y="2423284"/>
                  </a:lnTo>
                  <a:lnTo>
                    <a:pt x="1023807" y="1994455"/>
                  </a:lnTo>
                  <a:lnTo>
                    <a:pt x="878620" y="1804031"/>
                  </a:lnTo>
                  <a:cubicBezTo>
                    <a:pt x="878570" y="1803618"/>
                    <a:pt x="878570" y="1803194"/>
                    <a:pt x="878620" y="1802781"/>
                  </a:cubicBezTo>
                  <a:cubicBezTo>
                    <a:pt x="878221" y="1802244"/>
                    <a:pt x="877883" y="1801657"/>
                    <a:pt x="877621" y="1801032"/>
                  </a:cubicBezTo>
                  <a:cubicBezTo>
                    <a:pt x="877558" y="1800282"/>
                    <a:pt x="877558" y="1799533"/>
                    <a:pt x="877621" y="1798783"/>
                  </a:cubicBezTo>
                  <a:lnTo>
                    <a:pt x="877621" y="1797533"/>
                  </a:lnTo>
                  <a:lnTo>
                    <a:pt x="863877" y="1637097"/>
                  </a:lnTo>
                  <a:cubicBezTo>
                    <a:pt x="863877" y="1637097"/>
                    <a:pt x="863877" y="1637097"/>
                    <a:pt x="863877" y="1637097"/>
                  </a:cubicBezTo>
                  <a:cubicBezTo>
                    <a:pt x="863814" y="1636347"/>
                    <a:pt x="863814" y="1635598"/>
                    <a:pt x="863877" y="1634848"/>
                  </a:cubicBezTo>
                  <a:cubicBezTo>
                    <a:pt x="863814" y="1634186"/>
                    <a:pt x="863814" y="1633511"/>
                    <a:pt x="863877" y="1632849"/>
                  </a:cubicBezTo>
                  <a:lnTo>
                    <a:pt x="864751" y="1631100"/>
                  </a:lnTo>
                  <a:cubicBezTo>
                    <a:pt x="864989" y="1630487"/>
                    <a:pt x="865289" y="1629913"/>
                    <a:pt x="865626" y="1629350"/>
                  </a:cubicBezTo>
                  <a:lnTo>
                    <a:pt x="866875" y="1628226"/>
                  </a:lnTo>
                  <a:cubicBezTo>
                    <a:pt x="867325" y="1627701"/>
                    <a:pt x="867875" y="1627276"/>
                    <a:pt x="868500" y="1626976"/>
                  </a:cubicBezTo>
                  <a:lnTo>
                    <a:pt x="868500" y="1626976"/>
                  </a:lnTo>
                  <a:lnTo>
                    <a:pt x="1341295" y="1394069"/>
                  </a:lnTo>
                  <a:lnTo>
                    <a:pt x="1332549" y="1220513"/>
                  </a:lnTo>
                  <a:cubicBezTo>
                    <a:pt x="1332549" y="1220513"/>
                    <a:pt x="1332549" y="1220513"/>
                    <a:pt x="1332549" y="1220513"/>
                  </a:cubicBezTo>
                  <a:cubicBezTo>
                    <a:pt x="1332487" y="1219726"/>
                    <a:pt x="1332487" y="1218926"/>
                    <a:pt x="1332549" y="1218139"/>
                  </a:cubicBezTo>
                  <a:cubicBezTo>
                    <a:pt x="1332487" y="1217515"/>
                    <a:pt x="1332487" y="1216890"/>
                    <a:pt x="1332549" y="1216265"/>
                  </a:cubicBezTo>
                  <a:cubicBezTo>
                    <a:pt x="1332724" y="1215690"/>
                    <a:pt x="1332974" y="1215141"/>
                    <a:pt x="1333299" y="1214641"/>
                  </a:cubicBezTo>
                  <a:cubicBezTo>
                    <a:pt x="1333299" y="1214016"/>
                    <a:pt x="1333924" y="1213266"/>
                    <a:pt x="1334298" y="1212766"/>
                  </a:cubicBezTo>
                  <a:lnTo>
                    <a:pt x="1335423" y="1211767"/>
                  </a:lnTo>
                  <a:lnTo>
                    <a:pt x="1337172" y="1210392"/>
                  </a:lnTo>
                  <a:lnTo>
                    <a:pt x="1337172" y="1210392"/>
                  </a:lnTo>
                  <a:lnTo>
                    <a:pt x="1385152" y="1187027"/>
                  </a:lnTo>
                  <a:lnTo>
                    <a:pt x="1345044" y="1138046"/>
                  </a:lnTo>
                  <a:cubicBezTo>
                    <a:pt x="1344444" y="1137209"/>
                    <a:pt x="1343969" y="1136284"/>
                    <a:pt x="1343669" y="1135297"/>
                  </a:cubicBezTo>
                  <a:cubicBezTo>
                    <a:pt x="1343645" y="1135010"/>
                    <a:pt x="1343645" y="1134710"/>
                    <a:pt x="1343669" y="1134423"/>
                  </a:cubicBezTo>
                  <a:lnTo>
                    <a:pt x="1343669" y="1134423"/>
                  </a:lnTo>
                  <a:cubicBezTo>
                    <a:pt x="1343207" y="1133098"/>
                    <a:pt x="1342995" y="1131699"/>
                    <a:pt x="1343045" y="1130299"/>
                  </a:cubicBezTo>
                  <a:cubicBezTo>
                    <a:pt x="1342982" y="1129675"/>
                    <a:pt x="1342982" y="1129050"/>
                    <a:pt x="1343045" y="1128425"/>
                  </a:cubicBezTo>
                  <a:cubicBezTo>
                    <a:pt x="1343132" y="1126288"/>
                    <a:pt x="1343969" y="1124252"/>
                    <a:pt x="1345419" y="1122677"/>
                  </a:cubicBezTo>
                  <a:lnTo>
                    <a:pt x="1345419" y="1122677"/>
                  </a:lnTo>
                  <a:cubicBezTo>
                    <a:pt x="1345981" y="1122115"/>
                    <a:pt x="1346618" y="1121603"/>
                    <a:pt x="1347293" y="1121178"/>
                  </a:cubicBezTo>
                  <a:cubicBezTo>
                    <a:pt x="1347293" y="1121178"/>
                    <a:pt x="1347917" y="1120553"/>
                    <a:pt x="1348417" y="1120428"/>
                  </a:cubicBezTo>
                  <a:lnTo>
                    <a:pt x="1399645" y="1095438"/>
                  </a:lnTo>
                  <a:lnTo>
                    <a:pt x="1399645" y="1090565"/>
                  </a:lnTo>
                  <a:cubicBezTo>
                    <a:pt x="1399583" y="1089816"/>
                    <a:pt x="1399583" y="1089066"/>
                    <a:pt x="1399645" y="1088316"/>
                  </a:cubicBezTo>
                  <a:cubicBezTo>
                    <a:pt x="1399583" y="1087691"/>
                    <a:pt x="1399583" y="1087067"/>
                    <a:pt x="1399645" y="1086442"/>
                  </a:cubicBezTo>
                  <a:cubicBezTo>
                    <a:pt x="1399833" y="1085817"/>
                    <a:pt x="1400133" y="1085217"/>
                    <a:pt x="1400520" y="1084693"/>
                  </a:cubicBezTo>
                  <a:cubicBezTo>
                    <a:pt x="1400732" y="1084043"/>
                    <a:pt x="1401069" y="1083456"/>
                    <a:pt x="1401519" y="1082943"/>
                  </a:cubicBezTo>
                  <a:cubicBezTo>
                    <a:pt x="1401857" y="1082543"/>
                    <a:pt x="1402244" y="1082156"/>
                    <a:pt x="1402644" y="1081819"/>
                  </a:cubicBezTo>
                  <a:cubicBezTo>
                    <a:pt x="1403119" y="1081269"/>
                    <a:pt x="1403718" y="1080844"/>
                    <a:pt x="1404393" y="1080569"/>
                  </a:cubicBezTo>
                  <a:lnTo>
                    <a:pt x="1404393" y="1080569"/>
                  </a:lnTo>
                  <a:lnTo>
                    <a:pt x="1950907" y="815050"/>
                  </a:lnTo>
                  <a:lnTo>
                    <a:pt x="1944535" y="512671"/>
                  </a:lnTo>
                  <a:cubicBezTo>
                    <a:pt x="1944535" y="512671"/>
                    <a:pt x="1944535" y="512671"/>
                    <a:pt x="1944535" y="512671"/>
                  </a:cubicBezTo>
                  <a:cubicBezTo>
                    <a:pt x="1944410" y="511846"/>
                    <a:pt x="1944410" y="510996"/>
                    <a:pt x="1944535" y="510172"/>
                  </a:cubicBezTo>
                  <a:cubicBezTo>
                    <a:pt x="1944472" y="509634"/>
                    <a:pt x="1944472" y="509084"/>
                    <a:pt x="1944535" y="508547"/>
                  </a:cubicBezTo>
                  <a:cubicBezTo>
                    <a:pt x="1944822" y="507860"/>
                    <a:pt x="1945147" y="507185"/>
                    <a:pt x="1945534" y="506548"/>
                  </a:cubicBezTo>
                  <a:cubicBezTo>
                    <a:pt x="1945784" y="506023"/>
                    <a:pt x="1946072" y="505523"/>
                    <a:pt x="1946409" y="505049"/>
                  </a:cubicBezTo>
                  <a:lnTo>
                    <a:pt x="1947658" y="504049"/>
                  </a:lnTo>
                  <a:cubicBezTo>
                    <a:pt x="1948146" y="503524"/>
                    <a:pt x="1948683" y="503062"/>
                    <a:pt x="1949283" y="502675"/>
                  </a:cubicBezTo>
                  <a:lnTo>
                    <a:pt x="1949283" y="502675"/>
                  </a:lnTo>
                  <a:lnTo>
                    <a:pt x="2389468" y="293133"/>
                  </a:lnTo>
                  <a:lnTo>
                    <a:pt x="2389468" y="0"/>
                  </a:lnTo>
                  <a:lnTo>
                    <a:pt x="0" y="1116930"/>
                  </a:lnTo>
                  <a:lnTo>
                    <a:pt x="0" y="1116930"/>
                  </a:lnTo>
                  <a:lnTo>
                    <a:pt x="141314" y="2375678"/>
                  </a:lnTo>
                  <a:close/>
                </a:path>
              </a:pathLst>
            </a:custGeom>
            <a:solidFill>
              <a:schemeClr val="accent5"/>
            </a:solidFill>
            <a:ln w="12483" cap="flat">
              <a:noFill/>
              <a:prstDash val="solid"/>
              <a:miter/>
            </a:ln>
          </p:spPr>
          <p:txBody>
            <a:bodyPr rtlCol="0" anchor="ctr"/>
            <a:lstStyle/>
            <a:p>
              <a:endParaRPr lang="en-US"/>
            </a:p>
          </p:txBody>
        </p:sp>
        <p:sp>
          <p:nvSpPr>
            <p:cNvPr id="1091" name="Freeform: Shape 1090">
              <a:extLst>
                <a:ext uri="{FF2B5EF4-FFF2-40B4-BE49-F238E27FC236}">
                  <a16:creationId xmlns:a16="http://schemas.microsoft.com/office/drawing/2014/main" id="{19F6181B-B943-4DFB-956D-E921348D90B2}"/>
                </a:ext>
              </a:extLst>
            </p:cNvPr>
            <p:cNvSpPr/>
            <p:nvPr/>
          </p:nvSpPr>
          <p:spPr>
            <a:xfrm>
              <a:off x="8683903" y="3092649"/>
              <a:ext cx="210908" cy="403089"/>
            </a:xfrm>
            <a:custGeom>
              <a:avLst/>
              <a:gdLst>
                <a:gd name="connsiteX0" fmla="*/ 202037 w 210908"/>
                <a:gd name="connsiteY0" fmla="*/ 262895 h 403089"/>
                <a:gd name="connsiteX1" fmla="*/ 0 w 210908"/>
                <a:gd name="connsiteY1" fmla="*/ 0 h 403089"/>
                <a:gd name="connsiteX2" fmla="*/ 10121 w 210908"/>
                <a:gd name="connsiteY2" fmla="*/ 139819 h 403089"/>
                <a:gd name="connsiteX3" fmla="*/ 156682 w 210908"/>
                <a:gd name="connsiteY3" fmla="*/ 331993 h 403089"/>
                <a:gd name="connsiteX4" fmla="*/ 210909 w 210908"/>
                <a:gd name="connsiteY4" fmla="*/ 403089 h 403089"/>
                <a:gd name="connsiteX5" fmla="*/ 202037 w 210908"/>
                <a:gd name="connsiteY5" fmla="*/ 262895 h 40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 h="403089">
                  <a:moveTo>
                    <a:pt x="202037" y="262895"/>
                  </a:moveTo>
                  <a:lnTo>
                    <a:pt x="0" y="0"/>
                  </a:lnTo>
                  <a:lnTo>
                    <a:pt x="10121" y="139819"/>
                  </a:lnTo>
                  <a:lnTo>
                    <a:pt x="156682" y="331993"/>
                  </a:lnTo>
                  <a:lnTo>
                    <a:pt x="210909" y="403089"/>
                  </a:lnTo>
                  <a:lnTo>
                    <a:pt x="202037" y="262895"/>
                  </a:lnTo>
                  <a:close/>
                </a:path>
              </a:pathLst>
            </a:custGeom>
            <a:solidFill>
              <a:schemeClr val="accent5">
                <a:lumMod val="75000"/>
              </a:schemeClr>
            </a:solidFill>
            <a:ln w="12483" cap="flat">
              <a:noFill/>
              <a:prstDash val="solid"/>
              <a:miter/>
            </a:ln>
          </p:spPr>
          <p:txBody>
            <a:bodyPr rtlCol="0" anchor="ctr"/>
            <a:lstStyle/>
            <a:p>
              <a:endParaRPr lang="en-US"/>
            </a:p>
          </p:txBody>
        </p:sp>
        <p:sp>
          <p:nvSpPr>
            <p:cNvPr id="1092" name="Freeform: Shape 1091">
              <a:extLst>
                <a:ext uri="{FF2B5EF4-FFF2-40B4-BE49-F238E27FC236}">
                  <a16:creationId xmlns:a16="http://schemas.microsoft.com/office/drawing/2014/main" id="{F8914605-83CF-4E10-B7C7-4950E0D6895B}"/>
                </a:ext>
              </a:extLst>
            </p:cNvPr>
            <p:cNvSpPr/>
            <p:nvPr/>
          </p:nvSpPr>
          <p:spPr>
            <a:xfrm>
              <a:off x="8889189" y="3360042"/>
              <a:ext cx="187544" cy="313999"/>
            </a:xfrm>
            <a:custGeom>
              <a:avLst/>
              <a:gdLst>
                <a:gd name="connsiteX0" fmla="*/ 131568 w 187544"/>
                <a:gd name="connsiteY0" fmla="*/ 314000 h 313999"/>
                <a:gd name="connsiteX1" fmla="*/ 129694 w 187544"/>
                <a:gd name="connsiteY1" fmla="*/ 283012 h 313999"/>
                <a:gd name="connsiteX2" fmla="*/ 129694 w 187544"/>
                <a:gd name="connsiteY2" fmla="*/ 283012 h 313999"/>
                <a:gd name="connsiteX3" fmla="*/ 129694 w 187544"/>
                <a:gd name="connsiteY3" fmla="*/ 280638 h 313999"/>
                <a:gd name="connsiteX4" fmla="*/ 129694 w 187544"/>
                <a:gd name="connsiteY4" fmla="*/ 278764 h 313999"/>
                <a:gd name="connsiteX5" fmla="*/ 130569 w 187544"/>
                <a:gd name="connsiteY5" fmla="*/ 277015 h 313999"/>
                <a:gd name="connsiteX6" fmla="*/ 131443 w 187544"/>
                <a:gd name="connsiteY6" fmla="*/ 275265 h 313999"/>
                <a:gd name="connsiteX7" fmla="*/ 132818 w 187544"/>
                <a:gd name="connsiteY7" fmla="*/ 274141 h 313999"/>
                <a:gd name="connsiteX8" fmla="*/ 134317 w 187544"/>
                <a:gd name="connsiteY8" fmla="*/ 272766 h 313999"/>
                <a:gd name="connsiteX9" fmla="*/ 134317 w 187544"/>
                <a:gd name="connsiteY9" fmla="*/ 272766 h 313999"/>
                <a:gd name="connsiteX10" fmla="*/ 187544 w 187544"/>
                <a:gd name="connsiteY10" fmla="*/ 245402 h 313999"/>
                <a:gd name="connsiteX11" fmla="*/ 0 w 187544"/>
                <a:gd name="connsiteY11" fmla="*/ 0 h 313999"/>
                <a:gd name="connsiteX12" fmla="*/ 8871 w 187544"/>
                <a:gd name="connsiteY12" fmla="*/ 140319 h 313999"/>
                <a:gd name="connsiteX13" fmla="*/ 14869 w 187544"/>
                <a:gd name="connsiteY13" fmla="*/ 148191 h 313999"/>
                <a:gd name="connsiteX14" fmla="*/ 15618 w 187544"/>
                <a:gd name="connsiteY14" fmla="*/ 149690 h 313999"/>
                <a:gd name="connsiteX15" fmla="*/ 16493 w 187544"/>
                <a:gd name="connsiteY15" fmla="*/ 151314 h 313999"/>
                <a:gd name="connsiteX16" fmla="*/ 16493 w 187544"/>
                <a:gd name="connsiteY16" fmla="*/ 151314 h 313999"/>
                <a:gd name="connsiteX17" fmla="*/ 16493 w 187544"/>
                <a:gd name="connsiteY17" fmla="*/ 153564 h 313999"/>
                <a:gd name="connsiteX18" fmla="*/ 16493 w 187544"/>
                <a:gd name="connsiteY18" fmla="*/ 155563 h 313999"/>
                <a:gd name="connsiteX19" fmla="*/ 16493 w 187544"/>
                <a:gd name="connsiteY19" fmla="*/ 157187 h 313999"/>
                <a:gd name="connsiteX20" fmla="*/ 16493 w 187544"/>
                <a:gd name="connsiteY20" fmla="*/ 159561 h 313999"/>
                <a:gd name="connsiteX21" fmla="*/ 15743 w 187544"/>
                <a:gd name="connsiteY21" fmla="*/ 160936 h 313999"/>
                <a:gd name="connsiteX22" fmla="*/ 15743 w 187544"/>
                <a:gd name="connsiteY22" fmla="*/ 161685 h 31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7544" h="313999">
                  <a:moveTo>
                    <a:pt x="131568" y="314000"/>
                  </a:moveTo>
                  <a:lnTo>
                    <a:pt x="129694" y="283012"/>
                  </a:lnTo>
                  <a:lnTo>
                    <a:pt x="129694" y="283012"/>
                  </a:lnTo>
                  <a:cubicBezTo>
                    <a:pt x="129631" y="282225"/>
                    <a:pt x="129631" y="281425"/>
                    <a:pt x="129694" y="280638"/>
                  </a:cubicBezTo>
                  <a:cubicBezTo>
                    <a:pt x="129694" y="280013"/>
                    <a:pt x="129694" y="279388"/>
                    <a:pt x="129694" y="278764"/>
                  </a:cubicBezTo>
                  <a:cubicBezTo>
                    <a:pt x="129694" y="278139"/>
                    <a:pt x="130319" y="277639"/>
                    <a:pt x="130569" y="277015"/>
                  </a:cubicBezTo>
                  <a:cubicBezTo>
                    <a:pt x="130818" y="276390"/>
                    <a:pt x="130569" y="275765"/>
                    <a:pt x="131443" y="275265"/>
                  </a:cubicBezTo>
                  <a:cubicBezTo>
                    <a:pt x="131843" y="274828"/>
                    <a:pt x="132305" y="274440"/>
                    <a:pt x="132818" y="274141"/>
                  </a:cubicBezTo>
                  <a:cubicBezTo>
                    <a:pt x="133255" y="273616"/>
                    <a:pt x="133755" y="273153"/>
                    <a:pt x="134317" y="272766"/>
                  </a:cubicBezTo>
                  <a:lnTo>
                    <a:pt x="134317" y="272766"/>
                  </a:lnTo>
                  <a:lnTo>
                    <a:pt x="187544" y="245402"/>
                  </a:lnTo>
                  <a:lnTo>
                    <a:pt x="0" y="0"/>
                  </a:lnTo>
                  <a:lnTo>
                    <a:pt x="8871" y="140319"/>
                  </a:lnTo>
                  <a:lnTo>
                    <a:pt x="14869" y="148191"/>
                  </a:lnTo>
                  <a:cubicBezTo>
                    <a:pt x="15193" y="148653"/>
                    <a:pt x="15443" y="149153"/>
                    <a:pt x="15618" y="149690"/>
                  </a:cubicBezTo>
                  <a:cubicBezTo>
                    <a:pt x="16030" y="150153"/>
                    <a:pt x="16331" y="150715"/>
                    <a:pt x="16493" y="151314"/>
                  </a:cubicBezTo>
                  <a:lnTo>
                    <a:pt x="16493" y="151314"/>
                  </a:lnTo>
                  <a:cubicBezTo>
                    <a:pt x="16555" y="152064"/>
                    <a:pt x="16555" y="152814"/>
                    <a:pt x="16493" y="153564"/>
                  </a:cubicBezTo>
                  <a:cubicBezTo>
                    <a:pt x="16568" y="154226"/>
                    <a:pt x="16568" y="154901"/>
                    <a:pt x="16493" y="155563"/>
                  </a:cubicBezTo>
                  <a:cubicBezTo>
                    <a:pt x="16493" y="155563"/>
                    <a:pt x="16493" y="156687"/>
                    <a:pt x="16493" y="157187"/>
                  </a:cubicBezTo>
                  <a:cubicBezTo>
                    <a:pt x="16568" y="157974"/>
                    <a:pt x="16568" y="158774"/>
                    <a:pt x="16493" y="159561"/>
                  </a:cubicBezTo>
                  <a:cubicBezTo>
                    <a:pt x="16293" y="160049"/>
                    <a:pt x="16043" y="160511"/>
                    <a:pt x="15743" y="160936"/>
                  </a:cubicBezTo>
                  <a:lnTo>
                    <a:pt x="15743" y="161685"/>
                  </a:lnTo>
                  <a:close/>
                </a:path>
              </a:pathLst>
            </a:custGeom>
            <a:solidFill>
              <a:schemeClr val="accent2"/>
            </a:solidFill>
            <a:ln w="12483" cap="flat">
              <a:noFill/>
              <a:prstDash val="solid"/>
              <a:miter/>
            </a:ln>
          </p:spPr>
          <p:txBody>
            <a:bodyPr rtlCol="0" anchor="ctr"/>
            <a:lstStyle/>
            <a:p>
              <a:endParaRPr lang="en-US"/>
            </a:p>
          </p:txBody>
        </p:sp>
        <p:sp>
          <p:nvSpPr>
            <p:cNvPr id="1093" name="Freeform: Shape 1092">
              <a:extLst>
                <a:ext uri="{FF2B5EF4-FFF2-40B4-BE49-F238E27FC236}">
                  <a16:creationId xmlns:a16="http://schemas.microsoft.com/office/drawing/2014/main" id="{79BDA08C-9B3F-4A98-BF96-70F40BAA503D}"/>
                </a:ext>
              </a:extLst>
            </p:cNvPr>
            <p:cNvSpPr/>
            <p:nvPr/>
          </p:nvSpPr>
          <p:spPr>
            <a:xfrm>
              <a:off x="9895380" y="5270030"/>
              <a:ext cx="586871" cy="472561"/>
            </a:xfrm>
            <a:custGeom>
              <a:avLst/>
              <a:gdLst>
                <a:gd name="connsiteX0" fmla="*/ 410323 w 586871"/>
                <a:gd name="connsiteY0" fmla="*/ 125 h 472561"/>
                <a:gd name="connsiteX1" fmla="*/ 384459 w 586871"/>
                <a:gd name="connsiteY1" fmla="*/ 14994 h 472561"/>
                <a:gd name="connsiteX2" fmla="*/ 370215 w 586871"/>
                <a:gd name="connsiteY2" fmla="*/ 23366 h 472561"/>
                <a:gd name="connsiteX3" fmla="*/ 0 w 586871"/>
                <a:gd name="connsiteY3" fmla="*/ 237530 h 472561"/>
                <a:gd name="connsiteX4" fmla="*/ 173050 w 586871"/>
                <a:gd name="connsiteY4" fmla="*/ 472562 h 472561"/>
                <a:gd name="connsiteX5" fmla="*/ 173800 w 586871"/>
                <a:gd name="connsiteY5" fmla="*/ 472562 h 472561"/>
                <a:gd name="connsiteX6" fmla="*/ 586871 w 586871"/>
                <a:gd name="connsiteY6" fmla="*/ 229409 h 472561"/>
                <a:gd name="connsiteX7" fmla="*/ 411197 w 586871"/>
                <a:gd name="connsiteY7" fmla="*/ 0 h 47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871" h="472561">
                  <a:moveTo>
                    <a:pt x="410323" y="125"/>
                  </a:moveTo>
                  <a:lnTo>
                    <a:pt x="384459" y="14994"/>
                  </a:lnTo>
                  <a:lnTo>
                    <a:pt x="370215" y="23366"/>
                  </a:lnTo>
                  <a:lnTo>
                    <a:pt x="0" y="237530"/>
                  </a:lnTo>
                  <a:lnTo>
                    <a:pt x="173050" y="472562"/>
                  </a:lnTo>
                  <a:lnTo>
                    <a:pt x="173800" y="472562"/>
                  </a:lnTo>
                  <a:lnTo>
                    <a:pt x="586871" y="229409"/>
                  </a:lnTo>
                  <a:lnTo>
                    <a:pt x="411197" y="0"/>
                  </a:lnTo>
                  <a:close/>
                </a:path>
              </a:pathLst>
            </a:custGeom>
            <a:solidFill>
              <a:schemeClr val="accent2"/>
            </a:solidFill>
            <a:ln w="12483" cap="flat">
              <a:noFill/>
              <a:prstDash val="solid"/>
              <a:miter/>
            </a:ln>
          </p:spPr>
          <p:txBody>
            <a:bodyPr rtlCol="0" anchor="ctr"/>
            <a:lstStyle/>
            <a:p>
              <a:endParaRPr lang="en-US"/>
            </a:p>
          </p:txBody>
        </p:sp>
        <p:sp>
          <p:nvSpPr>
            <p:cNvPr id="1094" name="Freeform: Shape 1093">
              <a:extLst>
                <a:ext uri="{FF2B5EF4-FFF2-40B4-BE49-F238E27FC236}">
                  <a16:creationId xmlns:a16="http://schemas.microsoft.com/office/drawing/2014/main" id="{C66F0961-2384-4EC8-AA57-2B4FECFC5BFA}"/>
                </a:ext>
              </a:extLst>
            </p:cNvPr>
            <p:cNvSpPr/>
            <p:nvPr/>
          </p:nvSpPr>
          <p:spPr>
            <a:xfrm>
              <a:off x="9871140" y="5530177"/>
              <a:ext cx="168677" cy="288759"/>
            </a:xfrm>
            <a:custGeom>
              <a:avLst/>
              <a:gdLst>
                <a:gd name="connsiteX0" fmla="*/ 250 w 168677"/>
                <a:gd name="connsiteY0" fmla="*/ 14245 h 288759"/>
                <a:gd name="connsiteX1" fmla="*/ 2624 w 168677"/>
                <a:gd name="connsiteY1" fmla="*/ 139195 h 288759"/>
                <a:gd name="connsiteX2" fmla="*/ 3498 w 168677"/>
                <a:gd name="connsiteY2" fmla="*/ 190549 h 288759"/>
                <a:gd name="connsiteX3" fmla="*/ 1499 w 168677"/>
                <a:gd name="connsiteY3" fmla="*/ 197421 h 288759"/>
                <a:gd name="connsiteX4" fmla="*/ 67971 w 168677"/>
                <a:gd name="connsiteY4" fmla="*/ 288760 h 288759"/>
                <a:gd name="connsiteX5" fmla="*/ 68720 w 168677"/>
                <a:gd name="connsiteY5" fmla="*/ 288760 h 288759"/>
                <a:gd name="connsiteX6" fmla="*/ 168677 w 168677"/>
                <a:gd name="connsiteY6" fmla="*/ 230158 h 288759"/>
                <a:gd name="connsiteX7" fmla="*/ 0 w 168677"/>
                <a:gd name="connsiteY7" fmla="*/ 0 h 2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677" h="288759">
                  <a:moveTo>
                    <a:pt x="250" y="14245"/>
                  </a:moveTo>
                  <a:lnTo>
                    <a:pt x="2624" y="139195"/>
                  </a:lnTo>
                  <a:lnTo>
                    <a:pt x="3498" y="190549"/>
                  </a:lnTo>
                  <a:cubicBezTo>
                    <a:pt x="3561" y="192998"/>
                    <a:pt x="2861" y="195397"/>
                    <a:pt x="1499" y="197421"/>
                  </a:cubicBezTo>
                  <a:lnTo>
                    <a:pt x="67971" y="288760"/>
                  </a:lnTo>
                  <a:lnTo>
                    <a:pt x="68720" y="288760"/>
                  </a:lnTo>
                  <a:lnTo>
                    <a:pt x="168677" y="230158"/>
                  </a:lnTo>
                  <a:lnTo>
                    <a:pt x="0" y="0"/>
                  </a:lnTo>
                  <a:close/>
                </a:path>
              </a:pathLst>
            </a:custGeom>
            <a:solidFill>
              <a:schemeClr val="accent2"/>
            </a:solidFill>
            <a:ln w="12483" cap="flat">
              <a:noFill/>
              <a:prstDash val="solid"/>
              <a:miter/>
            </a:ln>
          </p:spPr>
          <p:txBody>
            <a:bodyPr rtlCol="0" anchor="ctr"/>
            <a:lstStyle/>
            <a:p>
              <a:endParaRPr lang="en-US"/>
            </a:p>
          </p:txBody>
        </p:sp>
        <p:sp>
          <p:nvSpPr>
            <p:cNvPr id="1095" name="Freeform: Shape 1094">
              <a:extLst>
                <a:ext uri="{FF2B5EF4-FFF2-40B4-BE49-F238E27FC236}">
                  <a16:creationId xmlns:a16="http://schemas.microsoft.com/office/drawing/2014/main" id="{FC89728A-8210-42BD-BDBF-C62C159A6000}"/>
                </a:ext>
              </a:extLst>
            </p:cNvPr>
            <p:cNvSpPr/>
            <p:nvPr/>
          </p:nvSpPr>
          <p:spPr>
            <a:xfrm>
              <a:off x="5460421" y="2711301"/>
              <a:ext cx="1735625" cy="1519394"/>
            </a:xfrm>
            <a:custGeom>
              <a:avLst/>
              <a:gdLst>
                <a:gd name="connsiteX0" fmla="*/ 410698 w 1735625"/>
                <a:gd name="connsiteY0" fmla="*/ 1519394 h 1519394"/>
                <a:gd name="connsiteX1" fmla="*/ 609737 w 1735625"/>
                <a:gd name="connsiteY1" fmla="*/ 1422433 h 1519394"/>
                <a:gd name="connsiteX2" fmla="*/ 255140 w 1735625"/>
                <a:gd name="connsiteY2" fmla="*/ 820923 h 1519394"/>
                <a:gd name="connsiteX3" fmla="*/ 257264 w 1735625"/>
                <a:gd name="connsiteY3" fmla="*/ 805804 h 1519394"/>
                <a:gd name="connsiteX4" fmla="*/ 268705 w 1735625"/>
                <a:gd name="connsiteY4" fmla="*/ 806816 h 1519394"/>
                <a:gd name="connsiteX5" fmla="*/ 269758 w 1735625"/>
                <a:gd name="connsiteY5" fmla="*/ 808428 h 1519394"/>
                <a:gd name="connsiteX6" fmla="*/ 269758 w 1735625"/>
                <a:gd name="connsiteY6" fmla="*/ 809052 h 1519394"/>
                <a:gd name="connsiteX7" fmla="*/ 1735625 w 1735625"/>
                <a:gd name="connsiteY7" fmla="*/ 123951 h 1519394"/>
                <a:gd name="connsiteX8" fmla="*/ 1735625 w 1735625"/>
                <a:gd name="connsiteY8" fmla="*/ 123951 h 1519394"/>
                <a:gd name="connsiteX9" fmla="*/ 1718258 w 1735625"/>
                <a:gd name="connsiteY9" fmla="*/ 0 h 1519394"/>
                <a:gd name="connsiteX10" fmla="*/ 0 w 1735625"/>
                <a:gd name="connsiteY10" fmla="*/ 796433 h 1519394"/>
                <a:gd name="connsiteX11" fmla="*/ 3374 w 1735625"/>
                <a:gd name="connsiteY11" fmla="*/ 811177 h 151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625" h="1519394">
                  <a:moveTo>
                    <a:pt x="410698" y="1519394"/>
                  </a:moveTo>
                  <a:lnTo>
                    <a:pt x="609737" y="1422433"/>
                  </a:lnTo>
                  <a:lnTo>
                    <a:pt x="255140" y="820923"/>
                  </a:lnTo>
                  <a:cubicBezTo>
                    <a:pt x="252328" y="815987"/>
                    <a:pt x="253202" y="809777"/>
                    <a:pt x="257264" y="805804"/>
                  </a:cubicBezTo>
                  <a:cubicBezTo>
                    <a:pt x="260702" y="802917"/>
                    <a:pt x="265824" y="803380"/>
                    <a:pt x="268705" y="806816"/>
                  </a:cubicBezTo>
                  <a:cubicBezTo>
                    <a:pt x="269119" y="807303"/>
                    <a:pt x="269472" y="807853"/>
                    <a:pt x="269758" y="808428"/>
                  </a:cubicBezTo>
                  <a:lnTo>
                    <a:pt x="269758" y="809052"/>
                  </a:lnTo>
                  <a:lnTo>
                    <a:pt x="1735625" y="123951"/>
                  </a:lnTo>
                  <a:lnTo>
                    <a:pt x="1735625" y="123951"/>
                  </a:lnTo>
                  <a:lnTo>
                    <a:pt x="1718258" y="0"/>
                  </a:lnTo>
                  <a:lnTo>
                    <a:pt x="0" y="796433"/>
                  </a:lnTo>
                  <a:lnTo>
                    <a:pt x="3374" y="811177"/>
                  </a:lnTo>
                  <a:close/>
                </a:path>
              </a:pathLst>
            </a:custGeom>
            <a:solidFill>
              <a:schemeClr val="accent6"/>
            </a:solidFill>
            <a:ln w="12483" cap="flat">
              <a:noFill/>
              <a:prstDash val="solid"/>
              <a:miter/>
            </a:ln>
          </p:spPr>
          <p:txBody>
            <a:bodyPr rtlCol="0" anchor="ctr"/>
            <a:lstStyle/>
            <a:p>
              <a:endParaRPr lang="en-US"/>
            </a:p>
          </p:txBody>
        </p:sp>
        <p:sp>
          <p:nvSpPr>
            <p:cNvPr id="1096" name="Freeform: Shape 1095">
              <a:extLst>
                <a:ext uri="{FF2B5EF4-FFF2-40B4-BE49-F238E27FC236}">
                  <a16:creationId xmlns:a16="http://schemas.microsoft.com/office/drawing/2014/main" id="{4C0BD6CF-5399-4EE8-B8B0-C993E997EFF3}"/>
                </a:ext>
              </a:extLst>
            </p:cNvPr>
            <p:cNvSpPr/>
            <p:nvPr/>
          </p:nvSpPr>
          <p:spPr>
            <a:xfrm>
              <a:off x="5466418" y="3533723"/>
              <a:ext cx="694699" cy="2039561"/>
            </a:xfrm>
            <a:custGeom>
              <a:avLst/>
              <a:gdLst>
                <a:gd name="connsiteX0" fmla="*/ 402576 w 694699"/>
                <a:gd name="connsiteY0" fmla="*/ 699721 h 2039561"/>
                <a:gd name="connsiteX1" fmla="*/ 0 w 694699"/>
                <a:gd name="connsiteY1" fmla="*/ 0 h 2039561"/>
                <a:gd name="connsiteX2" fmla="*/ 309116 w 694699"/>
                <a:gd name="connsiteY2" fmla="*/ 1340466 h 2039561"/>
                <a:gd name="connsiteX3" fmla="*/ 694700 w 694699"/>
                <a:gd name="connsiteY3" fmla="*/ 2039562 h 2039561"/>
                <a:gd name="connsiteX4" fmla="*/ 608237 w 694699"/>
                <a:gd name="connsiteY4" fmla="*/ 1642845 h 2039561"/>
                <a:gd name="connsiteX5" fmla="*/ 402576 w 694699"/>
                <a:gd name="connsiteY5" fmla="*/ 699721 h 203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699" h="2039561">
                  <a:moveTo>
                    <a:pt x="402576" y="699721"/>
                  </a:moveTo>
                  <a:lnTo>
                    <a:pt x="0" y="0"/>
                  </a:lnTo>
                  <a:lnTo>
                    <a:pt x="309116" y="1340466"/>
                  </a:lnTo>
                  <a:lnTo>
                    <a:pt x="694700" y="2039562"/>
                  </a:lnTo>
                  <a:lnTo>
                    <a:pt x="608237" y="1642845"/>
                  </a:lnTo>
                  <a:lnTo>
                    <a:pt x="402576" y="699721"/>
                  </a:lnTo>
                  <a:close/>
                </a:path>
              </a:pathLst>
            </a:custGeom>
            <a:solidFill>
              <a:schemeClr val="accent2"/>
            </a:solidFill>
            <a:ln w="12483" cap="flat">
              <a:noFill/>
              <a:prstDash val="solid"/>
              <a:miter/>
            </a:ln>
          </p:spPr>
          <p:txBody>
            <a:bodyPr rtlCol="0" anchor="ctr"/>
            <a:lstStyle/>
            <a:p>
              <a:endParaRPr lang="en-US"/>
            </a:p>
          </p:txBody>
        </p:sp>
        <p:sp>
          <p:nvSpPr>
            <p:cNvPr id="1097" name="Freeform: Shape 1096">
              <a:extLst>
                <a:ext uri="{FF2B5EF4-FFF2-40B4-BE49-F238E27FC236}">
                  <a16:creationId xmlns:a16="http://schemas.microsoft.com/office/drawing/2014/main" id="{FF459CFA-8AA4-4B6A-8E26-BFC4059F2468}"/>
                </a:ext>
              </a:extLst>
            </p:cNvPr>
            <p:cNvSpPr/>
            <p:nvPr/>
          </p:nvSpPr>
          <p:spPr>
            <a:xfrm>
              <a:off x="10208994" y="480190"/>
              <a:ext cx="313364" cy="183801"/>
            </a:xfrm>
            <a:custGeom>
              <a:avLst/>
              <a:gdLst>
                <a:gd name="connsiteX0" fmla="*/ 313364 w 313364"/>
                <a:gd name="connsiteY0" fmla="*/ 79718 h 183801"/>
                <a:gd name="connsiteX1" fmla="*/ 232524 w 313364"/>
                <a:gd name="connsiteY1" fmla="*/ 0 h 183801"/>
                <a:gd name="connsiteX2" fmla="*/ 0 w 313364"/>
                <a:gd name="connsiteY2" fmla="*/ 102959 h 183801"/>
                <a:gd name="connsiteX3" fmla="*/ 80215 w 313364"/>
                <a:gd name="connsiteY3" fmla="*/ 183802 h 183801"/>
                <a:gd name="connsiteX4" fmla="*/ 313364 w 313364"/>
                <a:gd name="connsiteY4" fmla="*/ 79718 h 183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364" h="183801">
                  <a:moveTo>
                    <a:pt x="313364" y="79718"/>
                  </a:moveTo>
                  <a:lnTo>
                    <a:pt x="232524" y="0"/>
                  </a:lnTo>
                  <a:lnTo>
                    <a:pt x="0" y="102959"/>
                  </a:lnTo>
                  <a:lnTo>
                    <a:pt x="80215" y="183802"/>
                  </a:lnTo>
                  <a:lnTo>
                    <a:pt x="313364" y="79718"/>
                  </a:lnTo>
                  <a:close/>
                </a:path>
              </a:pathLst>
            </a:custGeom>
            <a:solidFill>
              <a:schemeClr val="accent6"/>
            </a:solidFill>
            <a:ln w="12483" cap="flat">
              <a:noFill/>
              <a:prstDash val="solid"/>
              <a:miter/>
            </a:ln>
          </p:spPr>
          <p:txBody>
            <a:bodyPr rtlCol="0" anchor="ctr"/>
            <a:lstStyle/>
            <a:p>
              <a:endParaRPr lang="en-US"/>
            </a:p>
          </p:txBody>
        </p:sp>
        <p:sp>
          <p:nvSpPr>
            <p:cNvPr id="1098" name="Freeform: Shape 1097">
              <a:extLst>
                <a:ext uri="{FF2B5EF4-FFF2-40B4-BE49-F238E27FC236}">
                  <a16:creationId xmlns:a16="http://schemas.microsoft.com/office/drawing/2014/main" id="{E3966D00-30BA-4109-A93D-76225EE485D5}"/>
                </a:ext>
              </a:extLst>
            </p:cNvPr>
            <p:cNvSpPr/>
            <p:nvPr/>
          </p:nvSpPr>
          <p:spPr>
            <a:xfrm>
              <a:off x="10532854" y="554661"/>
              <a:ext cx="1671528" cy="721587"/>
            </a:xfrm>
            <a:custGeom>
              <a:avLst/>
              <a:gdLst>
                <a:gd name="connsiteX0" fmla="*/ 1624 w 1671528"/>
                <a:gd name="connsiteY0" fmla="*/ 601385 h 721587"/>
                <a:gd name="connsiteX1" fmla="*/ 0 w 1671528"/>
                <a:gd name="connsiteY1" fmla="*/ 721587 h 721587"/>
                <a:gd name="connsiteX2" fmla="*/ 1255958 w 1671528"/>
                <a:gd name="connsiteY2" fmla="*/ 134321 h 721587"/>
                <a:gd name="connsiteX3" fmla="*/ 1256957 w 1671528"/>
                <a:gd name="connsiteY3" fmla="*/ 134321 h 721587"/>
                <a:gd name="connsiteX4" fmla="*/ 1256957 w 1671528"/>
                <a:gd name="connsiteY4" fmla="*/ 134321 h 721587"/>
                <a:gd name="connsiteX5" fmla="*/ 1256957 w 1671528"/>
                <a:gd name="connsiteY5" fmla="*/ 134321 h 721587"/>
                <a:gd name="connsiteX6" fmla="*/ 1671528 w 1671528"/>
                <a:gd name="connsiteY6" fmla="*/ 516044 h 721587"/>
                <a:gd name="connsiteX7" fmla="*/ 1671528 w 1671528"/>
                <a:gd name="connsiteY7" fmla="*/ 337365 h 721587"/>
                <a:gd name="connsiteX8" fmla="*/ 1299813 w 1671528"/>
                <a:gd name="connsiteY8" fmla="*/ 0 h 72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528" h="721587">
                  <a:moveTo>
                    <a:pt x="1624" y="601385"/>
                  </a:moveTo>
                  <a:lnTo>
                    <a:pt x="0" y="721587"/>
                  </a:lnTo>
                  <a:lnTo>
                    <a:pt x="1255958" y="134321"/>
                  </a:lnTo>
                  <a:lnTo>
                    <a:pt x="1256957" y="134321"/>
                  </a:lnTo>
                  <a:lnTo>
                    <a:pt x="1256957" y="134321"/>
                  </a:lnTo>
                  <a:lnTo>
                    <a:pt x="1256957" y="134321"/>
                  </a:lnTo>
                  <a:lnTo>
                    <a:pt x="1671528" y="516044"/>
                  </a:lnTo>
                  <a:lnTo>
                    <a:pt x="1671528" y="337365"/>
                  </a:lnTo>
                  <a:lnTo>
                    <a:pt x="1299813" y="0"/>
                  </a:lnTo>
                  <a:close/>
                </a:path>
              </a:pathLst>
            </a:custGeom>
            <a:solidFill>
              <a:schemeClr val="bg2"/>
            </a:solidFill>
            <a:ln w="12483" cap="flat">
              <a:noFill/>
              <a:prstDash val="solid"/>
              <a:miter/>
            </a:ln>
          </p:spPr>
          <p:txBody>
            <a:bodyPr rtlCol="0" anchor="ctr"/>
            <a:lstStyle/>
            <a:p>
              <a:endParaRPr lang="en-US"/>
            </a:p>
          </p:txBody>
        </p:sp>
        <p:sp>
          <p:nvSpPr>
            <p:cNvPr id="1099" name="Freeform: Shape 1098">
              <a:extLst>
                <a:ext uri="{FF2B5EF4-FFF2-40B4-BE49-F238E27FC236}">
                  <a16:creationId xmlns:a16="http://schemas.microsoft.com/office/drawing/2014/main" id="{83794186-1734-4D73-85FC-3F043920AE56}"/>
                </a:ext>
              </a:extLst>
            </p:cNvPr>
            <p:cNvSpPr/>
            <p:nvPr/>
          </p:nvSpPr>
          <p:spPr>
            <a:xfrm>
              <a:off x="7786041" y="1315232"/>
              <a:ext cx="2404960" cy="1238131"/>
            </a:xfrm>
            <a:custGeom>
              <a:avLst/>
              <a:gdLst>
                <a:gd name="connsiteX0" fmla="*/ 2404961 w 2404960"/>
                <a:gd name="connsiteY0" fmla="*/ 120702 h 1238131"/>
                <a:gd name="connsiteX1" fmla="*/ 2404961 w 2404960"/>
                <a:gd name="connsiteY1" fmla="*/ 118578 h 1238131"/>
                <a:gd name="connsiteX2" fmla="*/ 2404836 w 2404960"/>
                <a:gd name="connsiteY2" fmla="*/ 0 h 1238131"/>
                <a:gd name="connsiteX3" fmla="*/ 0 w 2404960"/>
                <a:gd name="connsiteY3" fmla="*/ 1114556 h 1238131"/>
                <a:gd name="connsiteX4" fmla="*/ 13869 w 2404960"/>
                <a:gd name="connsiteY4" fmla="*/ 1238131 h 1238131"/>
                <a:gd name="connsiteX5" fmla="*/ 2404961 w 2404960"/>
                <a:gd name="connsiteY5" fmla="*/ 120702 h 12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4960" h="1238131">
                  <a:moveTo>
                    <a:pt x="2404961" y="120702"/>
                  </a:moveTo>
                  <a:lnTo>
                    <a:pt x="2404961" y="118578"/>
                  </a:lnTo>
                  <a:lnTo>
                    <a:pt x="2404836" y="0"/>
                  </a:lnTo>
                  <a:lnTo>
                    <a:pt x="0" y="1114556"/>
                  </a:lnTo>
                  <a:lnTo>
                    <a:pt x="13869" y="1238131"/>
                  </a:lnTo>
                  <a:lnTo>
                    <a:pt x="2404961" y="120702"/>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100" name="Freeform: Shape 1099">
              <a:extLst>
                <a:ext uri="{FF2B5EF4-FFF2-40B4-BE49-F238E27FC236}">
                  <a16:creationId xmlns:a16="http://schemas.microsoft.com/office/drawing/2014/main" id="{C355CFD0-E02D-4198-B1B4-F8CF0717D483}"/>
                </a:ext>
              </a:extLst>
            </p:cNvPr>
            <p:cNvSpPr/>
            <p:nvPr/>
          </p:nvSpPr>
          <p:spPr>
            <a:xfrm>
              <a:off x="10527606" y="694605"/>
              <a:ext cx="1260330" cy="1523392"/>
            </a:xfrm>
            <a:custGeom>
              <a:avLst/>
              <a:gdLst>
                <a:gd name="connsiteX0" fmla="*/ 168052 w 1260330"/>
                <a:gd name="connsiteY0" fmla="*/ 1159413 h 1523392"/>
                <a:gd name="connsiteX1" fmla="*/ 168052 w 1260330"/>
                <a:gd name="connsiteY1" fmla="*/ 1159413 h 1523392"/>
                <a:gd name="connsiteX2" fmla="*/ 169177 w 1260330"/>
                <a:gd name="connsiteY2" fmla="*/ 1161162 h 1523392"/>
                <a:gd name="connsiteX3" fmla="*/ 170051 w 1260330"/>
                <a:gd name="connsiteY3" fmla="*/ 1162911 h 1523392"/>
                <a:gd name="connsiteX4" fmla="*/ 170051 w 1260330"/>
                <a:gd name="connsiteY4" fmla="*/ 1164536 h 1523392"/>
                <a:gd name="connsiteX5" fmla="*/ 170051 w 1260330"/>
                <a:gd name="connsiteY5" fmla="*/ 1167035 h 1523392"/>
                <a:gd name="connsiteX6" fmla="*/ 170051 w 1260330"/>
                <a:gd name="connsiteY6" fmla="*/ 1167035 h 1523392"/>
                <a:gd name="connsiteX7" fmla="*/ 166678 w 1260330"/>
                <a:gd name="connsiteY7" fmla="*/ 1327471 h 1523392"/>
                <a:gd name="connsiteX8" fmla="*/ 298246 w 1260330"/>
                <a:gd name="connsiteY8" fmla="*/ 1263871 h 1523392"/>
                <a:gd name="connsiteX9" fmla="*/ 299496 w 1260330"/>
                <a:gd name="connsiteY9" fmla="*/ 1263871 h 1523392"/>
                <a:gd name="connsiteX10" fmla="*/ 301370 w 1260330"/>
                <a:gd name="connsiteY10" fmla="*/ 1263871 h 1523392"/>
                <a:gd name="connsiteX11" fmla="*/ 303119 w 1260330"/>
                <a:gd name="connsiteY11" fmla="*/ 1263871 h 1523392"/>
                <a:gd name="connsiteX12" fmla="*/ 304743 w 1260330"/>
                <a:gd name="connsiteY12" fmla="*/ 1263871 h 1523392"/>
                <a:gd name="connsiteX13" fmla="*/ 306493 w 1260330"/>
                <a:gd name="connsiteY13" fmla="*/ 1264996 h 1523392"/>
                <a:gd name="connsiteX14" fmla="*/ 307492 w 1260330"/>
                <a:gd name="connsiteY14" fmla="*/ 1265745 h 1523392"/>
                <a:gd name="connsiteX15" fmla="*/ 516277 w 1260330"/>
                <a:gd name="connsiteY15" fmla="*/ 1486157 h 1523392"/>
                <a:gd name="connsiteX16" fmla="*/ 516277 w 1260330"/>
                <a:gd name="connsiteY16" fmla="*/ 1486157 h 1523392"/>
                <a:gd name="connsiteX17" fmla="*/ 517401 w 1260330"/>
                <a:gd name="connsiteY17" fmla="*/ 1487907 h 1523392"/>
                <a:gd name="connsiteX18" fmla="*/ 518276 w 1260330"/>
                <a:gd name="connsiteY18" fmla="*/ 1489656 h 1523392"/>
                <a:gd name="connsiteX19" fmla="*/ 518276 w 1260330"/>
                <a:gd name="connsiteY19" fmla="*/ 1491405 h 1523392"/>
                <a:gd name="connsiteX20" fmla="*/ 518276 w 1260330"/>
                <a:gd name="connsiteY20" fmla="*/ 1493779 h 1523392"/>
                <a:gd name="connsiteX21" fmla="*/ 518276 w 1260330"/>
                <a:gd name="connsiteY21" fmla="*/ 1493779 h 1523392"/>
                <a:gd name="connsiteX22" fmla="*/ 517151 w 1260330"/>
                <a:gd name="connsiteY22" fmla="*/ 1523393 h 1523392"/>
                <a:gd name="connsiteX23" fmla="*/ 710693 w 1260330"/>
                <a:gd name="connsiteY23" fmla="*/ 1426181 h 1523392"/>
                <a:gd name="connsiteX24" fmla="*/ 711942 w 1260330"/>
                <a:gd name="connsiteY24" fmla="*/ 1426181 h 1523392"/>
                <a:gd name="connsiteX25" fmla="*/ 713817 w 1260330"/>
                <a:gd name="connsiteY25" fmla="*/ 1426181 h 1523392"/>
                <a:gd name="connsiteX26" fmla="*/ 715566 w 1260330"/>
                <a:gd name="connsiteY26" fmla="*/ 1426181 h 1523392"/>
                <a:gd name="connsiteX27" fmla="*/ 717190 w 1260330"/>
                <a:gd name="connsiteY27" fmla="*/ 1426181 h 1523392"/>
                <a:gd name="connsiteX28" fmla="*/ 718814 w 1260330"/>
                <a:gd name="connsiteY28" fmla="*/ 1427306 h 1523392"/>
                <a:gd name="connsiteX29" fmla="*/ 719939 w 1260330"/>
                <a:gd name="connsiteY29" fmla="*/ 1428056 h 1523392"/>
                <a:gd name="connsiteX30" fmla="*/ 738806 w 1260330"/>
                <a:gd name="connsiteY30" fmla="*/ 1447798 h 1523392"/>
                <a:gd name="connsiteX31" fmla="*/ 752050 w 1260330"/>
                <a:gd name="connsiteY31" fmla="*/ 1441050 h 1523392"/>
                <a:gd name="connsiteX32" fmla="*/ 974204 w 1260330"/>
                <a:gd name="connsiteY32" fmla="*/ 1328595 h 1523392"/>
                <a:gd name="connsiteX33" fmla="*/ 975578 w 1260330"/>
                <a:gd name="connsiteY33" fmla="*/ 1328595 h 1523392"/>
                <a:gd name="connsiteX34" fmla="*/ 977328 w 1260330"/>
                <a:gd name="connsiteY34" fmla="*/ 1328595 h 1523392"/>
                <a:gd name="connsiteX35" fmla="*/ 979077 w 1260330"/>
                <a:gd name="connsiteY35" fmla="*/ 1328595 h 1523392"/>
                <a:gd name="connsiteX36" fmla="*/ 980701 w 1260330"/>
                <a:gd name="connsiteY36" fmla="*/ 1328595 h 1523392"/>
                <a:gd name="connsiteX37" fmla="*/ 982325 w 1260330"/>
                <a:gd name="connsiteY37" fmla="*/ 1329720 h 1523392"/>
                <a:gd name="connsiteX38" fmla="*/ 983450 w 1260330"/>
                <a:gd name="connsiteY38" fmla="*/ 1330470 h 1523392"/>
                <a:gd name="connsiteX39" fmla="*/ 1012563 w 1260330"/>
                <a:gd name="connsiteY39" fmla="*/ 1360083 h 1523392"/>
                <a:gd name="connsiteX40" fmla="*/ 1172119 w 1260330"/>
                <a:gd name="connsiteY40" fmla="*/ 1279615 h 1523392"/>
                <a:gd name="connsiteX41" fmla="*/ 1172119 w 1260330"/>
                <a:gd name="connsiteY41" fmla="*/ 1279615 h 1523392"/>
                <a:gd name="connsiteX42" fmla="*/ 1260330 w 1260330"/>
                <a:gd name="connsiteY42" fmla="*/ 0 h 1523392"/>
                <a:gd name="connsiteX43" fmla="*/ 5248 w 1260330"/>
                <a:gd name="connsiteY43" fmla="*/ 585766 h 1523392"/>
                <a:gd name="connsiteX44" fmla="*/ 5248 w 1260330"/>
                <a:gd name="connsiteY44" fmla="*/ 588141 h 1523392"/>
                <a:gd name="connsiteX45" fmla="*/ 0 w 1260330"/>
                <a:gd name="connsiteY45" fmla="*/ 981359 h 152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60330" h="1523392">
                  <a:moveTo>
                    <a:pt x="168052" y="1159413"/>
                  </a:moveTo>
                  <a:lnTo>
                    <a:pt x="168052" y="1159413"/>
                  </a:lnTo>
                  <a:lnTo>
                    <a:pt x="169177" y="1161162"/>
                  </a:lnTo>
                  <a:cubicBezTo>
                    <a:pt x="169177" y="1161162"/>
                    <a:pt x="169802" y="1162287"/>
                    <a:pt x="170051" y="1162911"/>
                  </a:cubicBezTo>
                  <a:lnTo>
                    <a:pt x="170051" y="1164536"/>
                  </a:lnTo>
                  <a:cubicBezTo>
                    <a:pt x="170114" y="1165373"/>
                    <a:pt x="170114" y="1166198"/>
                    <a:pt x="170051" y="1167035"/>
                  </a:cubicBezTo>
                  <a:lnTo>
                    <a:pt x="170051" y="1167035"/>
                  </a:lnTo>
                  <a:lnTo>
                    <a:pt x="166678" y="1327471"/>
                  </a:lnTo>
                  <a:lnTo>
                    <a:pt x="298246" y="1263871"/>
                  </a:lnTo>
                  <a:cubicBezTo>
                    <a:pt x="298246" y="1263871"/>
                    <a:pt x="299121" y="1263871"/>
                    <a:pt x="299496" y="1263871"/>
                  </a:cubicBezTo>
                  <a:cubicBezTo>
                    <a:pt x="300120" y="1263759"/>
                    <a:pt x="300745" y="1263759"/>
                    <a:pt x="301370" y="1263871"/>
                  </a:cubicBezTo>
                  <a:lnTo>
                    <a:pt x="303119" y="1263871"/>
                  </a:lnTo>
                  <a:lnTo>
                    <a:pt x="304743" y="1263871"/>
                  </a:lnTo>
                  <a:cubicBezTo>
                    <a:pt x="305368" y="1264171"/>
                    <a:pt x="305955" y="1264546"/>
                    <a:pt x="306493" y="1264996"/>
                  </a:cubicBezTo>
                  <a:cubicBezTo>
                    <a:pt x="306493" y="1264996"/>
                    <a:pt x="307242" y="1264996"/>
                    <a:pt x="307492" y="1265745"/>
                  </a:cubicBezTo>
                  <a:lnTo>
                    <a:pt x="516277" y="1486157"/>
                  </a:lnTo>
                  <a:lnTo>
                    <a:pt x="516277" y="1486157"/>
                  </a:lnTo>
                  <a:lnTo>
                    <a:pt x="517401" y="1487907"/>
                  </a:lnTo>
                  <a:cubicBezTo>
                    <a:pt x="517401" y="1487907"/>
                    <a:pt x="517401" y="1489031"/>
                    <a:pt x="518276" y="1489656"/>
                  </a:cubicBezTo>
                  <a:lnTo>
                    <a:pt x="518276" y="1491405"/>
                  </a:lnTo>
                  <a:cubicBezTo>
                    <a:pt x="518326" y="1492193"/>
                    <a:pt x="518326" y="1492992"/>
                    <a:pt x="518276" y="1493779"/>
                  </a:cubicBezTo>
                  <a:cubicBezTo>
                    <a:pt x="518276" y="1493779"/>
                    <a:pt x="518276" y="1493779"/>
                    <a:pt x="518276" y="1493779"/>
                  </a:cubicBezTo>
                  <a:lnTo>
                    <a:pt x="517151" y="1523393"/>
                  </a:lnTo>
                  <a:lnTo>
                    <a:pt x="710693" y="1426181"/>
                  </a:lnTo>
                  <a:cubicBezTo>
                    <a:pt x="711105" y="1426106"/>
                    <a:pt x="711530" y="1426106"/>
                    <a:pt x="711942" y="1426181"/>
                  </a:cubicBezTo>
                  <a:lnTo>
                    <a:pt x="713817" y="1426181"/>
                  </a:lnTo>
                  <a:lnTo>
                    <a:pt x="715566" y="1426181"/>
                  </a:lnTo>
                  <a:lnTo>
                    <a:pt x="717190" y="1426181"/>
                  </a:lnTo>
                  <a:cubicBezTo>
                    <a:pt x="717777" y="1426481"/>
                    <a:pt x="718327" y="1426856"/>
                    <a:pt x="718814" y="1427306"/>
                  </a:cubicBezTo>
                  <a:lnTo>
                    <a:pt x="719939" y="1428056"/>
                  </a:lnTo>
                  <a:lnTo>
                    <a:pt x="738806" y="1447798"/>
                  </a:lnTo>
                  <a:lnTo>
                    <a:pt x="752050" y="1441050"/>
                  </a:lnTo>
                  <a:lnTo>
                    <a:pt x="974204" y="1328595"/>
                  </a:lnTo>
                  <a:lnTo>
                    <a:pt x="975578" y="1328595"/>
                  </a:lnTo>
                  <a:lnTo>
                    <a:pt x="977328" y="1328595"/>
                  </a:lnTo>
                  <a:lnTo>
                    <a:pt x="979077" y="1328595"/>
                  </a:lnTo>
                  <a:lnTo>
                    <a:pt x="980701" y="1328595"/>
                  </a:lnTo>
                  <a:cubicBezTo>
                    <a:pt x="981288" y="1328895"/>
                    <a:pt x="981838" y="1329270"/>
                    <a:pt x="982325" y="1329720"/>
                  </a:cubicBezTo>
                  <a:cubicBezTo>
                    <a:pt x="982725" y="1329920"/>
                    <a:pt x="983100" y="1330182"/>
                    <a:pt x="983450" y="1330470"/>
                  </a:cubicBezTo>
                  <a:lnTo>
                    <a:pt x="1012563" y="1360083"/>
                  </a:lnTo>
                  <a:lnTo>
                    <a:pt x="1172119" y="1279615"/>
                  </a:lnTo>
                  <a:lnTo>
                    <a:pt x="1172119" y="1279615"/>
                  </a:lnTo>
                  <a:lnTo>
                    <a:pt x="1260330" y="0"/>
                  </a:lnTo>
                  <a:lnTo>
                    <a:pt x="5248" y="585766"/>
                  </a:lnTo>
                  <a:lnTo>
                    <a:pt x="5248" y="588141"/>
                  </a:lnTo>
                  <a:lnTo>
                    <a:pt x="0" y="981359"/>
                  </a:lnTo>
                  <a:close/>
                </a:path>
              </a:pathLst>
            </a:custGeom>
            <a:solidFill>
              <a:schemeClr val="accent4"/>
            </a:solidFill>
            <a:ln w="12483" cap="flat">
              <a:noFill/>
              <a:prstDash val="solid"/>
              <a:miter/>
            </a:ln>
          </p:spPr>
          <p:txBody>
            <a:bodyPr rtlCol="0" anchor="ctr"/>
            <a:lstStyle/>
            <a:p>
              <a:endParaRPr lang="en-US"/>
            </a:p>
          </p:txBody>
        </p:sp>
        <p:sp>
          <p:nvSpPr>
            <p:cNvPr id="1101" name="Freeform: Shape 1100">
              <a:extLst>
                <a:ext uri="{FF2B5EF4-FFF2-40B4-BE49-F238E27FC236}">
                  <a16:creationId xmlns:a16="http://schemas.microsoft.com/office/drawing/2014/main" id="{E0ED108E-ED4F-449B-9709-BBD50D7DD8C8}"/>
                </a:ext>
              </a:extLst>
            </p:cNvPr>
            <p:cNvSpPr/>
            <p:nvPr/>
          </p:nvSpPr>
          <p:spPr>
            <a:xfrm>
              <a:off x="11501311" y="2047440"/>
              <a:ext cx="21740" cy="20117"/>
            </a:xfrm>
            <a:custGeom>
              <a:avLst/>
              <a:gdLst>
                <a:gd name="connsiteX0" fmla="*/ 21740 w 21740"/>
                <a:gd name="connsiteY0" fmla="*/ 18118 h 20117"/>
                <a:gd name="connsiteX1" fmla="*/ 3873 w 21740"/>
                <a:gd name="connsiteY1" fmla="*/ 0 h 20117"/>
                <a:gd name="connsiteX2" fmla="*/ 0 w 21740"/>
                <a:gd name="connsiteY2" fmla="*/ 1874 h 20117"/>
                <a:gd name="connsiteX3" fmla="*/ 17867 w 21740"/>
                <a:gd name="connsiteY3" fmla="*/ 20117 h 20117"/>
                <a:gd name="connsiteX4" fmla="*/ 21740 w 21740"/>
                <a:gd name="connsiteY4" fmla="*/ 18118 h 20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0" h="20117">
                  <a:moveTo>
                    <a:pt x="21740" y="18118"/>
                  </a:moveTo>
                  <a:lnTo>
                    <a:pt x="3873" y="0"/>
                  </a:lnTo>
                  <a:lnTo>
                    <a:pt x="0" y="1874"/>
                  </a:lnTo>
                  <a:lnTo>
                    <a:pt x="17867" y="20117"/>
                  </a:lnTo>
                  <a:lnTo>
                    <a:pt x="21740" y="18118"/>
                  </a:lnTo>
                  <a:close/>
                </a:path>
              </a:pathLst>
            </a:custGeom>
            <a:solidFill>
              <a:srgbClr val="0A4054"/>
            </a:solidFill>
            <a:ln w="12483" cap="flat">
              <a:noFill/>
              <a:prstDash val="solid"/>
              <a:miter/>
            </a:ln>
          </p:spPr>
          <p:txBody>
            <a:bodyPr rtlCol="0" anchor="ctr"/>
            <a:lstStyle/>
            <a:p>
              <a:endParaRPr lang="en-US"/>
            </a:p>
          </p:txBody>
        </p:sp>
        <p:sp>
          <p:nvSpPr>
            <p:cNvPr id="1102" name="Freeform: Shape 1101">
              <a:extLst>
                <a:ext uri="{FF2B5EF4-FFF2-40B4-BE49-F238E27FC236}">
                  <a16:creationId xmlns:a16="http://schemas.microsoft.com/office/drawing/2014/main" id="{43A76041-39BB-47A6-84C3-F4C8FB256484}"/>
                </a:ext>
              </a:extLst>
            </p:cNvPr>
            <p:cNvSpPr/>
            <p:nvPr/>
          </p:nvSpPr>
          <p:spPr>
            <a:xfrm>
              <a:off x="11041384" y="2069432"/>
              <a:ext cx="459176" cy="252774"/>
            </a:xfrm>
            <a:custGeom>
              <a:avLst/>
              <a:gdLst>
                <a:gd name="connsiteX0" fmla="*/ 327608 w 459176"/>
                <a:gd name="connsiteY0" fmla="*/ 79093 h 252774"/>
                <a:gd name="connsiteX1" fmla="*/ 327608 w 459176"/>
                <a:gd name="connsiteY1" fmla="*/ 76969 h 252774"/>
                <a:gd name="connsiteX2" fmla="*/ 328608 w 459176"/>
                <a:gd name="connsiteY2" fmla="*/ 75220 h 252774"/>
                <a:gd name="connsiteX3" fmla="*/ 329608 w 459176"/>
                <a:gd name="connsiteY3" fmla="*/ 73596 h 252774"/>
                <a:gd name="connsiteX4" fmla="*/ 331232 w 459176"/>
                <a:gd name="connsiteY4" fmla="*/ 72221 h 252774"/>
                <a:gd name="connsiteX5" fmla="*/ 332356 w 459176"/>
                <a:gd name="connsiteY5" fmla="*/ 71347 h 252774"/>
                <a:gd name="connsiteX6" fmla="*/ 459177 w 459176"/>
                <a:gd name="connsiteY6" fmla="*/ 7497 h 252774"/>
                <a:gd name="connsiteX7" fmla="*/ 451805 w 459176"/>
                <a:gd name="connsiteY7" fmla="*/ 0 h 252774"/>
                <a:gd name="connsiteX8" fmla="*/ 257139 w 459176"/>
                <a:gd name="connsiteY8" fmla="*/ 98211 h 252774"/>
                <a:gd name="connsiteX9" fmla="*/ 245894 w 459176"/>
                <a:gd name="connsiteY9" fmla="*/ 103834 h 252774"/>
                <a:gd name="connsiteX10" fmla="*/ 0 w 459176"/>
                <a:gd name="connsiteY10" fmla="*/ 227784 h 252774"/>
                <a:gd name="connsiteX11" fmla="*/ 23365 w 459176"/>
                <a:gd name="connsiteY11" fmla="*/ 252774 h 252774"/>
                <a:gd name="connsiteX12" fmla="*/ 25739 w 459176"/>
                <a:gd name="connsiteY12" fmla="*/ 251525 h 252774"/>
                <a:gd name="connsiteX13" fmla="*/ 326359 w 459176"/>
                <a:gd name="connsiteY13" fmla="*/ 99585 h 252774"/>
                <a:gd name="connsiteX14" fmla="*/ 327359 w 459176"/>
                <a:gd name="connsiteY14" fmla="*/ 80843 h 252774"/>
                <a:gd name="connsiteX15" fmla="*/ 327608 w 459176"/>
                <a:gd name="connsiteY15" fmla="*/ 79093 h 25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9176" h="252774">
                  <a:moveTo>
                    <a:pt x="327608" y="79093"/>
                  </a:moveTo>
                  <a:cubicBezTo>
                    <a:pt x="327533" y="78381"/>
                    <a:pt x="327533" y="77681"/>
                    <a:pt x="327608" y="76969"/>
                  </a:cubicBezTo>
                  <a:cubicBezTo>
                    <a:pt x="327833" y="76332"/>
                    <a:pt x="328171" y="75745"/>
                    <a:pt x="328608" y="75220"/>
                  </a:cubicBezTo>
                  <a:cubicBezTo>
                    <a:pt x="328871" y="74633"/>
                    <a:pt x="329208" y="74096"/>
                    <a:pt x="329608" y="73596"/>
                  </a:cubicBezTo>
                  <a:cubicBezTo>
                    <a:pt x="330095" y="73071"/>
                    <a:pt x="330632" y="72609"/>
                    <a:pt x="331232" y="72221"/>
                  </a:cubicBezTo>
                  <a:cubicBezTo>
                    <a:pt x="331582" y="71896"/>
                    <a:pt x="331956" y="71609"/>
                    <a:pt x="332356" y="71347"/>
                  </a:cubicBezTo>
                  <a:lnTo>
                    <a:pt x="459177" y="7497"/>
                  </a:lnTo>
                  <a:lnTo>
                    <a:pt x="451805" y="0"/>
                  </a:lnTo>
                  <a:lnTo>
                    <a:pt x="257139" y="98211"/>
                  </a:lnTo>
                  <a:lnTo>
                    <a:pt x="245894" y="103834"/>
                  </a:lnTo>
                  <a:lnTo>
                    <a:pt x="0" y="227784"/>
                  </a:lnTo>
                  <a:lnTo>
                    <a:pt x="23365" y="252774"/>
                  </a:lnTo>
                  <a:lnTo>
                    <a:pt x="25739" y="251525"/>
                  </a:lnTo>
                  <a:lnTo>
                    <a:pt x="326359" y="99585"/>
                  </a:lnTo>
                  <a:lnTo>
                    <a:pt x="327359" y="80843"/>
                  </a:lnTo>
                  <a:cubicBezTo>
                    <a:pt x="327359" y="80093"/>
                    <a:pt x="327608" y="79718"/>
                    <a:pt x="327608" y="79093"/>
                  </a:cubicBezTo>
                  <a:close/>
                </a:path>
              </a:pathLst>
            </a:custGeom>
            <a:solidFill>
              <a:schemeClr val="accent1"/>
            </a:solidFill>
            <a:ln w="12483" cap="flat">
              <a:noFill/>
              <a:prstDash val="solid"/>
              <a:miter/>
            </a:ln>
          </p:spPr>
          <p:txBody>
            <a:bodyPr rtlCol="0" anchor="ctr"/>
            <a:lstStyle/>
            <a:p>
              <a:endParaRPr lang="en-US"/>
            </a:p>
          </p:txBody>
        </p:sp>
        <p:sp>
          <p:nvSpPr>
            <p:cNvPr id="1103" name="Freeform: Shape 1102">
              <a:extLst>
                <a:ext uri="{FF2B5EF4-FFF2-40B4-BE49-F238E27FC236}">
                  <a16:creationId xmlns:a16="http://schemas.microsoft.com/office/drawing/2014/main" id="{C41EB445-BD87-438F-9EEF-57E83408F144}"/>
                </a:ext>
              </a:extLst>
            </p:cNvPr>
            <p:cNvSpPr/>
            <p:nvPr/>
          </p:nvSpPr>
          <p:spPr>
            <a:xfrm>
              <a:off x="11039510" y="2301714"/>
              <a:ext cx="21990" cy="33111"/>
            </a:xfrm>
            <a:custGeom>
              <a:avLst/>
              <a:gdLst>
                <a:gd name="connsiteX0" fmla="*/ 0 w 21990"/>
                <a:gd name="connsiteY0" fmla="*/ 33112 h 33111"/>
                <a:gd name="connsiteX1" fmla="*/ 21990 w 21990"/>
                <a:gd name="connsiteY1" fmla="*/ 21991 h 33111"/>
                <a:gd name="connsiteX2" fmla="*/ 1250 w 21990"/>
                <a:gd name="connsiteY2" fmla="*/ 0 h 33111"/>
                <a:gd name="connsiteX3" fmla="*/ 0 w 21990"/>
                <a:gd name="connsiteY3" fmla="*/ 33112 h 33111"/>
              </a:gdLst>
              <a:ahLst/>
              <a:cxnLst>
                <a:cxn ang="0">
                  <a:pos x="connsiteX0" y="connsiteY0"/>
                </a:cxn>
                <a:cxn ang="0">
                  <a:pos x="connsiteX1" y="connsiteY1"/>
                </a:cxn>
                <a:cxn ang="0">
                  <a:pos x="connsiteX2" y="connsiteY2"/>
                </a:cxn>
                <a:cxn ang="0">
                  <a:pos x="connsiteX3" y="connsiteY3"/>
                </a:cxn>
              </a:cxnLst>
              <a:rect l="l" t="t" r="r" b="b"/>
              <a:pathLst>
                <a:path w="21990" h="33111">
                  <a:moveTo>
                    <a:pt x="0" y="33112"/>
                  </a:moveTo>
                  <a:lnTo>
                    <a:pt x="21990" y="21991"/>
                  </a:lnTo>
                  <a:lnTo>
                    <a:pt x="1250" y="0"/>
                  </a:lnTo>
                  <a:lnTo>
                    <a:pt x="0" y="33112"/>
                  </a:lnTo>
                  <a:close/>
                </a:path>
              </a:pathLst>
            </a:custGeom>
            <a:solidFill>
              <a:schemeClr val="accent5">
                <a:lumMod val="75000"/>
              </a:schemeClr>
            </a:solidFill>
            <a:ln w="12483" cap="flat">
              <a:noFill/>
              <a:prstDash val="solid"/>
              <a:miter/>
            </a:ln>
          </p:spPr>
          <p:txBody>
            <a:bodyPr rtlCol="0" anchor="ctr"/>
            <a:lstStyle/>
            <a:p>
              <a:endParaRPr lang="en-US"/>
            </a:p>
          </p:txBody>
        </p:sp>
        <p:sp>
          <p:nvSpPr>
            <p:cNvPr id="1104" name="Freeform: Shape 1103">
              <a:extLst>
                <a:ext uri="{FF2B5EF4-FFF2-40B4-BE49-F238E27FC236}">
                  <a16:creationId xmlns:a16="http://schemas.microsoft.com/office/drawing/2014/main" id="{E9015086-45F4-42BA-9431-AE4244760DBD}"/>
                </a:ext>
              </a:extLst>
            </p:cNvPr>
            <p:cNvSpPr/>
            <p:nvPr/>
          </p:nvSpPr>
          <p:spPr>
            <a:xfrm>
              <a:off x="10709028" y="2195631"/>
              <a:ext cx="319237" cy="616129"/>
            </a:xfrm>
            <a:custGeom>
              <a:avLst/>
              <a:gdLst>
                <a:gd name="connsiteX0" fmla="*/ 314489 w 319237"/>
                <a:gd name="connsiteY0" fmla="*/ 92338 h 616129"/>
                <a:gd name="connsiteX1" fmla="*/ 314489 w 319237"/>
                <a:gd name="connsiteY1" fmla="*/ 89964 h 616129"/>
                <a:gd name="connsiteX2" fmla="*/ 315489 w 319237"/>
                <a:gd name="connsiteY2" fmla="*/ 88215 h 616129"/>
                <a:gd name="connsiteX3" fmla="*/ 316363 w 319237"/>
                <a:gd name="connsiteY3" fmla="*/ 86715 h 616129"/>
                <a:gd name="connsiteX4" fmla="*/ 316363 w 319237"/>
                <a:gd name="connsiteY4" fmla="*/ 76095 h 616129"/>
                <a:gd name="connsiteX5" fmla="*/ 317738 w 319237"/>
                <a:gd name="connsiteY5" fmla="*/ 39484 h 616129"/>
                <a:gd name="connsiteX6" fmla="*/ 319237 w 319237"/>
                <a:gd name="connsiteY6" fmla="*/ 0 h 616129"/>
                <a:gd name="connsiteX7" fmla="*/ 10620 w 319237"/>
                <a:gd name="connsiteY7" fmla="*/ 154688 h 616129"/>
                <a:gd name="connsiteX8" fmla="*/ 0 w 319237"/>
                <a:gd name="connsiteY8" fmla="*/ 616129 h 616129"/>
                <a:gd name="connsiteX9" fmla="*/ 209160 w 319237"/>
                <a:gd name="connsiteY9" fmla="*/ 508547 h 616129"/>
                <a:gd name="connsiteX10" fmla="*/ 209160 w 319237"/>
                <a:gd name="connsiteY10" fmla="*/ 505548 h 616129"/>
                <a:gd name="connsiteX11" fmla="*/ 219280 w 319237"/>
                <a:gd name="connsiteY11" fmla="*/ 202169 h 616129"/>
                <a:gd name="connsiteX12" fmla="*/ 219280 w 319237"/>
                <a:gd name="connsiteY12" fmla="*/ 202169 h 616129"/>
                <a:gd name="connsiteX13" fmla="*/ 219280 w 319237"/>
                <a:gd name="connsiteY13" fmla="*/ 202169 h 616129"/>
                <a:gd name="connsiteX14" fmla="*/ 219280 w 319237"/>
                <a:gd name="connsiteY14" fmla="*/ 200795 h 616129"/>
                <a:gd name="connsiteX15" fmla="*/ 219280 w 319237"/>
                <a:gd name="connsiteY15" fmla="*/ 198296 h 616129"/>
                <a:gd name="connsiteX16" fmla="*/ 220280 w 319237"/>
                <a:gd name="connsiteY16" fmla="*/ 196547 h 616129"/>
                <a:gd name="connsiteX17" fmla="*/ 221279 w 319237"/>
                <a:gd name="connsiteY17" fmla="*/ 194922 h 616129"/>
                <a:gd name="connsiteX18" fmla="*/ 223029 w 319237"/>
                <a:gd name="connsiteY18" fmla="*/ 193423 h 616129"/>
                <a:gd name="connsiteX19" fmla="*/ 224028 w 319237"/>
                <a:gd name="connsiteY19" fmla="*/ 192673 h 616129"/>
                <a:gd name="connsiteX20" fmla="*/ 224028 w 319237"/>
                <a:gd name="connsiteY20" fmla="*/ 192673 h 616129"/>
                <a:gd name="connsiteX21" fmla="*/ 224028 w 319237"/>
                <a:gd name="connsiteY21" fmla="*/ 192673 h 616129"/>
                <a:gd name="connsiteX22" fmla="*/ 310241 w 319237"/>
                <a:gd name="connsiteY22" fmla="*/ 149191 h 616129"/>
                <a:gd name="connsiteX23" fmla="*/ 312240 w 319237"/>
                <a:gd name="connsiteY23" fmla="*/ 94587 h 616129"/>
                <a:gd name="connsiteX24" fmla="*/ 314489 w 319237"/>
                <a:gd name="connsiteY24" fmla="*/ 92338 h 61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237" h="616129">
                  <a:moveTo>
                    <a:pt x="314489" y="92338"/>
                  </a:moveTo>
                  <a:cubicBezTo>
                    <a:pt x="314427" y="91551"/>
                    <a:pt x="314427" y="90751"/>
                    <a:pt x="314489" y="89964"/>
                  </a:cubicBezTo>
                  <a:cubicBezTo>
                    <a:pt x="314776" y="89352"/>
                    <a:pt x="315114" y="88764"/>
                    <a:pt x="315489" y="88215"/>
                  </a:cubicBezTo>
                  <a:cubicBezTo>
                    <a:pt x="315489" y="88215"/>
                    <a:pt x="315489" y="87215"/>
                    <a:pt x="316363" y="86715"/>
                  </a:cubicBezTo>
                  <a:lnTo>
                    <a:pt x="316363" y="76095"/>
                  </a:lnTo>
                  <a:lnTo>
                    <a:pt x="317738" y="39484"/>
                  </a:lnTo>
                  <a:lnTo>
                    <a:pt x="319237" y="0"/>
                  </a:lnTo>
                  <a:lnTo>
                    <a:pt x="10620" y="154688"/>
                  </a:lnTo>
                  <a:lnTo>
                    <a:pt x="0" y="616129"/>
                  </a:lnTo>
                  <a:lnTo>
                    <a:pt x="209160" y="508547"/>
                  </a:lnTo>
                  <a:lnTo>
                    <a:pt x="209160" y="505548"/>
                  </a:lnTo>
                  <a:lnTo>
                    <a:pt x="219280" y="202169"/>
                  </a:lnTo>
                  <a:lnTo>
                    <a:pt x="219280" y="202169"/>
                  </a:lnTo>
                  <a:lnTo>
                    <a:pt x="219280" y="202169"/>
                  </a:lnTo>
                  <a:cubicBezTo>
                    <a:pt x="219218" y="201707"/>
                    <a:pt x="219218" y="201257"/>
                    <a:pt x="219280" y="200795"/>
                  </a:cubicBezTo>
                  <a:cubicBezTo>
                    <a:pt x="219205" y="199958"/>
                    <a:pt x="219205" y="199133"/>
                    <a:pt x="219280" y="198296"/>
                  </a:cubicBezTo>
                  <a:cubicBezTo>
                    <a:pt x="219568" y="197684"/>
                    <a:pt x="219905" y="197096"/>
                    <a:pt x="220280" y="196547"/>
                  </a:cubicBezTo>
                  <a:cubicBezTo>
                    <a:pt x="220517" y="195959"/>
                    <a:pt x="220855" y="195409"/>
                    <a:pt x="221279" y="194922"/>
                  </a:cubicBezTo>
                  <a:cubicBezTo>
                    <a:pt x="221804" y="194360"/>
                    <a:pt x="222392" y="193860"/>
                    <a:pt x="223029" y="193423"/>
                  </a:cubicBezTo>
                  <a:cubicBezTo>
                    <a:pt x="223029" y="193423"/>
                    <a:pt x="223653" y="193423"/>
                    <a:pt x="224028" y="192673"/>
                  </a:cubicBezTo>
                  <a:lnTo>
                    <a:pt x="224028" y="192673"/>
                  </a:lnTo>
                  <a:lnTo>
                    <a:pt x="224028" y="192673"/>
                  </a:lnTo>
                  <a:lnTo>
                    <a:pt x="310241" y="149191"/>
                  </a:lnTo>
                  <a:lnTo>
                    <a:pt x="312240" y="94587"/>
                  </a:lnTo>
                  <a:cubicBezTo>
                    <a:pt x="312240" y="94587"/>
                    <a:pt x="314489" y="92963"/>
                    <a:pt x="314489" y="92338"/>
                  </a:cubicBezTo>
                  <a:close/>
                </a:path>
              </a:pathLst>
            </a:custGeom>
            <a:solidFill>
              <a:schemeClr val="accent5"/>
            </a:solidFill>
            <a:ln w="12483" cap="flat">
              <a:noFill/>
              <a:prstDash val="solid"/>
              <a:miter/>
            </a:ln>
          </p:spPr>
          <p:txBody>
            <a:bodyPr rtlCol="0" anchor="ctr"/>
            <a:lstStyle/>
            <a:p>
              <a:endParaRPr lang="en-US"/>
            </a:p>
          </p:txBody>
        </p:sp>
        <p:sp>
          <p:nvSpPr>
            <p:cNvPr id="1105" name="Freeform: Shape 1104">
              <a:extLst>
                <a:ext uri="{FF2B5EF4-FFF2-40B4-BE49-F238E27FC236}">
                  <a16:creationId xmlns:a16="http://schemas.microsoft.com/office/drawing/2014/main" id="{4D5BCD69-882F-4DAD-AC1B-70F633DF5FC4}"/>
                </a:ext>
              </a:extLst>
            </p:cNvPr>
            <p:cNvSpPr/>
            <p:nvPr/>
          </p:nvSpPr>
          <p:spPr>
            <a:xfrm>
              <a:off x="10712152" y="2708677"/>
              <a:ext cx="289500" cy="420707"/>
            </a:xfrm>
            <a:custGeom>
              <a:avLst/>
              <a:gdLst>
                <a:gd name="connsiteX0" fmla="*/ 289500 w 289500"/>
                <a:gd name="connsiteY0" fmla="*/ 160061 h 420707"/>
                <a:gd name="connsiteX1" fmla="*/ 207660 w 289500"/>
                <a:gd name="connsiteY1" fmla="*/ 70097 h 420707"/>
                <a:gd name="connsiteX2" fmla="*/ 207660 w 289500"/>
                <a:gd name="connsiteY2" fmla="*/ 70097 h 420707"/>
                <a:gd name="connsiteX3" fmla="*/ 206536 w 289500"/>
                <a:gd name="connsiteY3" fmla="*/ 68223 h 420707"/>
                <a:gd name="connsiteX4" fmla="*/ 205786 w 289500"/>
                <a:gd name="connsiteY4" fmla="*/ 66598 h 420707"/>
                <a:gd name="connsiteX5" fmla="*/ 205786 w 289500"/>
                <a:gd name="connsiteY5" fmla="*/ 64724 h 420707"/>
                <a:gd name="connsiteX6" fmla="*/ 205786 w 289500"/>
                <a:gd name="connsiteY6" fmla="*/ 62475 h 420707"/>
                <a:gd name="connsiteX7" fmla="*/ 205786 w 289500"/>
                <a:gd name="connsiteY7" fmla="*/ 62475 h 420707"/>
                <a:gd name="connsiteX8" fmla="*/ 207785 w 289500"/>
                <a:gd name="connsiteY8" fmla="*/ 0 h 420707"/>
                <a:gd name="connsiteX9" fmla="*/ 0 w 289500"/>
                <a:gd name="connsiteY9" fmla="*/ 106957 h 420707"/>
                <a:gd name="connsiteX10" fmla="*/ 280754 w 289500"/>
                <a:gd name="connsiteY10" fmla="*/ 420707 h 42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500" h="420707">
                  <a:moveTo>
                    <a:pt x="289500" y="160061"/>
                  </a:moveTo>
                  <a:lnTo>
                    <a:pt x="207660" y="70097"/>
                  </a:lnTo>
                  <a:lnTo>
                    <a:pt x="207660" y="70097"/>
                  </a:lnTo>
                  <a:lnTo>
                    <a:pt x="206536" y="68223"/>
                  </a:lnTo>
                  <a:cubicBezTo>
                    <a:pt x="206261" y="67698"/>
                    <a:pt x="206011" y="67148"/>
                    <a:pt x="205786" y="66598"/>
                  </a:cubicBezTo>
                  <a:cubicBezTo>
                    <a:pt x="205674" y="65974"/>
                    <a:pt x="205674" y="65349"/>
                    <a:pt x="205786" y="64724"/>
                  </a:cubicBezTo>
                  <a:cubicBezTo>
                    <a:pt x="205661" y="63974"/>
                    <a:pt x="205661" y="63225"/>
                    <a:pt x="205786" y="62475"/>
                  </a:cubicBezTo>
                  <a:lnTo>
                    <a:pt x="205786" y="62475"/>
                  </a:lnTo>
                  <a:lnTo>
                    <a:pt x="207785" y="0"/>
                  </a:lnTo>
                  <a:lnTo>
                    <a:pt x="0" y="106957"/>
                  </a:lnTo>
                  <a:lnTo>
                    <a:pt x="280754" y="420707"/>
                  </a:lnTo>
                  <a:close/>
                </a:path>
              </a:pathLst>
            </a:custGeom>
            <a:solidFill>
              <a:schemeClr val="accent1"/>
            </a:solidFill>
            <a:ln w="12483" cap="flat">
              <a:noFill/>
              <a:prstDash val="solid"/>
              <a:miter/>
            </a:ln>
          </p:spPr>
          <p:txBody>
            <a:bodyPr rtlCol="0" anchor="ctr"/>
            <a:lstStyle/>
            <a:p>
              <a:endParaRPr lang="en-US"/>
            </a:p>
          </p:txBody>
        </p:sp>
        <p:sp>
          <p:nvSpPr>
            <p:cNvPr id="1106" name="Freeform: Shape 1105">
              <a:extLst>
                <a:ext uri="{FF2B5EF4-FFF2-40B4-BE49-F238E27FC236}">
                  <a16:creationId xmlns:a16="http://schemas.microsoft.com/office/drawing/2014/main" id="{A2CC98D1-5523-4B13-B5EB-6FBD26B28E11}"/>
                </a:ext>
              </a:extLst>
            </p:cNvPr>
            <p:cNvSpPr/>
            <p:nvPr/>
          </p:nvSpPr>
          <p:spPr>
            <a:xfrm>
              <a:off x="10452139" y="1981092"/>
              <a:ext cx="576001" cy="480933"/>
            </a:xfrm>
            <a:custGeom>
              <a:avLst/>
              <a:gdLst>
                <a:gd name="connsiteX0" fmla="*/ 227901 w 576001"/>
                <a:gd name="connsiteY0" fmla="*/ 336616 h 480933"/>
                <a:gd name="connsiteX1" fmla="*/ 219905 w 576001"/>
                <a:gd name="connsiteY1" fmla="*/ 329868 h 480933"/>
                <a:gd name="connsiteX2" fmla="*/ 0 w 576001"/>
                <a:gd name="connsiteY2" fmla="*/ 439575 h 480933"/>
                <a:gd name="connsiteX3" fmla="*/ 37484 w 576001"/>
                <a:gd name="connsiteY3" fmla="*/ 480933 h 480933"/>
                <a:gd name="connsiteX4" fmla="*/ 266635 w 576001"/>
                <a:gd name="connsiteY4" fmla="*/ 366104 h 480933"/>
                <a:gd name="connsiteX5" fmla="*/ 576001 w 576001"/>
                <a:gd name="connsiteY5" fmla="*/ 211041 h 480933"/>
                <a:gd name="connsiteX6" fmla="*/ 376088 w 576001"/>
                <a:gd name="connsiteY6" fmla="*/ 0 h 480933"/>
                <a:gd name="connsiteX7" fmla="*/ 243020 w 576001"/>
                <a:gd name="connsiteY7" fmla="*/ 65349 h 480933"/>
                <a:gd name="connsiteX8" fmla="*/ 237522 w 576001"/>
                <a:gd name="connsiteY8" fmla="*/ 325995 h 480933"/>
                <a:gd name="connsiteX9" fmla="*/ 228176 w 576001"/>
                <a:gd name="connsiteY9" fmla="*/ 336603 h 480933"/>
                <a:gd name="connsiteX10" fmla="*/ 227901 w 576001"/>
                <a:gd name="connsiteY10" fmla="*/ 336616 h 48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001" h="480933">
                  <a:moveTo>
                    <a:pt x="227901" y="336616"/>
                  </a:moveTo>
                  <a:cubicBezTo>
                    <a:pt x="224078" y="336266"/>
                    <a:pt x="220892" y="333579"/>
                    <a:pt x="219905" y="329868"/>
                  </a:cubicBezTo>
                  <a:lnTo>
                    <a:pt x="0" y="439575"/>
                  </a:lnTo>
                  <a:lnTo>
                    <a:pt x="37484" y="480933"/>
                  </a:lnTo>
                  <a:lnTo>
                    <a:pt x="266635" y="366104"/>
                  </a:lnTo>
                  <a:lnTo>
                    <a:pt x="576001" y="211041"/>
                  </a:lnTo>
                  <a:lnTo>
                    <a:pt x="376088" y="0"/>
                  </a:lnTo>
                  <a:lnTo>
                    <a:pt x="243020" y="65349"/>
                  </a:lnTo>
                  <a:lnTo>
                    <a:pt x="237522" y="325995"/>
                  </a:lnTo>
                  <a:cubicBezTo>
                    <a:pt x="237872" y="331505"/>
                    <a:pt x="233687" y="336253"/>
                    <a:pt x="228176" y="336603"/>
                  </a:cubicBezTo>
                  <a:cubicBezTo>
                    <a:pt x="228089" y="336603"/>
                    <a:pt x="227989" y="336616"/>
                    <a:pt x="227901" y="336616"/>
                  </a:cubicBezTo>
                  <a:close/>
                </a:path>
              </a:pathLst>
            </a:custGeom>
            <a:solidFill>
              <a:schemeClr val="accent6"/>
            </a:solidFill>
            <a:ln w="12483" cap="flat">
              <a:noFill/>
              <a:prstDash val="solid"/>
              <a:miter/>
            </a:ln>
          </p:spPr>
          <p:txBody>
            <a:bodyPr rtlCol="0" anchor="ctr"/>
            <a:lstStyle/>
            <a:p>
              <a:endParaRPr lang="en-US"/>
            </a:p>
          </p:txBody>
        </p:sp>
        <p:sp>
          <p:nvSpPr>
            <p:cNvPr id="1107" name="Freeform: Shape 1106">
              <a:extLst>
                <a:ext uri="{FF2B5EF4-FFF2-40B4-BE49-F238E27FC236}">
                  <a16:creationId xmlns:a16="http://schemas.microsoft.com/office/drawing/2014/main" id="{26FBF608-E5FE-42B0-A62A-05C853023F6E}"/>
                </a:ext>
              </a:extLst>
            </p:cNvPr>
            <p:cNvSpPr/>
            <p:nvPr/>
          </p:nvSpPr>
          <p:spPr>
            <a:xfrm>
              <a:off x="10452139" y="1868762"/>
              <a:ext cx="228401" cy="551904"/>
            </a:xfrm>
            <a:custGeom>
              <a:avLst/>
              <a:gdLst>
                <a:gd name="connsiteX0" fmla="*/ 0 w 228401"/>
                <a:gd name="connsiteY0" fmla="*/ 551905 h 551904"/>
                <a:gd name="connsiteX1" fmla="*/ 0 w 228401"/>
                <a:gd name="connsiteY1" fmla="*/ 551905 h 551904"/>
                <a:gd name="connsiteX2" fmla="*/ 219905 w 228401"/>
                <a:gd name="connsiteY2" fmla="*/ 442199 h 551904"/>
                <a:gd name="connsiteX3" fmla="*/ 219155 w 228401"/>
                <a:gd name="connsiteY3" fmla="*/ 437825 h 551904"/>
                <a:gd name="connsiteX4" fmla="*/ 224778 w 228401"/>
                <a:gd name="connsiteY4" fmla="*/ 170182 h 551904"/>
                <a:gd name="connsiteX5" fmla="*/ 224778 w 228401"/>
                <a:gd name="connsiteY5" fmla="*/ 170182 h 551904"/>
                <a:gd name="connsiteX6" fmla="*/ 228401 w 228401"/>
                <a:gd name="connsiteY6" fmla="*/ 0 h 551904"/>
                <a:gd name="connsiteX7" fmla="*/ 4748 w 228401"/>
                <a:gd name="connsiteY7" fmla="*/ 108832 h 55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401" h="551904">
                  <a:moveTo>
                    <a:pt x="0" y="551905"/>
                  </a:moveTo>
                  <a:lnTo>
                    <a:pt x="0" y="551905"/>
                  </a:lnTo>
                  <a:lnTo>
                    <a:pt x="219905" y="442199"/>
                  </a:lnTo>
                  <a:cubicBezTo>
                    <a:pt x="219393" y="440799"/>
                    <a:pt x="219143" y="439312"/>
                    <a:pt x="219155" y="437825"/>
                  </a:cubicBezTo>
                  <a:lnTo>
                    <a:pt x="224778" y="170182"/>
                  </a:lnTo>
                  <a:lnTo>
                    <a:pt x="224778" y="170182"/>
                  </a:lnTo>
                  <a:lnTo>
                    <a:pt x="228401" y="0"/>
                  </a:lnTo>
                  <a:lnTo>
                    <a:pt x="4748" y="108832"/>
                  </a:lnTo>
                  <a:close/>
                </a:path>
              </a:pathLst>
            </a:custGeom>
            <a:solidFill>
              <a:schemeClr val="accent2"/>
            </a:solidFill>
            <a:ln w="12483" cap="flat">
              <a:noFill/>
              <a:prstDash val="solid"/>
              <a:miter/>
            </a:ln>
          </p:spPr>
          <p:txBody>
            <a:bodyPr rtlCol="0" anchor="ctr"/>
            <a:lstStyle/>
            <a:p>
              <a:endParaRPr lang="en-US"/>
            </a:p>
          </p:txBody>
        </p:sp>
        <p:sp>
          <p:nvSpPr>
            <p:cNvPr id="1108" name="Freeform: Shape 1107">
              <a:extLst>
                <a:ext uri="{FF2B5EF4-FFF2-40B4-BE49-F238E27FC236}">
                  <a16:creationId xmlns:a16="http://schemas.microsoft.com/office/drawing/2014/main" id="{7A30E669-4630-4E8A-8919-7EDF9D8ECF03}"/>
                </a:ext>
              </a:extLst>
            </p:cNvPr>
            <p:cNvSpPr/>
            <p:nvPr/>
          </p:nvSpPr>
          <p:spPr>
            <a:xfrm>
              <a:off x="10447016" y="2425914"/>
              <a:ext cx="40357" cy="500175"/>
            </a:xfrm>
            <a:custGeom>
              <a:avLst/>
              <a:gdLst>
                <a:gd name="connsiteX0" fmla="*/ 40358 w 40357"/>
                <a:gd name="connsiteY0" fmla="*/ 39109 h 500175"/>
                <a:gd name="connsiteX1" fmla="*/ 4998 w 40357"/>
                <a:gd name="connsiteY1" fmla="*/ 0 h 500175"/>
                <a:gd name="connsiteX2" fmla="*/ 0 w 40357"/>
                <a:gd name="connsiteY2" fmla="*/ 460941 h 500175"/>
                <a:gd name="connsiteX3" fmla="*/ 34485 w 40357"/>
                <a:gd name="connsiteY3" fmla="*/ 500176 h 500175"/>
                <a:gd name="connsiteX4" fmla="*/ 40358 w 40357"/>
                <a:gd name="connsiteY4" fmla="*/ 39109 h 5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7" h="500175">
                  <a:moveTo>
                    <a:pt x="40358" y="39109"/>
                  </a:moveTo>
                  <a:lnTo>
                    <a:pt x="4998" y="0"/>
                  </a:lnTo>
                  <a:lnTo>
                    <a:pt x="0" y="460941"/>
                  </a:lnTo>
                  <a:lnTo>
                    <a:pt x="34485" y="500176"/>
                  </a:lnTo>
                  <a:lnTo>
                    <a:pt x="40358" y="39109"/>
                  </a:lnTo>
                  <a:close/>
                </a:path>
              </a:pathLst>
            </a:custGeom>
            <a:solidFill>
              <a:schemeClr val="accent2"/>
            </a:solidFill>
            <a:ln w="12483" cap="flat">
              <a:noFill/>
              <a:prstDash val="solid"/>
              <a:miter/>
            </a:ln>
          </p:spPr>
          <p:txBody>
            <a:bodyPr rtlCol="0" anchor="ctr"/>
            <a:lstStyle/>
            <a:p>
              <a:endParaRPr lang="en-US"/>
            </a:p>
          </p:txBody>
        </p:sp>
        <p:sp>
          <p:nvSpPr>
            <p:cNvPr id="1109" name="Freeform: Shape 1108">
              <a:extLst>
                <a:ext uri="{FF2B5EF4-FFF2-40B4-BE49-F238E27FC236}">
                  <a16:creationId xmlns:a16="http://schemas.microsoft.com/office/drawing/2014/main" id="{C88F1D3B-95F1-4F5C-A2AF-816955503861}"/>
                </a:ext>
              </a:extLst>
            </p:cNvPr>
            <p:cNvSpPr/>
            <p:nvPr/>
          </p:nvSpPr>
          <p:spPr>
            <a:xfrm>
              <a:off x="8416643" y="5878038"/>
              <a:ext cx="141189" cy="116078"/>
            </a:xfrm>
            <a:custGeom>
              <a:avLst/>
              <a:gdLst>
                <a:gd name="connsiteX0" fmla="*/ 133692 w 141189"/>
                <a:gd name="connsiteY0" fmla="*/ 0 h 116078"/>
                <a:gd name="connsiteX1" fmla="*/ 0 w 141189"/>
                <a:gd name="connsiteY1" fmla="*/ 75845 h 116078"/>
                <a:gd name="connsiteX2" fmla="*/ 26239 w 141189"/>
                <a:gd name="connsiteY2" fmla="*/ 116079 h 116078"/>
                <a:gd name="connsiteX3" fmla="*/ 141189 w 141189"/>
                <a:gd name="connsiteY3" fmla="*/ 50605 h 116078"/>
                <a:gd name="connsiteX4" fmla="*/ 136941 w 141189"/>
                <a:gd name="connsiteY4" fmla="*/ 3249 h 116078"/>
                <a:gd name="connsiteX5" fmla="*/ 133692 w 141189"/>
                <a:gd name="connsiteY5" fmla="*/ 0 h 11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189" h="116078">
                  <a:moveTo>
                    <a:pt x="133692" y="0"/>
                  </a:moveTo>
                  <a:lnTo>
                    <a:pt x="0" y="75845"/>
                  </a:lnTo>
                  <a:lnTo>
                    <a:pt x="26239" y="116079"/>
                  </a:lnTo>
                  <a:lnTo>
                    <a:pt x="141189" y="50605"/>
                  </a:lnTo>
                  <a:lnTo>
                    <a:pt x="136941" y="3249"/>
                  </a:lnTo>
                  <a:cubicBezTo>
                    <a:pt x="135629" y="2424"/>
                    <a:pt x="134517" y="1312"/>
                    <a:pt x="133692" y="0"/>
                  </a:cubicBezTo>
                  <a:close/>
                </a:path>
              </a:pathLst>
            </a:custGeom>
            <a:solidFill>
              <a:srgbClr val="E8E7E3"/>
            </a:solidFill>
            <a:ln w="12483" cap="flat">
              <a:noFill/>
              <a:prstDash val="solid"/>
              <a:miter/>
            </a:ln>
          </p:spPr>
          <p:txBody>
            <a:bodyPr rtlCol="0" anchor="ctr"/>
            <a:lstStyle/>
            <a:p>
              <a:endParaRPr lang="en-US"/>
            </a:p>
          </p:txBody>
        </p:sp>
        <p:sp>
          <p:nvSpPr>
            <p:cNvPr id="1110" name="Freeform: Shape 1109">
              <a:extLst>
                <a:ext uri="{FF2B5EF4-FFF2-40B4-BE49-F238E27FC236}">
                  <a16:creationId xmlns:a16="http://schemas.microsoft.com/office/drawing/2014/main" id="{0824C056-5EE4-432B-84AD-DC2E2A188367}"/>
                </a:ext>
              </a:extLst>
            </p:cNvPr>
            <p:cNvSpPr/>
            <p:nvPr/>
          </p:nvSpPr>
          <p:spPr>
            <a:xfrm>
              <a:off x="8571202" y="5872540"/>
              <a:ext cx="9745" cy="46231"/>
            </a:xfrm>
            <a:custGeom>
              <a:avLst/>
              <a:gdLst>
                <a:gd name="connsiteX0" fmla="*/ 3873 w 9745"/>
                <a:gd name="connsiteY0" fmla="*/ 46232 h 46231"/>
                <a:gd name="connsiteX1" fmla="*/ 9746 w 9745"/>
                <a:gd name="connsiteY1" fmla="*/ 42858 h 46231"/>
                <a:gd name="connsiteX2" fmla="*/ 5997 w 9745"/>
                <a:gd name="connsiteY2" fmla="*/ 0 h 46231"/>
                <a:gd name="connsiteX3" fmla="*/ 0 w 9745"/>
                <a:gd name="connsiteY3" fmla="*/ 3499 h 46231"/>
                <a:gd name="connsiteX4" fmla="*/ 3873 w 9745"/>
                <a:gd name="connsiteY4" fmla="*/ 46232 h 4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5" h="46231">
                  <a:moveTo>
                    <a:pt x="3873" y="46232"/>
                  </a:moveTo>
                  <a:lnTo>
                    <a:pt x="9746" y="42858"/>
                  </a:lnTo>
                  <a:lnTo>
                    <a:pt x="5997" y="0"/>
                  </a:lnTo>
                  <a:lnTo>
                    <a:pt x="0" y="3499"/>
                  </a:lnTo>
                  <a:lnTo>
                    <a:pt x="3873" y="46232"/>
                  </a:lnTo>
                  <a:close/>
                </a:path>
              </a:pathLst>
            </a:custGeom>
            <a:solidFill>
              <a:srgbClr val="F26544"/>
            </a:solidFill>
            <a:ln w="12483" cap="flat">
              <a:noFill/>
              <a:prstDash val="solid"/>
              <a:miter/>
            </a:ln>
          </p:spPr>
          <p:txBody>
            <a:bodyPr rtlCol="0" anchor="ctr"/>
            <a:lstStyle/>
            <a:p>
              <a:endParaRPr lang="en-US"/>
            </a:p>
          </p:txBody>
        </p:sp>
        <p:sp>
          <p:nvSpPr>
            <p:cNvPr id="1111" name="Freeform: Shape 1110">
              <a:extLst>
                <a:ext uri="{FF2B5EF4-FFF2-40B4-BE49-F238E27FC236}">
                  <a16:creationId xmlns:a16="http://schemas.microsoft.com/office/drawing/2014/main" id="{0EB31962-48BE-451A-B062-51B397915A32}"/>
                </a:ext>
              </a:extLst>
            </p:cNvPr>
            <p:cNvSpPr/>
            <p:nvPr/>
          </p:nvSpPr>
          <p:spPr>
            <a:xfrm>
              <a:off x="8540215" y="5582031"/>
              <a:ext cx="34859" cy="273516"/>
            </a:xfrm>
            <a:custGeom>
              <a:avLst/>
              <a:gdLst>
                <a:gd name="connsiteX0" fmla="*/ 12744 w 34859"/>
                <a:gd name="connsiteY0" fmla="*/ 18993 h 273516"/>
                <a:gd name="connsiteX1" fmla="*/ 0 w 34859"/>
                <a:gd name="connsiteY1" fmla="*/ 0 h 273516"/>
                <a:gd name="connsiteX2" fmla="*/ 24864 w 34859"/>
                <a:gd name="connsiteY2" fmla="*/ 273516 h 273516"/>
                <a:gd name="connsiteX3" fmla="*/ 34860 w 34859"/>
                <a:gd name="connsiteY3" fmla="*/ 267768 h 273516"/>
                <a:gd name="connsiteX4" fmla="*/ 12744 w 34859"/>
                <a:gd name="connsiteY4" fmla="*/ 18993 h 27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9" h="273516">
                  <a:moveTo>
                    <a:pt x="12744" y="18993"/>
                  </a:moveTo>
                  <a:lnTo>
                    <a:pt x="0" y="0"/>
                  </a:lnTo>
                  <a:lnTo>
                    <a:pt x="24864" y="273516"/>
                  </a:lnTo>
                  <a:lnTo>
                    <a:pt x="34860" y="267768"/>
                  </a:lnTo>
                  <a:lnTo>
                    <a:pt x="12744" y="18993"/>
                  </a:lnTo>
                  <a:close/>
                </a:path>
              </a:pathLst>
            </a:custGeom>
            <a:solidFill>
              <a:srgbClr val="F2494C"/>
            </a:solidFill>
            <a:ln w="12483" cap="flat">
              <a:noFill/>
              <a:prstDash val="solid"/>
              <a:miter/>
            </a:ln>
          </p:spPr>
          <p:txBody>
            <a:bodyPr rtlCol="0" anchor="ctr"/>
            <a:lstStyle/>
            <a:p>
              <a:endParaRPr lang="en-US"/>
            </a:p>
          </p:txBody>
        </p:sp>
        <p:sp>
          <p:nvSpPr>
            <p:cNvPr id="1112" name="Freeform: Shape 1111">
              <a:extLst>
                <a:ext uri="{FF2B5EF4-FFF2-40B4-BE49-F238E27FC236}">
                  <a16:creationId xmlns:a16="http://schemas.microsoft.com/office/drawing/2014/main" id="{69AD96F0-F582-48E9-BCDD-FFC3B33AF8A0}"/>
                </a:ext>
              </a:extLst>
            </p:cNvPr>
            <p:cNvSpPr/>
            <p:nvPr/>
          </p:nvSpPr>
          <p:spPr>
            <a:xfrm>
              <a:off x="9302011" y="3333927"/>
              <a:ext cx="610985" cy="819298"/>
            </a:xfrm>
            <a:custGeom>
              <a:avLst/>
              <a:gdLst>
                <a:gd name="connsiteX0" fmla="*/ 523149 w 610985"/>
                <a:gd name="connsiteY0" fmla="*/ 818549 h 819298"/>
                <a:gd name="connsiteX1" fmla="*/ 610986 w 610985"/>
                <a:gd name="connsiteY1" fmla="*/ 771193 h 819298"/>
                <a:gd name="connsiteX2" fmla="*/ 0 w 610985"/>
                <a:gd name="connsiteY2" fmla="*/ 0 h 819298"/>
                <a:gd name="connsiteX3" fmla="*/ 7122 w 610985"/>
                <a:gd name="connsiteY3" fmla="*/ 163935 h 819298"/>
                <a:gd name="connsiteX4" fmla="*/ 521899 w 610985"/>
                <a:gd name="connsiteY4" fmla="*/ 819298 h 819298"/>
                <a:gd name="connsiteX5" fmla="*/ 523149 w 610985"/>
                <a:gd name="connsiteY5" fmla="*/ 818549 h 81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985" h="819298">
                  <a:moveTo>
                    <a:pt x="523149" y="818549"/>
                  </a:moveTo>
                  <a:lnTo>
                    <a:pt x="610986" y="771193"/>
                  </a:lnTo>
                  <a:lnTo>
                    <a:pt x="0" y="0"/>
                  </a:lnTo>
                  <a:lnTo>
                    <a:pt x="7122" y="163935"/>
                  </a:lnTo>
                  <a:lnTo>
                    <a:pt x="521899" y="819298"/>
                  </a:lnTo>
                  <a:lnTo>
                    <a:pt x="523149" y="818549"/>
                  </a:lnTo>
                  <a:close/>
                </a:path>
              </a:pathLst>
            </a:custGeom>
            <a:solidFill>
              <a:schemeClr val="accent6"/>
            </a:solidFill>
            <a:ln w="12483" cap="flat">
              <a:noFill/>
              <a:prstDash val="solid"/>
              <a:miter/>
            </a:ln>
          </p:spPr>
          <p:txBody>
            <a:bodyPr rtlCol="0" anchor="ctr"/>
            <a:lstStyle/>
            <a:p>
              <a:endParaRPr lang="en-US"/>
            </a:p>
          </p:txBody>
        </p:sp>
        <p:sp>
          <p:nvSpPr>
            <p:cNvPr id="1113" name="Freeform: Shape 1112">
              <a:extLst>
                <a:ext uri="{FF2B5EF4-FFF2-40B4-BE49-F238E27FC236}">
                  <a16:creationId xmlns:a16="http://schemas.microsoft.com/office/drawing/2014/main" id="{D0790C9D-54F5-4920-B1BC-493C14611543}"/>
                </a:ext>
              </a:extLst>
            </p:cNvPr>
            <p:cNvSpPr/>
            <p:nvPr/>
          </p:nvSpPr>
          <p:spPr>
            <a:xfrm>
              <a:off x="8557832" y="3525101"/>
              <a:ext cx="467798" cy="390469"/>
            </a:xfrm>
            <a:custGeom>
              <a:avLst/>
              <a:gdLst>
                <a:gd name="connsiteX0" fmla="*/ 156432 w 467798"/>
                <a:gd name="connsiteY0" fmla="*/ 390469 h 390469"/>
                <a:gd name="connsiteX1" fmla="*/ 157682 w 467798"/>
                <a:gd name="connsiteY1" fmla="*/ 390469 h 390469"/>
                <a:gd name="connsiteX2" fmla="*/ 467798 w 467798"/>
                <a:gd name="connsiteY2" fmla="*/ 230283 h 390469"/>
                <a:gd name="connsiteX3" fmla="*/ 464175 w 467798"/>
                <a:gd name="connsiteY3" fmla="*/ 166184 h 390469"/>
                <a:gd name="connsiteX4" fmla="*/ 463550 w 467798"/>
                <a:gd name="connsiteY4" fmla="*/ 155688 h 390469"/>
                <a:gd name="connsiteX5" fmla="*/ 344851 w 467798"/>
                <a:gd name="connsiteY5" fmla="*/ 0 h 390469"/>
                <a:gd name="connsiteX6" fmla="*/ 343602 w 467798"/>
                <a:gd name="connsiteY6" fmla="*/ 1000 h 390469"/>
                <a:gd name="connsiteX7" fmla="*/ 0 w 467798"/>
                <a:gd name="connsiteY7" fmla="*/ 175930 h 390469"/>
                <a:gd name="connsiteX8" fmla="*/ 0 w 467798"/>
                <a:gd name="connsiteY8" fmla="*/ 179553 h 39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798" h="390469">
                  <a:moveTo>
                    <a:pt x="156432" y="390469"/>
                  </a:moveTo>
                  <a:lnTo>
                    <a:pt x="157682" y="390469"/>
                  </a:lnTo>
                  <a:lnTo>
                    <a:pt x="467798" y="230283"/>
                  </a:lnTo>
                  <a:lnTo>
                    <a:pt x="464175" y="166184"/>
                  </a:lnTo>
                  <a:lnTo>
                    <a:pt x="463550" y="155688"/>
                  </a:lnTo>
                  <a:lnTo>
                    <a:pt x="344851" y="0"/>
                  </a:lnTo>
                  <a:cubicBezTo>
                    <a:pt x="344464" y="375"/>
                    <a:pt x="344051" y="700"/>
                    <a:pt x="343602" y="1000"/>
                  </a:cubicBezTo>
                  <a:lnTo>
                    <a:pt x="0" y="175930"/>
                  </a:lnTo>
                  <a:lnTo>
                    <a:pt x="0" y="179553"/>
                  </a:lnTo>
                  <a:close/>
                </a:path>
              </a:pathLst>
            </a:custGeom>
            <a:solidFill>
              <a:schemeClr val="accent1"/>
            </a:solidFill>
            <a:ln w="12483" cap="flat">
              <a:noFill/>
              <a:prstDash val="solid"/>
              <a:miter/>
            </a:ln>
          </p:spPr>
          <p:txBody>
            <a:bodyPr rtlCol="0" anchor="ctr"/>
            <a:lstStyle/>
            <a:p>
              <a:endParaRPr lang="en-US"/>
            </a:p>
          </p:txBody>
        </p:sp>
        <p:sp>
          <p:nvSpPr>
            <p:cNvPr id="1114" name="Freeform: Shape 1113">
              <a:extLst>
                <a:ext uri="{FF2B5EF4-FFF2-40B4-BE49-F238E27FC236}">
                  <a16:creationId xmlns:a16="http://schemas.microsoft.com/office/drawing/2014/main" id="{C5D1F6AC-44B5-47D5-A5FD-CC315DB2CE48}"/>
                </a:ext>
              </a:extLst>
            </p:cNvPr>
            <p:cNvSpPr/>
            <p:nvPr/>
          </p:nvSpPr>
          <p:spPr>
            <a:xfrm>
              <a:off x="8683153" y="2856368"/>
              <a:ext cx="495785" cy="746952"/>
            </a:xfrm>
            <a:custGeom>
              <a:avLst/>
              <a:gdLst>
                <a:gd name="connsiteX0" fmla="*/ 205411 w 495785"/>
                <a:gd name="connsiteY0" fmla="*/ 497052 h 746952"/>
                <a:gd name="connsiteX1" fmla="*/ 397578 w 495785"/>
                <a:gd name="connsiteY1" fmla="*/ 746952 h 746952"/>
                <a:gd name="connsiteX2" fmla="*/ 398953 w 495785"/>
                <a:gd name="connsiteY2" fmla="*/ 746328 h 746952"/>
                <a:gd name="connsiteX3" fmla="*/ 495786 w 495785"/>
                <a:gd name="connsiteY3" fmla="*/ 696597 h 746952"/>
                <a:gd name="connsiteX4" fmla="*/ 461051 w 495785"/>
                <a:gd name="connsiteY4" fmla="*/ 0 h 746952"/>
                <a:gd name="connsiteX5" fmla="*/ 0 w 495785"/>
                <a:gd name="connsiteY5" fmla="*/ 227160 h 746952"/>
                <a:gd name="connsiteX6" fmla="*/ 250 w 495785"/>
                <a:gd name="connsiteY6" fmla="*/ 230033 h 746952"/>
                <a:gd name="connsiteX7" fmla="*/ 205411 w 495785"/>
                <a:gd name="connsiteY7" fmla="*/ 497052 h 74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85" h="746952">
                  <a:moveTo>
                    <a:pt x="205411" y="497052"/>
                  </a:moveTo>
                  <a:lnTo>
                    <a:pt x="397578" y="746952"/>
                  </a:lnTo>
                  <a:lnTo>
                    <a:pt x="398953" y="746328"/>
                  </a:lnTo>
                  <a:lnTo>
                    <a:pt x="495786" y="696597"/>
                  </a:lnTo>
                  <a:lnTo>
                    <a:pt x="461051" y="0"/>
                  </a:lnTo>
                  <a:lnTo>
                    <a:pt x="0" y="227160"/>
                  </a:lnTo>
                  <a:lnTo>
                    <a:pt x="250" y="230033"/>
                  </a:lnTo>
                  <a:lnTo>
                    <a:pt x="205411" y="497052"/>
                  </a:lnTo>
                  <a:close/>
                </a:path>
              </a:pathLst>
            </a:custGeom>
            <a:solidFill>
              <a:schemeClr val="accent1"/>
            </a:solidFill>
            <a:ln w="12483" cap="flat">
              <a:noFill/>
              <a:prstDash val="solid"/>
              <a:miter/>
            </a:ln>
          </p:spPr>
          <p:txBody>
            <a:bodyPr rtlCol="0" anchor="ctr"/>
            <a:lstStyle/>
            <a:p>
              <a:endParaRPr lang="en-US"/>
            </a:p>
          </p:txBody>
        </p:sp>
        <p:sp>
          <p:nvSpPr>
            <p:cNvPr id="1115" name="Freeform: Shape 1114">
              <a:extLst>
                <a:ext uri="{FF2B5EF4-FFF2-40B4-BE49-F238E27FC236}">
                  <a16:creationId xmlns:a16="http://schemas.microsoft.com/office/drawing/2014/main" id="{D3618646-76F9-4EF0-93C5-924C9E499983}"/>
                </a:ext>
              </a:extLst>
            </p:cNvPr>
            <p:cNvSpPr/>
            <p:nvPr/>
          </p:nvSpPr>
          <p:spPr>
            <a:xfrm>
              <a:off x="11044883" y="2144402"/>
              <a:ext cx="204536" cy="111205"/>
            </a:xfrm>
            <a:custGeom>
              <a:avLst/>
              <a:gdLst>
                <a:gd name="connsiteX0" fmla="*/ 204537 w 204536"/>
                <a:gd name="connsiteY0" fmla="*/ 8247 h 111205"/>
                <a:gd name="connsiteX1" fmla="*/ 196665 w 204536"/>
                <a:gd name="connsiteY1" fmla="*/ 0 h 111205"/>
                <a:gd name="connsiteX2" fmla="*/ 500 w 204536"/>
                <a:gd name="connsiteY2" fmla="*/ 98586 h 111205"/>
                <a:gd name="connsiteX3" fmla="*/ 0 w 204536"/>
                <a:gd name="connsiteY3" fmla="*/ 111206 h 111205"/>
                <a:gd name="connsiteX4" fmla="*/ 204537 w 204536"/>
                <a:gd name="connsiteY4" fmla="*/ 8247 h 111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536" h="111205">
                  <a:moveTo>
                    <a:pt x="204537" y="8247"/>
                  </a:moveTo>
                  <a:lnTo>
                    <a:pt x="196665" y="0"/>
                  </a:lnTo>
                  <a:lnTo>
                    <a:pt x="500" y="98586"/>
                  </a:lnTo>
                  <a:lnTo>
                    <a:pt x="0" y="111206"/>
                  </a:lnTo>
                  <a:lnTo>
                    <a:pt x="204537" y="8247"/>
                  </a:lnTo>
                  <a:close/>
                </a:path>
              </a:pathLst>
            </a:custGeom>
            <a:solidFill>
              <a:schemeClr val="accent6"/>
            </a:solidFill>
            <a:ln w="12483" cap="flat">
              <a:noFill/>
              <a:prstDash val="solid"/>
              <a:miter/>
            </a:ln>
          </p:spPr>
          <p:txBody>
            <a:bodyPr rtlCol="0" anchor="ctr"/>
            <a:lstStyle/>
            <a:p>
              <a:endParaRPr lang="en-US"/>
            </a:p>
          </p:txBody>
        </p:sp>
        <p:sp>
          <p:nvSpPr>
            <p:cNvPr id="1116" name="Freeform: Shape 1115">
              <a:extLst>
                <a:ext uri="{FF2B5EF4-FFF2-40B4-BE49-F238E27FC236}">
                  <a16:creationId xmlns:a16="http://schemas.microsoft.com/office/drawing/2014/main" id="{8F31B8D3-33B0-4F8A-A559-FA10DCD00C0A}"/>
                </a:ext>
              </a:extLst>
            </p:cNvPr>
            <p:cNvSpPr/>
            <p:nvPr/>
          </p:nvSpPr>
          <p:spPr>
            <a:xfrm>
              <a:off x="9376479" y="2704553"/>
              <a:ext cx="1615427" cy="1141295"/>
            </a:xfrm>
            <a:custGeom>
              <a:avLst/>
              <a:gdLst>
                <a:gd name="connsiteX0" fmla="*/ 0 w 1615427"/>
                <a:gd name="connsiteY0" fmla="*/ 458692 h 1141295"/>
                <a:gd name="connsiteX1" fmla="*/ 0 w 1615427"/>
                <a:gd name="connsiteY1" fmla="*/ 468063 h 1141295"/>
                <a:gd name="connsiteX2" fmla="*/ 541016 w 1615427"/>
                <a:gd name="connsiteY2" fmla="*/ 1141295 h 1141295"/>
                <a:gd name="connsiteX3" fmla="*/ 1610429 w 1615427"/>
                <a:gd name="connsiteY3" fmla="*/ 572147 h 1141295"/>
                <a:gd name="connsiteX4" fmla="*/ 1610429 w 1615427"/>
                <a:gd name="connsiteY4" fmla="*/ 569273 h 1141295"/>
                <a:gd name="connsiteX5" fmla="*/ 1615427 w 1615427"/>
                <a:gd name="connsiteY5" fmla="*/ 436201 h 1141295"/>
                <a:gd name="connsiteX6" fmla="*/ 1615427 w 1615427"/>
                <a:gd name="connsiteY6" fmla="*/ 429579 h 1141295"/>
                <a:gd name="connsiteX7" fmla="*/ 1331550 w 1615427"/>
                <a:gd name="connsiteY7" fmla="*/ 112455 h 1141295"/>
                <a:gd name="connsiteX8" fmla="*/ 1107272 w 1615427"/>
                <a:gd name="connsiteY8" fmla="*/ 227784 h 1141295"/>
                <a:gd name="connsiteX9" fmla="*/ 1106397 w 1615427"/>
                <a:gd name="connsiteY9" fmla="*/ 227784 h 1141295"/>
                <a:gd name="connsiteX10" fmla="*/ 1106397 w 1615427"/>
                <a:gd name="connsiteY10" fmla="*/ 227784 h 1141295"/>
                <a:gd name="connsiteX11" fmla="*/ 1106397 w 1615427"/>
                <a:gd name="connsiteY11" fmla="*/ 227784 h 1141295"/>
                <a:gd name="connsiteX12" fmla="*/ 1068913 w 1615427"/>
                <a:gd name="connsiteY12" fmla="*/ 185051 h 1141295"/>
                <a:gd name="connsiteX13" fmla="*/ 906483 w 1615427"/>
                <a:gd name="connsiteY13" fmla="*/ 0 h 1141295"/>
                <a:gd name="connsiteX14" fmla="*/ 0 w 1615427"/>
                <a:gd name="connsiteY14" fmla="*/ 456943 h 1141295"/>
                <a:gd name="connsiteX15" fmla="*/ 0 w 1615427"/>
                <a:gd name="connsiteY15" fmla="*/ 456943 h 1141295"/>
                <a:gd name="connsiteX16" fmla="*/ 0 w 1615427"/>
                <a:gd name="connsiteY16" fmla="*/ 458692 h 114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5427" h="1141295">
                  <a:moveTo>
                    <a:pt x="0" y="458692"/>
                  </a:moveTo>
                  <a:lnTo>
                    <a:pt x="0" y="468063"/>
                  </a:lnTo>
                  <a:lnTo>
                    <a:pt x="541016" y="1141295"/>
                  </a:lnTo>
                  <a:lnTo>
                    <a:pt x="1610429" y="572147"/>
                  </a:lnTo>
                  <a:cubicBezTo>
                    <a:pt x="1610354" y="571185"/>
                    <a:pt x="1610354" y="570235"/>
                    <a:pt x="1610429" y="569273"/>
                  </a:cubicBezTo>
                  <a:lnTo>
                    <a:pt x="1615427" y="436201"/>
                  </a:lnTo>
                  <a:lnTo>
                    <a:pt x="1615427" y="429579"/>
                  </a:lnTo>
                  <a:lnTo>
                    <a:pt x="1331550" y="112455"/>
                  </a:lnTo>
                  <a:lnTo>
                    <a:pt x="1107272" y="227784"/>
                  </a:lnTo>
                  <a:lnTo>
                    <a:pt x="1106397" y="227784"/>
                  </a:lnTo>
                  <a:lnTo>
                    <a:pt x="1106397" y="227784"/>
                  </a:lnTo>
                  <a:lnTo>
                    <a:pt x="1106397" y="227784"/>
                  </a:lnTo>
                  <a:lnTo>
                    <a:pt x="1068913" y="185051"/>
                  </a:lnTo>
                  <a:lnTo>
                    <a:pt x="906483" y="0"/>
                  </a:lnTo>
                  <a:lnTo>
                    <a:pt x="0" y="456943"/>
                  </a:lnTo>
                  <a:lnTo>
                    <a:pt x="0" y="456943"/>
                  </a:lnTo>
                  <a:cubicBezTo>
                    <a:pt x="75" y="457518"/>
                    <a:pt x="75" y="458117"/>
                    <a:pt x="0" y="458692"/>
                  </a:cubicBezTo>
                  <a:close/>
                </a:path>
              </a:pathLst>
            </a:custGeom>
            <a:solidFill>
              <a:schemeClr val="accent6"/>
            </a:solidFill>
            <a:ln w="12483" cap="flat">
              <a:noFill/>
              <a:prstDash val="solid"/>
              <a:miter/>
            </a:ln>
          </p:spPr>
          <p:txBody>
            <a:bodyPr rtlCol="0" anchor="ctr"/>
            <a:lstStyle/>
            <a:p>
              <a:endParaRPr lang="en-US"/>
            </a:p>
          </p:txBody>
        </p:sp>
        <p:sp>
          <p:nvSpPr>
            <p:cNvPr id="1117" name="Freeform: Shape 1116">
              <a:extLst>
                <a:ext uri="{FF2B5EF4-FFF2-40B4-BE49-F238E27FC236}">
                  <a16:creationId xmlns:a16="http://schemas.microsoft.com/office/drawing/2014/main" id="{6FBF9B16-E51D-456B-8CAC-AC84444D683A}"/>
                </a:ext>
              </a:extLst>
            </p:cNvPr>
            <p:cNvSpPr/>
            <p:nvPr/>
          </p:nvSpPr>
          <p:spPr>
            <a:xfrm>
              <a:off x="9302761" y="3293319"/>
              <a:ext cx="1438253" cy="813300"/>
            </a:xfrm>
            <a:custGeom>
              <a:avLst/>
              <a:gdLst>
                <a:gd name="connsiteX0" fmla="*/ 625605 w 1438253"/>
                <a:gd name="connsiteY0" fmla="*/ 813301 h 813300"/>
                <a:gd name="connsiteX1" fmla="*/ 1434880 w 1438253"/>
                <a:gd name="connsiteY1" fmla="*/ 375975 h 813300"/>
                <a:gd name="connsiteX2" fmla="*/ 1434880 w 1438253"/>
                <a:gd name="connsiteY2" fmla="*/ 372851 h 813300"/>
                <a:gd name="connsiteX3" fmla="*/ 1438253 w 1438253"/>
                <a:gd name="connsiteY3" fmla="*/ 242653 h 813300"/>
                <a:gd name="connsiteX4" fmla="*/ 1438253 w 1438253"/>
                <a:gd name="connsiteY4" fmla="*/ 241154 h 813300"/>
                <a:gd name="connsiteX5" fmla="*/ 1438253 w 1438253"/>
                <a:gd name="connsiteY5" fmla="*/ 239155 h 813300"/>
                <a:gd name="connsiteX6" fmla="*/ 619107 w 1438253"/>
                <a:gd name="connsiteY6" fmla="*/ 677730 h 813300"/>
                <a:gd name="connsiteX7" fmla="*/ 619107 w 1438253"/>
                <a:gd name="connsiteY7" fmla="*/ 677730 h 813300"/>
                <a:gd name="connsiteX8" fmla="*/ 617233 w 1438253"/>
                <a:gd name="connsiteY8" fmla="*/ 677730 h 813300"/>
                <a:gd name="connsiteX9" fmla="*/ 615734 w 1438253"/>
                <a:gd name="connsiteY9" fmla="*/ 677730 h 813300"/>
                <a:gd name="connsiteX10" fmla="*/ 614110 w 1438253"/>
                <a:gd name="connsiteY10" fmla="*/ 677730 h 813300"/>
                <a:gd name="connsiteX11" fmla="*/ 612360 w 1438253"/>
                <a:gd name="connsiteY11" fmla="*/ 677730 h 813300"/>
                <a:gd name="connsiteX12" fmla="*/ 611111 w 1438253"/>
                <a:gd name="connsiteY12" fmla="*/ 676730 h 813300"/>
                <a:gd name="connsiteX13" fmla="*/ 609487 w 1438253"/>
                <a:gd name="connsiteY13" fmla="*/ 675356 h 813300"/>
                <a:gd name="connsiteX14" fmla="*/ 609487 w 1438253"/>
                <a:gd name="connsiteY14" fmla="*/ 675356 h 813300"/>
                <a:gd name="connsiteX15" fmla="*/ 71469 w 1438253"/>
                <a:gd name="connsiteY15" fmla="*/ 1624 h 813300"/>
                <a:gd name="connsiteX16" fmla="*/ 70220 w 1438253"/>
                <a:gd name="connsiteY16" fmla="*/ 0 h 813300"/>
                <a:gd name="connsiteX17" fmla="*/ 0 w 1438253"/>
                <a:gd name="connsiteY17" fmla="*/ 35736 h 813300"/>
                <a:gd name="connsiteX18" fmla="*/ 613110 w 1438253"/>
                <a:gd name="connsiteY18" fmla="*/ 809677 h 813300"/>
                <a:gd name="connsiteX19" fmla="*/ 614484 w 1438253"/>
                <a:gd name="connsiteY19" fmla="*/ 808928 h 813300"/>
                <a:gd name="connsiteX20" fmla="*/ 625342 w 1438253"/>
                <a:gd name="connsiteY20" fmla="*/ 812688 h 813300"/>
                <a:gd name="connsiteX21" fmla="*/ 625605 w 1438253"/>
                <a:gd name="connsiteY21" fmla="*/ 813301 h 81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38253" h="813300">
                  <a:moveTo>
                    <a:pt x="625605" y="813301"/>
                  </a:moveTo>
                  <a:lnTo>
                    <a:pt x="1434880" y="375975"/>
                  </a:lnTo>
                  <a:lnTo>
                    <a:pt x="1434880" y="372851"/>
                  </a:lnTo>
                  <a:lnTo>
                    <a:pt x="1438253" y="242653"/>
                  </a:lnTo>
                  <a:cubicBezTo>
                    <a:pt x="1438191" y="242154"/>
                    <a:pt x="1438191" y="241654"/>
                    <a:pt x="1438253" y="241154"/>
                  </a:cubicBezTo>
                  <a:cubicBezTo>
                    <a:pt x="1438253" y="241154"/>
                    <a:pt x="1438253" y="239779"/>
                    <a:pt x="1438253" y="239155"/>
                  </a:cubicBezTo>
                  <a:lnTo>
                    <a:pt x="619107" y="677730"/>
                  </a:lnTo>
                  <a:lnTo>
                    <a:pt x="619107" y="677730"/>
                  </a:lnTo>
                  <a:lnTo>
                    <a:pt x="617233" y="677730"/>
                  </a:lnTo>
                  <a:lnTo>
                    <a:pt x="615734" y="677730"/>
                  </a:lnTo>
                  <a:cubicBezTo>
                    <a:pt x="615197" y="677805"/>
                    <a:pt x="614647" y="677805"/>
                    <a:pt x="614110" y="677730"/>
                  </a:cubicBezTo>
                  <a:cubicBezTo>
                    <a:pt x="613522" y="677805"/>
                    <a:pt x="612935" y="677805"/>
                    <a:pt x="612360" y="677730"/>
                  </a:cubicBezTo>
                  <a:cubicBezTo>
                    <a:pt x="611885" y="677468"/>
                    <a:pt x="611473" y="677130"/>
                    <a:pt x="611111" y="676730"/>
                  </a:cubicBezTo>
                  <a:cubicBezTo>
                    <a:pt x="610486" y="676380"/>
                    <a:pt x="609936" y="675918"/>
                    <a:pt x="609487" y="675356"/>
                  </a:cubicBezTo>
                  <a:lnTo>
                    <a:pt x="609487" y="675356"/>
                  </a:lnTo>
                  <a:lnTo>
                    <a:pt x="71469" y="1624"/>
                  </a:lnTo>
                  <a:lnTo>
                    <a:pt x="70220" y="0"/>
                  </a:lnTo>
                  <a:lnTo>
                    <a:pt x="0" y="35736"/>
                  </a:lnTo>
                  <a:lnTo>
                    <a:pt x="613110" y="809677"/>
                  </a:lnTo>
                  <a:lnTo>
                    <a:pt x="614484" y="808928"/>
                  </a:lnTo>
                  <a:cubicBezTo>
                    <a:pt x="618520" y="806966"/>
                    <a:pt x="623381" y="808653"/>
                    <a:pt x="625342" y="812688"/>
                  </a:cubicBezTo>
                  <a:cubicBezTo>
                    <a:pt x="625430" y="812888"/>
                    <a:pt x="625530" y="813088"/>
                    <a:pt x="625605" y="813301"/>
                  </a:cubicBezTo>
                  <a:close/>
                </a:path>
              </a:pathLst>
            </a:custGeom>
            <a:solidFill>
              <a:schemeClr val="accent2"/>
            </a:solidFill>
            <a:ln w="12483" cap="flat">
              <a:noFill/>
              <a:prstDash val="solid"/>
              <a:miter/>
            </a:ln>
          </p:spPr>
          <p:txBody>
            <a:bodyPr rtlCol="0" anchor="ctr"/>
            <a:lstStyle/>
            <a:p>
              <a:endParaRPr lang="en-US"/>
            </a:p>
          </p:txBody>
        </p:sp>
        <p:sp>
          <p:nvSpPr>
            <p:cNvPr id="1118" name="Freeform: Shape 1117">
              <a:extLst>
                <a:ext uri="{FF2B5EF4-FFF2-40B4-BE49-F238E27FC236}">
                  <a16:creationId xmlns:a16="http://schemas.microsoft.com/office/drawing/2014/main" id="{548E84F0-D6EC-41CC-8B98-E5C4B86BAB09}"/>
                </a:ext>
              </a:extLst>
            </p:cNvPr>
            <p:cNvSpPr/>
            <p:nvPr/>
          </p:nvSpPr>
          <p:spPr>
            <a:xfrm>
              <a:off x="9295888" y="3197232"/>
              <a:ext cx="74842" cy="128823"/>
            </a:xfrm>
            <a:custGeom>
              <a:avLst/>
              <a:gdLst>
                <a:gd name="connsiteX0" fmla="*/ 69720 w 74842"/>
                <a:gd name="connsiteY0" fmla="*/ 87215 h 128823"/>
                <a:gd name="connsiteX1" fmla="*/ 0 w 74842"/>
                <a:gd name="connsiteY1" fmla="*/ 0 h 128823"/>
                <a:gd name="connsiteX2" fmla="*/ 5748 w 74842"/>
                <a:gd name="connsiteY2" fmla="*/ 128824 h 128823"/>
                <a:gd name="connsiteX3" fmla="*/ 74843 w 74842"/>
                <a:gd name="connsiteY3" fmla="*/ 93588 h 128823"/>
                <a:gd name="connsiteX4" fmla="*/ 69720 w 74842"/>
                <a:gd name="connsiteY4" fmla="*/ 87215 h 128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42" h="128823">
                  <a:moveTo>
                    <a:pt x="69720" y="87215"/>
                  </a:moveTo>
                  <a:lnTo>
                    <a:pt x="0" y="0"/>
                  </a:lnTo>
                  <a:lnTo>
                    <a:pt x="5748" y="128824"/>
                  </a:lnTo>
                  <a:lnTo>
                    <a:pt x="74843" y="93588"/>
                  </a:lnTo>
                  <a:lnTo>
                    <a:pt x="69720" y="87215"/>
                  </a:lnTo>
                  <a:close/>
                </a:path>
              </a:pathLst>
            </a:custGeom>
            <a:solidFill>
              <a:srgbClr val="F9C996"/>
            </a:solidFill>
            <a:ln w="12483" cap="flat">
              <a:noFill/>
              <a:prstDash val="solid"/>
              <a:miter/>
            </a:ln>
          </p:spPr>
          <p:txBody>
            <a:bodyPr rtlCol="0" anchor="ctr"/>
            <a:lstStyle/>
            <a:p>
              <a:endParaRPr lang="en-US"/>
            </a:p>
          </p:txBody>
        </p:sp>
        <p:sp>
          <p:nvSpPr>
            <p:cNvPr id="1119" name="Freeform: Shape 1118">
              <a:extLst>
                <a:ext uri="{FF2B5EF4-FFF2-40B4-BE49-F238E27FC236}">
                  <a16:creationId xmlns:a16="http://schemas.microsoft.com/office/drawing/2014/main" id="{89FB707F-86CA-4F1C-B303-AB00CB8F9C6C}"/>
                </a:ext>
              </a:extLst>
            </p:cNvPr>
            <p:cNvSpPr/>
            <p:nvPr/>
          </p:nvSpPr>
          <p:spPr>
            <a:xfrm>
              <a:off x="10056310" y="3764881"/>
              <a:ext cx="678831" cy="1086441"/>
            </a:xfrm>
            <a:custGeom>
              <a:avLst/>
              <a:gdLst>
                <a:gd name="connsiteX0" fmla="*/ 0 w 678831"/>
                <a:gd name="connsiteY0" fmla="*/ 367978 h 1086441"/>
                <a:gd name="connsiteX1" fmla="*/ 0 w 678831"/>
                <a:gd name="connsiteY1" fmla="*/ 369478 h 1086441"/>
                <a:gd name="connsiteX2" fmla="*/ 572378 w 678831"/>
                <a:gd name="connsiteY2" fmla="*/ 1086442 h 1086441"/>
                <a:gd name="connsiteX3" fmla="*/ 573627 w 678831"/>
                <a:gd name="connsiteY3" fmla="*/ 1085692 h 1086441"/>
                <a:gd name="connsiteX4" fmla="*/ 651968 w 678831"/>
                <a:gd name="connsiteY4" fmla="*/ 1040835 h 1086441"/>
                <a:gd name="connsiteX5" fmla="*/ 678832 w 678831"/>
                <a:gd name="connsiteY5" fmla="*/ 0 h 1086441"/>
                <a:gd name="connsiteX6" fmla="*/ 0 w 678831"/>
                <a:gd name="connsiteY6" fmla="*/ 367978 h 108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831" h="1086441">
                  <a:moveTo>
                    <a:pt x="0" y="367978"/>
                  </a:moveTo>
                  <a:lnTo>
                    <a:pt x="0" y="369478"/>
                  </a:lnTo>
                  <a:lnTo>
                    <a:pt x="572378" y="1086442"/>
                  </a:lnTo>
                  <a:lnTo>
                    <a:pt x="573627" y="1085692"/>
                  </a:lnTo>
                  <a:lnTo>
                    <a:pt x="651968" y="1040835"/>
                  </a:lnTo>
                  <a:lnTo>
                    <a:pt x="678832" y="0"/>
                  </a:lnTo>
                  <a:lnTo>
                    <a:pt x="0" y="367978"/>
                  </a:lnTo>
                  <a:close/>
                </a:path>
              </a:pathLst>
            </a:custGeom>
            <a:solidFill>
              <a:schemeClr val="accent2"/>
            </a:solidFill>
            <a:ln w="12483" cap="flat">
              <a:noFill/>
              <a:prstDash val="solid"/>
              <a:miter/>
            </a:ln>
          </p:spPr>
          <p:txBody>
            <a:bodyPr rtlCol="0" anchor="ctr"/>
            <a:lstStyle/>
            <a:p>
              <a:endParaRPr lang="en-US"/>
            </a:p>
          </p:txBody>
        </p:sp>
        <p:sp>
          <p:nvSpPr>
            <p:cNvPr id="1120" name="Freeform: Shape 1119">
              <a:extLst>
                <a:ext uri="{FF2B5EF4-FFF2-40B4-BE49-F238E27FC236}">
                  <a16:creationId xmlns:a16="http://schemas.microsoft.com/office/drawing/2014/main" id="{AE60C59B-7B4C-4FB6-933E-3BA82F576228}"/>
                </a:ext>
              </a:extLst>
            </p:cNvPr>
            <p:cNvSpPr/>
            <p:nvPr/>
          </p:nvSpPr>
          <p:spPr>
            <a:xfrm>
              <a:off x="7705951" y="4830956"/>
              <a:ext cx="119948" cy="161685"/>
            </a:xfrm>
            <a:custGeom>
              <a:avLst/>
              <a:gdLst>
                <a:gd name="connsiteX0" fmla="*/ 22240 w 119948"/>
                <a:gd name="connsiteY0" fmla="*/ 0 h 161685"/>
                <a:gd name="connsiteX1" fmla="*/ 0 w 119948"/>
                <a:gd name="connsiteY1" fmla="*/ 11745 h 161685"/>
                <a:gd name="connsiteX2" fmla="*/ 97458 w 119948"/>
                <a:gd name="connsiteY2" fmla="*/ 161686 h 161685"/>
                <a:gd name="connsiteX3" fmla="*/ 119948 w 119948"/>
                <a:gd name="connsiteY3" fmla="*/ 149690 h 161685"/>
                <a:gd name="connsiteX4" fmla="*/ 22240 w 119948"/>
                <a:gd name="connsiteY4" fmla="*/ 0 h 161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8" h="161685">
                  <a:moveTo>
                    <a:pt x="22240" y="0"/>
                  </a:moveTo>
                  <a:lnTo>
                    <a:pt x="0" y="11745"/>
                  </a:lnTo>
                  <a:lnTo>
                    <a:pt x="97458" y="161686"/>
                  </a:lnTo>
                  <a:lnTo>
                    <a:pt x="119948" y="149690"/>
                  </a:lnTo>
                  <a:lnTo>
                    <a:pt x="22240" y="0"/>
                  </a:lnTo>
                  <a:close/>
                </a:path>
              </a:pathLst>
            </a:custGeom>
            <a:solidFill>
              <a:schemeClr val="accent2"/>
            </a:solidFill>
            <a:ln w="12483" cap="flat">
              <a:noFill/>
              <a:prstDash val="solid"/>
              <a:miter/>
            </a:ln>
          </p:spPr>
          <p:txBody>
            <a:bodyPr rtlCol="0" anchor="ctr"/>
            <a:lstStyle/>
            <a:p>
              <a:endParaRPr lang="en-US"/>
            </a:p>
          </p:txBody>
        </p:sp>
        <p:sp>
          <p:nvSpPr>
            <p:cNvPr id="1121" name="Freeform: Shape 1120">
              <a:extLst>
                <a:ext uri="{FF2B5EF4-FFF2-40B4-BE49-F238E27FC236}">
                  <a16:creationId xmlns:a16="http://schemas.microsoft.com/office/drawing/2014/main" id="{6AEF8E31-E07B-4309-AC98-F48D333B824A}"/>
                </a:ext>
              </a:extLst>
            </p:cNvPr>
            <p:cNvSpPr/>
            <p:nvPr/>
          </p:nvSpPr>
          <p:spPr>
            <a:xfrm>
              <a:off x="10309950" y="5064737"/>
              <a:ext cx="287251" cy="432202"/>
            </a:xfrm>
            <a:custGeom>
              <a:avLst/>
              <a:gdLst>
                <a:gd name="connsiteX0" fmla="*/ 875 w 287251"/>
                <a:gd name="connsiteY0" fmla="*/ 195672 h 432202"/>
                <a:gd name="connsiteX1" fmla="*/ 875 w 287251"/>
                <a:gd name="connsiteY1" fmla="*/ 197171 h 432202"/>
                <a:gd name="connsiteX2" fmla="*/ 875 w 287251"/>
                <a:gd name="connsiteY2" fmla="*/ 199545 h 432202"/>
                <a:gd name="connsiteX3" fmla="*/ 0 w 287251"/>
                <a:gd name="connsiteY3" fmla="*/ 201295 h 432202"/>
                <a:gd name="connsiteX4" fmla="*/ 0 w 287251"/>
                <a:gd name="connsiteY4" fmla="*/ 202045 h 432202"/>
                <a:gd name="connsiteX5" fmla="*/ 176299 w 287251"/>
                <a:gd name="connsiteY5" fmla="*/ 432203 h 432202"/>
                <a:gd name="connsiteX6" fmla="*/ 177298 w 287251"/>
                <a:gd name="connsiteY6" fmla="*/ 432203 h 432202"/>
                <a:gd name="connsiteX7" fmla="*/ 287251 w 287251"/>
                <a:gd name="connsiteY7" fmla="*/ 367479 h 432202"/>
                <a:gd name="connsiteX8" fmla="*/ 2749 w 287251"/>
                <a:gd name="connsiteY8" fmla="*/ 0 h 43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251" h="432202">
                  <a:moveTo>
                    <a:pt x="875" y="195672"/>
                  </a:moveTo>
                  <a:cubicBezTo>
                    <a:pt x="875" y="195672"/>
                    <a:pt x="875" y="196671"/>
                    <a:pt x="875" y="197171"/>
                  </a:cubicBezTo>
                  <a:cubicBezTo>
                    <a:pt x="937" y="197958"/>
                    <a:pt x="937" y="198758"/>
                    <a:pt x="875" y="199545"/>
                  </a:cubicBezTo>
                  <a:cubicBezTo>
                    <a:pt x="712" y="200183"/>
                    <a:pt x="413" y="200782"/>
                    <a:pt x="0" y="201295"/>
                  </a:cubicBezTo>
                  <a:lnTo>
                    <a:pt x="0" y="202045"/>
                  </a:lnTo>
                  <a:lnTo>
                    <a:pt x="176299" y="432203"/>
                  </a:lnTo>
                  <a:lnTo>
                    <a:pt x="177298" y="432203"/>
                  </a:lnTo>
                  <a:lnTo>
                    <a:pt x="287251" y="367479"/>
                  </a:lnTo>
                  <a:lnTo>
                    <a:pt x="2749" y="0"/>
                  </a:lnTo>
                  <a:close/>
                </a:path>
              </a:pathLst>
            </a:custGeom>
            <a:solidFill>
              <a:schemeClr val="tx2"/>
            </a:solidFill>
            <a:ln w="12483" cap="flat">
              <a:noFill/>
              <a:prstDash val="solid"/>
              <a:miter/>
            </a:ln>
          </p:spPr>
          <p:txBody>
            <a:bodyPr rtlCol="0" anchor="ctr"/>
            <a:lstStyle/>
            <a:p>
              <a:endParaRPr lang="en-US"/>
            </a:p>
          </p:txBody>
        </p:sp>
        <p:sp>
          <p:nvSpPr>
            <p:cNvPr id="1122" name="Freeform: Shape 1121">
              <a:extLst>
                <a:ext uri="{FF2B5EF4-FFF2-40B4-BE49-F238E27FC236}">
                  <a16:creationId xmlns:a16="http://schemas.microsoft.com/office/drawing/2014/main" id="{9A6FCF26-8A6D-4E24-B493-867487D987AF}"/>
                </a:ext>
              </a:extLst>
            </p:cNvPr>
            <p:cNvSpPr/>
            <p:nvPr/>
          </p:nvSpPr>
          <p:spPr>
            <a:xfrm>
              <a:off x="10311700" y="4821584"/>
              <a:ext cx="504532" cy="608257"/>
            </a:xfrm>
            <a:custGeom>
              <a:avLst/>
              <a:gdLst>
                <a:gd name="connsiteX0" fmla="*/ 504532 w 504532"/>
                <a:gd name="connsiteY0" fmla="*/ 117203 h 608257"/>
                <a:gd name="connsiteX1" fmla="*/ 410198 w 504532"/>
                <a:gd name="connsiteY1" fmla="*/ 0 h 608257"/>
                <a:gd name="connsiteX2" fmla="*/ 410198 w 504532"/>
                <a:gd name="connsiteY2" fmla="*/ 0 h 608257"/>
                <a:gd name="connsiteX3" fmla="*/ 409198 w 504532"/>
                <a:gd name="connsiteY3" fmla="*/ 874 h 608257"/>
                <a:gd name="connsiteX4" fmla="*/ 325859 w 504532"/>
                <a:gd name="connsiteY4" fmla="*/ 48605 h 608257"/>
                <a:gd name="connsiteX5" fmla="*/ 261262 w 504532"/>
                <a:gd name="connsiteY5" fmla="*/ 86090 h 608257"/>
                <a:gd name="connsiteX6" fmla="*/ 116949 w 504532"/>
                <a:gd name="connsiteY6" fmla="*/ 168683 h 608257"/>
                <a:gd name="connsiteX7" fmla="*/ 24114 w 504532"/>
                <a:gd name="connsiteY7" fmla="*/ 221287 h 608257"/>
                <a:gd name="connsiteX8" fmla="*/ 0 w 504532"/>
                <a:gd name="connsiteY8" fmla="*/ 235031 h 608257"/>
                <a:gd name="connsiteX9" fmla="*/ 0 w 504532"/>
                <a:gd name="connsiteY9" fmla="*/ 236905 h 608257"/>
                <a:gd name="connsiteX10" fmla="*/ 287376 w 504532"/>
                <a:gd name="connsiteY10" fmla="*/ 608257 h 608257"/>
                <a:gd name="connsiteX11" fmla="*/ 288375 w 504532"/>
                <a:gd name="connsiteY11" fmla="*/ 607633 h 608257"/>
                <a:gd name="connsiteX12" fmla="*/ 492662 w 504532"/>
                <a:gd name="connsiteY12" fmla="*/ 487306 h 608257"/>
                <a:gd name="connsiteX13" fmla="*/ 504157 w 504532"/>
                <a:gd name="connsiteY13" fmla="*/ 124950 h 60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4532" h="608257">
                  <a:moveTo>
                    <a:pt x="504532" y="117203"/>
                  </a:moveTo>
                  <a:lnTo>
                    <a:pt x="410198" y="0"/>
                  </a:lnTo>
                  <a:lnTo>
                    <a:pt x="410198" y="0"/>
                  </a:lnTo>
                  <a:cubicBezTo>
                    <a:pt x="410198" y="0"/>
                    <a:pt x="409573" y="750"/>
                    <a:pt x="409198" y="874"/>
                  </a:cubicBezTo>
                  <a:lnTo>
                    <a:pt x="325859" y="48605"/>
                  </a:lnTo>
                  <a:lnTo>
                    <a:pt x="261262" y="86090"/>
                  </a:lnTo>
                  <a:lnTo>
                    <a:pt x="116949" y="168683"/>
                  </a:lnTo>
                  <a:lnTo>
                    <a:pt x="24114" y="221287"/>
                  </a:lnTo>
                  <a:lnTo>
                    <a:pt x="0" y="235031"/>
                  </a:lnTo>
                  <a:lnTo>
                    <a:pt x="0" y="236905"/>
                  </a:lnTo>
                  <a:lnTo>
                    <a:pt x="287376" y="608257"/>
                  </a:lnTo>
                  <a:lnTo>
                    <a:pt x="288375" y="607633"/>
                  </a:lnTo>
                  <a:lnTo>
                    <a:pt x="492662" y="487306"/>
                  </a:lnTo>
                  <a:lnTo>
                    <a:pt x="504157" y="124950"/>
                  </a:lnTo>
                  <a:close/>
                </a:path>
              </a:pathLst>
            </a:custGeom>
            <a:solidFill>
              <a:schemeClr val="accent5">
                <a:lumMod val="75000"/>
              </a:schemeClr>
            </a:solidFill>
            <a:ln w="12483" cap="flat">
              <a:noFill/>
              <a:prstDash val="solid"/>
              <a:miter/>
            </a:ln>
          </p:spPr>
          <p:txBody>
            <a:bodyPr rtlCol="0" anchor="ctr"/>
            <a:lstStyle/>
            <a:p>
              <a:endParaRPr lang="en-US"/>
            </a:p>
          </p:txBody>
        </p:sp>
        <p:sp>
          <p:nvSpPr>
            <p:cNvPr id="1123" name="Freeform: Shape 1122">
              <a:extLst>
                <a:ext uri="{FF2B5EF4-FFF2-40B4-BE49-F238E27FC236}">
                  <a16:creationId xmlns:a16="http://schemas.microsoft.com/office/drawing/2014/main" id="{0BED3856-2D23-4B06-97EB-450BBC16B462}"/>
                </a:ext>
              </a:extLst>
            </p:cNvPr>
            <p:cNvSpPr/>
            <p:nvPr/>
          </p:nvSpPr>
          <p:spPr>
            <a:xfrm>
              <a:off x="10725021" y="3561587"/>
              <a:ext cx="539017" cy="1371578"/>
            </a:xfrm>
            <a:custGeom>
              <a:avLst/>
              <a:gdLst>
                <a:gd name="connsiteX0" fmla="*/ 107204 w 539017"/>
                <a:gd name="connsiteY0" fmla="*/ 881524 h 1371578"/>
                <a:gd name="connsiteX1" fmla="*/ 107204 w 539017"/>
                <a:gd name="connsiteY1" fmla="*/ 879399 h 1371578"/>
                <a:gd name="connsiteX2" fmla="*/ 108078 w 539017"/>
                <a:gd name="connsiteY2" fmla="*/ 877650 h 1371578"/>
                <a:gd name="connsiteX3" fmla="*/ 109078 w 539017"/>
                <a:gd name="connsiteY3" fmla="*/ 875901 h 1371578"/>
                <a:gd name="connsiteX4" fmla="*/ 110702 w 539017"/>
                <a:gd name="connsiteY4" fmla="*/ 874526 h 1371578"/>
                <a:gd name="connsiteX5" fmla="*/ 111702 w 539017"/>
                <a:gd name="connsiteY5" fmla="*/ 873652 h 1371578"/>
                <a:gd name="connsiteX6" fmla="*/ 536518 w 539017"/>
                <a:gd name="connsiteY6" fmla="*/ 634497 h 1371578"/>
                <a:gd name="connsiteX7" fmla="*/ 539017 w 539017"/>
                <a:gd name="connsiteY7" fmla="*/ 586266 h 1371578"/>
                <a:gd name="connsiteX8" fmla="*/ 464050 w 539017"/>
                <a:gd name="connsiteY8" fmla="*/ 498801 h 1371578"/>
                <a:gd name="connsiteX9" fmla="*/ 236398 w 539017"/>
                <a:gd name="connsiteY9" fmla="*/ 234781 h 1371578"/>
                <a:gd name="connsiteX10" fmla="*/ 33361 w 539017"/>
                <a:gd name="connsiteY10" fmla="*/ 0 h 1371578"/>
                <a:gd name="connsiteX11" fmla="*/ 30612 w 539017"/>
                <a:gd name="connsiteY11" fmla="*/ 105708 h 1371578"/>
                <a:gd name="connsiteX12" fmla="*/ 28613 w 539017"/>
                <a:gd name="connsiteY12" fmla="*/ 186676 h 1371578"/>
                <a:gd name="connsiteX13" fmla="*/ 875 w 539017"/>
                <a:gd name="connsiteY13" fmla="*/ 1251501 h 1371578"/>
                <a:gd name="connsiteX14" fmla="*/ 875 w 539017"/>
                <a:gd name="connsiteY14" fmla="*/ 1253001 h 1371578"/>
                <a:gd name="connsiteX15" fmla="*/ 875 w 539017"/>
                <a:gd name="connsiteY15" fmla="*/ 1255250 h 1371578"/>
                <a:gd name="connsiteX16" fmla="*/ 0 w 539017"/>
                <a:gd name="connsiteY16" fmla="*/ 1256999 h 1371578"/>
                <a:gd name="connsiteX17" fmla="*/ 0 w 539017"/>
                <a:gd name="connsiteY17" fmla="*/ 1256999 h 1371578"/>
                <a:gd name="connsiteX18" fmla="*/ 92085 w 539017"/>
                <a:gd name="connsiteY18" fmla="*/ 1371578 h 1371578"/>
                <a:gd name="connsiteX19" fmla="*/ 103580 w 539017"/>
                <a:gd name="connsiteY19" fmla="*/ 1010597 h 1371578"/>
                <a:gd name="connsiteX20" fmla="*/ 107579 w 539017"/>
                <a:gd name="connsiteY20" fmla="*/ 882648 h 1371578"/>
                <a:gd name="connsiteX21" fmla="*/ 107204 w 539017"/>
                <a:gd name="connsiteY21" fmla="*/ 881524 h 137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017" h="1371578">
                  <a:moveTo>
                    <a:pt x="107204" y="881524"/>
                  </a:moveTo>
                  <a:cubicBezTo>
                    <a:pt x="107129" y="880811"/>
                    <a:pt x="107129" y="880112"/>
                    <a:pt x="107204" y="879399"/>
                  </a:cubicBezTo>
                  <a:cubicBezTo>
                    <a:pt x="107204" y="878775"/>
                    <a:pt x="107204" y="878150"/>
                    <a:pt x="108078" y="877650"/>
                  </a:cubicBezTo>
                  <a:cubicBezTo>
                    <a:pt x="108953" y="877150"/>
                    <a:pt x="108703" y="876401"/>
                    <a:pt x="109078" y="875901"/>
                  </a:cubicBezTo>
                  <a:lnTo>
                    <a:pt x="110702" y="874526"/>
                  </a:lnTo>
                  <a:lnTo>
                    <a:pt x="111702" y="873652"/>
                  </a:lnTo>
                  <a:lnTo>
                    <a:pt x="536518" y="634497"/>
                  </a:lnTo>
                  <a:lnTo>
                    <a:pt x="539017" y="586266"/>
                  </a:lnTo>
                  <a:lnTo>
                    <a:pt x="464050" y="498801"/>
                  </a:lnTo>
                  <a:lnTo>
                    <a:pt x="236398" y="234781"/>
                  </a:lnTo>
                  <a:lnTo>
                    <a:pt x="33361" y="0"/>
                  </a:lnTo>
                  <a:lnTo>
                    <a:pt x="30612" y="105708"/>
                  </a:lnTo>
                  <a:lnTo>
                    <a:pt x="28613" y="186676"/>
                  </a:lnTo>
                  <a:lnTo>
                    <a:pt x="875" y="1251501"/>
                  </a:lnTo>
                  <a:cubicBezTo>
                    <a:pt x="875" y="1251501"/>
                    <a:pt x="875" y="1252501"/>
                    <a:pt x="875" y="1253001"/>
                  </a:cubicBezTo>
                  <a:cubicBezTo>
                    <a:pt x="937" y="1253750"/>
                    <a:pt x="937" y="1254500"/>
                    <a:pt x="875" y="1255250"/>
                  </a:cubicBezTo>
                  <a:cubicBezTo>
                    <a:pt x="637" y="1255862"/>
                    <a:pt x="337" y="1256437"/>
                    <a:pt x="0" y="1256999"/>
                  </a:cubicBezTo>
                  <a:lnTo>
                    <a:pt x="0" y="1256999"/>
                  </a:lnTo>
                  <a:lnTo>
                    <a:pt x="92085" y="1371578"/>
                  </a:lnTo>
                  <a:lnTo>
                    <a:pt x="103580" y="1010597"/>
                  </a:lnTo>
                  <a:lnTo>
                    <a:pt x="107579" y="882648"/>
                  </a:lnTo>
                  <a:cubicBezTo>
                    <a:pt x="107416" y="882286"/>
                    <a:pt x="107291" y="881911"/>
                    <a:pt x="107204" y="881524"/>
                  </a:cubicBezTo>
                  <a:close/>
                </a:path>
              </a:pathLst>
            </a:custGeom>
            <a:solidFill>
              <a:srgbClr val="E8E7E3"/>
            </a:solidFill>
            <a:ln w="12483" cap="flat">
              <a:noFill/>
              <a:prstDash val="solid"/>
              <a:miter/>
            </a:ln>
          </p:spPr>
          <p:txBody>
            <a:bodyPr rtlCol="0" anchor="ctr"/>
            <a:lstStyle/>
            <a:p>
              <a:endParaRPr lang="en-US"/>
            </a:p>
          </p:txBody>
        </p:sp>
        <p:sp>
          <p:nvSpPr>
            <p:cNvPr id="1124" name="Freeform: Shape 1123">
              <a:extLst>
                <a:ext uri="{FF2B5EF4-FFF2-40B4-BE49-F238E27FC236}">
                  <a16:creationId xmlns:a16="http://schemas.microsoft.com/office/drawing/2014/main" id="{0F36C73F-0E5B-4703-806F-2F9AB89A113A}"/>
                </a:ext>
              </a:extLst>
            </p:cNvPr>
            <p:cNvSpPr/>
            <p:nvPr/>
          </p:nvSpPr>
          <p:spPr>
            <a:xfrm>
              <a:off x="10845594" y="4458229"/>
              <a:ext cx="106454" cy="246776"/>
            </a:xfrm>
            <a:custGeom>
              <a:avLst/>
              <a:gdLst>
                <a:gd name="connsiteX0" fmla="*/ 250 w 106454"/>
                <a:gd name="connsiteY0" fmla="*/ 115079 h 246776"/>
                <a:gd name="connsiteX1" fmla="*/ 0 w 106454"/>
                <a:gd name="connsiteY1" fmla="*/ 122576 h 246776"/>
                <a:gd name="connsiteX2" fmla="*/ 101831 w 106454"/>
                <a:gd name="connsiteY2" fmla="*/ 246777 h 246776"/>
                <a:gd name="connsiteX3" fmla="*/ 106454 w 106454"/>
                <a:gd name="connsiteY3" fmla="*/ 124201 h 246776"/>
                <a:gd name="connsiteX4" fmla="*/ 3874 w 106454"/>
                <a:gd name="connsiteY4" fmla="*/ 0 h 246776"/>
                <a:gd name="connsiteX5" fmla="*/ 250 w 106454"/>
                <a:gd name="connsiteY5" fmla="*/ 115079 h 24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454" h="246776">
                  <a:moveTo>
                    <a:pt x="250" y="115079"/>
                  </a:moveTo>
                  <a:lnTo>
                    <a:pt x="0" y="122576"/>
                  </a:lnTo>
                  <a:lnTo>
                    <a:pt x="101831" y="246777"/>
                  </a:lnTo>
                  <a:lnTo>
                    <a:pt x="106454" y="124201"/>
                  </a:lnTo>
                  <a:lnTo>
                    <a:pt x="3874" y="0"/>
                  </a:lnTo>
                  <a:lnTo>
                    <a:pt x="250" y="115079"/>
                  </a:lnTo>
                  <a:close/>
                </a:path>
              </a:pathLst>
            </a:custGeom>
            <a:solidFill>
              <a:srgbClr val="F4F5F3"/>
            </a:solidFill>
            <a:ln w="12483" cap="flat">
              <a:noFill/>
              <a:prstDash val="solid"/>
              <a:miter/>
            </a:ln>
          </p:spPr>
          <p:txBody>
            <a:bodyPr rtlCol="0" anchor="ctr"/>
            <a:lstStyle/>
            <a:p>
              <a:endParaRPr lang="en-US"/>
            </a:p>
          </p:txBody>
        </p:sp>
        <p:sp>
          <p:nvSpPr>
            <p:cNvPr id="1125" name="Freeform: Shape 1124">
              <a:extLst>
                <a:ext uri="{FF2B5EF4-FFF2-40B4-BE49-F238E27FC236}">
                  <a16:creationId xmlns:a16="http://schemas.microsoft.com/office/drawing/2014/main" id="{ACEF1384-7ED1-4A21-A8CC-B75326DABEEF}"/>
                </a:ext>
              </a:extLst>
            </p:cNvPr>
            <p:cNvSpPr/>
            <p:nvPr/>
          </p:nvSpPr>
          <p:spPr>
            <a:xfrm>
              <a:off x="10849842" y="4211827"/>
              <a:ext cx="525819" cy="367228"/>
            </a:xfrm>
            <a:custGeom>
              <a:avLst/>
              <a:gdLst>
                <a:gd name="connsiteX0" fmla="*/ 525773 w 525819"/>
                <a:gd name="connsiteY0" fmla="*/ 117078 h 367228"/>
                <a:gd name="connsiteX1" fmla="*/ 425816 w 525819"/>
                <a:gd name="connsiteY1" fmla="*/ 0 h 367228"/>
                <a:gd name="connsiteX2" fmla="*/ 425816 w 525819"/>
                <a:gd name="connsiteY2" fmla="*/ 0 h 367228"/>
                <a:gd name="connsiteX3" fmla="*/ 424816 w 525819"/>
                <a:gd name="connsiteY3" fmla="*/ 875 h 367228"/>
                <a:gd name="connsiteX4" fmla="*/ 0 w 525819"/>
                <a:gd name="connsiteY4" fmla="*/ 240030 h 367228"/>
                <a:gd name="connsiteX5" fmla="*/ 0 w 525819"/>
                <a:gd name="connsiteY5" fmla="*/ 240779 h 367228"/>
                <a:gd name="connsiteX6" fmla="*/ 104455 w 525819"/>
                <a:gd name="connsiteY6" fmla="*/ 367229 h 367228"/>
                <a:gd name="connsiteX7" fmla="*/ 525773 w 525819"/>
                <a:gd name="connsiteY7" fmla="*/ 127200 h 367228"/>
                <a:gd name="connsiteX8" fmla="*/ 525773 w 525819"/>
                <a:gd name="connsiteY8" fmla="*/ 126325 h 367228"/>
                <a:gd name="connsiteX9" fmla="*/ 525773 w 525819"/>
                <a:gd name="connsiteY9" fmla="*/ 124201 h 367228"/>
                <a:gd name="connsiteX10" fmla="*/ 525773 w 525819"/>
                <a:gd name="connsiteY10" fmla="*/ 124201 h 36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819" h="367228">
                  <a:moveTo>
                    <a:pt x="525773" y="117078"/>
                  </a:moveTo>
                  <a:lnTo>
                    <a:pt x="425816" y="0"/>
                  </a:lnTo>
                  <a:lnTo>
                    <a:pt x="425816" y="0"/>
                  </a:lnTo>
                  <a:lnTo>
                    <a:pt x="424816" y="875"/>
                  </a:lnTo>
                  <a:lnTo>
                    <a:pt x="0" y="240030"/>
                  </a:lnTo>
                  <a:lnTo>
                    <a:pt x="0" y="240779"/>
                  </a:lnTo>
                  <a:lnTo>
                    <a:pt x="104455" y="367229"/>
                  </a:lnTo>
                  <a:lnTo>
                    <a:pt x="525773" y="127200"/>
                  </a:lnTo>
                  <a:cubicBezTo>
                    <a:pt x="525835" y="126912"/>
                    <a:pt x="525835" y="126612"/>
                    <a:pt x="525773" y="126325"/>
                  </a:cubicBezTo>
                  <a:cubicBezTo>
                    <a:pt x="525710" y="125613"/>
                    <a:pt x="525710" y="124913"/>
                    <a:pt x="525773" y="124201"/>
                  </a:cubicBezTo>
                  <a:lnTo>
                    <a:pt x="525773" y="124201"/>
                  </a:lnTo>
                  <a:close/>
                </a:path>
              </a:pathLst>
            </a:custGeom>
            <a:solidFill>
              <a:schemeClr val="accent2"/>
            </a:solidFill>
            <a:ln w="12483" cap="flat">
              <a:noFill/>
              <a:prstDash val="solid"/>
              <a:miter/>
            </a:ln>
          </p:spPr>
          <p:txBody>
            <a:bodyPr rtlCol="0" anchor="ctr"/>
            <a:lstStyle/>
            <a:p>
              <a:endParaRPr lang="en-US"/>
            </a:p>
          </p:txBody>
        </p:sp>
        <p:sp>
          <p:nvSpPr>
            <p:cNvPr id="1126" name="Freeform: Shape 1125">
              <a:extLst>
                <a:ext uri="{FF2B5EF4-FFF2-40B4-BE49-F238E27FC236}">
                  <a16:creationId xmlns:a16="http://schemas.microsoft.com/office/drawing/2014/main" id="{773D5EA7-4EDA-42E2-AB91-B2D5453993C7}"/>
                </a:ext>
              </a:extLst>
            </p:cNvPr>
            <p:cNvSpPr/>
            <p:nvPr/>
          </p:nvSpPr>
          <p:spPr>
            <a:xfrm>
              <a:off x="11278032" y="4166470"/>
              <a:ext cx="101331" cy="157562"/>
            </a:xfrm>
            <a:custGeom>
              <a:avLst/>
              <a:gdLst>
                <a:gd name="connsiteX0" fmla="*/ 2874 w 101331"/>
                <a:gd name="connsiteY0" fmla="*/ 0 h 157562"/>
                <a:gd name="connsiteX1" fmla="*/ 875 w 101331"/>
                <a:gd name="connsiteY1" fmla="*/ 37485 h 157562"/>
                <a:gd name="connsiteX2" fmla="*/ 875 w 101331"/>
                <a:gd name="connsiteY2" fmla="*/ 38860 h 157562"/>
                <a:gd name="connsiteX3" fmla="*/ 875 w 101331"/>
                <a:gd name="connsiteY3" fmla="*/ 40984 h 157562"/>
                <a:gd name="connsiteX4" fmla="*/ 0 w 101331"/>
                <a:gd name="connsiteY4" fmla="*/ 42733 h 157562"/>
                <a:gd name="connsiteX5" fmla="*/ 98707 w 101331"/>
                <a:gd name="connsiteY5" fmla="*/ 157562 h 157562"/>
                <a:gd name="connsiteX6" fmla="*/ 99957 w 101331"/>
                <a:gd name="connsiteY6" fmla="*/ 136821 h 157562"/>
                <a:gd name="connsiteX7" fmla="*/ 101331 w 101331"/>
                <a:gd name="connsiteY7" fmla="*/ 113580 h 157562"/>
                <a:gd name="connsiteX8" fmla="*/ 7872 w 101331"/>
                <a:gd name="connsiteY8" fmla="*/ 5123 h 157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331" h="157562">
                  <a:moveTo>
                    <a:pt x="2874" y="0"/>
                  </a:moveTo>
                  <a:lnTo>
                    <a:pt x="875" y="37485"/>
                  </a:lnTo>
                  <a:cubicBezTo>
                    <a:pt x="925" y="37948"/>
                    <a:pt x="925" y="38398"/>
                    <a:pt x="875" y="38860"/>
                  </a:cubicBezTo>
                  <a:cubicBezTo>
                    <a:pt x="949" y="39559"/>
                    <a:pt x="949" y="40272"/>
                    <a:pt x="875" y="40984"/>
                  </a:cubicBezTo>
                  <a:cubicBezTo>
                    <a:pt x="637" y="41596"/>
                    <a:pt x="337" y="42171"/>
                    <a:pt x="0" y="42733"/>
                  </a:cubicBezTo>
                  <a:lnTo>
                    <a:pt x="98707" y="157562"/>
                  </a:lnTo>
                  <a:lnTo>
                    <a:pt x="99957" y="136821"/>
                  </a:lnTo>
                  <a:lnTo>
                    <a:pt x="101331" y="113580"/>
                  </a:lnTo>
                  <a:lnTo>
                    <a:pt x="7872" y="5123"/>
                  </a:lnTo>
                  <a:close/>
                </a:path>
              </a:pathLst>
            </a:custGeom>
            <a:solidFill>
              <a:schemeClr val="accent6">
                <a:lumMod val="50000"/>
              </a:schemeClr>
            </a:solidFill>
            <a:ln w="12483" cap="flat">
              <a:noFill/>
              <a:prstDash val="solid"/>
              <a:miter/>
            </a:ln>
          </p:spPr>
          <p:txBody>
            <a:bodyPr rtlCol="0" anchor="ctr"/>
            <a:lstStyle/>
            <a:p>
              <a:endParaRPr lang="en-US"/>
            </a:p>
          </p:txBody>
        </p:sp>
        <p:sp>
          <p:nvSpPr>
            <p:cNvPr id="1127" name="Freeform: Shape 1126">
              <a:extLst>
                <a:ext uri="{FF2B5EF4-FFF2-40B4-BE49-F238E27FC236}">
                  <a16:creationId xmlns:a16="http://schemas.microsoft.com/office/drawing/2014/main" id="{2731A433-C6D7-49C2-BE0A-13CD35B0CF30}"/>
                </a:ext>
              </a:extLst>
            </p:cNvPr>
            <p:cNvSpPr/>
            <p:nvPr/>
          </p:nvSpPr>
          <p:spPr>
            <a:xfrm>
              <a:off x="10484750" y="2351819"/>
              <a:ext cx="232649" cy="575770"/>
            </a:xfrm>
            <a:custGeom>
              <a:avLst/>
              <a:gdLst>
                <a:gd name="connsiteX0" fmla="*/ 0 w 232649"/>
                <a:gd name="connsiteY0" fmla="*/ 575770 h 575770"/>
                <a:gd name="connsiteX1" fmla="*/ 221904 w 232649"/>
                <a:gd name="connsiteY1" fmla="*/ 461566 h 575770"/>
                <a:gd name="connsiteX2" fmla="*/ 232649 w 232649"/>
                <a:gd name="connsiteY2" fmla="*/ 0 h 575770"/>
                <a:gd name="connsiteX3" fmla="*/ 5747 w 232649"/>
                <a:gd name="connsiteY3" fmla="*/ 113705 h 575770"/>
                <a:gd name="connsiteX4" fmla="*/ 0 w 232649"/>
                <a:gd name="connsiteY4" fmla="*/ 575770 h 575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49" h="575770">
                  <a:moveTo>
                    <a:pt x="0" y="575770"/>
                  </a:moveTo>
                  <a:lnTo>
                    <a:pt x="221904" y="461566"/>
                  </a:lnTo>
                  <a:lnTo>
                    <a:pt x="232649" y="0"/>
                  </a:lnTo>
                  <a:lnTo>
                    <a:pt x="5747" y="113705"/>
                  </a:lnTo>
                  <a:lnTo>
                    <a:pt x="0" y="575770"/>
                  </a:lnTo>
                  <a:close/>
                </a:path>
              </a:pathLst>
            </a:custGeom>
            <a:solidFill>
              <a:schemeClr val="accent6"/>
            </a:solidFill>
            <a:ln w="12483" cap="flat">
              <a:noFill/>
              <a:prstDash val="solid"/>
              <a:miter/>
            </a:ln>
          </p:spPr>
          <p:txBody>
            <a:bodyPr rtlCol="0" anchor="ctr"/>
            <a:lstStyle/>
            <a:p>
              <a:endParaRPr lang="en-US"/>
            </a:p>
          </p:txBody>
        </p:sp>
        <p:sp>
          <p:nvSpPr>
            <p:cNvPr id="1128" name="Freeform: Shape 1127">
              <a:extLst>
                <a:ext uri="{FF2B5EF4-FFF2-40B4-BE49-F238E27FC236}">
                  <a16:creationId xmlns:a16="http://schemas.microsoft.com/office/drawing/2014/main" id="{1562EC2E-E550-4893-B1BC-2DE37B1B8F35}"/>
                </a:ext>
              </a:extLst>
            </p:cNvPr>
            <p:cNvSpPr/>
            <p:nvPr/>
          </p:nvSpPr>
          <p:spPr>
            <a:xfrm>
              <a:off x="10285586" y="1796665"/>
              <a:ext cx="168052" cy="620502"/>
            </a:xfrm>
            <a:custGeom>
              <a:avLst/>
              <a:gdLst>
                <a:gd name="connsiteX0" fmla="*/ 168052 w 168052"/>
                <a:gd name="connsiteY0" fmla="*/ 180303 h 620502"/>
                <a:gd name="connsiteX1" fmla="*/ 1374 w 168052"/>
                <a:gd name="connsiteY1" fmla="*/ 0 h 620502"/>
                <a:gd name="connsiteX2" fmla="*/ 0 w 168052"/>
                <a:gd name="connsiteY2" fmla="*/ 439200 h 620502"/>
                <a:gd name="connsiteX3" fmla="*/ 163304 w 168052"/>
                <a:gd name="connsiteY3" fmla="*/ 620503 h 620502"/>
                <a:gd name="connsiteX4" fmla="*/ 168052 w 168052"/>
                <a:gd name="connsiteY4" fmla="*/ 180303 h 6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2" h="620502">
                  <a:moveTo>
                    <a:pt x="168052" y="180303"/>
                  </a:moveTo>
                  <a:lnTo>
                    <a:pt x="1374" y="0"/>
                  </a:lnTo>
                  <a:lnTo>
                    <a:pt x="0" y="439200"/>
                  </a:lnTo>
                  <a:lnTo>
                    <a:pt x="163304" y="620503"/>
                  </a:lnTo>
                  <a:lnTo>
                    <a:pt x="168052" y="180303"/>
                  </a:lnTo>
                  <a:close/>
                </a:path>
              </a:pathLst>
            </a:custGeom>
            <a:solidFill>
              <a:schemeClr val="accent1"/>
            </a:solidFill>
            <a:ln w="12483" cap="flat">
              <a:noFill/>
              <a:prstDash val="solid"/>
              <a:miter/>
            </a:ln>
          </p:spPr>
          <p:txBody>
            <a:bodyPr rtlCol="0" anchor="ctr"/>
            <a:lstStyle/>
            <a:p>
              <a:endParaRPr lang="en-US"/>
            </a:p>
          </p:txBody>
        </p:sp>
        <p:sp>
          <p:nvSpPr>
            <p:cNvPr id="1129" name="Freeform: Shape 1128">
              <a:extLst>
                <a:ext uri="{FF2B5EF4-FFF2-40B4-BE49-F238E27FC236}">
                  <a16:creationId xmlns:a16="http://schemas.microsoft.com/office/drawing/2014/main" id="{8A7FD6F3-246D-43F2-8F87-EA1556E1A0D0}"/>
                </a:ext>
              </a:extLst>
            </p:cNvPr>
            <p:cNvSpPr/>
            <p:nvPr/>
          </p:nvSpPr>
          <p:spPr>
            <a:xfrm>
              <a:off x="10284211" y="2240988"/>
              <a:ext cx="164678" cy="642244"/>
            </a:xfrm>
            <a:custGeom>
              <a:avLst/>
              <a:gdLst>
                <a:gd name="connsiteX0" fmla="*/ 164679 w 164678"/>
                <a:gd name="connsiteY0" fmla="*/ 181428 h 642244"/>
                <a:gd name="connsiteX1" fmla="*/ 1375 w 164678"/>
                <a:gd name="connsiteY1" fmla="*/ 0 h 642244"/>
                <a:gd name="connsiteX2" fmla="*/ 0 w 164678"/>
                <a:gd name="connsiteY2" fmla="*/ 460067 h 642244"/>
                <a:gd name="connsiteX3" fmla="*/ 159681 w 164678"/>
                <a:gd name="connsiteY3" fmla="*/ 642244 h 642244"/>
                <a:gd name="connsiteX4" fmla="*/ 164679 w 164678"/>
                <a:gd name="connsiteY4" fmla="*/ 181428 h 642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78" h="642244">
                  <a:moveTo>
                    <a:pt x="164679" y="181428"/>
                  </a:moveTo>
                  <a:lnTo>
                    <a:pt x="1375" y="0"/>
                  </a:lnTo>
                  <a:lnTo>
                    <a:pt x="0" y="460067"/>
                  </a:lnTo>
                  <a:lnTo>
                    <a:pt x="159681" y="642244"/>
                  </a:lnTo>
                  <a:lnTo>
                    <a:pt x="164679" y="181428"/>
                  </a:lnTo>
                  <a:close/>
                </a:path>
              </a:pathLst>
            </a:custGeom>
            <a:solidFill>
              <a:schemeClr val="tx2"/>
            </a:solidFill>
            <a:ln w="12483" cap="flat">
              <a:noFill/>
              <a:prstDash val="solid"/>
              <a:miter/>
            </a:ln>
          </p:spPr>
          <p:txBody>
            <a:bodyPr rtlCol="0" anchor="ctr"/>
            <a:lstStyle/>
            <a:p>
              <a:endParaRPr lang="en-US"/>
            </a:p>
          </p:txBody>
        </p:sp>
        <p:sp>
          <p:nvSpPr>
            <p:cNvPr id="1130" name="Freeform: Shape 1129">
              <a:extLst>
                <a:ext uri="{FF2B5EF4-FFF2-40B4-BE49-F238E27FC236}">
                  <a16:creationId xmlns:a16="http://schemas.microsoft.com/office/drawing/2014/main" id="{6AF88B42-0160-4FA5-9ECB-CF0F448CC1DE}"/>
                </a:ext>
              </a:extLst>
            </p:cNvPr>
            <p:cNvSpPr/>
            <p:nvPr/>
          </p:nvSpPr>
          <p:spPr>
            <a:xfrm>
              <a:off x="10286960" y="562657"/>
              <a:ext cx="237522" cy="1226885"/>
            </a:xfrm>
            <a:custGeom>
              <a:avLst/>
              <a:gdLst>
                <a:gd name="connsiteX0" fmla="*/ 0 w 237522"/>
                <a:gd name="connsiteY0" fmla="*/ 1226886 h 1226885"/>
                <a:gd name="connsiteX1" fmla="*/ 222779 w 237522"/>
                <a:gd name="connsiteY1" fmla="*/ 1120303 h 1226885"/>
                <a:gd name="connsiteX2" fmla="*/ 222779 w 237522"/>
                <a:gd name="connsiteY2" fmla="*/ 1118429 h 1226885"/>
                <a:gd name="connsiteX3" fmla="*/ 222779 w 237522"/>
                <a:gd name="connsiteY3" fmla="*/ 1118429 h 1226885"/>
                <a:gd name="connsiteX4" fmla="*/ 227901 w 237522"/>
                <a:gd name="connsiteY4" fmla="*/ 719213 h 1226885"/>
                <a:gd name="connsiteX5" fmla="*/ 229651 w 237522"/>
                <a:gd name="connsiteY5" fmla="*/ 585142 h 1226885"/>
                <a:gd name="connsiteX6" fmla="*/ 229651 w 237522"/>
                <a:gd name="connsiteY6" fmla="*/ 585142 h 1226885"/>
                <a:gd name="connsiteX7" fmla="*/ 237522 w 237522"/>
                <a:gd name="connsiteY7" fmla="*/ 0 h 1226885"/>
                <a:gd name="connsiteX8" fmla="*/ 3498 w 237522"/>
                <a:gd name="connsiteY8" fmla="*/ 104458 h 122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522" h="1226885">
                  <a:moveTo>
                    <a:pt x="0" y="1226886"/>
                  </a:moveTo>
                  <a:lnTo>
                    <a:pt x="222779" y="1120303"/>
                  </a:lnTo>
                  <a:cubicBezTo>
                    <a:pt x="222716" y="1119680"/>
                    <a:pt x="222716" y="1119053"/>
                    <a:pt x="222779" y="1118429"/>
                  </a:cubicBezTo>
                  <a:lnTo>
                    <a:pt x="222779" y="1118429"/>
                  </a:lnTo>
                  <a:lnTo>
                    <a:pt x="227901" y="719213"/>
                  </a:lnTo>
                  <a:lnTo>
                    <a:pt x="229651" y="585142"/>
                  </a:lnTo>
                  <a:lnTo>
                    <a:pt x="229651" y="585142"/>
                  </a:lnTo>
                  <a:lnTo>
                    <a:pt x="237522" y="0"/>
                  </a:lnTo>
                  <a:lnTo>
                    <a:pt x="3498" y="104458"/>
                  </a:lnTo>
                  <a:close/>
                </a:path>
              </a:pathLst>
            </a:custGeom>
            <a:solidFill>
              <a:schemeClr val="bg2"/>
            </a:solidFill>
            <a:ln w="12483" cap="flat">
              <a:noFill/>
              <a:prstDash val="solid"/>
              <a:miter/>
            </a:ln>
          </p:spPr>
          <p:txBody>
            <a:bodyPr rtlCol="0" anchor="ctr"/>
            <a:lstStyle/>
            <a:p>
              <a:endParaRPr lang="en-US"/>
            </a:p>
          </p:txBody>
        </p:sp>
        <p:sp>
          <p:nvSpPr>
            <p:cNvPr id="1131" name="Freeform: Shape 1130">
              <a:extLst>
                <a:ext uri="{FF2B5EF4-FFF2-40B4-BE49-F238E27FC236}">
                  <a16:creationId xmlns:a16="http://schemas.microsoft.com/office/drawing/2014/main" id="{A7661FFB-F1AC-464D-A6B8-91E3BB7E17F8}"/>
                </a:ext>
              </a:extLst>
            </p:cNvPr>
            <p:cNvSpPr/>
            <p:nvPr/>
          </p:nvSpPr>
          <p:spPr>
            <a:xfrm>
              <a:off x="6979015" y="5256911"/>
              <a:ext cx="749301" cy="1424181"/>
            </a:xfrm>
            <a:custGeom>
              <a:avLst/>
              <a:gdLst>
                <a:gd name="connsiteX0" fmla="*/ 716315 w 749301"/>
                <a:gd name="connsiteY0" fmla="*/ 1191150 h 1424181"/>
                <a:gd name="connsiteX1" fmla="*/ 0 w 749301"/>
                <a:gd name="connsiteY1" fmla="*/ 0 h 1424181"/>
                <a:gd name="connsiteX2" fmla="*/ 40108 w 749301"/>
                <a:gd name="connsiteY2" fmla="*/ 233907 h 1424181"/>
                <a:gd name="connsiteX3" fmla="*/ 749301 w 749301"/>
                <a:gd name="connsiteY3" fmla="*/ 1424182 h 1424181"/>
                <a:gd name="connsiteX4" fmla="*/ 718814 w 749301"/>
                <a:gd name="connsiteY4" fmla="*/ 1208518 h 1424181"/>
                <a:gd name="connsiteX5" fmla="*/ 716315 w 749301"/>
                <a:gd name="connsiteY5" fmla="*/ 1191150 h 142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1" h="1424181">
                  <a:moveTo>
                    <a:pt x="716315" y="1191150"/>
                  </a:moveTo>
                  <a:lnTo>
                    <a:pt x="0" y="0"/>
                  </a:lnTo>
                  <a:lnTo>
                    <a:pt x="40108" y="233907"/>
                  </a:lnTo>
                  <a:lnTo>
                    <a:pt x="749301" y="1424182"/>
                  </a:lnTo>
                  <a:lnTo>
                    <a:pt x="718814" y="1208518"/>
                  </a:lnTo>
                  <a:lnTo>
                    <a:pt x="716315" y="1191150"/>
                  </a:lnTo>
                  <a:close/>
                </a:path>
              </a:pathLst>
            </a:custGeom>
            <a:solidFill>
              <a:schemeClr val="accent5">
                <a:lumMod val="75000"/>
              </a:schemeClr>
            </a:solidFill>
            <a:ln w="12483" cap="flat">
              <a:noFill/>
              <a:prstDash val="solid"/>
              <a:miter/>
            </a:ln>
          </p:spPr>
          <p:txBody>
            <a:bodyPr rtlCol="0" anchor="ctr"/>
            <a:lstStyle/>
            <a:p>
              <a:endParaRPr lang="en-US"/>
            </a:p>
          </p:txBody>
        </p:sp>
        <p:sp>
          <p:nvSpPr>
            <p:cNvPr id="1132" name="Freeform: Shape 1131">
              <a:extLst>
                <a:ext uri="{FF2B5EF4-FFF2-40B4-BE49-F238E27FC236}">
                  <a16:creationId xmlns:a16="http://schemas.microsoft.com/office/drawing/2014/main" id="{966FAE53-4093-4DD3-980A-ECA2BB77A154}"/>
                </a:ext>
              </a:extLst>
            </p:cNvPr>
            <p:cNvSpPr/>
            <p:nvPr/>
          </p:nvSpPr>
          <p:spPr>
            <a:xfrm>
              <a:off x="11195942" y="3707903"/>
              <a:ext cx="166178" cy="421956"/>
            </a:xfrm>
            <a:custGeom>
              <a:avLst/>
              <a:gdLst>
                <a:gd name="connsiteX0" fmla="*/ 88587 w 166178"/>
                <a:gd name="connsiteY0" fmla="*/ 416209 h 421956"/>
                <a:gd name="connsiteX1" fmla="*/ 99332 w 166178"/>
                <a:gd name="connsiteY1" fmla="*/ 214789 h 421956"/>
                <a:gd name="connsiteX2" fmla="*/ 99332 w 166178"/>
                <a:gd name="connsiteY2" fmla="*/ 213415 h 421956"/>
                <a:gd name="connsiteX3" fmla="*/ 99332 w 166178"/>
                <a:gd name="connsiteY3" fmla="*/ 211166 h 421956"/>
                <a:gd name="connsiteX4" fmla="*/ 100207 w 166178"/>
                <a:gd name="connsiteY4" fmla="*/ 209541 h 421956"/>
                <a:gd name="connsiteX5" fmla="*/ 101206 w 166178"/>
                <a:gd name="connsiteY5" fmla="*/ 207792 h 421956"/>
                <a:gd name="connsiteX6" fmla="*/ 102706 w 166178"/>
                <a:gd name="connsiteY6" fmla="*/ 206543 h 421956"/>
                <a:gd name="connsiteX7" fmla="*/ 103705 w 166178"/>
                <a:gd name="connsiteY7" fmla="*/ 205668 h 421956"/>
                <a:gd name="connsiteX8" fmla="*/ 166178 w 166178"/>
                <a:gd name="connsiteY8" fmla="*/ 170682 h 421956"/>
                <a:gd name="connsiteX9" fmla="*/ 16243 w 166178"/>
                <a:gd name="connsiteY9" fmla="*/ 0 h 421956"/>
                <a:gd name="connsiteX10" fmla="*/ 0 w 166178"/>
                <a:gd name="connsiteY10" fmla="*/ 332617 h 421956"/>
                <a:gd name="connsiteX11" fmla="*/ 3998 w 166178"/>
                <a:gd name="connsiteY11" fmla="*/ 337240 h 421956"/>
                <a:gd name="connsiteX12" fmla="*/ 77092 w 166178"/>
                <a:gd name="connsiteY12" fmla="*/ 421957 h 42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178" h="421956">
                  <a:moveTo>
                    <a:pt x="88587" y="416209"/>
                  </a:moveTo>
                  <a:lnTo>
                    <a:pt x="99332" y="214789"/>
                  </a:lnTo>
                  <a:cubicBezTo>
                    <a:pt x="99282" y="214327"/>
                    <a:pt x="99282" y="213877"/>
                    <a:pt x="99332" y="213415"/>
                  </a:cubicBezTo>
                  <a:cubicBezTo>
                    <a:pt x="99270" y="212665"/>
                    <a:pt x="99270" y="211915"/>
                    <a:pt x="99332" y="211166"/>
                  </a:cubicBezTo>
                  <a:cubicBezTo>
                    <a:pt x="99495" y="210566"/>
                    <a:pt x="99794" y="210016"/>
                    <a:pt x="100207" y="209541"/>
                  </a:cubicBezTo>
                  <a:cubicBezTo>
                    <a:pt x="100469" y="208917"/>
                    <a:pt x="100806" y="208329"/>
                    <a:pt x="101206" y="207792"/>
                  </a:cubicBezTo>
                  <a:lnTo>
                    <a:pt x="102706" y="206543"/>
                  </a:lnTo>
                  <a:cubicBezTo>
                    <a:pt x="102706" y="206543"/>
                    <a:pt x="102706" y="205793"/>
                    <a:pt x="103705" y="205668"/>
                  </a:cubicBezTo>
                  <a:lnTo>
                    <a:pt x="166178" y="170682"/>
                  </a:lnTo>
                  <a:lnTo>
                    <a:pt x="16243" y="0"/>
                  </a:lnTo>
                  <a:lnTo>
                    <a:pt x="0" y="332617"/>
                  </a:lnTo>
                  <a:lnTo>
                    <a:pt x="3998" y="337240"/>
                  </a:lnTo>
                  <a:lnTo>
                    <a:pt x="77092" y="421957"/>
                  </a:lnTo>
                  <a:close/>
                </a:path>
              </a:pathLst>
            </a:custGeom>
            <a:solidFill>
              <a:schemeClr val="accent3"/>
            </a:solidFill>
            <a:ln w="12483" cap="flat">
              <a:noFill/>
              <a:prstDash val="solid"/>
              <a:miter/>
            </a:ln>
          </p:spPr>
          <p:txBody>
            <a:bodyPr rtlCol="0" anchor="ctr"/>
            <a:lstStyle/>
            <a:p>
              <a:endParaRPr lang="en-US"/>
            </a:p>
          </p:txBody>
        </p:sp>
        <p:sp>
          <p:nvSpPr>
            <p:cNvPr id="1133" name="Freeform: Shape 1132">
              <a:extLst>
                <a:ext uri="{FF2B5EF4-FFF2-40B4-BE49-F238E27FC236}">
                  <a16:creationId xmlns:a16="http://schemas.microsoft.com/office/drawing/2014/main" id="{7C225FB6-AB3A-4814-83B0-993F1F9D0489}"/>
                </a:ext>
              </a:extLst>
            </p:cNvPr>
            <p:cNvSpPr/>
            <p:nvPr/>
          </p:nvSpPr>
          <p:spPr>
            <a:xfrm>
              <a:off x="11213685" y="3692410"/>
              <a:ext cx="159555" cy="184426"/>
            </a:xfrm>
            <a:custGeom>
              <a:avLst/>
              <a:gdLst>
                <a:gd name="connsiteX0" fmla="*/ 152809 w 159555"/>
                <a:gd name="connsiteY0" fmla="*/ 184426 h 184426"/>
                <a:gd name="connsiteX1" fmla="*/ 154558 w 159555"/>
                <a:gd name="connsiteY1" fmla="*/ 183427 h 184426"/>
                <a:gd name="connsiteX2" fmla="*/ 159556 w 159555"/>
                <a:gd name="connsiteY2" fmla="*/ 180678 h 184426"/>
                <a:gd name="connsiteX3" fmla="*/ 9246 w 159555"/>
                <a:gd name="connsiteY3" fmla="*/ 9871 h 184426"/>
                <a:gd name="connsiteX4" fmla="*/ 500 w 159555"/>
                <a:gd name="connsiteY4" fmla="*/ 0 h 184426"/>
                <a:gd name="connsiteX5" fmla="*/ 0 w 159555"/>
                <a:gd name="connsiteY5" fmla="*/ 10496 h 184426"/>
                <a:gd name="connsiteX6" fmla="*/ 152809 w 159555"/>
                <a:gd name="connsiteY6" fmla="*/ 184426 h 18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55" h="184426">
                  <a:moveTo>
                    <a:pt x="152809" y="184426"/>
                  </a:moveTo>
                  <a:lnTo>
                    <a:pt x="154558" y="183427"/>
                  </a:lnTo>
                  <a:lnTo>
                    <a:pt x="159556" y="180678"/>
                  </a:lnTo>
                  <a:lnTo>
                    <a:pt x="9246" y="9871"/>
                  </a:lnTo>
                  <a:lnTo>
                    <a:pt x="500" y="0"/>
                  </a:lnTo>
                  <a:lnTo>
                    <a:pt x="0" y="10496"/>
                  </a:lnTo>
                  <a:lnTo>
                    <a:pt x="152809" y="184426"/>
                  </a:lnTo>
                  <a:close/>
                </a:path>
              </a:pathLst>
            </a:custGeom>
            <a:solidFill>
              <a:schemeClr val="accent3"/>
            </a:solidFill>
            <a:ln w="12483" cap="flat">
              <a:noFill/>
              <a:prstDash val="solid"/>
              <a:miter/>
            </a:ln>
          </p:spPr>
          <p:txBody>
            <a:bodyPr rtlCol="0" anchor="ctr"/>
            <a:lstStyle/>
            <a:p>
              <a:endParaRPr lang="en-US"/>
            </a:p>
          </p:txBody>
        </p:sp>
        <p:sp>
          <p:nvSpPr>
            <p:cNvPr id="1134" name="Freeform: Shape 1133">
              <a:extLst>
                <a:ext uri="{FF2B5EF4-FFF2-40B4-BE49-F238E27FC236}">
                  <a16:creationId xmlns:a16="http://schemas.microsoft.com/office/drawing/2014/main" id="{D9B1E764-763D-405E-BB91-01E6F70F34F9}"/>
                </a:ext>
              </a:extLst>
            </p:cNvPr>
            <p:cNvSpPr/>
            <p:nvPr/>
          </p:nvSpPr>
          <p:spPr>
            <a:xfrm>
              <a:off x="10969415" y="3429014"/>
              <a:ext cx="241645" cy="608007"/>
            </a:xfrm>
            <a:custGeom>
              <a:avLst/>
              <a:gdLst>
                <a:gd name="connsiteX0" fmla="*/ 0 w 241645"/>
                <a:gd name="connsiteY0" fmla="*/ 347237 h 608007"/>
                <a:gd name="connsiteX1" fmla="*/ 4123 w 241645"/>
                <a:gd name="connsiteY1" fmla="*/ 352110 h 608007"/>
                <a:gd name="connsiteX2" fmla="*/ 224778 w 241645"/>
                <a:gd name="connsiteY2" fmla="*/ 608008 h 608007"/>
                <a:gd name="connsiteX3" fmla="*/ 241021 w 241645"/>
                <a:gd name="connsiteY3" fmla="*/ 274516 h 608007"/>
                <a:gd name="connsiteX4" fmla="*/ 241646 w 241645"/>
                <a:gd name="connsiteY4" fmla="*/ 259897 h 608007"/>
                <a:gd name="connsiteX5" fmla="*/ 237772 w 241645"/>
                <a:gd name="connsiteY5" fmla="*/ 255398 h 608007"/>
                <a:gd name="connsiteX6" fmla="*/ 14369 w 241645"/>
                <a:gd name="connsiteY6" fmla="*/ 1749 h 608007"/>
                <a:gd name="connsiteX7" fmla="*/ 12869 w 241645"/>
                <a:gd name="connsiteY7" fmla="*/ 0 h 608007"/>
                <a:gd name="connsiteX8" fmla="*/ 0 w 241645"/>
                <a:gd name="connsiteY8" fmla="*/ 347237 h 6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645" h="608007">
                  <a:moveTo>
                    <a:pt x="0" y="347237"/>
                  </a:moveTo>
                  <a:lnTo>
                    <a:pt x="4123" y="352110"/>
                  </a:lnTo>
                  <a:lnTo>
                    <a:pt x="224778" y="608008"/>
                  </a:lnTo>
                  <a:lnTo>
                    <a:pt x="241021" y="274516"/>
                  </a:lnTo>
                  <a:lnTo>
                    <a:pt x="241646" y="259897"/>
                  </a:lnTo>
                  <a:lnTo>
                    <a:pt x="237772" y="255398"/>
                  </a:lnTo>
                  <a:lnTo>
                    <a:pt x="14369" y="1749"/>
                  </a:lnTo>
                  <a:lnTo>
                    <a:pt x="12869" y="0"/>
                  </a:lnTo>
                  <a:lnTo>
                    <a:pt x="0" y="347237"/>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135" name="Freeform: Shape 1134">
              <a:extLst>
                <a:ext uri="{FF2B5EF4-FFF2-40B4-BE49-F238E27FC236}">
                  <a16:creationId xmlns:a16="http://schemas.microsoft.com/office/drawing/2014/main" id="{B1806B28-29E2-400B-AFC9-FCD4C5682919}"/>
                </a:ext>
              </a:extLst>
            </p:cNvPr>
            <p:cNvSpPr/>
            <p:nvPr/>
          </p:nvSpPr>
          <p:spPr>
            <a:xfrm>
              <a:off x="10765879" y="3425891"/>
              <a:ext cx="213282" cy="346861"/>
            </a:xfrm>
            <a:custGeom>
              <a:avLst/>
              <a:gdLst>
                <a:gd name="connsiteX0" fmla="*/ 200538 w 213282"/>
                <a:gd name="connsiteY0" fmla="*/ 346862 h 346861"/>
                <a:gd name="connsiteX1" fmla="*/ 213283 w 213282"/>
                <a:gd name="connsiteY1" fmla="*/ 0 h 346861"/>
                <a:gd name="connsiteX2" fmla="*/ 5622 w 213282"/>
                <a:gd name="connsiteY2" fmla="*/ 111331 h 346861"/>
                <a:gd name="connsiteX3" fmla="*/ 0 w 213282"/>
                <a:gd name="connsiteY3" fmla="*/ 114330 h 346861"/>
                <a:gd name="connsiteX4" fmla="*/ 200538 w 213282"/>
                <a:gd name="connsiteY4" fmla="*/ 346862 h 346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282" h="346861">
                  <a:moveTo>
                    <a:pt x="200538" y="346862"/>
                  </a:moveTo>
                  <a:lnTo>
                    <a:pt x="213283" y="0"/>
                  </a:lnTo>
                  <a:lnTo>
                    <a:pt x="5622" y="111331"/>
                  </a:lnTo>
                  <a:lnTo>
                    <a:pt x="0" y="114330"/>
                  </a:lnTo>
                  <a:lnTo>
                    <a:pt x="200538" y="346862"/>
                  </a:lnTo>
                  <a:close/>
                </a:path>
              </a:pathLst>
            </a:custGeom>
            <a:solidFill>
              <a:schemeClr val="accent1">
                <a:lumMod val="75000"/>
              </a:schemeClr>
            </a:solidFill>
            <a:ln w="12483" cap="flat">
              <a:noFill/>
              <a:prstDash val="solid"/>
              <a:miter/>
            </a:ln>
          </p:spPr>
          <p:txBody>
            <a:bodyPr rtlCol="0" anchor="ctr"/>
            <a:lstStyle/>
            <a:p>
              <a:endParaRPr lang="en-US"/>
            </a:p>
          </p:txBody>
        </p:sp>
        <p:sp>
          <p:nvSpPr>
            <p:cNvPr id="1136" name="Freeform: Shape 1135">
              <a:extLst>
                <a:ext uri="{FF2B5EF4-FFF2-40B4-BE49-F238E27FC236}">
                  <a16:creationId xmlns:a16="http://schemas.microsoft.com/office/drawing/2014/main" id="{3CC59013-91EF-48D6-AE1C-47D29C20E591}"/>
                </a:ext>
              </a:extLst>
            </p:cNvPr>
            <p:cNvSpPr/>
            <p:nvPr/>
          </p:nvSpPr>
          <p:spPr>
            <a:xfrm>
              <a:off x="10971165" y="4368140"/>
              <a:ext cx="424691" cy="363230"/>
            </a:xfrm>
            <a:custGeom>
              <a:avLst/>
              <a:gdLst>
                <a:gd name="connsiteX0" fmla="*/ 0 w 424691"/>
                <a:gd name="connsiteY0" fmla="*/ 363230 h 363230"/>
                <a:gd name="connsiteX1" fmla="*/ 417320 w 424691"/>
                <a:gd name="connsiteY1" fmla="*/ 123451 h 363230"/>
                <a:gd name="connsiteX2" fmla="*/ 417569 w 424691"/>
                <a:gd name="connsiteY2" fmla="*/ 119577 h 363230"/>
                <a:gd name="connsiteX3" fmla="*/ 424691 w 424691"/>
                <a:gd name="connsiteY3" fmla="*/ 0 h 363230"/>
                <a:gd name="connsiteX4" fmla="*/ 4748 w 424691"/>
                <a:gd name="connsiteY4" fmla="*/ 239779 h 363230"/>
                <a:gd name="connsiteX5" fmla="*/ 0 w 424691"/>
                <a:gd name="connsiteY5" fmla="*/ 363230 h 36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91" h="363230">
                  <a:moveTo>
                    <a:pt x="0" y="363230"/>
                  </a:moveTo>
                  <a:lnTo>
                    <a:pt x="417320" y="123451"/>
                  </a:lnTo>
                  <a:lnTo>
                    <a:pt x="417569" y="119577"/>
                  </a:lnTo>
                  <a:lnTo>
                    <a:pt x="424691" y="0"/>
                  </a:lnTo>
                  <a:lnTo>
                    <a:pt x="4748" y="239779"/>
                  </a:lnTo>
                  <a:lnTo>
                    <a:pt x="0" y="363230"/>
                  </a:lnTo>
                  <a:close/>
                </a:path>
              </a:pathLst>
            </a:custGeom>
            <a:solidFill>
              <a:schemeClr val="accent2"/>
            </a:solidFill>
            <a:ln w="12483" cap="flat">
              <a:noFill/>
              <a:prstDash val="solid"/>
              <a:miter/>
            </a:ln>
          </p:spPr>
          <p:txBody>
            <a:bodyPr rtlCol="0" anchor="ctr"/>
            <a:lstStyle/>
            <a:p>
              <a:endParaRPr lang="en-US"/>
            </a:p>
          </p:txBody>
        </p:sp>
        <p:sp>
          <p:nvSpPr>
            <p:cNvPr id="1137" name="Freeform: Shape 1136">
              <a:extLst>
                <a:ext uri="{FF2B5EF4-FFF2-40B4-BE49-F238E27FC236}">
                  <a16:creationId xmlns:a16="http://schemas.microsoft.com/office/drawing/2014/main" id="{B68ADB1F-D26F-40C8-8E7F-76B4297072F4}"/>
                </a:ext>
              </a:extLst>
            </p:cNvPr>
            <p:cNvSpPr/>
            <p:nvPr/>
          </p:nvSpPr>
          <p:spPr>
            <a:xfrm>
              <a:off x="9377103" y="3178489"/>
              <a:ext cx="539891" cy="765194"/>
            </a:xfrm>
            <a:custGeom>
              <a:avLst/>
              <a:gdLst>
                <a:gd name="connsiteX0" fmla="*/ 539892 w 539891"/>
                <a:gd name="connsiteY0" fmla="*/ 765195 h 765194"/>
                <a:gd name="connsiteX1" fmla="*/ 538517 w 539891"/>
                <a:gd name="connsiteY1" fmla="*/ 670358 h 765194"/>
                <a:gd name="connsiteX2" fmla="*/ 0 w 539891"/>
                <a:gd name="connsiteY2" fmla="*/ 0 h 765194"/>
                <a:gd name="connsiteX3" fmla="*/ 3749 w 539891"/>
                <a:gd name="connsiteY3" fmla="*/ 93838 h 765194"/>
                <a:gd name="connsiteX4" fmla="*/ 10121 w 539891"/>
                <a:gd name="connsiteY4" fmla="*/ 101835 h 765194"/>
                <a:gd name="connsiteX5" fmla="*/ 539892 w 539891"/>
                <a:gd name="connsiteY5" fmla="*/ 765195 h 7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91" h="765194">
                  <a:moveTo>
                    <a:pt x="539892" y="765195"/>
                  </a:moveTo>
                  <a:lnTo>
                    <a:pt x="538517" y="670358"/>
                  </a:lnTo>
                  <a:lnTo>
                    <a:pt x="0" y="0"/>
                  </a:lnTo>
                  <a:lnTo>
                    <a:pt x="3749" y="93838"/>
                  </a:lnTo>
                  <a:lnTo>
                    <a:pt x="10121" y="101835"/>
                  </a:lnTo>
                  <a:lnTo>
                    <a:pt x="539892" y="765195"/>
                  </a:lnTo>
                  <a:close/>
                </a:path>
              </a:pathLst>
            </a:custGeom>
            <a:solidFill>
              <a:schemeClr val="accent3"/>
            </a:solidFill>
            <a:ln w="12483" cap="flat">
              <a:noFill/>
              <a:prstDash val="solid"/>
              <a:miter/>
            </a:ln>
          </p:spPr>
          <p:txBody>
            <a:bodyPr rtlCol="0" anchor="ctr"/>
            <a:lstStyle/>
            <a:p>
              <a:endParaRPr lang="en-US"/>
            </a:p>
          </p:txBody>
        </p:sp>
        <p:sp>
          <p:nvSpPr>
            <p:cNvPr id="1138" name="Freeform: Shape 1137">
              <a:extLst>
                <a:ext uri="{FF2B5EF4-FFF2-40B4-BE49-F238E27FC236}">
                  <a16:creationId xmlns:a16="http://schemas.microsoft.com/office/drawing/2014/main" id="{4FB5E3DE-C0F2-40CC-BFD4-5A4619DA2AF7}"/>
                </a:ext>
              </a:extLst>
            </p:cNvPr>
            <p:cNvSpPr/>
            <p:nvPr/>
          </p:nvSpPr>
          <p:spPr>
            <a:xfrm>
              <a:off x="9918244" y="3280949"/>
              <a:ext cx="1074785" cy="667733"/>
            </a:xfrm>
            <a:custGeom>
              <a:avLst/>
              <a:gdLst>
                <a:gd name="connsiteX0" fmla="*/ 1999 w 1074785"/>
                <a:gd name="connsiteY0" fmla="*/ 666859 h 667733"/>
                <a:gd name="connsiteX1" fmla="*/ 2749 w 1074785"/>
                <a:gd name="connsiteY1" fmla="*/ 667734 h 667733"/>
                <a:gd name="connsiteX2" fmla="*/ 834015 w 1074785"/>
                <a:gd name="connsiteY2" fmla="*/ 222661 h 667733"/>
                <a:gd name="connsiteX3" fmla="*/ 1058917 w 1074785"/>
                <a:gd name="connsiteY3" fmla="*/ 102459 h 667733"/>
                <a:gd name="connsiteX4" fmla="*/ 1058917 w 1074785"/>
                <a:gd name="connsiteY4" fmla="*/ 102459 h 667733"/>
                <a:gd name="connsiteX5" fmla="*/ 1069663 w 1074785"/>
                <a:gd name="connsiteY5" fmla="*/ 96711 h 667733"/>
                <a:gd name="connsiteX6" fmla="*/ 1069663 w 1074785"/>
                <a:gd name="connsiteY6" fmla="*/ 96711 h 667733"/>
                <a:gd name="connsiteX7" fmla="*/ 1071412 w 1074785"/>
                <a:gd name="connsiteY7" fmla="*/ 96711 h 667733"/>
                <a:gd name="connsiteX8" fmla="*/ 1071412 w 1074785"/>
                <a:gd name="connsiteY8" fmla="*/ 96711 h 667733"/>
                <a:gd name="connsiteX9" fmla="*/ 1074786 w 1074785"/>
                <a:gd name="connsiteY9" fmla="*/ 4373 h 667733"/>
                <a:gd name="connsiteX10" fmla="*/ 1069538 w 1074785"/>
                <a:gd name="connsiteY10" fmla="*/ 0 h 667733"/>
                <a:gd name="connsiteX11" fmla="*/ 0 w 1074785"/>
                <a:gd name="connsiteY11" fmla="*/ 569148 h 667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4785" h="667733">
                  <a:moveTo>
                    <a:pt x="1999" y="666859"/>
                  </a:moveTo>
                  <a:lnTo>
                    <a:pt x="2749" y="667734"/>
                  </a:lnTo>
                  <a:lnTo>
                    <a:pt x="834015" y="222661"/>
                  </a:lnTo>
                  <a:lnTo>
                    <a:pt x="1058917" y="102459"/>
                  </a:lnTo>
                  <a:lnTo>
                    <a:pt x="1058917" y="102459"/>
                  </a:lnTo>
                  <a:lnTo>
                    <a:pt x="1069663" y="96711"/>
                  </a:lnTo>
                  <a:lnTo>
                    <a:pt x="1069663" y="96711"/>
                  </a:lnTo>
                  <a:lnTo>
                    <a:pt x="1071412" y="96711"/>
                  </a:lnTo>
                  <a:lnTo>
                    <a:pt x="1071412" y="96711"/>
                  </a:lnTo>
                  <a:lnTo>
                    <a:pt x="1074786" y="4373"/>
                  </a:lnTo>
                  <a:cubicBezTo>
                    <a:pt x="1072487" y="3748"/>
                    <a:pt x="1070575" y="2149"/>
                    <a:pt x="1069538" y="0"/>
                  </a:cubicBezTo>
                  <a:lnTo>
                    <a:pt x="0" y="569148"/>
                  </a:lnTo>
                  <a:close/>
                </a:path>
              </a:pathLst>
            </a:custGeom>
            <a:solidFill>
              <a:schemeClr val="accent1">
                <a:lumMod val="75000"/>
              </a:schemeClr>
            </a:solidFill>
            <a:ln w="12483" cap="flat">
              <a:noFill/>
              <a:prstDash val="solid"/>
              <a:miter/>
            </a:ln>
          </p:spPr>
          <p:txBody>
            <a:bodyPr rtlCol="0" anchor="ctr"/>
            <a:lstStyle/>
            <a:p>
              <a:endParaRPr lang="en-US"/>
            </a:p>
          </p:txBody>
        </p:sp>
        <p:sp>
          <p:nvSpPr>
            <p:cNvPr id="1139" name="Freeform: Shape 1138">
              <a:extLst>
                <a:ext uri="{FF2B5EF4-FFF2-40B4-BE49-F238E27FC236}">
                  <a16:creationId xmlns:a16="http://schemas.microsoft.com/office/drawing/2014/main" id="{20926BEB-7A53-4913-9A08-5250EB04023E}"/>
                </a:ext>
              </a:extLst>
            </p:cNvPr>
            <p:cNvSpPr/>
            <p:nvPr/>
          </p:nvSpPr>
          <p:spPr>
            <a:xfrm>
              <a:off x="10993280" y="2886231"/>
              <a:ext cx="361468" cy="793558"/>
            </a:xfrm>
            <a:custGeom>
              <a:avLst/>
              <a:gdLst>
                <a:gd name="connsiteX0" fmla="*/ 11245 w 361468"/>
                <a:gd name="connsiteY0" fmla="*/ 388470 h 793558"/>
                <a:gd name="connsiteX1" fmla="*/ 3374 w 361468"/>
                <a:gd name="connsiteY1" fmla="*/ 398591 h 793558"/>
                <a:gd name="connsiteX2" fmla="*/ 0 w 361468"/>
                <a:gd name="connsiteY2" fmla="*/ 490929 h 793558"/>
                <a:gd name="connsiteX3" fmla="*/ 1499 w 361468"/>
                <a:gd name="connsiteY3" fmla="*/ 490929 h 793558"/>
                <a:gd name="connsiteX4" fmla="*/ 2999 w 361468"/>
                <a:gd name="connsiteY4" fmla="*/ 492054 h 793558"/>
                <a:gd name="connsiteX5" fmla="*/ 4373 w 361468"/>
                <a:gd name="connsiteY5" fmla="*/ 493303 h 793558"/>
                <a:gd name="connsiteX6" fmla="*/ 5498 w 361468"/>
                <a:gd name="connsiteY6" fmla="*/ 495178 h 793558"/>
                <a:gd name="connsiteX7" fmla="*/ 6247 w 361468"/>
                <a:gd name="connsiteY7" fmla="*/ 496427 h 793558"/>
                <a:gd name="connsiteX8" fmla="*/ 6247 w 361468"/>
                <a:gd name="connsiteY8" fmla="*/ 496427 h 793558"/>
                <a:gd name="connsiteX9" fmla="*/ 6247 w 361468"/>
                <a:gd name="connsiteY9" fmla="*/ 498551 h 793558"/>
                <a:gd name="connsiteX10" fmla="*/ 6247 w 361468"/>
                <a:gd name="connsiteY10" fmla="*/ 500675 h 793558"/>
                <a:gd name="connsiteX11" fmla="*/ 6247 w 361468"/>
                <a:gd name="connsiteY11" fmla="*/ 500675 h 793558"/>
                <a:gd name="connsiteX12" fmla="*/ 6247 w 361468"/>
                <a:gd name="connsiteY12" fmla="*/ 518044 h 793558"/>
                <a:gd name="connsiteX13" fmla="*/ 6247 w 361468"/>
                <a:gd name="connsiteY13" fmla="*/ 531163 h 793558"/>
                <a:gd name="connsiteX14" fmla="*/ 226527 w 361468"/>
                <a:gd name="connsiteY14" fmla="*/ 781064 h 793558"/>
                <a:gd name="connsiteX15" fmla="*/ 237897 w 361468"/>
                <a:gd name="connsiteY15" fmla="*/ 793559 h 793558"/>
                <a:gd name="connsiteX16" fmla="*/ 341228 w 361468"/>
                <a:gd name="connsiteY16" fmla="*/ 736831 h 793558"/>
                <a:gd name="connsiteX17" fmla="*/ 361469 w 361468"/>
                <a:gd name="connsiteY17" fmla="*/ 368728 h 793558"/>
                <a:gd name="connsiteX18" fmla="*/ 25989 w 361468"/>
                <a:gd name="connsiteY18" fmla="*/ 0 h 793558"/>
                <a:gd name="connsiteX19" fmla="*/ 16493 w 361468"/>
                <a:gd name="connsiteY19" fmla="*/ 253774 h 79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468" h="793558">
                  <a:moveTo>
                    <a:pt x="11245" y="388470"/>
                  </a:moveTo>
                  <a:cubicBezTo>
                    <a:pt x="11320" y="393268"/>
                    <a:pt x="8047" y="397479"/>
                    <a:pt x="3374" y="398591"/>
                  </a:cubicBezTo>
                  <a:lnTo>
                    <a:pt x="0" y="490929"/>
                  </a:lnTo>
                  <a:cubicBezTo>
                    <a:pt x="500" y="490867"/>
                    <a:pt x="1000" y="490867"/>
                    <a:pt x="1499" y="490929"/>
                  </a:cubicBezTo>
                  <a:lnTo>
                    <a:pt x="2999" y="492054"/>
                  </a:lnTo>
                  <a:cubicBezTo>
                    <a:pt x="3511" y="492404"/>
                    <a:pt x="3973" y="492829"/>
                    <a:pt x="4373" y="493303"/>
                  </a:cubicBezTo>
                  <a:cubicBezTo>
                    <a:pt x="4798" y="493903"/>
                    <a:pt x="5173" y="494528"/>
                    <a:pt x="5498" y="495178"/>
                  </a:cubicBezTo>
                  <a:lnTo>
                    <a:pt x="6247" y="496427"/>
                  </a:lnTo>
                  <a:lnTo>
                    <a:pt x="6247" y="496427"/>
                  </a:lnTo>
                  <a:cubicBezTo>
                    <a:pt x="6322" y="497139"/>
                    <a:pt x="6322" y="497839"/>
                    <a:pt x="6247" y="498551"/>
                  </a:cubicBezTo>
                  <a:cubicBezTo>
                    <a:pt x="6310" y="499263"/>
                    <a:pt x="6310" y="499963"/>
                    <a:pt x="6247" y="500675"/>
                  </a:cubicBezTo>
                  <a:lnTo>
                    <a:pt x="6247" y="500675"/>
                  </a:lnTo>
                  <a:lnTo>
                    <a:pt x="6247" y="518044"/>
                  </a:lnTo>
                  <a:lnTo>
                    <a:pt x="6247" y="531163"/>
                  </a:lnTo>
                  <a:lnTo>
                    <a:pt x="226527" y="781064"/>
                  </a:lnTo>
                  <a:lnTo>
                    <a:pt x="237897" y="793559"/>
                  </a:lnTo>
                  <a:lnTo>
                    <a:pt x="341228" y="736831"/>
                  </a:lnTo>
                  <a:lnTo>
                    <a:pt x="361469" y="368728"/>
                  </a:lnTo>
                  <a:lnTo>
                    <a:pt x="25989" y="0"/>
                  </a:lnTo>
                  <a:lnTo>
                    <a:pt x="16493" y="253774"/>
                  </a:lnTo>
                  <a:close/>
                </a:path>
              </a:pathLst>
            </a:custGeom>
            <a:solidFill>
              <a:schemeClr val="accent4"/>
            </a:solidFill>
            <a:ln w="12483" cap="flat">
              <a:noFill/>
              <a:prstDash val="solid"/>
              <a:miter/>
            </a:ln>
          </p:spPr>
          <p:txBody>
            <a:bodyPr rtlCol="0" anchor="ctr"/>
            <a:lstStyle/>
            <a:p>
              <a:endParaRPr lang="en-US"/>
            </a:p>
          </p:txBody>
        </p:sp>
        <p:sp>
          <p:nvSpPr>
            <p:cNvPr id="1140" name="Freeform: Shape 1139">
              <a:extLst>
                <a:ext uri="{FF2B5EF4-FFF2-40B4-BE49-F238E27FC236}">
                  <a16:creationId xmlns:a16="http://schemas.microsoft.com/office/drawing/2014/main" id="{6C588249-ED00-4215-9418-0F6052C2C04A}"/>
                </a:ext>
              </a:extLst>
            </p:cNvPr>
            <p:cNvSpPr/>
            <p:nvPr/>
          </p:nvSpPr>
          <p:spPr>
            <a:xfrm>
              <a:off x="9350240" y="2238864"/>
              <a:ext cx="931972" cy="918675"/>
            </a:xfrm>
            <a:custGeom>
              <a:avLst/>
              <a:gdLst>
                <a:gd name="connsiteX0" fmla="*/ 23740 w 931972"/>
                <a:gd name="connsiteY0" fmla="*/ 917259 h 918675"/>
                <a:gd name="connsiteX1" fmla="*/ 24365 w 931972"/>
                <a:gd name="connsiteY1" fmla="*/ 918509 h 918675"/>
                <a:gd name="connsiteX2" fmla="*/ 24365 w 931972"/>
                <a:gd name="connsiteY2" fmla="*/ 918509 h 918675"/>
                <a:gd name="connsiteX3" fmla="*/ 930473 w 931972"/>
                <a:gd name="connsiteY3" fmla="*/ 461066 h 918675"/>
                <a:gd name="connsiteX4" fmla="*/ 931972 w 931972"/>
                <a:gd name="connsiteY4" fmla="*/ 0 h 918675"/>
                <a:gd name="connsiteX5" fmla="*/ 0 w 931972"/>
                <a:gd name="connsiteY5" fmla="*/ 458817 h 918675"/>
                <a:gd name="connsiteX6" fmla="*/ 18242 w 931972"/>
                <a:gd name="connsiteY6" fmla="*/ 910637 h 91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972" h="918675">
                  <a:moveTo>
                    <a:pt x="23740" y="917259"/>
                  </a:moveTo>
                  <a:cubicBezTo>
                    <a:pt x="23740" y="917259"/>
                    <a:pt x="23740" y="918134"/>
                    <a:pt x="24365" y="918509"/>
                  </a:cubicBezTo>
                  <a:cubicBezTo>
                    <a:pt x="24989" y="918884"/>
                    <a:pt x="24365" y="918509"/>
                    <a:pt x="24365" y="918509"/>
                  </a:cubicBezTo>
                  <a:lnTo>
                    <a:pt x="930473" y="461066"/>
                  </a:lnTo>
                  <a:lnTo>
                    <a:pt x="931972" y="0"/>
                  </a:lnTo>
                  <a:lnTo>
                    <a:pt x="0" y="458817"/>
                  </a:lnTo>
                  <a:lnTo>
                    <a:pt x="18242" y="910637"/>
                  </a:lnTo>
                  <a:close/>
                </a:path>
              </a:pathLst>
            </a:custGeom>
            <a:solidFill>
              <a:schemeClr val="accent6"/>
            </a:solidFill>
            <a:ln w="12483" cap="flat">
              <a:noFill/>
              <a:prstDash val="solid"/>
              <a:miter/>
            </a:ln>
          </p:spPr>
          <p:txBody>
            <a:bodyPr rtlCol="0" anchor="ctr"/>
            <a:lstStyle/>
            <a:p>
              <a:endParaRPr lang="en-US"/>
            </a:p>
          </p:txBody>
        </p:sp>
        <p:sp>
          <p:nvSpPr>
            <p:cNvPr id="1141" name="Freeform: Shape 1140">
              <a:extLst>
                <a:ext uri="{FF2B5EF4-FFF2-40B4-BE49-F238E27FC236}">
                  <a16:creationId xmlns:a16="http://schemas.microsoft.com/office/drawing/2014/main" id="{942DA25A-422D-459D-ADB4-8C1406A9417D}"/>
                </a:ext>
              </a:extLst>
            </p:cNvPr>
            <p:cNvSpPr/>
            <p:nvPr/>
          </p:nvSpPr>
          <p:spPr>
            <a:xfrm>
              <a:off x="9269525" y="2602719"/>
              <a:ext cx="95333" cy="541908"/>
            </a:xfrm>
            <a:custGeom>
              <a:avLst/>
              <a:gdLst>
                <a:gd name="connsiteX0" fmla="*/ 20741 w 95333"/>
                <a:gd name="connsiteY0" fmla="*/ 452320 h 541908"/>
                <a:gd name="connsiteX1" fmla="*/ 22365 w 95333"/>
                <a:gd name="connsiteY1" fmla="*/ 452320 h 541908"/>
                <a:gd name="connsiteX2" fmla="*/ 23490 w 95333"/>
                <a:gd name="connsiteY2" fmla="*/ 453194 h 541908"/>
                <a:gd name="connsiteX3" fmla="*/ 25239 w 95333"/>
                <a:gd name="connsiteY3" fmla="*/ 454569 h 541908"/>
                <a:gd name="connsiteX4" fmla="*/ 25239 w 95333"/>
                <a:gd name="connsiteY4" fmla="*/ 454569 h 541908"/>
                <a:gd name="connsiteX5" fmla="*/ 91336 w 95333"/>
                <a:gd name="connsiteY5" fmla="*/ 536786 h 541908"/>
                <a:gd name="connsiteX6" fmla="*/ 95334 w 95333"/>
                <a:gd name="connsiteY6" fmla="*/ 541909 h 541908"/>
                <a:gd name="connsiteX7" fmla="*/ 77217 w 95333"/>
                <a:gd name="connsiteY7" fmla="*/ 93838 h 541908"/>
                <a:gd name="connsiteX8" fmla="*/ 0 w 95333"/>
                <a:gd name="connsiteY8" fmla="*/ 0 h 541908"/>
                <a:gd name="connsiteX9" fmla="*/ 19866 w 95333"/>
                <a:gd name="connsiteY9" fmla="*/ 451445 h 54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33" h="541908">
                  <a:moveTo>
                    <a:pt x="20741" y="452320"/>
                  </a:moveTo>
                  <a:lnTo>
                    <a:pt x="22365" y="452320"/>
                  </a:lnTo>
                  <a:cubicBezTo>
                    <a:pt x="22790" y="452532"/>
                    <a:pt x="23178" y="452832"/>
                    <a:pt x="23490" y="453194"/>
                  </a:cubicBezTo>
                  <a:cubicBezTo>
                    <a:pt x="24152" y="453544"/>
                    <a:pt x="24739" y="454006"/>
                    <a:pt x="25239" y="454569"/>
                  </a:cubicBezTo>
                  <a:lnTo>
                    <a:pt x="25239" y="454569"/>
                  </a:lnTo>
                  <a:lnTo>
                    <a:pt x="91336" y="536786"/>
                  </a:lnTo>
                  <a:lnTo>
                    <a:pt x="95334" y="541909"/>
                  </a:lnTo>
                  <a:lnTo>
                    <a:pt x="77217" y="93838"/>
                  </a:lnTo>
                  <a:lnTo>
                    <a:pt x="0" y="0"/>
                  </a:lnTo>
                  <a:lnTo>
                    <a:pt x="19866" y="451445"/>
                  </a:lnTo>
                  <a:close/>
                </a:path>
              </a:pathLst>
            </a:custGeom>
            <a:solidFill>
              <a:schemeClr val="accent5">
                <a:lumMod val="75000"/>
              </a:schemeClr>
            </a:solidFill>
            <a:ln w="12483" cap="flat">
              <a:noFill/>
              <a:prstDash val="solid"/>
              <a:miter/>
            </a:ln>
          </p:spPr>
          <p:txBody>
            <a:bodyPr rtlCol="0" anchor="ctr"/>
            <a:lstStyle/>
            <a:p>
              <a:endParaRPr lang="en-US"/>
            </a:p>
          </p:txBody>
        </p:sp>
        <p:sp>
          <p:nvSpPr>
            <p:cNvPr id="1142" name="Freeform: Shape 1141">
              <a:extLst>
                <a:ext uri="{FF2B5EF4-FFF2-40B4-BE49-F238E27FC236}">
                  <a16:creationId xmlns:a16="http://schemas.microsoft.com/office/drawing/2014/main" id="{9FB303F8-9B05-4EDE-8A13-CFB75244F810}"/>
                </a:ext>
              </a:extLst>
            </p:cNvPr>
            <p:cNvSpPr/>
            <p:nvPr/>
          </p:nvSpPr>
          <p:spPr>
            <a:xfrm>
              <a:off x="7143819" y="2137779"/>
              <a:ext cx="618607" cy="456068"/>
            </a:xfrm>
            <a:custGeom>
              <a:avLst/>
              <a:gdLst>
                <a:gd name="connsiteX0" fmla="*/ 618608 w 618607"/>
                <a:gd name="connsiteY0" fmla="*/ 254898 h 456068"/>
                <a:gd name="connsiteX1" fmla="*/ 428190 w 618607"/>
                <a:gd name="connsiteY1" fmla="*/ 0 h 456068"/>
                <a:gd name="connsiteX2" fmla="*/ 0 w 618607"/>
                <a:gd name="connsiteY2" fmla="*/ 193923 h 456068"/>
                <a:gd name="connsiteX3" fmla="*/ 750 w 618607"/>
                <a:gd name="connsiteY3" fmla="*/ 199171 h 456068"/>
                <a:gd name="connsiteX4" fmla="*/ 183796 w 618607"/>
                <a:gd name="connsiteY4" fmla="*/ 456068 h 456068"/>
                <a:gd name="connsiteX5" fmla="*/ 618608 w 618607"/>
                <a:gd name="connsiteY5" fmla="*/ 254898 h 45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607" h="456068">
                  <a:moveTo>
                    <a:pt x="618608" y="254898"/>
                  </a:moveTo>
                  <a:lnTo>
                    <a:pt x="428190" y="0"/>
                  </a:lnTo>
                  <a:lnTo>
                    <a:pt x="0" y="193923"/>
                  </a:lnTo>
                  <a:lnTo>
                    <a:pt x="750" y="199171"/>
                  </a:lnTo>
                  <a:lnTo>
                    <a:pt x="183796" y="456068"/>
                  </a:lnTo>
                  <a:lnTo>
                    <a:pt x="618608" y="254898"/>
                  </a:lnTo>
                  <a:close/>
                </a:path>
              </a:pathLst>
            </a:custGeom>
            <a:solidFill>
              <a:schemeClr val="tx2"/>
            </a:solidFill>
            <a:ln w="12483" cap="flat">
              <a:noFill/>
              <a:prstDash val="solid"/>
              <a:miter/>
            </a:ln>
          </p:spPr>
          <p:txBody>
            <a:bodyPr rtlCol="0" anchor="ctr"/>
            <a:lstStyle/>
            <a:p>
              <a:endParaRPr lang="en-US"/>
            </a:p>
          </p:txBody>
        </p:sp>
        <p:sp>
          <p:nvSpPr>
            <p:cNvPr id="1143" name="Freeform: Shape 1142">
              <a:extLst>
                <a:ext uri="{FF2B5EF4-FFF2-40B4-BE49-F238E27FC236}">
                  <a16:creationId xmlns:a16="http://schemas.microsoft.com/office/drawing/2014/main" id="{8632DA54-2651-4424-923E-E9744DBA9A16}"/>
                </a:ext>
              </a:extLst>
            </p:cNvPr>
            <p:cNvSpPr/>
            <p:nvPr/>
          </p:nvSpPr>
          <p:spPr>
            <a:xfrm>
              <a:off x="11524426" y="3031048"/>
              <a:ext cx="72718" cy="82966"/>
            </a:xfrm>
            <a:custGeom>
              <a:avLst/>
              <a:gdLst>
                <a:gd name="connsiteX0" fmla="*/ 3624 w 72718"/>
                <a:gd name="connsiteY0" fmla="*/ 8996 h 82966"/>
                <a:gd name="connsiteX1" fmla="*/ 72344 w 72718"/>
                <a:gd name="connsiteY1" fmla="*/ 82967 h 82966"/>
                <a:gd name="connsiteX2" fmla="*/ 72719 w 72718"/>
                <a:gd name="connsiteY2" fmla="*/ 77844 h 82966"/>
                <a:gd name="connsiteX3" fmla="*/ 375 w 72718"/>
                <a:gd name="connsiteY3" fmla="*/ 0 h 82966"/>
                <a:gd name="connsiteX4" fmla="*/ 0 w 72718"/>
                <a:gd name="connsiteY4" fmla="*/ 4998 h 82966"/>
                <a:gd name="connsiteX5" fmla="*/ 3624 w 72718"/>
                <a:gd name="connsiteY5" fmla="*/ 8996 h 8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18" h="82966">
                  <a:moveTo>
                    <a:pt x="3624" y="8996"/>
                  </a:moveTo>
                  <a:lnTo>
                    <a:pt x="72344" y="82967"/>
                  </a:lnTo>
                  <a:lnTo>
                    <a:pt x="72719" y="77844"/>
                  </a:lnTo>
                  <a:lnTo>
                    <a:pt x="375" y="0"/>
                  </a:lnTo>
                  <a:lnTo>
                    <a:pt x="0" y="4998"/>
                  </a:lnTo>
                  <a:lnTo>
                    <a:pt x="3624" y="8996"/>
                  </a:lnTo>
                  <a:close/>
                </a:path>
              </a:pathLst>
            </a:custGeom>
            <a:solidFill>
              <a:srgbClr val="F9C996"/>
            </a:solidFill>
            <a:ln w="12483" cap="flat">
              <a:noFill/>
              <a:prstDash val="solid"/>
              <a:miter/>
            </a:ln>
          </p:spPr>
          <p:txBody>
            <a:bodyPr rtlCol="0" anchor="ctr"/>
            <a:lstStyle/>
            <a:p>
              <a:endParaRPr lang="en-US"/>
            </a:p>
          </p:txBody>
        </p:sp>
        <p:sp>
          <p:nvSpPr>
            <p:cNvPr id="1144" name="Freeform: Shape 1143">
              <a:extLst>
                <a:ext uri="{FF2B5EF4-FFF2-40B4-BE49-F238E27FC236}">
                  <a16:creationId xmlns:a16="http://schemas.microsoft.com/office/drawing/2014/main" id="{242E3D4D-ED1B-4D41-BA93-87E9825C8435}"/>
                </a:ext>
              </a:extLst>
            </p:cNvPr>
            <p:cNvSpPr/>
            <p:nvPr/>
          </p:nvSpPr>
          <p:spPr>
            <a:xfrm>
              <a:off x="11599768" y="3112141"/>
              <a:ext cx="67720" cy="74345"/>
            </a:xfrm>
            <a:custGeom>
              <a:avLst/>
              <a:gdLst>
                <a:gd name="connsiteX0" fmla="*/ 3624 w 67720"/>
                <a:gd name="connsiteY0" fmla="*/ 8872 h 74345"/>
                <a:gd name="connsiteX1" fmla="*/ 64347 w 67720"/>
                <a:gd name="connsiteY1" fmla="*/ 74345 h 74345"/>
                <a:gd name="connsiteX2" fmla="*/ 67721 w 67720"/>
                <a:gd name="connsiteY2" fmla="*/ 72596 h 74345"/>
                <a:gd name="connsiteX3" fmla="*/ 250 w 67720"/>
                <a:gd name="connsiteY3" fmla="*/ 0 h 74345"/>
                <a:gd name="connsiteX4" fmla="*/ 0 w 67720"/>
                <a:gd name="connsiteY4" fmla="*/ 4998 h 74345"/>
                <a:gd name="connsiteX5" fmla="*/ 3624 w 67720"/>
                <a:gd name="connsiteY5" fmla="*/ 8872 h 7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20" h="74345">
                  <a:moveTo>
                    <a:pt x="3624" y="8872"/>
                  </a:moveTo>
                  <a:lnTo>
                    <a:pt x="64347" y="74345"/>
                  </a:lnTo>
                  <a:lnTo>
                    <a:pt x="67721" y="72596"/>
                  </a:lnTo>
                  <a:lnTo>
                    <a:pt x="250" y="0"/>
                  </a:lnTo>
                  <a:lnTo>
                    <a:pt x="0" y="4998"/>
                  </a:lnTo>
                  <a:lnTo>
                    <a:pt x="3624" y="8872"/>
                  </a:lnTo>
                  <a:close/>
                </a:path>
              </a:pathLst>
            </a:custGeom>
            <a:solidFill>
              <a:srgbClr val="F4F5F3"/>
            </a:solidFill>
            <a:ln w="12483" cap="flat">
              <a:noFill/>
              <a:prstDash val="solid"/>
              <a:miter/>
            </a:ln>
          </p:spPr>
          <p:txBody>
            <a:bodyPr rtlCol="0" anchor="ctr"/>
            <a:lstStyle/>
            <a:p>
              <a:endParaRPr lang="en-US"/>
            </a:p>
          </p:txBody>
        </p:sp>
        <p:sp>
          <p:nvSpPr>
            <p:cNvPr id="1145" name="Freeform: Shape 1144">
              <a:extLst>
                <a:ext uri="{FF2B5EF4-FFF2-40B4-BE49-F238E27FC236}">
                  <a16:creationId xmlns:a16="http://schemas.microsoft.com/office/drawing/2014/main" id="{5F4F5D27-952F-4250-9E5B-FBAB3D34A94F}"/>
                </a:ext>
              </a:extLst>
            </p:cNvPr>
            <p:cNvSpPr/>
            <p:nvPr/>
          </p:nvSpPr>
          <p:spPr>
            <a:xfrm>
              <a:off x="11601642" y="2784771"/>
              <a:ext cx="602364" cy="471811"/>
            </a:xfrm>
            <a:custGeom>
              <a:avLst/>
              <a:gdLst>
                <a:gd name="connsiteX0" fmla="*/ 69095 w 602364"/>
                <a:gd name="connsiteY0" fmla="*/ 398216 h 471811"/>
                <a:gd name="connsiteX1" fmla="*/ 71219 w 602364"/>
                <a:gd name="connsiteY1" fmla="*/ 397092 h 471811"/>
                <a:gd name="connsiteX2" fmla="*/ 250142 w 602364"/>
                <a:gd name="connsiteY2" fmla="*/ 300255 h 471811"/>
                <a:gd name="connsiteX3" fmla="*/ 250142 w 602364"/>
                <a:gd name="connsiteY3" fmla="*/ 300255 h 471811"/>
                <a:gd name="connsiteX4" fmla="*/ 251142 w 602364"/>
                <a:gd name="connsiteY4" fmla="*/ 300255 h 471811"/>
                <a:gd name="connsiteX5" fmla="*/ 253390 w 602364"/>
                <a:gd name="connsiteY5" fmla="*/ 299630 h 471811"/>
                <a:gd name="connsiteX6" fmla="*/ 255015 w 602364"/>
                <a:gd name="connsiteY6" fmla="*/ 299630 h 471811"/>
                <a:gd name="connsiteX7" fmla="*/ 256764 w 602364"/>
                <a:gd name="connsiteY7" fmla="*/ 299630 h 471811"/>
                <a:gd name="connsiteX8" fmla="*/ 258638 w 602364"/>
                <a:gd name="connsiteY8" fmla="*/ 300880 h 471811"/>
                <a:gd name="connsiteX9" fmla="*/ 259638 w 602364"/>
                <a:gd name="connsiteY9" fmla="*/ 301630 h 471811"/>
                <a:gd name="connsiteX10" fmla="*/ 259638 w 602364"/>
                <a:gd name="connsiteY10" fmla="*/ 301630 h 471811"/>
                <a:gd name="connsiteX11" fmla="*/ 259638 w 602364"/>
                <a:gd name="connsiteY11" fmla="*/ 301630 h 471811"/>
                <a:gd name="connsiteX12" fmla="*/ 418694 w 602364"/>
                <a:gd name="connsiteY12" fmla="*/ 470063 h 471811"/>
                <a:gd name="connsiteX13" fmla="*/ 420443 w 602364"/>
                <a:gd name="connsiteY13" fmla="*/ 471812 h 471811"/>
                <a:gd name="connsiteX14" fmla="*/ 573627 w 602364"/>
                <a:gd name="connsiteY14" fmla="*/ 388470 h 471811"/>
                <a:gd name="connsiteX15" fmla="*/ 573627 w 602364"/>
                <a:gd name="connsiteY15" fmla="*/ 384222 h 471811"/>
                <a:gd name="connsiteX16" fmla="*/ 602365 w 602364"/>
                <a:gd name="connsiteY16" fmla="*/ 77219 h 471811"/>
                <a:gd name="connsiteX17" fmla="*/ 602365 w 602364"/>
                <a:gd name="connsiteY17" fmla="*/ 0 h 471811"/>
                <a:gd name="connsiteX18" fmla="*/ 0 w 602364"/>
                <a:gd name="connsiteY18" fmla="*/ 323871 h 47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2364" h="471811">
                  <a:moveTo>
                    <a:pt x="69095" y="398216"/>
                  </a:moveTo>
                  <a:lnTo>
                    <a:pt x="71219" y="397092"/>
                  </a:lnTo>
                  <a:lnTo>
                    <a:pt x="250142" y="300255"/>
                  </a:lnTo>
                  <a:lnTo>
                    <a:pt x="250142" y="300255"/>
                  </a:lnTo>
                  <a:lnTo>
                    <a:pt x="251142" y="300255"/>
                  </a:lnTo>
                  <a:cubicBezTo>
                    <a:pt x="251854" y="299930"/>
                    <a:pt x="252616" y="299718"/>
                    <a:pt x="253390" y="299630"/>
                  </a:cubicBezTo>
                  <a:lnTo>
                    <a:pt x="255015" y="299630"/>
                  </a:lnTo>
                  <a:lnTo>
                    <a:pt x="256764" y="299630"/>
                  </a:lnTo>
                  <a:cubicBezTo>
                    <a:pt x="257438" y="299955"/>
                    <a:pt x="258076" y="300380"/>
                    <a:pt x="258638" y="300880"/>
                  </a:cubicBezTo>
                  <a:cubicBezTo>
                    <a:pt x="259025" y="301055"/>
                    <a:pt x="259363" y="301317"/>
                    <a:pt x="259638" y="301630"/>
                  </a:cubicBezTo>
                  <a:lnTo>
                    <a:pt x="259638" y="301630"/>
                  </a:lnTo>
                  <a:lnTo>
                    <a:pt x="259638" y="301630"/>
                  </a:lnTo>
                  <a:lnTo>
                    <a:pt x="418694" y="470063"/>
                  </a:lnTo>
                  <a:lnTo>
                    <a:pt x="420443" y="471812"/>
                  </a:lnTo>
                  <a:lnTo>
                    <a:pt x="573627" y="388470"/>
                  </a:lnTo>
                  <a:lnTo>
                    <a:pt x="573627" y="384222"/>
                  </a:lnTo>
                  <a:lnTo>
                    <a:pt x="602365" y="77219"/>
                  </a:lnTo>
                  <a:lnTo>
                    <a:pt x="602365" y="0"/>
                  </a:lnTo>
                  <a:lnTo>
                    <a:pt x="0" y="323871"/>
                  </a:lnTo>
                  <a:close/>
                </a:path>
              </a:pathLst>
            </a:custGeom>
            <a:solidFill>
              <a:schemeClr val="accent6"/>
            </a:solidFill>
            <a:ln w="12483" cap="flat">
              <a:noFill/>
              <a:prstDash val="solid"/>
              <a:miter/>
            </a:ln>
          </p:spPr>
          <p:txBody>
            <a:bodyPr rtlCol="0" anchor="ctr"/>
            <a:lstStyle/>
            <a:p>
              <a:endParaRPr lang="en-US"/>
            </a:p>
          </p:txBody>
        </p:sp>
        <p:sp>
          <p:nvSpPr>
            <p:cNvPr id="1146" name="Freeform: Shape 1145">
              <a:extLst>
                <a:ext uri="{FF2B5EF4-FFF2-40B4-BE49-F238E27FC236}">
                  <a16:creationId xmlns:a16="http://schemas.microsoft.com/office/drawing/2014/main" id="{3663FEB4-568F-43C3-B46F-D75A5EF5643B}"/>
                </a:ext>
              </a:extLst>
            </p:cNvPr>
            <p:cNvSpPr/>
            <p:nvPr/>
          </p:nvSpPr>
          <p:spPr>
            <a:xfrm>
              <a:off x="12025334" y="3177740"/>
              <a:ext cx="149935" cy="403214"/>
            </a:xfrm>
            <a:custGeom>
              <a:avLst/>
              <a:gdLst>
                <a:gd name="connsiteX0" fmla="*/ 61224 w 149935"/>
                <a:gd name="connsiteY0" fmla="*/ 148691 h 403214"/>
                <a:gd name="connsiteX1" fmla="*/ 61224 w 149935"/>
                <a:gd name="connsiteY1" fmla="*/ 150690 h 403214"/>
                <a:gd name="connsiteX2" fmla="*/ 61224 w 149935"/>
                <a:gd name="connsiteY2" fmla="*/ 152814 h 403214"/>
                <a:gd name="connsiteX3" fmla="*/ 61224 w 149935"/>
                <a:gd name="connsiteY3" fmla="*/ 153314 h 403214"/>
                <a:gd name="connsiteX4" fmla="*/ 38858 w 149935"/>
                <a:gd name="connsiteY4" fmla="*/ 403214 h 403214"/>
                <a:gd name="connsiteX5" fmla="*/ 115575 w 149935"/>
                <a:gd name="connsiteY5" fmla="*/ 360356 h 403214"/>
                <a:gd name="connsiteX6" fmla="*/ 149935 w 149935"/>
                <a:gd name="connsiteY6" fmla="*/ 0 h 403214"/>
                <a:gd name="connsiteX7" fmla="*/ 0 w 149935"/>
                <a:gd name="connsiteY7" fmla="*/ 82217 h 403214"/>
                <a:gd name="connsiteX8" fmla="*/ 58850 w 149935"/>
                <a:gd name="connsiteY8" fmla="*/ 144692 h 403214"/>
                <a:gd name="connsiteX9" fmla="*/ 58850 w 149935"/>
                <a:gd name="connsiteY9" fmla="*/ 145442 h 403214"/>
                <a:gd name="connsiteX10" fmla="*/ 59974 w 149935"/>
                <a:gd name="connsiteY10" fmla="*/ 147191 h 40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935" h="403214">
                  <a:moveTo>
                    <a:pt x="61224" y="148691"/>
                  </a:moveTo>
                  <a:lnTo>
                    <a:pt x="61224" y="150690"/>
                  </a:lnTo>
                  <a:cubicBezTo>
                    <a:pt x="61286" y="151402"/>
                    <a:pt x="61286" y="152102"/>
                    <a:pt x="61224" y="152814"/>
                  </a:cubicBezTo>
                  <a:lnTo>
                    <a:pt x="61224" y="153314"/>
                  </a:lnTo>
                  <a:lnTo>
                    <a:pt x="38858" y="403214"/>
                  </a:lnTo>
                  <a:lnTo>
                    <a:pt x="115575" y="360356"/>
                  </a:lnTo>
                  <a:lnTo>
                    <a:pt x="149935" y="0"/>
                  </a:lnTo>
                  <a:lnTo>
                    <a:pt x="0" y="82217"/>
                  </a:lnTo>
                  <a:lnTo>
                    <a:pt x="58850" y="144692"/>
                  </a:lnTo>
                  <a:cubicBezTo>
                    <a:pt x="58850" y="144692"/>
                    <a:pt x="58850" y="144692"/>
                    <a:pt x="58850" y="145442"/>
                  </a:cubicBezTo>
                  <a:lnTo>
                    <a:pt x="59974" y="147191"/>
                  </a:lnTo>
                  <a:close/>
                </a:path>
              </a:pathLst>
            </a:custGeom>
            <a:solidFill>
              <a:schemeClr val="accent1"/>
            </a:solidFill>
            <a:ln w="12483" cap="flat">
              <a:noFill/>
              <a:prstDash val="solid"/>
              <a:miter/>
            </a:ln>
          </p:spPr>
          <p:txBody>
            <a:bodyPr rtlCol="0" anchor="ctr"/>
            <a:lstStyle/>
            <a:p>
              <a:endParaRPr lang="en-US"/>
            </a:p>
          </p:txBody>
        </p:sp>
        <p:sp>
          <p:nvSpPr>
            <p:cNvPr id="1147" name="Freeform: Shape 1146">
              <a:extLst>
                <a:ext uri="{FF2B5EF4-FFF2-40B4-BE49-F238E27FC236}">
                  <a16:creationId xmlns:a16="http://schemas.microsoft.com/office/drawing/2014/main" id="{B46B824B-8137-4FBD-A9F2-AE2F2FC2E676}"/>
                </a:ext>
              </a:extLst>
            </p:cNvPr>
            <p:cNvSpPr/>
            <p:nvPr/>
          </p:nvSpPr>
          <p:spPr>
            <a:xfrm>
              <a:off x="11526300" y="2665694"/>
              <a:ext cx="678706" cy="440199"/>
            </a:xfrm>
            <a:custGeom>
              <a:avLst/>
              <a:gdLst>
                <a:gd name="connsiteX0" fmla="*/ 72719 w 678706"/>
                <a:gd name="connsiteY0" fmla="*/ 440199 h 440199"/>
                <a:gd name="connsiteX1" fmla="*/ 678707 w 678706"/>
                <a:gd name="connsiteY1" fmla="*/ 114954 h 440199"/>
                <a:gd name="connsiteX2" fmla="*/ 678707 w 678706"/>
                <a:gd name="connsiteY2" fmla="*/ 0 h 440199"/>
                <a:gd name="connsiteX3" fmla="*/ 0 w 678706"/>
                <a:gd name="connsiteY3" fmla="*/ 361981 h 440199"/>
                <a:gd name="connsiteX4" fmla="*/ 72719 w 678706"/>
                <a:gd name="connsiteY4" fmla="*/ 440199 h 440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706" h="440199">
                  <a:moveTo>
                    <a:pt x="72719" y="440199"/>
                  </a:moveTo>
                  <a:lnTo>
                    <a:pt x="678707" y="114954"/>
                  </a:lnTo>
                  <a:lnTo>
                    <a:pt x="678707" y="0"/>
                  </a:lnTo>
                  <a:lnTo>
                    <a:pt x="0" y="361981"/>
                  </a:lnTo>
                  <a:lnTo>
                    <a:pt x="72719" y="440199"/>
                  </a:lnTo>
                  <a:close/>
                </a:path>
              </a:pathLst>
            </a:custGeom>
            <a:solidFill>
              <a:schemeClr val="accent5"/>
            </a:solidFill>
            <a:ln w="12483" cap="flat">
              <a:noFill/>
              <a:prstDash val="solid"/>
              <a:miter/>
            </a:ln>
          </p:spPr>
          <p:txBody>
            <a:bodyPr rtlCol="0" anchor="ctr"/>
            <a:lstStyle/>
            <a:p>
              <a:endParaRPr lang="en-US"/>
            </a:p>
          </p:txBody>
        </p:sp>
        <p:sp>
          <p:nvSpPr>
            <p:cNvPr id="1148" name="Freeform: Shape 1147">
              <a:extLst>
                <a:ext uri="{FF2B5EF4-FFF2-40B4-BE49-F238E27FC236}">
                  <a16:creationId xmlns:a16="http://schemas.microsoft.com/office/drawing/2014/main" id="{23C433EB-6807-41C7-B90A-B084C29DCB15}"/>
                </a:ext>
              </a:extLst>
            </p:cNvPr>
            <p:cNvSpPr/>
            <p:nvPr/>
          </p:nvSpPr>
          <p:spPr>
            <a:xfrm>
              <a:off x="12057696" y="3563961"/>
              <a:ext cx="81464" cy="98210"/>
            </a:xfrm>
            <a:custGeom>
              <a:avLst/>
              <a:gdLst>
                <a:gd name="connsiteX0" fmla="*/ 0 w 81464"/>
                <a:gd name="connsiteY0" fmla="*/ 98211 h 98210"/>
                <a:gd name="connsiteX1" fmla="*/ 76342 w 81464"/>
                <a:gd name="connsiteY1" fmla="*/ 55478 h 98210"/>
                <a:gd name="connsiteX2" fmla="*/ 76716 w 81464"/>
                <a:gd name="connsiteY2" fmla="*/ 51105 h 98210"/>
                <a:gd name="connsiteX3" fmla="*/ 81464 w 81464"/>
                <a:gd name="connsiteY3" fmla="*/ 0 h 98210"/>
                <a:gd name="connsiteX4" fmla="*/ 4872 w 81464"/>
                <a:gd name="connsiteY4" fmla="*/ 42733 h 98210"/>
                <a:gd name="connsiteX5" fmla="*/ 0 w 81464"/>
                <a:gd name="connsiteY5" fmla="*/ 98211 h 9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64" h="98210">
                  <a:moveTo>
                    <a:pt x="0" y="98211"/>
                  </a:moveTo>
                  <a:lnTo>
                    <a:pt x="76342" y="55478"/>
                  </a:lnTo>
                  <a:lnTo>
                    <a:pt x="76716" y="51105"/>
                  </a:lnTo>
                  <a:lnTo>
                    <a:pt x="81464" y="0"/>
                  </a:lnTo>
                  <a:lnTo>
                    <a:pt x="4872" y="42733"/>
                  </a:lnTo>
                  <a:lnTo>
                    <a:pt x="0" y="98211"/>
                  </a:lnTo>
                  <a:close/>
                </a:path>
              </a:pathLst>
            </a:custGeom>
            <a:solidFill>
              <a:schemeClr val="tx2"/>
            </a:solidFill>
            <a:ln w="12483" cap="flat">
              <a:noFill/>
              <a:prstDash val="solid"/>
              <a:miter/>
            </a:ln>
          </p:spPr>
          <p:txBody>
            <a:bodyPr rtlCol="0" anchor="ctr"/>
            <a:lstStyle/>
            <a:p>
              <a:endParaRPr lang="en-US"/>
            </a:p>
          </p:txBody>
        </p:sp>
        <p:sp>
          <p:nvSpPr>
            <p:cNvPr id="1149" name="Freeform: Shape 1148">
              <a:extLst>
                <a:ext uri="{FF2B5EF4-FFF2-40B4-BE49-F238E27FC236}">
                  <a16:creationId xmlns:a16="http://schemas.microsoft.com/office/drawing/2014/main" id="{FA8503D9-893E-4347-BD34-07DB93422C88}"/>
                </a:ext>
              </a:extLst>
            </p:cNvPr>
            <p:cNvSpPr/>
            <p:nvPr/>
          </p:nvSpPr>
          <p:spPr>
            <a:xfrm>
              <a:off x="11986726" y="3623562"/>
              <a:ext cx="146437" cy="1005848"/>
            </a:xfrm>
            <a:custGeom>
              <a:avLst/>
              <a:gdLst>
                <a:gd name="connsiteX0" fmla="*/ 70095 w 146437"/>
                <a:gd name="connsiteY0" fmla="*/ 47356 h 1005848"/>
                <a:gd name="connsiteX1" fmla="*/ 45106 w 146437"/>
                <a:gd name="connsiteY1" fmla="*/ 332867 h 1005848"/>
                <a:gd name="connsiteX2" fmla="*/ 46980 w 146437"/>
                <a:gd name="connsiteY2" fmla="*/ 332867 h 1005848"/>
                <a:gd name="connsiteX3" fmla="*/ 47980 w 146437"/>
                <a:gd name="connsiteY3" fmla="*/ 332867 h 1005848"/>
                <a:gd name="connsiteX4" fmla="*/ 49729 w 146437"/>
                <a:gd name="connsiteY4" fmla="*/ 333617 h 1005848"/>
                <a:gd name="connsiteX5" fmla="*/ 51103 w 146437"/>
                <a:gd name="connsiteY5" fmla="*/ 334617 h 1005848"/>
                <a:gd name="connsiteX6" fmla="*/ 52477 w 146437"/>
                <a:gd name="connsiteY6" fmla="*/ 335866 h 1005848"/>
                <a:gd name="connsiteX7" fmla="*/ 53477 w 146437"/>
                <a:gd name="connsiteY7" fmla="*/ 337740 h 1005848"/>
                <a:gd name="connsiteX8" fmla="*/ 54102 w 146437"/>
                <a:gd name="connsiteY8" fmla="*/ 338615 h 1005848"/>
                <a:gd name="connsiteX9" fmla="*/ 54102 w 146437"/>
                <a:gd name="connsiteY9" fmla="*/ 339489 h 1005848"/>
                <a:gd name="connsiteX10" fmla="*/ 54102 w 146437"/>
                <a:gd name="connsiteY10" fmla="*/ 341614 h 1005848"/>
                <a:gd name="connsiteX11" fmla="*/ 54102 w 146437"/>
                <a:gd name="connsiteY11" fmla="*/ 343613 h 1005848"/>
                <a:gd name="connsiteX12" fmla="*/ 54102 w 146437"/>
                <a:gd name="connsiteY12" fmla="*/ 344488 h 1005848"/>
                <a:gd name="connsiteX13" fmla="*/ 0 w 146437"/>
                <a:gd name="connsiteY13" fmla="*/ 946498 h 1005848"/>
                <a:gd name="connsiteX14" fmla="*/ 52103 w 146437"/>
                <a:gd name="connsiteY14" fmla="*/ 1005849 h 1005848"/>
                <a:gd name="connsiteX15" fmla="*/ 146437 w 146437"/>
                <a:gd name="connsiteY15" fmla="*/ 0 h 1005848"/>
                <a:gd name="connsiteX16" fmla="*/ 70095 w 146437"/>
                <a:gd name="connsiteY16" fmla="*/ 42858 h 100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6437" h="1005848">
                  <a:moveTo>
                    <a:pt x="70095" y="47356"/>
                  </a:moveTo>
                  <a:lnTo>
                    <a:pt x="45106" y="332867"/>
                  </a:lnTo>
                  <a:lnTo>
                    <a:pt x="46980" y="332867"/>
                  </a:lnTo>
                  <a:lnTo>
                    <a:pt x="47980" y="332867"/>
                  </a:lnTo>
                  <a:lnTo>
                    <a:pt x="49729" y="333617"/>
                  </a:lnTo>
                  <a:lnTo>
                    <a:pt x="51103" y="334617"/>
                  </a:lnTo>
                  <a:cubicBezTo>
                    <a:pt x="51616" y="334966"/>
                    <a:pt x="52078" y="335391"/>
                    <a:pt x="52477" y="335866"/>
                  </a:cubicBezTo>
                  <a:cubicBezTo>
                    <a:pt x="52890" y="336453"/>
                    <a:pt x="53215" y="337078"/>
                    <a:pt x="53477" y="337740"/>
                  </a:cubicBezTo>
                  <a:cubicBezTo>
                    <a:pt x="53752" y="337978"/>
                    <a:pt x="53965" y="338278"/>
                    <a:pt x="54102" y="338615"/>
                  </a:cubicBezTo>
                  <a:cubicBezTo>
                    <a:pt x="54102" y="338615"/>
                    <a:pt x="54102" y="339240"/>
                    <a:pt x="54102" y="339489"/>
                  </a:cubicBezTo>
                  <a:lnTo>
                    <a:pt x="54102" y="341614"/>
                  </a:lnTo>
                  <a:cubicBezTo>
                    <a:pt x="54164" y="342276"/>
                    <a:pt x="54164" y="342951"/>
                    <a:pt x="54102" y="343613"/>
                  </a:cubicBezTo>
                  <a:cubicBezTo>
                    <a:pt x="54102" y="343613"/>
                    <a:pt x="54102" y="344238"/>
                    <a:pt x="54102" y="344488"/>
                  </a:cubicBezTo>
                  <a:lnTo>
                    <a:pt x="0" y="946498"/>
                  </a:lnTo>
                  <a:lnTo>
                    <a:pt x="52103" y="1005849"/>
                  </a:lnTo>
                  <a:lnTo>
                    <a:pt x="146437" y="0"/>
                  </a:lnTo>
                  <a:lnTo>
                    <a:pt x="70095" y="42858"/>
                  </a:lnTo>
                  <a:close/>
                </a:path>
              </a:pathLst>
            </a:custGeom>
            <a:solidFill>
              <a:schemeClr val="accent2">
                <a:lumMod val="75000"/>
              </a:schemeClr>
            </a:solidFill>
            <a:ln w="12483" cap="flat">
              <a:noFill/>
              <a:prstDash val="solid"/>
              <a:miter/>
            </a:ln>
          </p:spPr>
          <p:txBody>
            <a:bodyPr rtlCol="0" anchor="ctr"/>
            <a:lstStyle/>
            <a:p>
              <a:endParaRPr lang="en-US"/>
            </a:p>
          </p:txBody>
        </p:sp>
        <p:sp>
          <p:nvSpPr>
            <p:cNvPr id="1150" name="Freeform: Shape 1149">
              <a:extLst>
                <a:ext uri="{FF2B5EF4-FFF2-40B4-BE49-F238E27FC236}">
                  <a16:creationId xmlns:a16="http://schemas.microsoft.com/office/drawing/2014/main" id="{43086B53-A080-4890-96BF-244F9354C404}"/>
                </a:ext>
              </a:extLst>
            </p:cNvPr>
            <p:cNvSpPr/>
            <p:nvPr/>
          </p:nvSpPr>
          <p:spPr>
            <a:xfrm>
              <a:off x="11655744" y="3985168"/>
              <a:ext cx="365841" cy="566524"/>
            </a:xfrm>
            <a:custGeom>
              <a:avLst/>
              <a:gdLst>
                <a:gd name="connsiteX0" fmla="*/ 135691 w 365841"/>
                <a:gd name="connsiteY0" fmla="*/ 131073 h 566524"/>
                <a:gd name="connsiteX1" fmla="*/ 0 w 365841"/>
                <a:gd name="connsiteY1" fmla="*/ 208417 h 566524"/>
                <a:gd name="connsiteX2" fmla="*/ 314864 w 365841"/>
                <a:gd name="connsiteY2" fmla="*/ 566524 h 566524"/>
                <a:gd name="connsiteX3" fmla="*/ 365842 w 365841"/>
                <a:gd name="connsiteY3" fmla="*/ 0 h 566524"/>
                <a:gd name="connsiteX4" fmla="*/ 180047 w 365841"/>
                <a:gd name="connsiteY4" fmla="*/ 105833 h 566524"/>
                <a:gd name="connsiteX5" fmla="*/ 135691 w 365841"/>
                <a:gd name="connsiteY5" fmla="*/ 131073 h 56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841" h="566524">
                  <a:moveTo>
                    <a:pt x="135691" y="131073"/>
                  </a:moveTo>
                  <a:lnTo>
                    <a:pt x="0" y="208417"/>
                  </a:lnTo>
                  <a:lnTo>
                    <a:pt x="314864" y="566524"/>
                  </a:lnTo>
                  <a:lnTo>
                    <a:pt x="365842" y="0"/>
                  </a:lnTo>
                  <a:lnTo>
                    <a:pt x="180047" y="105833"/>
                  </a:lnTo>
                  <a:lnTo>
                    <a:pt x="135691" y="131073"/>
                  </a:lnTo>
                  <a:close/>
                </a:path>
              </a:pathLst>
            </a:custGeom>
            <a:solidFill>
              <a:schemeClr val="accent4"/>
            </a:solidFill>
            <a:ln w="12483" cap="flat">
              <a:noFill/>
              <a:prstDash val="solid"/>
              <a:miter/>
            </a:ln>
          </p:spPr>
          <p:txBody>
            <a:bodyPr rtlCol="0" anchor="ctr"/>
            <a:lstStyle/>
            <a:p>
              <a:endParaRPr lang="en-US"/>
            </a:p>
          </p:txBody>
        </p:sp>
        <p:sp>
          <p:nvSpPr>
            <p:cNvPr id="1151" name="Freeform: Shape 1150">
              <a:extLst>
                <a:ext uri="{FF2B5EF4-FFF2-40B4-BE49-F238E27FC236}">
                  <a16:creationId xmlns:a16="http://schemas.microsoft.com/office/drawing/2014/main" id="{EE379345-EA0E-41B1-AE05-B4BCCED2EBAC}"/>
                </a:ext>
              </a:extLst>
            </p:cNvPr>
            <p:cNvSpPr/>
            <p:nvPr/>
          </p:nvSpPr>
          <p:spPr>
            <a:xfrm>
              <a:off x="10947175" y="2193007"/>
              <a:ext cx="1257706" cy="831793"/>
            </a:xfrm>
            <a:custGeom>
              <a:avLst/>
              <a:gdLst>
                <a:gd name="connsiteX0" fmla="*/ 1160124 w 1257706"/>
                <a:gd name="connsiteY0" fmla="*/ 68223 h 831793"/>
                <a:gd name="connsiteX1" fmla="*/ 1150765 w 1257706"/>
                <a:gd name="connsiteY1" fmla="*/ 77856 h 831793"/>
                <a:gd name="connsiteX2" fmla="*/ 1150253 w 1257706"/>
                <a:gd name="connsiteY2" fmla="*/ 77844 h 831793"/>
                <a:gd name="connsiteX3" fmla="*/ 1143006 w 1257706"/>
                <a:gd name="connsiteY3" fmla="*/ 71347 h 831793"/>
                <a:gd name="connsiteX4" fmla="*/ 586997 w 1257706"/>
                <a:gd name="connsiteY4" fmla="*/ 359981 h 831793"/>
                <a:gd name="connsiteX5" fmla="*/ 586997 w 1257706"/>
                <a:gd name="connsiteY5" fmla="*/ 360981 h 831793"/>
                <a:gd name="connsiteX6" fmla="*/ 585247 w 1257706"/>
                <a:gd name="connsiteY6" fmla="*/ 362855 h 831793"/>
                <a:gd name="connsiteX7" fmla="*/ 583748 w 1257706"/>
                <a:gd name="connsiteY7" fmla="*/ 360731 h 831793"/>
                <a:gd name="connsiteX8" fmla="*/ 583748 w 1257706"/>
                <a:gd name="connsiteY8" fmla="*/ 359357 h 831793"/>
                <a:gd name="connsiteX9" fmla="*/ 424942 w 1257706"/>
                <a:gd name="connsiteY9" fmla="*/ 193173 h 831793"/>
                <a:gd name="connsiteX10" fmla="*/ 417695 w 1257706"/>
                <a:gd name="connsiteY10" fmla="*/ 197046 h 831793"/>
                <a:gd name="connsiteX11" fmla="*/ 409323 w 1257706"/>
                <a:gd name="connsiteY11" fmla="*/ 185551 h 831793"/>
                <a:gd name="connsiteX12" fmla="*/ 419194 w 1257706"/>
                <a:gd name="connsiteY12" fmla="*/ 0 h 831793"/>
                <a:gd name="connsiteX13" fmla="*/ 126820 w 1257706"/>
                <a:gd name="connsiteY13" fmla="*/ 147816 h 831793"/>
                <a:gd name="connsiteX14" fmla="*/ 86088 w 1257706"/>
                <a:gd name="connsiteY14" fmla="*/ 168433 h 831793"/>
                <a:gd name="connsiteX15" fmla="*/ 0 w 1257706"/>
                <a:gd name="connsiteY15" fmla="*/ 211916 h 831793"/>
                <a:gd name="connsiteX16" fmla="*/ 576376 w 1257706"/>
                <a:gd name="connsiteY16" fmla="*/ 831793 h 831793"/>
                <a:gd name="connsiteX17" fmla="*/ 1257707 w 1257706"/>
                <a:gd name="connsiteY17" fmla="*/ 468563 h 831793"/>
                <a:gd name="connsiteX18" fmla="*/ 1257707 w 1257706"/>
                <a:gd name="connsiteY18" fmla="*/ 135946 h 831793"/>
                <a:gd name="connsiteX19" fmla="*/ 1162373 w 1257706"/>
                <a:gd name="connsiteY19" fmla="*/ 41234 h 8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7706" h="831793">
                  <a:moveTo>
                    <a:pt x="1160124" y="68223"/>
                  </a:moveTo>
                  <a:cubicBezTo>
                    <a:pt x="1160199" y="73471"/>
                    <a:pt x="1156000" y="77782"/>
                    <a:pt x="1150765" y="77856"/>
                  </a:cubicBezTo>
                  <a:cubicBezTo>
                    <a:pt x="1150590" y="77856"/>
                    <a:pt x="1150428" y="77856"/>
                    <a:pt x="1150253" y="77844"/>
                  </a:cubicBezTo>
                  <a:cubicBezTo>
                    <a:pt x="1146792" y="77257"/>
                    <a:pt x="1143969" y="74733"/>
                    <a:pt x="1143006" y="71347"/>
                  </a:cubicBezTo>
                  <a:lnTo>
                    <a:pt x="586997" y="359981"/>
                  </a:lnTo>
                  <a:lnTo>
                    <a:pt x="586997" y="360981"/>
                  </a:lnTo>
                  <a:cubicBezTo>
                    <a:pt x="586997" y="361968"/>
                    <a:pt x="586234" y="362793"/>
                    <a:pt x="585247" y="362855"/>
                  </a:cubicBezTo>
                  <a:cubicBezTo>
                    <a:pt x="584298" y="362618"/>
                    <a:pt x="583660" y="361706"/>
                    <a:pt x="583748" y="360731"/>
                  </a:cubicBezTo>
                  <a:lnTo>
                    <a:pt x="583748" y="359357"/>
                  </a:lnTo>
                  <a:lnTo>
                    <a:pt x="424942" y="193173"/>
                  </a:lnTo>
                  <a:cubicBezTo>
                    <a:pt x="423392" y="195659"/>
                    <a:pt x="420631" y="197134"/>
                    <a:pt x="417695" y="197046"/>
                  </a:cubicBezTo>
                  <a:cubicBezTo>
                    <a:pt x="412372" y="195922"/>
                    <a:pt x="408761" y="190961"/>
                    <a:pt x="409323" y="185551"/>
                  </a:cubicBezTo>
                  <a:lnTo>
                    <a:pt x="419194" y="0"/>
                  </a:lnTo>
                  <a:lnTo>
                    <a:pt x="126820" y="147816"/>
                  </a:lnTo>
                  <a:lnTo>
                    <a:pt x="86088" y="168433"/>
                  </a:lnTo>
                  <a:lnTo>
                    <a:pt x="0" y="211916"/>
                  </a:lnTo>
                  <a:lnTo>
                    <a:pt x="576376" y="831793"/>
                  </a:lnTo>
                  <a:lnTo>
                    <a:pt x="1257707" y="468563"/>
                  </a:lnTo>
                  <a:lnTo>
                    <a:pt x="1257707" y="135946"/>
                  </a:lnTo>
                  <a:lnTo>
                    <a:pt x="1162373" y="41234"/>
                  </a:lnTo>
                  <a:close/>
                </a:path>
              </a:pathLst>
            </a:custGeom>
            <a:solidFill>
              <a:schemeClr val="accent6">
                <a:lumMod val="50000"/>
              </a:schemeClr>
            </a:solidFill>
            <a:ln w="12483" cap="flat">
              <a:noFill/>
              <a:prstDash val="solid"/>
              <a:miter/>
            </a:ln>
          </p:spPr>
          <p:txBody>
            <a:bodyPr rtlCol="0" anchor="ctr"/>
            <a:lstStyle/>
            <a:p>
              <a:endParaRPr lang="en-US"/>
            </a:p>
          </p:txBody>
        </p:sp>
        <p:sp>
          <p:nvSpPr>
            <p:cNvPr id="1152" name="Freeform: Shape 1151">
              <a:extLst>
                <a:ext uri="{FF2B5EF4-FFF2-40B4-BE49-F238E27FC236}">
                  <a16:creationId xmlns:a16="http://schemas.microsoft.com/office/drawing/2014/main" id="{DCEFBA19-303A-4E7C-9654-09B87860C256}"/>
                </a:ext>
              </a:extLst>
            </p:cNvPr>
            <p:cNvSpPr/>
            <p:nvPr/>
          </p:nvSpPr>
          <p:spPr>
            <a:xfrm>
              <a:off x="11372242" y="2162020"/>
              <a:ext cx="172550" cy="390344"/>
            </a:xfrm>
            <a:custGeom>
              <a:avLst/>
              <a:gdLst>
                <a:gd name="connsiteX0" fmla="*/ 13869 w 172550"/>
                <a:gd name="connsiteY0" fmla="*/ 0 h 390344"/>
                <a:gd name="connsiteX1" fmla="*/ 12994 w 172550"/>
                <a:gd name="connsiteY1" fmla="*/ 14869 h 390344"/>
                <a:gd name="connsiteX2" fmla="*/ 2374 w 172550"/>
                <a:gd name="connsiteY2" fmla="*/ 217788 h 390344"/>
                <a:gd name="connsiteX3" fmla="*/ 0 w 172550"/>
                <a:gd name="connsiteY3" fmla="*/ 224161 h 390344"/>
                <a:gd name="connsiteX4" fmla="*/ 158806 w 172550"/>
                <a:gd name="connsiteY4" fmla="*/ 390344 h 390344"/>
                <a:gd name="connsiteX5" fmla="*/ 172550 w 172550"/>
                <a:gd name="connsiteY5" fmla="*/ 163810 h 39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550" h="390344">
                  <a:moveTo>
                    <a:pt x="13869" y="0"/>
                  </a:moveTo>
                  <a:lnTo>
                    <a:pt x="12994" y="14869"/>
                  </a:lnTo>
                  <a:lnTo>
                    <a:pt x="2374" y="217788"/>
                  </a:lnTo>
                  <a:cubicBezTo>
                    <a:pt x="2186" y="220087"/>
                    <a:pt x="1362" y="222299"/>
                    <a:pt x="0" y="224161"/>
                  </a:cubicBezTo>
                  <a:lnTo>
                    <a:pt x="158806" y="390344"/>
                  </a:lnTo>
                  <a:lnTo>
                    <a:pt x="172550" y="163810"/>
                  </a:lnTo>
                  <a:close/>
                </a:path>
              </a:pathLst>
            </a:custGeom>
            <a:solidFill>
              <a:schemeClr val="accent6"/>
            </a:solidFill>
            <a:ln w="12483" cap="flat">
              <a:noFill/>
              <a:prstDash val="solid"/>
              <a:miter/>
            </a:ln>
          </p:spPr>
          <p:txBody>
            <a:bodyPr rtlCol="0" anchor="ctr"/>
            <a:lstStyle/>
            <a:p>
              <a:endParaRPr lang="en-US"/>
            </a:p>
          </p:txBody>
        </p:sp>
        <p:sp>
          <p:nvSpPr>
            <p:cNvPr id="1153" name="Freeform: Shape 1152">
              <a:extLst>
                <a:ext uri="{FF2B5EF4-FFF2-40B4-BE49-F238E27FC236}">
                  <a16:creationId xmlns:a16="http://schemas.microsoft.com/office/drawing/2014/main" id="{B9EB9206-AE3D-4CB8-BE89-7169E0AD8452}"/>
                </a:ext>
              </a:extLst>
            </p:cNvPr>
            <p:cNvSpPr/>
            <p:nvPr/>
          </p:nvSpPr>
          <p:spPr>
            <a:xfrm>
              <a:off x="11534171" y="2039069"/>
              <a:ext cx="574127" cy="514045"/>
            </a:xfrm>
            <a:custGeom>
              <a:avLst/>
              <a:gdLst>
                <a:gd name="connsiteX0" fmla="*/ 559258 w 574127"/>
                <a:gd name="connsiteY0" fmla="*/ 172931 h 514045"/>
                <a:gd name="connsiteX1" fmla="*/ 574127 w 574127"/>
                <a:gd name="connsiteY1" fmla="*/ 0 h 514045"/>
                <a:gd name="connsiteX2" fmla="*/ 13869 w 574127"/>
                <a:gd name="connsiteY2" fmla="*/ 287386 h 514045"/>
                <a:gd name="connsiteX3" fmla="*/ 0 w 574127"/>
                <a:gd name="connsiteY3" fmla="*/ 514045 h 514045"/>
                <a:gd name="connsiteX4" fmla="*/ 556010 w 574127"/>
                <a:gd name="connsiteY4" fmla="*/ 225410 h 514045"/>
                <a:gd name="connsiteX5" fmla="*/ 555260 w 574127"/>
                <a:gd name="connsiteY5" fmla="*/ 220037 h 51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127" h="514045">
                  <a:moveTo>
                    <a:pt x="559258" y="172931"/>
                  </a:moveTo>
                  <a:lnTo>
                    <a:pt x="574127" y="0"/>
                  </a:lnTo>
                  <a:lnTo>
                    <a:pt x="13869" y="287386"/>
                  </a:lnTo>
                  <a:lnTo>
                    <a:pt x="0" y="514045"/>
                  </a:lnTo>
                  <a:lnTo>
                    <a:pt x="556010" y="225410"/>
                  </a:lnTo>
                  <a:cubicBezTo>
                    <a:pt x="555435" y="223673"/>
                    <a:pt x="555185" y="221862"/>
                    <a:pt x="555260" y="220037"/>
                  </a:cubicBezTo>
                  <a:close/>
                </a:path>
              </a:pathLst>
            </a:custGeom>
            <a:solidFill>
              <a:schemeClr val="accent2"/>
            </a:solidFill>
            <a:ln w="12483" cap="flat">
              <a:noFill/>
              <a:prstDash val="solid"/>
              <a:miter/>
            </a:ln>
          </p:spPr>
          <p:txBody>
            <a:bodyPr rtlCol="0" anchor="ctr"/>
            <a:lstStyle/>
            <a:p>
              <a:endParaRPr lang="en-US"/>
            </a:p>
          </p:txBody>
        </p:sp>
        <p:sp>
          <p:nvSpPr>
            <p:cNvPr id="1154" name="Freeform: Shape 1153">
              <a:extLst>
                <a:ext uri="{FF2B5EF4-FFF2-40B4-BE49-F238E27FC236}">
                  <a16:creationId xmlns:a16="http://schemas.microsoft.com/office/drawing/2014/main" id="{3B386D4D-D3CF-4535-A113-A2F3308065C5}"/>
                </a:ext>
              </a:extLst>
            </p:cNvPr>
            <p:cNvSpPr/>
            <p:nvPr/>
          </p:nvSpPr>
          <p:spPr>
            <a:xfrm>
              <a:off x="11386985" y="1876259"/>
              <a:ext cx="720188" cy="446571"/>
            </a:xfrm>
            <a:custGeom>
              <a:avLst/>
              <a:gdLst>
                <a:gd name="connsiteX0" fmla="*/ 134067 w 720188"/>
                <a:gd name="connsiteY0" fmla="*/ 213915 h 446571"/>
                <a:gd name="connsiteX1" fmla="*/ 0 w 720188"/>
                <a:gd name="connsiteY1" fmla="*/ 281638 h 446571"/>
                <a:gd name="connsiteX2" fmla="*/ 159806 w 720188"/>
                <a:gd name="connsiteY2" fmla="*/ 446572 h 446571"/>
                <a:gd name="connsiteX3" fmla="*/ 720189 w 720188"/>
                <a:gd name="connsiteY3" fmla="*/ 159311 h 446571"/>
                <a:gd name="connsiteX4" fmla="*/ 614110 w 720188"/>
                <a:gd name="connsiteY4" fmla="*/ 55103 h 446571"/>
                <a:gd name="connsiteX5" fmla="*/ 557759 w 720188"/>
                <a:gd name="connsiteY5" fmla="*/ 0 h 446571"/>
                <a:gd name="connsiteX6" fmla="*/ 441184 w 720188"/>
                <a:gd name="connsiteY6" fmla="*/ 58852 h 446571"/>
                <a:gd name="connsiteX7" fmla="*/ 321236 w 720188"/>
                <a:gd name="connsiteY7" fmla="*/ 119452 h 446571"/>
                <a:gd name="connsiteX8" fmla="*/ 156557 w 720188"/>
                <a:gd name="connsiteY8" fmla="*/ 202544 h 446571"/>
                <a:gd name="connsiteX9" fmla="*/ 134067 w 720188"/>
                <a:gd name="connsiteY9" fmla="*/ 213915 h 44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188" h="446571">
                  <a:moveTo>
                    <a:pt x="134067" y="213915"/>
                  </a:moveTo>
                  <a:lnTo>
                    <a:pt x="0" y="281638"/>
                  </a:lnTo>
                  <a:lnTo>
                    <a:pt x="159806" y="446572"/>
                  </a:lnTo>
                  <a:lnTo>
                    <a:pt x="720189" y="159311"/>
                  </a:lnTo>
                  <a:lnTo>
                    <a:pt x="614110" y="55103"/>
                  </a:lnTo>
                  <a:lnTo>
                    <a:pt x="557759" y="0"/>
                  </a:lnTo>
                  <a:lnTo>
                    <a:pt x="441184" y="58852"/>
                  </a:lnTo>
                  <a:lnTo>
                    <a:pt x="321236" y="119452"/>
                  </a:lnTo>
                  <a:lnTo>
                    <a:pt x="156557" y="202544"/>
                  </a:lnTo>
                  <a:lnTo>
                    <a:pt x="134067" y="213915"/>
                  </a:lnTo>
                  <a:close/>
                </a:path>
              </a:pathLst>
            </a:custGeom>
            <a:solidFill>
              <a:srgbClr val="F4F5F3"/>
            </a:solidFill>
            <a:ln w="12483" cap="flat">
              <a:noFill/>
              <a:prstDash val="solid"/>
              <a:miter/>
            </a:ln>
          </p:spPr>
          <p:txBody>
            <a:bodyPr rtlCol="0" anchor="ctr"/>
            <a:lstStyle/>
            <a:p>
              <a:endParaRPr lang="en-US"/>
            </a:p>
          </p:txBody>
        </p:sp>
        <p:sp>
          <p:nvSpPr>
            <p:cNvPr id="1155" name="Freeform: Shape 1154">
              <a:extLst>
                <a:ext uri="{FF2B5EF4-FFF2-40B4-BE49-F238E27FC236}">
                  <a16:creationId xmlns:a16="http://schemas.microsoft.com/office/drawing/2014/main" id="{03A8261F-766F-49A6-AA2B-79AFE481DD94}"/>
                </a:ext>
              </a:extLst>
            </p:cNvPr>
            <p:cNvSpPr/>
            <p:nvPr/>
          </p:nvSpPr>
          <p:spPr>
            <a:xfrm>
              <a:off x="10821479" y="4586053"/>
              <a:ext cx="147311" cy="885646"/>
            </a:xfrm>
            <a:custGeom>
              <a:avLst/>
              <a:gdLst>
                <a:gd name="connsiteX0" fmla="*/ 23865 w 147311"/>
                <a:gd name="connsiteY0" fmla="*/ 0 h 885646"/>
                <a:gd name="connsiteX1" fmla="*/ 12495 w 147311"/>
                <a:gd name="connsiteY1" fmla="*/ 361231 h 885646"/>
                <a:gd name="connsiteX2" fmla="*/ 750 w 147311"/>
                <a:gd name="connsiteY2" fmla="*/ 730334 h 885646"/>
                <a:gd name="connsiteX3" fmla="*/ 750 w 147311"/>
                <a:gd name="connsiteY3" fmla="*/ 731833 h 885646"/>
                <a:gd name="connsiteX4" fmla="*/ 750 w 147311"/>
                <a:gd name="connsiteY4" fmla="*/ 733957 h 885646"/>
                <a:gd name="connsiteX5" fmla="*/ 0 w 147311"/>
                <a:gd name="connsiteY5" fmla="*/ 735707 h 885646"/>
                <a:gd name="connsiteX6" fmla="*/ 0 w 147311"/>
                <a:gd name="connsiteY6" fmla="*/ 735707 h 885646"/>
                <a:gd name="connsiteX7" fmla="*/ 118699 w 147311"/>
                <a:gd name="connsiteY7" fmla="*/ 885647 h 885646"/>
                <a:gd name="connsiteX8" fmla="*/ 147311 w 147311"/>
                <a:gd name="connsiteY8" fmla="*/ 148441 h 885646"/>
                <a:gd name="connsiteX9" fmla="*/ 127320 w 147311"/>
                <a:gd name="connsiteY9" fmla="*/ 124075 h 88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311" h="885646">
                  <a:moveTo>
                    <a:pt x="23865" y="0"/>
                  </a:moveTo>
                  <a:lnTo>
                    <a:pt x="12495" y="361231"/>
                  </a:lnTo>
                  <a:lnTo>
                    <a:pt x="750" y="730334"/>
                  </a:lnTo>
                  <a:cubicBezTo>
                    <a:pt x="812" y="730833"/>
                    <a:pt x="812" y="731333"/>
                    <a:pt x="750" y="731833"/>
                  </a:cubicBezTo>
                  <a:cubicBezTo>
                    <a:pt x="800" y="732545"/>
                    <a:pt x="800" y="733245"/>
                    <a:pt x="750" y="733957"/>
                  </a:cubicBezTo>
                  <a:cubicBezTo>
                    <a:pt x="550" y="734557"/>
                    <a:pt x="300" y="735144"/>
                    <a:pt x="0" y="735707"/>
                  </a:cubicBezTo>
                  <a:cubicBezTo>
                    <a:pt x="0" y="735707"/>
                    <a:pt x="0" y="735707"/>
                    <a:pt x="0" y="735707"/>
                  </a:cubicBezTo>
                  <a:lnTo>
                    <a:pt x="118699" y="885647"/>
                  </a:lnTo>
                  <a:lnTo>
                    <a:pt x="147311" y="148441"/>
                  </a:lnTo>
                  <a:lnTo>
                    <a:pt x="127320" y="124075"/>
                  </a:lnTo>
                  <a:close/>
                </a:path>
              </a:pathLst>
            </a:custGeom>
            <a:solidFill>
              <a:schemeClr val="accent4"/>
            </a:solidFill>
            <a:ln w="12483" cap="flat">
              <a:noFill/>
              <a:prstDash val="solid"/>
              <a:miter/>
            </a:ln>
          </p:spPr>
          <p:txBody>
            <a:bodyPr rtlCol="0" anchor="ctr"/>
            <a:lstStyle/>
            <a:p>
              <a:endParaRPr lang="en-US"/>
            </a:p>
          </p:txBody>
        </p:sp>
        <p:sp>
          <p:nvSpPr>
            <p:cNvPr id="1156" name="Freeform: Shape 1155">
              <a:extLst>
                <a:ext uri="{FF2B5EF4-FFF2-40B4-BE49-F238E27FC236}">
                  <a16:creationId xmlns:a16="http://schemas.microsoft.com/office/drawing/2014/main" id="{4D411087-07A3-42A0-A6D3-F006E9D06C06}"/>
                </a:ext>
              </a:extLst>
            </p:cNvPr>
            <p:cNvSpPr/>
            <p:nvPr/>
          </p:nvSpPr>
          <p:spPr>
            <a:xfrm>
              <a:off x="9432080" y="5324884"/>
              <a:ext cx="1506223" cy="980608"/>
            </a:xfrm>
            <a:custGeom>
              <a:avLst/>
              <a:gdLst>
                <a:gd name="connsiteX0" fmla="*/ 1386026 w 1506223"/>
                <a:gd name="connsiteY0" fmla="*/ 0 h 980608"/>
                <a:gd name="connsiteX1" fmla="*/ 1385151 w 1506223"/>
                <a:gd name="connsiteY1" fmla="*/ 750 h 980608"/>
                <a:gd name="connsiteX2" fmla="*/ 1175992 w 1506223"/>
                <a:gd name="connsiteY2" fmla="*/ 123950 h 980608"/>
                <a:gd name="connsiteX3" fmla="*/ 1062041 w 1506223"/>
                <a:gd name="connsiteY3" fmla="*/ 191049 h 980608"/>
                <a:gd name="connsiteX4" fmla="*/ 644971 w 1506223"/>
                <a:gd name="connsiteY4" fmla="*/ 436576 h 980608"/>
                <a:gd name="connsiteX5" fmla="*/ 619107 w 1506223"/>
                <a:gd name="connsiteY5" fmla="*/ 451945 h 980608"/>
                <a:gd name="connsiteX6" fmla="*/ 515777 w 1506223"/>
                <a:gd name="connsiteY6" fmla="*/ 512795 h 980608"/>
                <a:gd name="connsiteX7" fmla="*/ 95333 w 1506223"/>
                <a:gd name="connsiteY7" fmla="*/ 760322 h 980608"/>
                <a:gd name="connsiteX8" fmla="*/ 0 w 1506223"/>
                <a:gd name="connsiteY8" fmla="*/ 816424 h 980608"/>
                <a:gd name="connsiteX9" fmla="*/ 113701 w 1506223"/>
                <a:gd name="connsiteY9" fmla="*/ 980609 h 980608"/>
                <a:gd name="connsiteX10" fmla="*/ 113701 w 1506223"/>
                <a:gd name="connsiteY10" fmla="*/ 980609 h 980608"/>
                <a:gd name="connsiteX11" fmla="*/ 1506224 w 1506223"/>
                <a:gd name="connsiteY11" fmla="*/ 151814 h 98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223" h="980608">
                  <a:moveTo>
                    <a:pt x="1386026" y="0"/>
                  </a:moveTo>
                  <a:cubicBezTo>
                    <a:pt x="1386026" y="0"/>
                    <a:pt x="1386026" y="625"/>
                    <a:pt x="1385151" y="750"/>
                  </a:cubicBezTo>
                  <a:lnTo>
                    <a:pt x="1175992" y="123950"/>
                  </a:lnTo>
                  <a:lnTo>
                    <a:pt x="1062041" y="191049"/>
                  </a:lnTo>
                  <a:lnTo>
                    <a:pt x="644971" y="436576"/>
                  </a:lnTo>
                  <a:lnTo>
                    <a:pt x="619107" y="451945"/>
                  </a:lnTo>
                  <a:lnTo>
                    <a:pt x="515777" y="512795"/>
                  </a:lnTo>
                  <a:lnTo>
                    <a:pt x="95333" y="760322"/>
                  </a:lnTo>
                  <a:lnTo>
                    <a:pt x="0" y="816424"/>
                  </a:lnTo>
                  <a:lnTo>
                    <a:pt x="113701" y="980609"/>
                  </a:lnTo>
                  <a:lnTo>
                    <a:pt x="113701" y="980609"/>
                  </a:lnTo>
                  <a:lnTo>
                    <a:pt x="1506224" y="151814"/>
                  </a:lnTo>
                  <a:close/>
                </a:path>
              </a:pathLst>
            </a:custGeom>
            <a:solidFill>
              <a:schemeClr val="accent3"/>
            </a:solidFill>
            <a:ln w="12483" cap="flat">
              <a:noFill/>
              <a:prstDash val="solid"/>
              <a:miter/>
            </a:ln>
          </p:spPr>
          <p:txBody>
            <a:bodyPr rtlCol="0" anchor="ctr"/>
            <a:lstStyle/>
            <a:p>
              <a:endParaRPr lang="en-US"/>
            </a:p>
          </p:txBody>
        </p:sp>
        <p:sp>
          <p:nvSpPr>
            <p:cNvPr id="1157" name="Freeform: Shape 1156">
              <a:extLst>
                <a:ext uri="{FF2B5EF4-FFF2-40B4-BE49-F238E27FC236}">
                  <a16:creationId xmlns:a16="http://schemas.microsoft.com/office/drawing/2014/main" id="{B4866C5F-6E21-4C2E-9D3B-91CEFDACB7C0}"/>
                </a:ext>
              </a:extLst>
            </p:cNvPr>
            <p:cNvSpPr/>
            <p:nvPr/>
          </p:nvSpPr>
          <p:spPr>
            <a:xfrm>
              <a:off x="9548030" y="5479572"/>
              <a:ext cx="1459369" cy="921757"/>
            </a:xfrm>
            <a:custGeom>
              <a:avLst/>
              <a:gdLst>
                <a:gd name="connsiteX0" fmla="*/ 1392273 w 1459369"/>
                <a:gd name="connsiteY0" fmla="*/ 0 h 921757"/>
                <a:gd name="connsiteX1" fmla="*/ 0 w 1459369"/>
                <a:gd name="connsiteY1" fmla="*/ 829419 h 921757"/>
                <a:gd name="connsiteX2" fmla="*/ 63597 w 1459369"/>
                <a:gd name="connsiteY2" fmla="*/ 921257 h 921757"/>
                <a:gd name="connsiteX3" fmla="*/ 63847 w 1459369"/>
                <a:gd name="connsiteY3" fmla="*/ 921757 h 921757"/>
                <a:gd name="connsiteX4" fmla="*/ 1459369 w 1459369"/>
                <a:gd name="connsiteY4" fmla="*/ 85091 h 921757"/>
                <a:gd name="connsiteX5" fmla="*/ 1392273 w 1459369"/>
                <a:gd name="connsiteY5" fmla="*/ 0 h 9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9369" h="921757">
                  <a:moveTo>
                    <a:pt x="1392273" y="0"/>
                  </a:moveTo>
                  <a:lnTo>
                    <a:pt x="0" y="829419"/>
                  </a:lnTo>
                  <a:lnTo>
                    <a:pt x="63597" y="921257"/>
                  </a:lnTo>
                  <a:lnTo>
                    <a:pt x="63847" y="921757"/>
                  </a:lnTo>
                  <a:lnTo>
                    <a:pt x="1459369" y="85091"/>
                  </a:lnTo>
                  <a:lnTo>
                    <a:pt x="1392273" y="0"/>
                  </a:lnTo>
                  <a:close/>
                </a:path>
              </a:pathLst>
            </a:custGeom>
            <a:solidFill>
              <a:schemeClr val="accent2"/>
            </a:solidFill>
            <a:ln w="12483" cap="flat">
              <a:noFill/>
              <a:prstDash val="solid"/>
              <a:miter/>
            </a:ln>
          </p:spPr>
          <p:txBody>
            <a:bodyPr rtlCol="0" anchor="ctr"/>
            <a:lstStyle/>
            <a:p>
              <a:endParaRPr lang="en-US"/>
            </a:p>
          </p:txBody>
        </p:sp>
        <p:sp>
          <p:nvSpPr>
            <p:cNvPr id="1158" name="Freeform: Shape 1157">
              <a:extLst>
                <a:ext uri="{FF2B5EF4-FFF2-40B4-BE49-F238E27FC236}">
                  <a16:creationId xmlns:a16="http://schemas.microsoft.com/office/drawing/2014/main" id="{C3228EAD-A031-47BE-A6B2-1FF893E21FAD}"/>
                </a:ext>
              </a:extLst>
            </p:cNvPr>
            <p:cNvSpPr/>
            <p:nvPr/>
          </p:nvSpPr>
          <p:spPr>
            <a:xfrm>
              <a:off x="10956421" y="4342900"/>
              <a:ext cx="438935" cy="261395"/>
            </a:xfrm>
            <a:custGeom>
              <a:avLst/>
              <a:gdLst>
                <a:gd name="connsiteX0" fmla="*/ 0 w 438935"/>
                <a:gd name="connsiteY0" fmla="*/ 239280 h 261395"/>
                <a:gd name="connsiteX1" fmla="*/ 18242 w 438935"/>
                <a:gd name="connsiteY1" fmla="*/ 261396 h 261395"/>
                <a:gd name="connsiteX2" fmla="*/ 438935 w 438935"/>
                <a:gd name="connsiteY2" fmla="*/ 21241 h 261395"/>
                <a:gd name="connsiteX3" fmla="*/ 421693 w 438935"/>
                <a:gd name="connsiteY3" fmla="*/ 1125 h 261395"/>
                <a:gd name="connsiteX4" fmla="*/ 421693 w 438935"/>
                <a:gd name="connsiteY4" fmla="*/ 1125 h 261395"/>
                <a:gd name="connsiteX5" fmla="*/ 420943 w 438935"/>
                <a:gd name="connsiteY5" fmla="*/ 0 h 26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35" h="261395">
                  <a:moveTo>
                    <a:pt x="0" y="239280"/>
                  </a:moveTo>
                  <a:lnTo>
                    <a:pt x="18242" y="261396"/>
                  </a:lnTo>
                  <a:lnTo>
                    <a:pt x="438935" y="21241"/>
                  </a:lnTo>
                  <a:lnTo>
                    <a:pt x="421693" y="1125"/>
                  </a:lnTo>
                  <a:lnTo>
                    <a:pt x="421693" y="1125"/>
                  </a:lnTo>
                  <a:lnTo>
                    <a:pt x="420943" y="0"/>
                  </a:lnTo>
                  <a:close/>
                </a:path>
              </a:pathLst>
            </a:custGeom>
            <a:solidFill>
              <a:schemeClr val="accent6"/>
            </a:solidFill>
            <a:ln w="12483" cap="flat">
              <a:noFill/>
              <a:prstDash val="solid"/>
              <a:miter/>
            </a:ln>
          </p:spPr>
          <p:txBody>
            <a:bodyPr rtlCol="0" anchor="ctr"/>
            <a:lstStyle/>
            <a:p>
              <a:endParaRPr lang="en-US"/>
            </a:p>
          </p:txBody>
        </p:sp>
        <p:sp>
          <p:nvSpPr>
            <p:cNvPr id="1159" name="Freeform: Shape 1158">
              <a:extLst>
                <a:ext uri="{FF2B5EF4-FFF2-40B4-BE49-F238E27FC236}">
                  <a16:creationId xmlns:a16="http://schemas.microsoft.com/office/drawing/2014/main" id="{7354E27F-0FA9-45F4-9B24-39D4151E0F7C}"/>
                </a:ext>
              </a:extLst>
            </p:cNvPr>
            <p:cNvSpPr/>
            <p:nvPr/>
          </p:nvSpPr>
          <p:spPr>
            <a:xfrm>
              <a:off x="10950549" y="4586053"/>
              <a:ext cx="22240" cy="143942"/>
            </a:xfrm>
            <a:custGeom>
              <a:avLst/>
              <a:gdLst>
                <a:gd name="connsiteX0" fmla="*/ 4623 w 22240"/>
                <a:gd name="connsiteY0" fmla="*/ 0 h 143942"/>
                <a:gd name="connsiteX1" fmla="*/ 0 w 22240"/>
                <a:gd name="connsiteY1" fmla="*/ 122701 h 143942"/>
                <a:gd name="connsiteX2" fmla="*/ 17492 w 22240"/>
                <a:gd name="connsiteY2" fmla="*/ 143942 h 143942"/>
                <a:gd name="connsiteX3" fmla="*/ 22240 w 22240"/>
                <a:gd name="connsiteY3" fmla="*/ 21366 h 143942"/>
                <a:gd name="connsiteX4" fmla="*/ 4623 w 22240"/>
                <a:gd name="connsiteY4" fmla="*/ 0 h 143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0" h="143942">
                  <a:moveTo>
                    <a:pt x="4623" y="0"/>
                  </a:moveTo>
                  <a:lnTo>
                    <a:pt x="0" y="122701"/>
                  </a:lnTo>
                  <a:lnTo>
                    <a:pt x="17492" y="143942"/>
                  </a:lnTo>
                  <a:lnTo>
                    <a:pt x="22240" y="21366"/>
                  </a:lnTo>
                  <a:lnTo>
                    <a:pt x="4623" y="0"/>
                  </a:lnTo>
                  <a:close/>
                </a:path>
              </a:pathLst>
            </a:custGeom>
            <a:solidFill>
              <a:schemeClr val="accent6"/>
            </a:solidFill>
            <a:ln w="12483" cap="flat">
              <a:noFill/>
              <a:prstDash val="solid"/>
              <a:miter/>
            </a:ln>
          </p:spPr>
          <p:txBody>
            <a:bodyPr rtlCol="0" anchor="ctr"/>
            <a:lstStyle/>
            <a:p>
              <a:endParaRPr lang="en-US"/>
            </a:p>
          </p:txBody>
        </p:sp>
        <p:sp>
          <p:nvSpPr>
            <p:cNvPr id="1160" name="Freeform: Shape 1159">
              <a:extLst>
                <a:ext uri="{FF2B5EF4-FFF2-40B4-BE49-F238E27FC236}">
                  <a16:creationId xmlns:a16="http://schemas.microsoft.com/office/drawing/2014/main" id="{53CF761F-E8C9-4150-A9AF-8B178845F4FD}"/>
                </a:ext>
              </a:extLst>
            </p:cNvPr>
            <p:cNvSpPr/>
            <p:nvPr/>
          </p:nvSpPr>
          <p:spPr>
            <a:xfrm>
              <a:off x="8130267" y="6018357"/>
              <a:ext cx="317487" cy="192923"/>
            </a:xfrm>
            <a:custGeom>
              <a:avLst/>
              <a:gdLst>
                <a:gd name="connsiteX0" fmla="*/ 317488 w 317487"/>
                <a:gd name="connsiteY0" fmla="*/ 18617 h 192923"/>
                <a:gd name="connsiteX1" fmla="*/ 305743 w 317487"/>
                <a:gd name="connsiteY1" fmla="*/ 375 h 192923"/>
                <a:gd name="connsiteX2" fmla="*/ 305493 w 317487"/>
                <a:gd name="connsiteY2" fmla="*/ 0 h 192923"/>
                <a:gd name="connsiteX3" fmla="*/ 0 w 317487"/>
                <a:gd name="connsiteY3" fmla="*/ 174056 h 192923"/>
                <a:gd name="connsiteX4" fmla="*/ 11995 w 317487"/>
                <a:gd name="connsiteY4" fmla="*/ 192923 h 192923"/>
                <a:gd name="connsiteX5" fmla="*/ 276630 w 317487"/>
                <a:gd name="connsiteY5" fmla="*/ 41858 h 192923"/>
                <a:gd name="connsiteX6" fmla="*/ 312615 w 317487"/>
                <a:gd name="connsiteY6" fmla="*/ 21366 h 192923"/>
                <a:gd name="connsiteX7" fmla="*/ 317488 w 317487"/>
                <a:gd name="connsiteY7" fmla="*/ 18617 h 19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487" h="192923">
                  <a:moveTo>
                    <a:pt x="317488" y="18617"/>
                  </a:moveTo>
                  <a:lnTo>
                    <a:pt x="305743" y="375"/>
                  </a:lnTo>
                  <a:lnTo>
                    <a:pt x="305493" y="0"/>
                  </a:lnTo>
                  <a:lnTo>
                    <a:pt x="0" y="174056"/>
                  </a:lnTo>
                  <a:lnTo>
                    <a:pt x="11995" y="192923"/>
                  </a:lnTo>
                  <a:lnTo>
                    <a:pt x="276630" y="41858"/>
                  </a:lnTo>
                  <a:lnTo>
                    <a:pt x="312615" y="21366"/>
                  </a:lnTo>
                  <a:lnTo>
                    <a:pt x="317488" y="18617"/>
                  </a:lnTo>
                  <a:close/>
                </a:path>
              </a:pathLst>
            </a:custGeom>
            <a:solidFill>
              <a:srgbClr val="F26544"/>
            </a:solidFill>
            <a:ln w="12483" cap="flat">
              <a:noFill/>
              <a:prstDash val="solid"/>
              <a:miter/>
            </a:ln>
          </p:spPr>
          <p:txBody>
            <a:bodyPr rtlCol="0" anchor="ctr"/>
            <a:lstStyle/>
            <a:p>
              <a:endParaRPr lang="en-US"/>
            </a:p>
          </p:txBody>
        </p:sp>
        <p:sp>
          <p:nvSpPr>
            <p:cNvPr id="1161" name="Freeform: Shape 1160">
              <a:extLst>
                <a:ext uri="{FF2B5EF4-FFF2-40B4-BE49-F238E27FC236}">
                  <a16:creationId xmlns:a16="http://schemas.microsoft.com/office/drawing/2014/main" id="{4FD16777-260E-40D8-8F1C-A7EC5A86A1EE}"/>
                </a:ext>
              </a:extLst>
            </p:cNvPr>
            <p:cNvSpPr/>
            <p:nvPr/>
          </p:nvSpPr>
          <p:spPr>
            <a:xfrm>
              <a:off x="8149009" y="6079957"/>
              <a:ext cx="297871" cy="227784"/>
            </a:xfrm>
            <a:custGeom>
              <a:avLst/>
              <a:gdLst>
                <a:gd name="connsiteX0" fmla="*/ 297746 w 297871"/>
                <a:gd name="connsiteY0" fmla="*/ 61226 h 227784"/>
                <a:gd name="connsiteX1" fmla="*/ 297746 w 297871"/>
                <a:gd name="connsiteY1" fmla="*/ 60476 h 227784"/>
                <a:gd name="connsiteX2" fmla="*/ 296372 w 297871"/>
                <a:gd name="connsiteY2" fmla="*/ 46481 h 227784"/>
                <a:gd name="connsiteX3" fmla="*/ 265385 w 297871"/>
                <a:gd name="connsiteY3" fmla="*/ 0 h 227784"/>
                <a:gd name="connsiteX4" fmla="*/ 265385 w 297871"/>
                <a:gd name="connsiteY4" fmla="*/ 0 h 227784"/>
                <a:gd name="connsiteX5" fmla="*/ 0 w 297871"/>
                <a:gd name="connsiteY5" fmla="*/ 151440 h 227784"/>
                <a:gd name="connsiteX6" fmla="*/ 8871 w 297871"/>
                <a:gd name="connsiteY6" fmla="*/ 227784 h 227784"/>
                <a:gd name="connsiteX7" fmla="*/ 297871 w 297871"/>
                <a:gd name="connsiteY7" fmla="*/ 62475 h 227784"/>
                <a:gd name="connsiteX8" fmla="*/ 297746 w 297871"/>
                <a:gd name="connsiteY8" fmla="*/ 61226 h 22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871" h="227784">
                  <a:moveTo>
                    <a:pt x="297746" y="61226"/>
                  </a:moveTo>
                  <a:cubicBezTo>
                    <a:pt x="297796" y="60976"/>
                    <a:pt x="297796" y="60726"/>
                    <a:pt x="297746" y="60476"/>
                  </a:cubicBezTo>
                  <a:lnTo>
                    <a:pt x="296372" y="46481"/>
                  </a:lnTo>
                  <a:lnTo>
                    <a:pt x="265385" y="0"/>
                  </a:lnTo>
                  <a:lnTo>
                    <a:pt x="265385" y="0"/>
                  </a:lnTo>
                  <a:lnTo>
                    <a:pt x="0" y="151440"/>
                  </a:lnTo>
                  <a:lnTo>
                    <a:pt x="8871" y="227784"/>
                  </a:lnTo>
                  <a:lnTo>
                    <a:pt x="297871" y="62475"/>
                  </a:lnTo>
                  <a:cubicBezTo>
                    <a:pt x="297709" y="62075"/>
                    <a:pt x="297659" y="61650"/>
                    <a:pt x="297746" y="61226"/>
                  </a:cubicBezTo>
                  <a:close/>
                </a:path>
              </a:pathLst>
            </a:custGeom>
            <a:solidFill>
              <a:schemeClr val="accent2"/>
            </a:solidFill>
            <a:ln w="12483" cap="flat">
              <a:noFill/>
              <a:prstDash val="solid"/>
              <a:miter/>
            </a:ln>
          </p:spPr>
          <p:txBody>
            <a:bodyPr rtlCol="0" anchor="ctr"/>
            <a:lstStyle/>
            <a:p>
              <a:endParaRPr lang="en-US"/>
            </a:p>
          </p:txBody>
        </p:sp>
        <p:sp>
          <p:nvSpPr>
            <p:cNvPr id="1162" name="Freeform: Shape 1161">
              <a:extLst>
                <a:ext uri="{FF2B5EF4-FFF2-40B4-BE49-F238E27FC236}">
                  <a16:creationId xmlns:a16="http://schemas.microsoft.com/office/drawing/2014/main" id="{CE9A83FD-A700-4462-BA4E-22BFF42B40F2}"/>
                </a:ext>
              </a:extLst>
            </p:cNvPr>
            <p:cNvSpPr/>
            <p:nvPr/>
          </p:nvSpPr>
          <p:spPr>
            <a:xfrm>
              <a:off x="9613876" y="5567662"/>
              <a:ext cx="1502475" cy="996602"/>
            </a:xfrm>
            <a:custGeom>
              <a:avLst/>
              <a:gdLst>
                <a:gd name="connsiteX0" fmla="*/ 0 w 1502475"/>
                <a:gd name="connsiteY0" fmla="*/ 837166 h 996602"/>
                <a:gd name="connsiteX1" fmla="*/ 81465 w 1502475"/>
                <a:gd name="connsiteY1" fmla="*/ 954869 h 996602"/>
                <a:gd name="connsiteX2" fmla="*/ 81465 w 1502475"/>
                <a:gd name="connsiteY2" fmla="*/ 956119 h 996602"/>
                <a:gd name="connsiteX3" fmla="*/ 82339 w 1502475"/>
                <a:gd name="connsiteY3" fmla="*/ 957993 h 996602"/>
                <a:gd name="connsiteX4" fmla="*/ 82339 w 1502475"/>
                <a:gd name="connsiteY4" fmla="*/ 960117 h 996602"/>
                <a:gd name="connsiteX5" fmla="*/ 82339 w 1502475"/>
                <a:gd name="connsiteY5" fmla="*/ 961492 h 996602"/>
                <a:gd name="connsiteX6" fmla="*/ 83339 w 1502475"/>
                <a:gd name="connsiteY6" fmla="*/ 996603 h 996602"/>
                <a:gd name="connsiteX7" fmla="*/ 1502476 w 1502475"/>
                <a:gd name="connsiteY7" fmla="*/ 137195 h 996602"/>
                <a:gd name="connsiteX8" fmla="*/ 1395772 w 1502475"/>
                <a:gd name="connsiteY8" fmla="*/ 0 h 99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475" h="996602">
                  <a:moveTo>
                    <a:pt x="0" y="837166"/>
                  </a:moveTo>
                  <a:lnTo>
                    <a:pt x="81465" y="954869"/>
                  </a:lnTo>
                  <a:cubicBezTo>
                    <a:pt x="81515" y="955282"/>
                    <a:pt x="81515" y="955706"/>
                    <a:pt x="81465" y="956119"/>
                  </a:cubicBezTo>
                  <a:cubicBezTo>
                    <a:pt x="81877" y="956681"/>
                    <a:pt x="82177" y="957318"/>
                    <a:pt x="82339" y="957993"/>
                  </a:cubicBezTo>
                  <a:cubicBezTo>
                    <a:pt x="82414" y="958705"/>
                    <a:pt x="82414" y="959405"/>
                    <a:pt x="82339" y="960117"/>
                  </a:cubicBezTo>
                  <a:cubicBezTo>
                    <a:pt x="82339" y="960117"/>
                    <a:pt x="82339" y="960992"/>
                    <a:pt x="82339" y="961492"/>
                  </a:cubicBezTo>
                  <a:lnTo>
                    <a:pt x="83339" y="996603"/>
                  </a:lnTo>
                  <a:lnTo>
                    <a:pt x="1502476" y="137195"/>
                  </a:lnTo>
                  <a:lnTo>
                    <a:pt x="1395772" y="0"/>
                  </a:lnTo>
                  <a:close/>
                </a:path>
              </a:pathLst>
            </a:custGeom>
            <a:solidFill>
              <a:schemeClr val="accent1"/>
            </a:solidFill>
            <a:ln w="12483" cap="flat">
              <a:noFill/>
              <a:prstDash val="solid"/>
              <a:miter/>
            </a:ln>
          </p:spPr>
          <p:txBody>
            <a:bodyPr rtlCol="0" anchor="ctr"/>
            <a:lstStyle/>
            <a:p>
              <a:endParaRPr lang="en-US"/>
            </a:p>
          </p:txBody>
        </p:sp>
        <p:sp>
          <p:nvSpPr>
            <p:cNvPr id="1163" name="Freeform: Shape 1162">
              <a:extLst>
                <a:ext uri="{FF2B5EF4-FFF2-40B4-BE49-F238E27FC236}">
                  <a16:creationId xmlns:a16="http://schemas.microsoft.com/office/drawing/2014/main" id="{9BAAE155-22BF-436B-AC49-25C51626D414}"/>
                </a:ext>
              </a:extLst>
            </p:cNvPr>
            <p:cNvSpPr/>
            <p:nvPr/>
          </p:nvSpPr>
          <p:spPr>
            <a:xfrm>
              <a:off x="8160879" y="6174669"/>
              <a:ext cx="369465" cy="281137"/>
            </a:xfrm>
            <a:custGeom>
              <a:avLst/>
              <a:gdLst>
                <a:gd name="connsiteX0" fmla="*/ 369465 w 369465"/>
                <a:gd name="connsiteY0" fmla="*/ 98086 h 281137"/>
                <a:gd name="connsiteX1" fmla="*/ 306118 w 369465"/>
                <a:gd name="connsiteY1" fmla="*/ 0 h 281137"/>
                <a:gd name="connsiteX2" fmla="*/ 306118 w 369465"/>
                <a:gd name="connsiteY2" fmla="*/ 0 h 281137"/>
                <a:gd name="connsiteX3" fmla="*/ 2249 w 369465"/>
                <a:gd name="connsiteY3" fmla="*/ 174930 h 281137"/>
                <a:gd name="connsiteX4" fmla="*/ 2249 w 369465"/>
                <a:gd name="connsiteY4" fmla="*/ 176805 h 281137"/>
                <a:gd name="connsiteX5" fmla="*/ 2249 w 369465"/>
                <a:gd name="connsiteY5" fmla="*/ 179054 h 281137"/>
                <a:gd name="connsiteX6" fmla="*/ 2249 w 369465"/>
                <a:gd name="connsiteY6" fmla="*/ 181053 h 281137"/>
                <a:gd name="connsiteX7" fmla="*/ 1499 w 369465"/>
                <a:gd name="connsiteY7" fmla="*/ 182802 h 281137"/>
                <a:gd name="connsiteX8" fmla="*/ 625 w 369465"/>
                <a:gd name="connsiteY8" fmla="*/ 184676 h 281137"/>
                <a:gd name="connsiteX9" fmla="*/ 0 w 369465"/>
                <a:gd name="connsiteY9" fmla="*/ 185426 h 281137"/>
                <a:gd name="connsiteX10" fmla="*/ 999 w 369465"/>
                <a:gd name="connsiteY10" fmla="*/ 193673 h 281137"/>
                <a:gd name="connsiteX11" fmla="*/ 55351 w 369465"/>
                <a:gd name="connsiteY11" fmla="*/ 281138 h 28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9465" h="281137">
                  <a:moveTo>
                    <a:pt x="369465" y="98086"/>
                  </a:moveTo>
                  <a:lnTo>
                    <a:pt x="306118" y="0"/>
                  </a:lnTo>
                  <a:lnTo>
                    <a:pt x="306118" y="0"/>
                  </a:lnTo>
                  <a:lnTo>
                    <a:pt x="2249" y="174930"/>
                  </a:lnTo>
                  <a:lnTo>
                    <a:pt x="2249" y="176805"/>
                  </a:lnTo>
                  <a:cubicBezTo>
                    <a:pt x="2311" y="177554"/>
                    <a:pt x="2311" y="178304"/>
                    <a:pt x="2249" y="179054"/>
                  </a:cubicBezTo>
                  <a:cubicBezTo>
                    <a:pt x="2311" y="179716"/>
                    <a:pt x="2311" y="180391"/>
                    <a:pt x="2249" y="181053"/>
                  </a:cubicBezTo>
                  <a:cubicBezTo>
                    <a:pt x="2049" y="181653"/>
                    <a:pt x="1799" y="182240"/>
                    <a:pt x="1499" y="182802"/>
                  </a:cubicBezTo>
                  <a:cubicBezTo>
                    <a:pt x="1262" y="183452"/>
                    <a:pt x="962" y="184077"/>
                    <a:pt x="625" y="184676"/>
                  </a:cubicBezTo>
                  <a:lnTo>
                    <a:pt x="0" y="185426"/>
                  </a:lnTo>
                  <a:lnTo>
                    <a:pt x="999" y="193673"/>
                  </a:lnTo>
                  <a:lnTo>
                    <a:pt x="55351" y="281138"/>
                  </a:lnTo>
                  <a:close/>
                </a:path>
              </a:pathLst>
            </a:custGeom>
            <a:solidFill>
              <a:schemeClr val="accent1"/>
            </a:solidFill>
            <a:ln w="12483" cap="flat">
              <a:noFill/>
              <a:prstDash val="solid"/>
              <a:miter/>
            </a:ln>
          </p:spPr>
          <p:txBody>
            <a:bodyPr rtlCol="0" anchor="ctr"/>
            <a:lstStyle/>
            <a:p>
              <a:endParaRPr lang="en-US"/>
            </a:p>
          </p:txBody>
        </p:sp>
        <p:sp>
          <p:nvSpPr>
            <p:cNvPr id="1164" name="Freeform: Shape 1163">
              <a:extLst>
                <a:ext uri="{FF2B5EF4-FFF2-40B4-BE49-F238E27FC236}">
                  <a16:creationId xmlns:a16="http://schemas.microsoft.com/office/drawing/2014/main" id="{4FC9D847-0F9E-4D2C-A86F-65973F2F916C}"/>
                </a:ext>
              </a:extLst>
            </p:cNvPr>
            <p:cNvSpPr/>
            <p:nvPr/>
          </p:nvSpPr>
          <p:spPr>
            <a:xfrm>
              <a:off x="8142512" y="632985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9FD1D0"/>
            </a:solidFill>
            <a:ln w="12483" cap="flat">
              <a:noFill/>
              <a:prstDash val="solid"/>
              <a:miter/>
            </a:ln>
          </p:spPr>
          <p:txBody>
            <a:bodyPr rtlCol="0" anchor="ctr"/>
            <a:lstStyle/>
            <a:p>
              <a:endParaRPr lang="en-US"/>
            </a:p>
          </p:txBody>
        </p:sp>
        <p:sp>
          <p:nvSpPr>
            <p:cNvPr id="1165" name="Freeform: Shape 1164">
              <a:extLst>
                <a:ext uri="{FF2B5EF4-FFF2-40B4-BE49-F238E27FC236}">
                  <a16:creationId xmlns:a16="http://schemas.microsoft.com/office/drawing/2014/main" id="{E634E78F-0976-4C2E-827A-03CCB2B9655E}"/>
                </a:ext>
              </a:extLst>
            </p:cNvPr>
            <p:cNvSpPr/>
            <p:nvPr/>
          </p:nvSpPr>
          <p:spPr>
            <a:xfrm>
              <a:off x="8158630" y="6145931"/>
              <a:ext cx="306242" cy="199420"/>
            </a:xfrm>
            <a:custGeom>
              <a:avLst/>
              <a:gdLst>
                <a:gd name="connsiteX0" fmla="*/ 289750 w 306242"/>
                <a:gd name="connsiteY0" fmla="*/ 0 h 199420"/>
                <a:gd name="connsiteX1" fmla="*/ 289750 w 306242"/>
                <a:gd name="connsiteY1" fmla="*/ 0 h 199420"/>
                <a:gd name="connsiteX2" fmla="*/ 0 w 306242"/>
                <a:gd name="connsiteY2" fmla="*/ 166059 h 199420"/>
                <a:gd name="connsiteX3" fmla="*/ 3873 w 306242"/>
                <a:gd name="connsiteY3" fmla="*/ 199420 h 199420"/>
                <a:gd name="connsiteX4" fmla="*/ 306243 w 306242"/>
                <a:gd name="connsiteY4" fmla="*/ 25740 h 19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42" h="199420">
                  <a:moveTo>
                    <a:pt x="289750" y="0"/>
                  </a:moveTo>
                  <a:lnTo>
                    <a:pt x="289750" y="0"/>
                  </a:lnTo>
                  <a:lnTo>
                    <a:pt x="0" y="166059"/>
                  </a:lnTo>
                  <a:lnTo>
                    <a:pt x="3873" y="199420"/>
                  </a:lnTo>
                  <a:lnTo>
                    <a:pt x="306243" y="25740"/>
                  </a:lnTo>
                  <a:close/>
                </a:path>
              </a:pathLst>
            </a:custGeom>
            <a:solidFill>
              <a:schemeClr val="accent6"/>
            </a:solidFill>
            <a:ln w="12483" cap="flat">
              <a:noFill/>
              <a:prstDash val="solid"/>
              <a:miter/>
            </a:ln>
          </p:spPr>
          <p:txBody>
            <a:bodyPr rtlCol="0" anchor="ctr"/>
            <a:lstStyle/>
            <a:p>
              <a:endParaRPr lang="en-US"/>
            </a:p>
          </p:txBody>
        </p:sp>
        <p:sp>
          <p:nvSpPr>
            <p:cNvPr id="1166" name="Freeform: Shape 1165">
              <a:extLst>
                <a:ext uri="{FF2B5EF4-FFF2-40B4-BE49-F238E27FC236}">
                  <a16:creationId xmlns:a16="http://schemas.microsoft.com/office/drawing/2014/main" id="{BF3C4A03-8287-4CE6-9EB2-FFBAF29DDA7F}"/>
                </a:ext>
              </a:extLst>
            </p:cNvPr>
            <p:cNvSpPr/>
            <p:nvPr/>
          </p:nvSpPr>
          <p:spPr>
            <a:xfrm>
              <a:off x="8031435" y="6057341"/>
              <a:ext cx="92085" cy="243902"/>
            </a:xfrm>
            <a:custGeom>
              <a:avLst/>
              <a:gdLst>
                <a:gd name="connsiteX0" fmla="*/ 80715 w 92085"/>
                <a:gd name="connsiteY0" fmla="*/ 138320 h 243902"/>
                <a:gd name="connsiteX1" fmla="*/ 80715 w 92085"/>
                <a:gd name="connsiteY1" fmla="*/ 136071 h 243902"/>
                <a:gd name="connsiteX2" fmla="*/ 80715 w 92085"/>
                <a:gd name="connsiteY2" fmla="*/ 134072 h 243902"/>
                <a:gd name="connsiteX3" fmla="*/ 81465 w 92085"/>
                <a:gd name="connsiteY3" fmla="*/ 132322 h 243902"/>
                <a:gd name="connsiteX4" fmla="*/ 82339 w 92085"/>
                <a:gd name="connsiteY4" fmla="*/ 130948 h 243902"/>
                <a:gd name="connsiteX5" fmla="*/ 0 w 92085"/>
                <a:gd name="connsiteY5" fmla="*/ 0 h 243902"/>
                <a:gd name="connsiteX6" fmla="*/ 1999 w 92085"/>
                <a:gd name="connsiteY6" fmla="*/ 16743 h 243902"/>
                <a:gd name="connsiteX7" fmla="*/ 12619 w 92085"/>
                <a:gd name="connsiteY7" fmla="*/ 104208 h 243902"/>
                <a:gd name="connsiteX8" fmla="*/ 14494 w 92085"/>
                <a:gd name="connsiteY8" fmla="*/ 119827 h 243902"/>
                <a:gd name="connsiteX9" fmla="*/ 92085 w 92085"/>
                <a:gd name="connsiteY9" fmla="*/ 243903 h 243902"/>
                <a:gd name="connsiteX10" fmla="*/ 79591 w 92085"/>
                <a:gd name="connsiteY10" fmla="*/ 140194 h 243902"/>
                <a:gd name="connsiteX11" fmla="*/ 80715 w 92085"/>
                <a:gd name="connsiteY11" fmla="*/ 138320 h 24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85" h="243902">
                  <a:moveTo>
                    <a:pt x="80715" y="138320"/>
                  </a:moveTo>
                  <a:cubicBezTo>
                    <a:pt x="80652" y="137570"/>
                    <a:pt x="80652" y="136821"/>
                    <a:pt x="80715" y="136071"/>
                  </a:cubicBezTo>
                  <a:cubicBezTo>
                    <a:pt x="80715" y="135446"/>
                    <a:pt x="80715" y="134821"/>
                    <a:pt x="80715" y="134072"/>
                  </a:cubicBezTo>
                  <a:lnTo>
                    <a:pt x="81465" y="132322"/>
                  </a:lnTo>
                  <a:lnTo>
                    <a:pt x="82339" y="130948"/>
                  </a:lnTo>
                  <a:lnTo>
                    <a:pt x="0" y="0"/>
                  </a:lnTo>
                  <a:lnTo>
                    <a:pt x="1999" y="16743"/>
                  </a:lnTo>
                  <a:lnTo>
                    <a:pt x="12619" y="104208"/>
                  </a:lnTo>
                  <a:lnTo>
                    <a:pt x="14494" y="119827"/>
                  </a:lnTo>
                  <a:lnTo>
                    <a:pt x="92085" y="243903"/>
                  </a:lnTo>
                  <a:lnTo>
                    <a:pt x="79591" y="140194"/>
                  </a:lnTo>
                  <a:cubicBezTo>
                    <a:pt x="79828" y="139494"/>
                    <a:pt x="80215" y="138857"/>
                    <a:pt x="80715" y="138320"/>
                  </a:cubicBezTo>
                  <a:close/>
                </a:path>
              </a:pathLst>
            </a:custGeom>
            <a:solidFill>
              <a:schemeClr val="accent5">
                <a:lumMod val="75000"/>
              </a:schemeClr>
            </a:solidFill>
            <a:ln w="12483" cap="flat">
              <a:noFill/>
              <a:prstDash val="solid"/>
              <a:miter/>
            </a:ln>
          </p:spPr>
          <p:txBody>
            <a:bodyPr rtlCol="0" anchor="ctr"/>
            <a:lstStyle/>
            <a:p>
              <a:endParaRPr lang="en-US"/>
            </a:p>
          </p:txBody>
        </p:sp>
        <p:sp>
          <p:nvSpPr>
            <p:cNvPr id="1167" name="Freeform: Shape 1166">
              <a:extLst>
                <a:ext uri="{FF2B5EF4-FFF2-40B4-BE49-F238E27FC236}">
                  <a16:creationId xmlns:a16="http://schemas.microsoft.com/office/drawing/2014/main" id="{0B68DA30-6E28-46D6-BC51-0DFA0CC7D028}"/>
                </a:ext>
              </a:extLst>
            </p:cNvPr>
            <p:cNvSpPr/>
            <p:nvPr/>
          </p:nvSpPr>
          <p:spPr>
            <a:xfrm>
              <a:off x="8047678" y="6184666"/>
              <a:ext cx="150435" cy="687225"/>
            </a:xfrm>
            <a:custGeom>
              <a:avLst/>
              <a:gdLst>
                <a:gd name="connsiteX0" fmla="*/ 79341 w 150435"/>
                <a:gd name="connsiteY0" fmla="*/ 139319 h 687225"/>
                <a:gd name="connsiteX1" fmla="*/ 77592 w 150435"/>
                <a:gd name="connsiteY1" fmla="*/ 123950 h 687225"/>
                <a:gd name="connsiteX2" fmla="*/ 0 w 150435"/>
                <a:gd name="connsiteY2" fmla="*/ 0 h 687225"/>
                <a:gd name="connsiteX3" fmla="*/ 20491 w 150435"/>
                <a:gd name="connsiteY3" fmla="*/ 170182 h 687225"/>
                <a:gd name="connsiteX4" fmla="*/ 82964 w 150435"/>
                <a:gd name="connsiteY4" fmla="*/ 687226 h 687225"/>
                <a:gd name="connsiteX5" fmla="*/ 150435 w 150435"/>
                <a:gd name="connsiteY5" fmla="*/ 687226 h 687225"/>
                <a:gd name="connsiteX6" fmla="*/ 87962 w 150435"/>
                <a:gd name="connsiteY6" fmla="*/ 148066 h 687225"/>
                <a:gd name="connsiteX7" fmla="*/ 79341 w 150435"/>
                <a:gd name="connsiteY7" fmla="*/ 139319 h 6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435" h="687225">
                  <a:moveTo>
                    <a:pt x="79341" y="139319"/>
                  </a:moveTo>
                  <a:lnTo>
                    <a:pt x="77592" y="123950"/>
                  </a:lnTo>
                  <a:lnTo>
                    <a:pt x="0" y="0"/>
                  </a:lnTo>
                  <a:lnTo>
                    <a:pt x="20491" y="170182"/>
                  </a:lnTo>
                  <a:lnTo>
                    <a:pt x="82964" y="687226"/>
                  </a:lnTo>
                  <a:lnTo>
                    <a:pt x="150435" y="687226"/>
                  </a:lnTo>
                  <a:lnTo>
                    <a:pt x="87962" y="148066"/>
                  </a:lnTo>
                  <a:cubicBezTo>
                    <a:pt x="83339" y="147653"/>
                    <a:pt x="79691" y="143955"/>
                    <a:pt x="79341" y="139319"/>
                  </a:cubicBezTo>
                  <a:close/>
                </a:path>
              </a:pathLst>
            </a:custGeom>
            <a:solidFill>
              <a:schemeClr val="accent6"/>
            </a:solidFill>
            <a:ln w="12483" cap="flat">
              <a:noFill/>
              <a:prstDash val="solid"/>
              <a:miter/>
            </a:ln>
          </p:spPr>
          <p:txBody>
            <a:bodyPr rtlCol="0" anchor="ctr"/>
            <a:lstStyle/>
            <a:p>
              <a:endParaRPr lang="en-US"/>
            </a:p>
          </p:txBody>
        </p:sp>
        <p:sp>
          <p:nvSpPr>
            <p:cNvPr id="1168" name="Freeform: Shape 1167">
              <a:extLst>
                <a:ext uri="{FF2B5EF4-FFF2-40B4-BE49-F238E27FC236}">
                  <a16:creationId xmlns:a16="http://schemas.microsoft.com/office/drawing/2014/main" id="{CA031667-4B90-4107-BFBB-B25137DA938A}"/>
                </a:ext>
              </a:extLst>
            </p:cNvPr>
            <p:cNvSpPr/>
            <p:nvPr/>
          </p:nvSpPr>
          <p:spPr>
            <a:xfrm>
              <a:off x="8417893" y="6065713"/>
              <a:ext cx="26613" cy="53353"/>
            </a:xfrm>
            <a:custGeom>
              <a:avLst/>
              <a:gdLst>
                <a:gd name="connsiteX0" fmla="*/ 26614 w 26613"/>
                <a:gd name="connsiteY0" fmla="*/ 53354 h 53353"/>
                <a:gd name="connsiteX1" fmla="*/ 21366 w 26613"/>
                <a:gd name="connsiteY1" fmla="*/ 0 h 53353"/>
                <a:gd name="connsiteX2" fmla="*/ 0 w 26613"/>
                <a:gd name="connsiteY2" fmla="*/ 12245 h 53353"/>
                <a:gd name="connsiteX3" fmla="*/ 26614 w 26613"/>
                <a:gd name="connsiteY3" fmla="*/ 53354 h 53353"/>
              </a:gdLst>
              <a:ahLst/>
              <a:cxnLst>
                <a:cxn ang="0">
                  <a:pos x="connsiteX0" y="connsiteY0"/>
                </a:cxn>
                <a:cxn ang="0">
                  <a:pos x="connsiteX1" y="connsiteY1"/>
                </a:cxn>
                <a:cxn ang="0">
                  <a:pos x="connsiteX2" y="connsiteY2"/>
                </a:cxn>
                <a:cxn ang="0">
                  <a:pos x="connsiteX3" y="connsiteY3"/>
                </a:cxn>
              </a:cxnLst>
              <a:rect l="l" t="t" r="r" b="b"/>
              <a:pathLst>
                <a:path w="26613" h="53353">
                  <a:moveTo>
                    <a:pt x="26614" y="53354"/>
                  </a:moveTo>
                  <a:lnTo>
                    <a:pt x="21366" y="0"/>
                  </a:lnTo>
                  <a:lnTo>
                    <a:pt x="0" y="12245"/>
                  </a:lnTo>
                  <a:lnTo>
                    <a:pt x="26614" y="53354"/>
                  </a:lnTo>
                  <a:close/>
                </a:path>
              </a:pathLst>
            </a:custGeom>
            <a:solidFill>
              <a:schemeClr val="accent3"/>
            </a:solidFill>
            <a:ln w="12483" cap="flat">
              <a:noFill/>
              <a:prstDash val="solid"/>
              <a:miter/>
            </a:ln>
          </p:spPr>
          <p:txBody>
            <a:bodyPr rtlCol="0" anchor="ctr"/>
            <a:lstStyle/>
            <a:p>
              <a:endParaRPr lang="en-US"/>
            </a:p>
          </p:txBody>
        </p:sp>
        <p:sp>
          <p:nvSpPr>
            <p:cNvPr id="1169" name="Freeform: Shape 1168">
              <a:extLst>
                <a:ext uri="{FF2B5EF4-FFF2-40B4-BE49-F238E27FC236}">
                  <a16:creationId xmlns:a16="http://schemas.microsoft.com/office/drawing/2014/main" id="{D5D005EB-EDED-46E9-986B-ABD756A4CD3A}"/>
                </a:ext>
              </a:extLst>
            </p:cNvPr>
            <p:cNvSpPr/>
            <p:nvPr/>
          </p:nvSpPr>
          <p:spPr>
            <a:xfrm>
              <a:off x="8030186" y="5868292"/>
              <a:ext cx="402950" cy="321621"/>
            </a:xfrm>
            <a:custGeom>
              <a:avLst/>
              <a:gdLst>
                <a:gd name="connsiteX0" fmla="*/ 370090 w 402950"/>
                <a:gd name="connsiteY0" fmla="*/ 95462 h 321621"/>
                <a:gd name="connsiteX1" fmla="*/ 307617 w 402950"/>
                <a:gd name="connsiteY1" fmla="*/ 0 h 321621"/>
                <a:gd name="connsiteX2" fmla="*/ 250892 w 402950"/>
                <a:gd name="connsiteY2" fmla="*/ 31987 h 321621"/>
                <a:gd name="connsiteX3" fmla="*/ 245769 w 402950"/>
                <a:gd name="connsiteY3" fmla="*/ 34736 h 321621"/>
                <a:gd name="connsiteX4" fmla="*/ 245769 w 402950"/>
                <a:gd name="connsiteY4" fmla="*/ 34736 h 321621"/>
                <a:gd name="connsiteX5" fmla="*/ 88462 w 402950"/>
                <a:gd name="connsiteY5" fmla="*/ 124201 h 321621"/>
                <a:gd name="connsiteX6" fmla="*/ 0 w 402950"/>
                <a:gd name="connsiteY6" fmla="*/ 174181 h 321621"/>
                <a:gd name="connsiteX7" fmla="*/ 1000 w 402950"/>
                <a:gd name="connsiteY7" fmla="*/ 181678 h 321621"/>
                <a:gd name="connsiteX8" fmla="*/ 86837 w 402950"/>
                <a:gd name="connsiteY8" fmla="*/ 318248 h 321621"/>
                <a:gd name="connsiteX9" fmla="*/ 87462 w 402950"/>
                <a:gd name="connsiteY9" fmla="*/ 318248 h 321621"/>
                <a:gd name="connsiteX10" fmla="*/ 89087 w 402950"/>
                <a:gd name="connsiteY10" fmla="*/ 318248 h 321621"/>
                <a:gd name="connsiteX11" fmla="*/ 89087 w 402950"/>
                <a:gd name="connsiteY11" fmla="*/ 318248 h 321621"/>
                <a:gd name="connsiteX12" fmla="*/ 92085 w 402950"/>
                <a:gd name="connsiteY12" fmla="*/ 318248 h 321621"/>
                <a:gd name="connsiteX13" fmla="*/ 93585 w 402950"/>
                <a:gd name="connsiteY13" fmla="*/ 318248 h 321621"/>
                <a:gd name="connsiteX14" fmla="*/ 95209 w 402950"/>
                <a:gd name="connsiteY14" fmla="*/ 319248 h 321621"/>
                <a:gd name="connsiteX15" fmla="*/ 96583 w 402950"/>
                <a:gd name="connsiteY15" fmla="*/ 320622 h 321621"/>
                <a:gd name="connsiteX16" fmla="*/ 97458 w 402950"/>
                <a:gd name="connsiteY16" fmla="*/ 321622 h 321621"/>
                <a:gd name="connsiteX17" fmla="*/ 97458 w 402950"/>
                <a:gd name="connsiteY17" fmla="*/ 321622 h 321621"/>
                <a:gd name="connsiteX18" fmla="*/ 402951 w 402950"/>
                <a:gd name="connsiteY18" fmla="*/ 147566 h 321621"/>
                <a:gd name="connsiteX19" fmla="*/ 402326 w 402950"/>
                <a:gd name="connsiteY19" fmla="*/ 146691 h 3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2950" h="321621">
                  <a:moveTo>
                    <a:pt x="370090" y="95462"/>
                  </a:moveTo>
                  <a:lnTo>
                    <a:pt x="307617" y="0"/>
                  </a:lnTo>
                  <a:lnTo>
                    <a:pt x="250892" y="31987"/>
                  </a:lnTo>
                  <a:lnTo>
                    <a:pt x="245769" y="34736"/>
                  </a:lnTo>
                  <a:lnTo>
                    <a:pt x="245769" y="34736"/>
                  </a:lnTo>
                  <a:lnTo>
                    <a:pt x="88462" y="124201"/>
                  </a:lnTo>
                  <a:lnTo>
                    <a:pt x="0" y="174181"/>
                  </a:lnTo>
                  <a:lnTo>
                    <a:pt x="1000" y="181678"/>
                  </a:lnTo>
                  <a:lnTo>
                    <a:pt x="86837" y="318248"/>
                  </a:lnTo>
                  <a:lnTo>
                    <a:pt x="87462" y="318248"/>
                  </a:lnTo>
                  <a:lnTo>
                    <a:pt x="89087" y="318248"/>
                  </a:lnTo>
                  <a:lnTo>
                    <a:pt x="89087" y="318248"/>
                  </a:lnTo>
                  <a:lnTo>
                    <a:pt x="92085" y="318248"/>
                  </a:lnTo>
                  <a:lnTo>
                    <a:pt x="93585" y="318248"/>
                  </a:lnTo>
                  <a:cubicBezTo>
                    <a:pt x="94197" y="318461"/>
                    <a:pt x="94746" y="318798"/>
                    <a:pt x="95209" y="319248"/>
                  </a:cubicBezTo>
                  <a:lnTo>
                    <a:pt x="96583" y="320622"/>
                  </a:lnTo>
                  <a:lnTo>
                    <a:pt x="97458" y="321622"/>
                  </a:lnTo>
                  <a:lnTo>
                    <a:pt x="97458" y="321622"/>
                  </a:lnTo>
                  <a:lnTo>
                    <a:pt x="402951" y="147566"/>
                  </a:lnTo>
                  <a:lnTo>
                    <a:pt x="402326" y="146691"/>
                  </a:lnTo>
                  <a:close/>
                </a:path>
              </a:pathLst>
            </a:custGeom>
            <a:solidFill>
              <a:schemeClr val="bg2"/>
            </a:solidFill>
            <a:ln w="12483" cap="flat">
              <a:noFill/>
              <a:prstDash val="solid"/>
              <a:miter/>
            </a:ln>
          </p:spPr>
          <p:txBody>
            <a:bodyPr rtlCol="0" anchor="ctr"/>
            <a:lstStyle/>
            <a:p>
              <a:endParaRPr lang="en-US"/>
            </a:p>
          </p:txBody>
        </p:sp>
        <p:sp>
          <p:nvSpPr>
            <p:cNvPr id="1170" name="Freeform: Shape 1169">
              <a:extLst>
                <a:ext uri="{FF2B5EF4-FFF2-40B4-BE49-F238E27FC236}">
                  <a16:creationId xmlns:a16="http://schemas.microsoft.com/office/drawing/2014/main" id="{B249528B-EB7F-4FD2-B09B-2F0C8C0D1AF2}"/>
                </a:ext>
              </a:extLst>
            </p:cNvPr>
            <p:cNvSpPr/>
            <p:nvPr/>
          </p:nvSpPr>
          <p:spPr>
            <a:xfrm>
              <a:off x="10288585" y="1687084"/>
              <a:ext cx="390456" cy="286885"/>
            </a:xfrm>
            <a:custGeom>
              <a:avLst/>
              <a:gdLst>
                <a:gd name="connsiteX0" fmla="*/ 390456 w 390456"/>
                <a:gd name="connsiteY0" fmla="*/ 178179 h 286885"/>
                <a:gd name="connsiteX1" fmla="*/ 223903 w 390456"/>
                <a:gd name="connsiteY1" fmla="*/ 1874 h 286885"/>
                <a:gd name="connsiteX2" fmla="*/ 223903 w 390456"/>
                <a:gd name="connsiteY2" fmla="*/ 1874 h 286885"/>
                <a:gd name="connsiteX3" fmla="*/ 222779 w 390456"/>
                <a:gd name="connsiteY3" fmla="*/ 0 h 286885"/>
                <a:gd name="connsiteX4" fmla="*/ 222779 w 390456"/>
                <a:gd name="connsiteY4" fmla="*/ 0 h 286885"/>
                <a:gd name="connsiteX5" fmla="*/ 0 w 390456"/>
                <a:gd name="connsiteY5" fmla="*/ 105958 h 286885"/>
                <a:gd name="connsiteX6" fmla="*/ 167178 w 390456"/>
                <a:gd name="connsiteY6" fmla="*/ 286886 h 28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456" h="286885">
                  <a:moveTo>
                    <a:pt x="390456" y="178179"/>
                  </a:moveTo>
                  <a:lnTo>
                    <a:pt x="223903" y="1874"/>
                  </a:lnTo>
                  <a:lnTo>
                    <a:pt x="223903" y="1874"/>
                  </a:lnTo>
                  <a:cubicBezTo>
                    <a:pt x="223478" y="1283"/>
                    <a:pt x="223103" y="656"/>
                    <a:pt x="222779" y="0"/>
                  </a:cubicBezTo>
                  <a:lnTo>
                    <a:pt x="222779" y="0"/>
                  </a:lnTo>
                  <a:lnTo>
                    <a:pt x="0" y="105958"/>
                  </a:lnTo>
                  <a:lnTo>
                    <a:pt x="167178" y="286886"/>
                  </a:lnTo>
                  <a:close/>
                </a:path>
              </a:pathLst>
            </a:custGeom>
            <a:solidFill>
              <a:schemeClr val="accent6">
                <a:lumMod val="50000"/>
              </a:schemeClr>
            </a:solidFill>
            <a:ln w="12483" cap="flat">
              <a:noFill/>
              <a:prstDash val="solid"/>
              <a:miter/>
            </a:ln>
          </p:spPr>
          <p:txBody>
            <a:bodyPr rtlCol="0" anchor="ctr"/>
            <a:lstStyle/>
            <a:p>
              <a:endParaRPr lang="en-US"/>
            </a:p>
          </p:txBody>
        </p:sp>
        <p:sp>
          <p:nvSpPr>
            <p:cNvPr id="1171" name="Freeform: Shape 1170">
              <a:extLst>
                <a:ext uri="{FF2B5EF4-FFF2-40B4-BE49-F238E27FC236}">
                  <a16:creationId xmlns:a16="http://schemas.microsoft.com/office/drawing/2014/main" id="{D19E1682-EACD-4DCF-A7F0-053B8F6A4EE7}"/>
                </a:ext>
              </a:extLst>
            </p:cNvPr>
            <p:cNvSpPr/>
            <p:nvPr/>
          </p:nvSpPr>
          <p:spPr>
            <a:xfrm>
              <a:off x="5872368" y="4136732"/>
              <a:ext cx="393330" cy="1036711"/>
            </a:xfrm>
            <a:custGeom>
              <a:avLst/>
              <a:gdLst>
                <a:gd name="connsiteX0" fmla="*/ 0 w 393330"/>
                <a:gd name="connsiteY0" fmla="*/ 96961 h 1036711"/>
                <a:gd name="connsiteX1" fmla="*/ 204911 w 393330"/>
                <a:gd name="connsiteY1" fmla="*/ 1036712 h 1036711"/>
                <a:gd name="connsiteX2" fmla="*/ 393330 w 393330"/>
                <a:gd name="connsiteY2" fmla="*/ 939875 h 1036711"/>
                <a:gd name="connsiteX3" fmla="*/ 327858 w 393330"/>
                <a:gd name="connsiteY3" fmla="*/ 622876 h 1036711"/>
                <a:gd name="connsiteX4" fmla="*/ 199289 w 393330"/>
                <a:gd name="connsiteY4" fmla="*/ 0 h 1036711"/>
                <a:gd name="connsiteX5" fmla="*/ 0 w 393330"/>
                <a:gd name="connsiteY5" fmla="*/ 96961 h 103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330" h="1036711">
                  <a:moveTo>
                    <a:pt x="0" y="96961"/>
                  </a:moveTo>
                  <a:lnTo>
                    <a:pt x="204911" y="1036712"/>
                  </a:lnTo>
                  <a:lnTo>
                    <a:pt x="393330" y="939875"/>
                  </a:lnTo>
                  <a:lnTo>
                    <a:pt x="327858" y="622876"/>
                  </a:lnTo>
                  <a:lnTo>
                    <a:pt x="199289" y="0"/>
                  </a:lnTo>
                  <a:lnTo>
                    <a:pt x="0" y="96961"/>
                  </a:lnTo>
                  <a:close/>
                </a:path>
              </a:pathLst>
            </a:custGeom>
            <a:solidFill>
              <a:schemeClr val="accent4"/>
            </a:solidFill>
            <a:ln w="12483" cap="flat">
              <a:noFill/>
              <a:prstDash val="solid"/>
              <a:miter/>
            </a:ln>
          </p:spPr>
          <p:txBody>
            <a:bodyPr rtlCol="0" anchor="ctr"/>
            <a:lstStyle/>
            <a:p>
              <a:endParaRPr lang="en-US"/>
            </a:p>
          </p:txBody>
        </p:sp>
        <p:sp>
          <p:nvSpPr>
            <p:cNvPr id="1172" name="Freeform: Shape 1171">
              <a:extLst>
                <a:ext uri="{FF2B5EF4-FFF2-40B4-BE49-F238E27FC236}">
                  <a16:creationId xmlns:a16="http://schemas.microsoft.com/office/drawing/2014/main" id="{EFE25209-2E55-4E7B-A607-8C039267849C}"/>
                </a:ext>
              </a:extLst>
            </p:cNvPr>
            <p:cNvSpPr/>
            <p:nvPr/>
          </p:nvSpPr>
          <p:spPr>
            <a:xfrm>
              <a:off x="6080153" y="5186564"/>
              <a:ext cx="941842" cy="1685702"/>
            </a:xfrm>
            <a:custGeom>
              <a:avLst/>
              <a:gdLst>
                <a:gd name="connsiteX0" fmla="*/ 86463 w 941842"/>
                <a:gd name="connsiteY0" fmla="*/ 396592 h 1685702"/>
                <a:gd name="connsiteX1" fmla="*/ 98208 w 941842"/>
                <a:gd name="connsiteY1" fmla="*/ 418083 h 1685702"/>
                <a:gd name="connsiteX2" fmla="*/ 797405 w 941842"/>
                <a:gd name="connsiteY2" fmla="*/ 1685703 h 1685702"/>
                <a:gd name="connsiteX3" fmla="*/ 941843 w 941842"/>
                <a:gd name="connsiteY3" fmla="*/ 1685703 h 1685702"/>
                <a:gd name="connsiteX4" fmla="*/ 0 w 941842"/>
                <a:gd name="connsiteY4" fmla="*/ 0 h 1685702"/>
                <a:gd name="connsiteX5" fmla="*/ 86463 w 941842"/>
                <a:gd name="connsiteY5" fmla="*/ 396592 h 168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1842" h="1685702">
                  <a:moveTo>
                    <a:pt x="86463" y="396592"/>
                  </a:moveTo>
                  <a:lnTo>
                    <a:pt x="98208" y="418083"/>
                  </a:lnTo>
                  <a:lnTo>
                    <a:pt x="797405" y="1685703"/>
                  </a:lnTo>
                  <a:lnTo>
                    <a:pt x="941843" y="1685703"/>
                  </a:lnTo>
                  <a:lnTo>
                    <a:pt x="0" y="0"/>
                  </a:lnTo>
                  <a:lnTo>
                    <a:pt x="86463" y="396592"/>
                  </a:lnTo>
                  <a:close/>
                </a:path>
              </a:pathLst>
            </a:custGeom>
            <a:solidFill>
              <a:schemeClr val="accent3">
                <a:lumMod val="60000"/>
                <a:lumOff val="40000"/>
              </a:schemeClr>
            </a:solidFill>
            <a:ln w="12483" cap="flat">
              <a:noFill/>
              <a:prstDash val="solid"/>
              <a:miter/>
            </a:ln>
          </p:spPr>
          <p:txBody>
            <a:bodyPr rtlCol="0" anchor="ctr"/>
            <a:lstStyle/>
            <a:p>
              <a:endParaRPr lang="en-US"/>
            </a:p>
          </p:txBody>
        </p:sp>
        <p:sp>
          <p:nvSpPr>
            <p:cNvPr id="1173" name="Freeform: Shape 1172">
              <a:extLst>
                <a:ext uri="{FF2B5EF4-FFF2-40B4-BE49-F238E27FC236}">
                  <a16:creationId xmlns:a16="http://schemas.microsoft.com/office/drawing/2014/main" id="{ECAFFBEA-8062-48F1-96BC-D8C8F0D67396}"/>
                </a:ext>
              </a:extLst>
            </p:cNvPr>
            <p:cNvSpPr/>
            <p:nvPr/>
          </p:nvSpPr>
          <p:spPr>
            <a:xfrm>
              <a:off x="6078529" y="5080356"/>
              <a:ext cx="1212601" cy="1792160"/>
            </a:xfrm>
            <a:custGeom>
              <a:avLst/>
              <a:gdLst>
                <a:gd name="connsiteX0" fmla="*/ 188419 w 1212601"/>
                <a:gd name="connsiteY0" fmla="*/ 0 h 1792160"/>
                <a:gd name="connsiteX1" fmla="*/ 0 w 1212601"/>
                <a:gd name="connsiteY1" fmla="*/ 96836 h 1792160"/>
                <a:gd name="connsiteX2" fmla="*/ 947341 w 1212601"/>
                <a:gd name="connsiteY2" fmla="*/ 1792160 h 1792160"/>
                <a:gd name="connsiteX3" fmla="*/ 1212601 w 1212601"/>
                <a:gd name="connsiteY3" fmla="*/ 1792160 h 1792160"/>
                <a:gd name="connsiteX4" fmla="*/ 188544 w 1212601"/>
                <a:gd name="connsiteY4" fmla="*/ 0 h 1792160"/>
                <a:gd name="connsiteX5" fmla="*/ 188419 w 1212601"/>
                <a:gd name="connsiteY5" fmla="*/ 0 h 179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601" h="1792160">
                  <a:moveTo>
                    <a:pt x="188419" y="0"/>
                  </a:moveTo>
                  <a:lnTo>
                    <a:pt x="0" y="96836"/>
                  </a:lnTo>
                  <a:lnTo>
                    <a:pt x="947341" y="1792160"/>
                  </a:lnTo>
                  <a:lnTo>
                    <a:pt x="1212601" y="1792160"/>
                  </a:lnTo>
                  <a:lnTo>
                    <a:pt x="188544" y="0"/>
                  </a:lnTo>
                  <a:cubicBezTo>
                    <a:pt x="188544" y="0"/>
                    <a:pt x="188544" y="0"/>
                    <a:pt x="188419" y="0"/>
                  </a:cubicBezTo>
                  <a:close/>
                </a:path>
              </a:pathLst>
            </a:custGeom>
            <a:solidFill>
              <a:schemeClr val="accent6"/>
            </a:solidFill>
            <a:ln w="12483" cap="flat">
              <a:noFill/>
              <a:prstDash val="solid"/>
              <a:miter/>
            </a:ln>
          </p:spPr>
          <p:txBody>
            <a:bodyPr rtlCol="0" anchor="ctr"/>
            <a:lstStyle/>
            <a:p>
              <a:endParaRPr lang="en-US"/>
            </a:p>
          </p:txBody>
        </p:sp>
        <p:sp>
          <p:nvSpPr>
            <p:cNvPr id="1174" name="Freeform: Shape 1173">
              <a:extLst>
                <a:ext uri="{FF2B5EF4-FFF2-40B4-BE49-F238E27FC236}">
                  <a16:creationId xmlns:a16="http://schemas.microsoft.com/office/drawing/2014/main" id="{7CA1E061-46B8-4869-88E9-14593A0FCD93}"/>
                </a:ext>
              </a:extLst>
            </p:cNvPr>
            <p:cNvSpPr/>
            <p:nvPr/>
          </p:nvSpPr>
          <p:spPr>
            <a:xfrm>
              <a:off x="9170193" y="2546991"/>
              <a:ext cx="94959" cy="76719"/>
            </a:xfrm>
            <a:custGeom>
              <a:avLst/>
              <a:gdLst>
                <a:gd name="connsiteX0" fmla="*/ 94959 w 94959"/>
                <a:gd name="connsiteY0" fmla="*/ 50855 h 76719"/>
                <a:gd name="connsiteX1" fmla="*/ 53102 w 94959"/>
                <a:gd name="connsiteY1" fmla="*/ 0 h 76719"/>
                <a:gd name="connsiteX2" fmla="*/ 51478 w 94959"/>
                <a:gd name="connsiteY2" fmla="*/ 1374 h 76719"/>
                <a:gd name="connsiteX3" fmla="*/ 44731 w 94959"/>
                <a:gd name="connsiteY3" fmla="*/ 4623 h 76719"/>
                <a:gd name="connsiteX4" fmla="*/ 0 w 94959"/>
                <a:gd name="connsiteY4" fmla="*/ 26364 h 76719"/>
                <a:gd name="connsiteX5" fmla="*/ 39983 w 94959"/>
                <a:gd name="connsiteY5" fmla="*/ 75220 h 76719"/>
                <a:gd name="connsiteX6" fmla="*/ 39983 w 94959"/>
                <a:gd name="connsiteY6" fmla="*/ 75220 h 76719"/>
                <a:gd name="connsiteX7" fmla="*/ 40858 w 94959"/>
                <a:gd name="connsiteY7" fmla="*/ 76719 h 76719"/>
                <a:gd name="connsiteX8" fmla="*/ 40858 w 94959"/>
                <a:gd name="connsiteY8" fmla="*/ 76719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59" h="76719">
                  <a:moveTo>
                    <a:pt x="94959" y="50855"/>
                  </a:moveTo>
                  <a:lnTo>
                    <a:pt x="53102" y="0"/>
                  </a:lnTo>
                  <a:cubicBezTo>
                    <a:pt x="52615" y="525"/>
                    <a:pt x="52077" y="987"/>
                    <a:pt x="51478" y="1374"/>
                  </a:cubicBezTo>
                  <a:lnTo>
                    <a:pt x="44731" y="4623"/>
                  </a:lnTo>
                  <a:lnTo>
                    <a:pt x="0" y="26364"/>
                  </a:lnTo>
                  <a:lnTo>
                    <a:pt x="39983" y="75220"/>
                  </a:lnTo>
                  <a:lnTo>
                    <a:pt x="39983" y="75220"/>
                  </a:lnTo>
                  <a:cubicBezTo>
                    <a:pt x="40345" y="75670"/>
                    <a:pt x="40645" y="76182"/>
                    <a:pt x="40858" y="76719"/>
                  </a:cubicBezTo>
                  <a:lnTo>
                    <a:pt x="40858" y="76719"/>
                  </a:lnTo>
                  <a:close/>
                </a:path>
              </a:pathLst>
            </a:custGeom>
            <a:solidFill>
              <a:srgbClr val="F4F5F3"/>
            </a:solidFill>
            <a:ln w="12483" cap="flat">
              <a:noFill/>
              <a:prstDash val="solid"/>
              <a:miter/>
            </a:ln>
          </p:spPr>
          <p:txBody>
            <a:bodyPr rtlCol="0" anchor="ctr"/>
            <a:lstStyle/>
            <a:p>
              <a:endParaRPr lang="en-US"/>
            </a:p>
          </p:txBody>
        </p:sp>
        <p:sp>
          <p:nvSpPr>
            <p:cNvPr id="1175" name="Freeform: Shape 1174">
              <a:extLst>
                <a:ext uri="{FF2B5EF4-FFF2-40B4-BE49-F238E27FC236}">
                  <a16:creationId xmlns:a16="http://schemas.microsoft.com/office/drawing/2014/main" id="{5BA419EC-CB25-49FB-A0E0-0B3F8FEFBD09}"/>
                </a:ext>
              </a:extLst>
            </p:cNvPr>
            <p:cNvSpPr/>
            <p:nvPr/>
          </p:nvSpPr>
          <p:spPr>
            <a:xfrm>
              <a:off x="9763811" y="1756681"/>
              <a:ext cx="428189" cy="252149"/>
            </a:xfrm>
            <a:custGeom>
              <a:avLst/>
              <a:gdLst>
                <a:gd name="connsiteX0" fmla="*/ 0 w 428189"/>
                <a:gd name="connsiteY0" fmla="*/ 203919 h 252149"/>
                <a:gd name="connsiteX1" fmla="*/ 42732 w 428189"/>
                <a:gd name="connsiteY1" fmla="*/ 252149 h 252149"/>
                <a:gd name="connsiteX2" fmla="*/ 428190 w 428189"/>
                <a:gd name="connsiteY2" fmla="*/ 67723 h 252149"/>
                <a:gd name="connsiteX3" fmla="*/ 428190 w 428189"/>
                <a:gd name="connsiteY3" fmla="*/ 65724 h 252149"/>
                <a:gd name="connsiteX4" fmla="*/ 428190 w 428189"/>
                <a:gd name="connsiteY4" fmla="*/ 0 h 252149"/>
                <a:gd name="connsiteX5" fmla="*/ 0 w 428189"/>
                <a:gd name="connsiteY5" fmla="*/ 203419 h 252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189" h="252149">
                  <a:moveTo>
                    <a:pt x="0" y="203919"/>
                  </a:moveTo>
                  <a:lnTo>
                    <a:pt x="42732" y="252149"/>
                  </a:lnTo>
                  <a:lnTo>
                    <a:pt x="428190" y="67723"/>
                  </a:lnTo>
                  <a:cubicBezTo>
                    <a:pt x="428115" y="67061"/>
                    <a:pt x="428115" y="66386"/>
                    <a:pt x="428190" y="65724"/>
                  </a:cubicBezTo>
                  <a:lnTo>
                    <a:pt x="428190" y="0"/>
                  </a:lnTo>
                  <a:lnTo>
                    <a:pt x="0" y="203419"/>
                  </a:lnTo>
                  <a:close/>
                </a:path>
              </a:pathLst>
            </a:custGeom>
            <a:solidFill>
              <a:schemeClr val="accent2"/>
            </a:solidFill>
            <a:ln w="12483" cap="flat">
              <a:noFill/>
              <a:prstDash val="solid"/>
              <a:miter/>
            </a:ln>
          </p:spPr>
          <p:txBody>
            <a:bodyPr rtlCol="0" anchor="ctr"/>
            <a:lstStyle/>
            <a:p>
              <a:endParaRPr lang="en-US"/>
            </a:p>
          </p:txBody>
        </p:sp>
        <p:sp>
          <p:nvSpPr>
            <p:cNvPr id="1176" name="Freeform: Shape 1175">
              <a:extLst>
                <a:ext uri="{FF2B5EF4-FFF2-40B4-BE49-F238E27FC236}">
                  <a16:creationId xmlns:a16="http://schemas.microsoft.com/office/drawing/2014/main" id="{F0E6C4B0-4CA5-416A-A97A-0968A9B82851}"/>
                </a:ext>
              </a:extLst>
            </p:cNvPr>
            <p:cNvSpPr/>
            <p:nvPr/>
          </p:nvSpPr>
          <p:spPr>
            <a:xfrm>
              <a:off x="9763811" y="1965973"/>
              <a:ext cx="46105" cy="362855"/>
            </a:xfrm>
            <a:custGeom>
              <a:avLst/>
              <a:gdLst>
                <a:gd name="connsiteX0" fmla="*/ 5998 w 46105"/>
                <a:gd name="connsiteY0" fmla="*/ 296882 h 362855"/>
                <a:gd name="connsiteX1" fmla="*/ 5998 w 46105"/>
                <a:gd name="connsiteY1" fmla="*/ 308627 h 362855"/>
                <a:gd name="connsiteX2" fmla="*/ 4373 w 46105"/>
                <a:gd name="connsiteY2" fmla="*/ 314750 h 362855"/>
                <a:gd name="connsiteX3" fmla="*/ 46105 w 46105"/>
                <a:gd name="connsiteY3" fmla="*/ 362855 h 362855"/>
                <a:gd name="connsiteX4" fmla="*/ 40233 w 46105"/>
                <a:gd name="connsiteY4" fmla="*/ 45982 h 362855"/>
                <a:gd name="connsiteX5" fmla="*/ 0 w 46105"/>
                <a:gd name="connsiteY5" fmla="*/ 0 h 362855"/>
                <a:gd name="connsiteX6" fmla="*/ 6122 w 46105"/>
                <a:gd name="connsiteY6" fmla="*/ 296382 h 362855"/>
                <a:gd name="connsiteX7" fmla="*/ 6122 w 46105"/>
                <a:gd name="connsiteY7" fmla="*/ 296382 h 362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5" h="362855">
                  <a:moveTo>
                    <a:pt x="5998" y="296882"/>
                  </a:moveTo>
                  <a:lnTo>
                    <a:pt x="5998" y="308627"/>
                  </a:lnTo>
                  <a:cubicBezTo>
                    <a:pt x="5948" y="310764"/>
                    <a:pt x="5398" y="312863"/>
                    <a:pt x="4373" y="314750"/>
                  </a:cubicBezTo>
                  <a:lnTo>
                    <a:pt x="46105" y="362855"/>
                  </a:lnTo>
                  <a:lnTo>
                    <a:pt x="40233" y="45982"/>
                  </a:lnTo>
                  <a:lnTo>
                    <a:pt x="0" y="0"/>
                  </a:lnTo>
                  <a:lnTo>
                    <a:pt x="6122" y="296382"/>
                  </a:lnTo>
                  <a:lnTo>
                    <a:pt x="6122" y="296382"/>
                  </a:lnTo>
                  <a:close/>
                </a:path>
              </a:pathLst>
            </a:custGeom>
            <a:solidFill>
              <a:schemeClr val="accent2"/>
            </a:solidFill>
            <a:ln w="12483" cap="flat">
              <a:noFill/>
              <a:prstDash val="solid"/>
              <a:miter/>
            </a:ln>
          </p:spPr>
          <p:txBody>
            <a:bodyPr rtlCol="0" anchor="ctr"/>
            <a:lstStyle/>
            <a:p>
              <a:endParaRPr lang="en-US"/>
            </a:p>
          </p:txBody>
        </p:sp>
        <p:sp>
          <p:nvSpPr>
            <p:cNvPr id="1177" name="Freeform: Shape 1176">
              <a:extLst>
                <a:ext uri="{FF2B5EF4-FFF2-40B4-BE49-F238E27FC236}">
                  <a16:creationId xmlns:a16="http://schemas.microsoft.com/office/drawing/2014/main" id="{E7D18BF1-2A1A-4030-9199-C5ACC6E5806B}"/>
                </a:ext>
              </a:extLst>
            </p:cNvPr>
            <p:cNvSpPr/>
            <p:nvPr/>
          </p:nvSpPr>
          <p:spPr>
            <a:xfrm>
              <a:off x="9309133" y="3160622"/>
              <a:ext cx="52727" cy="87964"/>
            </a:xfrm>
            <a:custGeom>
              <a:avLst/>
              <a:gdLst>
                <a:gd name="connsiteX0" fmla="*/ 52727 w 52727"/>
                <a:gd name="connsiteY0" fmla="*/ 87965 h 87964"/>
                <a:gd name="connsiteX1" fmla="*/ 49604 w 52727"/>
                <a:gd name="connsiteY1" fmla="*/ 7747 h 87964"/>
                <a:gd name="connsiteX2" fmla="*/ 43232 w 52727"/>
                <a:gd name="connsiteY2" fmla="*/ 0 h 87964"/>
                <a:gd name="connsiteX3" fmla="*/ 0 w 52727"/>
                <a:gd name="connsiteY3" fmla="*/ 21866 h 87964"/>
                <a:gd name="connsiteX4" fmla="*/ 52727 w 52727"/>
                <a:gd name="connsiteY4" fmla="*/ 87965 h 8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27" h="87964">
                  <a:moveTo>
                    <a:pt x="52727" y="87965"/>
                  </a:moveTo>
                  <a:lnTo>
                    <a:pt x="49604" y="7747"/>
                  </a:lnTo>
                  <a:lnTo>
                    <a:pt x="43232" y="0"/>
                  </a:lnTo>
                  <a:lnTo>
                    <a:pt x="0" y="21866"/>
                  </a:lnTo>
                  <a:lnTo>
                    <a:pt x="52727" y="87965"/>
                  </a:lnTo>
                  <a:close/>
                </a:path>
              </a:pathLst>
            </a:custGeom>
            <a:solidFill>
              <a:srgbClr val="F9AA19"/>
            </a:solidFill>
            <a:ln w="12483" cap="flat">
              <a:noFill/>
              <a:prstDash val="solid"/>
              <a:miter/>
            </a:ln>
          </p:spPr>
          <p:txBody>
            <a:bodyPr rtlCol="0" anchor="ctr"/>
            <a:lstStyle/>
            <a:p>
              <a:endParaRPr lang="en-US"/>
            </a:p>
          </p:txBody>
        </p:sp>
        <p:sp>
          <p:nvSpPr>
            <p:cNvPr id="1178" name="Freeform: Shape 1177">
              <a:extLst>
                <a:ext uri="{FF2B5EF4-FFF2-40B4-BE49-F238E27FC236}">
                  <a16:creationId xmlns:a16="http://schemas.microsoft.com/office/drawing/2014/main" id="{0A521976-0AF3-4577-8067-624EE0FFDEFF}"/>
                </a:ext>
              </a:extLst>
            </p:cNvPr>
            <p:cNvSpPr/>
            <p:nvPr/>
          </p:nvSpPr>
          <p:spPr>
            <a:xfrm>
              <a:off x="9298762" y="3093773"/>
              <a:ext cx="40232" cy="68847"/>
            </a:xfrm>
            <a:custGeom>
              <a:avLst/>
              <a:gdLst>
                <a:gd name="connsiteX0" fmla="*/ 0 w 40232"/>
                <a:gd name="connsiteY0" fmla="*/ 0 h 68847"/>
                <a:gd name="connsiteX1" fmla="*/ 2999 w 40232"/>
                <a:gd name="connsiteY1" fmla="*/ 68848 h 68847"/>
                <a:gd name="connsiteX2" fmla="*/ 40233 w 40232"/>
                <a:gd name="connsiteY2" fmla="*/ 50105 h 68847"/>
                <a:gd name="connsiteX3" fmla="*/ 0 w 40232"/>
                <a:gd name="connsiteY3" fmla="*/ 0 h 68847"/>
              </a:gdLst>
              <a:ahLst/>
              <a:cxnLst>
                <a:cxn ang="0">
                  <a:pos x="connsiteX0" y="connsiteY0"/>
                </a:cxn>
                <a:cxn ang="0">
                  <a:pos x="connsiteX1" y="connsiteY1"/>
                </a:cxn>
                <a:cxn ang="0">
                  <a:pos x="connsiteX2" y="connsiteY2"/>
                </a:cxn>
                <a:cxn ang="0">
                  <a:pos x="connsiteX3" y="connsiteY3"/>
                </a:cxn>
              </a:cxnLst>
              <a:rect l="l" t="t" r="r" b="b"/>
              <a:pathLst>
                <a:path w="40232" h="68847">
                  <a:moveTo>
                    <a:pt x="0" y="0"/>
                  </a:moveTo>
                  <a:lnTo>
                    <a:pt x="2999" y="68848"/>
                  </a:lnTo>
                  <a:lnTo>
                    <a:pt x="40233" y="50105"/>
                  </a:lnTo>
                  <a:lnTo>
                    <a:pt x="0" y="0"/>
                  </a:lnTo>
                  <a:close/>
                </a:path>
              </a:pathLst>
            </a:custGeom>
            <a:solidFill>
              <a:srgbClr val="DD2A27"/>
            </a:solidFill>
            <a:ln w="12483" cap="flat">
              <a:noFill/>
              <a:prstDash val="solid"/>
              <a:miter/>
            </a:ln>
          </p:spPr>
          <p:txBody>
            <a:bodyPr rtlCol="0" anchor="ctr"/>
            <a:lstStyle/>
            <a:p>
              <a:endParaRPr lang="en-US"/>
            </a:p>
          </p:txBody>
        </p:sp>
        <p:sp>
          <p:nvSpPr>
            <p:cNvPr id="1179" name="Freeform: Shape 1178">
              <a:extLst>
                <a:ext uri="{FF2B5EF4-FFF2-40B4-BE49-F238E27FC236}">
                  <a16:creationId xmlns:a16="http://schemas.microsoft.com/office/drawing/2014/main" id="{B8841A36-3847-41C0-B281-28851EF871E1}"/>
                </a:ext>
              </a:extLst>
            </p:cNvPr>
            <p:cNvSpPr/>
            <p:nvPr/>
          </p:nvSpPr>
          <p:spPr>
            <a:xfrm>
              <a:off x="8162254" y="6375590"/>
              <a:ext cx="98332" cy="496676"/>
            </a:xfrm>
            <a:custGeom>
              <a:avLst/>
              <a:gdLst>
                <a:gd name="connsiteX0" fmla="*/ 0 w 98332"/>
                <a:gd name="connsiteY0" fmla="*/ 0 h 496676"/>
                <a:gd name="connsiteX1" fmla="*/ 57600 w 98332"/>
                <a:gd name="connsiteY1" fmla="*/ 496677 h 496676"/>
                <a:gd name="connsiteX2" fmla="*/ 98332 w 98332"/>
                <a:gd name="connsiteY2" fmla="*/ 496677 h 496676"/>
                <a:gd name="connsiteX3" fmla="*/ 51478 w 98332"/>
                <a:gd name="connsiteY3" fmla="*/ 82342 h 496676"/>
                <a:gd name="connsiteX4" fmla="*/ 0 w 98332"/>
                <a:gd name="connsiteY4" fmla="*/ 0 h 49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32" h="496676">
                  <a:moveTo>
                    <a:pt x="0" y="0"/>
                  </a:moveTo>
                  <a:lnTo>
                    <a:pt x="57600" y="496677"/>
                  </a:lnTo>
                  <a:lnTo>
                    <a:pt x="98332" y="496677"/>
                  </a:lnTo>
                  <a:lnTo>
                    <a:pt x="51478" y="82342"/>
                  </a:lnTo>
                  <a:lnTo>
                    <a:pt x="0" y="0"/>
                  </a:lnTo>
                  <a:close/>
                </a:path>
              </a:pathLst>
            </a:custGeom>
            <a:solidFill>
              <a:schemeClr val="accent6"/>
            </a:solidFill>
            <a:ln w="12483" cap="flat">
              <a:noFill/>
              <a:prstDash val="solid"/>
              <a:miter/>
            </a:ln>
          </p:spPr>
          <p:txBody>
            <a:bodyPr rtlCol="0" anchor="ctr"/>
            <a:lstStyle/>
            <a:p>
              <a:endParaRPr lang="en-US"/>
            </a:p>
          </p:txBody>
        </p:sp>
        <p:sp>
          <p:nvSpPr>
            <p:cNvPr id="1180" name="Freeform: Shape 1179">
              <a:extLst>
                <a:ext uri="{FF2B5EF4-FFF2-40B4-BE49-F238E27FC236}">
                  <a16:creationId xmlns:a16="http://schemas.microsoft.com/office/drawing/2014/main" id="{2892F42B-C74D-4ECB-9D92-583F4AA4A443}"/>
                </a:ext>
              </a:extLst>
            </p:cNvPr>
            <p:cNvSpPr/>
            <p:nvPr/>
          </p:nvSpPr>
          <p:spPr>
            <a:xfrm>
              <a:off x="8216980" y="6276504"/>
              <a:ext cx="370090" cy="595761"/>
            </a:xfrm>
            <a:custGeom>
              <a:avLst/>
              <a:gdLst>
                <a:gd name="connsiteX0" fmla="*/ 314364 w 370090"/>
                <a:gd name="connsiteY0" fmla="*/ 0 h 595761"/>
                <a:gd name="connsiteX1" fmla="*/ 0 w 370090"/>
                <a:gd name="connsiteY1" fmla="*/ 181802 h 595761"/>
                <a:gd name="connsiteX2" fmla="*/ 46730 w 370090"/>
                <a:gd name="connsiteY2" fmla="*/ 595762 h 595761"/>
                <a:gd name="connsiteX3" fmla="*/ 370090 w 370090"/>
                <a:gd name="connsiteY3" fmla="*/ 595762 h 595761"/>
                <a:gd name="connsiteX4" fmla="*/ 347975 w 370090"/>
                <a:gd name="connsiteY4" fmla="*/ 359232 h 595761"/>
                <a:gd name="connsiteX5" fmla="*/ 314364 w 370090"/>
                <a:gd name="connsiteY5" fmla="*/ 0 h 5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090" h="595761">
                  <a:moveTo>
                    <a:pt x="314364" y="0"/>
                  </a:moveTo>
                  <a:lnTo>
                    <a:pt x="0" y="181802"/>
                  </a:lnTo>
                  <a:lnTo>
                    <a:pt x="46730" y="595762"/>
                  </a:lnTo>
                  <a:lnTo>
                    <a:pt x="370090" y="595762"/>
                  </a:lnTo>
                  <a:lnTo>
                    <a:pt x="347975" y="359232"/>
                  </a:lnTo>
                  <a:lnTo>
                    <a:pt x="314364" y="0"/>
                  </a:lnTo>
                  <a:close/>
                </a:path>
              </a:pathLst>
            </a:custGeom>
            <a:solidFill>
              <a:schemeClr val="accent1"/>
            </a:solidFill>
            <a:ln w="12483" cap="flat">
              <a:noFill/>
              <a:prstDash val="solid"/>
              <a:miter/>
            </a:ln>
          </p:spPr>
          <p:txBody>
            <a:bodyPr rtlCol="0" anchor="ctr"/>
            <a:lstStyle/>
            <a:p>
              <a:endParaRPr lang="en-US"/>
            </a:p>
          </p:txBody>
        </p:sp>
        <p:sp>
          <p:nvSpPr>
            <p:cNvPr id="1181" name="Freeform: Shape 1180">
              <a:extLst>
                <a:ext uri="{FF2B5EF4-FFF2-40B4-BE49-F238E27FC236}">
                  <a16:creationId xmlns:a16="http://schemas.microsoft.com/office/drawing/2014/main" id="{72BFB4F6-64EA-4DB3-A662-99604BF66497}"/>
                </a:ext>
              </a:extLst>
            </p:cNvPr>
            <p:cNvSpPr/>
            <p:nvPr/>
          </p:nvSpPr>
          <p:spPr>
            <a:xfrm>
              <a:off x="10201747" y="587398"/>
              <a:ext cx="85213" cy="1644844"/>
            </a:xfrm>
            <a:custGeom>
              <a:avLst/>
              <a:gdLst>
                <a:gd name="connsiteX0" fmla="*/ 7372 w 85213"/>
                <a:gd name="connsiteY0" fmla="*/ 1153165 h 1644844"/>
                <a:gd name="connsiteX1" fmla="*/ 7372 w 85213"/>
                <a:gd name="connsiteY1" fmla="*/ 1235008 h 1644844"/>
                <a:gd name="connsiteX2" fmla="*/ 0 w 85213"/>
                <a:gd name="connsiteY2" fmla="*/ 1245378 h 1644844"/>
                <a:gd name="connsiteX3" fmla="*/ 0 w 85213"/>
                <a:gd name="connsiteY3" fmla="*/ 1555630 h 1644844"/>
                <a:gd name="connsiteX4" fmla="*/ 80341 w 85213"/>
                <a:gd name="connsiteY4" fmla="*/ 1644844 h 1644844"/>
                <a:gd name="connsiteX5" fmla="*/ 81715 w 85213"/>
                <a:gd name="connsiteY5" fmla="*/ 1205020 h 1644844"/>
                <a:gd name="connsiteX6" fmla="*/ 85213 w 85213"/>
                <a:gd name="connsiteY6" fmla="*/ 79718 h 1644844"/>
                <a:gd name="connsiteX7" fmla="*/ 6247 w 85213"/>
                <a:gd name="connsiteY7" fmla="*/ 0 h 1644844"/>
                <a:gd name="connsiteX8" fmla="*/ 6247 w 85213"/>
                <a:gd name="connsiteY8" fmla="*/ 712216 h 1644844"/>
                <a:gd name="connsiteX9" fmla="*/ 6247 w 85213"/>
                <a:gd name="connsiteY9" fmla="*/ 1153290 h 164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13" h="1644844">
                  <a:moveTo>
                    <a:pt x="7372" y="1153165"/>
                  </a:moveTo>
                  <a:lnTo>
                    <a:pt x="7372" y="1235008"/>
                  </a:lnTo>
                  <a:cubicBezTo>
                    <a:pt x="7622" y="1239756"/>
                    <a:pt x="4561" y="1244054"/>
                    <a:pt x="0" y="1245378"/>
                  </a:cubicBezTo>
                  <a:lnTo>
                    <a:pt x="0" y="1555630"/>
                  </a:lnTo>
                  <a:lnTo>
                    <a:pt x="80341" y="1644844"/>
                  </a:lnTo>
                  <a:lnTo>
                    <a:pt x="81715" y="1205020"/>
                  </a:lnTo>
                  <a:lnTo>
                    <a:pt x="85213" y="79718"/>
                  </a:lnTo>
                  <a:lnTo>
                    <a:pt x="6247" y="0"/>
                  </a:lnTo>
                  <a:lnTo>
                    <a:pt x="6247" y="712216"/>
                  </a:lnTo>
                  <a:lnTo>
                    <a:pt x="6247" y="1153290"/>
                  </a:lnTo>
                  <a:close/>
                </a:path>
              </a:pathLst>
            </a:custGeom>
            <a:solidFill>
              <a:schemeClr val="accent6"/>
            </a:solidFill>
            <a:ln w="12483" cap="flat">
              <a:noFill/>
              <a:prstDash val="solid"/>
              <a:miter/>
            </a:ln>
          </p:spPr>
          <p:txBody>
            <a:bodyPr rtlCol="0" anchor="ctr"/>
            <a:lstStyle/>
            <a:p>
              <a:endParaRPr lang="en-US"/>
            </a:p>
          </p:txBody>
        </p:sp>
        <p:sp>
          <p:nvSpPr>
            <p:cNvPr id="1182" name="Freeform: Shape 1181">
              <a:extLst>
                <a:ext uri="{FF2B5EF4-FFF2-40B4-BE49-F238E27FC236}">
                  <a16:creationId xmlns:a16="http://schemas.microsoft.com/office/drawing/2014/main" id="{0CE86240-AE30-4A94-BCF7-27E489587B7C}"/>
                </a:ext>
              </a:extLst>
            </p:cNvPr>
            <p:cNvSpPr/>
            <p:nvPr/>
          </p:nvSpPr>
          <p:spPr>
            <a:xfrm>
              <a:off x="9808167" y="1828028"/>
              <a:ext cx="391205" cy="502549"/>
            </a:xfrm>
            <a:custGeom>
              <a:avLst/>
              <a:gdLst>
                <a:gd name="connsiteX0" fmla="*/ 5623 w 391205"/>
                <a:gd name="connsiteY0" fmla="*/ 502550 h 502549"/>
                <a:gd name="connsiteX1" fmla="*/ 391206 w 391205"/>
                <a:gd name="connsiteY1" fmla="*/ 314500 h 502549"/>
                <a:gd name="connsiteX2" fmla="*/ 391206 w 391205"/>
                <a:gd name="connsiteY2" fmla="*/ 4748 h 502549"/>
                <a:gd name="connsiteX3" fmla="*/ 385334 w 391205"/>
                <a:gd name="connsiteY3" fmla="*/ 0 h 502549"/>
                <a:gd name="connsiteX4" fmla="*/ 0 w 391205"/>
                <a:gd name="connsiteY4" fmla="*/ 184302 h 502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05" h="502549">
                  <a:moveTo>
                    <a:pt x="5623" y="502550"/>
                  </a:moveTo>
                  <a:lnTo>
                    <a:pt x="391206" y="314500"/>
                  </a:lnTo>
                  <a:lnTo>
                    <a:pt x="391206" y="4748"/>
                  </a:lnTo>
                  <a:cubicBezTo>
                    <a:pt x="388645" y="4123"/>
                    <a:pt x="386483" y="2374"/>
                    <a:pt x="385334" y="0"/>
                  </a:cubicBezTo>
                  <a:lnTo>
                    <a:pt x="0" y="184302"/>
                  </a:lnTo>
                  <a:close/>
                </a:path>
              </a:pathLst>
            </a:custGeom>
            <a:solidFill>
              <a:schemeClr val="accent1"/>
            </a:solidFill>
            <a:ln w="12483" cap="flat">
              <a:noFill/>
              <a:prstDash val="solid"/>
              <a:miter/>
            </a:ln>
          </p:spPr>
          <p:txBody>
            <a:bodyPr rtlCol="0" anchor="ctr"/>
            <a:lstStyle/>
            <a:p>
              <a:endParaRPr lang="en-US"/>
            </a:p>
          </p:txBody>
        </p:sp>
        <p:sp>
          <p:nvSpPr>
            <p:cNvPr id="1183" name="Freeform: Shape 1182">
              <a:extLst>
                <a:ext uri="{FF2B5EF4-FFF2-40B4-BE49-F238E27FC236}">
                  <a16:creationId xmlns:a16="http://schemas.microsoft.com/office/drawing/2014/main" id="{57E6599E-9E8B-4FD8-9D24-317C96C34308}"/>
                </a:ext>
              </a:extLst>
            </p:cNvPr>
            <p:cNvSpPr/>
            <p:nvPr/>
          </p:nvSpPr>
          <p:spPr>
            <a:xfrm>
              <a:off x="9225169" y="2145776"/>
              <a:ext cx="1055918" cy="548031"/>
            </a:xfrm>
            <a:custGeom>
              <a:avLst/>
              <a:gdLst>
                <a:gd name="connsiteX0" fmla="*/ 586996 w 1055918"/>
                <a:gd name="connsiteY0" fmla="*/ 189425 h 548031"/>
                <a:gd name="connsiteX1" fmla="*/ 586372 w 1055918"/>
                <a:gd name="connsiteY1" fmla="*/ 189425 h 548031"/>
                <a:gd name="connsiteX2" fmla="*/ 586372 w 1055918"/>
                <a:gd name="connsiteY2" fmla="*/ 189425 h 548031"/>
                <a:gd name="connsiteX3" fmla="*/ 586372 w 1055918"/>
                <a:gd name="connsiteY3" fmla="*/ 189425 h 548031"/>
                <a:gd name="connsiteX4" fmla="*/ 541891 w 1055918"/>
                <a:gd name="connsiteY4" fmla="*/ 138070 h 548031"/>
                <a:gd name="connsiteX5" fmla="*/ 536893 w 1055918"/>
                <a:gd name="connsiteY5" fmla="*/ 140319 h 548031"/>
                <a:gd name="connsiteX6" fmla="*/ 529271 w 1055918"/>
                <a:gd name="connsiteY6" fmla="*/ 135196 h 548031"/>
                <a:gd name="connsiteX7" fmla="*/ 1374 w 1055918"/>
                <a:gd name="connsiteY7" fmla="*/ 390344 h 548031"/>
                <a:gd name="connsiteX8" fmla="*/ 0 w 1055918"/>
                <a:gd name="connsiteY8" fmla="*/ 398591 h 548031"/>
                <a:gd name="connsiteX9" fmla="*/ 43606 w 1055918"/>
                <a:gd name="connsiteY9" fmla="*/ 451445 h 548031"/>
                <a:gd name="connsiteX10" fmla="*/ 123821 w 1055918"/>
                <a:gd name="connsiteY10" fmla="*/ 548032 h 548031"/>
                <a:gd name="connsiteX11" fmla="*/ 1055919 w 1055918"/>
                <a:gd name="connsiteY11" fmla="*/ 89839 h 548031"/>
                <a:gd name="connsiteX12" fmla="*/ 974954 w 1055918"/>
                <a:gd name="connsiteY12" fmla="*/ 0 h 548031"/>
                <a:gd name="connsiteX13" fmla="*/ 587621 w 1055918"/>
                <a:gd name="connsiteY13" fmla="*/ 189050 h 5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5918" h="548031">
                  <a:moveTo>
                    <a:pt x="586996" y="189425"/>
                  </a:moveTo>
                  <a:lnTo>
                    <a:pt x="586372" y="189425"/>
                  </a:lnTo>
                  <a:lnTo>
                    <a:pt x="586372" y="189425"/>
                  </a:lnTo>
                  <a:lnTo>
                    <a:pt x="586372" y="189425"/>
                  </a:lnTo>
                  <a:lnTo>
                    <a:pt x="541891" y="138070"/>
                  </a:lnTo>
                  <a:cubicBezTo>
                    <a:pt x="540566" y="139419"/>
                    <a:pt x="538779" y="140232"/>
                    <a:pt x="536893" y="140319"/>
                  </a:cubicBezTo>
                  <a:cubicBezTo>
                    <a:pt x="533569" y="140244"/>
                    <a:pt x="530595" y="138245"/>
                    <a:pt x="529271" y="135196"/>
                  </a:cubicBezTo>
                  <a:lnTo>
                    <a:pt x="1374" y="390344"/>
                  </a:lnTo>
                  <a:cubicBezTo>
                    <a:pt x="1874" y="393168"/>
                    <a:pt x="1387" y="396080"/>
                    <a:pt x="0" y="398591"/>
                  </a:cubicBezTo>
                  <a:lnTo>
                    <a:pt x="43606" y="451445"/>
                  </a:lnTo>
                  <a:lnTo>
                    <a:pt x="123821" y="548032"/>
                  </a:lnTo>
                  <a:lnTo>
                    <a:pt x="1055919" y="89839"/>
                  </a:lnTo>
                  <a:lnTo>
                    <a:pt x="974954" y="0"/>
                  </a:lnTo>
                  <a:lnTo>
                    <a:pt x="587621" y="189050"/>
                  </a:lnTo>
                  <a:close/>
                </a:path>
              </a:pathLst>
            </a:custGeom>
            <a:solidFill>
              <a:schemeClr val="bg2"/>
            </a:solidFill>
            <a:ln w="12483" cap="flat">
              <a:noFill/>
              <a:prstDash val="solid"/>
              <a:miter/>
            </a:ln>
          </p:spPr>
          <p:txBody>
            <a:bodyPr rtlCol="0" anchor="ctr"/>
            <a:lstStyle/>
            <a:p>
              <a:endParaRPr lang="en-US"/>
            </a:p>
          </p:txBody>
        </p:sp>
        <p:sp>
          <p:nvSpPr>
            <p:cNvPr id="1184" name="Freeform: Shape 1183">
              <a:extLst>
                <a:ext uri="{FF2B5EF4-FFF2-40B4-BE49-F238E27FC236}">
                  <a16:creationId xmlns:a16="http://schemas.microsoft.com/office/drawing/2014/main" id="{DBF6DF87-CF53-4F9E-A75C-C4727A570E1E}"/>
                </a:ext>
              </a:extLst>
            </p:cNvPr>
            <p:cNvSpPr/>
            <p:nvPr/>
          </p:nvSpPr>
          <p:spPr>
            <a:xfrm>
              <a:off x="9644863" y="5417721"/>
              <a:ext cx="211658" cy="293258"/>
            </a:xfrm>
            <a:custGeom>
              <a:avLst/>
              <a:gdLst>
                <a:gd name="connsiteX0" fmla="*/ 2374 w 211658"/>
                <a:gd name="connsiteY0" fmla="*/ 0 h 293258"/>
                <a:gd name="connsiteX1" fmla="*/ 0 w 211658"/>
                <a:gd name="connsiteY1" fmla="*/ 2499 h 293258"/>
                <a:gd name="connsiteX2" fmla="*/ 211659 w 211658"/>
                <a:gd name="connsiteY2" fmla="*/ 293258 h 293258"/>
                <a:gd name="connsiteX3" fmla="*/ 211659 w 211658"/>
                <a:gd name="connsiteY3" fmla="*/ 287385 h 293258"/>
              </a:gdLst>
              <a:ahLst/>
              <a:cxnLst>
                <a:cxn ang="0">
                  <a:pos x="connsiteX0" y="connsiteY0"/>
                </a:cxn>
                <a:cxn ang="0">
                  <a:pos x="connsiteX1" y="connsiteY1"/>
                </a:cxn>
                <a:cxn ang="0">
                  <a:pos x="connsiteX2" y="connsiteY2"/>
                </a:cxn>
                <a:cxn ang="0">
                  <a:pos x="connsiteX3" y="connsiteY3"/>
                </a:cxn>
              </a:cxnLst>
              <a:rect l="l" t="t" r="r" b="b"/>
              <a:pathLst>
                <a:path w="211658" h="293258">
                  <a:moveTo>
                    <a:pt x="2374" y="0"/>
                  </a:moveTo>
                  <a:cubicBezTo>
                    <a:pt x="1749" y="975"/>
                    <a:pt x="949" y="1824"/>
                    <a:pt x="0" y="2499"/>
                  </a:cubicBezTo>
                  <a:lnTo>
                    <a:pt x="211659" y="293258"/>
                  </a:lnTo>
                  <a:lnTo>
                    <a:pt x="211659" y="287385"/>
                  </a:lnTo>
                  <a:close/>
                </a:path>
              </a:pathLst>
            </a:custGeom>
            <a:solidFill>
              <a:srgbClr val="000000"/>
            </a:solidFill>
            <a:ln w="12483" cap="flat">
              <a:noFill/>
              <a:prstDash val="solid"/>
              <a:miter/>
            </a:ln>
          </p:spPr>
          <p:txBody>
            <a:bodyPr rtlCol="0" anchor="ctr"/>
            <a:lstStyle/>
            <a:p>
              <a:endParaRPr lang="en-US"/>
            </a:p>
          </p:txBody>
        </p:sp>
        <p:sp>
          <p:nvSpPr>
            <p:cNvPr id="1185" name="Freeform: Shape 1184">
              <a:extLst>
                <a:ext uri="{FF2B5EF4-FFF2-40B4-BE49-F238E27FC236}">
                  <a16:creationId xmlns:a16="http://schemas.microsoft.com/office/drawing/2014/main" id="{55BD65C4-BD32-4ED6-881C-0CD83AED1A7E}"/>
                </a:ext>
              </a:extLst>
            </p:cNvPr>
            <p:cNvSpPr/>
            <p:nvPr/>
          </p:nvSpPr>
          <p:spPr>
            <a:xfrm>
              <a:off x="8617307" y="3968299"/>
              <a:ext cx="1249" cy="12495"/>
            </a:xfrm>
            <a:custGeom>
              <a:avLst/>
              <a:gdLst>
                <a:gd name="connsiteX0" fmla="*/ 1249 w 1249"/>
                <a:gd name="connsiteY0" fmla="*/ 0 h 12495"/>
                <a:gd name="connsiteX1" fmla="*/ 1249 w 1249"/>
                <a:gd name="connsiteY1" fmla="*/ 0 h 12495"/>
                <a:gd name="connsiteX2" fmla="*/ 0 w 1249"/>
                <a:gd name="connsiteY2" fmla="*/ 0 h 12495"/>
                <a:gd name="connsiteX3" fmla="*/ 1124 w 1249"/>
                <a:gd name="connsiteY3" fmla="*/ 0 h 12495"/>
              </a:gdLst>
              <a:ahLst/>
              <a:cxnLst>
                <a:cxn ang="0">
                  <a:pos x="connsiteX0" y="connsiteY0"/>
                </a:cxn>
                <a:cxn ang="0">
                  <a:pos x="connsiteX1" y="connsiteY1"/>
                </a:cxn>
                <a:cxn ang="0">
                  <a:pos x="connsiteX2" y="connsiteY2"/>
                </a:cxn>
                <a:cxn ang="0">
                  <a:pos x="connsiteX3" y="connsiteY3"/>
                </a:cxn>
              </a:cxnLst>
              <a:rect l="l" t="t" r="r" b="b"/>
              <a:pathLst>
                <a:path w="1249" h="12495">
                  <a:moveTo>
                    <a:pt x="1249" y="0"/>
                  </a:moveTo>
                  <a:lnTo>
                    <a:pt x="1249" y="0"/>
                  </a:lnTo>
                  <a:lnTo>
                    <a:pt x="0" y="0"/>
                  </a:lnTo>
                  <a:lnTo>
                    <a:pt x="1124" y="0"/>
                  </a:lnTo>
                  <a:close/>
                </a:path>
              </a:pathLst>
            </a:custGeom>
            <a:solidFill>
              <a:srgbClr val="000000"/>
            </a:solidFill>
            <a:ln w="12483" cap="flat">
              <a:noFill/>
              <a:prstDash val="solid"/>
              <a:miter/>
            </a:ln>
          </p:spPr>
          <p:txBody>
            <a:bodyPr rtlCol="0" anchor="ctr"/>
            <a:lstStyle/>
            <a:p>
              <a:endParaRPr lang="en-US"/>
            </a:p>
          </p:txBody>
        </p:sp>
        <p:sp>
          <p:nvSpPr>
            <p:cNvPr id="1186" name="Freeform: Shape 1185">
              <a:extLst>
                <a:ext uri="{FF2B5EF4-FFF2-40B4-BE49-F238E27FC236}">
                  <a16:creationId xmlns:a16="http://schemas.microsoft.com/office/drawing/2014/main" id="{5CD5B07E-F261-495D-B0C9-321BEC0C6FEA}"/>
                </a:ext>
              </a:extLst>
            </p:cNvPr>
            <p:cNvSpPr/>
            <p:nvPr/>
          </p:nvSpPr>
          <p:spPr>
            <a:xfrm>
              <a:off x="8650542" y="3988166"/>
              <a:ext cx="1249" cy="12495"/>
            </a:xfrm>
            <a:custGeom>
              <a:avLst/>
              <a:gdLst>
                <a:gd name="connsiteX0" fmla="*/ 1250 w 1249"/>
                <a:gd name="connsiteY0" fmla="*/ 0 h 12495"/>
                <a:gd name="connsiteX1" fmla="*/ 0 w 1249"/>
                <a:gd name="connsiteY1" fmla="*/ 0 h 12495"/>
                <a:gd name="connsiteX2" fmla="*/ 0 w 1249"/>
                <a:gd name="connsiteY2" fmla="*/ 0 h 12495"/>
                <a:gd name="connsiteX3" fmla="*/ 750 w 1249"/>
                <a:gd name="connsiteY3" fmla="*/ 0 h 12495"/>
              </a:gdLst>
              <a:ahLst/>
              <a:cxnLst>
                <a:cxn ang="0">
                  <a:pos x="connsiteX0" y="connsiteY0"/>
                </a:cxn>
                <a:cxn ang="0">
                  <a:pos x="connsiteX1" y="connsiteY1"/>
                </a:cxn>
                <a:cxn ang="0">
                  <a:pos x="connsiteX2" y="connsiteY2"/>
                </a:cxn>
                <a:cxn ang="0">
                  <a:pos x="connsiteX3" y="connsiteY3"/>
                </a:cxn>
              </a:cxnLst>
              <a:rect l="l" t="t" r="r" b="b"/>
              <a:pathLst>
                <a:path w="1249" h="12495">
                  <a:moveTo>
                    <a:pt x="1250" y="0"/>
                  </a:moveTo>
                  <a:lnTo>
                    <a:pt x="0" y="0"/>
                  </a:lnTo>
                  <a:lnTo>
                    <a:pt x="0" y="0"/>
                  </a:lnTo>
                  <a:lnTo>
                    <a:pt x="750" y="0"/>
                  </a:lnTo>
                  <a:close/>
                </a:path>
              </a:pathLst>
            </a:custGeom>
            <a:solidFill>
              <a:srgbClr val="000000"/>
            </a:solidFill>
            <a:ln w="12483" cap="flat">
              <a:noFill/>
              <a:prstDash val="solid"/>
              <a:miter/>
            </a:ln>
          </p:spPr>
          <p:txBody>
            <a:bodyPr rtlCol="0" anchor="ctr"/>
            <a:lstStyle/>
            <a:p>
              <a:endParaRPr lang="en-US"/>
            </a:p>
          </p:txBody>
        </p:sp>
        <p:sp>
          <p:nvSpPr>
            <p:cNvPr id="1187" name="Freeform: Shape 1186">
              <a:extLst>
                <a:ext uri="{FF2B5EF4-FFF2-40B4-BE49-F238E27FC236}">
                  <a16:creationId xmlns:a16="http://schemas.microsoft.com/office/drawing/2014/main" id="{27D00806-C17E-4372-976A-FC948DEEFFBD}"/>
                </a:ext>
              </a:extLst>
            </p:cNvPr>
            <p:cNvSpPr/>
            <p:nvPr/>
          </p:nvSpPr>
          <p:spPr>
            <a:xfrm>
              <a:off x="9811416" y="5576783"/>
              <a:ext cx="4997" cy="2873"/>
            </a:xfrm>
            <a:custGeom>
              <a:avLst/>
              <a:gdLst>
                <a:gd name="connsiteX0" fmla="*/ 4998 w 4997"/>
                <a:gd name="connsiteY0" fmla="*/ 0 h 2873"/>
                <a:gd name="connsiteX1" fmla="*/ 0 w 4997"/>
                <a:gd name="connsiteY1" fmla="*/ 2874 h 2873"/>
                <a:gd name="connsiteX2" fmla="*/ 0 w 4997"/>
                <a:gd name="connsiteY2" fmla="*/ 2874 h 2873"/>
                <a:gd name="connsiteX3" fmla="*/ 4998 w 4997"/>
                <a:gd name="connsiteY3" fmla="*/ 0 h 2873"/>
                <a:gd name="connsiteX4" fmla="*/ 4998 w 4997"/>
                <a:gd name="connsiteY4" fmla="*/ 0 h 2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7" h="2873">
                  <a:moveTo>
                    <a:pt x="4998" y="0"/>
                  </a:moveTo>
                  <a:lnTo>
                    <a:pt x="0" y="2874"/>
                  </a:lnTo>
                  <a:lnTo>
                    <a:pt x="0" y="2874"/>
                  </a:lnTo>
                  <a:lnTo>
                    <a:pt x="4998" y="0"/>
                  </a:lnTo>
                  <a:lnTo>
                    <a:pt x="4998" y="0"/>
                  </a:lnTo>
                  <a:close/>
                </a:path>
              </a:pathLst>
            </a:custGeom>
            <a:solidFill>
              <a:srgbClr val="000000"/>
            </a:solidFill>
            <a:ln w="12483" cap="flat">
              <a:noFill/>
              <a:prstDash val="solid"/>
              <a:miter/>
            </a:ln>
          </p:spPr>
          <p:txBody>
            <a:bodyPr rtlCol="0" anchor="ctr"/>
            <a:lstStyle/>
            <a:p>
              <a:endParaRPr lang="en-US"/>
            </a:p>
          </p:txBody>
        </p:sp>
        <p:sp>
          <p:nvSpPr>
            <p:cNvPr id="1188" name="Freeform: Shape 1187">
              <a:extLst>
                <a:ext uri="{FF2B5EF4-FFF2-40B4-BE49-F238E27FC236}">
                  <a16:creationId xmlns:a16="http://schemas.microsoft.com/office/drawing/2014/main" id="{74C92D69-E952-4E64-BC70-2C973A5F6CC1}"/>
                </a:ext>
              </a:extLst>
            </p:cNvPr>
            <p:cNvSpPr/>
            <p:nvPr/>
          </p:nvSpPr>
          <p:spPr>
            <a:xfrm>
              <a:off x="5758877" y="4874188"/>
              <a:ext cx="408238" cy="742454"/>
            </a:xfrm>
            <a:custGeom>
              <a:avLst/>
              <a:gdLst>
                <a:gd name="connsiteX0" fmla="*/ 407114 w 408238"/>
                <a:gd name="connsiteY0" fmla="*/ 727460 h 742454"/>
                <a:gd name="connsiteX1" fmla="*/ 408239 w 408238"/>
                <a:gd name="connsiteY1" fmla="*/ 726835 h 742454"/>
                <a:gd name="connsiteX2" fmla="*/ 402242 w 408238"/>
                <a:gd name="connsiteY2" fmla="*/ 699096 h 742454"/>
                <a:gd name="connsiteX3" fmla="*/ 16658 w 408238"/>
                <a:gd name="connsiteY3" fmla="*/ 0 h 742454"/>
                <a:gd name="connsiteX4" fmla="*/ 16658 w 408238"/>
                <a:gd name="connsiteY4" fmla="*/ 1624 h 742454"/>
                <a:gd name="connsiteX5" fmla="*/ 10411 w 408238"/>
                <a:gd name="connsiteY5" fmla="*/ 14994 h 742454"/>
                <a:gd name="connsiteX6" fmla="*/ 40 w 408238"/>
                <a:gd name="connsiteY6" fmla="*/ 8996 h 742454"/>
                <a:gd name="connsiteX7" fmla="*/ 40 w 408238"/>
                <a:gd name="connsiteY7" fmla="*/ 10496 h 742454"/>
                <a:gd name="connsiteX8" fmla="*/ 403741 w 408238"/>
                <a:gd name="connsiteY8" fmla="*/ 742454 h 742454"/>
                <a:gd name="connsiteX9" fmla="*/ 407114 w 408238"/>
                <a:gd name="connsiteY9" fmla="*/ 727460 h 74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38" h="742454">
                  <a:moveTo>
                    <a:pt x="407114" y="727460"/>
                  </a:moveTo>
                  <a:cubicBezTo>
                    <a:pt x="407428" y="727160"/>
                    <a:pt x="407817" y="726947"/>
                    <a:pt x="408239" y="726835"/>
                  </a:cubicBezTo>
                  <a:lnTo>
                    <a:pt x="402242" y="699096"/>
                  </a:lnTo>
                  <a:lnTo>
                    <a:pt x="16658" y="0"/>
                  </a:lnTo>
                  <a:lnTo>
                    <a:pt x="16658" y="1624"/>
                  </a:lnTo>
                  <a:cubicBezTo>
                    <a:pt x="18200" y="7010"/>
                    <a:pt x="15535" y="12720"/>
                    <a:pt x="10411" y="14994"/>
                  </a:cubicBezTo>
                  <a:cubicBezTo>
                    <a:pt x="5903" y="16119"/>
                    <a:pt x="1317" y="13457"/>
                    <a:pt x="40" y="8996"/>
                  </a:cubicBezTo>
                  <a:cubicBezTo>
                    <a:pt x="-13" y="9496"/>
                    <a:pt x="-13" y="9996"/>
                    <a:pt x="40" y="10496"/>
                  </a:cubicBezTo>
                  <a:lnTo>
                    <a:pt x="403741" y="742454"/>
                  </a:lnTo>
                  <a:cubicBezTo>
                    <a:pt x="401296" y="737269"/>
                    <a:pt x="402686" y="731096"/>
                    <a:pt x="407114" y="727460"/>
                  </a:cubicBezTo>
                  <a:close/>
                </a:path>
              </a:pathLst>
            </a:custGeom>
            <a:solidFill>
              <a:srgbClr val="000000"/>
            </a:solidFill>
            <a:ln w="12483" cap="flat">
              <a:noFill/>
              <a:prstDash val="solid"/>
              <a:miter/>
            </a:ln>
          </p:spPr>
          <p:txBody>
            <a:bodyPr rtlCol="0" anchor="ctr"/>
            <a:lstStyle/>
            <a:p>
              <a:endParaRPr lang="en-US"/>
            </a:p>
          </p:txBody>
        </p:sp>
        <p:sp>
          <p:nvSpPr>
            <p:cNvPr id="1189" name="Freeform: Shape 1188">
              <a:extLst>
                <a:ext uri="{FF2B5EF4-FFF2-40B4-BE49-F238E27FC236}">
                  <a16:creationId xmlns:a16="http://schemas.microsoft.com/office/drawing/2014/main" id="{21F8B1B7-FC95-4F03-898A-598ABDC0BD7C}"/>
                </a:ext>
              </a:extLst>
            </p:cNvPr>
            <p:cNvSpPr/>
            <p:nvPr/>
          </p:nvSpPr>
          <p:spPr>
            <a:xfrm>
              <a:off x="6166116" y="5583655"/>
              <a:ext cx="11744" cy="21491"/>
            </a:xfrm>
            <a:custGeom>
              <a:avLst/>
              <a:gdLst>
                <a:gd name="connsiteX0" fmla="*/ 4123 w 11744"/>
                <a:gd name="connsiteY0" fmla="*/ 16368 h 21491"/>
                <a:gd name="connsiteX1" fmla="*/ 11745 w 11744"/>
                <a:gd name="connsiteY1" fmla="*/ 21491 h 21491"/>
                <a:gd name="connsiteX2" fmla="*/ 0 w 11744"/>
                <a:gd name="connsiteY2" fmla="*/ 0 h 21491"/>
              </a:gdLst>
              <a:ahLst/>
              <a:cxnLst>
                <a:cxn ang="0">
                  <a:pos x="connsiteX0" y="connsiteY0"/>
                </a:cxn>
                <a:cxn ang="0">
                  <a:pos x="connsiteX1" y="connsiteY1"/>
                </a:cxn>
                <a:cxn ang="0">
                  <a:pos x="connsiteX2" y="connsiteY2"/>
                </a:cxn>
              </a:cxnLst>
              <a:rect l="l" t="t" r="r" b="b"/>
              <a:pathLst>
                <a:path w="11744" h="21491">
                  <a:moveTo>
                    <a:pt x="4123" y="16368"/>
                  </a:moveTo>
                  <a:cubicBezTo>
                    <a:pt x="7468" y="16368"/>
                    <a:pt x="10478" y="18393"/>
                    <a:pt x="11745" y="21491"/>
                  </a:cubicBezTo>
                  <a:lnTo>
                    <a:pt x="0" y="0"/>
                  </a:lnTo>
                  <a:close/>
                </a:path>
              </a:pathLst>
            </a:custGeom>
            <a:solidFill>
              <a:srgbClr val="000000"/>
            </a:solidFill>
            <a:ln w="12483" cap="flat">
              <a:noFill/>
              <a:prstDash val="solid"/>
              <a:miter/>
            </a:ln>
          </p:spPr>
          <p:txBody>
            <a:bodyPr rtlCol="0" anchor="ctr"/>
            <a:lstStyle/>
            <a:p>
              <a:endParaRPr lang="en-US"/>
            </a:p>
          </p:txBody>
        </p:sp>
        <p:sp>
          <p:nvSpPr>
            <p:cNvPr id="1190" name="Freeform: Shape 1189">
              <a:extLst>
                <a:ext uri="{FF2B5EF4-FFF2-40B4-BE49-F238E27FC236}">
                  <a16:creationId xmlns:a16="http://schemas.microsoft.com/office/drawing/2014/main" id="{2D462CA4-4725-4C17-BE83-BC9050655E81}"/>
                </a:ext>
              </a:extLst>
            </p:cNvPr>
            <p:cNvSpPr/>
            <p:nvPr/>
          </p:nvSpPr>
          <p:spPr>
            <a:xfrm>
              <a:off x="9209426" y="6819912"/>
              <a:ext cx="4622" cy="52728"/>
            </a:xfrm>
            <a:custGeom>
              <a:avLst/>
              <a:gdLst>
                <a:gd name="connsiteX0" fmla="*/ 999 w 4622"/>
                <a:gd name="connsiteY0" fmla="*/ 250 h 52728"/>
                <a:gd name="connsiteX1" fmla="*/ 0 w 4622"/>
                <a:gd name="connsiteY1" fmla="*/ 250 h 52728"/>
                <a:gd name="connsiteX2" fmla="*/ 0 w 4622"/>
                <a:gd name="connsiteY2" fmla="*/ 250 h 52728"/>
                <a:gd name="connsiteX3" fmla="*/ 0 w 4622"/>
                <a:gd name="connsiteY3" fmla="*/ 250 h 52728"/>
                <a:gd name="connsiteX4" fmla="*/ 0 w 4622"/>
                <a:gd name="connsiteY4" fmla="*/ 250 h 52728"/>
                <a:gd name="connsiteX5" fmla="*/ 2374 w 4622"/>
                <a:gd name="connsiteY5" fmla="*/ 41608 h 52728"/>
                <a:gd name="connsiteX6" fmla="*/ 2374 w 4622"/>
                <a:gd name="connsiteY6" fmla="*/ 43732 h 52728"/>
                <a:gd name="connsiteX7" fmla="*/ 2374 w 4622"/>
                <a:gd name="connsiteY7" fmla="*/ 52729 h 52728"/>
                <a:gd name="connsiteX8" fmla="*/ 4623 w 4622"/>
                <a:gd name="connsiteY8" fmla="*/ 52729 h 52728"/>
                <a:gd name="connsiteX9" fmla="*/ 1624 w 4622"/>
                <a:gd name="connsiteY9" fmla="*/ 0 h 5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22" h="52728">
                  <a:moveTo>
                    <a:pt x="999" y="250"/>
                  </a:moveTo>
                  <a:lnTo>
                    <a:pt x="0" y="250"/>
                  </a:lnTo>
                  <a:lnTo>
                    <a:pt x="0" y="250"/>
                  </a:lnTo>
                  <a:cubicBezTo>
                    <a:pt x="0" y="250"/>
                    <a:pt x="0" y="250"/>
                    <a:pt x="0" y="250"/>
                  </a:cubicBezTo>
                  <a:lnTo>
                    <a:pt x="0" y="250"/>
                  </a:lnTo>
                  <a:lnTo>
                    <a:pt x="2374" y="41608"/>
                  </a:lnTo>
                  <a:cubicBezTo>
                    <a:pt x="2749" y="42271"/>
                    <a:pt x="2749" y="43070"/>
                    <a:pt x="2374" y="43732"/>
                  </a:cubicBezTo>
                  <a:lnTo>
                    <a:pt x="2374" y="52729"/>
                  </a:lnTo>
                  <a:lnTo>
                    <a:pt x="4623" y="52729"/>
                  </a:lnTo>
                  <a:lnTo>
                    <a:pt x="1624" y="0"/>
                  </a:lnTo>
                  <a:close/>
                </a:path>
              </a:pathLst>
            </a:custGeom>
            <a:solidFill>
              <a:srgbClr val="000000"/>
            </a:solidFill>
            <a:ln w="12483" cap="flat">
              <a:noFill/>
              <a:prstDash val="solid"/>
              <a:miter/>
            </a:ln>
          </p:spPr>
          <p:txBody>
            <a:bodyPr rtlCol="0" anchor="ctr"/>
            <a:lstStyle/>
            <a:p>
              <a:endParaRPr lang="en-US"/>
            </a:p>
          </p:txBody>
        </p:sp>
        <p:sp>
          <p:nvSpPr>
            <p:cNvPr id="1191" name="Freeform: Shape 1190">
              <a:extLst>
                <a:ext uri="{FF2B5EF4-FFF2-40B4-BE49-F238E27FC236}">
                  <a16:creationId xmlns:a16="http://schemas.microsoft.com/office/drawing/2014/main" id="{A716A34E-20E3-497C-A89C-FACE3F28B689}"/>
                </a:ext>
              </a:extLst>
            </p:cNvPr>
            <p:cNvSpPr/>
            <p:nvPr/>
          </p:nvSpPr>
          <p:spPr>
            <a:xfrm>
              <a:off x="9856896" y="5490692"/>
              <a:ext cx="34484" cy="31487"/>
            </a:xfrm>
            <a:custGeom>
              <a:avLst/>
              <a:gdLst>
                <a:gd name="connsiteX0" fmla="*/ 22615 w 34484"/>
                <a:gd name="connsiteY0" fmla="*/ 14494 h 31487"/>
                <a:gd name="connsiteX1" fmla="*/ 26863 w 34484"/>
                <a:gd name="connsiteY1" fmla="*/ 0 h 31487"/>
                <a:gd name="connsiteX2" fmla="*/ 999 w 34484"/>
                <a:gd name="connsiteY2" fmla="*/ 14994 h 31487"/>
                <a:gd name="connsiteX3" fmla="*/ 0 w 34484"/>
                <a:gd name="connsiteY3" fmla="*/ 15869 h 31487"/>
                <a:gd name="connsiteX4" fmla="*/ 4748 w 34484"/>
                <a:gd name="connsiteY4" fmla="*/ 13870 h 31487"/>
                <a:gd name="connsiteX5" fmla="*/ 13869 w 34484"/>
                <a:gd name="connsiteY5" fmla="*/ 24490 h 31487"/>
                <a:gd name="connsiteX6" fmla="*/ 13869 w 34484"/>
                <a:gd name="connsiteY6" fmla="*/ 31487 h 31487"/>
                <a:gd name="connsiteX7" fmla="*/ 34485 w 34484"/>
                <a:gd name="connsiteY7" fmla="*/ 19617 h 31487"/>
                <a:gd name="connsiteX8" fmla="*/ 23115 w 34484"/>
                <a:gd name="connsiteY8" fmla="*/ 15744 h 31487"/>
                <a:gd name="connsiteX9" fmla="*/ 22615 w 34484"/>
                <a:gd name="connsiteY9" fmla="*/ 14494 h 3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484" h="31487">
                  <a:moveTo>
                    <a:pt x="22615" y="14494"/>
                  </a:moveTo>
                  <a:cubicBezTo>
                    <a:pt x="20616" y="9259"/>
                    <a:pt x="22353" y="3336"/>
                    <a:pt x="26863" y="0"/>
                  </a:cubicBezTo>
                  <a:lnTo>
                    <a:pt x="999" y="14994"/>
                  </a:lnTo>
                  <a:lnTo>
                    <a:pt x="0" y="15869"/>
                  </a:lnTo>
                  <a:cubicBezTo>
                    <a:pt x="1324" y="14707"/>
                    <a:pt x="2986" y="14007"/>
                    <a:pt x="4748" y="13870"/>
                  </a:cubicBezTo>
                  <a:cubicBezTo>
                    <a:pt x="10171" y="14332"/>
                    <a:pt x="14231" y="19055"/>
                    <a:pt x="13869" y="24490"/>
                  </a:cubicBezTo>
                  <a:lnTo>
                    <a:pt x="13869" y="31487"/>
                  </a:lnTo>
                  <a:lnTo>
                    <a:pt x="34485" y="19617"/>
                  </a:lnTo>
                  <a:cubicBezTo>
                    <a:pt x="30274" y="21691"/>
                    <a:pt x="25176" y="19955"/>
                    <a:pt x="23115" y="15744"/>
                  </a:cubicBezTo>
                  <a:cubicBezTo>
                    <a:pt x="22915" y="15344"/>
                    <a:pt x="22752" y="14919"/>
                    <a:pt x="22615" y="14494"/>
                  </a:cubicBezTo>
                  <a:close/>
                </a:path>
              </a:pathLst>
            </a:custGeom>
            <a:solidFill>
              <a:srgbClr val="000000"/>
            </a:solidFill>
            <a:ln w="12483" cap="flat">
              <a:noFill/>
              <a:prstDash val="solid"/>
              <a:miter/>
            </a:ln>
          </p:spPr>
          <p:txBody>
            <a:bodyPr rtlCol="0" anchor="ctr"/>
            <a:lstStyle/>
            <a:p>
              <a:endParaRPr lang="en-US"/>
            </a:p>
          </p:txBody>
        </p:sp>
        <p:sp>
          <p:nvSpPr>
            <p:cNvPr id="1192" name="Freeform: Shape 1191">
              <a:extLst>
                <a:ext uri="{FF2B5EF4-FFF2-40B4-BE49-F238E27FC236}">
                  <a16:creationId xmlns:a16="http://schemas.microsoft.com/office/drawing/2014/main" id="{A959E514-45CA-474C-B56A-22C27BE16844}"/>
                </a:ext>
              </a:extLst>
            </p:cNvPr>
            <p:cNvSpPr/>
            <p:nvPr/>
          </p:nvSpPr>
          <p:spPr>
            <a:xfrm>
              <a:off x="8946290" y="6040598"/>
              <a:ext cx="31236" cy="203543"/>
            </a:xfrm>
            <a:custGeom>
              <a:avLst/>
              <a:gdLst>
                <a:gd name="connsiteX0" fmla="*/ 30362 w 31236"/>
                <a:gd name="connsiteY0" fmla="*/ 199545 h 203543"/>
                <a:gd name="connsiteX1" fmla="*/ 31237 w 31236"/>
                <a:gd name="connsiteY1" fmla="*/ 203544 h 203543"/>
                <a:gd name="connsiteX2" fmla="*/ 31237 w 31236"/>
                <a:gd name="connsiteY2" fmla="*/ 203544 h 203543"/>
                <a:gd name="connsiteX3" fmla="*/ 18742 w 31236"/>
                <a:gd name="connsiteY3" fmla="*/ 17868 h 203543"/>
                <a:gd name="connsiteX4" fmla="*/ 12744 w 31236"/>
                <a:gd name="connsiteY4" fmla="*/ 9121 h 203543"/>
                <a:gd name="connsiteX5" fmla="*/ 12744 w 31236"/>
                <a:gd name="connsiteY5" fmla="*/ 9121 h 203543"/>
                <a:gd name="connsiteX6" fmla="*/ 1474 w 31236"/>
                <a:gd name="connsiteY6" fmla="*/ 5498 h 203543"/>
                <a:gd name="connsiteX7" fmla="*/ 875 w 31236"/>
                <a:gd name="connsiteY7" fmla="*/ 3998 h 203543"/>
                <a:gd name="connsiteX8" fmla="*/ 0 w 31236"/>
                <a:gd name="connsiteY8" fmla="*/ 0 h 203543"/>
                <a:gd name="connsiteX9" fmla="*/ 0 w 31236"/>
                <a:gd name="connsiteY9" fmla="*/ 0 h 203543"/>
                <a:gd name="connsiteX10" fmla="*/ 13744 w 31236"/>
                <a:gd name="connsiteY10" fmla="*/ 197546 h 203543"/>
                <a:gd name="connsiteX11" fmla="*/ 19241 w 31236"/>
                <a:gd name="connsiteY11" fmla="*/ 194297 h 203543"/>
                <a:gd name="connsiteX12" fmla="*/ 30137 w 31236"/>
                <a:gd name="connsiteY12" fmla="*/ 198920 h 203543"/>
                <a:gd name="connsiteX13" fmla="*/ 30362 w 31236"/>
                <a:gd name="connsiteY13" fmla="*/ 199545 h 20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36" h="203543">
                  <a:moveTo>
                    <a:pt x="30362" y="199545"/>
                  </a:moveTo>
                  <a:cubicBezTo>
                    <a:pt x="30849" y="200832"/>
                    <a:pt x="31137" y="202182"/>
                    <a:pt x="31237" y="203544"/>
                  </a:cubicBezTo>
                  <a:lnTo>
                    <a:pt x="31237" y="203544"/>
                  </a:lnTo>
                  <a:lnTo>
                    <a:pt x="18742" y="17868"/>
                  </a:lnTo>
                  <a:lnTo>
                    <a:pt x="12744" y="9121"/>
                  </a:lnTo>
                  <a:lnTo>
                    <a:pt x="12744" y="9121"/>
                  </a:lnTo>
                  <a:cubicBezTo>
                    <a:pt x="8634" y="11233"/>
                    <a:pt x="3586" y="9621"/>
                    <a:pt x="1474" y="5498"/>
                  </a:cubicBezTo>
                  <a:cubicBezTo>
                    <a:pt x="1224" y="5023"/>
                    <a:pt x="1025" y="4523"/>
                    <a:pt x="875" y="3998"/>
                  </a:cubicBezTo>
                  <a:cubicBezTo>
                    <a:pt x="337" y="2736"/>
                    <a:pt x="37" y="1374"/>
                    <a:pt x="0" y="0"/>
                  </a:cubicBezTo>
                  <a:lnTo>
                    <a:pt x="0" y="0"/>
                  </a:lnTo>
                  <a:lnTo>
                    <a:pt x="13744" y="197546"/>
                  </a:lnTo>
                  <a:lnTo>
                    <a:pt x="19241" y="194297"/>
                  </a:lnTo>
                  <a:cubicBezTo>
                    <a:pt x="23527" y="192560"/>
                    <a:pt x="28413" y="194635"/>
                    <a:pt x="30137" y="198920"/>
                  </a:cubicBezTo>
                  <a:cubicBezTo>
                    <a:pt x="30225" y="199133"/>
                    <a:pt x="30299" y="199333"/>
                    <a:pt x="30362" y="199545"/>
                  </a:cubicBezTo>
                  <a:close/>
                </a:path>
              </a:pathLst>
            </a:custGeom>
            <a:solidFill>
              <a:srgbClr val="000000"/>
            </a:solidFill>
            <a:ln w="12483" cap="flat">
              <a:noFill/>
              <a:prstDash val="solid"/>
              <a:miter/>
            </a:ln>
          </p:spPr>
          <p:txBody>
            <a:bodyPr rtlCol="0" anchor="ctr"/>
            <a:lstStyle/>
            <a:p>
              <a:endParaRPr lang="en-US"/>
            </a:p>
          </p:txBody>
        </p:sp>
        <p:sp>
          <p:nvSpPr>
            <p:cNvPr id="1193" name="Freeform: Shape 1192">
              <a:extLst>
                <a:ext uri="{FF2B5EF4-FFF2-40B4-BE49-F238E27FC236}">
                  <a16:creationId xmlns:a16="http://schemas.microsoft.com/office/drawing/2014/main" id="{51E6A589-C51F-4A11-A763-70AE4976DCE4}"/>
                </a:ext>
              </a:extLst>
            </p:cNvPr>
            <p:cNvSpPr/>
            <p:nvPr/>
          </p:nvSpPr>
          <p:spPr>
            <a:xfrm>
              <a:off x="8961783" y="6046471"/>
              <a:ext cx="2499" cy="4997"/>
            </a:xfrm>
            <a:custGeom>
              <a:avLst/>
              <a:gdLst>
                <a:gd name="connsiteX0" fmla="*/ 2124 w 2499"/>
                <a:gd name="connsiteY0" fmla="*/ 0 h 4997"/>
                <a:gd name="connsiteX1" fmla="*/ 0 w 2499"/>
                <a:gd name="connsiteY1" fmla="*/ 1250 h 4997"/>
                <a:gd name="connsiteX2" fmla="*/ 2499 w 2499"/>
                <a:gd name="connsiteY2" fmla="*/ 4998 h 4997"/>
                <a:gd name="connsiteX3" fmla="*/ 2124 w 2499"/>
                <a:gd name="connsiteY3" fmla="*/ 0 h 4997"/>
              </a:gdLst>
              <a:ahLst/>
              <a:cxnLst>
                <a:cxn ang="0">
                  <a:pos x="connsiteX0" y="connsiteY0"/>
                </a:cxn>
                <a:cxn ang="0">
                  <a:pos x="connsiteX1" y="connsiteY1"/>
                </a:cxn>
                <a:cxn ang="0">
                  <a:pos x="connsiteX2" y="connsiteY2"/>
                </a:cxn>
                <a:cxn ang="0">
                  <a:pos x="connsiteX3" y="connsiteY3"/>
                </a:cxn>
              </a:cxnLst>
              <a:rect l="l" t="t" r="r" b="b"/>
              <a:pathLst>
                <a:path w="2499" h="4997">
                  <a:moveTo>
                    <a:pt x="2124" y="0"/>
                  </a:moveTo>
                  <a:lnTo>
                    <a:pt x="0" y="1250"/>
                  </a:lnTo>
                  <a:lnTo>
                    <a:pt x="2499" y="4998"/>
                  </a:lnTo>
                  <a:lnTo>
                    <a:pt x="2124" y="0"/>
                  </a:lnTo>
                  <a:close/>
                </a:path>
              </a:pathLst>
            </a:custGeom>
            <a:solidFill>
              <a:srgbClr val="000000"/>
            </a:solidFill>
            <a:ln w="12483" cap="flat">
              <a:noFill/>
              <a:prstDash val="solid"/>
              <a:miter/>
            </a:ln>
          </p:spPr>
          <p:txBody>
            <a:bodyPr rtlCol="0" anchor="ctr"/>
            <a:lstStyle/>
            <a:p>
              <a:endParaRPr lang="en-US"/>
            </a:p>
          </p:txBody>
        </p:sp>
        <p:sp>
          <p:nvSpPr>
            <p:cNvPr id="1194" name="Freeform: Shape 1193">
              <a:extLst>
                <a:ext uri="{FF2B5EF4-FFF2-40B4-BE49-F238E27FC236}">
                  <a16:creationId xmlns:a16="http://schemas.microsoft.com/office/drawing/2014/main" id="{98D3B267-3E7B-4848-8E24-72BBA635DEE2}"/>
                </a:ext>
              </a:extLst>
            </p:cNvPr>
            <p:cNvSpPr/>
            <p:nvPr/>
          </p:nvSpPr>
          <p:spPr>
            <a:xfrm>
              <a:off x="8972778" y="6254888"/>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endParaRPr lang="en-US"/>
            </a:p>
          </p:txBody>
        </p:sp>
        <p:sp>
          <p:nvSpPr>
            <p:cNvPr id="1195" name="Freeform: Shape 1194">
              <a:extLst>
                <a:ext uri="{FF2B5EF4-FFF2-40B4-BE49-F238E27FC236}">
                  <a16:creationId xmlns:a16="http://schemas.microsoft.com/office/drawing/2014/main" id="{92C6CDF7-DA81-4A82-96C0-C8CB6A6BB9C9}"/>
                </a:ext>
              </a:extLst>
            </p:cNvPr>
            <p:cNvSpPr/>
            <p:nvPr/>
          </p:nvSpPr>
          <p:spPr>
            <a:xfrm>
              <a:off x="9746569" y="5506061"/>
              <a:ext cx="53601" cy="72721"/>
            </a:xfrm>
            <a:custGeom>
              <a:avLst/>
              <a:gdLst>
                <a:gd name="connsiteX0" fmla="*/ 1000 w 53601"/>
                <a:gd name="connsiteY0" fmla="*/ 1874 h 72721"/>
                <a:gd name="connsiteX1" fmla="*/ 1000 w 53601"/>
                <a:gd name="connsiteY1" fmla="*/ 1874 h 72721"/>
                <a:gd name="connsiteX2" fmla="*/ 0 w 53601"/>
                <a:gd name="connsiteY2" fmla="*/ 2624 h 72721"/>
                <a:gd name="connsiteX3" fmla="*/ 0 w 53601"/>
                <a:gd name="connsiteY3" fmla="*/ 2624 h 72721"/>
                <a:gd name="connsiteX4" fmla="*/ 51228 w 53601"/>
                <a:gd name="connsiteY4" fmla="*/ 72721 h 72721"/>
                <a:gd name="connsiteX5" fmla="*/ 52227 w 53601"/>
                <a:gd name="connsiteY5" fmla="*/ 71097 h 72721"/>
                <a:gd name="connsiteX6" fmla="*/ 53602 w 53601"/>
                <a:gd name="connsiteY6" fmla="*/ 70222 h 72721"/>
                <a:gd name="connsiteX7" fmla="*/ 2499 w 53601"/>
                <a:gd name="connsiteY7" fmla="*/ 0 h 72721"/>
                <a:gd name="connsiteX8" fmla="*/ 1000 w 53601"/>
                <a:gd name="connsiteY8" fmla="*/ 1874 h 72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01" h="72721">
                  <a:moveTo>
                    <a:pt x="1000" y="1874"/>
                  </a:moveTo>
                  <a:cubicBezTo>
                    <a:pt x="1000" y="1874"/>
                    <a:pt x="1000" y="1874"/>
                    <a:pt x="1000" y="1874"/>
                  </a:cubicBezTo>
                  <a:cubicBezTo>
                    <a:pt x="725" y="2186"/>
                    <a:pt x="387" y="2449"/>
                    <a:pt x="0" y="2624"/>
                  </a:cubicBezTo>
                  <a:lnTo>
                    <a:pt x="0" y="2624"/>
                  </a:lnTo>
                  <a:lnTo>
                    <a:pt x="51228" y="72721"/>
                  </a:lnTo>
                  <a:cubicBezTo>
                    <a:pt x="51515" y="72159"/>
                    <a:pt x="51853" y="71609"/>
                    <a:pt x="52227" y="71097"/>
                  </a:cubicBezTo>
                  <a:cubicBezTo>
                    <a:pt x="52640" y="70734"/>
                    <a:pt x="53102" y="70434"/>
                    <a:pt x="53602" y="70222"/>
                  </a:cubicBezTo>
                  <a:lnTo>
                    <a:pt x="2499" y="0"/>
                  </a:lnTo>
                  <a:cubicBezTo>
                    <a:pt x="2212" y="762"/>
                    <a:pt x="1687" y="1424"/>
                    <a:pt x="1000" y="1874"/>
                  </a:cubicBezTo>
                  <a:close/>
                </a:path>
              </a:pathLst>
            </a:custGeom>
            <a:solidFill>
              <a:srgbClr val="000000"/>
            </a:solidFill>
            <a:ln w="12483" cap="flat">
              <a:noFill/>
              <a:prstDash val="solid"/>
              <a:miter/>
            </a:ln>
          </p:spPr>
          <p:txBody>
            <a:bodyPr rtlCol="0" anchor="ctr"/>
            <a:lstStyle/>
            <a:p>
              <a:endParaRPr lang="en-US"/>
            </a:p>
          </p:txBody>
        </p:sp>
        <p:sp>
          <p:nvSpPr>
            <p:cNvPr id="1196" name="Freeform: Shape 1195">
              <a:extLst>
                <a:ext uri="{FF2B5EF4-FFF2-40B4-BE49-F238E27FC236}">
                  <a16:creationId xmlns:a16="http://schemas.microsoft.com/office/drawing/2014/main" id="{20A9F1F9-9F33-4674-A459-38D36CDD3CAB}"/>
                </a:ext>
              </a:extLst>
            </p:cNvPr>
            <p:cNvSpPr/>
            <p:nvPr/>
          </p:nvSpPr>
          <p:spPr>
            <a:xfrm>
              <a:off x="9647612" y="5355246"/>
              <a:ext cx="91460" cy="152439"/>
            </a:xfrm>
            <a:custGeom>
              <a:avLst/>
              <a:gdLst>
                <a:gd name="connsiteX0" fmla="*/ 87462 w 91460"/>
                <a:gd name="connsiteY0" fmla="*/ 152439 h 152439"/>
                <a:gd name="connsiteX1" fmla="*/ 84838 w 91460"/>
                <a:gd name="connsiteY1" fmla="*/ 145317 h 152439"/>
                <a:gd name="connsiteX2" fmla="*/ 84838 w 91460"/>
                <a:gd name="connsiteY2" fmla="*/ 137695 h 152439"/>
                <a:gd name="connsiteX3" fmla="*/ 84838 w 91460"/>
                <a:gd name="connsiteY3" fmla="*/ 136446 h 152439"/>
                <a:gd name="connsiteX4" fmla="*/ 84838 w 91460"/>
                <a:gd name="connsiteY4" fmla="*/ 133697 h 152439"/>
                <a:gd name="connsiteX5" fmla="*/ 85713 w 91460"/>
                <a:gd name="connsiteY5" fmla="*/ 131822 h 152439"/>
                <a:gd name="connsiteX6" fmla="*/ 86587 w 91460"/>
                <a:gd name="connsiteY6" fmla="*/ 130073 h 152439"/>
                <a:gd name="connsiteX7" fmla="*/ 88711 w 91460"/>
                <a:gd name="connsiteY7" fmla="*/ 128199 h 152439"/>
                <a:gd name="connsiteX8" fmla="*/ 89336 w 91460"/>
                <a:gd name="connsiteY8" fmla="*/ 127574 h 152439"/>
                <a:gd name="connsiteX9" fmla="*/ 89336 w 91460"/>
                <a:gd name="connsiteY9" fmla="*/ 127574 h 152439"/>
                <a:gd name="connsiteX10" fmla="*/ 91460 w 91460"/>
                <a:gd name="connsiteY10" fmla="*/ 126324 h 152439"/>
                <a:gd name="connsiteX11" fmla="*/ 0 w 91460"/>
                <a:gd name="connsiteY11" fmla="*/ 0 h 152439"/>
                <a:gd name="connsiteX12" fmla="*/ 0 w 91460"/>
                <a:gd name="connsiteY12" fmla="*/ 3873 h 152439"/>
                <a:gd name="connsiteX13" fmla="*/ 874 w 91460"/>
                <a:gd name="connsiteY13" fmla="*/ 34236 h 152439"/>
                <a:gd name="connsiteX14" fmla="*/ 86962 w 91460"/>
                <a:gd name="connsiteY14" fmla="*/ 152189 h 1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60" h="152439">
                  <a:moveTo>
                    <a:pt x="87462" y="152439"/>
                  </a:moveTo>
                  <a:cubicBezTo>
                    <a:pt x="85875" y="150390"/>
                    <a:pt x="84951" y="147904"/>
                    <a:pt x="84838" y="145317"/>
                  </a:cubicBezTo>
                  <a:lnTo>
                    <a:pt x="84838" y="137695"/>
                  </a:lnTo>
                  <a:cubicBezTo>
                    <a:pt x="84838" y="137695"/>
                    <a:pt x="84838" y="136821"/>
                    <a:pt x="84838" y="136446"/>
                  </a:cubicBezTo>
                  <a:cubicBezTo>
                    <a:pt x="84763" y="135533"/>
                    <a:pt x="84763" y="134609"/>
                    <a:pt x="84838" y="133697"/>
                  </a:cubicBezTo>
                  <a:cubicBezTo>
                    <a:pt x="84838" y="132947"/>
                    <a:pt x="85463" y="132447"/>
                    <a:pt x="85713" y="131822"/>
                  </a:cubicBezTo>
                  <a:cubicBezTo>
                    <a:pt x="85963" y="131198"/>
                    <a:pt x="85713" y="130573"/>
                    <a:pt x="86587" y="130073"/>
                  </a:cubicBezTo>
                  <a:cubicBezTo>
                    <a:pt x="87199" y="129348"/>
                    <a:pt x="87924" y="128724"/>
                    <a:pt x="88711" y="128199"/>
                  </a:cubicBezTo>
                  <a:cubicBezTo>
                    <a:pt x="88711" y="128199"/>
                    <a:pt x="88711" y="128199"/>
                    <a:pt x="89336" y="127574"/>
                  </a:cubicBezTo>
                  <a:lnTo>
                    <a:pt x="89336" y="127574"/>
                  </a:lnTo>
                  <a:lnTo>
                    <a:pt x="91460" y="126324"/>
                  </a:lnTo>
                  <a:lnTo>
                    <a:pt x="0" y="0"/>
                  </a:lnTo>
                  <a:lnTo>
                    <a:pt x="0" y="3873"/>
                  </a:lnTo>
                  <a:lnTo>
                    <a:pt x="874" y="34236"/>
                  </a:lnTo>
                  <a:lnTo>
                    <a:pt x="86962" y="152189"/>
                  </a:lnTo>
                  <a:close/>
                </a:path>
              </a:pathLst>
            </a:custGeom>
            <a:solidFill>
              <a:srgbClr val="000000"/>
            </a:solidFill>
            <a:ln w="12483" cap="flat">
              <a:noFill/>
              <a:prstDash val="solid"/>
              <a:miter/>
            </a:ln>
          </p:spPr>
          <p:txBody>
            <a:bodyPr rtlCol="0" anchor="ctr"/>
            <a:lstStyle/>
            <a:p>
              <a:endParaRPr lang="en-US"/>
            </a:p>
          </p:txBody>
        </p:sp>
        <p:sp>
          <p:nvSpPr>
            <p:cNvPr id="1197" name="Freeform: Shape 1196">
              <a:extLst>
                <a:ext uri="{FF2B5EF4-FFF2-40B4-BE49-F238E27FC236}">
                  <a16:creationId xmlns:a16="http://schemas.microsoft.com/office/drawing/2014/main" id="{F0B8B62F-FF96-492A-8E9B-1FD549E2753B}"/>
                </a:ext>
              </a:extLst>
            </p:cNvPr>
            <p:cNvSpPr/>
            <p:nvPr/>
          </p:nvSpPr>
          <p:spPr>
            <a:xfrm>
              <a:off x="9748818" y="5505936"/>
              <a:ext cx="12494" cy="125"/>
            </a:xfrm>
            <a:custGeom>
              <a:avLst/>
              <a:gdLst>
                <a:gd name="connsiteX0" fmla="*/ 0 w 12494"/>
                <a:gd name="connsiteY0" fmla="*/ 0 h 125"/>
                <a:gd name="connsiteX1" fmla="*/ 0 w 12494"/>
                <a:gd name="connsiteY1" fmla="*/ 0 h 125"/>
                <a:gd name="connsiteX2" fmla="*/ 0 w 12494"/>
                <a:gd name="connsiteY2" fmla="*/ 125 h 125"/>
                <a:gd name="connsiteX3" fmla="*/ 0 w 12494"/>
                <a:gd name="connsiteY3" fmla="*/ 0 h 125"/>
              </a:gdLst>
              <a:ahLst/>
              <a:cxnLst>
                <a:cxn ang="0">
                  <a:pos x="connsiteX0" y="connsiteY0"/>
                </a:cxn>
                <a:cxn ang="0">
                  <a:pos x="connsiteX1" y="connsiteY1"/>
                </a:cxn>
                <a:cxn ang="0">
                  <a:pos x="connsiteX2" y="connsiteY2"/>
                </a:cxn>
                <a:cxn ang="0">
                  <a:pos x="connsiteX3" y="connsiteY3"/>
                </a:cxn>
              </a:cxnLst>
              <a:rect l="l" t="t" r="r" b="b"/>
              <a:pathLst>
                <a:path w="12494" h="125">
                  <a:moveTo>
                    <a:pt x="0" y="0"/>
                  </a:moveTo>
                  <a:lnTo>
                    <a:pt x="0" y="0"/>
                  </a:lnTo>
                  <a:lnTo>
                    <a:pt x="0" y="125"/>
                  </a:lnTo>
                  <a:lnTo>
                    <a:pt x="0" y="0"/>
                  </a:lnTo>
                  <a:close/>
                </a:path>
              </a:pathLst>
            </a:custGeom>
            <a:solidFill>
              <a:srgbClr val="000000"/>
            </a:solidFill>
            <a:ln w="12483" cap="flat">
              <a:noFill/>
              <a:prstDash val="solid"/>
              <a:miter/>
            </a:ln>
          </p:spPr>
          <p:txBody>
            <a:bodyPr rtlCol="0" anchor="ctr"/>
            <a:lstStyle/>
            <a:p>
              <a:endParaRPr lang="en-US"/>
            </a:p>
          </p:txBody>
        </p:sp>
        <p:sp>
          <p:nvSpPr>
            <p:cNvPr id="1198" name="Freeform: Shape 1197">
              <a:extLst>
                <a:ext uri="{FF2B5EF4-FFF2-40B4-BE49-F238E27FC236}">
                  <a16:creationId xmlns:a16="http://schemas.microsoft.com/office/drawing/2014/main" id="{481631D2-6DA9-4688-A304-0110BE9E47C3}"/>
                </a:ext>
              </a:extLst>
            </p:cNvPr>
            <p:cNvSpPr/>
            <p:nvPr/>
          </p:nvSpPr>
          <p:spPr>
            <a:xfrm>
              <a:off x="9750192" y="5500313"/>
              <a:ext cx="56" cy="1624"/>
            </a:xfrm>
            <a:custGeom>
              <a:avLst/>
              <a:gdLst>
                <a:gd name="connsiteX0" fmla="*/ 0 w 56"/>
                <a:gd name="connsiteY0" fmla="*/ 1624 h 1624"/>
                <a:gd name="connsiteX1" fmla="*/ 0 w 56"/>
                <a:gd name="connsiteY1" fmla="*/ 0 h 1624"/>
                <a:gd name="connsiteX2" fmla="*/ 0 w 56"/>
                <a:gd name="connsiteY2" fmla="*/ 1624 h 1624"/>
              </a:gdLst>
              <a:ahLst/>
              <a:cxnLst>
                <a:cxn ang="0">
                  <a:pos x="connsiteX0" y="connsiteY0"/>
                </a:cxn>
                <a:cxn ang="0">
                  <a:pos x="connsiteX1" y="connsiteY1"/>
                </a:cxn>
                <a:cxn ang="0">
                  <a:pos x="connsiteX2" y="connsiteY2"/>
                </a:cxn>
              </a:cxnLst>
              <a:rect l="l" t="t" r="r" b="b"/>
              <a:pathLst>
                <a:path w="56" h="1624">
                  <a:moveTo>
                    <a:pt x="0" y="1624"/>
                  </a:moveTo>
                  <a:cubicBezTo>
                    <a:pt x="0" y="1624"/>
                    <a:pt x="0" y="625"/>
                    <a:pt x="0" y="0"/>
                  </a:cubicBezTo>
                  <a:cubicBezTo>
                    <a:pt x="75" y="538"/>
                    <a:pt x="75" y="1087"/>
                    <a:pt x="0" y="1624"/>
                  </a:cubicBezTo>
                  <a:close/>
                </a:path>
              </a:pathLst>
            </a:custGeom>
            <a:solidFill>
              <a:srgbClr val="000000"/>
            </a:solidFill>
            <a:ln w="12483" cap="flat">
              <a:noFill/>
              <a:prstDash val="solid"/>
              <a:miter/>
            </a:ln>
          </p:spPr>
          <p:txBody>
            <a:bodyPr rtlCol="0" anchor="ctr"/>
            <a:lstStyle/>
            <a:p>
              <a:endParaRPr lang="en-US"/>
            </a:p>
          </p:txBody>
        </p:sp>
        <p:sp>
          <p:nvSpPr>
            <p:cNvPr id="1199" name="Freeform: Shape 1198">
              <a:extLst>
                <a:ext uri="{FF2B5EF4-FFF2-40B4-BE49-F238E27FC236}">
                  <a16:creationId xmlns:a16="http://schemas.microsoft.com/office/drawing/2014/main" id="{3712DD08-52BE-482E-B184-C9C797F02175}"/>
                </a:ext>
              </a:extLst>
            </p:cNvPr>
            <p:cNvSpPr/>
            <p:nvPr/>
          </p:nvSpPr>
          <p:spPr>
            <a:xfrm>
              <a:off x="9746069" y="5508310"/>
              <a:ext cx="1249" cy="1124"/>
            </a:xfrm>
            <a:custGeom>
              <a:avLst/>
              <a:gdLst>
                <a:gd name="connsiteX0" fmla="*/ 1250 w 1249"/>
                <a:gd name="connsiteY0" fmla="*/ 0 h 1124"/>
                <a:gd name="connsiteX1" fmla="*/ 1250 w 1249"/>
                <a:gd name="connsiteY1" fmla="*/ 0 h 1124"/>
                <a:gd name="connsiteX2" fmla="*/ 0 w 1249"/>
                <a:gd name="connsiteY2" fmla="*/ 1125 h 1124"/>
                <a:gd name="connsiteX3" fmla="*/ 1250 w 1249"/>
                <a:gd name="connsiteY3" fmla="*/ 0 h 1124"/>
              </a:gdLst>
              <a:ahLst/>
              <a:cxnLst>
                <a:cxn ang="0">
                  <a:pos x="connsiteX0" y="connsiteY0"/>
                </a:cxn>
                <a:cxn ang="0">
                  <a:pos x="connsiteX1" y="connsiteY1"/>
                </a:cxn>
                <a:cxn ang="0">
                  <a:pos x="connsiteX2" y="connsiteY2"/>
                </a:cxn>
                <a:cxn ang="0">
                  <a:pos x="connsiteX3" y="connsiteY3"/>
                </a:cxn>
              </a:cxnLst>
              <a:rect l="l" t="t" r="r" b="b"/>
              <a:pathLst>
                <a:path w="1249" h="1124">
                  <a:moveTo>
                    <a:pt x="1250" y="0"/>
                  </a:moveTo>
                  <a:cubicBezTo>
                    <a:pt x="1250" y="0"/>
                    <a:pt x="1250" y="0"/>
                    <a:pt x="1250" y="0"/>
                  </a:cubicBezTo>
                  <a:cubicBezTo>
                    <a:pt x="900" y="437"/>
                    <a:pt x="475" y="812"/>
                    <a:pt x="0" y="1125"/>
                  </a:cubicBezTo>
                  <a:cubicBezTo>
                    <a:pt x="512" y="875"/>
                    <a:pt x="950" y="487"/>
                    <a:pt x="1250" y="0"/>
                  </a:cubicBezTo>
                  <a:close/>
                </a:path>
              </a:pathLst>
            </a:custGeom>
            <a:solidFill>
              <a:srgbClr val="000000"/>
            </a:solidFill>
            <a:ln w="12483" cap="flat">
              <a:noFill/>
              <a:prstDash val="solid"/>
              <a:miter/>
            </a:ln>
          </p:spPr>
          <p:txBody>
            <a:bodyPr rtlCol="0" anchor="ctr"/>
            <a:lstStyle/>
            <a:p>
              <a:endParaRPr lang="en-US"/>
            </a:p>
          </p:txBody>
        </p:sp>
        <p:sp>
          <p:nvSpPr>
            <p:cNvPr id="1200" name="Freeform: Shape 1199">
              <a:extLst>
                <a:ext uri="{FF2B5EF4-FFF2-40B4-BE49-F238E27FC236}">
                  <a16:creationId xmlns:a16="http://schemas.microsoft.com/office/drawing/2014/main" id="{721689BC-18B8-4D1B-B9F0-5DC56C51AA71}"/>
                </a:ext>
              </a:extLst>
            </p:cNvPr>
            <p:cNvSpPr/>
            <p:nvPr/>
          </p:nvSpPr>
          <p:spPr>
            <a:xfrm>
              <a:off x="9811791" y="5576783"/>
              <a:ext cx="6372" cy="5997"/>
            </a:xfrm>
            <a:custGeom>
              <a:avLst/>
              <a:gdLst>
                <a:gd name="connsiteX0" fmla="*/ 4998 w 6372"/>
                <a:gd name="connsiteY0" fmla="*/ 1874 h 5997"/>
                <a:gd name="connsiteX1" fmla="*/ 4998 w 6372"/>
                <a:gd name="connsiteY1" fmla="*/ 0 h 5997"/>
                <a:gd name="connsiteX2" fmla="*/ 0 w 6372"/>
                <a:gd name="connsiteY2" fmla="*/ 2999 h 5997"/>
                <a:gd name="connsiteX3" fmla="*/ 2124 w 6372"/>
                <a:gd name="connsiteY3" fmla="*/ 5997 h 5997"/>
                <a:gd name="connsiteX4" fmla="*/ 6372 w 6372"/>
                <a:gd name="connsiteY4" fmla="*/ 3499 h 5997"/>
                <a:gd name="connsiteX5" fmla="*/ 4998 w 6372"/>
                <a:gd name="connsiteY5" fmla="*/ 1874 h 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72" h="5997">
                  <a:moveTo>
                    <a:pt x="4998" y="1874"/>
                  </a:moveTo>
                  <a:cubicBezTo>
                    <a:pt x="4935" y="1249"/>
                    <a:pt x="4935" y="625"/>
                    <a:pt x="4998" y="0"/>
                  </a:cubicBezTo>
                  <a:lnTo>
                    <a:pt x="0" y="2999"/>
                  </a:lnTo>
                  <a:lnTo>
                    <a:pt x="2124" y="5997"/>
                  </a:lnTo>
                  <a:lnTo>
                    <a:pt x="6372" y="3499"/>
                  </a:lnTo>
                  <a:cubicBezTo>
                    <a:pt x="5835" y="3023"/>
                    <a:pt x="5373" y="2486"/>
                    <a:pt x="4998" y="1874"/>
                  </a:cubicBezTo>
                  <a:close/>
                </a:path>
              </a:pathLst>
            </a:custGeom>
            <a:solidFill>
              <a:srgbClr val="000000"/>
            </a:solidFill>
            <a:ln w="12483" cap="flat">
              <a:noFill/>
              <a:prstDash val="solid"/>
              <a:miter/>
            </a:ln>
          </p:spPr>
          <p:txBody>
            <a:bodyPr rtlCol="0" anchor="ctr"/>
            <a:lstStyle/>
            <a:p>
              <a:endParaRPr lang="en-US"/>
            </a:p>
          </p:txBody>
        </p:sp>
        <p:sp>
          <p:nvSpPr>
            <p:cNvPr id="1201" name="Freeform: Shape 1200">
              <a:extLst>
                <a:ext uri="{FF2B5EF4-FFF2-40B4-BE49-F238E27FC236}">
                  <a16:creationId xmlns:a16="http://schemas.microsoft.com/office/drawing/2014/main" id="{26DC0FFB-E2A8-43C0-9CB7-A3465D9FD18D}"/>
                </a:ext>
              </a:extLst>
            </p:cNvPr>
            <p:cNvSpPr/>
            <p:nvPr/>
          </p:nvSpPr>
          <p:spPr>
            <a:xfrm>
              <a:off x="9803794" y="5575534"/>
              <a:ext cx="1499" cy="749"/>
            </a:xfrm>
            <a:custGeom>
              <a:avLst/>
              <a:gdLst>
                <a:gd name="connsiteX0" fmla="*/ 1499 w 1499"/>
                <a:gd name="connsiteY0" fmla="*/ 0 h 749"/>
                <a:gd name="connsiteX1" fmla="*/ 0 w 1499"/>
                <a:gd name="connsiteY1" fmla="*/ 0 h 749"/>
                <a:gd name="connsiteX2" fmla="*/ 0 w 1499"/>
                <a:gd name="connsiteY2" fmla="*/ 750 h 749"/>
              </a:gdLst>
              <a:ahLst/>
              <a:cxnLst>
                <a:cxn ang="0">
                  <a:pos x="connsiteX0" y="connsiteY0"/>
                </a:cxn>
                <a:cxn ang="0">
                  <a:pos x="connsiteX1" y="connsiteY1"/>
                </a:cxn>
                <a:cxn ang="0">
                  <a:pos x="connsiteX2" y="connsiteY2"/>
                </a:cxn>
              </a:cxnLst>
              <a:rect l="l" t="t" r="r" b="b"/>
              <a:pathLst>
                <a:path w="1499" h="749">
                  <a:moveTo>
                    <a:pt x="1499" y="0"/>
                  </a:moveTo>
                  <a:lnTo>
                    <a:pt x="0" y="0"/>
                  </a:lnTo>
                  <a:lnTo>
                    <a:pt x="0" y="750"/>
                  </a:lnTo>
                  <a:close/>
                </a:path>
              </a:pathLst>
            </a:custGeom>
            <a:solidFill>
              <a:srgbClr val="000000"/>
            </a:solidFill>
            <a:ln w="12483" cap="flat">
              <a:noFill/>
              <a:prstDash val="solid"/>
              <a:miter/>
            </a:ln>
          </p:spPr>
          <p:txBody>
            <a:bodyPr rtlCol="0" anchor="ctr"/>
            <a:lstStyle/>
            <a:p>
              <a:endParaRPr lang="en-US"/>
            </a:p>
          </p:txBody>
        </p:sp>
        <p:sp>
          <p:nvSpPr>
            <p:cNvPr id="1202" name="Freeform: Shape 1201">
              <a:extLst>
                <a:ext uri="{FF2B5EF4-FFF2-40B4-BE49-F238E27FC236}">
                  <a16:creationId xmlns:a16="http://schemas.microsoft.com/office/drawing/2014/main" id="{815C692A-47D5-46B5-87C0-9C8904A13601}"/>
                </a:ext>
              </a:extLst>
            </p:cNvPr>
            <p:cNvSpPr/>
            <p:nvPr/>
          </p:nvSpPr>
          <p:spPr>
            <a:xfrm>
              <a:off x="9795360" y="5576533"/>
              <a:ext cx="60661" cy="97086"/>
            </a:xfrm>
            <a:custGeom>
              <a:avLst/>
              <a:gdLst>
                <a:gd name="connsiteX0" fmla="*/ 18430 w 60661"/>
                <a:gd name="connsiteY0" fmla="*/ 6248 h 97086"/>
                <a:gd name="connsiteX1" fmla="*/ 16305 w 60661"/>
                <a:gd name="connsiteY1" fmla="*/ 3249 h 97086"/>
                <a:gd name="connsiteX2" fmla="*/ 16305 w 60661"/>
                <a:gd name="connsiteY2" fmla="*/ 3249 h 97086"/>
                <a:gd name="connsiteX3" fmla="*/ 15681 w 60661"/>
                <a:gd name="connsiteY3" fmla="*/ 2499 h 97086"/>
                <a:gd name="connsiteX4" fmla="*/ 14181 w 60661"/>
                <a:gd name="connsiteY4" fmla="*/ 1125 h 97086"/>
                <a:gd name="connsiteX5" fmla="*/ 10433 w 60661"/>
                <a:gd name="connsiteY5" fmla="*/ 3249 h 97086"/>
                <a:gd name="connsiteX6" fmla="*/ 10433 w 60661"/>
                <a:gd name="connsiteY6" fmla="*/ 9621 h 97086"/>
                <a:gd name="connsiteX7" fmla="*/ 8809 w 60661"/>
                <a:gd name="connsiteY7" fmla="*/ 11621 h 97086"/>
                <a:gd name="connsiteX8" fmla="*/ 7184 w 60661"/>
                <a:gd name="connsiteY8" fmla="*/ 9746 h 97086"/>
                <a:gd name="connsiteX9" fmla="*/ 7184 w 60661"/>
                <a:gd name="connsiteY9" fmla="*/ 2749 h 97086"/>
                <a:gd name="connsiteX10" fmla="*/ 5185 w 60661"/>
                <a:gd name="connsiteY10" fmla="*/ 0 h 97086"/>
                <a:gd name="connsiteX11" fmla="*/ 4436 w 60661"/>
                <a:gd name="connsiteY11" fmla="*/ 625 h 97086"/>
                <a:gd name="connsiteX12" fmla="*/ 3061 w 60661"/>
                <a:gd name="connsiteY12" fmla="*/ 1499 h 97086"/>
                <a:gd name="connsiteX13" fmla="*/ 2062 w 60661"/>
                <a:gd name="connsiteY13" fmla="*/ 3124 h 97086"/>
                <a:gd name="connsiteX14" fmla="*/ 2062 w 60661"/>
                <a:gd name="connsiteY14" fmla="*/ 16868 h 97086"/>
                <a:gd name="connsiteX15" fmla="*/ 60661 w 60661"/>
                <a:gd name="connsiteY15" fmla="*/ 97087 h 97086"/>
                <a:gd name="connsiteX16" fmla="*/ 60661 w 60661"/>
                <a:gd name="connsiteY16" fmla="*/ 93088 h 97086"/>
                <a:gd name="connsiteX17" fmla="*/ 60036 w 60661"/>
                <a:gd name="connsiteY17" fmla="*/ 63350 h 9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661" h="97086">
                  <a:moveTo>
                    <a:pt x="18430" y="6248"/>
                  </a:moveTo>
                  <a:lnTo>
                    <a:pt x="16305" y="3249"/>
                  </a:lnTo>
                  <a:lnTo>
                    <a:pt x="16305" y="3249"/>
                  </a:lnTo>
                  <a:lnTo>
                    <a:pt x="15681" y="2499"/>
                  </a:lnTo>
                  <a:cubicBezTo>
                    <a:pt x="15281" y="1949"/>
                    <a:pt x="14769" y="1475"/>
                    <a:pt x="14181" y="1125"/>
                  </a:cubicBezTo>
                  <a:lnTo>
                    <a:pt x="10433" y="3249"/>
                  </a:lnTo>
                  <a:lnTo>
                    <a:pt x="10433" y="9621"/>
                  </a:lnTo>
                  <a:cubicBezTo>
                    <a:pt x="10445" y="10596"/>
                    <a:pt x="9758" y="11433"/>
                    <a:pt x="8809" y="11621"/>
                  </a:cubicBezTo>
                  <a:cubicBezTo>
                    <a:pt x="7934" y="11621"/>
                    <a:pt x="7309" y="10746"/>
                    <a:pt x="7184" y="9746"/>
                  </a:cubicBezTo>
                  <a:lnTo>
                    <a:pt x="7184" y="2749"/>
                  </a:lnTo>
                  <a:lnTo>
                    <a:pt x="5185" y="0"/>
                  </a:lnTo>
                  <a:lnTo>
                    <a:pt x="4436" y="625"/>
                  </a:lnTo>
                  <a:cubicBezTo>
                    <a:pt x="3936" y="837"/>
                    <a:pt x="3474" y="1137"/>
                    <a:pt x="3061" y="1499"/>
                  </a:cubicBezTo>
                  <a:cubicBezTo>
                    <a:pt x="2686" y="2012"/>
                    <a:pt x="2349" y="2562"/>
                    <a:pt x="2062" y="3124"/>
                  </a:cubicBezTo>
                  <a:cubicBezTo>
                    <a:pt x="-687" y="7297"/>
                    <a:pt x="-687" y="12695"/>
                    <a:pt x="2062" y="16868"/>
                  </a:cubicBezTo>
                  <a:lnTo>
                    <a:pt x="60661" y="97087"/>
                  </a:lnTo>
                  <a:lnTo>
                    <a:pt x="60661" y="93088"/>
                  </a:lnTo>
                  <a:lnTo>
                    <a:pt x="60036" y="63350"/>
                  </a:lnTo>
                  <a:close/>
                </a:path>
              </a:pathLst>
            </a:custGeom>
            <a:solidFill>
              <a:srgbClr val="000000"/>
            </a:solidFill>
            <a:ln w="12483" cap="flat">
              <a:noFill/>
              <a:prstDash val="solid"/>
              <a:miter/>
            </a:ln>
          </p:spPr>
          <p:txBody>
            <a:bodyPr rtlCol="0" anchor="ctr"/>
            <a:lstStyle/>
            <a:p>
              <a:endParaRPr lang="en-US"/>
            </a:p>
          </p:txBody>
        </p:sp>
        <p:sp>
          <p:nvSpPr>
            <p:cNvPr id="1203" name="Freeform: Shape 1202">
              <a:extLst>
                <a:ext uri="{FF2B5EF4-FFF2-40B4-BE49-F238E27FC236}">
                  <a16:creationId xmlns:a16="http://schemas.microsoft.com/office/drawing/2014/main" id="{B4558280-4421-43E2-8C6F-FE2C67DCA9CD}"/>
                </a:ext>
              </a:extLst>
            </p:cNvPr>
            <p:cNvSpPr/>
            <p:nvPr/>
          </p:nvSpPr>
          <p:spPr>
            <a:xfrm>
              <a:off x="8641671" y="3975297"/>
              <a:ext cx="11245" cy="13369"/>
            </a:xfrm>
            <a:custGeom>
              <a:avLst/>
              <a:gdLst>
                <a:gd name="connsiteX0" fmla="*/ 11245 w 11245"/>
                <a:gd name="connsiteY0" fmla="*/ 11995 h 13369"/>
                <a:gd name="connsiteX1" fmla="*/ 7122 w 11245"/>
                <a:gd name="connsiteY1" fmla="*/ 6373 h 13369"/>
                <a:gd name="connsiteX2" fmla="*/ 6122 w 11245"/>
                <a:gd name="connsiteY2" fmla="*/ 4998 h 13369"/>
                <a:gd name="connsiteX3" fmla="*/ 4748 w 11245"/>
                <a:gd name="connsiteY3" fmla="*/ 3998 h 13369"/>
                <a:gd name="connsiteX4" fmla="*/ 4748 w 11245"/>
                <a:gd name="connsiteY4" fmla="*/ 2999 h 13369"/>
                <a:gd name="connsiteX5" fmla="*/ 2499 w 11245"/>
                <a:gd name="connsiteY5" fmla="*/ 0 h 13369"/>
                <a:gd name="connsiteX6" fmla="*/ 0 w 11245"/>
                <a:gd name="connsiteY6" fmla="*/ 1250 h 13369"/>
                <a:gd name="connsiteX7" fmla="*/ 875 w 11245"/>
                <a:gd name="connsiteY7" fmla="*/ 2249 h 13369"/>
                <a:gd name="connsiteX8" fmla="*/ 8871 w 11245"/>
                <a:gd name="connsiteY8" fmla="*/ 13370 h 13369"/>
                <a:gd name="connsiteX9" fmla="*/ 10121 w 11245"/>
                <a:gd name="connsiteY9" fmla="*/ 1337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5" h="13369">
                  <a:moveTo>
                    <a:pt x="11245" y="11995"/>
                  </a:moveTo>
                  <a:lnTo>
                    <a:pt x="7122" y="6373"/>
                  </a:lnTo>
                  <a:lnTo>
                    <a:pt x="6122" y="4998"/>
                  </a:lnTo>
                  <a:cubicBezTo>
                    <a:pt x="5510" y="4948"/>
                    <a:pt x="4985" y="4561"/>
                    <a:pt x="4748" y="3998"/>
                  </a:cubicBezTo>
                  <a:cubicBezTo>
                    <a:pt x="4685" y="3674"/>
                    <a:pt x="4685" y="3324"/>
                    <a:pt x="4748" y="2999"/>
                  </a:cubicBezTo>
                  <a:lnTo>
                    <a:pt x="2499" y="0"/>
                  </a:lnTo>
                  <a:lnTo>
                    <a:pt x="0" y="1250"/>
                  </a:lnTo>
                  <a:lnTo>
                    <a:pt x="875" y="2249"/>
                  </a:lnTo>
                  <a:lnTo>
                    <a:pt x="8871" y="13370"/>
                  </a:lnTo>
                  <a:lnTo>
                    <a:pt x="10121" y="13370"/>
                  </a:lnTo>
                  <a:close/>
                </a:path>
              </a:pathLst>
            </a:custGeom>
            <a:solidFill>
              <a:srgbClr val="000000"/>
            </a:solidFill>
            <a:ln w="12483" cap="flat">
              <a:noFill/>
              <a:prstDash val="solid"/>
              <a:miter/>
            </a:ln>
          </p:spPr>
          <p:txBody>
            <a:bodyPr rtlCol="0" anchor="ctr"/>
            <a:lstStyle/>
            <a:p>
              <a:endParaRPr lang="en-US"/>
            </a:p>
          </p:txBody>
        </p:sp>
        <p:sp>
          <p:nvSpPr>
            <p:cNvPr id="1204" name="Freeform: Shape 1203">
              <a:extLst>
                <a:ext uri="{FF2B5EF4-FFF2-40B4-BE49-F238E27FC236}">
                  <a16:creationId xmlns:a16="http://schemas.microsoft.com/office/drawing/2014/main" id="{953D5A02-1BFC-4731-BCAC-197674E2B061}"/>
                </a:ext>
              </a:extLst>
            </p:cNvPr>
            <p:cNvSpPr/>
            <p:nvPr/>
          </p:nvSpPr>
          <p:spPr>
            <a:xfrm>
              <a:off x="9788801" y="4179340"/>
              <a:ext cx="21491" cy="180927"/>
            </a:xfrm>
            <a:custGeom>
              <a:avLst/>
              <a:gdLst>
                <a:gd name="connsiteX0" fmla="*/ 18242 w 21491"/>
                <a:gd name="connsiteY0" fmla="*/ 14494 h 180927"/>
                <a:gd name="connsiteX1" fmla="*/ 13869 w 21491"/>
                <a:gd name="connsiteY1" fmla="*/ 8996 h 180927"/>
                <a:gd name="connsiteX2" fmla="*/ 12620 w 21491"/>
                <a:gd name="connsiteY2" fmla="*/ 9746 h 180927"/>
                <a:gd name="connsiteX3" fmla="*/ 1299 w 21491"/>
                <a:gd name="connsiteY3" fmla="*/ 5735 h 180927"/>
                <a:gd name="connsiteX4" fmla="*/ 750 w 21491"/>
                <a:gd name="connsiteY4" fmla="*/ 4248 h 180927"/>
                <a:gd name="connsiteX5" fmla="*/ 0 w 21491"/>
                <a:gd name="connsiteY5" fmla="*/ 0 h 180927"/>
                <a:gd name="connsiteX6" fmla="*/ 0 w 21491"/>
                <a:gd name="connsiteY6" fmla="*/ 0 h 180927"/>
                <a:gd name="connsiteX7" fmla="*/ 3498 w 21491"/>
                <a:gd name="connsiteY7" fmla="*/ 170307 h 180927"/>
                <a:gd name="connsiteX8" fmla="*/ 12744 w 21491"/>
                <a:gd name="connsiteY8" fmla="*/ 180928 h 180927"/>
                <a:gd name="connsiteX9" fmla="*/ 18617 w 21491"/>
                <a:gd name="connsiteY9" fmla="*/ 177929 h 180927"/>
                <a:gd name="connsiteX10" fmla="*/ 21491 w 21491"/>
                <a:gd name="connsiteY10" fmla="*/ 169807 h 1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91" h="180927">
                  <a:moveTo>
                    <a:pt x="18242" y="14494"/>
                  </a:moveTo>
                  <a:lnTo>
                    <a:pt x="13869" y="8996"/>
                  </a:lnTo>
                  <a:lnTo>
                    <a:pt x="12620" y="9746"/>
                  </a:lnTo>
                  <a:cubicBezTo>
                    <a:pt x="8384" y="11770"/>
                    <a:pt x="3311" y="9971"/>
                    <a:pt x="1299" y="5735"/>
                  </a:cubicBezTo>
                  <a:cubicBezTo>
                    <a:pt x="1062" y="5260"/>
                    <a:pt x="887" y="4760"/>
                    <a:pt x="750" y="4248"/>
                  </a:cubicBezTo>
                  <a:cubicBezTo>
                    <a:pt x="250" y="2886"/>
                    <a:pt x="0" y="1449"/>
                    <a:pt x="0" y="0"/>
                  </a:cubicBezTo>
                  <a:lnTo>
                    <a:pt x="0" y="0"/>
                  </a:lnTo>
                  <a:lnTo>
                    <a:pt x="3498" y="170307"/>
                  </a:lnTo>
                  <a:cubicBezTo>
                    <a:pt x="3136" y="175780"/>
                    <a:pt x="7272" y="180528"/>
                    <a:pt x="12744" y="180928"/>
                  </a:cubicBezTo>
                  <a:cubicBezTo>
                    <a:pt x="15018" y="180728"/>
                    <a:pt x="17130" y="179653"/>
                    <a:pt x="18617" y="177929"/>
                  </a:cubicBezTo>
                  <a:cubicBezTo>
                    <a:pt x="20504" y="175642"/>
                    <a:pt x="21528" y="172769"/>
                    <a:pt x="21491" y="169807"/>
                  </a:cubicBezTo>
                  <a:close/>
                </a:path>
              </a:pathLst>
            </a:custGeom>
            <a:solidFill>
              <a:srgbClr val="000000"/>
            </a:solidFill>
            <a:ln w="12483" cap="flat">
              <a:noFill/>
              <a:prstDash val="solid"/>
              <a:miter/>
            </a:ln>
          </p:spPr>
          <p:txBody>
            <a:bodyPr rtlCol="0" anchor="ctr"/>
            <a:lstStyle/>
            <a:p>
              <a:endParaRPr lang="en-US"/>
            </a:p>
          </p:txBody>
        </p:sp>
        <p:sp>
          <p:nvSpPr>
            <p:cNvPr id="1205" name="Freeform: Shape 1204">
              <a:extLst>
                <a:ext uri="{FF2B5EF4-FFF2-40B4-BE49-F238E27FC236}">
                  <a16:creationId xmlns:a16="http://schemas.microsoft.com/office/drawing/2014/main" id="{E5741B32-D57D-4254-8029-8C5587E6D52F}"/>
                </a:ext>
              </a:extLst>
            </p:cNvPr>
            <p:cNvSpPr/>
            <p:nvPr/>
          </p:nvSpPr>
          <p:spPr>
            <a:xfrm>
              <a:off x="9805793" y="4186087"/>
              <a:ext cx="1124" cy="1999"/>
            </a:xfrm>
            <a:custGeom>
              <a:avLst/>
              <a:gdLst>
                <a:gd name="connsiteX0" fmla="*/ 1000 w 1124"/>
                <a:gd name="connsiteY0" fmla="*/ 0 h 1999"/>
                <a:gd name="connsiteX1" fmla="*/ 0 w 1124"/>
                <a:gd name="connsiteY1" fmla="*/ 625 h 1999"/>
                <a:gd name="connsiteX2" fmla="*/ 1125 w 1124"/>
                <a:gd name="connsiteY2" fmla="*/ 1999 h 1999"/>
                <a:gd name="connsiteX3" fmla="*/ 1000 w 1124"/>
                <a:gd name="connsiteY3" fmla="*/ 0 h 1999"/>
              </a:gdLst>
              <a:ahLst/>
              <a:cxnLst>
                <a:cxn ang="0">
                  <a:pos x="connsiteX0" y="connsiteY0"/>
                </a:cxn>
                <a:cxn ang="0">
                  <a:pos x="connsiteX1" y="connsiteY1"/>
                </a:cxn>
                <a:cxn ang="0">
                  <a:pos x="connsiteX2" y="connsiteY2"/>
                </a:cxn>
                <a:cxn ang="0">
                  <a:pos x="connsiteX3" y="connsiteY3"/>
                </a:cxn>
              </a:cxnLst>
              <a:rect l="l" t="t" r="r" b="b"/>
              <a:pathLst>
                <a:path w="1124" h="1999">
                  <a:moveTo>
                    <a:pt x="1000" y="0"/>
                  </a:moveTo>
                  <a:lnTo>
                    <a:pt x="0" y="625"/>
                  </a:lnTo>
                  <a:lnTo>
                    <a:pt x="1125" y="1999"/>
                  </a:lnTo>
                  <a:lnTo>
                    <a:pt x="1000" y="0"/>
                  </a:lnTo>
                  <a:close/>
                </a:path>
              </a:pathLst>
            </a:custGeom>
            <a:solidFill>
              <a:srgbClr val="000000"/>
            </a:solidFill>
            <a:ln w="12483" cap="flat">
              <a:noFill/>
              <a:prstDash val="solid"/>
              <a:miter/>
            </a:ln>
          </p:spPr>
          <p:txBody>
            <a:bodyPr rtlCol="0" anchor="ctr"/>
            <a:lstStyle/>
            <a:p>
              <a:endParaRPr lang="en-US"/>
            </a:p>
          </p:txBody>
        </p:sp>
        <p:sp>
          <p:nvSpPr>
            <p:cNvPr id="1206" name="Freeform: Shape 1205">
              <a:extLst>
                <a:ext uri="{FF2B5EF4-FFF2-40B4-BE49-F238E27FC236}">
                  <a16:creationId xmlns:a16="http://schemas.microsoft.com/office/drawing/2014/main" id="{6BF3660E-BEA8-41B3-8ACC-AD274157EC72}"/>
                </a:ext>
              </a:extLst>
            </p:cNvPr>
            <p:cNvSpPr/>
            <p:nvPr/>
          </p:nvSpPr>
          <p:spPr>
            <a:xfrm>
              <a:off x="7479299" y="6865769"/>
              <a:ext cx="4498" cy="6496"/>
            </a:xfrm>
            <a:custGeom>
              <a:avLst/>
              <a:gdLst>
                <a:gd name="connsiteX0" fmla="*/ 0 w 4498"/>
                <a:gd name="connsiteY0" fmla="*/ 1999 h 6496"/>
                <a:gd name="connsiteX1" fmla="*/ 2749 w 4498"/>
                <a:gd name="connsiteY1" fmla="*/ 6497 h 6496"/>
                <a:gd name="connsiteX2" fmla="*/ 4498 w 4498"/>
                <a:gd name="connsiteY2" fmla="*/ 6497 h 6496"/>
                <a:gd name="connsiteX3" fmla="*/ 3498 w 4498"/>
                <a:gd name="connsiteY3" fmla="*/ 0 h 6496"/>
                <a:gd name="connsiteX4" fmla="*/ 0 w 4498"/>
                <a:gd name="connsiteY4" fmla="*/ 1999 h 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 h="6496">
                  <a:moveTo>
                    <a:pt x="0" y="1999"/>
                  </a:moveTo>
                  <a:lnTo>
                    <a:pt x="2749" y="6497"/>
                  </a:lnTo>
                  <a:lnTo>
                    <a:pt x="4498" y="6497"/>
                  </a:lnTo>
                  <a:lnTo>
                    <a:pt x="3498" y="0"/>
                  </a:lnTo>
                  <a:lnTo>
                    <a:pt x="0" y="1999"/>
                  </a:lnTo>
                  <a:close/>
                </a:path>
              </a:pathLst>
            </a:custGeom>
            <a:solidFill>
              <a:srgbClr val="000000"/>
            </a:solidFill>
            <a:ln w="12483" cap="flat">
              <a:noFill/>
              <a:prstDash val="solid"/>
              <a:miter/>
            </a:ln>
          </p:spPr>
          <p:txBody>
            <a:bodyPr rtlCol="0" anchor="ctr"/>
            <a:lstStyle/>
            <a:p>
              <a:endParaRPr lang="en-US"/>
            </a:p>
          </p:txBody>
        </p:sp>
        <p:sp>
          <p:nvSpPr>
            <p:cNvPr id="1207" name="Freeform: Shape 1206">
              <a:extLst>
                <a:ext uri="{FF2B5EF4-FFF2-40B4-BE49-F238E27FC236}">
                  <a16:creationId xmlns:a16="http://schemas.microsoft.com/office/drawing/2014/main" id="{5AD502F5-BFF6-4985-AA8A-F6A1184D901A}"/>
                </a:ext>
              </a:extLst>
            </p:cNvPr>
            <p:cNvSpPr/>
            <p:nvPr/>
          </p:nvSpPr>
          <p:spPr>
            <a:xfrm>
              <a:off x="7464055" y="6860896"/>
              <a:ext cx="14243" cy="11370"/>
            </a:xfrm>
            <a:custGeom>
              <a:avLst/>
              <a:gdLst>
                <a:gd name="connsiteX0" fmla="*/ 750 w 14243"/>
                <a:gd name="connsiteY0" fmla="*/ 3374 h 11370"/>
                <a:gd name="connsiteX1" fmla="*/ 0 w 14243"/>
                <a:gd name="connsiteY1" fmla="*/ 0 h 11370"/>
                <a:gd name="connsiteX2" fmla="*/ 0 w 14243"/>
                <a:gd name="connsiteY2" fmla="*/ 750 h 11370"/>
                <a:gd name="connsiteX3" fmla="*/ 1749 w 14243"/>
                <a:gd name="connsiteY3" fmla="*/ 11370 h 11370"/>
                <a:gd name="connsiteX4" fmla="*/ 14244 w 14243"/>
                <a:gd name="connsiteY4" fmla="*/ 11370 h 11370"/>
                <a:gd name="connsiteX5" fmla="*/ 12619 w 14243"/>
                <a:gd name="connsiteY5" fmla="*/ 8497 h 11370"/>
                <a:gd name="connsiteX6" fmla="*/ 1349 w 14243"/>
                <a:gd name="connsiteY6" fmla="*/ 4873 h 11370"/>
                <a:gd name="connsiteX7" fmla="*/ 750 w 14243"/>
                <a:gd name="connsiteY7" fmla="*/ 3374 h 1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3" h="11370">
                  <a:moveTo>
                    <a:pt x="750" y="3374"/>
                  </a:moveTo>
                  <a:cubicBezTo>
                    <a:pt x="387" y="2274"/>
                    <a:pt x="125" y="1149"/>
                    <a:pt x="0" y="0"/>
                  </a:cubicBezTo>
                  <a:cubicBezTo>
                    <a:pt x="0" y="0"/>
                    <a:pt x="0" y="0"/>
                    <a:pt x="0" y="750"/>
                  </a:cubicBezTo>
                  <a:lnTo>
                    <a:pt x="1749" y="11370"/>
                  </a:lnTo>
                  <a:lnTo>
                    <a:pt x="14244" y="11370"/>
                  </a:lnTo>
                  <a:lnTo>
                    <a:pt x="12619" y="8497"/>
                  </a:lnTo>
                  <a:cubicBezTo>
                    <a:pt x="8509" y="10608"/>
                    <a:pt x="3461" y="8984"/>
                    <a:pt x="1349" y="4873"/>
                  </a:cubicBezTo>
                  <a:cubicBezTo>
                    <a:pt x="1099" y="4398"/>
                    <a:pt x="899" y="3899"/>
                    <a:pt x="750" y="3374"/>
                  </a:cubicBezTo>
                  <a:close/>
                </a:path>
              </a:pathLst>
            </a:custGeom>
            <a:solidFill>
              <a:srgbClr val="000000"/>
            </a:solidFill>
            <a:ln w="12483" cap="flat">
              <a:noFill/>
              <a:prstDash val="solid"/>
              <a:miter/>
            </a:ln>
          </p:spPr>
          <p:txBody>
            <a:bodyPr rtlCol="0" anchor="ctr"/>
            <a:lstStyle/>
            <a:p>
              <a:endParaRPr lang="en-US"/>
            </a:p>
          </p:txBody>
        </p:sp>
        <p:sp>
          <p:nvSpPr>
            <p:cNvPr id="1208" name="Freeform: Shape 1207">
              <a:extLst>
                <a:ext uri="{FF2B5EF4-FFF2-40B4-BE49-F238E27FC236}">
                  <a16:creationId xmlns:a16="http://schemas.microsoft.com/office/drawing/2014/main" id="{A0B69CCC-44D9-443D-8028-071BDE050A5C}"/>
                </a:ext>
              </a:extLst>
            </p:cNvPr>
            <p:cNvSpPr/>
            <p:nvPr/>
          </p:nvSpPr>
          <p:spPr>
            <a:xfrm>
              <a:off x="11281156" y="2023825"/>
              <a:ext cx="224028" cy="122826"/>
            </a:xfrm>
            <a:custGeom>
              <a:avLst/>
              <a:gdLst>
                <a:gd name="connsiteX0" fmla="*/ 11745 w 224028"/>
                <a:gd name="connsiteY0" fmla="*/ 118703 h 122826"/>
                <a:gd name="connsiteX1" fmla="*/ 12370 w 224028"/>
                <a:gd name="connsiteY1" fmla="*/ 122826 h 122826"/>
                <a:gd name="connsiteX2" fmla="*/ 210284 w 224028"/>
                <a:gd name="connsiteY2" fmla="*/ 22866 h 122826"/>
                <a:gd name="connsiteX3" fmla="*/ 211534 w 224028"/>
                <a:gd name="connsiteY3" fmla="*/ 22866 h 122826"/>
                <a:gd name="connsiteX4" fmla="*/ 213283 w 224028"/>
                <a:gd name="connsiteY4" fmla="*/ 22866 h 122826"/>
                <a:gd name="connsiteX5" fmla="*/ 215032 w 224028"/>
                <a:gd name="connsiteY5" fmla="*/ 22866 h 122826"/>
                <a:gd name="connsiteX6" fmla="*/ 216656 w 224028"/>
                <a:gd name="connsiteY6" fmla="*/ 22866 h 122826"/>
                <a:gd name="connsiteX7" fmla="*/ 218281 w 224028"/>
                <a:gd name="connsiteY7" fmla="*/ 23866 h 122826"/>
                <a:gd name="connsiteX8" fmla="*/ 219530 w 224028"/>
                <a:gd name="connsiteY8" fmla="*/ 24740 h 122826"/>
                <a:gd name="connsiteX9" fmla="*/ 220155 w 224028"/>
                <a:gd name="connsiteY9" fmla="*/ 24740 h 122826"/>
                <a:gd name="connsiteX10" fmla="*/ 224028 w 224028"/>
                <a:gd name="connsiteY10" fmla="*/ 22866 h 122826"/>
                <a:gd name="connsiteX11" fmla="*/ 219905 w 224028"/>
                <a:gd name="connsiteY11" fmla="*/ 18618 h 122826"/>
                <a:gd name="connsiteX12" fmla="*/ 218781 w 224028"/>
                <a:gd name="connsiteY12" fmla="*/ 3374 h 122826"/>
                <a:gd name="connsiteX13" fmla="*/ 223528 w 224028"/>
                <a:gd name="connsiteY13" fmla="*/ 0 h 122826"/>
                <a:gd name="connsiteX14" fmla="*/ 222154 w 224028"/>
                <a:gd name="connsiteY14" fmla="*/ 0 h 122826"/>
                <a:gd name="connsiteX15" fmla="*/ 0 w 224028"/>
                <a:gd name="connsiteY15" fmla="*/ 112455 h 122826"/>
                <a:gd name="connsiteX16" fmla="*/ 11258 w 224028"/>
                <a:gd name="connsiteY16" fmla="*/ 117128 h 122826"/>
                <a:gd name="connsiteX17" fmla="*/ 11745 w 224028"/>
                <a:gd name="connsiteY17" fmla="*/ 118703 h 12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028" h="122826">
                  <a:moveTo>
                    <a:pt x="11745" y="118703"/>
                  </a:moveTo>
                  <a:cubicBezTo>
                    <a:pt x="12132" y="120040"/>
                    <a:pt x="12345" y="121427"/>
                    <a:pt x="12370" y="122826"/>
                  </a:cubicBezTo>
                  <a:lnTo>
                    <a:pt x="210284" y="22866"/>
                  </a:lnTo>
                  <a:cubicBezTo>
                    <a:pt x="210284" y="22866"/>
                    <a:pt x="211034" y="22866"/>
                    <a:pt x="211534" y="22866"/>
                  </a:cubicBezTo>
                  <a:cubicBezTo>
                    <a:pt x="212108" y="22741"/>
                    <a:pt x="212708" y="22741"/>
                    <a:pt x="213283" y="22866"/>
                  </a:cubicBezTo>
                  <a:lnTo>
                    <a:pt x="215032" y="22866"/>
                  </a:lnTo>
                  <a:cubicBezTo>
                    <a:pt x="215569" y="22791"/>
                    <a:pt x="216119" y="22791"/>
                    <a:pt x="216656" y="22866"/>
                  </a:cubicBezTo>
                  <a:cubicBezTo>
                    <a:pt x="217244" y="23128"/>
                    <a:pt x="217781" y="23466"/>
                    <a:pt x="218281" y="23866"/>
                  </a:cubicBezTo>
                  <a:lnTo>
                    <a:pt x="219530" y="24740"/>
                  </a:lnTo>
                  <a:lnTo>
                    <a:pt x="220155" y="24740"/>
                  </a:lnTo>
                  <a:lnTo>
                    <a:pt x="224028" y="22866"/>
                  </a:lnTo>
                  <a:lnTo>
                    <a:pt x="219905" y="18618"/>
                  </a:lnTo>
                  <a:cubicBezTo>
                    <a:pt x="216106" y="14382"/>
                    <a:pt x="215644" y="8122"/>
                    <a:pt x="218781" y="3374"/>
                  </a:cubicBezTo>
                  <a:cubicBezTo>
                    <a:pt x="219905" y="1712"/>
                    <a:pt x="221592" y="512"/>
                    <a:pt x="223528" y="0"/>
                  </a:cubicBezTo>
                  <a:lnTo>
                    <a:pt x="222154" y="0"/>
                  </a:lnTo>
                  <a:lnTo>
                    <a:pt x="0" y="112455"/>
                  </a:lnTo>
                  <a:cubicBezTo>
                    <a:pt x="4398" y="110631"/>
                    <a:pt x="9446" y="112730"/>
                    <a:pt x="11258" y="117128"/>
                  </a:cubicBezTo>
                  <a:cubicBezTo>
                    <a:pt x="11470" y="117628"/>
                    <a:pt x="11632" y="118165"/>
                    <a:pt x="11745" y="118703"/>
                  </a:cubicBezTo>
                  <a:close/>
                </a:path>
              </a:pathLst>
            </a:custGeom>
            <a:solidFill>
              <a:srgbClr val="000000"/>
            </a:solidFill>
            <a:ln w="12483" cap="flat">
              <a:noFill/>
              <a:prstDash val="solid"/>
              <a:miter/>
            </a:ln>
          </p:spPr>
          <p:txBody>
            <a:bodyPr rtlCol="0" anchor="ctr"/>
            <a:lstStyle/>
            <a:p>
              <a:endParaRPr lang="en-US"/>
            </a:p>
          </p:txBody>
        </p:sp>
        <p:sp>
          <p:nvSpPr>
            <p:cNvPr id="1209" name="Freeform: Shape 1208">
              <a:extLst>
                <a:ext uri="{FF2B5EF4-FFF2-40B4-BE49-F238E27FC236}">
                  <a16:creationId xmlns:a16="http://schemas.microsoft.com/office/drawing/2014/main" id="{83E050D2-0AC4-4AF4-90B7-2025E1E1057A}"/>
                </a:ext>
              </a:extLst>
            </p:cNvPr>
            <p:cNvSpPr/>
            <p:nvPr/>
          </p:nvSpPr>
          <p:spPr>
            <a:xfrm>
              <a:off x="8539662" y="3693034"/>
              <a:ext cx="39689" cy="273890"/>
            </a:xfrm>
            <a:custGeom>
              <a:avLst/>
              <a:gdLst>
                <a:gd name="connsiteX0" fmla="*/ 18795 w 39689"/>
                <a:gd name="connsiteY0" fmla="*/ 17118 h 273890"/>
                <a:gd name="connsiteX1" fmla="*/ 13173 w 39689"/>
                <a:gd name="connsiteY1" fmla="*/ 9496 h 273890"/>
                <a:gd name="connsiteX2" fmla="*/ 11923 w 39689"/>
                <a:gd name="connsiteY2" fmla="*/ 9496 h 273890"/>
                <a:gd name="connsiteX3" fmla="*/ 778 w 39689"/>
                <a:gd name="connsiteY3" fmla="*/ 5498 h 273890"/>
                <a:gd name="connsiteX4" fmla="*/ 178 w 39689"/>
                <a:gd name="connsiteY4" fmla="*/ 3748 h 273890"/>
                <a:gd name="connsiteX5" fmla="*/ 178 w 39689"/>
                <a:gd name="connsiteY5" fmla="*/ 0 h 273890"/>
                <a:gd name="connsiteX6" fmla="*/ 178 w 39689"/>
                <a:gd name="connsiteY6" fmla="*/ 0 h 273890"/>
                <a:gd name="connsiteX7" fmla="*/ 21669 w 39689"/>
                <a:gd name="connsiteY7" fmla="*/ 264144 h 273890"/>
                <a:gd name="connsiteX8" fmla="*/ 31165 w 39689"/>
                <a:gd name="connsiteY8" fmla="*/ 273891 h 273890"/>
                <a:gd name="connsiteX9" fmla="*/ 31540 w 39689"/>
                <a:gd name="connsiteY9" fmla="*/ 273891 h 273890"/>
                <a:gd name="connsiteX10" fmla="*/ 36537 w 39689"/>
                <a:gd name="connsiteY10" fmla="*/ 271142 h 273890"/>
                <a:gd name="connsiteX11" fmla="*/ 39661 w 39689"/>
                <a:gd name="connsiteY11" fmla="*/ 262021 h 27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89" h="273890">
                  <a:moveTo>
                    <a:pt x="18795" y="17118"/>
                  </a:moveTo>
                  <a:lnTo>
                    <a:pt x="13173" y="9496"/>
                  </a:lnTo>
                  <a:lnTo>
                    <a:pt x="11923" y="9496"/>
                  </a:lnTo>
                  <a:cubicBezTo>
                    <a:pt x="7737" y="11470"/>
                    <a:pt x="2752" y="9684"/>
                    <a:pt x="778" y="5498"/>
                  </a:cubicBezTo>
                  <a:cubicBezTo>
                    <a:pt x="515" y="4935"/>
                    <a:pt x="315" y="4348"/>
                    <a:pt x="178" y="3748"/>
                  </a:cubicBezTo>
                  <a:cubicBezTo>
                    <a:pt x="-59" y="2511"/>
                    <a:pt x="-59" y="1237"/>
                    <a:pt x="178" y="0"/>
                  </a:cubicBezTo>
                  <a:cubicBezTo>
                    <a:pt x="178" y="0"/>
                    <a:pt x="178" y="0"/>
                    <a:pt x="178" y="0"/>
                  </a:cubicBezTo>
                  <a:lnTo>
                    <a:pt x="21669" y="264144"/>
                  </a:lnTo>
                  <a:cubicBezTo>
                    <a:pt x="21594" y="269455"/>
                    <a:pt x="25842" y="273828"/>
                    <a:pt x="31165" y="273891"/>
                  </a:cubicBezTo>
                  <a:cubicBezTo>
                    <a:pt x="31290" y="273891"/>
                    <a:pt x="31415" y="273891"/>
                    <a:pt x="31540" y="273891"/>
                  </a:cubicBezTo>
                  <a:cubicBezTo>
                    <a:pt x="33464" y="273566"/>
                    <a:pt x="35225" y="272604"/>
                    <a:pt x="36537" y="271142"/>
                  </a:cubicBezTo>
                  <a:cubicBezTo>
                    <a:pt x="38762" y="268643"/>
                    <a:pt x="39886" y="265357"/>
                    <a:pt x="39661" y="262021"/>
                  </a:cubicBezTo>
                  <a:close/>
                </a:path>
              </a:pathLst>
            </a:custGeom>
            <a:solidFill>
              <a:srgbClr val="000000"/>
            </a:solidFill>
            <a:ln w="12483" cap="flat">
              <a:noFill/>
              <a:prstDash val="solid"/>
              <a:miter/>
            </a:ln>
          </p:spPr>
          <p:txBody>
            <a:bodyPr rtlCol="0" anchor="ctr"/>
            <a:lstStyle/>
            <a:p>
              <a:endParaRPr lang="en-US"/>
            </a:p>
          </p:txBody>
        </p:sp>
        <p:sp>
          <p:nvSpPr>
            <p:cNvPr id="1210" name="Freeform: Shape 1209">
              <a:extLst>
                <a:ext uri="{FF2B5EF4-FFF2-40B4-BE49-F238E27FC236}">
                  <a16:creationId xmlns:a16="http://schemas.microsoft.com/office/drawing/2014/main" id="{A642C41E-2ADA-42AF-BD74-452C69D53FFA}"/>
                </a:ext>
              </a:extLst>
            </p:cNvPr>
            <p:cNvSpPr/>
            <p:nvPr/>
          </p:nvSpPr>
          <p:spPr>
            <a:xfrm>
              <a:off x="8555958" y="3700031"/>
              <a:ext cx="1999" cy="3623"/>
            </a:xfrm>
            <a:custGeom>
              <a:avLst/>
              <a:gdLst>
                <a:gd name="connsiteX0" fmla="*/ 1624 w 1999"/>
                <a:gd name="connsiteY0" fmla="*/ 0 h 3623"/>
                <a:gd name="connsiteX1" fmla="*/ 0 w 1999"/>
                <a:gd name="connsiteY1" fmla="*/ 875 h 3623"/>
                <a:gd name="connsiteX2" fmla="*/ 1999 w 1999"/>
                <a:gd name="connsiteY2" fmla="*/ 3624 h 3623"/>
                <a:gd name="connsiteX3" fmla="*/ 1624 w 1999"/>
                <a:gd name="connsiteY3" fmla="*/ 0 h 3623"/>
              </a:gdLst>
              <a:ahLst/>
              <a:cxnLst>
                <a:cxn ang="0">
                  <a:pos x="connsiteX0" y="connsiteY0"/>
                </a:cxn>
                <a:cxn ang="0">
                  <a:pos x="connsiteX1" y="connsiteY1"/>
                </a:cxn>
                <a:cxn ang="0">
                  <a:pos x="connsiteX2" y="connsiteY2"/>
                </a:cxn>
                <a:cxn ang="0">
                  <a:pos x="connsiteX3" y="connsiteY3"/>
                </a:cxn>
              </a:cxnLst>
              <a:rect l="l" t="t" r="r" b="b"/>
              <a:pathLst>
                <a:path w="1999" h="3623">
                  <a:moveTo>
                    <a:pt x="1624" y="0"/>
                  </a:moveTo>
                  <a:lnTo>
                    <a:pt x="0" y="875"/>
                  </a:lnTo>
                  <a:lnTo>
                    <a:pt x="1999" y="3624"/>
                  </a:lnTo>
                  <a:lnTo>
                    <a:pt x="1624" y="0"/>
                  </a:lnTo>
                  <a:close/>
                </a:path>
              </a:pathLst>
            </a:custGeom>
            <a:solidFill>
              <a:srgbClr val="000000"/>
            </a:solidFill>
            <a:ln w="12483" cap="flat">
              <a:noFill/>
              <a:prstDash val="solid"/>
              <a:miter/>
            </a:ln>
          </p:spPr>
          <p:txBody>
            <a:bodyPr rtlCol="0" anchor="ctr"/>
            <a:lstStyle/>
            <a:p>
              <a:endParaRPr lang="en-US"/>
            </a:p>
          </p:txBody>
        </p:sp>
        <p:sp>
          <p:nvSpPr>
            <p:cNvPr id="1211" name="Freeform: Shape 1210">
              <a:extLst>
                <a:ext uri="{FF2B5EF4-FFF2-40B4-BE49-F238E27FC236}">
                  <a16:creationId xmlns:a16="http://schemas.microsoft.com/office/drawing/2014/main" id="{F48D308C-21FF-4C5A-8CCB-13ED5208F705}"/>
                </a:ext>
              </a:extLst>
            </p:cNvPr>
            <p:cNvSpPr/>
            <p:nvPr/>
          </p:nvSpPr>
          <p:spPr>
            <a:xfrm>
              <a:off x="8666535" y="4859069"/>
              <a:ext cx="302869" cy="431452"/>
            </a:xfrm>
            <a:custGeom>
              <a:avLst/>
              <a:gdLst>
                <a:gd name="connsiteX0" fmla="*/ 302869 w 302869"/>
                <a:gd name="connsiteY0" fmla="*/ 429204 h 431452"/>
                <a:gd name="connsiteX1" fmla="*/ 2999 w 302869"/>
                <a:gd name="connsiteY1" fmla="*/ 0 h 431452"/>
                <a:gd name="connsiteX2" fmla="*/ 0 w 302869"/>
                <a:gd name="connsiteY2" fmla="*/ 1624 h 431452"/>
                <a:gd name="connsiteX3" fmla="*/ 299870 w 302869"/>
                <a:gd name="connsiteY3" fmla="*/ 431453 h 431452"/>
                <a:gd name="connsiteX4" fmla="*/ 299870 w 302869"/>
                <a:gd name="connsiteY4" fmla="*/ 431453 h 431452"/>
                <a:gd name="connsiteX5" fmla="*/ 300745 w 302869"/>
                <a:gd name="connsiteY5" fmla="*/ 429954 h 43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869" h="431452">
                  <a:moveTo>
                    <a:pt x="302869" y="429204"/>
                  </a:moveTo>
                  <a:lnTo>
                    <a:pt x="2999" y="0"/>
                  </a:lnTo>
                  <a:lnTo>
                    <a:pt x="0" y="1624"/>
                  </a:lnTo>
                  <a:lnTo>
                    <a:pt x="299870" y="431453"/>
                  </a:lnTo>
                  <a:lnTo>
                    <a:pt x="299870" y="431453"/>
                  </a:lnTo>
                  <a:cubicBezTo>
                    <a:pt x="300121" y="430928"/>
                    <a:pt x="300408" y="430428"/>
                    <a:pt x="300745" y="429954"/>
                  </a:cubicBezTo>
                  <a:close/>
                </a:path>
              </a:pathLst>
            </a:custGeom>
            <a:solidFill>
              <a:srgbClr val="000000"/>
            </a:solidFill>
            <a:ln w="12483" cap="flat">
              <a:noFill/>
              <a:prstDash val="solid"/>
              <a:miter/>
            </a:ln>
          </p:spPr>
          <p:txBody>
            <a:bodyPr rtlCol="0" anchor="ctr"/>
            <a:lstStyle/>
            <a:p>
              <a:endParaRPr lang="en-US"/>
            </a:p>
          </p:txBody>
        </p:sp>
        <p:sp>
          <p:nvSpPr>
            <p:cNvPr id="1212" name="Freeform: Shape 1211">
              <a:extLst>
                <a:ext uri="{FF2B5EF4-FFF2-40B4-BE49-F238E27FC236}">
                  <a16:creationId xmlns:a16="http://schemas.microsoft.com/office/drawing/2014/main" id="{0271C97C-D1C5-4111-91FC-18D8E3D231D7}"/>
                </a:ext>
              </a:extLst>
            </p:cNvPr>
            <p:cNvSpPr/>
            <p:nvPr/>
          </p:nvSpPr>
          <p:spPr>
            <a:xfrm>
              <a:off x="11386235" y="2157896"/>
              <a:ext cx="160555" cy="167683"/>
            </a:xfrm>
            <a:custGeom>
              <a:avLst/>
              <a:gdLst>
                <a:gd name="connsiteX0" fmla="*/ 160556 w 160555"/>
                <a:gd name="connsiteY0" fmla="*/ 164934 h 167683"/>
                <a:gd name="connsiteX1" fmla="*/ 750 w 160555"/>
                <a:gd name="connsiteY1" fmla="*/ 0 h 167683"/>
                <a:gd name="connsiteX2" fmla="*/ 0 w 160555"/>
                <a:gd name="connsiteY2" fmla="*/ 0 h 167683"/>
                <a:gd name="connsiteX3" fmla="*/ 0 w 160555"/>
                <a:gd name="connsiteY3" fmla="*/ 3873 h 167683"/>
                <a:gd name="connsiteX4" fmla="*/ 158681 w 160555"/>
                <a:gd name="connsiteY4" fmla="*/ 167683 h 167683"/>
                <a:gd name="connsiteX5" fmla="*/ 158681 w 160555"/>
                <a:gd name="connsiteY5" fmla="*/ 166683 h 167683"/>
                <a:gd name="connsiteX6" fmla="*/ 158681 w 160555"/>
                <a:gd name="connsiteY6" fmla="*/ 166683 h 167683"/>
                <a:gd name="connsiteX7" fmla="*/ 158681 w 160555"/>
                <a:gd name="connsiteY7" fmla="*/ 166683 h 167683"/>
                <a:gd name="connsiteX8" fmla="*/ 158681 w 160555"/>
                <a:gd name="connsiteY8" fmla="*/ 166683 h 167683"/>
                <a:gd name="connsiteX9" fmla="*/ 158681 w 160555"/>
                <a:gd name="connsiteY9" fmla="*/ 166683 h 16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55" h="167683">
                  <a:moveTo>
                    <a:pt x="160556" y="164934"/>
                  </a:moveTo>
                  <a:lnTo>
                    <a:pt x="750" y="0"/>
                  </a:lnTo>
                  <a:lnTo>
                    <a:pt x="0" y="0"/>
                  </a:lnTo>
                  <a:lnTo>
                    <a:pt x="0" y="3873"/>
                  </a:lnTo>
                  <a:lnTo>
                    <a:pt x="158681" y="167683"/>
                  </a:lnTo>
                  <a:lnTo>
                    <a:pt x="158681" y="166683"/>
                  </a:lnTo>
                  <a:lnTo>
                    <a:pt x="158681" y="166683"/>
                  </a:lnTo>
                  <a:cubicBezTo>
                    <a:pt x="158681" y="166683"/>
                    <a:pt x="158681" y="166683"/>
                    <a:pt x="158681" y="166683"/>
                  </a:cubicBezTo>
                  <a:lnTo>
                    <a:pt x="158681" y="166683"/>
                  </a:lnTo>
                  <a:lnTo>
                    <a:pt x="158681" y="166683"/>
                  </a:lnTo>
                  <a:close/>
                </a:path>
              </a:pathLst>
            </a:custGeom>
            <a:solidFill>
              <a:srgbClr val="000000"/>
            </a:solidFill>
            <a:ln w="12483" cap="flat">
              <a:noFill/>
              <a:prstDash val="solid"/>
              <a:miter/>
            </a:ln>
          </p:spPr>
          <p:txBody>
            <a:bodyPr rtlCol="0" anchor="ctr"/>
            <a:lstStyle/>
            <a:p>
              <a:endParaRPr lang="en-US"/>
            </a:p>
          </p:txBody>
        </p:sp>
        <p:sp>
          <p:nvSpPr>
            <p:cNvPr id="1213" name="Freeform: Shape 1212">
              <a:extLst>
                <a:ext uri="{FF2B5EF4-FFF2-40B4-BE49-F238E27FC236}">
                  <a16:creationId xmlns:a16="http://schemas.microsoft.com/office/drawing/2014/main" id="{545ECE3C-F056-493D-9B71-48CEEB1F606C}"/>
                </a:ext>
              </a:extLst>
            </p:cNvPr>
            <p:cNvSpPr/>
            <p:nvPr/>
          </p:nvSpPr>
          <p:spPr>
            <a:xfrm>
              <a:off x="11493189" y="2048440"/>
              <a:ext cx="25988" cy="29113"/>
            </a:xfrm>
            <a:custGeom>
              <a:avLst/>
              <a:gdLst>
                <a:gd name="connsiteX0" fmla="*/ 25989 w 25988"/>
                <a:gd name="connsiteY0" fmla="*/ 19117 h 29113"/>
                <a:gd name="connsiteX1" fmla="*/ 8121 w 25988"/>
                <a:gd name="connsiteY1" fmla="*/ 875 h 29113"/>
                <a:gd name="connsiteX2" fmla="*/ 7497 w 25988"/>
                <a:gd name="connsiteY2" fmla="*/ 875 h 29113"/>
                <a:gd name="connsiteX3" fmla="*/ 6247 w 25988"/>
                <a:gd name="connsiteY3" fmla="*/ 0 h 29113"/>
                <a:gd name="connsiteX4" fmla="*/ 9996 w 25988"/>
                <a:gd name="connsiteY4" fmla="*/ 4998 h 29113"/>
                <a:gd name="connsiteX5" fmla="*/ 5123 w 25988"/>
                <a:gd name="connsiteY5" fmla="*/ 19117 h 29113"/>
                <a:gd name="connsiteX6" fmla="*/ 0 w 25988"/>
                <a:gd name="connsiteY6" fmla="*/ 21616 h 29113"/>
                <a:gd name="connsiteX7" fmla="*/ 7372 w 25988"/>
                <a:gd name="connsiteY7" fmla="*/ 29113 h 29113"/>
                <a:gd name="connsiteX8" fmla="*/ 20991 w 25988"/>
                <a:gd name="connsiteY8" fmla="*/ 22366 h 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8" h="29113">
                  <a:moveTo>
                    <a:pt x="25989" y="19117"/>
                  </a:moveTo>
                  <a:lnTo>
                    <a:pt x="8121" y="875"/>
                  </a:lnTo>
                  <a:lnTo>
                    <a:pt x="7497" y="875"/>
                  </a:lnTo>
                  <a:lnTo>
                    <a:pt x="6247" y="0"/>
                  </a:lnTo>
                  <a:cubicBezTo>
                    <a:pt x="7959" y="1275"/>
                    <a:pt x="9258" y="2999"/>
                    <a:pt x="9996" y="4998"/>
                  </a:cubicBezTo>
                  <a:cubicBezTo>
                    <a:pt x="11957" y="10258"/>
                    <a:pt x="9921" y="16181"/>
                    <a:pt x="5123" y="19117"/>
                  </a:cubicBezTo>
                  <a:lnTo>
                    <a:pt x="0" y="21616"/>
                  </a:lnTo>
                  <a:lnTo>
                    <a:pt x="7372" y="29113"/>
                  </a:lnTo>
                  <a:lnTo>
                    <a:pt x="20991" y="22366"/>
                  </a:lnTo>
                  <a:close/>
                </a:path>
              </a:pathLst>
            </a:custGeom>
            <a:solidFill>
              <a:srgbClr val="000000"/>
            </a:solidFill>
            <a:ln w="12483" cap="flat">
              <a:noFill/>
              <a:prstDash val="solid"/>
              <a:miter/>
            </a:ln>
          </p:spPr>
          <p:txBody>
            <a:bodyPr rtlCol="0" anchor="ctr"/>
            <a:lstStyle/>
            <a:p>
              <a:endParaRPr lang="en-US"/>
            </a:p>
          </p:txBody>
        </p:sp>
        <p:sp>
          <p:nvSpPr>
            <p:cNvPr id="1214" name="Freeform: Shape 1213">
              <a:extLst>
                <a:ext uri="{FF2B5EF4-FFF2-40B4-BE49-F238E27FC236}">
                  <a16:creationId xmlns:a16="http://schemas.microsoft.com/office/drawing/2014/main" id="{6C19822F-D89C-4A88-AB58-64036FABC9B2}"/>
                </a:ext>
              </a:extLst>
            </p:cNvPr>
            <p:cNvSpPr/>
            <p:nvPr/>
          </p:nvSpPr>
          <p:spPr>
            <a:xfrm>
              <a:off x="11040760" y="2297216"/>
              <a:ext cx="23989" cy="26489"/>
            </a:xfrm>
            <a:custGeom>
              <a:avLst/>
              <a:gdLst>
                <a:gd name="connsiteX0" fmla="*/ 125 w 23989"/>
                <a:gd name="connsiteY0" fmla="*/ 125 h 26489"/>
                <a:gd name="connsiteX1" fmla="*/ 0 w 23989"/>
                <a:gd name="connsiteY1" fmla="*/ 4498 h 26489"/>
                <a:gd name="connsiteX2" fmla="*/ 20741 w 23989"/>
                <a:gd name="connsiteY2" fmla="*/ 26490 h 26489"/>
                <a:gd name="connsiteX3" fmla="*/ 23989 w 23989"/>
                <a:gd name="connsiteY3" fmla="*/ 24865 h 26489"/>
                <a:gd name="connsiteX4" fmla="*/ 625 w 23989"/>
                <a:gd name="connsiteY4" fmla="*/ 0 h 26489"/>
                <a:gd name="connsiteX5" fmla="*/ 125 w 23989"/>
                <a:gd name="connsiteY5" fmla="*/ 125 h 2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9" h="26489">
                  <a:moveTo>
                    <a:pt x="125" y="125"/>
                  </a:moveTo>
                  <a:lnTo>
                    <a:pt x="0" y="4498"/>
                  </a:lnTo>
                  <a:lnTo>
                    <a:pt x="20741" y="26490"/>
                  </a:lnTo>
                  <a:lnTo>
                    <a:pt x="23989" y="24865"/>
                  </a:lnTo>
                  <a:lnTo>
                    <a:pt x="625" y="0"/>
                  </a:lnTo>
                  <a:lnTo>
                    <a:pt x="125" y="125"/>
                  </a:lnTo>
                  <a:close/>
                </a:path>
              </a:pathLst>
            </a:custGeom>
            <a:solidFill>
              <a:srgbClr val="000000"/>
            </a:solidFill>
            <a:ln w="12483" cap="flat">
              <a:noFill/>
              <a:prstDash val="solid"/>
              <a:miter/>
            </a:ln>
          </p:spPr>
          <p:txBody>
            <a:bodyPr rtlCol="0" anchor="ctr"/>
            <a:lstStyle/>
            <a:p>
              <a:endParaRPr lang="en-US"/>
            </a:p>
          </p:txBody>
        </p:sp>
        <p:sp>
          <p:nvSpPr>
            <p:cNvPr id="1215" name="Freeform: Shape 1214">
              <a:extLst>
                <a:ext uri="{FF2B5EF4-FFF2-40B4-BE49-F238E27FC236}">
                  <a16:creationId xmlns:a16="http://schemas.microsoft.com/office/drawing/2014/main" id="{45B14D25-1E1C-4D6E-BE23-E790B065D00E}"/>
                </a:ext>
              </a:extLst>
            </p:cNvPr>
            <p:cNvSpPr/>
            <p:nvPr/>
          </p:nvSpPr>
          <p:spPr>
            <a:xfrm>
              <a:off x="11985226" y="1273999"/>
              <a:ext cx="19616" cy="32861"/>
            </a:xfrm>
            <a:custGeom>
              <a:avLst/>
              <a:gdLst>
                <a:gd name="connsiteX0" fmla="*/ 18742 w 19616"/>
                <a:gd name="connsiteY0" fmla="*/ 23990 h 32861"/>
                <a:gd name="connsiteX1" fmla="*/ 19617 w 19616"/>
                <a:gd name="connsiteY1" fmla="*/ 12745 h 32861"/>
                <a:gd name="connsiteX2" fmla="*/ 17867 w 19616"/>
                <a:gd name="connsiteY2" fmla="*/ 11121 h 32861"/>
                <a:gd name="connsiteX3" fmla="*/ 14744 w 19616"/>
                <a:gd name="connsiteY3" fmla="*/ 12620 h 32861"/>
                <a:gd name="connsiteX4" fmla="*/ 3374 w 19616"/>
                <a:gd name="connsiteY4" fmla="*/ 7763 h 32861"/>
                <a:gd name="connsiteX5" fmla="*/ 2999 w 19616"/>
                <a:gd name="connsiteY5" fmla="*/ 6622 h 32861"/>
                <a:gd name="connsiteX6" fmla="*/ 2999 w 19616"/>
                <a:gd name="connsiteY6" fmla="*/ 0 h 32861"/>
                <a:gd name="connsiteX7" fmla="*/ 2999 w 19616"/>
                <a:gd name="connsiteY7" fmla="*/ 1499 h 32861"/>
                <a:gd name="connsiteX8" fmla="*/ 0 w 19616"/>
                <a:gd name="connsiteY8" fmla="*/ 32862 h 32861"/>
                <a:gd name="connsiteX9" fmla="*/ 4998 w 19616"/>
                <a:gd name="connsiteY9" fmla="*/ 30363 h 3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16" h="32861">
                  <a:moveTo>
                    <a:pt x="18742" y="23990"/>
                  </a:moveTo>
                  <a:lnTo>
                    <a:pt x="19617" y="12745"/>
                  </a:lnTo>
                  <a:lnTo>
                    <a:pt x="17867" y="11121"/>
                  </a:lnTo>
                  <a:lnTo>
                    <a:pt x="14744" y="12620"/>
                  </a:lnTo>
                  <a:cubicBezTo>
                    <a:pt x="10259" y="14420"/>
                    <a:pt x="5173" y="12245"/>
                    <a:pt x="3374" y="7763"/>
                  </a:cubicBezTo>
                  <a:cubicBezTo>
                    <a:pt x="3224" y="7392"/>
                    <a:pt x="3099" y="7011"/>
                    <a:pt x="2999" y="6622"/>
                  </a:cubicBezTo>
                  <a:cubicBezTo>
                    <a:pt x="2437" y="4451"/>
                    <a:pt x="2437" y="2172"/>
                    <a:pt x="2999" y="0"/>
                  </a:cubicBezTo>
                  <a:lnTo>
                    <a:pt x="2999" y="1499"/>
                  </a:lnTo>
                  <a:lnTo>
                    <a:pt x="0" y="32862"/>
                  </a:lnTo>
                  <a:lnTo>
                    <a:pt x="4998" y="30363"/>
                  </a:lnTo>
                  <a:close/>
                </a:path>
              </a:pathLst>
            </a:custGeom>
            <a:solidFill>
              <a:srgbClr val="000000"/>
            </a:solidFill>
            <a:ln w="12483" cap="flat">
              <a:noFill/>
              <a:prstDash val="solid"/>
              <a:miter/>
            </a:ln>
          </p:spPr>
          <p:txBody>
            <a:bodyPr rtlCol="0" anchor="ctr"/>
            <a:lstStyle/>
            <a:p>
              <a:endParaRPr lang="en-US"/>
            </a:p>
          </p:txBody>
        </p:sp>
        <p:sp>
          <p:nvSpPr>
            <p:cNvPr id="1216" name="Freeform: Shape 1215">
              <a:extLst>
                <a:ext uri="{FF2B5EF4-FFF2-40B4-BE49-F238E27FC236}">
                  <a16:creationId xmlns:a16="http://schemas.microsoft.com/office/drawing/2014/main" id="{8C5091CD-FA34-459A-B408-B2EC465791A9}"/>
                </a:ext>
              </a:extLst>
            </p:cNvPr>
            <p:cNvSpPr/>
            <p:nvPr/>
          </p:nvSpPr>
          <p:spPr>
            <a:xfrm>
              <a:off x="12003093" y="1283370"/>
              <a:ext cx="12744" cy="10495"/>
            </a:xfrm>
            <a:custGeom>
              <a:avLst/>
              <a:gdLst>
                <a:gd name="connsiteX0" fmla="*/ 9371 w 12744"/>
                <a:gd name="connsiteY0" fmla="*/ 10496 h 10495"/>
                <a:gd name="connsiteX1" fmla="*/ 12745 w 12744"/>
                <a:gd name="connsiteY1" fmla="*/ 8871 h 10495"/>
                <a:gd name="connsiteX2" fmla="*/ 3374 w 12744"/>
                <a:gd name="connsiteY2" fmla="*/ 0 h 10495"/>
                <a:gd name="connsiteX3" fmla="*/ 0 w 12744"/>
                <a:gd name="connsiteY3" fmla="*/ 1624 h 10495"/>
                <a:gd name="connsiteX4" fmla="*/ 1749 w 12744"/>
                <a:gd name="connsiteY4" fmla="*/ 3374 h 10495"/>
                <a:gd name="connsiteX5" fmla="*/ 9371 w 12744"/>
                <a:gd name="connsiteY5" fmla="*/ 10496 h 1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44" h="10495">
                  <a:moveTo>
                    <a:pt x="9371" y="10496"/>
                  </a:moveTo>
                  <a:lnTo>
                    <a:pt x="12745" y="8871"/>
                  </a:lnTo>
                  <a:lnTo>
                    <a:pt x="3374" y="0"/>
                  </a:lnTo>
                  <a:lnTo>
                    <a:pt x="0" y="1624"/>
                  </a:lnTo>
                  <a:lnTo>
                    <a:pt x="1749" y="3374"/>
                  </a:lnTo>
                  <a:lnTo>
                    <a:pt x="9371" y="10496"/>
                  </a:lnTo>
                  <a:close/>
                </a:path>
              </a:pathLst>
            </a:custGeom>
            <a:solidFill>
              <a:srgbClr val="000000"/>
            </a:solidFill>
            <a:ln w="12483" cap="flat">
              <a:noFill/>
              <a:prstDash val="solid"/>
              <a:miter/>
            </a:ln>
          </p:spPr>
          <p:txBody>
            <a:bodyPr rtlCol="0" anchor="ctr"/>
            <a:lstStyle/>
            <a:p>
              <a:endParaRPr lang="en-US"/>
            </a:p>
          </p:txBody>
        </p:sp>
        <p:sp>
          <p:nvSpPr>
            <p:cNvPr id="1217" name="Freeform: Shape 1216">
              <a:extLst>
                <a:ext uri="{FF2B5EF4-FFF2-40B4-BE49-F238E27FC236}">
                  <a16:creationId xmlns:a16="http://schemas.microsoft.com/office/drawing/2014/main" id="{643C3819-0538-4EF7-BC02-F1447BFA7259}"/>
                </a:ext>
              </a:extLst>
            </p:cNvPr>
            <p:cNvSpPr/>
            <p:nvPr/>
          </p:nvSpPr>
          <p:spPr>
            <a:xfrm>
              <a:off x="11988178" y="1163168"/>
              <a:ext cx="217202" cy="124082"/>
            </a:xfrm>
            <a:custGeom>
              <a:avLst/>
              <a:gdLst>
                <a:gd name="connsiteX0" fmla="*/ 4045 w 217202"/>
                <a:gd name="connsiteY0" fmla="*/ 104084 h 124082"/>
                <a:gd name="connsiteX1" fmla="*/ 2420 w 217202"/>
                <a:gd name="connsiteY1" fmla="*/ 105458 h 124082"/>
                <a:gd name="connsiteX2" fmla="*/ 1421 w 217202"/>
                <a:gd name="connsiteY2" fmla="*/ 106957 h 124082"/>
                <a:gd name="connsiteX3" fmla="*/ 422 w 217202"/>
                <a:gd name="connsiteY3" fmla="*/ 108707 h 124082"/>
                <a:gd name="connsiteX4" fmla="*/ 422 w 217202"/>
                <a:gd name="connsiteY4" fmla="*/ 110831 h 124082"/>
                <a:gd name="connsiteX5" fmla="*/ 422 w 217202"/>
                <a:gd name="connsiteY5" fmla="*/ 117453 h 124082"/>
                <a:gd name="connsiteX6" fmla="*/ 11029 w 217202"/>
                <a:gd name="connsiteY6" fmla="*/ 123821 h 124082"/>
                <a:gd name="connsiteX7" fmla="*/ 12166 w 217202"/>
                <a:gd name="connsiteY7" fmla="*/ 123451 h 124082"/>
                <a:gd name="connsiteX8" fmla="*/ 15290 w 217202"/>
                <a:gd name="connsiteY8" fmla="*/ 121951 h 124082"/>
                <a:gd name="connsiteX9" fmla="*/ 18664 w 217202"/>
                <a:gd name="connsiteY9" fmla="*/ 120202 h 124082"/>
                <a:gd name="connsiteX10" fmla="*/ 217203 w 217202"/>
                <a:gd name="connsiteY10" fmla="*/ 23366 h 124082"/>
                <a:gd name="connsiteX11" fmla="*/ 217203 w 217202"/>
                <a:gd name="connsiteY11" fmla="*/ 0 h 124082"/>
                <a:gd name="connsiteX12" fmla="*/ 4794 w 217202"/>
                <a:gd name="connsiteY12" fmla="*/ 103334 h 124082"/>
                <a:gd name="connsiteX13" fmla="*/ 4045 w 217202"/>
                <a:gd name="connsiteY13" fmla="*/ 104084 h 12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202" h="124082">
                  <a:moveTo>
                    <a:pt x="4045" y="104084"/>
                  </a:moveTo>
                  <a:cubicBezTo>
                    <a:pt x="3420" y="104435"/>
                    <a:pt x="2870" y="104901"/>
                    <a:pt x="2420" y="105458"/>
                  </a:cubicBezTo>
                  <a:cubicBezTo>
                    <a:pt x="2021" y="105907"/>
                    <a:pt x="1684" y="106411"/>
                    <a:pt x="1421" y="106957"/>
                  </a:cubicBezTo>
                  <a:cubicBezTo>
                    <a:pt x="1009" y="107496"/>
                    <a:pt x="684" y="108084"/>
                    <a:pt x="422" y="108707"/>
                  </a:cubicBezTo>
                  <a:cubicBezTo>
                    <a:pt x="296" y="109409"/>
                    <a:pt x="296" y="110129"/>
                    <a:pt x="422" y="110831"/>
                  </a:cubicBezTo>
                  <a:cubicBezTo>
                    <a:pt x="-141" y="113002"/>
                    <a:pt x="-141" y="115281"/>
                    <a:pt x="422" y="117453"/>
                  </a:cubicBezTo>
                  <a:cubicBezTo>
                    <a:pt x="1596" y="122140"/>
                    <a:pt x="6344" y="124990"/>
                    <a:pt x="11029" y="123821"/>
                  </a:cubicBezTo>
                  <a:cubicBezTo>
                    <a:pt x="11417" y="123723"/>
                    <a:pt x="11791" y="123599"/>
                    <a:pt x="12166" y="123451"/>
                  </a:cubicBezTo>
                  <a:lnTo>
                    <a:pt x="15290" y="121951"/>
                  </a:lnTo>
                  <a:lnTo>
                    <a:pt x="18664" y="120202"/>
                  </a:lnTo>
                  <a:lnTo>
                    <a:pt x="217203" y="23366"/>
                  </a:lnTo>
                  <a:lnTo>
                    <a:pt x="217203" y="0"/>
                  </a:lnTo>
                  <a:lnTo>
                    <a:pt x="4794" y="103334"/>
                  </a:lnTo>
                  <a:cubicBezTo>
                    <a:pt x="4794" y="103334"/>
                    <a:pt x="4420" y="103834"/>
                    <a:pt x="4045" y="104084"/>
                  </a:cubicBezTo>
                  <a:close/>
                </a:path>
              </a:pathLst>
            </a:custGeom>
            <a:solidFill>
              <a:srgbClr val="000000"/>
            </a:solidFill>
            <a:ln w="12483" cap="flat">
              <a:noFill/>
              <a:prstDash val="solid"/>
              <a:miter/>
            </a:ln>
          </p:spPr>
          <p:txBody>
            <a:bodyPr rtlCol="0" anchor="ctr"/>
            <a:lstStyle/>
            <a:p>
              <a:endParaRPr lang="en-US"/>
            </a:p>
          </p:txBody>
        </p:sp>
        <p:sp>
          <p:nvSpPr>
            <p:cNvPr id="1218" name="Freeform: Shape 1217">
              <a:extLst>
                <a:ext uri="{FF2B5EF4-FFF2-40B4-BE49-F238E27FC236}">
                  <a16:creationId xmlns:a16="http://schemas.microsoft.com/office/drawing/2014/main" id="{0A0E7719-27A1-419B-8ABF-CC609F8609D0}"/>
                </a:ext>
              </a:extLst>
            </p:cNvPr>
            <p:cNvSpPr/>
            <p:nvPr/>
          </p:nvSpPr>
          <p:spPr>
            <a:xfrm>
              <a:off x="8958784" y="4454106"/>
              <a:ext cx="215281" cy="298630"/>
            </a:xfrm>
            <a:custGeom>
              <a:avLst/>
              <a:gdLst>
                <a:gd name="connsiteX0" fmla="*/ 214282 w 215281"/>
                <a:gd name="connsiteY0" fmla="*/ 295507 h 298630"/>
                <a:gd name="connsiteX1" fmla="*/ 214282 w 215281"/>
                <a:gd name="connsiteY1" fmla="*/ 295507 h 298630"/>
                <a:gd name="connsiteX2" fmla="*/ 214282 w 215281"/>
                <a:gd name="connsiteY2" fmla="*/ 295507 h 298630"/>
                <a:gd name="connsiteX3" fmla="*/ 214282 w 215281"/>
                <a:gd name="connsiteY3" fmla="*/ 295507 h 298630"/>
                <a:gd name="connsiteX4" fmla="*/ 215282 w 215281"/>
                <a:gd name="connsiteY4" fmla="*/ 295507 h 298630"/>
                <a:gd name="connsiteX5" fmla="*/ 0 w 215281"/>
                <a:gd name="connsiteY5" fmla="*/ 0 h 298630"/>
                <a:gd name="connsiteX6" fmla="*/ 0 w 215281"/>
                <a:gd name="connsiteY6" fmla="*/ 6373 h 298630"/>
                <a:gd name="connsiteX7" fmla="*/ 212408 w 215281"/>
                <a:gd name="connsiteY7" fmla="*/ 298631 h 298630"/>
                <a:gd name="connsiteX8" fmla="*/ 212408 w 215281"/>
                <a:gd name="connsiteY8" fmla="*/ 297881 h 298630"/>
                <a:gd name="connsiteX9" fmla="*/ 214282 w 215281"/>
                <a:gd name="connsiteY9" fmla="*/ 295507 h 29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81" h="298630">
                  <a:moveTo>
                    <a:pt x="214282" y="295507"/>
                  </a:moveTo>
                  <a:cubicBezTo>
                    <a:pt x="214282" y="295507"/>
                    <a:pt x="214282" y="295507"/>
                    <a:pt x="214282" y="295507"/>
                  </a:cubicBezTo>
                  <a:cubicBezTo>
                    <a:pt x="214282" y="295507"/>
                    <a:pt x="214282" y="295507"/>
                    <a:pt x="214282" y="295507"/>
                  </a:cubicBezTo>
                  <a:lnTo>
                    <a:pt x="214282" y="295507"/>
                  </a:lnTo>
                  <a:lnTo>
                    <a:pt x="215282" y="295507"/>
                  </a:lnTo>
                  <a:lnTo>
                    <a:pt x="0" y="0"/>
                  </a:lnTo>
                  <a:lnTo>
                    <a:pt x="0" y="6373"/>
                  </a:lnTo>
                  <a:lnTo>
                    <a:pt x="212408" y="298631"/>
                  </a:lnTo>
                  <a:lnTo>
                    <a:pt x="212408" y="297881"/>
                  </a:lnTo>
                  <a:cubicBezTo>
                    <a:pt x="212408" y="297881"/>
                    <a:pt x="214282" y="295632"/>
                    <a:pt x="214282" y="295507"/>
                  </a:cubicBezTo>
                  <a:close/>
                </a:path>
              </a:pathLst>
            </a:custGeom>
            <a:solidFill>
              <a:srgbClr val="000000"/>
            </a:solidFill>
            <a:ln w="12483" cap="flat">
              <a:noFill/>
              <a:prstDash val="solid"/>
              <a:miter/>
            </a:ln>
          </p:spPr>
          <p:txBody>
            <a:bodyPr rtlCol="0" anchor="ctr"/>
            <a:lstStyle/>
            <a:p>
              <a:endParaRPr lang="en-US"/>
            </a:p>
          </p:txBody>
        </p:sp>
        <p:sp>
          <p:nvSpPr>
            <p:cNvPr id="1219" name="Freeform: Shape 1218">
              <a:extLst>
                <a:ext uri="{FF2B5EF4-FFF2-40B4-BE49-F238E27FC236}">
                  <a16:creationId xmlns:a16="http://schemas.microsoft.com/office/drawing/2014/main" id="{F2E0D1A3-52D0-4A81-BED2-C6BC3E090D54}"/>
                </a:ext>
              </a:extLst>
            </p:cNvPr>
            <p:cNvSpPr/>
            <p:nvPr/>
          </p:nvSpPr>
          <p:spPr>
            <a:xfrm>
              <a:off x="9173941" y="4513832"/>
              <a:ext cx="429939" cy="236905"/>
            </a:xfrm>
            <a:custGeom>
              <a:avLst/>
              <a:gdLst>
                <a:gd name="connsiteX0" fmla="*/ 429939 w 429939"/>
                <a:gd name="connsiteY0" fmla="*/ 1125 h 236905"/>
                <a:gd name="connsiteX1" fmla="*/ 429065 w 429939"/>
                <a:gd name="connsiteY1" fmla="*/ 0 h 236905"/>
                <a:gd name="connsiteX2" fmla="*/ 999 w 429939"/>
                <a:gd name="connsiteY2" fmla="*/ 233782 h 236905"/>
                <a:gd name="connsiteX3" fmla="*/ 0 w 429939"/>
                <a:gd name="connsiteY3" fmla="*/ 233782 h 236905"/>
                <a:gd name="connsiteX4" fmla="*/ 0 w 429939"/>
                <a:gd name="connsiteY4" fmla="*/ 233782 h 236905"/>
                <a:gd name="connsiteX5" fmla="*/ 750 w 429939"/>
                <a:gd name="connsiteY5" fmla="*/ 233782 h 236905"/>
                <a:gd name="connsiteX6" fmla="*/ 2374 w 429939"/>
                <a:gd name="connsiteY6" fmla="*/ 235406 h 236905"/>
                <a:gd name="connsiteX7" fmla="*/ 2374 w 429939"/>
                <a:gd name="connsiteY7" fmla="*/ 235531 h 236905"/>
                <a:gd name="connsiteX8" fmla="*/ 2374 w 429939"/>
                <a:gd name="connsiteY8" fmla="*/ 236905 h 236905"/>
                <a:gd name="connsiteX9" fmla="*/ 429939 w 429939"/>
                <a:gd name="connsiteY9" fmla="*/ 4248 h 2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939" h="236905">
                  <a:moveTo>
                    <a:pt x="429939" y="1125"/>
                  </a:moveTo>
                  <a:lnTo>
                    <a:pt x="429065" y="0"/>
                  </a:lnTo>
                  <a:lnTo>
                    <a:pt x="999" y="233782"/>
                  </a:lnTo>
                  <a:lnTo>
                    <a:pt x="0" y="233782"/>
                  </a:lnTo>
                  <a:lnTo>
                    <a:pt x="0" y="233782"/>
                  </a:lnTo>
                  <a:cubicBezTo>
                    <a:pt x="0" y="233782"/>
                    <a:pt x="0" y="233782"/>
                    <a:pt x="750" y="233782"/>
                  </a:cubicBezTo>
                  <a:cubicBezTo>
                    <a:pt x="1649" y="233782"/>
                    <a:pt x="2374" y="234507"/>
                    <a:pt x="2374" y="235406"/>
                  </a:cubicBezTo>
                  <a:cubicBezTo>
                    <a:pt x="2374" y="235443"/>
                    <a:pt x="2374" y="235493"/>
                    <a:pt x="2374" y="235531"/>
                  </a:cubicBezTo>
                  <a:lnTo>
                    <a:pt x="2374" y="236905"/>
                  </a:lnTo>
                  <a:lnTo>
                    <a:pt x="429939" y="4248"/>
                  </a:lnTo>
                  <a:close/>
                </a:path>
              </a:pathLst>
            </a:custGeom>
            <a:solidFill>
              <a:srgbClr val="000000"/>
            </a:solidFill>
            <a:ln w="12483" cap="flat">
              <a:noFill/>
              <a:prstDash val="solid"/>
              <a:miter/>
            </a:ln>
          </p:spPr>
          <p:txBody>
            <a:bodyPr rtlCol="0" anchor="ctr"/>
            <a:lstStyle/>
            <a:p>
              <a:endParaRPr lang="en-US"/>
            </a:p>
          </p:txBody>
        </p:sp>
        <p:sp>
          <p:nvSpPr>
            <p:cNvPr id="1220" name="Freeform: Shape 1219">
              <a:extLst>
                <a:ext uri="{FF2B5EF4-FFF2-40B4-BE49-F238E27FC236}">
                  <a16:creationId xmlns:a16="http://schemas.microsoft.com/office/drawing/2014/main" id="{FF4A99DD-8052-4690-828F-D1E7A97F9946}"/>
                </a:ext>
              </a:extLst>
            </p:cNvPr>
            <p:cNvSpPr/>
            <p:nvPr/>
          </p:nvSpPr>
          <p:spPr>
            <a:xfrm>
              <a:off x="9382101" y="4202581"/>
              <a:ext cx="237896" cy="312625"/>
            </a:xfrm>
            <a:custGeom>
              <a:avLst/>
              <a:gdLst>
                <a:gd name="connsiteX0" fmla="*/ 230275 w 237896"/>
                <a:gd name="connsiteY0" fmla="*/ 297132 h 312625"/>
                <a:gd name="connsiteX1" fmla="*/ 237897 w 237896"/>
                <a:gd name="connsiteY1" fmla="*/ 302005 h 312625"/>
                <a:gd name="connsiteX2" fmla="*/ 237272 w 237896"/>
                <a:gd name="connsiteY2" fmla="*/ 300630 h 312625"/>
                <a:gd name="connsiteX3" fmla="*/ 8621 w 237896"/>
                <a:gd name="connsiteY3" fmla="*/ 0 h 312625"/>
                <a:gd name="connsiteX4" fmla="*/ 8621 w 237896"/>
                <a:gd name="connsiteY4" fmla="*/ 0 h 312625"/>
                <a:gd name="connsiteX5" fmla="*/ 10495 w 237896"/>
                <a:gd name="connsiteY5" fmla="*/ 3124 h 312625"/>
                <a:gd name="connsiteX6" fmla="*/ 5872 w 237896"/>
                <a:gd name="connsiteY6" fmla="*/ 17368 h 312625"/>
                <a:gd name="connsiteX7" fmla="*/ 0 w 237896"/>
                <a:gd name="connsiteY7" fmla="*/ 20617 h 312625"/>
                <a:gd name="connsiteX8" fmla="*/ 221154 w 237896"/>
                <a:gd name="connsiteY8" fmla="*/ 311501 h 312625"/>
                <a:gd name="connsiteX9" fmla="*/ 222029 w 237896"/>
                <a:gd name="connsiteY9" fmla="*/ 312625 h 312625"/>
                <a:gd name="connsiteX10" fmla="*/ 222029 w 237896"/>
                <a:gd name="connsiteY10" fmla="*/ 308627 h 312625"/>
                <a:gd name="connsiteX11" fmla="*/ 230275 w 237896"/>
                <a:gd name="connsiteY11" fmla="*/ 297132 h 31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96" h="312625">
                  <a:moveTo>
                    <a:pt x="230275" y="297132"/>
                  </a:moveTo>
                  <a:cubicBezTo>
                    <a:pt x="233524" y="297219"/>
                    <a:pt x="236460" y="299093"/>
                    <a:pt x="237897" y="302005"/>
                  </a:cubicBezTo>
                  <a:cubicBezTo>
                    <a:pt x="237710" y="301542"/>
                    <a:pt x="237510" y="301080"/>
                    <a:pt x="237272" y="300630"/>
                  </a:cubicBezTo>
                  <a:lnTo>
                    <a:pt x="8621" y="0"/>
                  </a:lnTo>
                  <a:lnTo>
                    <a:pt x="8621" y="0"/>
                  </a:lnTo>
                  <a:cubicBezTo>
                    <a:pt x="9421" y="925"/>
                    <a:pt x="10045" y="1987"/>
                    <a:pt x="10495" y="3124"/>
                  </a:cubicBezTo>
                  <a:cubicBezTo>
                    <a:pt x="12569" y="8372"/>
                    <a:pt x="10633" y="14344"/>
                    <a:pt x="5872" y="17368"/>
                  </a:cubicBezTo>
                  <a:lnTo>
                    <a:pt x="0" y="20617"/>
                  </a:lnTo>
                  <a:lnTo>
                    <a:pt x="221154" y="311501"/>
                  </a:lnTo>
                  <a:lnTo>
                    <a:pt x="222029" y="312625"/>
                  </a:lnTo>
                  <a:lnTo>
                    <a:pt x="222029" y="308627"/>
                  </a:lnTo>
                  <a:cubicBezTo>
                    <a:pt x="221204" y="303192"/>
                    <a:pt x="224865" y="298081"/>
                    <a:pt x="230275" y="297132"/>
                  </a:cubicBezTo>
                  <a:close/>
                </a:path>
              </a:pathLst>
            </a:custGeom>
            <a:solidFill>
              <a:srgbClr val="000000"/>
            </a:solidFill>
            <a:ln w="12483" cap="flat">
              <a:noFill/>
              <a:prstDash val="solid"/>
              <a:miter/>
            </a:ln>
          </p:spPr>
          <p:txBody>
            <a:bodyPr rtlCol="0" anchor="ctr"/>
            <a:lstStyle/>
            <a:p>
              <a:endParaRPr lang="en-US"/>
            </a:p>
          </p:txBody>
        </p:sp>
        <p:sp>
          <p:nvSpPr>
            <p:cNvPr id="1221" name="Freeform: Shape 1220">
              <a:extLst>
                <a:ext uri="{FF2B5EF4-FFF2-40B4-BE49-F238E27FC236}">
                  <a16:creationId xmlns:a16="http://schemas.microsoft.com/office/drawing/2014/main" id="{F873CCFD-FE39-4598-9928-07219C9D7D04}"/>
                </a:ext>
              </a:extLst>
            </p:cNvPr>
            <p:cNvSpPr/>
            <p:nvPr/>
          </p:nvSpPr>
          <p:spPr>
            <a:xfrm>
              <a:off x="9173858" y="4747988"/>
              <a:ext cx="49561" cy="901390"/>
            </a:xfrm>
            <a:custGeom>
              <a:avLst/>
              <a:gdLst>
                <a:gd name="connsiteX0" fmla="*/ 47438 w 49561"/>
                <a:gd name="connsiteY0" fmla="*/ 901391 h 901390"/>
                <a:gd name="connsiteX1" fmla="*/ 47438 w 49561"/>
                <a:gd name="connsiteY1" fmla="*/ 900766 h 901390"/>
                <a:gd name="connsiteX2" fmla="*/ 47438 w 49561"/>
                <a:gd name="connsiteY2" fmla="*/ 900766 h 901390"/>
                <a:gd name="connsiteX3" fmla="*/ 47438 w 49561"/>
                <a:gd name="connsiteY3" fmla="*/ 900766 h 901390"/>
                <a:gd name="connsiteX4" fmla="*/ 49562 w 49561"/>
                <a:gd name="connsiteY4" fmla="*/ 899517 h 901390"/>
                <a:gd name="connsiteX5" fmla="*/ 2707 w 49561"/>
                <a:gd name="connsiteY5" fmla="*/ 3124 h 901390"/>
                <a:gd name="connsiteX6" fmla="*/ 2707 w 49561"/>
                <a:gd name="connsiteY6" fmla="*/ 1749 h 901390"/>
                <a:gd name="connsiteX7" fmla="*/ 1208 w 49561"/>
                <a:gd name="connsiteY7" fmla="*/ 0 h 901390"/>
                <a:gd name="connsiteX8" fmla="*/ 1083 w 49561"/>
                <a:gd name="connsiteY8" fmla="*/ 0 h 901390"/>
                <a:gd name="connsiteX9" fmla="*/ 333 w 49561"/>
                <a:gd name="connsiteY9" fmla="*/ 0 h 901390"/>
                <a:gd name="connsiteX10" fmla="*/ 333 w 49561"/>
                <a:gd name="connsiteY10" fmla="*/ 0 h 901390"/>
                <a:gd name="connsiteX11" fmla="*/ 333 w 49561"/>
                <a:gd name="connsiteY11" fmla="*/ 0 h 901390"/>
                <a:gd name="connsiteX12" fmla="*/ 333 w 49561"/>
                <a:gd name="connsiteY12" fmla="*/ 0 h 901390"/>
                <a:gd name="connsiteX13" fmla="*/ 333 w 49561"/>
                <a:gd name="connsiteY13" fmla="*/ 750 h 901390"/>
                <a:gd name="connsiteX14" fmla="*/ 48563 w 49561"/>
                <a:gd name="connsiteY14" fmla="*/ 900391 h 901390"/>
                <a:gd name="connsiteX15" fmla="*/ 48563 w 49561"/>
                <a:gd name="connsiteY15" fmla="*/ 900391 h 901390"/>
                <a:gd name="connsiteX16" fmla="*/ 48563 w 49561"/>
                <a:gd name="connsiteY16" fmla="*/ 900391 h 9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61" h="901390">
                  <a:moveTo>
                    <a:pt x="47438" y="901391"/>
                  </a:moveTo>
                  <a:lnTo>
                    <a:pt x="47438" y="900766"/>
                  </a:lnTo>
                  <a:cubicBezTo>
                    <a:pt x="47438" y="900766"/>
                    <a:pt x="47438" y="900766"/>
                    <a:pt x="47438" y="900766"/>
                  </a:cubicBezTo>
                  <a:lnTo>
                    <a:pt x="47438" y="900766"/>
                  </a:lnTo>
                  <a:lnTo>
                    <a:pt x="49562" y="899517"/>
                  </a:lnTo>
                  <a:lnTo>
                    <a:pt x="2707" y="3124"/>
                  </a:lnTo>
                  <a:lnTo>
                    <a:pt x="2707" y="1749"/>
                  </a:lnTo>
                  <a:cubicBezTo>
                    <a:pt x="2782" y="850"/>
                    <a:pt x="2107" y="75"/>
                    <a:pt x="1208" y="0"/>
                  </a:cubicBezTo>
                  <a:cubicBezTo>
                    <a:pt x="1171" y="0"/>
                    <a:pt x="1120" y="0"/>
                    <a:pt x="1083" y="0"/>
                  </a:cubicBezTo>
                  <a:cubicBezTo>
                    <a:pt x="1083" y="0"/>
                    <a:pt x="1083" y="0"/>
                    <a:pt x="333" y="0"/>
                  </a:cubicBezTo>
                  <a:cubicBezTo>
                    <a:pt x="-416" y="0"/>
                    <a:pt x="333" y="0"/>
                    <a:pt x="333" y="0"/>
                  </a:cubicBezTo>
                  <a:cubicBezTo>
                    <a:pt x="333" y="0"/>
                    <a:pt x="333" y="0"/>
                    <a:pt x="333" y="0"/>
                  </a:cubicBezTo>
                  <a:cubicBezTo>
                    <a:pt x="333" y="0"/>
                    <a:pt x="333" y="0"/>
                    <a:pt x="333" y="0"/>
                  </a:cubicBezTo>
                  <a:lnTo>
                    <a:pt x="333" y="750"/>
                  </a:lnTo>
                  <a:lnTo>
                    <a:pt x="48563" y="900391"/>
                  </a:lnTo>
                  <a:lnTo>
                    <a:pt x="48563" y="900391"/>
                  </a:lnTo>
                  <a:lnTo>
                    <a:pt x="48563" y="900391"/>
                  </a:lnTo>
                  <a:close/>
                </a:path>
              </a:pathLst>
            </a:custGeom>
            <a:solidFill>
              <a:srgbClr val="000000"/>
            </a:solidFill>
            <a:ln w="12483" cap="flat">
              <a:noFill/>
              <a:prstDash val="solid"/>
              <a:miter/>
            </a:ln>
          </p:spPr>
          <p:txBody>
            <a:bodyPr rtlCol="0" anchor="ctr"/>
            <a:lstStyle/>
            <a:p>
              <a:endParaRPr lang="en-US"/>
            </a:p>
          </p:txBody>
        </p:sp>
        <p:sp>
          <p:nvSpPr>
            <p:cNvPr id="1222" name="Freeform: Shape 1221">
              <a:extLst>
                <a:ext uri="{FF2B5EF4-FFF2-40B4-BE49-F238E27FC236}">
                  <a16:creationId xmlns:a16="http://schemas.microsoft.com/office/drawing/2014/main" id="{C7ED93FA-2970-4030-841A-C067F33F5CFE}"/>
                </a:ext>
              </a:extLst>
            </p:cNvPr>
            <p:cNvSpPr/>
            <p:nvPr/>
          </p:nvSpPr>
          <p:spPr>
            <a:xfrm>
              <a:off x="8933295" y="6397456"/>
              <a:ext cx="276880" cy="422206"/>
            </a:xfrm>
            <a:custGeom>
              <a:avLst/>
              <a:gdLst>
                <a:gd name="connsiteX0" fmla="*/ 275756 w 276880"/>
                <a:gd name="connsiteY0" fmla="*/ 419708 h 422206"/>
                <a:gd name="connsiteX1" fmla="*/ 276880 w 276880"/>
                <a:gd name="connsiteY1" fmla="*/ 418958 h 422206"/>
                <a:gd name="connsiteX2" fmla="*/ 0 w 276880"/>
                <a:gd name="connsiteY2" fmla="*/ 0 h 422206"/>
                <a:gd name="connsiteX3" fmla="*/ 0 w 276880"/>
                <a:gd name="connsiteY3" fmla="*/ 6872 h 422206"/>
                <a:gd name="connsiteX4" fmla="*/ 274881 w 276880"/>
                <a:gd name="connsiteY4" fmla="*/ 422207 h 422206"/>
                <a:gd name="connsiteX5" fmla="*/ 274881 w 276880"/>
                <a:gd name="connsiteY5" fmla="*/ 422207 h 422206"/>
                <a:gd name="connsiteX6" fmla="*/ 274881 w 276880"/>
                <a:gd name="connsiteY6" fmla="*/ 422207 h 422206"/>
                <a:gd name="connsiteX7" fmla="*/ 274881 w 276880"/>
                <a:gd name="connsiteY7" fmla="*/ 421582 h 422206"/>
                <a:gd name="connsiteX8" fmla="*/ 275756 w 276880"/>
                <a:gd name="connsiteY8" fmla="*/ 419708 h 42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880" h="422206">
                  <a:moveTo>
                    <a:pt x="275756" y="419708"/>
                  </a:moveTo>
                  <a:lnTo>
                    <a:pt x="276880" y="418958"/>
                  </a:lnTo>
                  <a:lnTo>
                    <a:pt x="0" y="0"/>
                  </a:lnTo>
                  <a:lnTo>
                    <a:pt x="0" y="6872"/>
                  </a:lnTo>
                  <a:lnTo>
                    <a:pt x="274881" y="422207"/>
                  </a:lnTo>
                  <a:lnTo>
                    <a:pt x="274881" y="422207"/>
                  </a:lnTo>
                  <a:cubicBezTo>
                    <a:pt x="274881" y="422207"/>
                    <a:pt x="274881" y="422207"/>
                    <a:pt x="274881" y="422207"/>
                  </a:cubicBezTo>
                  <a:lnTo>
                    <a:pt x="274881" y="421582"/>
                  </a:lnTo>
                  <a:cubicBezTo>
                    <a:pt x="274831" y="420845"/>
                    <a:pt x="275156" y="420132"/>
                    <a:pt x="275756" y="419708"/>
                  </a:cubicBezTo>
                  <a:close/>
                </a:path>
              </a:pathLst>
            </a:custGeom>
            <a:solidFill>
              <a:srgbClr val="000000"/>
            </a:solidFill>
            <a:ln w="12483" cap="flat">
              <a:noFill/>
              <a:prstDash val="solid"/>
              <a:miter/>
            </a:ln>
          </p:spPr>
          <p:txBody>
            <a:bodyPr rtlCol="0" anchor="ctr"/>
            <a:lstStyle/>
            <a:p>
              <a:endParaRPr lang="en-US"/>
            </a:p>
          </p:txBody>
        </p:sp>
        <p:sp>
          <p:nvSpPr>
            <p:cNvPr id="1223" name="Freeform: Shape 1222">
              <a:extLst>
                <a:ext uri="{FF2B5EF4-FFF2-40B4-BE49-F238E27FC236}">
                  <a16:creationId xmlns:a16="http://schemas.microsoft.com/office/drawing/2014/main" id="{B43CC5FB-0E63-4B2B-934E-F4FE369EECBB}"/>
                </a:ext>
              </a:extLst>
            </p:cNvPr>
            <p:cNvSpPr/>
            <p:nvPr/>
          </p:nvSpPr>
          <p:spPr>
            <a:xfrm>
              <a:off x="9208116" y="6548770"/>
              <a:ext cx="443244" cy="271142"/>
            </a:xfrm>
            <a:custGeom>
              <a:avLst/>
              <a:gdLst>
                <a:gd name="connsiteX0" fmla="*/ 2060 w 443244"/>
                <a:gd name="connsiteY0" fmla="*/ 267144 h 271142"/>
                <a:gd name="connsiteX1" fmla="*/ 936 w 443244"/>
                <a:gd name="connsiteY1" fmla="*/ 267893 h 271142"/>
                <a:gd name="connsiteX2" fmla="*/ 186 w 443244"/>
                <a:gd name="connsiteY2" fmla="*/ 270517 h 271142"/>
                <a:gd name="connsiteX3" fmla="*/ 186 w 443244"/>
                <a:gd name="connsiteY3" fmla="*/ 271142 h 271142"/>
                <a:gd name="connsiteX4" fmla="*/ 186 w 443244"/>
                <a:gd name="connsiteY4" fmla="*/ 271142 h 271142"/>
                <a:gd name="connsiteX5" fmla="*/ 1185 w 443244"/>
                <a:gd name="connsiteY5" fmla="*/ 271142 h 271142"/>
                <a:gd name="connsiteX6" fmla="*/ 2185 w 443244"/>
                <a:gd name="connsiteY6" fmla="*/ 270517 h 271142"/>
                <a:gd name="connsiteX7" fmla="*/ 443244 w 443244"/>
                <a:gd name="connsiteY7" fmla="*/ 4498 h 271142"/>
                <a:gd name="connsiteX8" fmla="*/ 443244 w 443244"/>
                <a:gd name="connsiteY8" fmla="*/ 1250 h 271142"/>
                <a:gd name="connsiteX9" fmla="*/ 443244 w 443244"/>
                <a:gd name="connsiteY9" fmla="*/ 625 h 271142"/>
                <a:gd name="connsiteX10" fmla="*/ 443244 w 443244"/>
                <a:gd name="connsiteY10" fmla="*/ 0 h 271142"/>
                <a:gd name="connsiteX11" fmla="*/ 443244 w 443244"/>
                <a:gd name="connsiteY11" fmla="*/ 0 h 27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3244" h="271142">
                  <a:moveTo>
                    <a:pt x="2060" y="267144"/>
                  </a:moveTo>
                  <a:lnTo>
                    <a:pt x="936" y="267893"/>
                  </a:lnTo>
                  <a:cubicBezTo>
                    <a:pt x="86" y="268468"/>
                    <a:pt x="-239" y="269580"/>
                    <a:pt x="186" y="270517"/>
                  </a:cubicBezTo>
                  <a:lnTo>
                    <a:pt x="186" y="271142"/>
                  </a:lnTo>
                  <a:lnTo>
                    <a:pt x="186" y="271142"/>
                  </a:lnTo>
                  <a:lnTo>
                    <a:pt x="1185" y="271142"/>
                  </a:lnTo>
                  <a:lnTo>
                    <a:pt x="2185" y="270517"/>
                  </a:lnTo>
                  <a:lnTo>
                    <a:pt x="443244" y="4498"/>
                  </a:lnTo>
                  <a:lnTo>
                    <a:pt x="443244" y="1250"/>
                  </a:lnTo>
                  <a:cubicBezTo>
                    <a:pt x="443182" y="1050"/>
                    <a:pt x="443182" y="825"/>
                    <a:pt x="443244" y="625"/>
                  </a:cubicBezTo>
                  <a:lnTo>
                    <a:pt x="443244" y="0"/>
                  </a:lnTo>
                  <a:cubicBezTo>
                    <a:pt x="443244" y="0"/>
                    <a:pt x="443244" y="0"/>
                    <a:pt x="443244" y="0"/>
                  </a:cubicBezTo>
                  <a:close/>
                </a:path>
              </a:pathLst>
            </a:custGeom>
            <a:solidFill>
              <a:srgbClr val="000000"/>
            </a:solidFill>
            <a:ln w="12483" cap="flat">
              <a:noFill/>
              <a:prstDash val="solid"/>
              <a:miter/>
            </a:ln>
          </p:spPr>
          <p:txBody>
            <a:bodyPr rtlCol="0" anchor="ctr"/>
            <a:lstStyle/>
            <a:p>
              <a:endParaRPr lang="en-US"/>
            </a:p>
          </p:txBody>
        </p:sp>
        <p:sp>
          <p:nvSpPr>
            <p:cNvPr id="1224" name="Freeform: Shape 1223">
              <a:extLst>
                <a:ext uri="{FF2B5EF4-FFF2-40B4-BE49-F238E27FC236}">
                  <a16:creationId xmlns:a16="http://schemas.microsoft.com/office/drawing/2014/main" id="{75C20BBF-65FF-4A2F-833F-37938C5B81EE}"/>
                </a:ext>
              </a:extLst>
            </p:cNvPr>
            <p:cNvSpPr/>
            <p:nvPr/>
          </p:nvSpPr>
          <p:spPr>
            <a:xfrm>
              <a:off x="9652610" y="6532402"/>
              <a:ext cx="27487" cy="19117"/>
            </a:xfrm>
            <a:custGeom>
              <a:avLst/>
              <a:gdLst>
                <a:gd name="connsiteX0" fmla="*/ 26738 w 27487"/>
                <a:gd name="connsiteY0" fmla="*/ 0 h 19117"/>
                <a:gd name="connsiteX1" fmla="*/ 0 w 27487"/>
                <a:gd name="connsiteY1" fmla="*/ 16119 h 19117"/>
                <a:gd name="connsiteX2" fmla="*/ 0 w 27487"/>
                <a:gd name="connsiteY2" fmla="*/ 16119 h 19117"/>
                <a:gd name="connsiteX3" fmla="*/ 875 w 27487"/>
                <a:gd name="connsiteY3" fmla="*/ 16119 h 19117"/>
                <a:gd name="connsiteX4" fmla="*/ 2499 w 27487"/>
                <a:gd name="connsiteY4" fmla="*/ 17743 h 19117"/>
                <a:gd name="connsiteX5" fmla="*/ 2499 w 27487"/>
                <a:gd name="connsiteY5" fmla="*/ 17868 h 19117"/>
                <a:gd name="connsiteX6" fmla="*/ 2499 w 27487"/>
                <a:gd name="connsiteY6" fmla="*/ 19117 h 19117"/>
                <a:gd name="connsiteX7" fmla="*/ 27488 w 27487"/>
                <a:gd name="connsiteY7" fmla="*/ 4124 h 19117"/>
                <a:gd name="connsiteX8" fmla="*/ 27488 w 27487"/>
                <a:gd name="connsiteY8" fmla="*/ 750 h 1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7" h="19117">
                  <a:moveTo>
                    <a:pt x="26738" y="0"/>
                  </a:moveTo>
                  <a:lnTo>
                    <a:pt x="0" y="16119"/>
                  </a:lnTo>
                  <a:cubicBezTo>
                    <a:pt x="0" y="16119"/>
                    <a:pt x="0" y="16119"/>
                    <a:pt x="0" y="16119"/>
                  </a:cubicBezTo>
                  <a:cubicBezTo>
                    <a:pt x="287" y="16044"/>
                    <a:pt x="587" y="16044"/>
                    <a:pt x="875" y="16119"/>
                  </a:cubicBezTo>
                  <a:cubicBezTo>
                    <a:pt x="1774" y="16119"/>
                    <a:pt x="2499" y="16844"/>
                    <a:pt x="2499" y="17743"/>
                  </a:cubicBezTo>
                  <a:cubicBezTo>
                    <a:pt x="2499" y="17780"/>
                    <a:pt x="2499" y="17830"/>
                    <a:pt x="2499" y="17868"/>
                  </a:cubicBezTo>
                  <a:lnTo>
                    <a:pt x="2499" y="19117"/>
                  </a:lnTo>
                  <a:lnTo>
                    <a:pt x="27488" y="4124"/>
                  </a:lnTo>
                  <a:lnTo>
                    <a:pt x="27488" y="750"/>
                  </a:lnTo>
                  <a:close/>
                </a:path>
              </a:pathLst>
            </a:custGeom>
            <a:solidFill>
              <a:srgbClr val="000000"/>
            </a:solidFill>
            <a:ln w="12483" cap="flat">
              <a:noFill/>
              <a:prstDash val="solid"/>
              <a:miter/>
            </a:ln>
          </p:spPr>
          <p:txBody>
            <a:bodyPr rtlCol="0" anchor="ctr"/>
            <a:lstStyle/>
            <a:p>
              <a:endParaRPr lang="en-US"/>
            </a:p>
          </p:txBody>
        </p:sp>
        <p:sp>
          <p:nvSpPr>
            <p:cNvPr id="1225" name="Freeform: Shape 1224">
              <a:extLst>
                <a:ext uri="{FF2B5EF4-FFF2-40B4-BE49-F238E27FC236}">
                  <a16:creationId xmlns:a16="http://schemas.microsoft.com/office/drawing/2014/main" id="{39289D23-C00B-435F-90EF-AEF98C248438}"/>
                </a:ext>
              </a:extLst>
            </p:cNvPr>
            <p:cNvSpPr/>
            <p:nvPr/>
          </p:nvSpPr>
          <p:spPr>
            <a:xfrm>
              <a:off x="8646372" y="3978295"/>
              <a:ext cx="1421" cy="1999"/>
            </a:xfrm>
            <a:custGeom>
              <a:avLst/>
              <a:gdLst>
                <a:gd name="connsiteX0" fmla="*/ 47 w 1421"/>
                <a:gd name="connsiteY0" fmla="*/ 1000 h 1999"/>
                <a:gd name="connsiteX1" fmla="*/ 1421 w 1421"/>
                <a:gd name="connsiteY1" fmla="*/ 1999 h 1999"/>
                <a:gd name="connsiteX2" fmla="*/ 47 w 1421"/>
                <a:gd name="connsiteY2" fmla="*/ 0 h 1999"/>
                <a:gd name="connsiteX3" fmla="*/ 47 w 1421"/>
                <a:gd name="connsiteY3" fmla="*/ 1000 h 1999"/>
              </a:gdLst>
              <a:ahLst/>
              <a:cxnLst>
                <a:cxn ang="0">
                  <a:pos x="connsiteX0" y="connsiteY0"/>
                </a:cxn>
                <a:cxn ang="0">
                  <a:pos x="connsiteX1" y="connsiteY1"/>
                </a:cxn>
                <a:cxn ang="0">
                  <a:pos x="connsiteX2" y="connsiteY2"/>
                </a:cxn>
                <a:cxn ang="0">
                  <a:pos x="connsiteX3" y="connsiteY3"/>
                </a:cxn>
              </a:cxnLst>
              <a:rect l="l" t="t" r="r" b="b"/>
              <a:pathLst>
                <a:path w="1421" h="1999">
                  <a:moveTo>
                    <a:pt x="47" y="1000"/>
                  </a:moveTo>
                  <a:cubicBezTo>
                    <a:pt x="284" y="1562"/>
                    <a:pt x="809" y="1949"/>
                    <a:pt x="1421" y="1999"/>
                  </a:cubicBezTo>
                  <a:lnTo>
                    <a:pt x="47" y="0"/>
                  </a:lnTo>
                  <a:cubicBezTo>
                    <a:pt x="-16" y="325"/>
                    <a:pt x="-16" y="675"/>
                    <a:pt x="47" y="1000"/>
                  </a:cubicBezTo>
                  <a:close/>
                </a:path>
              </a:pathLst>
            </a:custGeom>
            <a:solidFill>
              <a:srgbClr val="000000"/>
            </a:solidFill>
            <a:ln w="12483" cap="flat">
              <a:noFill/>
              <a:prstDash val="solid"/>
              <a:miter/>
            </a:ln>
          </p:spPr>
          <p:txBody>
            <a:bodyPr rtlCol="0" anchor="ctr"/>
            <a:lstStyle/>
            <a:p>
              <a:endParaRPr lang="en-US"/>
            </a:p>
          </p:txBody>
        </p:sp>
        <p:sp>
          <p:nvSpPr>
            <p:cNvPr id="1226" name="Freeform: Shape 1225">
              <a:extLst>
                <a:ext uri="{FF2B5EF4-FFF2-40B4-BE49-F238E27FC236}">
                  <a16:creationId xmlns:a16="http://schemas.microsoft.com/office/drawing/2014/main" id="{2AFBC8DE-F182-4084-BDF6-A8DEE5A4268F}"/>
                </a:ext>
              </a:extLst>
            </p:cNvPr>
            <p:cNvSpPr/>
            <p:nvPr/>
          </p:nvSpPr>
          <p:spPr>
            <a:xfrm>
              <a:off x="8967156" y="5286757"/>
              <a:ext cx="13993" cy="8513"/>
            </a:xfrm>
            <a:custGeom>
              <a:avLst/>
              <a:gdLst>
                <a:gd name="connsiteX0" fmla="*/ 13494 w 13993"/>
                <a:gd name="connsiteY0" fmla="*/ 3766 h 8513"/>
                <a:gd name="connsiteX1" fmla="*/ 2861 w 13993"/>
                <a:gd name="connsiteY1" fmla="*/ 1104 h 8513"/>
                <a:gd name="connsiteX2" fmla="*/ 2249 w 13993"/>
                <a:gd name="connsiteY2" fmla="*/ 1517 h 8513"/>
                <a:gd name="connsiteX3" fmla="*/ 875 w 13993"/>
                <a:gd name="connsiteY3" fmla="*/ 2391 h 8513"/>
                <a:gd name="connsiteX4" fmla="*/ 0 w 13993"/>
                <a:gd name="connsiteY4" fmla="*/ 3890 h 8513"/>
                <a:gd name="connsiteX5" fmla="*/ 6997 w 13993"/>
                <a:gd name="connsiteY5" fmla="*/ 8514 h 8513"/>
                <a:gd name="connsiteX6" fmla="*/ 13994 w 13993"/>
                <a:gd name="connsiteY6" fmla="*/ 4515 h 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3" h="8513">
                  <a:moveTo>
                    <a:pt x="13494" y="3766"/>
                  </a:moveTo>
                  <a:cubicBezTo>
                    <a:pt x="11295" y="92"/>
                    <a:pt x="6535" y="-1095"/>
                    <a:pt x="2861" y="1104"/>
                  </a:cubicBezTo>
                  <a:cubicBezTo>
                    <a:pt x="2649" y="1229"/>
                    <a:pt x="2449" y="1366"/>
                    <a:pt x="2249" y="1517"/>
                  </a:cubicBezTo>
                  <a:lnTo>
                    <a:pt x="875" y="2391"/>
                  </a:lnTo>
                  <a:cubicBezTo>
                    <a:pt x="537" y="2866"/>
                    <a:pt x="250" y="3366"/>
                    <a:pt x="0" y="3890"/>
                  </a:cubicBezTo>
                  <a:cubicBezTo>
                    <a:pt x="2986" y="4091"/>
                    <a:pt x="5635" y="5852"/>
                    <a:pt x="6997" y="8514"/>
                  </a:cubicBezTo>
                  <a:lnTo>
                    <a:pt x="13994" y="4515"/>
                  </a:lnTo>
                  <a:close/>
                </a:path>
              </a:pathLst>
            </a:custGeom>
            <a:solidFill>
              <a:srgbClr val="000000"/>
            </a:solidFill>
            <a:ln w="12483" cap="flat">
              <a:noFill/>
              <a:prstDash val="solid"/>
              <a:miter/>
            </a:ln>
          </p:spPr>
          <p:txBody>
            <a:bodyPr rtlCol="0" anchor="ctr"/>
            <a:lstStyle/>
            <a:p>
              <a:endParaRPr lang="en-US"/>
            </a:p>
          </p:txBody>
        </p:sp>
        <p:sp>
          <p:nvSpPr>
            <p:cNvPr id="1227" name="Freeform: Shape 1226">
              <a:extLst>
                <a:ext uri="{FF2B5EF4-FFF2-40B4-BE49-F238E27FC236}">
                  <a16:creationId xmlns:a16="http://schemas.microsoft.com/office/drawing/2014/main" id="{D4C86776-09F0-49F2-B80F-6C41544EF0D0}"/>
                </a:ext>
              </a:extLst>
            </p:cNvPr>
            <p:cNvSpPr/>
            <p:nvPr/>
          </p:nvSpPr>
          <p:spPr>
            <a:xfrm>
              <a:off x="8971279" y="5294771"/>
              <a:ext cx="28237" cy="54978"/>
            </a:xfrm>
            <a:custGeom>
              <a:avLst/>
              <a:gdLst>
                <a:gd name="connsiteX0" fmla="*/ 4123 w 28237"/>
                <a:gd name="connsiteY0" fmla="*/ 3998 h 54978"/>
                <a:gd name="connsiteX1" fmla="*/ 0 w 28237"/>
                <a:gd name="connsiteY1" fmla="*/ 15869 h 54978"/>
                <a:gd name="connsiteX2" fmla="*/ 27363 w 28237"/>
                <a:gd name="connsiteY2" fmla="*/ 54978 h 54978"/>
                <a:gd name="connsiteX3" fmla="*/ 28238 w 28237"/>
                <a:gd name="connsiteY3" fmla="*/ 54978 h 54978"/>
                <a:gd name="connsiteX4" fmla="*/ 28238 w 28237"/>
                <a:gd name="connsiteY4" fmla="*/ 53104 h 54978"/>
                <a:gd name="connsiteX5" fmla="*/ 26114 w 28237"/>
                <a:gd name="connsiteY5" fmla="*/ 19617 h 54978"/>
                <a:gd name="connsiteX6" fmla="*/ 12495 w 28237"/>
                <a:gd name="connsiteY6" fmla="*/ 0 h 54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37" h="54978">
                  <a:moveTo>
                    <a:pt x="4123" y="3998"/>
                  </a:moveTo>
                  <a:cubicBezTo>
                    <a:pt x="5223" y="8422"/>
                    <a:pt x="3611" y="13082"/>
                    <a:pt x="0" y="15869"/>
                  </a:cubicBezTo>
                  <a:lnTo>
                    <a:pt x="27363" y="54978"/>
                  </a:lnTo>
                  <a:lnTo>
                    <a:pt x="28238" y="54978"/>
                  </a:lnTo>
                  <a:cubicBezTo>
                    <a:pt x="28175" y="54353"/>
                    <a:pt x="28175" y="53728"/>
                    <a:pt x="28238" y="53104"/>
                  </a:cubicBezTo>
                  <a:lnTo>
                    <a:pt x="26114" y="19617"/>
                  </a:lnTo>
                  <a:lnTo>
                    <a:pt x="12495" y="0"/>
                  </a:lnTo>
                  <a:close/>
                </a:path>
              </a:pathLst>
            </a:custGeom>
            <a:solidFill>
              <a:srgbClr val="000000"/>
            </a:solidFill>
            <a:ln w="12483" cap="flat">
              <a:noFill/>
              <a:prstDash val="solid"/>
              <a:miter/>
            </a:ln>
          </p:spPr>
          <p:txBody>
            <a:bodyPr rtlCol="0" anchor="ctr"/>
            <a:lstStyle/>
            <a:p>
              <a:endParaRPr lang="en-US"/>
            </a:p>
          </p:txBody>
        </p:sp>
        <p:sp>
          <p:nvSpPr>
            <p:cNvPr id="1228" name="Freeform: Shape 1227">
              <a:extLst>
                <a:ext uri="{FF2B5EF4-FFF2-40B4-BE49-F238E27FC236}">
                  <a16:creationId xmlns:a16="http://schemas.microsoft.com/office/drawing/2014/main" id="{CAA6BE3F-1D5A-4656-A631-AFC741793CB6}"/>
                </a:ext>
              </a:extLst>
            </p:cNvPr>
            <p:cNvSpPr/>
            <p:nvPr/>
          </p:nvSpPr>
          <p:spPr>
            <a:xfrm>
              <a:off x="9006264" y="5357121"/>
              <a:ext cx="874" cy="12495"/>
            </a:xfrm>
            <a:custGeom>
              <a:avLst/>
              <a:gdLst>
                <a:gd name="connsiteX0" fmla="*/ 875 w 874"/>
                <a:gd name="connsiteY0" fmla="*/ 0 h 12495"/>
                <a:gd name="connsiteX1" fmla="*/ 0 w 874"/>
                <a:gd name="connsiteY1" fmla="*/ 0 h 12495"/>
                <a:gd name="connsiteX2" fmla="*/ 875 w 874"/>
                <a:gd name="connsiteY2" fmla="*/ 0 h 12495"/>
              </a:gdLst>
              <a:ahLst/>
              <a:cxnLst>
                <a:cxn ang="0">
                  <a:pos x="connsiteX0" y="connsiteY0"/>
                </a:cxn>
                <a:cxn ang="0">
                  <a:pos x="connsiteX1" y="connsiteY1"/>
                </a:cxn>
                <a:cxn ang="0">
                  <a:pos x="connsiteX2" y="connsiteY2"/>
                </a:cxn>
              </a:cxnLst>
              <a:rect l="l" t="t" r="r" b="b"/>
              <a:pathLst>
                <a:path w="874" h="12495">
                  <a:moveTo>
                    <a:pt x="875" y="0"/>
                  </a:moveTo>
                  <a:lnTo>
                    <a:pt x="0" y="0"/>
                  </a:lnTo>
                  <a:lnTo>
                    <a:pt x="875" y="0"/>
                  </a:lnTo>
                  <a:close/>
                </a:path>
              </a:pathLst>
            </a:custGeom>
            <a:solidFill>
              <a:srgbClr val="000000"/>
            </a:solidFill>
            <a:ln w="12483" cap="flat">
              <a:noFill/>
              <a:prstDash val="solid"/>
              <a:miter/>
            </a:ln>
          </p:spPr>
          <p:txBody>
            <a:bodyPr rtlCol="0" anchor="ctr"/>
            <a:lstStyle/>
            <a:p>
              <a:endParaRPr lang="en-US"/>
            </a:p>
          </p:txBody>
        </p:sp>
        <p:sp>
          <p:nvSpPr>
            <p:cNvPr id="1229" name="Freeform: Shape 1228">
              <a:extLst>
                <a:ext uri="{FF2B5EF4-FFF2-40B4-BE49-F238E27FC236}">
                  <a16:creationId xmlns:a16="http://schemas.microsoft.com/office/drawing/2014/main" id="{1D682703-06ED-46A9-94B1-D7782D170405}"/>
                </a:ext>
              </a:extLst>
            </p:cNvPr>
            <p:cNvSpPr/>
            <p:nvPr/>
          </p:nvSpPr>
          <p:spPr>
            <a:xfrm>
              <a:off x="9000766" y="5352123"/>
              <a:ext cx="874" cy="1374"/>
            </a:xfrm>
            <a:custGeom>
              <a:avLst/>
              <a:gdLst>
                <a:gd name="connsiteX0" fmla="*/ 875 w 874"/>
                <a:gd name="connsiteY0" fmla="*/ 1374 h 1374"/>
                <a:gd name="connsiteX1" fmla="*/ 875 w 874"/>
                <a:gd name="connsiteY1" fmla="*/ 1374 h 1374"/>
                <a:gd name="connsiteX2" fmla="*/ 0 w 874"/>
                <a:gd name="connsiteY2" fmla="*/ 0 h 1374"/>
                <a:gd name="connsiteX3" fmla="*/ 0 w 874"/>
                <a:gd name="connsiteY3" fmla="*/ 0 h 1374"/>
              </a:gdLst>
              <a:ahLst/>
              <a:cxnLst>
                <a:cxn ang="0">
                  <a:pos x="connsiteX0" y="connsiteY0"/>
                </a:cxn>
                <a:cxn ang="0">
                  <a:pos x="connsiteX1" y="connsiteY1"/>
                </a:cxn>
                <a:cxn ang="0">
                  <a:pos x="connsiteX2" y="connsiteY2"/>
                </a:cxn>
                <a:cxn ang="0">
                  <a:pos x="connsiteX3" y="connsiteY3"/>
                </a:cxn>
              </a:cxnLst>
              <a:rect l="l" t="t" r="r" b="b"/>
              <a:pathLst>
                <a:path w="874" h="1374">
                  <a:moveTo>
                    <a:pt x="875" y="1374"/>
                  </a:moveTo>
                  <a:lnTo>
                    <a:pt x="875" y="1374"/>
                  </a:lnTo>
                  <a:cubicBezTo>
                    <a:pt x="512" y="962"/>
                    <a:pt x="212" y="500"/>
                    <a:pt x="0" y="0"/>
                  </a:cubicBezTo>
                  <a:lnTo>
                    <a:pt x="0" y="0"/>
                  </a:lnTo>
                  <a:close/>
                </a:path>
              </a:pathLst>
            </a:custGeom>
            <a:solidFill>
              <a:srgbClr val="000000"/>
            </a:solidFill>
            <a:ln w="12483" cap="flat">
              <a:noFill/>
              <a:prstDash val="solid"/>
              <a:miter/>
            </a:ln>
          </p:spPr>
          <p:txBody>
            <a:bodyPr rtlCol="0" anchor="ctr"/>
            <a:lstStyle/>
            <a:p>
              <a:endParaRPr lang="en-US"/>
            </a:p>
          </p:txBody>
        </p:sp>
        <p:sp>
          <p:nvSpPr>
            <p:cNvPr id="1230" name="Freeform: Shape 1229">
              <a:extLst>
                <a:ext uri="{FF2B5EF4-FFF2-40B4-BE49-F238E27FC236}">
                  <a16:creationId xmlns:a16="http://schemas.microsoft.com/office/drawing/2014/main" id="{3F9FDA17-04AE-48A0-B96B-40B5326E257D}"/>
                </a:ext>
              </a:extLst>
            </p:cNvPr>
            <p:cNvSpPr/>
            <p:nvPr/>
          </p:nvSpPr>
          <p:spPr>
            <a:xfrm>
              <a:off x="9012761" y="5355246"/>
              <a:ext cx="1374" cy="1249"/>
            </a:xfrm>
            <a:custGeom>
              <a:avLst/>
              <a:gdLst>
                <a:gd name="connsiteX0" fmla="*/ 1374 w 1374"/>
                <a:gd name="connsiteY0" fmla="*/ 0 h 1249"/>
                <a:gd name="connsiteX1" fmla="*/ 1374 w 1374"/>
                <a:gd name="connsiteY1" fmla="*/ 0 h 1249"/>
                <a:gd name="connsiteX2" fmla="*/ 0 w 1374"/>
                <a:gd name="connsiteY2" fmla="*/ 1250 h 1249"/>
                <a:gd name="connsiteX3" fmla="*/ 1374 w 1374"/>
                <a:gd name="connsiteY3" fmla="*/ 0 h 1249"/>
              </a:gdLst>
              <a:ahLst/>
              <a:cxnLst>
                <a:cxn ang="0">
                  <a:pos x="connsiteX0" y="connsiteY0"/>
                </a:cxn>
                <a:cxn ang="0">
                  <a:pos x="connsiteX1" y="connsiteY1"/>
                </a:cxn>
                <a:cxn ang="0">
                  <a:pos x="connsiteX2" y="connsiteY2"/>
                </a:cxn>
                <a:cxn ang="0">
                  <a:pos x="connsiteX3" y="connsiteY3"/>
                </a:cxn>
              </a:cxnLst>
              <a:rect l="l" t="t" r="r" b="b"/>
              <a:pathLst>
                <a:path w="1374" h="1249">
                  <a:moveTo>
                    <a:pt x="1374" y="0"/>
                  </a:moveTo>
                  <a:cubicBezTo>
                    <a:pt x="1374" y="0"/>
                    <a:pt x="1374" y="0"/>
                    <a:pt x="1374" y="0"/>
                  </a:cubicBezTo>
                  <a:lnTo>
                    <a:pt x="0" y="1250"/>
                  </a:lnTo>
                  <a:cubicBezTo>
                    <a:pt x="0" y="1250"/>
                    <a:pt x="1374" y="0"/>
                    <a:pt x="1374" y="0"/>
                  </a:cubicBezTo>
                  <a:close/>
                </a:path>
              </a:pathLst>
            </a:custGeom>
            <a:solidFill>
              <a:srgbClr val="000000"/>
            </a:solidFill>
            <a:ln w="12483" cap="flat">
              <a:noFill/>
              <a:prstDash val="solid"/>
              <a:miter/>
            </a:ln>
          </p:spPr>
          <p:txBody>
            <a:bodyPr rtlCol="0" anchor="ctr"/>
            <a:lstStyle/>
            <a:p>
              <a:endParaRPr lang="en-US"/>
            </a:p>
          </p:txBody>
        </p:sp>
        <p:sp>
          <p:nvSpPr>
            <p:cNvPr id="1231" name="Freeform: Shape 1230">
              <a:extLst>
                <a:ext uri="{FF2B5EF4-FFF2-40B4-BE49-F238E27FC236}">
                  <a16:creationId xmlns:a16="http://schemas.microsoft.com/office/drawing/2014/main" id="{E274ABDC-A0BB-42FF-8DA3-0A60FC783F45}"/>
                </a:ext>
              </a:extLst>
            </p:cNvPr>
            <p:cNvSpPr/>
            <p:nvPr/>
          </p:nvSpPr>
          <p:spPr>
            <a:xfrm>
              <a:off x="9010387" y="5356871"/>
              <a:ext cx="1124" cy="74"/>
            </a:xfrm>
            <a:custGeom>
              <a:avLst/>
              <a:gdLst>
                <a:gd name="connsiteX0" fmla="*/ 0 w 1124"/>
                <a:gd name="connsiteY0" fmla="*/ 0 h 74"/>
                <a:gd name="connsiteX1" fmla="*/ 1124 w 1124"/>
                <a:gd name="connsiteY1" fmla="*/ 0 h 74"/>
                <a:gd name="connsiteX2" fmla="*/ 0 w 1124"/>
                <a:gd name="connsiteY2" fmla="*/ 0 h 74"/>
              </a:gdLst>
              <a:ahLst/>
              <a:cxnLst>
                <a:cxn ang="0">
                  <a:pos x="connsiteX0" y="connsiteY0"/>
                </a:cxn>
                <a:cxn ang="0">
                  <a:pos x="connsiteX1" y="connsiteY1"/>
                </a:cxn>
                <a:cxn ang="0">
                  <a:pos x="connsiteX2" y="connsiteY2"/>
                </a:cxn>
              </a:cxnLst>
              <a:rect l="l" t="t" r="r" b="b"/>
              <a:pathLst>
                <a:path w="1124" h="74">
                  <a:moveTo>
                    <a:pt x="0" y="0"/>
                  </a:moveTo>
                  <a:cubicBezTo>
                    <a:pt x="375" y="100"/>
                    <a:pt x="750" y="100"/>
                    <a:pt x="1124" y="0"/>
                  </a:cubicBezTo>
                  <a:cubicBezTo>
                    <a:pt x="750" y="50"/>
                    <a:pt x="375" y="50"/>
                    <a:pt x="0" y="0"/>
                  </a:cubicBezTo>
                  <a:close/>
                </a:path>
              </a:pathLst>
            </a:custGeom>
            <a:solidFill>
              <a:srgbClr val="000000"/>
            </a:solidFill>
            <a:ln w="12483" cap="flat">
              <a:noFill/>
              <a:prstDash val="solid"/>
              <a:miter/>
            </a:ln>
          </p:spPr>
          <p:txBody>
            <a:bodyPr rtlCol="0" anchor="ctr"/>
            <a:lstStyle/>
            <a:p>
              <a:endParaRPr lang="en-US"/>
            </a:p>
          </p:txBody>
        </p:sp>
        <p:sp>
          <p:nvSpPr>
            <p:cNvPr id="1232" name="Freeform: Shape 1231">
              <a:extLst>
                <a:ext uri="{FF2B5EF4-FFF2-40B4-BE49-F238E27FC236}">
                  <a16:creationId xmlns:a16="http://schemas.microsoft.com/office/drawing/2014/main" id="{4A4EC127-5C4A-40C3-9E89-4C8248AFC94C}"/>
                </a:ext>
              </a:extLst>
            </p:cNvPr>
            <p:cNvSpPr/>
            <p:nvPr/>
          </p:nvSpPr>
          <p:spPr>
            <a:xfrm>
              <a:off x="8621680" y="3962802"/>
              <a:ext cx="1249" cy="874"/>
            </a:xfrm>
            <a:custGeom>
              <a:avLst/>
              <a:gdLst>
                <a:gd name="connsiteX0" fmla="*/ 1250 w 1249"/>
                <a:gd name="connsiteY0" fmla="*/ 0 h 874"/>
                <a:gd name="connsiteX1" fmla="*/ 0 w 1249"/>
                <a:gd name="connsiteY1" fmla="*/ 875 h 874"/>
                <a:gd name="connsiteX2" fmla="*/ 0 w 1249"/>
                <a:gd name="connsiteY2" fmla="*/ 875 h 874"/>
                <a:gd name="connsiteX3" fmla="*/ 1250 w 1249"/>
                <a:gd name="connsiteY3" fmla="*/ 0 h 874"/>
              </a:gdLst>
              <a:ahLst/>
              <a:cxnLst>
                <a:cxn ang="0">
                  <a:pos x="connsiteX0" y="connsiteY0"/>
                </a:cxn>
                <a:cxn ang="0">
                  <a:pos x="connsiteX1" y="connsiteY1"/>
                </a:cxn>
                <a:cxn ang="0">
                  <a:pos x="connsiteX2" y="connsiteY2"/>
                </a:cxn>
                <a:cxn ang="0">
                  <a:pos x="connsiteX3" y="connsiteY3"/>
                </a:cxn>
              </a:cxnLst>
              <a:rect l="l" t="t" r="r" b="b"/>
              <a:pathLst>
                <a:path w="1249" h="874">
                  <a:moveTo>
                    <a:pt x="1250" y="0"/>
                  </a:moveTo>
                  <a:lnTo>
                    <a:pt x="0" y="875"/>
                  </a:lnTo>
                  <a:lnTo>
                    <a:pt x="0" y="875"/>
                  </a:lnTo>
                  <a:cubicBezTo>
                    <a:pt x="0" y="875"/>
                    <a:pt x="875" y="125"/>
                    <a:pt x="1250" y="0"/>
                  </a:cubicBezTo>
                  <a:close/>
                </a:path>
              </a:pathLst>
            </a:custGeom>
            <a:solidFill>
              <a:srgbClr val="000000"/>
            </a:solidFill>
            <a:ln w="12483" cap="flat">
              <a:noFill/>
              <a:prstDash val="solid"/>
              <a:miter/>
            </a:ln>
          </p:spPr>
          <p:txBody>
            <a:bodyPr rtlCol="0" anchor="ctr"/>
            <a:lstStyle/>
            <a:p>
              <a:endParaRPr lang="en-US"/>
            </a:p>
          </p:txBody>
        </p:sp>
        <p:sp>
          <p:nvSpPr>
            <p:cNvPr id="1233" name="Freeform: Shape 1232">
              <a:extLst>
                <a:ext uri="{FF2B5EF4-FFF2-40B4-BE49-F238E27FC236}">
                  <a16:creationId xmlns:a16="http://schemas.microsoft.com/office/drawing/2014/main" id="{8B1A42FE-A90D-422E-80EA-543382BD634D}"/>
                </a:ext>
              </a:extLst>
            </p:cNvPr>
            <p:cNvSpPr/>
            <p:nvPr/>
          </p:nvSpPr>
          <p:spPr>
            <a:xfrm>
              <a:off x="8619306" y="3965301"/>
              <a:ext cx="874" cy="1499"/>
            </a:xfrm>
            <a:custGeom>
              <a:avLst/>
              <a:gdLst>
                <a:gd name="connsiteX0" fmla="*/ 875 w 874"/>
                <a:gd name="connsiteY0" fmla="*/ 0 h 1499"/>
                <a:gd name="connsiteX1" fmla="*/ 0 w 874"/>
                <a:gd name="connsiteY1" fmla="*/ 1499 h 1499"/>
                <a:gd name="connsiteX2" fmla="*/ 0 w 874"/>
                <a:gd name="connsiteY2" fmla="*/ 1499 h 1499"/>
                <a:gd name="connsiteX3" fmla="*/ 875 w 874"/>
                <a:gd name="connsiteY3" fmla="*/ 0 h 1499"/>
              </a:gdLst>
              <a:ahLst/>
              <a:cxnLst>
                <a:cxn ang="0">
                  <a:pos x="connsiteX0" y="connsiteY0"/>
                </a:cxn>
                <a:cxn ang="0">
                  <a:pos x="connsiteX1" y="connsiteY1"/>
                </a:cxn>
                <a:cxn ang="0">
                  <a:pos x="connsiteX2" y="connsiteY2"/>
                </a:cxn>
                <a:cxn ang="0">
                  <a:pos x="connsiteX3" y="connsiteY3"/>
                </a:cxn>
              </a:cxnLst>
              <a:rect l="l" t="t" r="r" b="b"/>
              <a:pathLst>
                <a:path w="874" h="1499">
                  <a:moveTo>
                    <a:pt x="875" y="0"/>
                  </a:moveTo>
                  <a:cubicBezTo>
                    <a:pt x="537" y="475"/>
                    <a:pt x="250" y="975"/>
                    <a:pt x="0" y="1499"/>
                  </a:cubicBezTo>
                  <a:lnTo>
                    <a:pt x="0" y="1499"/>
                  </a:lnTo>
                  <a:cubicBezTo>
                    <a:pt x="175" y="937"/>
                    <a:pt x="475" y="425"/>
                    <a:pt x="875" y="0"/>
                  </a:cubicBezTo>
                  <a:close/>
                </a:path>
              </a:pathLst>
            </a:custGeom>
            <a:solidFill>
              <a:srgbClr val="000000"/>
            </a:solidFill>
            <a:ln w="12483" cap="flat">
              <a:noFill/>
              <a:prstDash val="solid"/>
              <a:miter/>
            </a:ln>
          </p:spPr>
          <p:txBody>
            <a:bodyPr rtlCol="0" anchor="ctr"/>
            <a:lstStyle/>
            <a:p>
              <a:endParaRPr lang="en-US"/>
            </a:p>
          </p:txBody>
        </p:sp>
        <p:sp>
          <p:nvSpPr>
            <p:cNvPr id="1234" name="Freeform: Shape 1233">
              <a:extLst>
                <a:ext uri="{FF2B5EF4-FFF2-40B4-BE49-F238E27FC236}">
                  <a16:creationId xmlns:a16="http://schemas.microsoft.com/office/drawing/2014/main" id="{5B91B698-60A2-408A-8E5D-422DCC17EB06}"/>
                </a:ext>
              </a:extLst>
            </p:cNvPr>
            <p:cNvSpPr/>
            <p:nvPr/>
          </p:nvSpPr>
          <p:spPr>
            <a:xfrm>
              <a:off x="8329181" y="4393130"/>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Lst>
              <a:ahLst/>
              <a:cxnLst>
                <a:cxn ang="0">
                  <a:pos x="connsiteX0" y="connsiteY0"/>
                </a:cxn>
                <a:cxn ang="0">
                  <a:pos x="connsiteX1" y="connsiteY1"/>
                </a:cxn>
                <a:cxn ang="0">
                  <a:pos x="connsiteX2" y="connsiteY2"/>
                </a:cxn>
                <a:cxn ang="0">
                  <a:pos x="connsiteX3" y="connsiteY3"/>
                </a:cxn>
              </a:cxnLst>
              <a:rect l="l" t="t" r="r" b="b"/>
              <a:pathLst>
                <a:path w="12494" h="12495">
                  <a:moveTo>
                    <a:pt x="0" y="0"/>
                  </a:moveTo>
                  <a:lnTo>
                    <a:pt x="0" y="0"/>
                  </a:ln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235" name="Freeform: Shape 1234">
              <a:extLst>
                <a:ext uri="{FF2B5EF4-FFF2-40B4-BE49-F238E27FC236}">
                  <a16:creationId xmlns:a16="http://schemas.microsoft.com/office/drawing/2014/main" id="{5FDBC1F2-7A17-41C3-A999-67C2EE213770}"/>
                </a:ext>
              </a:extLst>
            </p:cNvPr>
            <p:cNvSpPr/>
            <p:nvPr/>
          </p:nvSpPr>
          <p:spPr>
            <a:xfrm>
              <a:off x="8328182" y="4369139"/>
              <a:ext cx="999" cy="624"/>
            </a:xfrm>
            <a:custGeom>
              <a:avLst/>
              <a:gdLst>
                <a:gd name="connsiteX0" fmla="*/ 625 w 999"/>
                <a:gd name="connsiteY0" fmla="*/ 625 h 624"/>
                <a:gd name="connsiteX1" fmla="*/ 0 w 999"/>
                <a:gd name="connsiteY1" fmla="*/ 625 h 624"/>
                <a:gd name="connsiteX2" fmla="*/ 0 w 999"/>
                <a:gd name="connsiteY2" fmla="*/ 625 h 624"/>
                <a:gd name="connsiteX3" fmla="*/ 999 w 999"/>
                <a:gd name="connsiteY3" fmla="*/ 0 h 624"/>
              </a:gdLst>
              <a:ahLst/>
              <a:cxnLst>
                <a:cxn ang="0">
                  <a:pos x="connsiteX0" y="connsiteY0"/>
                </a:cxn>
                <a:cxn ang="0">
                  <a:pos x="connsiteX1" y="connsiteY1"/>
                </a:cxn>
                <a:cxn ang="0">
                  <a:pos x="connsiteX2" y="connsiteY2"/>
                </a:cxn>
                <a:cxn ang="0">
                  <a:pos x="connsiteX3" y="connsiteY3"/>
                </a:cxn>
              </a:cxnLst>
              <a:rect l="l" t="t" r="r" b="b"/>
              <a:pathLst>
                <a:path w="999" h="624">
                  <a:moveTo>
                    <a:pt x="625" y="625"/>
                  </a:moveTo>
                  <a:lnTo>
                    <a:pt x="0" y="625"/>
                  </a:lnTo>
                  <a:lnTo>
                    <a:pt x="0" y="625"/>
                  </a:lnTo>
                  <a:lnTo>
                    <a:pt x="999" y="0"/>
                  </a:lnTo>
                  <a:close/>
                </a:path>
              </a:pathLst>
            </a:custGeom>
            <a:solidFill>
              <a:srgbClr val="000000"/>
            </a:solidFill>
            <a:ln w="12483" cap="flat">
              <a:noFill/>
              <a:prstDash val="solid"/>
              <a:miter/>
            </a:ln>
          </p:spPr>
          <p:txBody>
            <a:bodyPr rtlCol="0" anchor="ctr"/>
            <a:lstStyle/>
            <a:p>
              <a:endParaRPr lang="en-US"/>
            </a:p>
          </p:txBody>
        </p:sp>
        <p:sp>
          <p:nvSpPr>
            <p:cNvPr id="1236" name="Freeform: Shape 1235">
              <a:extLst>
                <a:ext uri="{FF2B5EF4-FFF2-40B4-BE49-F238E27FC236}">
                  <a16:creationId xmlns:a16="http://schemas.microsoft.com/office/drawing/2014/main" id="{757F0F12-78F3-42F2-BB5D-3A198A9884D4}"/>
                </a:ext>
              </a:extLst>
            </p:cNvPr>
            <p:cNvSpPr/>
            <p:nvPr/>
          </p:nvSpPr>
          <p:spPr>
            <a:xfrm>
              <a:off x="8664287" y="4708129"/>
              <a:ext cx="241895" cy="153189"/>
            </a:xfrm>
            <a:custGeom>
              <a:avLst/>
              <a:gdLst>
                <a:gd name="connsiteX0" fmla="*/ 0 w 241895"/>
                <a:gd name="connsiteY0" fmla="*/ 129948 h 153189"/>
                <a:gd name="connsiteX1" fmla="*/ 4248 w 241895"/>
                <a:gd name="connsiteY1" fmla="*/ 136196 h 153189"/>
                <a:gd name="connsiteX2" fmla="*/ 3249 w 241895"/>
                <a:gd name="connsiteY2" fmla="*/ 151440 h 153189"/>
                <a:gd name="connsiteX3" fmla="*/ 625 w 241895"/>
                <a:gd name="connsiteY3" fmla="*/ 153189 h 153189"/>
                <a:gd name="connsiteX4" fmla="*/ 625 w 241895"/>
                <a:gd name="connsiteY4" fmla="*/ 153189 h 153189"/>
                <a:gd name="connsiteX5" fmla="*/ 1499 w 241895"/>
                <a:gd name="connsiteY5" fmla="*/ 153189 h 153189"/>
                <a:gd name="connsiteX6" fmla="*/ 4498 w 241895"/>
                <a:gd name="connsiteY6" fmla="*/ 151565 h 153189"/>
                <a:gd name="connsiteX7" fmla="*/ 241895 w 241895"/>
                <a:gd name="connsiteY7" fmla="*/ 23241 h 153189"/>
                <a:gd name="connsiteX8" fmla="*/ 237522 w 241895"/>
                <a:gd name="connsiteY8" fmla="*/ 17118 h 153189"/>
                <a:gd name="connsiteX9" fmla="*/ 238397 w 241895"/>
                <a:gd name="connsiteY9" fmla="*/ 1874 h 153189"/>
                <a:gd name="connsiteX10" fmla="*/ 241146 w 241895"/>
                <a:gd name="connsiteY10" fmla="*/ 0 h 153189"/>
                <a:gd name="connsiteX11" fmla="*/ 241146 w 241895"/>
                <a:gd name="connsiteY11" fmla="*/ 0 h 15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895" h="153189">
                  <a:moveTo>
                    <a:pt x="0" y="129948"/>
                  </a:moveTo>
                  <a:lnTo>
                    <a:pt x="4248" y="136196"/>
                  </a:lnTo>
                  <a:cubicBezTo>
                    <a:pt x="7422" y="140906"/>
                    <a:pt x="7010" y="147179"/>
                    <a:pt x="3249" y="151440"/>
                  </a:cubicBezTo>
                  <a:cubicBezTo>
                    <a:pt x="2461" y="152152"/>
                    <a:pt x="1587" y="152739"/>
                    <a:pt x="625" y="153189"/>
                  </a:cubicBezTo>
                  <a:lnTo>
                    <a:pt x="625" y="153189"/>
                  </a:lnTo>
                  <a:lnTo>
                    <a:pt x="1499" y="153189"/>
                  </a:lnTo>
                  <a:lnTo>
                    <a:pt x="4498" y="151565"/>
                  </a:lnTo>
                  <a:lnTo>
                    <a:pt x="241895" y="23241"/>
                  </a:lnTo>
                  <a:lnTo>
                    <a:pt x="237522" y="17118"/>
                  </a:lnTo>
                  <a:cubicBezTo>
                    <a:pt x="234311" y="12432"/>
                    <a:pt x="234674" y="6160"/>
                    <a:pt x="238397" y="1874"/>
                  </a:cubicBezTo>
                  <a:cubicBezTo>
                    <a:pt x="239197" y="1100"/>
                    <a:pt x="240134" y="463"/>
                    <a:pt x="241146" y="0"/>
                  </a:cubicBezTo>
                  <a:lnTo>
                    <a:pt x="241146" y="0"/>
                  </a:lnTo>
                  <a:close/>
                </a:path>
              </a:pathLst>
            </a:custGeom>
            <a:solidFill>
              <a:srgbClr val="000000"/>
            </a:solidFill>
            <a:ln w="12483" cap="flat">
              <a:noFill/>
              <a:prstDash val="solid"/>
              <a:miter/>
            </a:ln>
          </p:spPr>
          <p:txBody>
            <a:bodyPr rtlCol="0" anchor="ctr"/>
            <a:lstStyle/>
            <a:p>
              <a:endParaRPr lang="en-US"/>
            </a:p>
          </p:txBody>
        </p:sp>
        <p:sp>
          <p:nvSpPr>
            <p:cNvPr id="1237" name="Freeform: Shape 1236">
              <a:extLst>
                <a:ext uri="{FF2B5EF4-FFF2-40B4-BE49-F238E27FC236}">
                  <a16:creationId xmlns:a16="http://schemas.microsoft.com/office/drawing/2014/main" id="{F26A77C7-5407-49AF-AFD9-E2646025DF1E}"/>
                </a:ext>
              </a:extLst>
            </p:cNvPr>
            <p:cNvSpPr/>
            <p:nvPr/>
          </p:nvSpPr>
          <p:spPr>
            <a:xfrm>
              <a:off x="8662287" y="4862068"/>
              <a:ext cx="999" cy="12495"/>
            </a:xfrm>
            <a:custGeom>
              <a:avLst/>
              <a:gdLst>
                <a:gd name="connsiteX0" fmla="*/ 0 w 999"/>
                <a:gd name="connsiteY0" fmla="*/ 0 h 12495"/>
                <a:gd name="connsiteX1" fmla="*/ 1000 w 999"/>
                <a:gd name="connsiteY1" fmla="*/ 0 h 12495"/>
                <a:gd name="connsiteX2" fmla="*/ 0 w 999"/>
                <a:gd name="connsiteY2" fmla="*/ 0 h 12495"/>
              </a:gdLst>
              <a:ahLst/>
              <a:cxnLst>
                <a:cxn ang="0">
                  <a:pos x="connsiteX0" y="connsiteY0"/>
                </a:cxn>
                <a:cxn ang="0">
                  <a:pos x="connsiteX1" y="connsiteY1"/>
                </a:cxn>
                <a:cxn ang="0">
                  <a:pos x="connsiteX2" y="connsiteY2"/>
                </a:cxn>
              </a:cxnLst>
              <a:rect l="l" t="t" r="r" b="b"/>
              <a:pathLst>
                <a:path w="999" h="12495">
                  <a:moveTo>
                    <a:pt x="0" y="0"/>
                  </a:moveTo>
                  <a:lnTo>
                    <a:pt x="1000" y="0"/>
                  </a:lnTo>
                  <a:lnTo>
                    <a:pt x="0" y="0"/>
                  </a:lnTo>
                  <a:close/>
                </a:path>
              </a:pathLst>
            </a:custGeom>
            <a:solidFill>
              <a:srgbClr val="000000"/>
            </a:solidFill>
            <a:ln w="12483" cap="flat">
              <a:noFill/>
              <a:prstDash val="solid"/>
              <a:miter/>
            </a:ln>
          </p:spPr>
          <p:txBody>
            <a:bodyPr rtlCol="0" anchor="ctr"/>
            <a:lstStyle/>
            <a:p>
              <a:endParaRPr lang="en-US"/>
            </a:p>
          </p:txBody>
        </p:sp>
        <p:sp>
          <p:nvSpPr>
            <p:cNvPr id="1238" name="Freeform: Shape 1237">
              <a:extLst>
                <a:ext uri="{FF2B5EF4-FFF2-40B4-BE49-F238E27FC236}">
                  <a16:creationId xmlns:a16="http://schemas.microsoft.com/office/drawing/2014/main" id="{26332059-AEC0-401F-A207-CB112002EF7A}"/>
                </a:ext>
              </a:extLst>
            </p:cNvPr>
            <p:cNvSpPr/>
            <p:nvPr/>
          </p:nvSpPr>
          <p:spPr>
            <a:xfrm>
              <a:off x="8911930" y="4707754"/>
              <a:ext cx="624" cy="12495"/>
            </a:xfrm>
            <a:custGeom>
              <a:avLst/>
              <a:gdLst>
                <a:gd name="connsiteX0" fmla="*/ 625 w 624"/>
                <a:gd name="connsiteY0" fmla="*/ 0 h 12495"/>
                <a:gd name="connsiteX1" fmla="*/ 0 w 624"/>
                <a:gd name="connsiteY1" fmla="*/ 0 h 12495"/>
                <a:gd name="connsiteX2" fmla="*/ 0 w 624"/>
                <a:gd name="connsiteY2" fmla="*/ 0 h 12495"/>
              </a:gdLst>
              <a:ahLst/>
              <a:cxnLst>
                <a:cxn ang="0">
                  <a:pos x="connsiteX0" y="connsiteY0"/>
                </a:cxn>
                <a:cxn ang="0">
                  <a:pos x="connsiteX1" y="connsiteY1"/>
                </a:cxn>
                <a:cxn ang="0">
                  <a:pos x="connsiteX2" y="connsiteY2"/>
                </a:cxn>
              </a:cxnLst>
              <a:rect l="l" t="t" r="r" b="b"/>
              <a:pathLst>
                <a:path w="624" h="12495">
                  <a:moveTo>
                    <a:pt x="625"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239" name="Freeform: Shape 1238">
              <a:extLst>
                <a:ext uri="{FF2B5EF4-FFF2-40B4-BE49-F238E27FC236}">
                  <a16:creationId xmlns:a16="http://schemas.microsoft.com/office/drawing/2014/main" id="{91C2859E-CE05-4143-9F97-03BA3DDF3A15}"/>
                </a:ext>
              </a:extLst>
            </p:cNvPr>
            <p:cNvSpPr/>
            <p:nvPr/>
          </p:nvSpPr>
          <p:spPr>
            <a:xfrm>
              <a:off x="8254464" y="4948034"/>
              <a:ext cx="60723" cy="91463"/>
            </a:xfrm>
            <a:custGeom>
              <a:avLst/>
              <a:gdLst>
                <a:gd name="connsiteX0" fmla="*/ 60724 w 60723"/>
                <a:gd name="connsiteY0" fmla="*/ 88839 h 91463"/>
                <a:gd name="connsiteX1" fmla="*/ 875 w 60723"/>
                <a:gd name="connsiteY1" fmla="*/ 0 h 91463"/>
                <a:gd name="connsiteX2" fmla="*/ 0 w 60723"/>
                <a:gd name="connsiteY2" fmla="*/ 0 h 91463"/>
                <a:gd name="connsiteX3" fmla="*/ 0 w 60723"/>
                <a:gd name="connsiteY3" fmla="*/ 5123 h 91463"/>
                <a:gd name="connsiteX4" fmla="*/ 58225 w 60723"/>
                <a:gd name="connsiteY4" fmla="*/ 91464 h 91463"/>
                <a:gd name="connsiteX5" fmla="*/ 58225 w 60723"/>
                <a:gd name="connsiteY5" fmla="*/ 91464 h 91463"/>
                <a:gd name="connsiteX6" fmla="*/ 58225 w 60723"/>
                <a:gd name="connsiteY6" fmla="*/ 91464 h 91463"/>
                <a:gd name="connsiteX7" fmla="*/ 58225 w 60723"/>
                <a:gd name="connsiteY7" fmla="*/ 90839 h 91463"/>
                <a:gd name="connsiteX8" fmla="*/ 58225 w 60723"/>
                <a:gd name="connsiteY8" fmla="*/ 90839 h 91463"/>
                <a:gd name="connsiteX9" fmla="*/ 58225 w 60723"/>
                <a:gd name="connsiteY9" fmla="*/ 90839 h 9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723" h="91463">
                  <a:moveTo>
                    <a:pt x="60724" y="88839"/>
                  </a:moveTo>
                  <a:lnTo>
                    <a:pt x="875" y="0"/>
                  </a:lnTo>
                  <a:lnTo>
                    <a:pt x="0" y="0"/>
                  </a:lnTo>
                  <a:lnTo>
                    <a:pt x="0" y="5123"/>
                  </a:lnTo>
                  <a:lnTo>
                    <a:pt x="58225" y="91464"/>
                  </a:lnTo>
                  <a:lnTo>
                    <a:pt x="58225" y="91464"/>
                  </a:lnTo>
                  <a:cubicBezTo>
                    <a:pt x="58225" y="91464"/>
                    <a:pt x="58225" y="91464"/>
                    <a:pt x="58225" y="91464"/>
                  </a:cubicBezTo>
                  <a:cubicBezTo>
                    <a:pt x="58150" y="91263"/>
                    <a:pt x="58150" y="91039"/>
                    <a:pt x="58225" y="90839"/>
                  </a:cubicBezTo>
                  <a:lnTo>
                    <a:pt x="58225" y="90839"/>
                  </a:lnTo>
                  <a:cubicBezTo>
                    <a:pt x="58225" y="90839"/>
                    <a:pt x="58225" y="90839"/>
                    <a:pt x="58225" y="90839"/>
                  </a:cubicBezTo>
                  <a:close/>
                </a:path>
              </a:pathLst>
            </a:custGeom>
            <a:solidFill>
              <a:srgbClr val="000000"/>
            </a:solidFill>
            <a:ln w="12483" cap="flat">
              <a:noFill/>
              <a:prstDash val="solid"/>
              <a:miter/>
            </a:ln>
          </p:spPr>
          <p:txBody>
            <a:bodyPr rtlCol="0" anchor="ctr"/>
            <a:lstStyle/>
            <a:p>
              <a:endParaRPr lang="en-US"/>
            </a:p>
          </p:txBody>
        </p:sp>
        <p:sp>
          <p:nvSpPr>
            <p:cNvPr id="1240" name="Freeform: Shape 1239">
              <a:extLst>
                <a:ext uri="{FF2B5EF4-FFF2-40B4-BE49-F238E27FC236}">
                  <a16:creationId xmlns:a16="http://schemas.microsoft.com/office/drawing/2014/main" id="{84F89119-C1D4-4287-96B7-0D58A336B456}"/>
                </a:ext>
              </a:extLst>
            </p:cNvPr>
            <p:cNvSpPr/>
            <p:nvPr/>
          </p:nvSpPr>
          <p:spPr>
            <a:xfrm>
              <a:off x="7999699" y="4570809"/>
              <a:ext cx="253515" cy="377224"/>
            </a:xfrm>
            <a:custGeom>
              <a:avLst/>
              <a:gdLst>
                <a:gd name="connsiteX0" fmla="*/ 253516 w 253515"/>
                <a:gd name="connsiteY0" fmla="*/ 374101 h 377224"/>
                <a:gd name="connsiteX1" fmla="*/ 1000 w 253515"/>
                <a:gd name="connsiteY1" fmla="*/ 0 h 377224"/>
                <a:gd name="connsiteX2" fmla="*/ 0 w 253515"/>
                <a:gd name="connsiteY2" fmla="*/ 4623 h 377224"/>
                <a:gd name="connsiteX3" fmla="*/ 251516 w 253515"/>
                <a:gd name="connsiteY3" fmla="*/ 377225 h 377224"/>
                <a:gd name="connsiteX4" fmla="*/ 251516 w 253515"/>
                <a:gd name="connsiteY4" fmla="*/ 377225 h 377224"/>
                <a:gd name="connsiteX5" fmla="*/ 251516 w 253515"/>
                <a:gd name="connsiteY5" fmla="*/ 377225 h 377224"/>
                <a:gd name="connsiteX6" fmla="*/ 251516 w 253515"/>
                <a:gd name="connsiteY6" fmla="*/ 376475 h 377224"/>
                <a:gd name="connsiteX7" fmla="*/ 251516 w 253515"/>
                <a:gd name="connsiteY7" fmla="*/ 376475 h 377224"/>
                <a:gd name="connsiteX8" fmla="*/ 251516 w 253515"/>
                <a:gd name="connsiteY8" fmla="*/ 376475 h 37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515" h="377224">
                  <a:moveTo>
                    <a:pt x="253516" y="374101"/>
                  </a:moveTo>
                  <a:lnTo>
                    <a:pt x="1000" y="0"/>
                  </a:lnTo>
                  <a:cubicBezTo>
                    <a:pt x="1000" y="1599"/>
                    <a:pt x="650" y="3174"/>
                    <a:pt x="0" y="4623"/>
                  </a:cubicBezTo>
                  <a:lnTo>
                    <a:pt x="251516" y="377225"/>
                  </a:lnTo>
                  <a:lnTo>
                    <a:pt x="251516" y="377225"/>
                  </a:lnTo>
                  <a:cubicBezTo>
                    <a:pt x="251516" y="377225"/>
                    <a:pt x="251516" y="377225"/>
                    <a:pt x="251516" y="377225"/>
                  </a:cubicBezTo>
                  <a:lnTo>
                    <a:pt x="251516" y="376475"/>
                  </a:lnTo>
                  <a:cubicBezTo>
                    <a:pt x="251516" y="376475"/>
                    <a:pt x="251516" y="376475"/>
                    <a:pt x="251516" y="376475"/>
                  </a:cubicBezTo>
                  <a:lnTo>
                    <a:pt x="251516" y="376475"/>
                  </a:lnTo>
                  <a:close/>
                </a:path>
              </a:pathLst>
            </a:custGeom>
            <a:solidFill>
              <a:srgbClr val="000000"/>
            </a:solidFill>
            <a:ln w="12483" cap="flat">
              <a:noFill/>
              <a:prstDash val="solid"/>
              <a:miter/>
            </a:ln>
          </p:spPr>
          <p:txBody>
            <a:bodyPr rtlCol="0" anchor="ctr"/>
            <a:lstStyle/>
            <a:p>
              <a:endParaRPr lang="en-US"/>
            </a:p>
          </p:txBody>
        </p:sp>
        <p:sp>
          <p:nvSpPr>
            <p:cNvPr id="1241" name="Freeform: Shape 1240">
              <a:extLst>
                <a:ext uri="{FF2B5EF4-FFF2-40B4-BE49-F238E27FC236}">
                  <a16:creationId xmlns:a16="http://schemas.microsoft.com/office/drawing/2014/main" id="{20715E8E-C98C-477D-9408-3CB77E9CE60E}"/>
                </a:ext>
              </a:extLst>
            </p:cNvPr>
            <p:cNvSpPr/>
            <p:nvPr/>
          </p:nvSpPr>
          <p:spPr>
            <a:xfrm>
              <a:off x="8592068" y="4767981"/>
              <a:ext cx="60348" cy="86215"/>
            </a:xfrm>
            <a:custGeom>
              <a:avLst/>
              <a:gdLst>
                <a:gd name="connsiteX0" fmla="*/ 0 w 60348"/>
                <a:gd name="connsiteY0" fmla="*/ 0 h 86215"/>
                <a:gd name="connsiteX1" fmla="*/ 60349 w 60348"/>
                <a:gd name="connsiteY1" fmla="*/ 86216 h 86215"/>
                <a:gd name="connsiteX2" fmla="*/ 60349 w 60348"/>
                <a:gd name="connsiteY2" fmla="*/ 86216 h 86215"/>
                <a:gd name="connsiteX3" fmla="*/ 875 w 60348"/>
                <a:gd name="connsiteY3" fmla="*/ 875 h 86215"/>
                <a:gd name="connsiteX4" fmla="*/ 0 w 60348"/>
                <a:gd name="connsiteY4" fmla="*/ 0 h 8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8" h="86215">
                  <a:moveTo>
                    <a:pt x="0" y="0"/>
                  </a:moveTo>
                  <a:lnTo>
                    <a:pt x="60349" y="86216"/>
                  </a:lnTo>
                  <a:lnTo>
                    <a:pt x="60349" y="86216"/>
                  </a:lnTo>
                  <a:lnTo>
                    <a:pt x="875" y="875"/>
                  </a:lnTo>
                  <a:cubicBezTo>
                    <a:pt x="875" y="875"/>
                    <a:pt x="250" y="0"/>
                    <a:pt x="0" y="0"/>
                  </a:cubicBezTo>
                  <a:close/>
                </a:path>
              </a:pathLst>
            </a:custGeom>
            <a:solidFill>
              <a:srgbClr val="000000"/>
            </a:solidFill>
            <a:ln w="12483" cap="flat">
              <a:noFill/>
              <a:prstDash val="solid"/>
              <a:miter/>
            </a:ln>
          </p:spPr>
          <p:txBody>
            <a:bodyPr rtlCol="0" anchor="ctr"/>
            <a:lstStyle/>
            <a:p>
              <a:endParaRPr lang="en-US"/>
            </a:p>
          </p:txBody>
        </p:sp>
        <p:sp>
          <p:nvSpPr>
            <p:cNvPr id="1242" name="Freeform: Shape 1241">
              <a:extLst>
                <a:ext uri="{FF2B5EF4-FFF2-40B4-BE49-F238E27FC236}">
                  <a16:creationId xmlns:a16="http://schemas.microsoft.com/office/drawing/2014/main" id="{9FBE9915-0A39-48AD-98C2-D09AC4CEE57D}"/>
                </a:ext>
              </a:extLst>
            </p:cNvPr>
            <p:cNvSpPr/>
            <p:nvPr/>
          </p:nvSpPr>
          <p:spPr>
            <a:xfrm>
              <a:off x="8599065" y="4754111"/>
              <a:ext cx="72093" cy="107831"/>
            </a:xfrm>
            <a:custGeom>
              <a:avLst/>
              <a:gdLst>
                <a:gd name="connsiteX0" fmla="*/ 69720 w 72093"/>
                <a:gd name="connsiteY0" fmla="*/ 90214 h 107831"/>
                <a:gd name="connsiteX1" fmla="*/ 65472 w 72093"/>
                <a:gd name="connsiteY1" fmla="*/ 83966 h 107831"/>
                <a:gd name="connsiteX2" fmla="*/ 6747 w 72093"/>
                <a:gd name="connsiteY2" fmla="*/ 0 h 107831"/>
                <a:gd name="connsiteX3" fmla="*/ 5623 w 72093"/>
                <a:gd name="connsiteY3" fmla="*/ 15244 h 107831"/>
                <a:gd name="connsiteX4" fmla="*/ 0 w 72093"/>
                <a:gd name="connsiteY4" fmla="*/ 17618 h 107831"/>
                <a:gd name="connsiteX5" fmla="*/ 56601 w 72093"/>
                <a:gd name="connsiteY5" fmla="*/ 98460 h 107831"/>
                <a:gd name="connsiteX6" fmla="*/ 62223 w 72093"/>
                <a:gd name="connsiteY6" fmla="*/ 95462 h 107831"/>
                <a:gd name="connsiteX7" fmla="*/ 64247 w 72093"/>
                <a:gd name="connsiteY7" fmla="*/ 96099 h 107831"/>
                <a:gd name="connsiteX8" fmla="*/ 64347 w 72093"/>
                <a:gd name="connsiteY8" fmla="*/ 96336 h 107831"/>
                <a:gd name="connsiteX9" fmla="*/ 63597 w 72093"/>
                <a:gd name="connsiteY9" fmla="*/ 98960 h 107831"/>
                <a:gd name="connsiteX10" fmla="*/ 58725 w 72093"/>
                <a:gd name="connsiteY10" fmla="*/ 101584 h 107831"/>
                <a:gd name="connsiteX11" fmla="*/ 63098 w 72093"/>
                <a:gd name="connsiteY11" fmla="*/ 107832 h 107831"/>
                <a:gd name="connsiteX12" fmla="*/ 64222 w 72093"/>
                <a:gd name="connsiteY12" fmla="*/ 107832 h 107831"/>
                <a:gd name="connsiteX13" fmla="*/ 66097 w 72093"/>
                <a:gd name="connsiteY13" fmla="*/ 107832 h 107831"/>
                <a:gd name="connsiteX14" fmla="*/ 68720 w 72093"/>
                <a:gd name="connsiteY14" fmla="*/ 106083 h 107831"/>
                <a:gd name="connsiteX15" fmla="*/ 69720 w 72093"/>
                <a:gd name="connsiteY15" fmla="*/ 90214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3" h="107831">
                  <a:moveTo>
                    <a:pt x="69720" y="90214"/>
                  </a:moveTo>
                  <a:lnTo>
                    <a:pt x="65472" y="83966"/>
                  </a:lnTo>
                  <a:lnTo>
                    <a:pt x="6747" y="0"/>
                  </a:lnTo>
                  <a:cubicBezTo>
                    <a:pt x="9883" y="4748"/>
                    <a:pt x="9421" y="11008"/>
                    <a:pt x="5623" y="15244"/>
                  </a:cubicBezTo>
                  <a:cubicBezTo>
                    <a:pt x="4148" y="16755"/>
                    <a:pt x="2112" y="17618"/>
                    <a:pt x="0" y="17618"/>
                  </a:cubicBezTo>
                  <a:lnTo>
                    <a:pt x="56601" y="98460"/>
                  </a:lnTo>
                  <a:lnTo>
                    <a:pt x="62223" y="95462"/>
                  </a:lnTo>
                  <a:cubicBezTo>
                    <a:pt x="62960" y="95074"/>
                    <a:pt x="63860" y="95362"/>
                    <a:pt x="64247" y="96099"/>
                  </a:cubicBezTo>
                  <a:cubicBezTo>
                    <a:pt x="64285" y="96174"/>
                    <a:pt x="64322" y="96249"/>
                    <a:pt x="64347" y="96336"/>
                  </a:cubicBezTo>
                  <a:cubicBezTo>
                    <a:pt x="64722" y="97286"/>
                    <a:pt x="64410" y="98361"/>
                    <a:pt x="63597" y="98960"/>
                  </a:cubicBezTo>
                  <a:lnTo>
                    <a:pt x="58725" y="101584"/>
                  </a:lnTo>
                  <a:lnTo>
                    <a:pt x="63098" y="107832"/>
                  </a:lnTo>
                  <a:lnTo>
                    <a:pt x="64222" y="107832"/>
                  </a:lnTo>
                  <a:lnTo>
                    <a:pt x="66097" y="107832"/>
                  </a:lnTo>
                  <a:cubicBezTo>
                    <a:pt x="67059" y="107382"/>
                    <a:pt x="67933" y="106795"/>
                    <a:pt x="68720" y="106083"/>
                  </a:cubicBezTo>
                  <a:cubicBezTo>
                    <a:pt x="72806" y="101709"/>
                    <a:pt x="73231" y="95062"/>
                    <a:pt x="69720" y="90214"/>
                  </a:cubicBezTo>
                  <a:close/>
                </a:path>
              </a:pathLst>
            </a:custGeom>
            <a:solidFill>
              <a:srgbClr val="000000"/>
            </a:solidFill>
            <a:ln w="12483" cap="flat">
              <a:noFill/>
              <a:prstDash val="solid"/>
              <a:miter/>
            </a:ln>
          </p:spPr>
          <p:txBody>
            <a:bodyPr rtlCol="0" anchor="ctr"/>
            <a:lstStyle/>
            <a:p>
              <a:endParaRPr lang="en-US"/>
            </a:p>
          </p:txBody>
        </p:sp>
        <p:sp>
          <p:nvSpPr>
            <p:cNvPr id="1243" name="Freeform: Shape 1242">
              <a:extLst>
                <a:ext uri="{FF2B5EF4-FFF2-40B4-BE49-F238E27FC236}">
                  <a16:creationId xmlns:a16="http://schemas.microsoft.com/office/drawing/2014/main" id="{62C72F0D-C4D7-419F-96DA-1C4BCE81E173}"/>
                </a:ext>
              </a:extLst>
            </p:cNvPr>
            <p:cNvSpPr/>
            <p:nvPr/>
          </p:nvSpPr>
          <p:spPr>
            <a:xfrm>
              <a:off x="8912554" y="4707754"/>
              <a:ext cx="50603" cy="70596"/>
            </a:xfrm>
            <a:custGeom>
              <a:avLst/>
              <a:gdLst>
                <a:gd name="connsiteX0" fmla="*/ 2874 w 50603"/>
                <a:gd name="connsiteY0" fmla="*/ 2374 h 70596"/>
                <a:gd name="connsiteX1" fmla="*/ 1375 w 50603"/>
                <a:gd name="connsiteY1" fmla="*/ 1000 h 70596"/>
                <a:gd name="connsiteX2" fmla="*/ 0 w 50603"/>
                <a:gd name="connsiteY2" fmla="*/ 0 h 70596"/>
                <a:gd name="connsiteX3" fmla="*/ 0 w 50603"/>
                <a:gd name="connsiteY3" fmla="*/ 0 h 70596"/>
                <a:gd name="connsiteX4" fmla="*/ 50603 w 50603"/>
                <a:gd name="connsiteY4" fmla="*/ 70597 h 70596"/>
                <a:gd name="connsiteX5" fmla="*/ 50603 w 50603"/>
                <a:gd name="connsiteY5" fmla="*/ 68098 h 70596"/>
                <a:gd name="connsiteX6" fmla="*/ 3998 w 50603"/>
                <a:gd name="connsiteY6" fmla="*/ 2999 h 7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03" h="70596">
                  <a:moveTo>
                    <a:pt x="2874" y="2374"/>
                  </a:moveTo>
                  <a:lnTo>
                    <a:pt x="1375" y="1000"/>
                  </a:lnTo>
                  <a:lnTo>
                    <a:pt x="0" y="0"/>
                  </a:lnTo>
                  <a:lnTo>
                    <a:pt x="0" y="0"/>
                  </a:lnTo>
                  <a:lnTo>
                    <a:pt x="50603" y="70597"/>
                  </a:lnTo>
                  <a:lnTo>
                    <a:pt x="50603" y="68098"/>
                  </a:lnTo>
                  <a:lnTo>
                    <a:pt x="3998" y="2999"/>
                  </a:lnTo>
                  <a:close/>
                </a:path>
              </a:pathLst>
            </a:custGeom>
            <a:solidFill>
              <a:srgbClr val="000000"/>
            </a:solidFill>
            <a:ln w="12483" cap="flat">
              <a:noFill/>
              <a:prstDash val="solid"/>
              <a:miter/>
            </a:ln>
          </p:spPr>
          <p:txBody>
            <a:bodyPr rtlCol="0" anchor="ctr"/>
            <a:lstStyle/>
            <a:p>
              <a:endParaRPr lang="en-US"/>
            </a:p>
          </p:txBody>
        </p:sp>
        <p:sp>
          <p:nvSpPr>
            <p:cNvPr id="1244" name="Freeform: Shape 1243">
              <a:extLst>
                <a:ext uri="{FF2B5EF4-FFF2-40B4-BE49-F238E27FC236}">
                  <a16:creationId xmlns:a16="http://schemas.microsoft.com/office/drawing/2014/main" id="{F9EA9807-0392-48C9-81FD-4544386DB276}"/>
                </a:ext>
              </a:extLst>
            </p:cNvPr>
            <p:cNvSpPr/>
            <p:nvPr/>
          </p:nvSpPr>
          <p:spPr>
            <a:xfrm>
              <a:off x="8900000" y="4707124"/>
              <a:ext cx="64781" cy="104964"/>
            </a:xfrm>
            <a:custGeom>
              <a:avLst/>
              <a:gdLst>
                <a:gd name="connsiteX0" fmla="*/ 5807 w 64781"/>
                <a:gd name="connsiteY0" fmla="*/ 381 h 104964"/>
                <a:gd name="connsiteX1" fmla="*/ 3058 w 64781"/>
                <a:gd name="connsiteY1" fmla="*/ 2255 h 104964"/>
                <a:gd name="connsiteX2" fmla="*/ 2184 w 64781"/>
                <a:gd name="connsiteY2" fmla="*/ 17499 h 104964"/>
                <a:gd name="connsiteX3" fmla="*/ 6557 w 64781"/>
                <a:gd name="connsiteY3" fmla="*/ 23621 h 104964"/>
                <a:gd name="connsiteX4" fmla="*/ 64782 w 64781"/>
                <a:gd name="connsiteY4" fmla="*/ 104964 h 104964"/>
                <a:gd name="connsiteX5" fmla="*/ 64782 w 64781"/>
                <a:gd name="connsiteY5" fmla="*/ 101340 h 104964"/>
                <a:gd name="connsiteX6" fmla="*/ 64032 w 64781"/>
                <a:gd name="connsiteY6" fmla="*/ 88845 h 104964"/>
                <a:gd name="connsiteX7" fmla="*/ 63282 w 64781"/>
                <a:gd name="connsiteY7" fmla="*/ 77475 h 104964"/>
                <a:gd name="connsiteX8" fmla="*/ 7682 w 64781"/>
                <a:gd name="connsiteY8" fmla="*/ 6 h 104964"/>
                <a:gd name="connsiteX9" fmla="*/ 5807 w 64781"/>
                <a:gd name="connsiteY9" fmla="*/ 381 h 1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81" h="104964">
                  <a:moveTo>
                    <a:pt x="5807" y="381"/>
                  </a:moveTo>
                  <a:cubicBezTo>
                    <a:pt x="4795" y="843"/>
                    <a:pt x="3858" y="1480"/>
                    <a:pt x="3058" y="2255"/>
                  </a:cubicBezTo>
                  <a:cubicBezTo>
                    <a:pt x="-665" y="6541"/>
                    <a:pt x="-1027" y="12813"/>
                    <a:pt x="2184" y="17499"/>
                  </a:cubicBezTo>
                  <a:lnTo>
                    <a:pt x="6557" y="23621"/>
                  </a:lnTo>
                  <a:lnTo>
                    <a:pt x="64782" y="104964"/>
                  </a:lnTo>
                  <a:lnTo>
                    <a:pt x="64782" y="101340"/>
                  </a:lnTo>
                  <a:lnTo>
                    <a:pt x="64032" y="88845"/>
                  </a:lnTo>
                  <a:lnTo>
                    <a:pt x="63282" y="77475"/>
                  </a:lnTo>
                  <a:lnTo>
                    <a:pt x="7682" y="6"/>
                  </a:lnTo>
                  <a:cubicBezTo>
                    <a:pt x="7032" y="-31"/>
                    <a:pt x="6395" y="106"/>
                    <a:pt x="5807" y="381"/>
                  </a:cubicBezTo>
                  <a:close/>
                </a:path>
              </a:pathLst>
            </a:custGeom>
            <a:solidFill>
              <a:srgbClr val="000000"/>
            </a:solidFill>
            <a:ln w="12483" cap="flat">
              <a:noFill/>
              <a:prstDash val="solid"/>
              <a:miter/>
            </a:ln>
          </p:spPr>
          <p:txBody>
            <a:bodyPr rtlCol="0" anchor="ctr"/>
            <a:lstStyle/>
            <a:p>
              <a:endParaRPr lang="en-US"/>
            </a:p>
          </p:txBody>
        </p:sp>
        <p:sp>
          <p:nvSpPr>
            <p:cNvPr id="1245" name="Freeform: Shape 1244">
              <a:extLst>
                <a:ext uri="{FF2B5EF4-FFF2-40B4-BE49-F238E27FC236}">
                  <a16:creationId xmlns:a16="http://schemas.microsoft.com/office/drawing/2014/main" id="{C7F3D874-656D-48D3-B240-03870CCE3229}"/>
                </a:ext>
              </a:extLst>
            </p:cNvPr>
            <p:cNvSpPr/>
            <p:nvPr/>
          </p:nvSpPr>
          <p:spPr>
            <a:xfrm>
              <a:off x="8974152" y="5283525"/>
              <a:ext cx="20741" cy="15243"/>
            </a:xfrm>
            <a:custGeom>
              <a:avLst/>
              <a:gdLst>
                <a:gd name="connsiteX0" fmla="*/ 0 w 20741"/>
                <a:gd name="connsiteY0" fmla="*/ 11745 h 15243"/>
                <a:gd name="connsiteX1" fmla="*/ 875 w 20741"/>
                <a:gd name="connsiteY1" fmla="*/ 13245 h 15243"/>
                <a:gd name="connsiteX2" fmla="*/ 875 w 20741"/>
                <a:gd name="connsiteY2" fmla="*/ 15244 h 15243"/>
                <a:gd name="connsiteX3" fmla="*/ 8871 w 20741"/>
                <a:gd name="connsiteY3" fmla="*/ 10746 h 15243"/>
                <a:gd name="connsiteX4" fmla="*/ 20741 w 20741"/>
                <a:gd name="connsiteY4" fmla="*/ 4123 h 15243"/>
                <a:gd name="connsiteX5" fmla="*/ 20741 w 20741"/>
                <a:gd name="connsiteY5" fmla="*/ 0 h 15243"/>
                <a:gd name="connsiteX6" fmla="*/ 6872 w 20741"/>
                <a:gd name="connsiteY6" fmla="*/ 7747 h 1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41" h="15243">
                  <a:moveTo>
                    <a:pt x="0" y="11745"/>
                  </a:moveTo>
                  <a:cubicBezTo>
                    <a:pt x="325" y="12233"/>
                    <a:pt x="612" y="12732"/>
                    <a:pt x="875" y="13245"/>
                  </a:cubicBezTo>
                  <a:cubicBezTo>
                    <a:pt x="950" y="13907"/>
                    <a:pt x="950" y="14582"/>
                    <a:pt x="875" y="15244"/>
                  </a:cubicBezTo>
                  <a:lnTo>
                    <a:pt x="8871" y="10746"/>
                  </a:lnTo>
                  <a:lnTo>
                    <a:pt x="20741" y="4123"/>
                  </a:lnTo>
                  <a:lnTo>
                    <a:pt x="20741" y="0"/>
                  </a:lnTo>
                  <a:lnTo>
                    <a:pt x="6872" y="7747"/>
                  </a:lnTo>
                  <a:close/>
                </a:path>
              </a:pathLst>
            </a:custGeom>
            <a:solidFill>
              <a:srgbClr val="000000"/>
            </a:solidFill>
            <a:ln w="12483" cap="flat">
              <a:noFill/>
              <a:prstDash val="solid"/>
              <a:miter/>
            </a:ln>
          </p:spPr>
          <p:txBody>
            <a:bodyPr rtlCol="0" anchor="ctr"/>
            <a:lstStyle/>
            <a:p>
              <a:endParaRPr lang="en-US"/>
            </a:p>
          </p:txBody>
        </p:sp>
        <p:sp>
          <p:nvSpPr>
            <p:cNvPr id="1246" name="Freeform: Shape 1245">
              <a:extLst>
                <a:ext uri="{FF2B5EF4-FFF2-40B4-BE49-F238E27FC236}">
                  <a16:creationId xmlns:a16="http://schemas.microsoft.com/office/drawing/2014/main" id="{3BC21DAC-0C11-4705-A3CD-F3619412C93E}"/>
                </a:ext>
              </a:extLst>
            </p:cNvPr>
            <p:cNvSpPr/>
            <p:nvPr/>
          </p:nvSpPr>
          <p:spPr>
            <a:xfrm>
              <a:off x="8252090" y="4764107"/>
              <a:ext cx="339353" cy="183926"/>
            </a:xfrm>
            <a:custGeom>
              <a:avLst/>
              <a:gdLst>
                <a:gd name="connsiteX0" fmla="*/ 339353 w 339353"/>
                <a:gd name="connsiteY0" fmla="*/ 3124 h 183926"/>
                <a:gd name="connsiteX1" fmla="*/ 337229 w 339353"/>
                <a:gd name="connsiteY1" fmla="*/ 0 h 183926"/>
                <a:gd name="connsiteX2" fmla="*/ 1125 w 339353"/>
                <a:gd name="connsiteY2" fmla="*/ 180803 h 183926"/>
                <a:gd name="connsiteX3" fmla="*/ 0 w 339353"/>
                <a:gd name="connsiteY3" fmla="*/ 180803 h 183926"/>
                <a:gd name="connsiteX4" fmla="*/ 0 w 339353"/>
                <a:gd name="connsiteY4" fmla="*/ 180803 h 183926"/>
                <a:gd name="connsiteX5" fmla="*/ 750 w 339353"/>
                <a:gd name="connsiteY5" fmla="*/ 180803 h 183926"/>
                <a:gd name="connsiteX6" fmla="*/ 2499 w 339353"/>
                <a:gd name="connsiteY6" fmla="*/ 182302 h 183926"/>
                <a:gd name="connsiteX7" fmla="*/ 2499 w 339353"/>
                <a:gd name="connsiteY7" fmla="*/ 182427 h 183926"/>
                <a:gd name="connsiteX8" fmla="*/ 2499 w 339353"/>
                <a:gd name="connsiteY8" fmla="*/ 183927 h 183926"/>
                <a:gd name="connsiteX9" fmla="*/ 3374 w 339353"/>
                <a:gd name="connsiteY9" fmla="*/ 183927 h 183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9353" h="183926">
                  <a:moveTo>
                    <a:pt x="339353" y="3124"/>
                  </a:moveTo>
                  <a:lnTo>
                    <a:pt x="337229" y="0"/>
                  </a:lnTo>
                  <a:lnTo>
                    <a:pt x="1125" y="180803"/>
                  </a:lnTo>
                  <a:lnTo>
                    <a:pt x="0" y="180803"/>
                  </a:lnTo>
                  <a:lnTo>
                    <a:pt x="0" y="180803"/>
                  </a:lnTo>
                  <a:cubicBezTo>
                    <a:pt x="0" y="180803"/>
                    <a:pt x="0" y="180803"/>
                    <a:pt x="750" y="180803"/>
                  </a:cubicBezTo>
                  <a:cubicBezTo>
                    <a:pt x="1649" y="180728"/>
                    <a:pt x="2424" y="181403"/>
                    <a:pt x="2499" y="182302"/>
                  </a:cubicBezTo>
                  <a:cubicBezTo>
                    <a:pt x="2499" y="182340"/>
                    <a:pt x="2499" y="182390"/>
                    <a:pt x="2499" y="182427"/>
                  </a:cubicBezTo>
                  <a:lnTo>
                    <a:pt x="2499" y="183927"/>
                  </a:lnTo>
                  <a:lnTo>
                    <a:pt x="3374" y="183927"/>
                  </a:lnTo>
                  <a:close/>
                </a:path>
              </a:pathLst>
            </a:custGeom>
            <a:solidFill>
              <a:srgbClr val="000000"/>
            </a:solidFill>
            <a:ln w="12483" cap="flat">
              <a:noFill/>
              <a:prstDash val="solid"/>
              <a:miter/>
            </a:ln>
          </p:spPr>
          <p:txBody>
            <a:bodyPr rtlCol="0" anchor="ctr"/>
            <a:lstStyle/>
            <a:p>
              <a:endParaRPr lang="en-US"/>
            </a:p>
          </p:txBody>
        </p:sp>
        <p:sp>
          <p:nvSpPr>
            <p:cNvPr id="1247" name="Freeform: Shape 1246">
              <a:extLst>
                <a:ext uri="{FF2B5EF4-FFF2-40B4-BE49-F238E27FC236}">
                  <a16:creationId xmlns:a16="http://schemas.microsoft.com/office/drawing/2014/main" id="{39D3717C-6CE2-468A-895F-8307DEF79DC7}"/>
                </a:ext>
              </a:extLst>
            </p:cNvPr>
            <p:cNvSpPr/>
            <p:nvPr/>
          </p:nvSpPr>
          <p:spPr>
            <a:xfrm>
              <a:off x="7341608" y="4900178"/>
              <a:ext cx="85712" cy="62974"/>
            </a:xfrm>
            <a:custGeom>
              <a:avLst/>
              <a:gdLst>
                <a:gd name="connsiteX0" fmla="*/ 74968 w 85712"/>
                <a:gd name="connsiteY0" fmla="*/ 0 h 62974"/>
                <a:gd name="connsiteX1" fmla="*/ 0 w 85712"/>
                <a:gd name="connsiteY1" fmla="*/ 39484 h 62974"/>
                <a:gd name="connsiteX2" fmla="*/ 4248 w 85712"/>
                <a:gd name="connsiteY2" fmla="*/ 46232 h 62974"/>
                <a:gd name="connsiteX3" fmla="*/ 2624 w 85712"/>
                <a:gd name="connsiteY3" fmla="*/ 61476 h 62974"/>
                <a:gd name="connsiteX4" fmla="*/ 0 w 85712"/>
                <a:gd name="connsiteY4" fmla="*/ 62975 h 62974"/>
                <a:gd name="connsiteX5" fmla="*/ 750 w 85712"/>
                <a:gd name="connsiteY5" fmla="*/ 62975 h 62974"/>
                <a:gd name="connsiteX6" fmla="*/ 85713 w 85712"/>
                <a:gd name="connsiteY6" fmla="*/ 17743 h 62974"/>
                <a:gd name="connsiteX7" fmla="*/ 81465 w 85712"/>
                <a:gd name="connsiteY7" fmla="*/ 11121 h 6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12" h="62974">
                  <a:moveTo>
                    <a:pt x="74968" y="0"/>
                  </a:moveTo>
                  <a:lnTo>
                    <a:pt x="0" y="39484"/>
                  </a:lnTo>
                  <a:lnTo>
                    <a:pt x="4248" y="46232"/>
                  </a:lnTo>
                  <a:cubicBezTo>
                    <a:pt x="7259" y="51092"/>
                    <a:pt x="6585" y="57365"/>
                    <a:pt x="2624" y="61476"/>
                  </a:cubicBezTo>
                  <a:lnTo>
                    <a:pt x="0" y="62975"/>
                  </a:lnTo>
                  <a:lnTo>
                    <a:pt x="750" y="62975"/>
                  </a:lnTo>
                  <a:lnTo>
                    <a:pt x="85713" y="17743"/>
                  </a:lnTo>
                  <a:lnTo>
                    <a:pt x="81465" y="11121"/>
                  </a:lnTo>
                  <a:close/>
                </a:path>
              </a:pathLst>
            </a:custGeom>
            <a:solidFill>
              <a:srgbClr val="000000"/>
            </a:solidFill>
            <a:ln w="12483" cap="flat">
              <a:noFill/>
              <a:prstDash val="solid"/>
              <a:miter/>
            </a:ln>
          </p:spPr>
          <p:txBody>
            <a:bodyPr rtlCol="0" anchor="ctr"/>
            <a:lstStyle/>
            <a:p>
              <a:endParaRPr lang="en-US"/>
            </a:p>
          </p:txBody>
        </p:sp>
        <p:sp>
          <p:nvSpPr>
            <p:cNvPr id="1248" name="Freeform: Shape 1247">
              <a:extLst>
                <a:ext uri="{FF2B5EF4-FFF2-40B4-BE49-F238E27FC236}">
                  <a16:creationId xmlns:a16="http://schemas.microsoft.com/office/drawing/2014/main" id="{049F8AD0-0100-4334-8742-DDC71410CAFD}"/>
                </a:ext>
              </a:extLst>
            </p:cNvPr>
            <p:cNvSpPr/>
            <p:nvPr/>
          </p:nvSpPr>
          <p:spPr>
            <a:xfrm>
              <a:off x="7126201" y="4623163"/>
              <a:ext cx="220534" cy="339324"/>
            </a:xfrm>
            <a:custGeom>
              <a:avLst/>
              <a:gdLst>
                <a:gd name="connsiteX0" fmla="*/ 219280 w 220534"/>
                <a:gd name="connsiteY0" fmla="*/ 323246 h 339324"/>
                <a:gd name="connsiteX1" fmla="*/ 215032 w 220534"/>
                <a:gd name="connsiteY1" fmla="*/ 316499 h 339324"/>
                <a:gd name="connsiteX2" fmla="*/ 210784 w 220534"/>
                <a:gd name="connsiteY2" fmla="*/ 309627 h 339324"/>
                <a:gd name="connsiteX3" fmla="*/ 213783 w 220534"/>
                <a:gd name="connsiteY3" fmla="*/ 329494 h 339324"/>
                <a:gd name="connsiteX4" fmla="*/ 212408 w 220534"/>
                <a:gd name="connsiteY4" fmla="*/ 331743 h 339324"/>
                <a:gd name="connsiteX5" fmla="*/ 210659 w 220534"/>
                <a:gd name="connsiteY5" fmla="*/ 330243 h 339324"/>
                <a:gd name="connsiteX6" fmla="*/ 210659 w 220534"/>
                <a:gd name="connsiteY6" fmla="*/ 330118 h 339324"/>
                <a:gd name="connsiteX7" fmla="*/ 206536 w 220534"/>
                <a:gd name="connsiteY7" fmla="*/ 302879 h 339324"/>
                <a:gd name="connsiteX8" fmla="*/ 16118 w 220534"/>
                <a:gd name="connsiteY8" fmla="*/ 0 h 339324"/>
                <a:gd name="connsiteX9" fmla="*/ 16118 w 220534"/>
                <a:gd name="connsiteY9" fmla="*/ 2499 h 339324"/>
                <a:gd name="connsiteX10" fmla="*/ 8996 w 220534"/>
                <a:gd name="connsiteY10" fmla="*/ 14994 h 339324"/>
                <a:gd name="connsiteX11" fmla="*/ 0 w 220534"/>
                <a:gd name="connsiteY11" fmla="*/ 10621 h 339324"/>
                <a:gd name="connsiteX12" fmla="*/ 0 w 220534"/>
                <a:gd name="connsiteY12" fmla="*/ 10621 h 339324"/>
                <a:gd name="connsiteX13" fmla="*/ 204537 w 220534"/>
                <a:gd name="connsiteY13" fmla="*/ 335491 h 339324"/>
                <a:gd name="connsiteX14" fmla="*/ 204537 w 220534"/>
                <a:gd name="connsiteY14" fmla="*/ 336116 h 339324"/>
                <a:gd name="connsiteX15" fmla="*/ 205911 w 220534"/>
                <a:gd name="connsiteY15" fmla="*/ 337491 h 339324"/>
                <a:gd name="connsiteX16" fmla="*/ 207410 w 220534"/>
                <a:gd name="connsiteY16" fmla="*/ 338615 h 339324"/>
                <a:gd name="connsiteX17" fmla="*/ 208910 w 220534"/>
                <a:gd name="connsiteY17" fmla="*/ 339240 h 339324"/>
                <a:gd name="connsiteX18" fmla="*/ 210659 w 220534"/>
                <a:gd name="connsiteY18" fmla="*/ 339240 h 339324"/>
                <a:gd name="connsiteX19" fmla="*/ 212283 w 220534"/>
                <a:gd name="connsiteY19" fmla="*/ 339240 h 339324"/>
                <a:gd name="connsiteX20" fmla="*/ 214033 w 220534"/>
                <a:gd name="connsiteY20" fmla="*/ 339240 h 339324"/>
                <a:gd name="connsiteX21" fmla="*/ 216657 w 220534"/>
                <a:gd name="connsiteY21" fmla="*/ 337740 h 339324"/>
                <a:gd name="connsiteX22" fmla="*/ 219280 w 220534"/>
                <a:gd name="connsiteY22" fmla="*/ 323246 h 33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0534" h="339324">
                  <a:moveTo>
                    <a:pt x="219280" y="323246"/>
                  </a:moveTo>
                  <a:lnTo>
                    <a:pt x="215032" y="316499"/>
                  </a:lnTo>
                  <a:lnTo>
                    <a:pt x="210784" y="309627"/>
                  </a:lnTo>
                  <a:lnTo>
                    <a:pt x="213783" y="329494"/>
                  </a:lnTo>
                  <a:cubicBezTo>
                    <a:pt x="213895" y="330468"/>
                    <a:pt x="213333" y="331405"/>
                    <a:pt x="212408" y="331743"/>
                  </a:cubicBezTo>
                  <a:cubicBezTo>
                    <a:pt x="211509" y="331818"/>
                    <a:pt x="210734" y="331143"/>
                    <a:pt x="210659" y="330243"/>
                  </a:cubicBezTo>
                  <a:cubicBezTo>
                    <a:pt x="210659" y="330206"/>
                    <a:pt x="210659" y="330156"/>
                    <a:pt x="210659" y="330118"/>
                  </a:cubicBezTo>
                  <a:lnTo>
                    <a:pt x="206536" y="302879"/>
                  </a:lnTo>
                  <a:lnTo>
                    <a:pt x="16118" y="0"/>
                  </a:lnTo>
                  <a:lnTo>
                    <a:pt x="16118" y="2499"/>
                  </a:lnTo>
                  <a:cubicBezTo>
                    <a:pt x="17293" y="7872"/>
                    <a:pt x="14219" y="13269"/>
                    <a:pt x="8996" y="14994"/>
                  </a:cubicBezTo>
                  <a:cubicBezTo>
                    <a:pt x="5360" y="15731"/>
                    <a:pt x="1674" y="13944"/>
                    <a:pt x="0" y="10621"/>
                  </a:cubicBezTo>
                  <a:lnTo>
                    <a:pt x="0" y="10621"/>
                  </a:lnTo>
                  <a:lnTo>
                    <a:pt x="204537" y="335491"/>
                  </a:lnTo>
                  <a:lnTo>
                    <a:pt x="204537" y="336116"/>
                  </a:lnTo>
                  <a:lnTo>
                    <a:pt x="205911" y="337491"/>
                  </a:lnTo>
                  <a:cubicBezTo>
                    <a:pt x="206323" y="337978"/>
                    <a:pt x="206836" y="338353"/>
                    <a:pt x="207410" y="338615"/>
                  </a:cubicBezTo>
                  <a:lnTo>
                    <a:pt x="208910" y="339240"/>
                  </a:lnTo>
                  <a:cubicBezTo>
                    <a:pt x="209485" y="339352"/>
                    <a:pt x="210084" y="339352"/>
                    <a:pt x="210659" y="339240"/>
                  </a:cubicBezTo>
                  <a:cubicBezTo>
                    <a:pt x="211196" y="339352"/>
                    <a:pt x="211746" y="339352"/>
                    <a:pt x="212283" y="339240"/>
                  </a:cubicBezTo>
                  <a:cubicBezTo>
                    <a:pt x="212858" y="339352"/>
                    <a:pt x="213458" y="339352"/>
                    <a:pt x="214033" y="339240"/>
                  </a:cubicBezTo>
                  <a:lnTo>
                    <a:pt x="216657" y="337740"/>
                  </a:lnTo>
                  <a:cubicBezTo>
                    <a:pt x="220592" y="333992"/>
                    <a:pt x="221654" y="328132"/>
                    <a:pt x="219280" y="323246"/>
                  </a:cubicBezTo>
                  <a:close/>
                </a:path>
              </a:pathLst>
            </a:custGeom>
            <a:solidFill>
              <a:srgbClr val="000000"/>
            </a:solidFill>
            <a:ln w="12483" cap="flat">
              <a:noFill/>
              <a:prstDash val="solid"/>
              <a:miter/>
            </a:ln>
          </p:spPr>
          <p:txBody>
            <a:bodyPr rtlCol="0" anchor="ctr"/>
            <a:lstStyle/>
            <a:p>
              <a:endParaRPr lang="en-US"/>
            </a:p>
          </p:txBody>
        </p:sp>
        <p:sp>
          <p:nvSpPr>
            <p:cNvPr id="1249" name="Freeform: Shape 1248">
              <a:extLst>
                <a:ext uri="{FF2B5EF4-FFF2-40B4-BE49-F238E27FC236}">
                  <a16:creationId xmlns:a16="http://schemas.microsoft.com/office/drawing/2014/main" id="{F355ADFA-C943-4AA4-B432-ADD675D27795}"/>
                </a:ext>
              </a:extLst>
            </p:cNvPr>
            <p:cNvSpPr/>
            <p:nvPr/>
          </p:nvSpPr>
          <p:spPr>
            <a:xfrm>
              <a:off x="7456933" y="4452107"/>
              <a:ext cx="16742" cy="10745"/>
            </a:xfrm>
            <a:custGeom>
              <a:avLst/>
              <a:gdLst>
                <a:gd name="connsiteX0" fmla="*/ 1999 w 16742"/>
                <a:gd name="connsiteY0" fmla="*/ 10746 h 10745"/>
                <a:gd name="connsiteX1" fmla="*/ 16743 w 16742"/>
                <a:gd name="connsiteY1" fmla="*/ 3124 h 10745"/>
                <a:gd name="connsiteX2" fmla="*/ 14744 w 16742"/>
                <a:gd name="connsiteY2" fmla="*/ 0 h 10745"/>
                <a:gd name="connsiteX3" fmla="*/ 0 w 16742"/>
                <a:gd name="connsiteY3" fmla="*/ 7497 h 10745"/>
                <a:gd name="connsiteX4" fmla="*/ 1999 w 16742"/>
                <a:gd name="connsiteY4" fmla="*/ 10746 h 1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42" h="10745">
                  <a:moveTo>
                    <a:pt x="1999" y="10746"/>
                  </a:moveTo>
                  <a:lnTo>
                    <a:pt x="16743" y="3124"/>
                  </a:lnTo>
                  <a:lnTo>
                    <a:pt x="14744" y="0"/>
                  </a:lnTo>
                  <a:lnTo>
                    <a:pt x="0" y="7497"/>
                  </a:lnTo>
                  <a:lnTo>
                    <a:pt x="1999" y="10746"/>
                  </a:lnTo>
                  <a:close/>
                </a:path>
              </a:pathLst>
            </a:custGeom>
            <a:solidFill>
              <a:srgbClr val="000000"/>
            </a:solidFill>
            <a:ln w="12483" cap="flat">
              <a:noFill/>
              <a:prstDash val="solid"/>
              <a:miter/>
            </a:ln>
          </p:spPr>
          <p:txBody>
            <a:bodyPr rtlCol="0" anchor="ctr"/>
            <a:lstStyle/>
            <a:p>
              <a:endParaRPr lang="en-US"/>
            </a:p>
          </p:txBody>
        </p:sp>
        <p:sp>
          <p:nvSpPr>
            <p:cNvPr id="1250" name="Freeform: Shape 1249">
              <a:extLst>
                <a:ext uri="{FF2B5EF4-FFF2-40B4-BE49-F238E27FC236}">
                  <a16:creationId xmlns:a16="http://schemas.microsoft.com/office/drawing/2014/main" id="{1BF2FB39-2599-44FF-9E0C-273941F31549}"/>
                </a:ext>
              </a:extLst>
            </p:cNvPr>
            <p:cNvSpPr/>
            <p:nvPr/>
          </p:nvSpPr>
          <p:spPr>
            <a:xfrm>
              <a:off x="7302375" y="4719375"/>
              <a:ext cx="38247" cy="235531"/>
            </a:xfrm>
            <a:custGeom>
              <a:avLst/>
              <a:gdLst>
                <a:gd name="connsiteX0" fmla="*/ 0 w 38247"/>
                <a:gd name="connsiteY0" fmla="*/ 0 h 235531"/>
                <a:gd name="connsiteX1" fmla="*/ 30987 w 38247"/>
                <a:gd name="connsiteY1" fmla="*/ 206668 h 235531"/>
                <a:gd name="connsiteX2" fmla="*/ 35110 w 38247"/>
                <a:gd name="connsiteY2" fmla="*/ 233907 h 235531"/>
                <a:gd name="connsiteX3" fmla="*/ 36734 w 38247"/>
                <a:gd name="connsiteY3" fmla="*/ 235531 h 235531"/>
                <a:gd name="connsiteX4" fmla="*/ 36859 w 38247"/>
                <a:gd name="connsiteY4" fmla="*/ 235531 h 235531"/>
                <a:gd name="connsiteX5" fmla="*/ 38233 w 38247"/>
                <a:gd name="connsiteY5" fmla="*/ 233282 h 235531"/>
                <a:gd name="connsiteX6" fmla="*/ 35235 w 38247"/>
                <a:gd name="connsiteY6" fmla="*/ 213415 h 235531"/>
                <a:gd name="connsiteX7" fmla="*/ 4248 w 38247"/>
                <a:gd name="connsiteY7" fmla="*/ 6623 h 23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47" h="235531">
                  <a:moveTo>
                    <a:pt x="0" y="0"/>
                  </a:moveTo>
                  <a:lnTo>
                    <a:pt x="30987" y="206668"/>
                  </a:lnTo>
                  <a:lnTo>
                    <a:pt x="35110" y="233907"/>
                  </a:lnTo>
                  <a:cubicBezTo>
                    <a:pt x="35110" y="234807"/>
                    <a:pt x="35834" y="235531"/>
                    <a:pt x="36734" y="235531"/>
                  </a:cubicBezTo>
                  <a:cubicBezTo>
                    <a:pt x="36772" y="235531"/>
                    <a:pt x="36822" y="235531"/>
                    <a:pt x="36859" y="235531"/>
                  </a:cubicBezTo>
                  <a:cubicBezTo>
                    <a:pt x="37784" y="235194"/>
                    <a:pt x="38346" y="234257"/>
                    <a:pt x="38233" y="233282"/>
                  </a:cubicBezTo>
                  <a:lnTo>
                    <a:pt x="35235" y="213415"/>
                  </a:lnTo>
                  <a:lnTo>
                    <a:pt x="4248" y="6623"/>
                  </a:lnTo>
                  <a:close/>
                </a:path>
              </a:pathLst>
            </a:custGeom>
            <a:solidFill>
              <a:srgbClr val="000000"/>
            </a:solidFill>
            <a:ln w="12483" cap="flat">
              <a:noFill/>
              <a:prstDash val="solid"/>
              <a:miter/>
            </a:ln>
          </p:spPr>
          <p:txBody>
            <a:bodyPr rtlCol="0" anchor="ctr"/>
            <a:lstStyle/>
            <a:p>
              <a:endParaRPr lang="en-US"/>
            </a:p>
          </p:txBody>
        </p:sp>
        <p:sp>
          <p:nvSpPr>
            <p:cNvPr id="1251" name="Freeform: Shape 1250">
              <a:extLst>
                <a:ext uri="{FF2B5EF4-FFF2-40B4-BE49-F238E27FC236}">
                  <a16:creationId xmlns:a16="http://schemas.microsoft.com/office/drawing/2014/main" id="{27BC0949-669F-4B93-9670-5362A6E33400}"/>
                </a:ext>
              </a:extLst>
            </p:cNvPr>
            <p:cNvSpPr/>
            <p:nvPr/>
          </p:nvSpPr>
          <p:spPr>
            <a:xfrm>
              <a:off x="8211732" y="3988916"/>
              <a:ext cx="414945" cy="216413"/>
            </a:xfrm>
            <a:custGeom>
              <a:avLst/>
              <a:gdLst>
                <a:gd name="connsiteX0" fmla="*/ 414696 w 414945"/>
                <a:gd name="connsiteY0" fmla="*/ 0 h 216413"/>
                <a:gd name="connsiteX1" fmla="*/ 413321 w 414945"/>
                <a:gd name="connsiteY1" fmla="*/ 750 h 216413"/>
                <a:gd name="connsiteX2" fmla="*/ 0 w 414945"/>
                <a:gd name="connsiteY2" fmla="*/ 214415 h 216413"/>
                <a:gd name="connsiteX3" fmla="*/ 1499 w 414945"/>
                <a:gd name="connsiteY3" fmla="*/ 216414 h 216413"/>
                <a:gd name="connsiteX4" fmla="*/ 414946 w 414945"/>
                <a:gd name="connsiteY4" fmla="*/ 2624 h 216413"/>
                <a:gd name="connsiteX5" fmla="*/ 414696 w 414945"/>
                <a:gd name="connsiteY5" fmla="*/ 0 h 21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945" h="216413">
                  <a:moveTo>
                    <a:pt x="414696" y="0"/>
                  </a:moveTo>
                  <a:lnTo>
                    <a:pt x="413321" y="750"/>
                  </a:lnTo>
                  <a:lnTo>
                    <a:pt x="0" y="214415"/>
                  </a:lnTo>
                  <a:lnTo>
                    <a:pt x="1499" y="216414"/>
                  </a:lnTo>
                  <a:lnTo>
                    <a:pt x="414946" y="2624"/>
                  </a:lnTo>
                  <a:lnTo>
                    <a:pt x="414696" y="0"/>
                  </a:lnTo>
                  <a:close/>
                </a:path>
              </a:pathLst>
            </a:custGeom>
            <a:solidFill>
              <a:srgbClr val="000000"/>
            </a:solidFill>
            <a:ln w="12483" cap="flat">
              <a:noFill/>
              <a:prstDash val="solid"/>
              <a:miter/>
            </a:ln>
          </p:spPr>
          <p:txBody>
            <a:bodyPr rtlCol="0" anchor="ctr"/>
            <a:lstStyle/>
            <a:p>
              <a:endParaRPr lang="en-US"/>
            </a:p>
          </p:txBody>
        </p:sp>
        <p:sp>
          <p:nvSpPr>
            <p:cNvPr id="1252" name="Freeform: Shape 1251">
              <a:extLst>
                <a:ext uri="{FF2B5EF4-FFF2-40B4-BE49-F238E27FC236}">
                  <a16:creationId xmlns:a16="http://schemas.microsoft.com/office/drawing/2014/main" id="{8D4E7165-F4B3-4C57-A42F-856652E0E8A0}"/>
                </a:ext>
              </a:extLst>
            </p:cNvPr>
            <p:cNvSpPr/>
            <p:nvPr/>
          </p:nvSpPr>
          <p:spPr>
            <a:xfrm>
              <a:off x="8627802" y="4302166"/>
              <a:ext cx="23739" cy="13369"/>
            </a:xfrm>
            <a:custGeom>
              <a:avLst/>
              <a:gdLst>
                <a:gd name="connsiteX0" fmla="*/ 1499 w 23739"/>
                <a:gd name="connsiteY0" fmla="*/ 11496 h 13369"/>
                <a:gd name="connsiteX1" fmla="*/ 1499 w 23739"/>
                <a:gd name="connsiteY1" fmla="*/ 11496 h 13369"/>
                <a:gd name="connsiteX2" fmla="*/ 1499 w 23739"/>
                <a:gd name="connsiteY2" fmla="*/ 11496 h 13369"/>
                <a:gd name="connsiteX3" fmla="*/ 2874 w 23739"/>
                <a:gd name="connsiteY3" fmla="*/ 13370 h 13369"/>
                <a:gd name="connsiteX4" fmla="*/ 23740 w 23739"/>
                <a:gd name="connsiteY4" fmla="*/ 2499 h 13369"/>
                <a:gd name="connsiteX5" fmla="*/ 22865 w 23739"/>
                <a:gd name="connsiteY5" fmla="*/ 1374 h 13369"/>
                <a:gd name="connsiteX6" fmla="*/ 22865 w 23739"/>
                <a:gd name="connsiteY6" fmla="*/ 1374 h 13369"/>
                <a:gd name="connsiteX7" fmla="*/ 22865 w 23739"/>
                <a:gd name="connsiteY7" fmla="*/ 0 h 13369"/>
                <a:gd name="connsiteX8" fmla="*/ 0 w 23739"/>
                <a:gd name="connsiteY8" fmla="*/ 11870 h 13369"/>
                <a:gd name="connsiteX9" fmla="*/ 1000 w 23739"/>
                <a:gd name="connsiteY9" fmla="*/ 1187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39" h="13369">
                  <a:moveTo>
                    <a:pt x="1499" y="11496"/>
                  </a:moveTo>
                  <a:lnTo>
                    <a:pt x="1499" y="11496"/>
                  </a:lnTo>
                  <a:cubicBezTo>
                    <a:pt x="1499" y="11496"/>
                    <a:pt x="1499" y="11496"/>
                    <a:pt x="1499" y="11496"/>
                  </a:cubicBezTo>
                  <a:lnTo>
                    <a:pt x="2874" y="13370"/>
                  </a:lnTo>
                  <a:lnTo>
                    <a:pt x="23740" y="2499"/>
                  </a:lnTo>
                  <a:lnTo>
                    <a:pt x="22865" y="1374"/>
                  </a:lnTo>
                  <a:cubicBezTo>
                    <a:pt x="22865" y="1374"/>
                    <a:pt x="22865" y="1374"/>
                    <a:pt x="22865" y="1374"/>
                  </a:cubicBezTo>
                  <a:lnTo>
                    <a:pt x="22865" y="0"/>
                  </a:lnTo>
                  <a:lnTo>
                    <a:pt x="0" y="11870"/>
                  </a:lnTo>
                  <a:lnTo>
                    <a:pt x="1000" y="11870"/>
                  </a:lnTo>
                  <a:close/>
                </a:path>
              </a:pathLst>
            </a:custGeom>
            <a:solidFill>
              <a:srgbClr val="000000"/>
            </a:solidFill>
            <a:ln w="12483" cap="flat">
              <a:noFill/>
              <a:prstDash val="solid"/>
              <a:miter/>
            </a:ln>
          </p:spPr>
          <p:txBody>
            <a:bodyPr rtlCol="0" anchor="ctr"/>
            <a:lstStyle/>
            <a:p>
              <a:endParaRPr lang="en-US"/>
            </a:p>
          </p:txBody>
        </p:sp>
        <p:sp>
          <p:nvSpPr>
            <p:cNvPr id="1253" name="Freeform: Shape 1252">
              <a:extLst>
                <a:ext uri="{FF2B5EF4-FFF2-40B4-BE49-F238E27FC236}">
                  <a16:creationId xmlns:a16="http://schemas.microsoft.com/office/drawing/2014/main" id="{10382EB0-FDC9-42C9-AE42-BA882D132FD4}"/>
                </a:ext>
              </a:extLst>
            </p:cNvPr>
            <p:cNvSpPr/>
            <p:nvPr/>
          </p:nvSpPr>
          <p:spPr>
            <a:xfrm>
              <a:off x="8651417" y="4301292"/>
              <a:ext cx="308241" cy="431328"/>
            </a:xfrm>
            <a:custGeom>
              <a:avLst/>
              <a:gdLst>
                <a:gd name="connsiteX0" fmla="*/ 2999 w 308241"/>
                <a:gd name="connsiteY0" fmla="*/ 1499 h 431328"/>
                <a:gd name="connsiteX1" fmla="*/ 1499 w 308241"/>
                <a:gd name="connsiteY1" fmla="*/ 3624 h 431328"/>
                <a:gd name="connsiteX2" fmla="*/ 0 w 308241"/>
                <a:gd name="connsiteY2" fmla="*/ 2374 h 431328"/>
                <a:gd name="connsiteX3" fmla="*/ 0 w 308241"/>
                <a:gd name="connsiteY3" fmla="*/ 2374 h 431328"/>
                <a:gd name="connsiteX4" fmla="*/ 875 w 308241"/>
                <a:gd name="connsiteY4" fmla="*/ 3499 h 431328"/>
                <a:gd name="connsiteX5" fmla="*/ 308242 w 308241"/>
                <a:gd name="connsiteY5" fmla="*/ 431328 h 431328"/>
                <a:gd name="connsiteX6" fmla="*/ 308242 w 308241"/>
                <a:gd name="connsiteY6" fmla="*/ 424831 h 431328"/>
                <a:gd name="connsiteX7" fmla="*/ 3249 w 308241"/>
                <a:gd name="connsiteY7" fmla="*/ 0 h 43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241" h="431328">
                  <a:moveTo>
                    <a:pt x="2999" y="1499"/>
                  </a:moveTo>
                  <a:cubicBezTo>
                    <a:pt x="3036" y="2461"/>
                    <a:pt x="2424" y="3336"/>
                    <a:pt x="1499" y="3624"/>
                  </a:cubicBezTo>
                  <a:cubicBezTo>
                    <a:pt x="787" y="3549"/>
                    <a:pt x="200" y="3061"/>
                    <a:pt x="0" y="2374"/>
                  </a:cubicBezTo>
                  <a:cubicBezTo>
                    <a:pt x="0" y="2374"/>
                    <a:pt x="0" y="2374"/>
                    <a:pt x="0" y="2374"/>
                  </a:cubicBezTo>
                  <a:lnTo>
                    <a:pt x="875" y="3499"/>
                  </a:lnTo>
                  <a:lnTo>
                    <a:pt x="308242" y="431328"/>
                  </a:lnTo>
                  <a:lnTo>
                    <a:pt x="308242" y="424831"/>
                  </a:lnTo>
                  <a:lnTo>
                    <a:pt x="3249" y="0"/>
                  </a:lnTo>
                  <a:close/>
                </a:path>
              </a:pathLst>
            </a:custGeom>
            <a:solidFill>
              <a:schemeClr val="accent5"/>
            </a:solidFill>
            <a:ln w="12483" cap="flat">
              <a:noFill/>
              <a:prstDash val="solid"/>
              <a:miter/>
            </a:ln>
          </p:spPr>
          <p:txBody>
            <a:bodyPr rtlCol="0" anchor="ctr"/>
            <a:lstStyle/>
            <a:p>
              <a:endParaRPr lang="en-US"/>
            </a:p>
          </p:txBody>
        </p:sp>
        <p:sp>
          <p:nvSpPr>
            <p:cNvPr id="1254" name="Freeform: Shape 1253">
              <a:extLst>
                <a:ext uri="{FF2B5EF4-FFF2-40B4-BE49-F238E27FC236}">
                  <a16:creationId xmlns:a16="http://schemas.microsoft.com/office/drawing/2014/main" id="{17CD0621-5AE9-4337-B009-44831E3BA3FE}"/>
                </a:ext>
              </a:extLst>
            </p:cNvPr>
            <p:cNvSpPr/>
            <p:nvPr/>
          </p:nvSpPr>
          <p:spPr>
            <a:xfrm>
              <a:off x="8626803" y="3988791"/>
              <a:ext cx="27989" cy="316123"/>
            </a:xfrm>
            <a:custGeom>
              <a:avLst/>
              <a:gdLst>
                <a:gd name="connsiteX0" fmla="*/ 24989 w 27989"/>
                <a:gd name="connsiteY0" fmla="*/ 314874 h 316123"/>
                <a:gd name="connsiteX1" fmla="*/ 26488 w 27989"/>
                <a:gd name="connsiteY1" fmla="*/ 316124 h 316123"/>
                <a:gd name="connsiteX2" fmla="*/ 27988 w 27989"/>
                <a:gd name="connsiteY2" fmla="*/ 313999 h 316123"/>
                <a:gd name="connsiteX3" fmla="*/ 27988 w 27989"/>
                <a:gd name="connsiteY3" fmla="*/ 313999 h 316123"/>
                <a:gd name="connsiteX4" fmla="*/ 3249 w 27989"/>
                <a:gd name="connsiteY4" fmla="*/ 4498 h 316123"/>
                <a:gd name="connsiteX5" fmla="*/ 2249 w 27989"/>
                <a:gd name="connsiteY5" fmla="*/ 3124 h 316123"/>
                <a:gd name="connsiteX6" fmla="*/ 0 w 27989"/>
                <a:gd name="connsiteY6" fmla="*/ 0 h 316123"/>
                <a:gd name="connsiteX7" fmla="*/ 0 w 27989"/>
                <a:gd name="connsiteY7" fmla="*/ 0 h 316123"/>
                <a:gd name="connsiteX8" fmla="*/ 0 w 27989"/>
                <a:gd name="connsiteY8" fmla="*/ 2624 h 316123"/>
                <a:gd name="connsiteX9" fmla="*/ 24989 w 27989"/>
                <a:gd name="connsiteY9" fmla="*/ 312875 h 316123"/>
                <a:gd name="connsiteX10" fmla="*/ 24989 w 27989"/>
                <a:gd name="connsiteY10" fmla="*/ 314250 h 316123"/>
                <a:gd name="connsiteX11" fmla="*/ 24989 w 27989"/>
                <a:gd name="connsiteY11" fmla="*/ 314874 h 31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89" h="316123">
                  <a:moveTo>
                    <a:pt x="24989" y="314874"/>
                  </a:moveTo>
                  <a:cubicBezTo>
                    <a:pt x="25189" y="315561"/>
                    <a:pt x="25776" y="316049"/>
                    <a:pt x="26488" y="316124"/>
                  </a:cubicBezTo>
                  <a:cubicBezTo>
                    <a:pt x="27413" y="315836"/>
                    <a:pt x="28026" y="314962"/>
                    <a:pt x="27988" y="313999"/>
                  </a:cubicBezTo>
                  <a:lnTo>
                    <a:pt x="27988" y="313999"/>
                  </a:lnTo>
                  <a:lnTo>
                    <a:pt x="3249" y="4498"/>
                  </a:lnTo>
                  <a:lnTo>
                    <a:pt x="2249" y="3124"/>
                  </a:lnTo>
                  <a:lnTo>
                    <a:pt x="0" y="0"/>
                  </a:lnTo>
                  <a:lnTo>
                    <a:pt x="0" y="0"/>
                  </a:lnTo>
                  <a:lnTo>
                    <a:pt x="0" y="2624"/>
                  </a:lnTo>
                  <a:lnTo>
                    <a:pt x="24989" y="312875"/>
                  </a:lnTo>
                  <a:lnTo>
                    <a:pt x="24989" y="314250"/>
                  </a:lnTo>
                  <a:cubicBezTo>
                    <a:pt x="25102" y="314437"/>
                    <a:pt x="25102" y="314687"/>
                    <a:pt x="24989" y="314874"/>
                  </a:cubicBezTo>
                  <a:close/>
                </a:path>
              </a:pathLst>
            </a:custGeom>
            <a:solidFill>
              <a:srgbClr val="000000"/>
            </a:solidFill>
            <a:ln w="12483" cap="flat">
              <a:noFill/>
              <a:prstDash val="solid"/>
              <a:miter/>
            </a:ln>
          </p:spPr>
          <p:txBody>
            <a:bodyPr rtlCol="0" anchor="ctr"/>
            <a:lstStyle/>
            <a:p>
              <a:endParaRPr lang="en-US"/>
            </a:p>
          </p:txBody>
        </p:sp>
        <p:sp>
          <p:nvSpPr>
            <p:cNvPr id="1255" name="Freeform: Shape 1254">
              <a:extLst>
                <a:ext uri="{FF2B5EF4-FFF2-40B4-BE49-F238E27FC236}">
                  <a16:creationId xmlns:a16="http://schemas.microsoft.com/office/drawing/2014/main" id="{DB5BBAFC-0932-4F81-9335-A6E1AE8C4ADC}"/>
                </a:ext>
              </a:extLst>
            </p:cNvPr>
            <p:cNvSpPr/>
            <p:nvPr/>
          </p:nvSpPr>
          <p:spPr>
            <a:xfrm>
              <a:off x="8656790" y="4855695"/>
              <a:ext cx="305617" cy="437950"/>
            </a:xfrm>
            <a:custGeom>
              <a:avLst/>
              <a:gdLst>
                <a:gd name="connsiteX0" fmla="*/ 5373 w 305617"/>
                <a:gd name="connsiteY0" fmla="*/ 6248 h 437950"/>
                <a:gd name="connsiteX1" fmla="*/ 1000 w 305617"/>
                <a:gd name="connsiteY1" fmla="*/ 0 h 437950"/>
                <a:gd name="connsiteX2" fmla="*/ 0 w 305617"/>
                <a:gd name="connsiteY2" fmla="*/ 500 h 437950"/>
                <a:gd name="connsiteX3" fmla="*/ 500 w 305617"/>
                <a:gd name="connsiteY3" fmla="*/ 5248 h 437950"/>
                <a:gd name="connsiteX4" fmla="*/ 302619 w 305617"/>
                <a:gd name="connsiteY4" fmla="*/ 437951 h 437950"/>
                <a:gd name="connsiteX5" fmla="*/ 305618 w 305617"/>
                <a:gd name="connsiteY5" fmla="*/ 436201 h 437950"/>
                <a:gd name="connsiteX6" fmla="*/ 5498 w 305617"/>
                <a:gd name="connsiteY6" fmla="*/ 6373 h 437950"/>
                <a:gd name="connsiteX7" fmla="*/ 5373 w 305617"/>
                <a:gd name="connsiteY7" fmla="*/ 6248 h 43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617" h="437950">
                  <a:moveTo>
                    <a:pt x="5373" y="6248"/>
                  </a:moveTo>
                  <a:lnTo>
                    <a:pt x="1000" y="0"/>
                  </a:lnTo>
                  <a:lnTo>
                    <a:pt x="0" y="500"/>
                  </a:lnTo>
                  <a:lnTo>
                    <a:pt x="500" y="5248"/>
                  </a:lnTo>
                  <a:lnTo>
                    <a:pt x="302619" y="437951"/>
                  </a:lnTo>
                  <a:lnTo>
                    <a:pt x="305618" y="436201"/>
                  </a:lnTo>
                  <a:lnTo>
                    <a:pt x="5498" y="6373"/>
                  </a:lnTo>
                  <a:lnTo>
                    <a:pt x="5373" y="6248"/>
                  </a:lnTo>
                  <a:close/>
                </a:path>
              </a:pathLst>
            </a:custGeom>
            <a:solidFill>
              <a:srgbClr val="000000"/>
            </a:solidFill>
            <a:ln w="12483" cap="flat">
              <a:noFill/>
              <a:prstDash val="solid"/>
              <a:miter/>
            </a:ln>
          </p:spPr>
          <p:txBody>
            <a:bodyPr rtlCol="0" anchor="ctr"/>
            <a:lstStyle/>
            <a:p>
              <a:endParaRPr lang="en-US"/>
            </a:p>
          </p:txBody>
        </p:sp>
        <p:sp>
          <p:nvSpPr>
            <p:cNvPr id="1256" name="Freeform: Shape 1255">
              <a:extLst>
                <a:ext uri="{FF2B5EF4-FFF2-40B4-BE49-F238E27FC236}">
                  <a16:creationId xmlns:a16="http://schemas.microsoft.com/office/drawing/2014/main" id="{303D6495-98F3-4171-BC0B-50E0304754C0}"/>
                </a:ext>
              </a:extLst>
            </p:cNvPr>
            <p:cNvSpPr/>
            <p:nvPr/>
          </p:nvSpPr>
          <p:spPr>
            <a:xfrm>
              <a:off x="6994883" y="3611567"/>
              <a:ext cx="313864" cy="166558"/>
            </a:xfrm>
            <a:custGeom>
              <a:avLst/>
              <a:gdLst>
                <a:gd name="connsiteX0" fmla="*/ 0 w 313864"/>
                <a:gd name="connsiteY0" fmla="*/ 152189 h 166558"/>
                <a:gd name="connsiteX1" fmla="*/ 0 w 313864"/>
                <a:gd name="connsiteY1" fmla="*/ 152189 h 166558"/>
                <a:gd name="connsiteX2" fmla="*/ 1749 w 313864"/>
                <a:gd name="connsiteY2" fmla="*/ 151315 h 166558"/>
                <a:gd name="connsiteX3" fmla="*/ 5248 w 313864"/>
                <a:gd name="connsiteY3" fmla="*/ 151315 h 166558"/>
                <a:gd name="connsiteX4" fmla="*/ 6747 w 313864"/>
                <a:gd name="connsiteY4" fmla="*/ 151939 h 166558"/>
                <a:gd name="connsiteX5" fmla="*/ 8371 w 313864"/>
                <a:gd name="connsiteY5" fmla="*/ 152814 h 166558"/>
                <a:gd name="connsiteX6" fmla="*/ 9871 w 313864"/>
                <a:gd name="connsiteY6" fmla="*/ 154313 h 166558"/>
                <a:gd name="connsiteX7" fmla="*/ 10745 w 313864"/>
                <a:gd name="connsiteY7" fmla="*/ 155313 h 166558"/>
                <a:gd name="connsiteX8" fmla="*/ 18117 w 313864"/>
                <a:gd name="connsiteY8" fmla="*/ 166559 h 166558"/>
                <a:gd name="connsiteX9" fmla="*/ 313864 w 313864"/>
                <a:gd name="connsiteY9" fmla="*/ 21866 h 166558"/>
                <a:gd name="connsiteX10" fmla="*/ 311990 w 313864"/>
                <a:gd name="connsiteY10" fmla="*/ 8622 h 166558"/>
                <a:gd name="connsiteX11" fmla="*/ 310741 w 313864"/>
                <a:gd name="connsiteY11" fmla="*/ 0 h 166558"/>
                <a:gd name="connsiteX12" fmla="*/ 375 w 313864"/>
                <a:gd name="connsiteY12" fmla="*/ 151939 h 166558"/>
                <a:gd name="connsiteX13" fmla="*/ 0 w 313864"/>
                <a:gd name="connsiteY13" fmla="*/ 152189 h 16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64" h="166558">
                  <a:moveTo>
                    <a:pt x="0" y="152189"/>
                  </a:moveTo>
                  <a:lnTo>
                    <a:pt x="0" y="152189"/>
                  </a:lnTo>
                  <a:cubicBezTo>
                    <a:pt x="525" y="151802"/>
                    <a:pt x="1125" y="151502"/>
                    <a:pt x="1749" y="151315"/>
                  </a:cubicBezTo>
                  <a:lnTo>
                    <a:pt x="5248" y="151315"/>
                  </a:lnTo>
                  <a:lnTo>
                    <a:pt x="6747" y="151939"/>
                  </a:lnTo>
                  <a:lnTo>
                    <a:pt x="8371" y="152814"/>
                  </a:lnTo>
                  <a:lnTo>
                    <a:pt x="9871" y="154313"/>
                  </a:lnTo>
                  <a:cubicBezTo>
                    <a:pt x="10221" y="154588"/>
                    <a:pt x="10520" y="154926"/>
                    <a:pt x="10745" y="155313"/>
                  </a:cubicBezTo>
                  <a:lnTo>
                    <a:pt x="18117" y="166559"/>
                  </a:lnTo>
                  <a:lnTo>
                    <a:pt x="313864" y="21866"/>
                  </a:lnTo>
                  <a:lnTo>
                    <a:pt x="311990" y="8622"/>
                  </a:lnTo>
                  <a:lnTo>
                    <a:pt x="310741" y="0"/>
                  </a:lnTo>
                  <a:lnTo>
                    <a:pt x="375" y="151939"/>
                  </a:lnTo>
                  <a:cubicBezTo>
                    <a:pt x="375" y="151939"/>
                    <a:pt x="375" y="151939"/>
                    <a:pt x="0" y="152189"/>
                  </a:cubicBezTo>
                  <a:close/>
                </a:path>
              </a:pathLst>
            </a:custGeom>
            <a:solidFill>
              <a:srgbClr val="000000"/>
            </a:solidFill>
            <a:ln w="12483" cap="flat">
              <a:noFill/>
              <a:prstDash val="solid"/>
              <a:miter/>
            </a:ln>
          </p:spPr>
          <p:txBody>
            <a:bodyPr rtlCol="0" anchor="ctr"/>
            <a:lstStyle/>
            <a:p>
              <a:endParaRPr lang="en-US"/>
            </a:p>
          </p:txBody>
        </p:sp>
        <p:sp>
          <p:nvSpPr>
            <p:cNvPr id="1257" name="Freeform: Shape 1256">
              <a:extLst>
                <a:ext uri="{FF2B5EF4-FFF2-40B4-BE49-F238E27FC236}">
                  <a16:creationId xmlns:a16="http://schemas.microsoft.com/office/drawing/2014/main" id="{DA4B8B7F-9E6A-4C69-AF44-C696C91A3F0E}"/>
                </a:ext>
              </a:extLst>
            </p:cNvPr>
            <p:cNvSpPr/>
            <p:nvPr/>
          </p:nvSpPr>
          <p:spPr>
            <a:xfrm>
              <a:off x="6992259" y="3765130"/>
              <a:ext cx="999" cy="1249"/>
            </a:xfrm>
            <a:custGeom>
              <a:avLst/>
              <a:gdLst>
                <a:gd name="connsiteX0" fmla="*/ 1000 w 999"/>
                <a:gd name="connsiteY0" fmla="*/ 0 h 1249"/>
                <a:gd name="connsiteX1" fmla="*/ 0 w 999"/>
                <a:gd name="connsiteY1" fmla="*/ 1250 h 1249"/>
                <a:gd name="connsiteX2" fmla="*/ 0 w 999"/>
                <a:gd name="connsiteY2" fmla="*/ 1250 h 1249"/>
                <a:gd name="connsiteX3" fmla="*/ 1000 w 999"/>
                <a:gd name="connsiteY3" fmla="*/ 0 h 1249"/>
              </a:gdLst>
              <a:ahLst/>
              <a:cxnLst>
                <a:cxn ang="0">
                  <a:pos x="connsiteX0" y="connsiteY0"/>
                </a:cxn>
                <a:cxn ang="0">
                  <a:pos x="connsiteX1" y="connsiteY1"/>
                </a:cxn>
                <a:cxn ang="0">
                  <a:pos x="connsiteX2" y="connsiteY2"/>
                </a:cxn>
                <a:cxn ang="0">
                  <a:pos x="connsiteX3" y="connsiteY3"/>
                </a:cxn>
              </a:cxnLst>
              <a:rect l="l" t="t" r="r" b="b"/>
              <a:pathLst>
                <a:path w="999" h="1249">
                  <a:moveTo>
                    <a:pt x="1000" y="0"/>
                  </a:moveTo>
                  <a:cubicBezTo>
                    <a:pt x="600" y="363"/>
                    <a:pt x="262" y="775"/>
                    <a:pt x="0" y="1250"/>
                  </a:cubicBezTo>
                  <a:lnTo>
                    <a:pt x="0" y="1250"/>
                  </a:lnTo>
                  <a:cubicBezTo>
                    <a:pt x="0" y="1250"/>
                    <a:pt x="750" y="125"/>
                    <a:pt x="1000" y="0"/>
                  </a:cubicBezTo>
                  <a:close/>
                </a:path>
              </a:pathLst>
            </a:custGeom>
            <a:solidFill>
              <a:srgbClr val="000000"/>
            </a:solidFill>
            <a:ln w="12483" cap="flat">
              <a:noFill/>
              <a:prstDash val="solid"/>
              <a:miter/>
            </a:ln>
          </p:spPr>
          <p:txBody>
            <a:bodyPr rtlCol="0" anchor="ctr"/>
            <a:lstStyle/>
            <a:p>
              <a:endParaRPr lang="en-US"/>
            </a:p>
          </p:txBody>
        </p:sp>
        <p:sp>
          <p:nvSpPr>
            <p:cNvPr id="1258" name="Freeform: Shape 1257">
              <a:extLst>
                <a:ext uri="{FF2B5EF4-FFF2-40B4-BE49-F238E27FC236}">
                  <a16:creationId xmlns:a16="http://schemas.microsoft.com/office/drawing/2014/main" id="{BBABEBDC-1784-4304-856E-366998315B60}"/>
                </a:ext>
              </a:extLst>
            </p:cNvPr>
            <p:cNvSpPr/>
            <p:nvPr/>
          </p:nvSpPr>
          <p:spPr>
            <a:xfrm>
              <a:off x="6989963" y="3772877"/>
              <a:ext cx="46" cy="1249"/>
            </a:xfrm>
            <a:custGeom>
              <a:avLst/>
              <a:gdLst>
                <a:gd name="connsiteX0" fmla="*/ 47 w 46"/>
                <a:gd name="connsiteY0" fmla="*/ 1250 h 1249"/>
                <a:gd name="connsiteX1" fmla="*/ 47 w 46"/>
                <a:gd name="connsiteY1" fmla="*/ 1250 h 1249"/>
                <a:gd name="connsiteX2" fmla="*/ 47 w 46"/>
                <a:gd name="connsiteY2" fmla="*/ 0 h 1249"/>
                <a:gd name="connsiteX3" fmla="*/ 47 w 46"/>
                <a:gd name="connsiteY3" fmla="*/ 1250 h 1249"/>
              </a:gdLst>
              <a:ahLst/>
              <a:cxnLst>
                <a:cxn ang="0">
                  <a:pos x="connsiteX0" y="connsiteY0"/>
                </a:cxn>
                <a:cxn ang="0">
                  <a:pos x="connsiteX1" y="connsiteY1"/>
                </a:cxn>
                <a:cxn ang="0">
                  <a:pos x="connsiteX2" y="connsiteY2"/>
                </a:cxn>
                <a:cxn ang="0">
                  <a:pos x="connsiteX3" y="connsiteY3"/>
                </a:cxn>
              </a:cxnLst>
              <a:rect l="l" t="t" r="r" b="b"/>
              <a:pathLst>
                <a:path w="46" h="1249">
                  <a:moveTo>
                    <a:pt x="47" y="1250"/>
                  </a:moveTo>
                  <a:lnTo>
                    <a:pt x="47" y="1250"/>
                  </a:lnTo>
                  <a:cubicBezTo>
                    <a:pt x="-16" y="837"/>
                    <a:pt x="-16" y="413"/>
                    <a:pt x="47" y="0"/>
                  </a:cubicBezTo>
                  <a:cubicBezTo>
                    <a:pt x="9" y="413"/>
                    <a:pt x="9" y="837"/>
                    <a:pt x="47" y="1250"/>
                  </a:cubicBezTo>
                  <a:close/>
                </a:path>
              </a:pathLst>
            </a:custGeom>
            <a:solidFill>
              <a:srgbClr val="000000"/>
            </a:solidFill>
            <a:ln w="12483" cap="flat">
              <a:noFill/>
              <a:prstDash val="solid"/>
              <a:miter/>
            </a:ln>
          </p:spPr>
          <p:txBody>
            <a:bodyPr rtlCol="0" anchor="ctr"/>
            <a:lstStyle/>
            <a:p>
              <a:endParaRPr lang="en-US"/>
            </a:p>
          </p:txBody>
        </p:sp>
        <p:sp>
          <p:nvSpPr>
            <p:cNvPr id="1259" name="Freeform: Shape 1258">
              <a:extLst>
                <a:ext uri="{FF2B5EF4-FFF2-40B4-BE49-F238E27FC236}">
                  <a16:creationId xmlns:a16="http://schemas.microsoft.com/office/drawing/2014/main" id="{DE633D01-55BC-4CDF-99E9-8917058E6D03}"/>
                </a:ext>
              </a:extLst>
            </p:cNvPr>
            <p:cNvSpPr/>
            <p:nvPr/>
          </p:nvSpPr>
          <p:spPr>
            <a:xfrm>
              <a:off x="6991060" y="3768379"/>
              <a:ext cx="74" cy="1499"/>
            </a:xfrm>
            <a:custGeom>
              <a:avLst/>
              <a:gdLst>
                <a:gd name="connsiteX0" fmla="*/ 75 w 74"/>
                <a:gd name="connsiteY0" fmla="*/ 0 h 1499"/>
                <a:gd name="connsiteX1" fmla="*/ 75 w 74"/>
                <a:gd name="connsiteY1" fmla="*/ 1499 h 1499"/>
                <a:gd name="connsiteX2" fmla="*/ 75 w 74"/>
                <a:gd name="connsiteY2" fmla="*/ 1499 h 1499"/>
                <a:gd name="connsiteX3" fmla="*/ 75 w 74"/>
                <a:gd name="connsiteY3" fmla="*/ 0 h 1499"/>
              </a:gdLst>
              <a:ahLst/>
              <a:cxnLst>
                <a:cxn ang="0">
                  <a:pos x="connsiteX0" y="connsiteY0"/>
                </a:cxn>
                <a:cxn ang="0">
                  <a:pos x="connsiteX1" y="connsiteY1"/>
                </a:cxn>
                <a:cxn ang="0">
                  <a:pos x="connsiteX2" y="connsiteY2"/>
                </a:cxn>
                <a:cxn ang="0">
                  <a:pos x="connsiteX3" y="connsiteY3"/>
                </a:cxn>
              </a:cxnLst>
              <a:rect l="l" t="t" r="r" b="b"/>
              <a:pathLst>
                <a:path w="74" h="1499">
                  <a:moveTo>
                    <a:pt x="75" y="0"/>
                  </a:moveTo>
                  <a:cubicBezTo>
                    <a:pt x="25" y="500"/>
                    <a:pt x="25" y="999"/>
                    <a:pt x="75" y="1499"/>
                  </a:cubicBezTo>
                  <a:cubicBezTo>
                    <a:pt x="75" y="1499"/>
                    <a:pt x="75" y="1499"/>
                    <a:pt x="75" y="1499"/>
                  </a:cubicBezTo>
                  <a:cubicBezTo>
                    <a:pt x="-25" y="999"/>
                    <a:pt x="-25" y="500"/>
                    <a:pt x="75" y="0"/>
                  </a:cubicBezTo>
                  <a:close/>
                </a:path>
              </a:pathLst>
            </a:custGeom>
            <a:solidFill>
              <a:srgbClr val="000000"/>
            </a:solidFill>
            <a:ln w="12483" cap="flat">
              <a:noFill/>
              <a:prstDash val="solid"/>
              <a:miter/>
            </a:ln>
          </p:spPr>
          <p:txBody>
            <a:bodyPr rtlCol="0" anchor="ctr"/>
            <a:lstStyle/>
            <a:p>
              <a:endParaRPr lang="en-US"/>
            </a:p>
          </p:txBody>
        </p:sp>
        <p:sp>
          <p:nvSpPr>
            <p:cNvPr id="1260" name="Freeform: Shape 1259">
              <a:extLst>
                <a:ext uri="{FF2B5EF4-FFF2-40B4-BE49-F238E27FC236}">
                  <a16:creationId xmlns:a16="http://schemas.microsoft.com/office/drawing/2014/main" id="{389997A0-622B-40D2-8710-EA859E896EE7}"/>
                </a:ext>
              </a:extLst>
            </p:cNvPr>
            <p:cNvSpPr/>
            <p:nvPr/>
          </p:nvSpPr>
          <p:spPr>
            <a:xfrm>
              <a:off x="10038693" y="4125000"/>
              <a:ext cx="12494" cy="986"/>
            </a:xfrm>
            <a:custGeom>
              <a:avLst/>
              <a:gdLst>
                <a:gd name="connsiteX0" fmla="*/ 0 w 12494"/>
                <a:gd name="connsiteY0" fmla="*/ 986 h 986"/>
                <a:gd name="connsiteX1" fmla="*/ 0 w 12494"/>
                <a:gd name="connsiteY1" fmla="*/ 986 h 986"/>
                <a:gd name="connsiteX2" fmla="*/ 0 w 12494"/>
                <a:gd name="connsiteY2" fmla="*/ 237 h 986"/>
                <a:gd name="connsiteX3" fmla="*/ 0 w 12494"/>
                <a:gd name="connsiteY3" fmla="*/ 986 h 986"/>
              </a:gdLst>
              <a:ahLst/>
              <a:cxnLst>
                <a:cxn ang="0">
                  <a:pos x="connsiteX0" y="connsiteY0"/>
                </a:cxn>
                <a:cxn ang="0">
                  <a:pos x="connsiteX1" y="connsiteY1"/>
                </a:cxn>
                <a:cxn ang="0">
                  <a:pos x="connsiteX2" y="connsiteY2"/>
                </a:cxn>
                <a:cxn ang="0">
                  <a:pos x="connsiteX3" y="connsiteY3"/>
                </a:cxn>
              </a:cxnLst>
              <a:rect l="l" t="t" r="r" b="b"/>
              <a:pathLst>
                <a:path w="12494" h="986">
                  <a:moveTo>
                    <a:pt x="0" y="986"/>
                  </a:moveTo>
                  <a:lnTo>
                    <a:pt x="0" y="986"/>
                  </a:lnTo>
                  <a:cubicBezTo>
                    <a:pt x="0" y="986"/>
                    <a:pt x="0" y="986"/>
                    <a:pt x="0" y="237"/>
                  </a:cubicBezTo>
                  <a:cubicBezTo>
                    <a:pt x="0" y="-513"/>
                    <a:pt x="0" y="736"/>
                    <a:pt x="0" y="986"/>
                  </a:cubicBezTo>
                  <a:close/>
                </a:path>
              </a:pathLst>
            </a:custGeom>
            <a:solidFill>
              <a:srgbClr val="000000"/>
            </a:solidFill>
            <a:ln w="12483" cap="flat">
              <a:noFill/>
              <a:prstDash val="solid"/>
              <a:miter/>
            </a:ln>
          </p:spPr>
          <p:txBody>
            <a:bodyPr rtlCol="0" anchor="ctr"/>
            <a:lstStyle/>
            <a:p>
              <a:endParaRPr lang="en-US"/>
            </a:p>
          </p:txBody>
        </p:sp>
        <p:sp>
          <p:nvSpPr>
            <p:cNvPr id="1261" name="Freeform: Shape 1260">
              <a:extLst>
                <a:ext uri="{FF2B5EF4-FFF2-40B4-BE49-F238E27FC236}">
                  <a16:creationId xmlns:a16="http://schemas.microsoft.com/office/drawing/2014/main" id="{65645DE4-D298-4B0B-9E87-3A69D7FAB4FD}"/>
                </a:ext>
              </a:extLst>
            </p:cNvPr>
            <p:cNvSpPr/>
            <p:nvPr/>
          </p:nvSpPr>
          <p:spPr>
            <a:xfrm>
              <a:off x="10037693" y="4126112"/>
              <a:ext cx="18877" cy="125824"/>
            </a:xfrm>
            <a:custGeom>
              <a:avLst/>
              <a:gdLst>
                <a:gd name="connsiteX0" fmla="*/ 18742 w 18877"/>
                <a:gd name="connsiteY0" fmla="*/ 13869 h 125824"/>
                <a:gd name="connsiteX1" fmla="*/ 14618 w 18877"/>
                <a:gd name="connsiteY1" fmla="*/ 8871 h 125824"/>
                <a:gd name="connsiteX2" fmla="*/ 13244 w 18877"/>
                <a:gd name="connsiteY2" fmla="*/ 9621 h 125824"/>
                <a:gd name="connsiteX3" fmla="*/ 1762 w 18877"/>
                <a:gd name="connsiteY3" fmla="*/ 6735 h 125824"/>
                <a:gd name="connsiteX4" fmla="*/ 750 w 18877"/>
                <a:gd name="connsiteY4" fmla="*/ 4123 h 125824"/>
                <a:gd name="connsiteX5" fmla="*/ 0 w 18877"/>
                <a:gd name="connsiteY5" fmla="*/ 0 h 125824"/>
                <a:gd name="connsiteX6" fmla="*/ 999 w 18877"/>
                <a:gd name="connsiteY6" fmla="*/ 115079 h 125824"/>
                <a:gd name="connsiteX7" fmla="*/ 9920 w 18877"/>
                <a:gd name="connsiteY7" fmla="*/ 125812 h 125824"/>
                <a:gd name="connsiteX8" fmla="*/ 9996 w 18877"/>
                <a:gd name="connsiteY8" fmla="*/ 125825 h 125824"/>
                <a:gd name="connsiteX9" fmla="*/ 16118 w 18877"/>
                <a:gd name="connsiteY9" fmla="*/ 122701 h 125824"/>
                <a:gd name="connsiteX10" fmla="*/ 18867 w 18877"/>
                <a:gd name="connsiteY10" fmla="*/ 114829 h 12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77" h="125824">
                  <a:moveTo>
                    <a:pt x="18742" y="13869"/>
                  </a:moveTo>
                  <a:lnTo>
                    <a:pt x="14618" y="8871"/>
                  </a:lnTo>
                  <a:lnTo>
                    <a:pt x="13244" y="9621"/>
                  </a:lnTo>
                  <a:cubicBezTo>
                    <a:pt x="9271" y="11995"/>
                    <a:pt x="4136" y="10696"/>
                    <a:pt x="1762" y="6735"/>
                  </a:cubicBezTo>
                  <a:cubicBezTo>
                    <a:pt x="1287" y="5923"/>
                    <a:pt x="937" y="5048"/>
                    <a:pt x="750" y="4123"/>
                  </a:cubicBezTo>
                  <a:cubicBezTo>
                    <a:pt x="250" y="2811"/>
                    <a:pt x="0" y="1412"/>
                    <a:pt x="0" y="0"/>
                  </a:cubicBezTo>
                  <a:lnTo>
                    <a:pt x="999" y="115079"/>
                  </a:lnTo>
                  <a:cubicBezTo>
                    <a:pt x="500" y="120502"/>
                    <a:pt x="4485" y="125312"/>
                    <a:pt x="9920" y="125812"/>
                  </a:cubicBezTo>
                  <a:cubicBezTo>
                    <a:pt x="9946" y="125825"/>
                    <a:pt x="9970" y="125825"/>
                    <a:pt x="9996" y="125825"/>
                  </a:cubicBezTo>
                  <a:cubicBezTo>
                    <a:pt x="12394" y="125725"/>
                    <a:pt x="14631" y="124588"/>
                    <a:pt x="16118" y="122701"/>
                  </a:cubicBezTo>
                  <a:cubicBezTo>
                    <a:pt x="18004" y="120527"/>
                    <a:pt x="18992" y="117703"/>
                    <a:pt x="18867" y="114829"/>
                  </a:cubicBezTo>
                  <a:close/>
                </a:path>
              </a:pathLst>
            </a:custGeom>
            <a:solidFill>
              <a:srgbClr val="000000"/>
            </a:solidFill>
            <a:ln w="12483" cap="flat">
              <a:noFill/>
              <a:prstDash val="solid"/>
              <a:miter/>
            </a:ln>
          </p:spPr>
          <p:txBody>
            <a:bodyPr rtlCol="0" anchor="ctr"/>
            <a:lstStyle/>
            <a:p>
              <a:endParaRPr lang="en-US"/>
            </a:p>
          </p:txBody>
        </p:sp>
        <p:sp>
          <p:nvSpPr>
            <p:cNvPr id="1262" name="Freeform: Shape 1261">
              <a:extLst>
                <a:ext uri="{FF2B5EF4-FFF2-40B4-BE49-F238E27FC236}">
                  <a16:creationId xmlns:a16="http://schemas.microsoft.com/office/drawing/2014/main" id="{AEA5C471-9A78-49F7-A3DA-3F93E3DEA865}"/>
                </a:ext>
              </a:extLst>
            </p:cNvPr>
            <p:cNvSpPr/>
            <p:nvPr/>
          </p:nvSpPr>
          <p:spPr>
            <a:xfrm>
              <a:off x="10055435" y="4132859"/>
              <a:ext cx="874" cy="1499"/>
            </a:xfrm>
            <a:custGeom>
              <a:avLst/>
              <a:gdLst>
                <a:gd name="connsiteX0" fmla="*/ 875 w 874"/>
                <a:gd name="connsiteY0" fmla="*/ 0 h 1499"/>
                <a:gd name="connsiteX1" fmla="*/ 0 w 874"/>
                <a:gd name="connsiteY1" fmla="*/ 375 h 1499"/>
                <a:gd name="connsiteX2" fmla="*/ 875 w 874"/>
                <a:gd name="connsiteY2" fmla="*/ 1499 h 1499"/>
                <a:gd name="connsiteX3" fmla="*/ 875 w 874"/>
                <a:gd name="connsiteY3" fmla="*/ 0 h 1499"/>
              </a:gdLst>
              <a:ahLst/>
              <a:cxnLst>
                <a:cxn ang="0">
                  <a:pos x="connsiteX0" y="connsiteY0"/>
                </a:cxn>
                <a:cxn ang="0">
                  <a:pos x="connsiteX1" y="connsiteY1"/>
                </a:cxn>
                <a:cxn ang="0">
                  <a:pos x="connsiteX2" y="connsiteY2"/>
                </a:cxn>
                <a:cxn ang="0">
                  <a:pos x="connsiteX3" y="connsiteY3"/>
                </a:cxn>
              </a:cxnLst>
              <a:rect l="l" t="t" r="r" b="b"/>
              <a:pathLst>
                <a:path w="874" h="1499">
                  <a:moveTo>
                    <a:pt x="875" y="0"/>
                  </a:moveTo>
                  <a:lnTo>
                    <a:pt x="0" y="375"/>
                  </a:lnTo>
                  <a:lnTo>
                    <a:pt x="875" y="1499"/>
                  </a:lnTo>
                  <a:lnTo>
                    <a:pt x="875" y="0"/>
                  </a:lnTo>
                  <a:close/>
                </a:path>
              </a:pathLst>
            </a:custGeom>
            <a:solidFill>
              <a:srgbClr val="000000"/>
            </a:solidFill>
            <a:ln w="12483" cap="flat">
              <a:noFill/>
              <a:prstDash val="solid"/>
              <a:miter/>
            </a:ln>
          </p:spPr>
          <p:txBody>
            <a:bodyPr rtlCol="0" anchor="ctr"/>
            <a:lstStyle/>
            <a:p>
              <a:endParaRPr lang="en-US"/>
            </a:p>
          </p:txBody>
        </p:sp>
        <p:sp>
          <p:nvSpPr>
            <p:cNvPr id="1263" name="Freeform: Shape 1262">
              <a:extLst>
                <a:ext uri="{FF2B5EF4-FFF2-40B4-BE49-F238E27FC236}">
                  <a16:creationId xmlns:a16="http://schemas.microsoft.com/office/drawing/2014/main" id="{188A6910-345E-4A0A-8867-C6659724EBD0}"/>
                </a:ext>
              </a:extLst>
            </p:cNvPr>
            <p:cNvSpPr/>
            <p:nvPr/>
          </p:nvSpPr>
          <p:spPr>
            <a:xfrm>
              <a:off x="11374490" y="2932213"/>
              <a:ext cx="48104" cy="41233"/>
            </a:xfrm>
            <a:custGeom>
              <a:avLst/>
              <a:gdLst>
                <a:gd name="connsiteX0" fmla="*/ 13619 w 48104"/>
                <a:gd name="connsiteY0" fmla="*/ 35236 h 41233"/>
                <a:gd name="connsiteX1" fmla="*/ 13619 w 48104"/>
                <a:gd name="connsiteY1" fmla="*/ 41234 h 41233"/>
                <a:gd name="connsiteX2" fmla="*/ 13619 w 48104"/>
                <a:gd name="connsiteY2" fmla="*/ 41234 h 41233"/>
                <a:gd name="connsiteX3" fmla="*/ 48104 w 48104"/>
                <a:gd name="connsiteY3" fmla="*/ 22991 h 41233"/>
                <a:gd name="connsiteX4" fmla="*/ 43731 w 48104"/>
                <a:gd name="connsiteY4" fmla="*/ 18368 h 41233"/>
                <a:gd name="connsiteX5" fmla="*/ 42981 w 48104"/>
                <a:gd name="connsiteY5" fmla="*/ 2999 h 41233"/>
                <a:gd name="connsiteX6" fmla="*/ 47355 w 48104"/>
                <a:gd name="connsiteY6" fmla="*/ 0 h 41233"/>
                <a:gd name="connsiteX7" fmla="*/ 46105 w 48104"/>
                <a:gd name="connsiteY7" fmla="*/ 0 h 41233"/>
                <a:gd name="connsiteX8" fmla="*/ 1124 w 48104"/>
                <a:gd name="connsiteY8" fmla="*/ 23990 h 41233"/>
                <a:gd name="connsiteX9" fmla="*/ 0 w 48104"/>
                <a:gd name="connsiteY9" fmla="*/ 24990 h 41233"/>
                <a:gd name="connsiteX10" fmla="*/ 5373 w 48104"/>
                <a:gd name="connsiteY10" fmla="*/ 23116 h 41233"/>
                <a:gd name="connsiteX11" fmla="*/ 13619 w 48104"/>
                <a:gd name="connsiteY11" fmla="*/ 35236 h 4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4" h="41233">
                  <a:moveTo>
                    <a:pt x="13619" y="35236"/>
                  </a:moveTo>
                  <a:lnTo>
                    <a:pt x="13619" y="41234"/>
                  </a:lnTo>
                  <a:lnTo>
                    <a:pt x="13619" y="41234"/>
                  </a:lnTo>
                  <a:lnTo>
                    <a:pt x="48104" y="22991"/>
                  </a:lnTo>
                  <a:lnTo>
                    <a:pt x="43731" y="18368"/>
                  </a:lnTo>
                  <a:cubicBezTo>
                    <a:pt x="39982" y="14019"/>
                    <a:pt x="39670" y="7685"/>
                    <a:pt x="42981" y="2999"/>
                  </a:cubicBezTo>
                  <a:cubicBezTo>
                    <a:pt x="44081" y="1549"/>
                    <a:pt x="45605" y="500"/>
                    <a:pt x="47355" y="0"/>
                  </a:cubicBezTo>
                  <a:lnTo>
                    <a:pt x="46105" y="0"/>
                  </a:lnTo>
                  <a:lnTo>
                    <a:pt x="1124" y="23990"/>
                  </a:lnTo>
                  <a:cubicBezTo>
                    <a:pt x="1124" y="23990"/>
                    <a:pt x="500" y="24740"/>
                    <a:pt x="0" y="24990"/>
                  </a:cubicBezTo>
                  <a:cubicBezTo>
                    <a:pt x="1499" y="23715"/>
                    <a:pt x="3411" y="23053"/>
                    <a:pt x="5373" y="23116"/>
                  </a:cubicBezTo>
                  <a:cubicBezTo>
                    <a:pt x="10995" y="24190"/>
                    <a:pt x="14681" y="29613"/>
                    <a:pt x="13619" y="35236"/>
                  </a:cubicBezTo>
                  <a:close/>
                </a:path>
              </a:pathLst>
            </a:custGeom>
            <a:solidFill>
              <a:srgbClr val="000000"/>
            </a:solidFill>
            <a:ln w="12483" cap="flat">
              <a:noFill/>
              <a:prstDash val="solid"/>
              <a:miter/>
            </a:ln>
          </p:spPr>
          <p:txBody>
            <a:bodyPr rtlCol="0" anchor="ctr"/>
            <a:lstStyle/>
            <a:p>
              <a:endParaRPr lang="en-US"/>
            </a:p>
          </p:txBody>
        </p:sp>
        <p:sp>
          <p:nvSpPr>
            <p:cNvPr id="1264" name="Freeform: Shape 1263">
              <a:extLst>
                <a:ext uri="{FF2B5EF4-FFF2-40B4-BE49-F238E27FC236}">
                  <a16:creationId xmlns:a16="http://schemas.microsoft.com/office/drawing/2014/main" id="{613AB9F9-8BB6-43D1-AB36-B80978139B91}"/>
                </a:ext>
              </a:extLst>
            </p:cNvPr>
            <p:cNvSpPr/>
            <p:nvPr/>
          </p:nvSpPr>
          <p:spPr>
            <a:xfrm>
              <a:off x="9339994" y="5808815"/>
              <a:ext cx="186419" cy="263520"/>
            </a:xfrm>
            <a:custGeom>
              <a:avLst/>
              <a:gdLst>
                <a:gd name="connsiteX0" fmla="*/ 8746 w 186419"/>
                <a:gd name="connsiteY0" fmla="*/ 0 h 263520"/>
                <a:gd name="connsiteX1" fmla="*/ 8746 w 186419"/>
                <a:gd name="connsiteY1" fmla="*/ 0 h 263520"/>
                <a:gd name="connsiteX2" fmla="*/ 10496 w 186419"/>
                <a:gd name="connsiteY2" fmla="*/ 2749 h 263520"/>
                <a:gd name="connsiteX3" fmla="*/ 6372 w 186419"/>
                <a:gd name="connsiteY3" fmla="*/ 17243 h 263520"/>
                <a:gd name="connsiteX4" fmla="*/ 4249 w 186419"/>
                <a:gd name="connsiteY4" fmla="*/ 18493 h 263520"/>
                <a:gd name="connsiteX5" fmla="*/ 0 w 186419"/>
                <a:gd name="connsiteY5" fmla="*/ 20867 h 263520"/>
                <a:gd name="connsiteX6" fmla="*/ 169677 w 186419"/>
                <a:gd name="connsiteY6" fmla="*/ 263520 h 263520"/>
                <a:gd name="connsiteX7" fmla="*/ 180047 w 186419"/>
                <a:gd name="connsiteY7" fmla="*/ 257397 h 263520"/>
                <a:gd name="connsiteX8" fmla="*/ 186420 w 186419"/>
                <a:gd name="connsiteY8" fmla="*/ 253649 h 26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419" h="263520">
                  <a:moveTo>
                    <a:pt x="8746" y="0"/>
                  </a:moveTo>
                  <a:lnTo>
                    <a:pt x="8746" y="0"/>
                  </a:lnTo>
                  <a:cubicBezTo>
                    <a:pt x="9546" y="762"/>
                    <a:pt x="10146" y="1700"/>
                    <a:pt x="10496" y="2749"/>
                  </a:cubicBezTo>
                  <a:cubicBezTo>
                    <a:pt x="12520" y="7960"/>
                    <a:pt x="10833" y="13882"/>
                    <a:pt x="6372" y="17243"/>
                  </a:cubicBezTo>
                  <a:lnTo>
                    <a:pt x="4249" y="18493"/>
                  </a:lnTo>
                  <a:lnTo>
                    <a:pt x="0" y="20867"/>
                  </a:lnTo>
                  <a:lnTo>
                    <a:pt x="169677" y="263520"/>
                  </a:lnTo>
                  <a:lnTo>
                    <a:pt x="180047" y="257397"/>
                  </a:lnTo>
                  <a:lnTo>
                    <a:pt x="186420" y="253649"/>
                  </a:lnTo>
                  <a:close/>
                </a:path>
              </a:pathLst>
            </a:custGeom>
            <a:solidFill>
              <a:srgbClr val="000000"/>
            </a:solidFill>
            <a:ln w="12483" cap="flat">
              <a:noFill/>
              <a:prstDash val="solid"/>
              <a:miter/>
            </a:ln>
          </p:spPr>
          <p:txBody>
            <a:bodyPr rtlCol="0" anchor="ctr"/>
            <a:lstStyle/>
            <a:p>
              <a:endParaRPr lang="en-US"/>
            </a:p>
          </p:txBody>
        </p:sp>
        <p:sp>
          <p:nvSpPr>
            <p:cNvPr id="1265" name="Freeform: Shape 1264">
              <a:extLst>
                <a:ext uri="{FF2B5EF4-FFF2-40B4-BE49-F238E27FC236}">
                  <a16:creationId xmlns:a16="http://schemas.microsoft.com/office/drawing/2014/main" id="{40466996-8C1F-4BFA-988A-3859354DDC4F}"/>
                </a:ext>
              </a:extLst>
            </p:cNvPr>
            <p:cNvSpPr/>
            <p:nvPr/>
          </p:nvSpPr>
          <p:spPr>
            <a:xfrm>
              <a:off x="8568828" y="5349249"/>
              <a:ext cx="431438" cy="244527"/>
            </a:xfrm>
            <a:custGeom>
              <a:avLst/>
              <a:gdLst>
                <a:gd name="connsiteX0" fmla="*/ 0 w 431438"/>
                <a:gd name="connsiteY0" fmla="*/ 241279 h 244527"/>
                <a:gd name="connsiteX1" fmla="*/ 0 w 431438"/>
                <a:gd name="connsiteY1" fmla="*/ 241279 h 244527"/>
                <a:gd name="connsiteX2" fmla="*/ 875 w 431438"/>
                <a:gd name="connsiteY2" fmla="*/ 243278 h 244527"/>
                <a:gd name="connsiteX3" fmla="*/ 875 w 431438"/>
                <a:gd name="connsiteY3" fmla="*/ 244528 h 244527"/>
                <a:gd name="connsiteX4" fmla="*/ 431439 w 431438"/>
                <a:gd name="connsiteY4" fmla="*/ 3374 h 244527"/>
                <a:gd name="connsiteX5" fmla="*/ 431439 w 431438"/>
                <a:gd name="connsiteY5" fmla="*/ 3374 h 244527"/>
                <a:gd name="connsiteX6" fmla="*/ 430064 w 431438"/>
                <a:gd name="connsiteY6" fmla="*/ 0 h 244527"/>
                <a:gd name="connsiteX7" fmla="*/ 429189 w 431438"/>
                <a:gd name="connsiteY7" fmla="*/ 0 h 24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38" h="244527">
                  <a:moveTo>
                    <a:pt x="0" y="241279"/>
                  </a:moveTo>
                  <a:lnTo>
                    <a:pt x="0" y="241279"/>
                  </a:lnTo>
                  <a:cubicBezTo>
                    <a:pt x="362" y="241904"/>
                    <a:pt x="662" y="242578"/>
                    <a:pt x="875" y="243278"/>
                  </a:cubicBezTo>
                  <a:cubicBezTo>
                    <a:pt x="925" y="243691"/>
                    <a:pt x="925" y="244115"/>
                    <a:pt x="875" y="244528"/>
                  </a:cubicBezTo>
                  <a:lnTo>
                    <a:pt x="431439" y="3374"/>
                  </a:lnTo>
                  <a:lnTo>
                    <a:pt x="431439" y="3374"/>
                  </a:lnTo>
                  <a:cubicBezTo>
                    <a:pt x="430826" y="2312"/>
                    <a:pt x="430364" y="1187"/>
                    <a:pt x="430064" y="0"/>
                  </a:cubicBezTo>
                  <a:lnTo>
                    <a:pt x="429189" y="0"/>
                  </a:lnTo>
                  <a:close/>
                </a:path>
              </a:pathLst>
            </a:custGeom>
            <a:solidFill>
              <a:srgbClr val="000000"/>
            </a:solidFill>
            <a:ln w="12483" cap="flat">
              <a:noFill/>
              <a:prstDash val="solid"/>
              <a:miter/>
            </a:ln>
          </p:spPr>
          <p:txBody>
            <a:bodyPr rtlCol="0" anchor="ctr"/>
            <a:lstStyle/>
            <a:p>
              <a:endParaRPr lang="en-US"/>
            </a:p>
          </p:txBody>
        </p:sp>
        <p:sp>
          <p:nvSpPr>
            <p:cNvPr id="1266" name="Freeform: Shape 1265">
              <a:extLst>
                <a:ext uri="{FF2B5EF4-FFF2-40B4-BE49-F238E27FC236}">
                  <a16:creationId xmlns:a16="http://schemas.microsoft.com/office/drawing/2014/main" id="{0BC379C1-31B8-497C-A816-654763C02898}"/>
                </a:ext>
              </a:extLst>
            </p:cNvPr>
            <p:cNvSpPr/>
            <p:nvPr/>
          </p:nvSpPr>
          <p:spPr>
            <a:xfrm>
              <a:off x="8690275" y="6402954"/>
              <a:ext cx="29612" cy="143317"/>
            </a:xfrm>
            <a:custGeom>
              <a:avLst/>
              <a:gdLst>
                <a:gd name="connsiteX0" fmla="*/ 19867 w 29612"/>
                <a:gd name="connsiteY0" fmla="*/ 18867 h 143317"/>
                <a:gd name="connsiteX1" fmla="*/ 13369 w 29612"/>
                <a:gd name="connsiteY1" fmla="*/ 8871 h 143317"/>
                <a:gd name="connsiteX2" fmla="*/ 13369 w 29612"/>
                <a:gd name="connsiteY2" fmla="*/ 8871 h 143317"/>
                <a:gd name="connsiteX3" fmla="*/ 1849 w 29612"/>
                <a:gd name="connsiteY3" fmla="*/ 6148 h 143317"/>
                <a:gd name="connsiteX4" fmla="*/ 875 w 29612"/>
                <a:gd name="connsiteY4" fmla="*/ 3873 h 143317"/>
                <a:gd name="connsiteX5" fmla="*/ 0 w 29612"/>
                <a:gd name="connsiteY5" fmla="*/ 0 h 143317"/>
                <a:gd name="connsiteX6" fmla="*/ 0 w 29612"/>
                <a:gd name="connsiteY6" fmla="*/ 0 h 143317"/>
                <a:gd name="connsiteX7" fmla="*/ 12495 w 29612"/>
                <a:gd name="connsiteY7" fmla="*/ 143318 h 143317"/>
                <a:gd name="connsiteX8" fmla="*/ 18117 w 29612"/>
                <a:gd name="connsiteY8" fmla="*/ 139944 h 143317"/>
                <a:gd name="connsiteX9" fmla="*/ 29613 w 29612"/>
                <a:gd name="connsiteY9" fmla="*/ 133197 h 14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12" h="143317">
                  <a:moveTo>
                    <a:pt x="19867" y="18867"/>
                  </a:moveTo>
                  <a:lnTo>
                    <a:pt x="13369" y="8871"/>
                  </a:lnTo>
                  <a:lnTo>
                    <a:pt x="13369" y="8871"/>
                  </a:lnTo>
                  <a:cubicBezTo>
                    <a:pt x="9433" y="11295"/>
                    <a:pt x="4273" y="10084"/>
                    <a:pt x="1849" y="6148"/>
                  </a:cubicBezTo>
                  <a:cubicBezTo>
                    <a:pt x="1412" y="5435"/>
                    <a:pt x="1087" y="4673"/>
                    <a:pt x="875" y="3873"/>
                  </a:cubicBezTo>
                  <a:cubicBezTo>
                    <a:pt x="413" y="2624"/>
                    <a:pt x="112" y="1324"/>
                    <a:pt x="0" y="0"/>
                  </a:cubicBezTo>
                  <a:lnTo>
                    <a:pt x="0" y="0"/>
                  </a:lnTo>
                  <a:lnTo>
                    <a:pt x="12495" y="143318"/>
                  </a:lnTo>
                  <a:lnTo>
                    <a:pt x="18117" y="139944"/>
                  </a:lnTo>
                  <a:lnTo>
                    <a:pt x="29613" y="133197"/>
                  </a:lnTo>
                  <a:close/>
                </a:path>
              </a:pathLst>
            </a:custGeom>
            <a:solidFill>
              <a:srgbClr val="000000"/>
            </a:solidFill>
            <a:ln w="12483" cap="flat">
              <a:noFill/>
              <a:prstDash val="solid"/>
              <a:miter/>
            </a:ln>
          </p:spPr>
          <p:txBody>
            <a:bodyPr rtlCol="0" anchor="ctr"/>
            <a:lstStyle/>
            <a:p>
              <a:endParaRPr lang="en-US"/>
            </a:p>
          </p:txBody>
        </p:sp>
        <p:sp>
          <p:nvSpPr>
            <p:cNvPr id="1267" name="Freeform: Shape 1266">
              <a:extLst>
                <a:ext uri="{FF2B5EF4-FFF2-40B4-BE49-F238E27FC236}">
                  <a16:creationId xmlns:a16="http://schemas.microsoft.com/office/drawing/2014/main" id="{D68E1FA0-C75F-4BC8-A22F-D965CE33E738}"/>
                </a:ext>
              </a:extLst>
            </p:cNvPr>
            <p:cNvSpPr/>
            <p:nvPr/>
          </p:nvSpPr>
          <p:spPr>
            <a:xfrm>
              <a:off x="8706643" y="6408701"/>
              <a:ext cx="2873" cy="5872"/>
            </a:xfrm>
            <a:custGeom>
              <a:avLst/>
              <a:gdLst>
                <a:gd name="connsiteX0" fmla="*/ 2874 w 2873"/>
                <a:gd name="connsiteY0" fmla="*/ 5873 h 5872"/>
                <a:gd name="connsiteX1" fmla="*/ 2374 w 2873"/>
                <a:gd name="connsiteY1" fmla="*/ 0 h 5872"/>
                <a:gd name="connsiteX2" fmla="*/ 0 w 2873"/>
                <a:gd name="connsiteY2" fmla="*/ 1375 h 5872"/>
                <a:gd name="connsiteX3" fmla="*/ 2874 w 2873"/>
                <a:gd name="connsiteY3" fmla="*/ 5873 h 5872"/>
              </a:gdLst>
              <a:ahLst/>
              <a:cxnLst>
                <a:cxn ang="0">
                  <a:pos x="connsiteX0" y="connsiteY0"/>
                </a:cxn>
                <a:cxn ang="0">
                  <a:pos x="connsiteX1" y="connsiteY1"/>
                </a:cxn>
                <a:cxn ang="0">
                  <a:pos x="connsiteX2" y="connsiteY2"/>
                </a:cxn>
                <a:cxn ang="0">
                  <a:pos x="connsiteX3" y="connsiteY3"/>
                </a:cxn>
              </a:cxnLst>
              <a:rect l="l" t="t" r="r" b="b"/>
              <a:pathLst>
                <a:path w="2873" h="5872">
                  <a:moveTo>
                    <a:pt x="2874" y="5873"/>
                  </a:moveTo>
                  <a:lnTo>
                    <a:pt x="2374" y="0"/>
                  </a:lnTo>
                  <a:lnTo>
                    <a:pt x="0" y="1375"/>
                  </a:lnTo>
                  <a:lnTo>
                    <a:pt x="2874" y="5873"/>
                  </a:lnTo>
                  <a:close/>
                </a:path>
              </a:pathLst>
            </a:custGeom>
            <a:solidFill>
              <a:srgbClr val="000000"/>
            </a:solidFill>
            <a:ln w="12483" cap="flat">
              <a:noFill/>
              <a:prstDash val="solid"/>
              <a:miter/>
            </a:ln>
          </p:spPr>
          <p:txBody>
            <a:bodyPr rtlCol="0" anchor="ctr"/>
            <a:lstStyle/>
            <a:p>
              <a:endParaRPr lang="en-US"/>
            </a:p>
          </p:txBody>
        </p:sp>
        <p:sp>
          <p:nvSpPr>
            <p:cNvPr id="1268" name="Freeform: Shape 1267">
              <a:extLst>
                <a:ext uri="{FF2B5EF4-FFF2-40B4-BE49-F238E27FC236}">
                  <a16:creationId xmlns:a16="http://schemas.microsoft.com/office/drawing/2014/main" id="{A73AF867-312D-444F-B1C9-6451740B7CBB}"/>
                </a:ext>
              </a:extLst>
            </p:cNvPr>
            <p:cNvSpPr/>
            <p:nvPr/>
          </p:nvSpPr>
          <p:spPr>
            <a:xfrm>
              <a:off x="9029879" y="5673564"/>
              <a:ext cx="111" cy="55"/>
            </a:xfrm>
            <a:custGeom>
              <a:avLst/>
              <a:gdLst>
                <a:gd name="connsiteX0" fmla="*/ 0 w 111"/>
                <a:gd name="connsiteY0" fmla="*/ 56 h 55"/>
                <a:gd name="connsiteX1" fmla="*/ 0 w 111"/>
                <a:gd name="connsiteY1" fmla="*/ 56 h 55"/>
                <a:gd name="connsiteX2" fmla="*/ 0 w 111"/>
                <a:gd name="connsiteY2" fmla="*/ 56 h 55"/>
              </a:gdLst>
              <a:ahLst/>
              <a:cxnLst>
                <a:cxn ang="0">
                  <a:pos x="connsiteX0" y="connsiteY0"/>
                </a:cxn>
                <a:cxn ang="0">
                  <a:pos x="connsiteX1" y="connsiteY1"/>
                </a:cxn>
                <a:cxn ang="0">
                  <a:pos x="connsiteX2" y="connsiteY2"/>
                </a:cxn>
              </a:cxnLst>
              <a:rect l="l" t="t" r="r" b="b"/>
              <a:pathLst>
                <a:path w="111" h="55">
                  <a:moveTo>
                    <a:pt x="0" y="56"/>
                  </a:moveTo>
                  <a:lnTo>
                    <a:pt x="0" y="56"/>
                  </a:lnTo>
                  <a:cubicBezTo>
                    <a:pt x="0" y="56"/>
                    <a:pt x="250" y="-69"/>
                    <a:pt x="0" y="56"/>
                  </a:cubicBezTo>
                  <a:close/>
                </a:path>
              </a:pathLst>
            </a:custGeom>
            <a:solidFill>
              <a:srgbClr val="000000"/>
            </a:solidFill>
            <a:ln w="12483" cap="flat">
              <a:noFill/>
              <a:prstDash val="solid"/>
              <a:miter/>
            </a:ln>
          </p:spPr>
          <p:txBody>
            <a:bodyPr rtlCol="0" anchor="ctr"/>
            <a:lstStyle/>
            <a:p>
              <a:endParaRPr lang="en-US"/>
            </a:p>
          </p:txBody>
        </p:sp>
        <p:sp>
          <p:nvSpPr>
            <p:cNvPr id="1269" name="Freeform: Shape 1268">
              <a:extLst>
                <a:ext uri="{FF2B5EF4-FFF2-40B4-BE49-F238E27FC236}">
                  <a16:creationId xmlns:a16="http://schemas.microsoft.com/office/drawing/2014/main" id="{BD127932-0C75-4CA2-830F-9AE55071C00A}"/>
                </a:ext>
              </a:extLst>
            </p:cNvPr>
            <p:cNvSpPr/>
            <p:nvPr/>
          </p:nvSpPr>
          <p:spPr>
            <a:xfrm>
              <a:off x="9007138" y="5357371"/>
              <a:ext cx="23411" cy="315874"/>
            </a:xfrm>
            <a:custGeom>
              <a:avLst/>
              <a:gdLst>
                <a:gd name="connsiteX0" fmla="*/ 1624 w 23411"/>
                <a:gd name="connsiteY0" fmla="*/ 0 h 315874"/>
                <a:gd name="connsiteX1" fmla="*/ 0 w 23411"/>
                <a:gd name="connsiteY1" fmla="*/ 0 h 315874"/>
                <a:gd name="connsiteX2" fmla="*/ 0 w 23411"/>
                <a:gd name="connsiteY2" fmla="*/ 0 h 315874"/>
                <a:gd name="connsiteX3" fmla="*/ 20241 w 23411"/>
                <a:gd name="connsiteY3" fmla="*/ 313875 h 315874"/>
                <a:gd name="connsiteX4" fmla="*/ 21241 w 23411"/>
                <a:gd name="connsiteY4" fmla="*/ 313875 h 315874"/>
                <a:gd name="connsiteX5" fmla="*/ 23365 w 23411"/>
                <a:gd name="connsiteY5" fmla="*/ 314749 h 315874"/>
                <a:gd name="connsiteX6" fmla="*/ 23365 w 23411"/>
                <a:gd name="connsiteY6" fmla="*/ 315874 h 315874"/>
                <a:gd name="connsiteX7" fmla="*/ 23365 w 23411"/>
                <a:gd name="connsiteY7" fmla="*/ 315874 h 315874"/>
                <a:gd name="connsiteX8" fmla="*/ 3124 w 23411"/>
                <a:gd name="connsiteY8" fmla="*/ 625 h 315874"/>
                <a:gd name="connsiteX9" fmla="*/ 3124 w 23411"/>
                <a:gd name="connsiteY9" fmla="*/ 625 h 31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11" h="315874">
                  <a:moveTo>
                    <a:pt x="1624" y="0"/>
                  </a:moveTo>
                  <a:lnTo>
                    <a:pt x="0" y="0"/>
                  </a:lnTo>
                  <a:lnTo>
                    <a:pt x="0" y="0"/>
                  </a:lnTo>
                  <a:lnTo>
                    <a:pt x="20241" y="313875"/>
                  </a:lnTo>
                  <a:lnTo>
                    <a:pt x="21241" y="313875"/>
                  </a:lnTo>
                  <a:cubicBezTo>
                    <a:pt x="21991" y="313875"/>
                    <a:pt x="22865" y="313875"/>
                    <a:pt x="23365" y="314749"/>
                  </a:cubicBezTo>
                  <a:cubicBezTo>
                    <a:pt x="23427" y="315124"/>
                    <a:pt x="23427" y="315499"/>
                    <a:pt x="23365" y="315874"/>
                  </a:cubicBezTo>
                  <a:lnTo>
                    <a:pt x="23365" y="315874"/>
                  </a:lnTo>
                  <a:lnTo>
                    <a:pt x="3124" y="625"/>
                  </a:lnTo>
                  <a:lnTo>
                    <a:pt x="3124" y="625"/>
                  </a:lnTo>
                  <a:close/>
                </a:path>
              </a:pathLst>
            </a:custGeom>
            <a:solidFill>
              <a:srgbClr val="000000"/>
            </a:solidFill>
            <a:ln w="12483" cap="flat">
              <a:noFill/>
              <a:prstDash val="solid"/>
              <a:miter/>
            </a:ln>
          </p:spPr>
          <p:txBody>
            <a:bodyPr rtlCol="0" anchor="ctr"/>
            <a:lstStyle/>
            <a:p>
              <a:endParaRPr lang="en-US"/>
            </a:p>
          </p:txBody>
        </p:sp>
        <p:sp>
          <p:nvSpPr>
            <p:cNvPr id="1270" name="Freeform: Shape 1269">
              <a:extLst>
                <a:ext uri="{FF2B5EF4-FFF2-40B4-BE49-F238E27FC236}">
                  <a16:creationId xmlns:a16="http://schemas.microsoft.com/office/drawing/2014/main" id="{ED66D01F-0F46-47AA-B01E-DEB6F0E88C47}"/>
                </a:ext>
              </a:extLst>
            </p:cNvPr>
            <p:cNvSpPr/>
            <p:nvPr/>
          </p:nvSpPr>
          <p:spPr>
            <a:xfrm>
              <a:off x="8394653" y="4032524"/>
              <a:ext cx="33235" cy="43232"/>
            </a:xfrm>
            <a:custGeom>
              <a:avLst/>
              <a:gdLst>
                <a:gd name="connsiteX0" fmla="*/ 27113 w 33235"/>
                <a:gd name="connsiteY0" fmla="*/ 36985 h 43232"/>
                <a:gd name="connsiteX1" fmla="*/ 33236 w 33235"/>
                <a:gd name="connsiteY1" fmla="*/ 33861 h 43232"/>
                <a:gd name="connsiteX2" fmla="*/ 8996 w 33235"/>
                <a:gd name="connsiteY2" fmla="*/ 0 h 43232"/>
                <a:gd name="connsiteX3" fmla="*/ 8996 w 33235"/>
                <a:gd name="connsiteY3" fmla="*/ 0 h 43232"/>
                <a:gd name="connsiteX4" fmla="*/ 10745 w 33235"/>
                <a:gd name="connsiteY4" fmla="*/ 3124 h 43232"/>
                <a:gd name="connsiteX5" fmla="*/ 6122 w 33235"/>
                <a:gd name="connsiteY5" fmla="*/ 17368 h 43232"/>
                <a:gd name="connsiteX6" fmla="*/ 0 w 33235"/>
                <a:gd name="connsiteY6" fmla="*/ 20492 h 43232"/>
                <a:gd name="connsiteX7" fmla="*/ 16243 w 33235"/>
                <a:gd name="connsiteY7" fmla="*/ 43233 h 4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35" h="43232">
                  <a:moveTo>
                    <a:pt x="27113" y="36985"/>
                  </a:moveTo>
                  <a:lnTo>
                    <a:pt x="33236" y="33861"/>
                  </a:lnTo>
                  <a:lnTo>
                    <a:pt x="8996" y="0"/>
                  </a:lnTo>
                  <a:lnTo>
                    <a:pt x="8996" y="0"/>
                  </a:lnTo>
                  <a:cubicBezTo>
                    <a:pt x="9796" y="900"/>
                    <a:pt x="10396" y="1974"/>
                    <a:pt x="10745" y="3124"/>
                  </a:cubicBezTo>
                  <a:cubicBezTo>
                    <a:pt x="12819" y="8371"/>
                    <a:pt x="10883" y="14344"/>
                    <a:pt x="6122" y="17368"/>
                  </a:cubicBezTo>
                  <a:lnTo>
                    <a:pt x="0" y="20492"/>
                  </a:lnTo>
                  <a:lnTo>
                    <a:pt x="16243" y="43233"/>
                  </a:lnTo>
                  <a:close/>
                </a:path>
              </a:pathLst>
            </a:custGeom>
            <a:solidFill>
              <a:srgbClr val="000000"/>
            </a:solidFill>
            <a:ln w="12483" cap="flat">
              <a:noFill/>
              <a:prstDash val="solid"/>
              <a:miter/>
            </a:ln>
          </p:spPr>
          <p:txBody>
            <a:bodyPr rtlCol="0" anchor="ctr"/>
            <a:lstStyle/>
            <a:p>
              <a:endParaRPr lang="en-US"/>
            </a:p>
          </p:txBody>
        </p:sp>
        <p:sp>
          <p:nvSpPr>
            <p:cNvPr id="1271" name="Freeform: Shape 1270">
              <a:extLst>
                <a:ext uri="{FF2B5EF4-FFF2-40B4-BE49-F238E27FC236}">
                  <a16:creationId xmlns:a16="http://schemas.microsoft.com/office/drawing/2014/main" id="{7A809F78-E763-49F5-869B-C5FC1F38E76D}"/>
                </a:ext>
              </a:extLst>
            </p:cNvPr>
            <p:cNvSpPr/>
            <p:nvPr/>
          </p:nvSpPr>
          <p:spPr>
            <a:xfrm>
              <a:off x="8171125" y="4029191"/>
              <a:ext cx="234725" cy="132281"/>
            </a:xfrm>
            <a:custGeom>
              <a:avLst/>
              <a:gdLst>
                <a:gd name="connsiteX0" fmla="*/ 223154 w 234725"/>
                <a:gd name="connsiteY0" fmla="*/ 23450 h 132281"/>
                <a:gd name="connsiteX1" fmla="*/ 229276 w 234725"/>
                <a:gd name="connsiteY1" fmla="*/ 20326 h 132281"/>
                <a:gd name="connsiteX2" fmla="*/ 233899 w 234725"/>
                <a:gd name="connsiteY2" fmla="*/ 6082 h 132281"/>
                <a:gd name="connsiteX3" fmla="*/ 230775 w 234725"/>
                <a:gd name="connsiteY3" fmla="*/ 1584 h 132281"/>
                <a:gd name="connsiteX4" fmla="*/ 229526 w 234725"/>
                <a:gd name="connsiteY4" fmla="*/ 709 h 132281"/>
                <a:gd name="connsiteX5" fmla="*/ 227777 w 234725"/>
                <a:gd name="connsiteY5" fmla="*/ 84 h 132281"/>
                <a:gd name="connsiteX6" fmla="*/ 226152 w 234725"/>
                <a:gd name="connsiteY6" fmla="*/ 84 h 132281"/>
                <a:gd name="connsiteX7" fmla="*/ 224528 w 234725"/>
                <a:gd name="connsiteY7" fmla="*/ 84 h 132281"/>
                <a:gd name="connsiteX8" fmla="*/ 222654 w 234725"/>
                <a:gd name="connsiteY8" fmla="*/ 84 h 132281"/>
                <a:gd name="connsiteX9" fmla="*/ 222654 w 234725"/>
                <a:gd name="connsiteY9" fmla="*/ 84 h 132281"/>
                <a:gd name="connsiteX10" fmla="*/ 0 w 234725"/>
                <a:gd name="connsiteY10" fmla="*/ 114914 h 132281"/>
                <a:gd name="connsiteX11" fmla="*/ 4248 w 234725"/>
                <a:gd name="connsiteY11" fmla="*/ 121036 h 132281"/>
                <a:gd name="connsiteX12" fmla="*/ 12120 w 234725"/>
                <a:gd name="connsiteY12" fmla="*/ 132281 h 13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725" h="132281">
                  <a:moveTo>
                    <a:pt x="223154" y="23450"/>
                  </a:moveTo>
                  <a:lnTo>
                    <a:pt x="229276" y="20326"/>
                  </a:lnTo>
                  <a:cubicBezTo>
                    <a:pt x="234036" y="17302"/>
                    <a:pt x="235973" y="11330"/>
                    <a:pt x="233899" y="6082"/>
                  </a:cubicBezTo>
                  <a:cubicBezTo>
                    <a:pt x="233274" y="4333"/>
                    <a:pt x="232200" y="2771"/>
                    <a:pt x="230775" y="1584"/>
                  </a:cubicBezTo>
                  <a:lnTo>
                    <a:pt x="229526" y="709"/>
                  </a:lnTo>
                  <a:cubicBezTo>
                    <a:pt x="228989" y="397"/>
                    <a:pt x="228389" y="184"/>
                    <a:pt x="227777" y="84"/>
                  </a:cubicBezTo>
                  <a:lnTo>
                    <a:pt x="226152" y="84"/>
                  </a:lnTo>
                  <a:lnTo>
                    <a:pt x="224528" y="84"/>
                  </a:lnTo>
                  <a:cubicBezTo>
                    <a:pt x="223903" y="-28"/>
                    <a:pt x="223278" y="-28"/>
                    <a:pt x="222654" y="84"/>
                  </a:cubicBezTo>
                  <a:lnTo>
                    <a:pt x="222654" y="84"/>
                  </a:lnTo>
                  <a:lnTo>
                    <a:pt x="0" y="114914"/>
                  </a:lnTo>
                  <a:lnTo>
                    <a:pt x="4248" y="121036"/>
                  </a:lnTo>
                  <a:lnTo>
                    <a:pt x="12120" y="132281"/>
                  </a:lnTo>
                  <a:close/>
                </a:path>
              </a:pathLst>
            </a:custGeom>
            <a:solidFill>
              <a:srgbClr val="000000"/>
            </a:solidFill>
            <a:ln w="12483" cap="flat">
              <a:noFill/>
              <a:prstDash val="solid"/>
              <a:miter/>
            </a:ln>
          </p:spPr>
          <p:txBody>
            <a:bodyPr rtlCol="0" anchor="ctr"/>
            <a:lstStyle/>
            <a:p>
              <a:endParaRPr lang="en-US"/>
            </a:p>
          </p:txBody>
        </p:sp>
        <p:sp>
          <p:nvSpPr>
            <p:cNvPr id="1272" name="Freeform: Shape 1271">
              <a:extLst>
                <a:ext uri="{FF2B5EF4-FFF2-40B4-BE49-F238E27FC236}">
                  <a16:creationId xmlns:a16="http://schemas.microsoft.com/office/drawing/2014/main" id="{BAA06FDD-ED71-4F49-AB81-96C85E086D52}"/>
                </a:ext>
              </a:extLst>
            </p:cNvPr>
            <p:cNvSpPr/>
            <p:nvPr/>
          </p:nvSpPr>
          <p:spPr>
            <a:xfrm>
              <a:off x="12037829" y="1457426"/>
              <a:ext cx="166178" cy="86715"/>
            </a:xfrm>
            <a:custGeom>
              <a:avLst/>
              <a:gdLst>
                <a:gd name="connsiteX0" fmla="*/ 0 w 166178"/>
                <a:gd name="connsiteY0" fmla="*/ 84716 h 86715"/>
                <a:gd name="connsiteX1" fmla="*/ 0 w 166178"/>
                <a:gd name="connsiteY1" fmla="*/ 84716 h 86715"/>
                <a:gd name="connsiteX2" fmla="*/ 0 w 166178"/>
                <a:gd name="connsiteY2" fmla="*/ 84716 h 86715"/>
                <a:gd name="connsiteX3" fmla="*/ 0 w 166178"/>
                <a:gd name="connsiteY3" fmla="*/ 85466 h 86715"/>
                <a:gd name="connsiteX4" fmla="*/ 0 w 166178"/>
                <a:gd name="connsiteY4" fmla="*/ 85466 h 86715"/>
                <a:gd name="connsiteX5" fmla="*/ 0 w 166178"/>
                <a:gd name="connsiteY5" fmla="*/ 86715 h 86715"/>
                <a:gd name="connsiteX6" fmla="*/ 166178 w 166178"/>
                <a:gd name="connsiteY6" fmla="*/ 4123 h 86715"/>
                <a:gd name="connsiteX7" fmla="*/ 166178 w 166178"/>
                <a:gd name="connsiteY7" fmla="*/ 0 h 86715"/>
                <a:gd name="connsiteX8" fmla="*/ 0 w 166178"/>
                <a:gd name="connsiteY8" fmla="*/ 83966 h 8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178" h="86715">
                  <a:moveTo>
                    <a:pt x="0" y="84716"/>
                  </a:moveTo>
                  <a:lnTo>
                    <a:pt x="0" y="84716"/>
                  </a:lnTo>
                  <a:lnTo>
                    <a:pt x="0" y="84716"/>
                  </a:lnTo>
                  <a:cubicBezTo>
                    <a:pt x="0" y="84716"/>
                    <a:pt x="0" y="84716"/>
                    <a:pt x="0" y="85466"/>
                  </a:cubicBezTo>
                  <a:lnTo>
                    <a:pt x="0" y="85466"/>
                  </a:lnTo>
                  <a:lnTo>
                    <a:pt x="0" y="86715"/>
                  </a:lnTo>
                  <a:lnTo>
                    <a:pt x="166178" y="4123"/>
                  </a:lnTo>
                  <a:lnTo>
                    <a:pt x="166178" y="0"/>
                  </a:lnTo>
                  <a:lnTo>
                    <a:pt x="0" y="83966"/>
                  </a:lnTo>
                  <a:close/>
                </a:path>
              </a:pathLst>
            </a:custGeom>
            <a:solidFill>
              <a:srgbClr val="000000"/>
            </a:solidFill>
            <a:ln w="12483" cap="flat">
              <a:noFill/>
              <a:prstDash val="solid"/>
              <a:miter/>
            </a:ln>
          </p:spPr>
          <p:txBody>
            <a:bodyPr rtlCol="0" anchor="ctr"/>
            <a:lstStyle/>
            <a:p>
              <a:endParaRPr lang="en-US"/>
            </a:p>
          </p:txBody>
        </p:sp>
        <p:sp>
          <p:nvSpPr>
            <p:cNvPr id="1273" name="Freeform: Shape 1272">
              <a:extLst>
                <a:ext uri="{FF2B5EF4-FFF2-40B4-BE49-F238E27FC236}">
                  <a16:creationId xmlns:a16="http://schemas.microsoft.com/office/drawing/2014/main" id="{8B120277-90CE-4CF4-B708-6579358FB411}"/>
                </a:ext>
              </a:extLst>
            </p:cNvPr>
            <p:cNvSpPr/>
            <p:nvPr/>
          </p:nvSpPr>
          <p:spPr>
            <a:xfrm>
              <a:off x="11872525" y="1384955"/>
              <a:ext cx="165678" cy="159311"/>
            </a:xfrm>
            <a:custGeom>
              <a:avLst/>
              <a:gdLst>
                <a:gd name="connsiteX0" fmla="*/ 0 w 165678"/>
                <a:gd name="connsiteY0" fmla="*/ 3499 h 159311"/>
                <a:gd name="connsiteX1" fmla="*/ 163054 w 165678"/>
                <a:gd name="connsiteY1" fmla="*/ 159311 h 159311"/>
                <a:gd name="connsiteX2" fmla="*/ 163054 w 165678"/>
                <a:gd name="connsiteY2" fmla="*/ 158187 h 159311"/>
                <a:gd name="connsiteX3" fmla="*/ 164679 w 165678"/>
                <a:gd name="connsiteY3" fmla="*/ 156558 h 159311"/>
                <a:gd name="connsiteX4" fmla="*/ 164804 w 165678"/>
                <a:gd name="connsiteY4" fmla="*/ 156563 h 159311"/>
                <a:gd name="connsiteX5" fmla="*/ 165679 w 165678"/>
                <a:gd name="connsiteY5" fmla="*/ 156563 h 159311"/>
                <a:gd name="connsiteX6" fmla="*/ 165679 w 165678"/>
                <a:gd name="connsiteY6" fmla="*/ 156563 h 159311"/>
                <a:gd name="connsiteX7" fmla="*/ 165679 w 165678"/>
                <a:gd name="connsiteY7" fmla="*/ 155813 h 159311"/>
                <a:gd name="connsiteX8" fmla="*/ 1499 w 165678"/>
                <a:gd name="connsiteY8" fmla="*/ 0 h 159311"/>
                <a:gd name="connsiteX9" fmla="*/ 125 w 165678"/>
                <a:gd name="connsiteY9" fmla="*/ 0 h 1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78" h="159311">
                  <a:moveTo>
                    <a:pt x="0" y="3499"/>
                  </a:moveTo>
                  <a:lnTo>
                    <a:pt x="163054" y="159311"/>
                  </a:lnTo>
                  <a:lnTo>
                    <a:pt x="163054" y="158187"/>
                  </a:lnTo>
                  <a:cubicBezTo>
                    <a:pt x="163054" y="157290"/>
                    <a:pt x="163779" y="156560"/>
                    <a:pt x="164679" y="156558"/>
                  </a:cubicBezTo>
                  <a:cubicBezTo>
                    <a:pt x="164716" y="156558"/>
                    <a:pt x="164766" y="156559"/>
                    <a:pt x="164804" y="156563"/>
                  </a:cubicBezTo>
                  <a:cubicBezTo>
                    <a:pt x="165091" y="156458"/>
                    <a:pt x="165391" y="156458"/>
                    <a:pt x="165679" y="156563"/>
                  </a:cubicBezTo>
                  <a:lnTo>
                    <a:pt x="165679" y="156563"/>
                  </a:lnTo>
                  <a:lnTo>
                    <a:pt x="165679" y="155813"/>
                  </a:lnTo>
                  <a:lnTo>
                    <a:pt x="1499" y="0"/>
                  </a:lnTo>
                  <a:lnTo>
                    <a:pt x="125" y="0"/>
                  </a:lnTo>
                  <a:close/>
                </a:path>
              </a:pathLst>
            </a:custGeom>
            <a:solidFill>
              <a:srgbClr val="000000"/>
            </a:solidFill>
            <a:ln w="12483" cap="flat">
              <a:noFill/>
              <a:prstDash val="solid"/>
              <a:miter/>
            </a:ln>
          </p:spPr>
          <p:txBody>
            <a:bodyPr rtlCol="0" anchor="ctr"/>
            <a:lstStyle/>
            <a:p>
              <a:endParaRPr lang="en-US"/>
            </a:p>
          </p:txBody>
        </p:sp>
        <p:sp>
          <p:nvSpPr>
            <p:cNvPr id="1274" name="Freeform: Shape 1273">
              <a:extLst>
                <a:ext uri="{FF2B5EF4-FFF2-40B4-BE49-F238E27FC236}">
                  <a16:creationId xmlns:a16="http://schemas.microsoft.com/office/drawing/2014/main" id="{3ADA6EE2-64B5-4D49-A256-B6F2EE01808A}"/>
                </a:ext>
              </a:extLst>
            </p:cNvPr>
            <p:cNvSpPr/>
            <p:nvPr/>
          </p:nvSpPr>
          <p:spPr>
            <a:xfrm>
              <a:off x="11816549" y="1375708"/>
              <a:ext cx="55850" cy="541908"/>
            </a:xfrm>
            <a:custGeom>
              <a:avLst/>
              <a:gdLst>
                <a:gd name="connsiteX0" fmla="*/ 18367 w 55850"/>
                <a:gd name="connsiteY0" fmla="*/ 532538 h 541908"/>
                <a:gd name="connsiteX1" fmla="*/ 55851 w 55850"/>
                <a:gd name="connsiteY1" fmla="*/ 12745 h 541908"/>
                <a:gd name="connsiteX2" fmla="*/ 55851 w 55850"/>
                <a:gd name="connsiteY2" fmla="*/ 9871 h 541908"/>
                <a:gd name="connsiteX3" fmla="*/ 50853 w 55850"/>
                <a:gd name="connsiteY3" fmla="*/ 12370 h 541908"/>
                <a:gd name="connsiteX4" fmla="*/ 39645 w 55850"/>
                <a:gd name="connsiteY4" fmla="*/ 8036 h 541908"/>
                <a:gd name="connsiteX5" fmla="*/ 39108 w 55850"/>
                <a:gd name="connsiteY5" fmla="*/ 6372 h 541908"/>
                <a:gd name="connsiteX6" fmla="*/ 39108 w 55850"/>
                <a:gd name="connsiteY6" fmla="*/ 0 h 541908"/>
                <a:gd name="connsiteX7" fmla="*/ 39108 w 55850"/>
                <a:gd name="connsiteY7" fmla="*/ 1374 h 541908"/>
                <a:gd name="connsiteX8" fmla="*/ 0 w 55850"/>
                <a:gd name="connsiteY8" fmla="*/ 541909 h 541908"/>
                <a:gd name="connsiteX9" fmla="*/ 4998 w 55850"/>
                <a:gd name="connsiteY9" fmla="*/ 539410 h 54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50" h="541908">
                  <a:moveTo>
                    <a:pt x="18367" y="532538"/>
                  </a:moveTo>
                  <a:lnTo>
                    <a:pt x="55851" y="12745"/>
                  </a:lnTo>
                  <a:lnTo>
                    <a:pt x="55851" y="9871"/>
                  </a:lnTo>
                  <a:lnTo>
                    <a:pt x="50853" y="12370"/>
                  </a:lnTo>
                  <a:cubicBezTo>
                    <a:pt x="46555" y="14268"/>
                    <a:pt x="41544" y="12326"/>
                    <a:pt x="39645" y="8036"/>
                  </a:cubicBezTo>
                  <a:cubicBezTo>
                    <a:pt x="39407" y="7501"/>
                    <a:pt x="39233" y="6943"/>
                    <a:pt x="39108" y="6372"/>
                  </a:cubicBezTo>
                  <a:cubicBezTo>
                    <a:pt x="38558" y="4284"/>
                    <a:pt x="38558" y="2088"/>
                    <a:pt x="39108" y="0"/>
                  </a:cubicBezTo>
                  <a:cubicBezTo>
                    <a:pt x="39045" y="456"/>
                    <a:pt x="39045" y="918"/>
                    <a:pt x="39108" y="1374"/>
                  </a:cubicBezTo>
                  <a:lnTo>
                    <a:pt x="0" y="541909"/>
                  </a:lnTo>
                  <a:lnTo>
                    <a:pt x="4998" y="539410"/>
                  </a:lnTo>
                  <a:close/>
                </a:path>
              </a:pathLst>
            </a:custGeom>
            <a:solidFill>
              <a:srgbClr val="000000"/>
            </a:solidFill>
            <a:ln w="12483" cap="flat">
              <a:noFill/>
              <a:prstDash val="solid"/>
              <a:miter/>
            </a:ln>
          </p:spPr>
          <p:txBody>
            <a:bodyPr rtlCol="0" anchor="ctr"/>
            <a:lstStyle/>
            <a:p>
              <a:endParaRPr lang="en-US"/>
            </a:p>
          </p:txBody>
        </p:sp>
        <p:sp>
          <p:nvSpPr>
            <p:cNvPr id="1275" name="Freeform: Shape 1274">
              <a:extLst>
                <a:ext uri="{FF2B5EF4-FFF2-40B4-BE49-F238E27FC236}">
                  <a16:creationId xmlns:a16="http://schemas.microsoft.com/office/drawing/2014/main" id="{9CCBE520-A6A6-4E17-A3CC-0E81E12A7051}"/>
                </a:ext>
              </a:extLst>
            </p:cNvPr>
            <p:cNvSpPr/>
            <p:nvPr/>
          </p:nvSpPr>
          <p:spPr>
            <a:xfrm>
              <a:off x="12006467" y="1542935"/>
              <a:ext cx="32486" cy="368309"/>
            </a:xfrm>
            <a:custGeom>
              <a:avLst/>
              <a:gdLst>
                <a:gd name="connsiteX0" fmla="*/ 29238 w 32486"/>
                <a:gd name="connsiteY0" fmla="*/ 456 h 368309"/>
                <a:gd name="connsiteX1" fmla="*/ 29238 w 32486"/>
                <a:gd name="connsiteY1" fmla="*/ 1331 h 368309"/>
                <a:gd name="connsiteX2" fmla="*/ 0 w 32486"/>
                <a:gd name="connsiteY2" fmla="*/ 365436 h 368309"/>
                <a:gd name="connsiteX3" fmla="*/ 2874 w 32486"/>
                <a:gd name="connsiteY3" fmla="*/ 368310 h 368309"/>
                <a:gd name="connsiteX4" fmla="*/ 32486 w 32486"/>
                <a:gd name="connsiteY4" fmla="*/ 1831 h 368309"/>
                <a:gd name="connsiteX5" fmla="*/ 32486 w 32486"/>
                <a:gd name="connsiteY5" fmla="*/ 1331 h 368309"/>
                <a:gd name="connsiteX6" fmla="*/ 32486 w 32486"/>
                <a:gd name="connsiteY6" fmla="*/ 1331 h 368309"/>
                <a:gd name="connsiteX7" fmla="*/ 32486 w 32486"/>
                <a:gd name="connsiteY7" fmla="*/ 581 h 368309"/>
                <a:gd name="connsiteX8" fmla="*/ 32486 w 32486"/>
                <a:gd name="connsiteY8" fmla="*/ 581 h 368309"/>
                <a:gd name="connsiteX9" fmla="*/ 31612 w 32486"/>
                <a:gd name="connsiteY9" fmla="*/ 581 h 368309"/>
                <a:gd name="connsiteX10" fmla="*/ 29325 w 32486"/>
                <a:gd name="connsiteY10" fmla="*/ 379 h 368309"/>
                <a:gd name="connsiteX11" fmla="*/ 29238 w 32486"/>
                <a:gd name="connsiteY11" fmla="*/ 456 h 36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86" h="368309">
                  <a:moveTo>
                    <a:pt x="29238" y="456"/>
                  </a:moveTo>
                  <a:lnTo>
                    <a:pt x="29238" y="1331"/>
                  </a:lnTo>
                  <a:lnTo>
                    <a:pt x="0" y="365436"/>
                  </a:lnTo>
                  <a:lnTo>
                    <a:pt x="2874" y="368310"/>
                  </a:lnTo>
                  <a:lnTo>
                    <a:pt x="32486" y="1831"/>
                  </a:lnTo>
                  <a:lnTo>
                    <a:pt x="32486" y="1331"/>
                  </a:lnTo>
                  <a:lnTo>
                    <a:pt x="32486" y="1331"/>
                  </a:lnTo>
                  <a:cubicBezTo>
                    <a:pt x="32486" y="1331"/>
                    <a:pt x="32486" y="1331"/>
                    <a:pt x="32486" y="581"/>
                  </a:cubicBezTo>
                  <a:lnTo>
                    <a:pt x="32486" y="581"/>
                  </a:lnTo>
                  <a:cubicBezTo>
                    <a:pt x="32199" y="476"/>
                    <a:pt x="31899" y="476"/>
                    <a:pt x="31612" y="581"/>
                  </a:cubicBezTo>
                  <a:cubicBezTo>
                    <a:pt x="31037" y="-106"/>
                    <a:pt x="30013" y="-197"/>
                    <a:pt x="29325" y="379"/>
                  </a:cubicBezTo>
                  <a:cubicBezTo>
                    <a:pt x="29300" y="404"/>
                    <a:pt x="29262" y="430"/>
                    <a:pt x="29238" y="456"/>
                  </a:cubicBezTo>
                  <a:close/>
                </a:path>
              </a:pathLst>
            </a:custGeom>
            <a:solidFill>
              <a:srgbClr val="000000"/>
            </a:solidFill>
            <a:ln w="12483" cap="flat">
              <a:noFill/>
              <a:prstDash val="solid"/>
              <a:miter/>
            </a:ln>
          </p:spPr>
          <p:txBody>
            <a:bodyPr rtlCol="0" anchor="ctr"/>
            <a:lstStyle/>
            <a:p>
              <a:endParaRPr lang="en-US"/>
            </a:p>
          </p:txBody>
        </p:sp>
        <p:sp>
          <p:nvSpPr>
            <p:cNvPr id="1276" name="Freeform: Shape 1275">
              <a:extLst>
                <a:ext uri="{FF2B5EF4-FFF2-40B4-BE49-F238E27FC236}">
                  <a16:creationId xmlns:a16="http://schemas.microsoft.com/office/drawing/2014/main" id="{49A855ED-E826-45E7-B9AE-E7DCBD1319FD}"/>
                </a:ext>
              </a:extLst>
            </p:cNvPr>
            <p:cNvSpPr/>
            <p:nvPr/>
          </p:nvSpPr>
          <p:spPr>
            <a:xfrm>
              <a:off x="10709903" y="2704179"/>
              <a:ext cx="209159" cy="111205"/>
            </a:xfrm>
            <a:custGeom>
              <a:avLst/>
              <a:gdLst>
                <a:gd name="connsiteX0" fmla="*/ 1250 w 209159"/>
                <a:gd name="connsiteY0" fmla="*/ 111206 h 111205"/>
                <a:gd name="connsiteX1" fmla="*/ 209035 w 209159"/>
                <a:gd name="connsiteY1" fmla="*/ 4248 h 111205"/>
                <a:gd name="connsiteX2" fmla="*/ 209160 w 209159"/>
                <a:gd name="connsiteY2" fmla="*/ 0 h 111205"/>
                <a:gd name="connsiteX3" fmla="*/ 0 w 209159"/>
                <a:gd name="connsiteY3" fmla="*/ 107582 h 111205"/>
                <a:gd name="connsiteX4" fmla="*/ 0 w 209159"/>
                <a:gd name="connsiteY4" fmla="*/ 109706 h 111205"/>
                <a:gd name="connsiteX5" fmla="*/ 1250 w 209159"/>
                <a:gd name="connsiteY5" fmla="*/ 111206 h 11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9" h="111205">
                  <a:moveTo>
                    <a:pt x="1250" y="111206"/>
                  </a:moveTo>
                  <a:lnTo>
                    <a:pt x="209035" y="4248"/>
                  </a:lnTo>
                  <a:lnTo>
                    <a:pt x="209160" y="0"/>
                  </a:lnTo>
                  <a:lnTo>
                    <a:pt x="0" y="107582"/>
                  </a:lnTo>
                  <a:lnTo>
                    <a:pt x="0" y="109706"/>
                  </a:lnTo>
                  <a:lnTo>
                    <a:pt x="1250" y="111206"/>
                  </a:lnTo>
                  <a:close/>
                </a:path>
              </a:pathLst>
            </a:custGeom>
            <a:solidFill>
              <a:srgbClr val="000000"/>
            </a:solidFill>
            <a:ln w="12483" cap="flat">
              <a:noFill/>
              <a:prstDash val="solid"/>
              <a:miter/>
            </a:ln>
          </p:spPr>
          <p:txBody>
            <a:bodyPr rtlCol="0" anchor="ctr"/>
            <a:lstStyle/>
            <a:p>
              <a:endParaRPr lang="en-US"/>
            </a:p>
          </p:txBody>
        </p:sp>
        <p:sp>
          <p:nvSpPr>
            <p:cNvPr id="1277" name="Freeform: Shape 1276">
              <a:extLst>
                <a:ext uri="{FF2B5EF4-FFF2-40B4-BE49-F238E27FC236}">
                  <a16:creationId xmlns:a16="http://schemas.microsoft.com/office/drawing/2014/main" id="{D419CD19-80D0-4A0E-AFE3-A9E8AB3813FF}"/>
                </a:ext>
              </a:extLst>
            </p:cNvPr>
            <p:cNvSpPr/>
            <p:nvPr/>
          </p:nvSpPr>
          <p:spPr>
            <a:xfrm>
              <a:off x="10450765" y="2422041"/>
              <a:ext cx="37483" cy="44232"/>
            </a:xfrm>
            <a:custGeom>
              <a:avLst/>
              <a:gdLst>
                <a:gd name="connsiteX0" fmla="*/ 36609 w 37483"/>
                <a:gd name="connsiteY0" fmla="*/ 42108 h 44232"/>
                <a:gd name="connsiteX1" fmla="*/ 36609 w 37483"/>
                <a:gd name="connsiteY1" fmla="*/ 42108 h 44232"/>
                <a:gd name="connsiteX2" fmla="*/ 36609 w 37483"/>
                <a:gd name="connsiteY2" fmla="*/ 41358 h 44232"/>
                <a:gd name="connsiteX3" fmla="*/ 36609 w 37483"/>
                <a:gd name="connsiteY3" fmla="*/ 41358 h 44232"/>
                <a:gd name="connsiteX4" fmla="*/ 36609 w 37483"/>
                <a:gd name="connsiteY4" fmla="*/ 41358 h 44232"/>
                <a:gd name="connsiteX5" fmla="*/ 37484 w 37483"/>
                <a:gd name="connsiteY5" fmla="*/ 41358 h 44232"/>
                <a:gd name="connsiteX6" fmla="*/ 0 w 37483"/>
                <a:gd name="connsiteY6" fmla="*/ 0 h 44232"/>
                <a:gd name="connsiteX7" fmla="*/ 0 w 37483"/>
                <a:gd name="connsiteY7" fmla="*/ 0 h 44232"/>
                <a:gd name="connsiteX8" fmla="*/ 0 w 37483"/>
                <a:gd name="connsiteY8" fmla="*/ 750 h 44232"/>
                <a:gd name="connsiteX9" fmla="*/ 0 w 37483"/>
                <a:gd name="connsiteY9" fmla="*/ 750 h 44232"/>
                <a:gd name="connsiteX10" fmla="*/ 0 w 37483"/>
                <a:gd name="connsiteY10" fmla="*/ 5123 h 44232"/>
                <a:gd name="connsiteX11" fmla="*/ 35360 w 37483"/>
                <a:gd name="connsiteY11" fmla="*/ 44232 h 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483" h="44232">
                  <a:moveTo>
                    <a:pt x="36609" y="42108"/>
                  </a:moveTo>
                  <a:lnTo>
                    <a:pt x="36609" y="42108"/>
                  </a:lnTo>
                  <a:cubicBezTo>
                    <a:pt x="36559" y="41858"/>
                    <a:pt x="36559" y="41608"/>
                    <a:pt x="36609" y="41358"/>
                  </a:cubicBezTo>
                  <a:lnTo>
                    <a:pt x="36609" y="41358"/>
                  </a:lnTo>
                  <a:lnTo>
                    <a:pt x="36609" y="41358"/>
                  </a:lnTo>
                  <a:lnTo>
                    <a:pt x="37484" y="41358"/>
                  </a:lnTo>
                  <a:lnTo>
                    <a:pt x="0" y="0"/>
                  </a:lnTo>
                  <a:lnTo>
                    <a:pt x="0" y="0"/>
                  </a:lnTo>
                  <a:lnTo>
                    <a:pt x="0" y="750"/>
                  </a:lnTo>
                  <a:lnTo>
                    <a:pt x="0" y="750"/>
                  </a:lnTo>
                  <a:lnTo>
                    <a:pt x="0" y="5123"/>
                  </a:lnTo>
                  <a:lnTo>
                    <a:pt x="35360" y="44232"/>
                  </a:lnTo>
                  <a:close/>
                </a:path>
              </a:pathLst>
            </a:custGeom>
            <a:solidFill>
              <a:srgbClr val="000000"/>
            </a:solidFill>
            <a:ln w="12483" cap="flat">
              <a:noFill/>
              <a:prstDash val="solid"/>
              <a:miter/>
            </a:ln>
          </p:spPr>
          <p:txBody>
            <a:bodyPr rtlCol="0" anchor="ctr"/>
            <a:lstStyle/>
            <a:p>
              <a:endParaRPr lang="en-US"/>
            </a:p>
          </p:txBody>
        </p:sp>
        <p:sp>
          <p:nvSpPr>
            <p:cNvPr id="1278" name="Freeform: Shape 1277">
              <a:extLst>
                <a:ext uri="{FF2B5EF4-FFF2-40B4-BE49-F238E27FC236}">
                  <a16:creationId xmlns:a16="http://schemas.microsoft.com/office/drawing/2014/main" id="{B40B8D6D-5550-43EE-8345-446DA68F3902}"/>
                </a:ext>
              </a:extLst>
            </p:cNvPr>
            <p:cNvSpPr/>
            <p:nvPr/>
          </p:nvSpPr>
          <p:spPr>
            <a:xfrm>
              <a:off x="11021893" y="2287970"/>
              <a:ext cx="18991" cy="56102"/>
            </a:xfrm>
            <a:custGeom>
              <a:avLst/>
              <a:gdLst>
                <a:gd name="connsiteX0" fmla="*/ 18992 w 18991"/>
                <a:gd name="connsiteY0" fmla="*/ 9371 h 56102"/>
                <a:gd name="connsiteX1" fmla="*/ 16243 w 18991"/>
                <a:gd name="connsiteY1" fmla="*/ 10871 h 56102"/>
                <a:gd name="connsiteX2" fmla="*/ 13744 w 18991"/>
                <a:gd name="connsiteY2" fmla="*/ 11995 h 56102"/>
                <a:gd name="connsiteX3" fmla="*/ 2511 w 18991"/>
                <a:gd name="connsiteY3" fmla="*/ 7734 h 56102"/>
                <a:gd name="connsiteX4" fmla="*/ 1999 w 18991"/>
                <a:gd name="connsiteY4" fmla="*/ 6248 h 56102"/>
                <a:gd name="connsiteX5" fmla="*/ 1999 w 18991"/>
                <a:gd name="connsiteY5" fmla="*/ 0 h 56102"/>
                <a:gd name="connsiteX6" fmla="*/ 1999 w 18991"/>
                <a:gd name="connsiteY6" fmla="*/ 1499 h 56102"/>
                <a:gd name="connsiteX7" fmla="*/ 0 w 18991"/>
                <a:gd name="connsiteY7" fmla="*/ 56103 h 56102"/>
                <a:gd name="connsiteX8" fmla="*/ 5248 w 18991"/>
                <a:gd name="connsiteY8" fmla="*/ 53479 h 56102"/>
                <a:gd name="connsiteX9" fmla="*/ 17742 w 18991"/>
                <a:gd name="connsiteY9" fmla="*/ 46856 h 56102"/>
                <a:gd name="connsiteX10" fmla="*/ 18992 w 18991"/>
                <a:gd name="connsiteY10" fmla="*/ 13744 h 5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91" h="56102">
                  <a:moveTo>
                    <a:pt x="18992" y="9371"/>
                  </a:moveTo>
                  <a:lnTo>
                    <a:pt x="16243" y="10871"/>
                  </a:lnTo>
                  <a:lnTo>
                    <a:pt x="13744" y="11995"/>
                  </a:lnTo>
                  <a:cubicBezTo>
                    <a:pt x="9471" y="13919"/>
                    <a:pt x="4436" y="12008"/>
                    <a:pt x="2511" y="7734"/>
                  </a:cubicBezTo>
                  <a:cubicBezTo>
                    <a:pt x="2299" y="7260"/>
                    <a:pt x="2124" y="6760"/>
                    <a:pt x="1999" y="6248"/>
                  </a:cubicBezTo>
                  <a:cubicBezTo>
                    <a:pt x="1562" y="4186"/>
                    <a:pt x="1562" y="2062"/>
                    <a:pt x="1999" y="0"/>
                  </a:cubicBezTo>
                  <a:cubicBezTo>
                    <a:pt x="1999" y="0"/>
                    <a:pt x="1999" y="1000"/>
                    <a:pt x="1999" y="1499"/>
                  </a:cubicBezTo>
                  <a:lnTo>
                    <a:pt x="0" y="56103"/>
                  </a:lnTo>
                  <a:lnTo>
                    <a:pt x="5248" y="53479"/>
                  </a:lnTo>
                  <a:lnTo>
                    <a:pt x="17742" y="46856"/>
                  </a:lnTo>
                  <a:lnTo>
                    <a:pt x="18992" y="13744"/>
                  </a:lnTo>
                  <a:close/>
                </a:path>
              </a:pathLst>
            </a:custGeom>
            <a:solidFill>
              <a:srgbClr val="000000"/>
            </a:solidFill>
            <a:ln w="12483" cap="flat">
              <a:noFill/>
              <a:prstDash val="solid"/>
              <a:miter/>
            </a:ln>
          </p:spPr>
          <p:txBody>
            <a:bodyPr rtlCol="0" anchor="ctr"/>
            <a:lstStyle/>
            <a:p>
              <a:endParaRPr lang="en-US"/>
            </a:p>
          </p:txBody>
        </p:sp>
        <p:sp>
          <p:nvSpPr>
            <p:cNvPr id="1279" name="Freeform: Shape 1278">
              <a:extLst>
                <a:ext uri="{FF2B5EF4-FFF2-40B4-BE49-F238E27FC236}">
                  <a16:creationId xmlns:a16="http://schemas.microsoft.com/office/drawing/2014/main" id="{93EEC27E-CF99-49A2-B533-652BEAC85E6A}"/>
                </a:ext>
              </a:extLst>
            </p:cNvPr>
            <p:cNvSpPr/>
            <p:nvPr/>
          </p:nvSpPr>
          <p:spPr>
            <a:xfrm>
              <a:off x="9802669" y="4186712"/>
              <a:ext cx="617233" cy="785936"/>
            </a:xfrm>
            <a:custGeom>
              <a:avLst/>
              <a:gdLst>
                <a:gd name="connsiteX0" fmla="*/ 4249 w 617233"/>
                <a:gd name="connsiteY0" fmla="*/ 1374 h 785936"/>
                <a:gd name="connsiteX1" fmla="*/ 3124 w 617233"/>
                <a:gd name="connsiteY1" fmla="*/ 0 h 785936"/>
                <a:gd name="connsiteX2" fmla="*/ 0 w 617233"/>
                <a:gd name="connsiteY2" fmla="*/ 1624 h 785936"/>
                <a:gd name="connsiteX3" fmla="*/ 4373 w 617233"/>
                <a:gd name="connsiteY3" fmla="*/ 7122 h 785936"/>
                <a:gd name="connsiteX4" fmla="*/ 614235 w 617233"/>
                <a:gd name="connsiteY4" fmla="*/ 785937 h 785936"/>
                <a:gd name="connsiteX5" fmla="*/ 617234 w 617233"/>
                <a:gd name="connsiteY5" fmla="*/ 784187 h 785936"/>
                <a:gd name="connsiteX6" fmla="*/ 4249 w 617233"/>
                <a:gd name="connsiteY6" fmla="*/ 1374 h 78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33" h="785936">
                  <a:moveTo>
                    <a:pt x="4249" y="1374"/>
                  </a:moveTo>
                  <a:lnTo>
                    <a:pt x="3124" y="0"/>
                  </a:lnTo>
                  <a:lnTo>
                    <a:pt x="0" y="1624"/>
                  </a:lnTo>
                  <a:lnTo>
                    <a:pt x="4373" y="7122"/>
                  </a:lnTo>
                  <a:lnTo>
                    <a:pt x="614235" y="785937"/>
                  </a:lnTo>
                  <a:lnTo>
                    <a:pt x="617234" y="784187"/>
                  </a:lnTo>
                  <a:lnTo>
                    <a:pt x="4249" y="1374"/>
                  </a:lnTo>
                  <a:close/>
                </a:path>
              </a:pathLst>
            </a:custGeom>
            <a:solidFill>
              <a:srgbClr val="000000"/>
            </a:solidFill>
            <a:ln w="12483" cap="flat">
              <a:noFill/>
              <a:prstDash val="solid"/>
              <a:miter/>
            </a:ln>
          </p:spPr>
          <p:txBody>
            <a:bodyPr rtlCol="0" anchor="ctr"/>
            <a:lstStyle/>
            <a:p>
              <a:endParaRPr lang="en-US"/>
            </a:p>
          </p:txBody>
        </p:sp>
        <p:sp>
          <p:nvSpPr>
            <p:cNvPr id="1280" name="Freeform: Shape 1279">
              <a:extLst>
                <a:ext uri="{FF2B5EF4-FFF2-40B4-BE49-F238E27FC236}">
                  <a16:creationId xmlns:a16="http://schemas.microsoft.com/office/drawing/2014/main" id="{5E551B1C-0F0C-497F-9640-DA3C050FAEDB}"/>
                </a:ext>
              </a:extLst>
            </p:cNvPr>
            <p:cNvSpPr/>
            <p:nvPr/>
          </p:nvSpPr>
          <p:spPr>
            <a:xfrm>
              <a:off x="9748693" y="5503312"/>
              <a:ext cx="54851" cy="77219"/>
            </a:xfrm>
            <a:custGeom>
              <a:avLst/>
              <a:gdLst>
                <a:gd name="connsiteX0" fmla="*/ 53727 w 54851"/>
                <a:gd name="connsiteY0" fmla="*/ 74845 h 77219"/>
                <a:gd name="connsiteX1" fmla="*/ 53727 w 54851"/>
                <a:gd name="connsiteY1" fmla="*/ 74845 h 77219"/>
                <a:gd name="connsiteX2" fmla="*/ 53727 w 54851"/>
                <a:gd name="connsiteY2" fmla="*/ 74845 h 77219"/>
                <a:gd name="connsiteX3" fmla="*/ 53727 w 54851"/>
                <a:gd name="connsiteY3" fmla="*/ 74845 h 77219"/>
                <a:gd name="connsiteX4" fmla="*/ 54851 w 54851"/>
                <a:gd name="connsiteY4" fmla="*/ 74220 h 77219"/>
                <a:gd name="connsiteX5" fmla="*/ 54851 w 54851"/>
                <a:gd name="connsiteY5" fmla="*/ 73471 h 77219"/>
                <a:gd name="connsiteX6" fmla="*/ 1250 w 54851"/>
                <a:gd name="connsiteY6" fmla="*/ 0 h 77219"/>
                <a:gd name="connsiteX7" fmla="*/ 1250 w 54851"/>
                <a:gd name="connsiteY7" fmla="*/ 0 h 77219"/>
                <a:gd name="connsiteX8" fmla="*/ 0 w 54851"/>
                <a:gd name="connsiteY8" fmla="*/ 3998 h 77219"/>
                <a:gd name="connsiteX9" fmla="*/ 0 w 54851"/>
                <a:gd name="connsiteY9" fmla="*/ 3998 h 77219"/>
                <a:gd name="connsiteX10" fmla="*/ 51478 w 54851"/>
                <a:gd name="connsiteY10" fmla="*/ 74470 h 77219"/>
                <a:gd name="connsiteX11" fmla="*/ 53477 w 54851"/>
                <a:gd name="connsiteY11" fmla="*/ 77219 h 77219"/>
                <a:gd name="connsiteX12" fmla="*/ 53477 w 54851"/>
                <a:gd name="connsiteY12" fmla="*/ 76595 h 77219"/>
                <a:gd name="connsiteX13" fmla="*/ 53727 w 54851"/>
                <a:gd name="connsiteY13" fmla="*/ 74845 h 7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51" h="77219">
                  <a:moveTo>
                    <a:pt x="53727" y="74845"/>
                  </a:moveTo>
                  <a:cubicBezTo>
                    <a:pt x="53727" y="74845"/>
                    <a:pt x="53727" y="74845"/>
                    <a:pt x="53727" y="74845"/>
                  </a:cubicBezTo>
                  <a:cubicBezTo>
                    <a:pt x="53727" y="74845"/>
                    <a:pt x="53727" y="74845"/>
                    <a:pt x="53727" y="74845"/>
                  </a:cubicBezTo>
                  <a:cubicBezTo>
                    <a:pt x="53727" y="74845"/>
                    <a:pt x="53727" y="74845"/>
                    <a:pt x="53727" y="74845"/>
                  </a:cubicBezTo>
                  <a:lnTo>
                    <a:pt x="54851" y="74220"/>
                  </a:lnTo>
                  <a:lnTo>
                    <a:pt x="54851" y="73471"/>
                  </a:lnTo>
                  <a:lnTo>
                    <a:pt x="1250" y="0"/>
                  </a:lnTo>
                  <a:lnTo>
                    <a:pt x="1250" y="0"/>
                  </a:lnTo>
                  <a:cubicBezTo>
                    <a:pt x="1124" y="1412"/>
                    <a:pt x="700" y="2774"/>
                    <a:pt x="0" y="3998"/>
                  </a:cubicBezTo>
                  <a:lnTo>
                    <a:pt x="0" y="3998"/>
                  </a:lnTo>
                  <a:lnTo>
                    <a:pt x="51478" y="74470"/>
                  </a:lnTo>
                  <a:lnTo>
                    <a:pt x="53477" y="77219"/>
                  </a:lnTo>
                  <a:lnTo>
                    <a:pt x="53477" y="76595"/>
                  </a:lnTo>
                  <a:cubicBezTo>
                    <a:pt x="53477" y="76595"/>
                    <a:pt x="53727" y="74970"/>
                    <a:pt x="53727" y="74845"/>
                  </a:cubicBezTo>
                  <a:close/>
                </a:path>
              </a:pathLst>
            </a:custGeom>
            <a:solidFill>
              <a:srgbClr val="000000"/>
            </a:solidFill>
            <a:ln w="12483" cap="flat">
              <a:noFill/>
              <a:prstDash val="solid"/>
              <a:miter/>
            </a:ln>
          </p:spPr>
          <p:txBody>
            <a:bodyPr rtlCol="0" anchor="ctr"/>
            <a:lstStyle/>
            <a:p>
              <a:endParaRPr lang="en-US"/>
            </a:p>
          </p:txBody>
        </p:sp>
        <p:sp>
          <p:nvSpPr>
            <p:cNvPr id="1281" name="Freeform: Shape 1280">
              <a:extLst>
                <a:ext uri="{FF2B5EF4-FFF2-40B4-BE49-F238E27FC236}">
                  <a16:creationId xmlns:a16="http://schemas.microsoft.com/office/drawing/2014/main" id="{C4567713-F2C2-4943-BB6E-05E9818216C6}"/>
                </a:ext>
              </a:extLst>
            </p:cNvPr>
            <p:cNvSpPr/>
            <p:nvPr/>
          </p:nvSpPr>
          <p:spPr>
            <a:xfrm>
              <a:off x="9802669" y="5568536"/>
              <a:ext cx="14618" cy="11370"/>
            </a:xfrm>
            <a:custGeom>
              <a:avLst/>
              <a:gdLst>
                <a:gd name="connsiteX0" fmla="*/ 14619 w 14618"/>
                <a:gd name="connsiteY0" fmla="*/ 0 h 11370"/>
                <a:gd name="connsiteX1" fmla="*/ 2124 w 14618"/>
                <a:gd name="connsiteY1" fmla="*/ 6997 h 11370"/>
                <a:gd name="connsiteX2" fmla="*/ 1125 w 14618"/>
                <a:gd name="connsiteY2" fmla="*/ 7622 h 11370"/>
                <a:gd name="connsiteX3" fmla="*/ 0 w 14618"/>
                <a:gd name="connsiteY3" fmla="*/ 8247 h 11370"/>
                <a:gd name="connsiteX4" fmla="*/ 0 w 14618"/>
                <a:gd name="connsiteY4" fmla="*/ 8247 h 11370"/>
                <a:gd name="connsiteX5" fmla="*/ 750 w 14618"/>
                <a:gd name="connsiteY5" fmla="*/ 8247 h 11370"/>
                <a:gd name="connsiteX6" fmla="*/ 2374 w 14618"/>
                <a:gd name="connsiteY6" fmla="*/ 10108 h 11370"/>
                <a:gd name="connsiteX7" fmla="*/ 2374 w 14618"/>
                <a:gd name="connsiteY7" fmla="*/ 10121 h 11370"/>
                <a:gd name="connsiteX8" fmla="*/ 2374 w 14618"/>
                <a:gd name="connsiteY8" fmla="*/ 11371 h 11370"/>
                <a:gd name="connsiteX9" fmla="*/ 6123 w 14618"/>
                <a:gd name="connsiteY9" fmla="*/ 9246 h 11370"/>
                <a:gd name="connsiteX10" fmla="*/ 12870 w 14618"/>
                <a:gd name="connsiteY10" fmla="*/ 5248 h 11370"/>
                <a:gd name="connsiteX11" fmla="*/ 14619 w 14618"/>
                <a:gd name="connsiteY11" fmla="*/ 0 h 1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18" h="11370">
                  <a:moveTo>
                    <a:pt x="14619" y="0"/>
                  </a:moveTo>
                  <a:lnTo>
                    <a:pt x="2124" y="6997"/>
                  </a:lnTo>
                  <a:lnTo>
                    <a:pt x="1125" y="7622"/>
                  </a:lnTo>
                  <a:lnTo>
                    <a:pt x="0" y="8247"/>
                  </a:lnTo>
                  <a:cubicBezTo>
                    <a:pt x="0" y="8247"/>
                    <a:pt x="0" y="8247"/>
                    <a:pt x="0" y="8247"/>
                  </a:cubicBezTo>
                  <a:cubicBezTo>
                    <a:pt x="0" y="8247"/>
                    <a:pt x="0" y="8247"/>
                    <a:pt x="750" y="8247"/>
                  </a:cubicBezTo>
                  <a:cubicBezTo>
                    <a:pt x="1712" y="8309"/>
                    <a:pt x="2437" y="9146"/>
                    <a:pt x="2374" y="10108"/>
                  </a:cubicBezTo>
                  <a:cubicBezTo>
                    <a:pt x="2374" y="10121"/>
                    <a:pt x="2374" y="10121"/>
                    <a:pt x="2374" y="10121"/>
                  </a:cubicBezTo>
                  <a:lnTo>
                    <a:pt x="2374" y="11371"/>
                  </a:lnTo>
                  <a:lnTo>
                    <a:pt x="6123" y="9246"/>
                  </a:lnTo>
                  <a:lnTo>
                    <a:pt x="12870" y="5248"/>
                  </a:lnTo>
                  <a:cubicBezTo>
                    <a:pt x="13094" y="3399"/>
                    <a:pt x="13694" y="1612"/>
                    <a:pt x="14619" y="0"/>
                  </a:cubicBezTo>
                  <a:close/>
                </a:path>
              </a:pathLst>
            </a:custGeom>
            <a:solidFill>
              <a:srgbClr val="000000"/>
            </a:solidFill>
            <a:ln w="12483" cap="flat">
              <a:noFill/>
              <a:prstDash val="solid"/>
              <a:miter/>
            </a:ln>
          </p:spPr>
          <p:txBody>
            <a:bodyPr rtlCol="0" anchor="ctr"/>
            <a:lstStyle/>
            <a:p>
              <a:endParaRPr lang="en-US"/>
            </a:p>
          </p:txBody>
        </p:sp>
        <p:sp>
          <p:nvSpPr>
            <p:cNvPr id="1282" name="Freeform: Shape 1281">
              <a:extLst>
                <a:ext uri="{FF2B5EF4-FFF2-40B4-BE49-F238E27FC236}">
                  <a16:creationId xmlns:a16="http://schemas.microsoft.com/office/drawing/2014/main" id="{DF74E57B-25A6-4899-A9E1-B1CE0255BB4F}"/>
                </a:ext>
              </a:extLst>
            </p:cNvPr>
            <p:cNvSpPr/>
            <p:nvPr/>
          </p:nvSpPr>
          <p:spPr>
            <a:xfrm>
              <a:off x="9847275" y="5547670"/>
              <a:ext cx="6247" cy="5497"/>
            </a:xfrm>
            <a:custGeom>
              <a:avLst/>
              <a:gdLst>
                <a:gd name="connsiteX0" fmla="*/ 3998 w 6247"/>
                <a:gd name="connsiteY0" fmla="*/ 5498 h 5497"/>
                <a:gd name="connsiteX1" fmla="*/ 6247 w 6247"/>
                <a:gd name="connsiteY1" fmla="*/ 4248 h 5497"/>
                <a:gd name="connsiteX2" fmla="*/ 6247 w 6247"/>
                <a:gd name="connsiteY2" fmla="*/ 0 h 5497"/>
                <a:gd name="connsiteX3" fmla="*/ 0 w 6247"/>
                <a:gd name="connsiteY3" fmla="*/ 3624 h 5497"/>
                <a:gd name="connsiteX4" fmla="*/ 3998 w 6247"/>
                <a:gd name="connsiteY4" fmla="*/ 5498 h 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7" h="5497">
                  <a:moveTo>
                    <a:pt x="3998" y="5498"/>
                  </a:moveTo>
                  <a:lnTo>
                    <a:pt x="6247" y="4248"/>
                  </a:lnTo>
                  <a:lnTo>
                    <a:pt x="6247" y="0"/>
                  </a:lnTo>
                  <a:lnTo>
                    <a:pt x="0" y="3624"/>
                  </a:lnTo>
                  <a:cubicBezTo>
                    <a:pt x="1475" y="3899"/>
                    <a:pt x="2849" y="4548"/>
                    <a:pt x="3998" y="5498"/>
                  </a:cubicBezTo>
                  <a:close/>
                </a:path>
              </a:pathLst>
            </a:custGeom>
            <a:solidFill>
              <a:srgbClr val="000000"/>
            </a:solidFill>
            <a:ln w="12483" cap="flat">
              <a:noFill/>
              <a:prstDash val="solid"/>
              <a:miter/>
            </a:ln>
          </p:spPr>
          <p:txBody>
            <a:bodyPr rtlCol="0" anchor="ctr"/>
            <a:lstStyle/>
            <a:p>
              <a:endParaRPr lang="en-US"/>
            </a:p>
          </p:txBody>
        </p:sp>
        <p:sp>
          <p:nvSpPr>
            <p:cNvPr id="1283" name="Freeform: Shape 1282">
              <a:extLst>
                <a:ext uri="{FF2B5EF4-FFF2-40B4-BE49-F238E27FC236}">
                  <a16:creationId xmlns:a16="http://schemas.microsoft.com/office/drawing/2014/main" id="{5C768093-8B9B-4BB7-A3B2-BB5555998468}"/>
                </a:ext>
              </a:extLst>
            </p:cNvPr>
            <p:cNvSpPr/>
            <p:nvPr/>
          </p:nvSpPr>
          <p:spPr>
            <a:xfrm>
              <a:off x="10211993" y="5210054"/>
              <a:ext cx="12494" cy="125"/>
            </a:xfrm>
            <a:custGeom>
              <a:avLst/>
              <a:gdLst>
                <a:gd name="connsiteX0" fmla="*/ 0 w 12494"/>
                <a:gd name="connsiteY0" fmla="*/ 0 h 125"/>
                <a:gd name="connsiteX1" fmla="*/ 0 w 12494"/>
                <a:gd name="connsiteY1" fmla="*/ 125 h 125"/>
                <a:gd name="connsiteX2" fmla="*/ 0 w 12494"/>
                <a:gd name="connsiteY2" fmla="*/ 125 h 125"/>
                <a:gd name="connsiteX3" fmla="*/ 0 w 12494"/>
                <a:gd name="connsiteY3" fmla="*/ 0 h 125"/>
              </a:gdLst>
              <a:ahLst/>
              <a:cxnLst>
                <a:cxn ang="0">
                  <a:pos x="connsiteX0" y="connsiteY0"/>
                </a:cxn>
                <a:cxn ang="0">
                  <a:pos x="connsiteX1" y="connsiteY1"/>
                </a:cxn>
                <a:cxn ang="0">
                  <a:pos x="connsiteX2" y="connsiteY2"/>
                </a:cxn>
                <a:cxn ang="0">
                  <a:pos x="connsiteX3" y="connsiteY3"/>
                </a:cxn>
              </a:cxnLst>
              <a:rect l="l" t="t" r="r" b="b"/>
              <a:pathLst>
                <a:path w="12494" h="125">
                  <a:moveTo>
                    <a:pt x="0" y="0"/>
                  </a:moveTo>
                  <a:lnTo>
                    <a:pt x="0" y="125"/>
                  </a:lnTo>
                  <a:lnTo>
                    <a:pt x="0" y="125"/>
                  </a:lnTo>
                  <a:lnTo>
                    <a:pt x="0" y="0"/>
                  </a:lnTo>
                  <a:close/>
                </a:path>
              </a:pathLst>
            </a:custGeom>
            <a:solidFill>
              <a:srgbClr val="000000"/>
            </a:solidFill>
            <a:ln w="12483" cap="flat">
              <a:noFill/>
              <a:prstDash val="solid"/>
              <a:miter/>
            </a:ln>
          </p:spPr>
          <p:txBody>
            <a:bodyPr rtlCol="0" anchor="ctr"/>
            <a:lstStyle/>
            <a:p>
              <a:endParaRPr lang="en-US"/>
            </a:p>
          </p:txBody>
        </p:sp>
        <p:sp>
          <p:nvSpPr>
            <p:cNvPr id="1284" name="Freeform: Shape 1283">
              <a:extLst>
                <a:ext uri="{FF2B5EF4-FFF2-40B4-BE49-F238E27FC236}">
                  <a16:creationId xmlns:a16="http://schemas.microsoft.com/office/drawing/2014/main" id="{0DE8A885-0E58-4309-9907-B56D3173A4B4}"/>
                </a:ext>
              </a:extLst>
            </p:cNvPr>
            <p:cNvSpPr/>
            <p:nvPr/>
          </p:nvSpPr>
          <p:spPr>
            <a:xfrm>
              <a:off x="10211493" y="5212928"/>
              <a:ext cx="52227" cy="67223"/>
            </a:xfrm>
            <a:custGeom>
              <a:avLst/>
              <a:gdLst>
                <a:gd name="connsiteX0" fmla="*/ 8372 w 52227"/>
                <a:gd name="connsiteY0" fmla="*/ 0 h 67223"/>
                <a:gd name="connsiteX1" fmla="*/ 10121 w 52227"/>
                <a:gd name="connsiteY1" fmla="*/ 2999 h 67223"/>
                <a:gd name="connsiteX2" fmla="*/ 5998 w 52227"/>
                <a:gd name="connsiteY2" fmla="*/ 17493 h 67223"/>
                <a:gd name="connsiteX3" fmla="*/ 1874 w 52227"/>
                <a:gd name="connsiteY3" fmla="*/ 19742 h 67223"/>
                <a:gd name="connsiteX4" fmla="*/ 0 w 52227"/>
                <a:gd name="connsiteY4" fmla="*/ 20867 h 67223"/>
                <a:gd name="connsiteX5" fmla="*/ 35360 w 52227"/>
                <a:gd name="connsiteY5" fmla="*/ 67223 h 67223"/>
                <a:gd name="connsiteX6" fmla="*/ 46230 w 52227"/>
                <a:gd name="connsiteY6" fmla="*/ 60851 h 67223"/>
                <a:gd name="connsiteX7" fmla="*/ 52228 w 52227"/>
                <a:gd name="connsiteY7" fmla="*/ 57477 h 67223"/>
                <a:gd name="connsiteX8" fmla="*/ 8621 w 52227"/>
                <a:gd name="connsiteY8" fmla="*/ 375 h 6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27" h="67223">
                  <a:moveTo>
                    <a:pt x="8372" y="0"/>
                  </a:moveTo>
                  <a:cubicBezTo>
                    <a:pt x="9096" y="912"/>
                    <a:pt x="9684" y="1925"/>
                    <a:pt x="10121" y="2999"/>
                  </a:cubicBezTo>
                  <a:cubicBezTo>
                    <a:pt x="12145" y="8209"/>
                    <a:pt x="10458" y="14132"/>
                    <a:pt x="5998" y="17493"/>
                  </a:cubicBezTo>
                  <a:lnTo>
                    <a:pt x="1874" y="19742"/>
                  </a:lnTo>
                  <a:lnTo>
                    <a:pt x="0" y="20867"/>
                  </a:lnTo>
                  <a:lnTo>
                    <a:pt x="35360" y="67223"/>
                  </a:lnTo>
                  <a:lnTo>
                    <a:pt x="46230" y="60851"/>
                  </a:lnTo>
                  <a:lnTo>
                    <a:pt x="52228" y="57477"/>
                  </a:lnTo>
                  <a:lnTo>
                    <a:pt x="8621" y="375"/>
                  </a:lnTo>
                  <a:close/>
                </a:path>
              </a:pathLst>
            </a:custGeom>
            <a:solidFill>
              <a:srgbClr val="000000"/>
            </a:solidFill>
            <a:ln w="12483" cap="flat">
              <a:noFill/>
              <a:prstDash val="solid"/>
              <a:miter/>
            </a:ln>
          </p:spPr>
          <p:txBody>
            <a:bodyPr rtlCol="0" anchor="ctr"/>
            <a:lstStyle/>
            <a:p>
              <a:endParaRPr lang="en-US"/>
            </a:p>
          </p:txBody>
        </p:sp>
        <p:sp>
          <p:nvSpPr>
            <p:cNvPr id="1285" name="Freeform: Shape 1284">
              <a:extLst>
                <a:ext uri="{FF2B5EF4-FFF2-40B4-BE49-F238E27FC236}">
                  <a16:creationId xmlns:a16="http://schemas.microsoft.com/office/drawing/2014/main" id="{093CBE13-E184-4FE9-BD76-D73F8091ADBE}"/>
                </a:ext>
              </a:extLst>
            </p:cNvPr>
            <p:cNvSpPr/>
            <p:nvPr/>
          </p:nvSpPr>
          <p:spPr>
            <a:xfrm>
              <a:off x="9802711" y="5575941"/>
              <a:ext cx="3581" cy="10088"/>
            </a:xfrm>
            <a:custGeom>
              <a:avLst/>
              <a:gdLst>
                <a:gd name="connsiteX0" fmla="*/ 1083 w 3581"/>
                <a:gd name="connsiteY0" fmla="*/ 592 h 10088"/>
                <a:gd name="connsiteX1" fmla="*/ 333 w 3581"/>
                <a:gd name="connsiteY1" fmla="*/ 592 h 10088"/>
                <a:gd name="connsiteX2" fmla="*/ 333 w 3581"/>
                <a:gd name="connsiteY2" fmla="*/ 592 h 10088"/>
                <a:gd name="connsiteX3" fmla="*/ 333 w 3581"/>
                <a:gd name="connsiteY3" fmla="*/ 592 h 10088"/>
                <a:gd name="connsiteX4" fmla="*/ 333 w 3581"/>
                <a:gd name="connsiteY4" fmla="*/ 592 h 10088"/>
                <a:gd name="connsiteX5" fmla="*/ 333 w 3581"/>
                <a:gd name="connsiteY5" fmla="*/ 8214 h 10088"/>
                <a:gd name="connsiteX6" fmla="*/ 1957 w 3581"/>
                <a:gd name="connsiteY6" fmla="*/ 10088 h 10088"/>
                <a:gd name="connsiteX7" fmla="*/ 3582 w 3581"/>
                <a:gd name="connsiteY7" fmla="*/ 8089 h 10088"/>
                <a:gd name="connsiteX8" fmla="*/ 3582 w 3581"/>
                <a:gd name="connsiteY8" fmla="*/ 467 h 10088"/>
                <a:gd name="connsiteX9" fmla="*/ 1108 w 3581"/>
                <a:gd name="connsiteY9" fmla="*/ 567 h 10088"/>
                <a:gd name="connsiteX10" fmla="*/ 1083 w 3581"/>
                <a:gd name="connsiteY10" fmla="*/ 592 h 1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1" h="10088">
                  <a:moveTo>
                    <a:pt x="1083" y="592"/>
                  </a:moveTo>
                  <a:cubicBezTo>
                    <a:pt x="1083" y="592"/>
                    <a:pt x="1083" y="592"/>
                    <a:pt x="333" y="592"/>
                  </a:cubicBezTo>
                  <a:cubicBezTo>
                    <a:pt x="-417" y="592"/>
                    <a:pt x="333" y="592"/>
                    <a:pt x="333" y="592"/>
                  </a:cubicBezTo>
                  <a:cubicBezTo>
                    <a:pt x="333" y="592"/>
                    <a:pt x="333" y="592"/>
                    <a:pt x="333" y="592"/>
                  </a:cubicBezTo>
                  <a:cubicBezTo>
                    <a:pt x="333" y="592"/>
                    <a:pt x="333" y="592"/>
                    <a:pt x="333" y="592"/>
                  </a:cubicBezTo>
                  <a:lnTo>
                    <a:pt x="333" y="8214"/>
                  </a:lnTo>
                  <a:cubicBezTo>
                    <a:pt x="333" y="9213"/>
                    <a:pt x="1083" y="10088"/>
                    <a:pt x="1957" y="10088"/>
                  </a:cubicBezTo>
                  <a:cubicBezTo>
                    <a:pt x="2907" y="9900"/>
                    <a:pt x="3594" y="9063"/>
                    <a:pt x="3582" y="8089"/>
                  </a:cubicBezTo>
                  <a:lnTo>
                    <a:pt x="3582" y="467"/>
                  </a:lnTo>
                  <a:cubicBezTo>
                    <a:pt x="2869" y="-195"/>
                    <a:pt x="1770" y="-145"/>
                    <a:pt x="1108" y="567"/>
                  </a:cubicBezTo>
                  <a:cubicBezTo>
                    <a:pt x="1095" y="567"/>
                    <a:pt x="1095" y="580"/>
                    <a:pt x="1083" y="592"/>
                  </a:cubicBezTo>
                  <a:close/>
                </a:path>
              </a:pathLst>
            </a:custGeom>
            <a:solidFill>
              <a:srgbClr val="000000"/>
            </a:solidFill>
            <a:ln w="12483" cap="flat">
              <a:noFill/>
              <a:prstDash val="solid"/>
              <a:miter/>
            </a:ln>
          </p:spPr>
          <p:txBody>
            <a:bodyPr rtlCol="0" anchor="ctr"/>
            <a:lstStyle/>
            <a:p>
              <a:endParaRPr lang="en-US"/>
            </a:p>
          </p:txBody>
        </p:sp>
        <p:sp>
          <p:nvSpPr>
            <p:cNvPr id="1286" name="Freeform: Shape 1285">
              <a:extLst>
                <a:ext uri="{FF2B5EF4-FFF2-40B4-BE49-F238E27FC236}">
                  <a16:creationId xmlns:a16="http://schemas.microsoft.com/office/drawing/2014/main" id="{4358A89C-F129-45B5-B599-F5AB49F8217E}"/>
                </a:ext>
              </a:extLst>
            </p:cNvPr>
            <p:cNvSpPr/>
            <p:nvPr/>
          </p:nvSpPr>
          <p:spPr>
            <a:xfrm>
              <a:off x="9731148" y="5491817"/>
              <a:ext cx="18601" cy="18452"/>
            </a:xfrm>
            <a:custGeom>
              <a:avLst/>
              <a:gdLst>
                <a:gd name="connsiteX0" fmla="*/ 16421 w 18601"/>
                <a:gd name="connsiteY0" fmla="*/ 16119 h 18452"/>
                <a:gd name="connsiteX1" fmla="*/ 17295 w 18601"/>
                <a:gd name="connsiteY1" fmla="*/ 14994 h 18452"/>
                <a:gd name="connsiteX2" fmla="*/ 17295 w 18601"/>
                <a:gd name="connsiteY2" fmla="*/ 14245 h 18452"/>
                <a:gd name="connsiteX3" fmla="*/ 17295 w 18601"/>
                <a:gd name="connsiteY3" fmla="*/ 14245 h 18452"/>
                <a:gd name="connsiteX4" fmla="*/ 18545 w 18601"/>
                <a:gd name="connsiteY4" fmla="*/ 10246 h 18452"/>
                <a:gd name="connsiteX5" fmla="*/ 18545 w 18601"/>
                <a:gd name="connsiteY5" fmla="*/ 8622 h 18452"/>
                <a:gd name="connsiteX6" fmla="*/ 18545 w 18601"/>
                <a:gd name="connsiteY6" fmla="*/ 7747 h 18452"/>
                <a:gd name="connsiteX7" fmla="*/ 13172 w 18601"/>
                <a:gd name="connsiteY7" fmla="*/ 10746 h 18452"/>
                <a:gd name="connsiteX8" fmla="*/ 1665 w 18601"/>
                <a:gd name="connsiteY8" fmla="*/ 7972 h 18452"/>
                <a:gd name="connsiteX9" fmla="*/ 678 w 18601"/>
                <a:gd name="connsiteY9" fmla="*/ 5623 h 18452"/>
                <a:gd name="connsiteX10" fmla="*/ 53 w 18601"/>
                <a:gd name="connsiteY10" fmla="*/ 0 h 18452"/>
                <a:gd name="connsiteX11" fmla="*/ 53 w 18601"/>
                <a:gd name="connsiteY11" fmla="*/ 1250 h 18452"/>
                <a:gd name="connsiteX12" fmla="*/ 53 w 18601"/>
                <a:gd name="connsiteY12" fmla="*/ 8872 h 18452"/>
                <a:gd name="connsiteX13" fmla="*/ 2677 w 18601"/>
                <a:gd name="connsiteY13" fmla="*/ 15994 h 18452"/>
                <a:gd name="connsiteX14" fmla="*/ 4176 w 18601"/>
                <a:gd name="connsiteY14" fmla="*/ 17368 h 18452"/>
                <a:gd name="connsiteX15" fmla="*/ 5426 w 18601"/>
                <a:gd name="connsiteY15" fmla="*/ 18368 h 18452"/>
                <a:gd name="connsiteX16" fmla="*/ 7050 w 18601"/>
                <a:gd name="connsiteY16" fmla="*/ 18368 h 18452"/>
                <a:gd name="connsiteX17" fmla="*/ 8924 w 18601"/>
                <a:gd name="connsiteY17" fmla="*/ 18368 h 18452"/>
                <a:gd name="connsiteX18" fmla="*/ 8924 w 18601"/>
                <a:gd name="connsiteY18" fmla="*/ 18368 h 18452"/>
                <a:gd name="connsiteX19" fmla="*/ 10048 w 18601"/>
                <a:gd name="connsiteY19" fmla="*/ 18368 h 18452"/>
                <a:gd name="connsiteX20" fmla="*/ 11923 w 18601"/>
                <a:gd name="connsiteY20" fmla="*/ 18368 h 18452"/>
                <a:gd name="connsiteX21" fmla="*/ 13172 w 18601"/>
                <a:gd name="connsiteY21" fmla="*/ 17618 h 18452"/>
                <a:gd name="connsiteX22" fmla="*/ 13172 w 18601"/>
                <a:gd name="connsiteY22" fmla="*/ 17618 h 18452"/>
                <a:gd name="connsiteX23" fmla="*/ 16421 w 18601"/>
                <a:gd name="connsiteY23" fmla="*/ 16119 h 1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601" h="18452">
                  <a:moveTo>
                    <a:pt x="16421" y="16119"/>
                  </a:moveTo>
                  <a:cubicBezTo>
                    <a:pt x="16783" y="15806"/>
                    <a:pt x="17071" y="15419"/>
                    <a:pt x="17295" y="14994"/>
                  </a:cubicBezTo>
                  <a:lnTo>
                    <a:pt x="17295" y="14245"/>
                  </a:lnTo>
                  <a:lnTo>
                    <a:pt x="17295" y="14245"/>
                  </a:lnTo>
                  <a:cubicBezTo>
                    <a:pt x="17995" y="13020"/>
                    <a:pt x="18420" y="11658"/>
                    <a:pt x="18545" y="10246"/>
                  </a:cubicBezTo>
                  <a:cubicBezTo>
                    <a:pt x="18620" y="9709"/>
                    <a:pt x="18620" y="9159"/>
                    <a:pt x="18545" y="8622"/>
                  </a:cubicBezTo>
                  <a:lnTo>
                    <a:pt x="18545" y="7747"/>
                  </a:lnTo>
                  <a:lnTo>
                    <a:pt x="13172" y="10746"/>
                  </a:lnTo>
                  <a:cubicBezTo>
                    <a:pt x="9224" y="13157"/>
                    <a:pt x="4076" y="11920"/>
                    <a:pt x="1665" y="7972"/>
                  </a:cubicBezTo>
                  <a:cubicBezTo>
                    <a:pt x="1215" y="7247"/>
                    <a:pt x="890" y="6448"/>
                    <a:pt x="678" y="5623"/>
                  </a:cubicBezTo>
                  <a:cubicBezTo>
                    <a:pt x="103" y="3811"/>
                    <a:pt x="-110" y="1899"/>
                    <a:pt x="53" y="0"/>
                  </a:cubicBezTo>
                  <a:cubicBezTo>
                    <a:pt x="53" y="0"/>
                    <a:pt x="53" y="875"/>
                    <a:pt x="53" y="1250"/>
                  </a:cubicBezTo>
                  <a:lnTo>
                    <a:pt x="53" y="8872"/>
                  </a:lnTo>
                  <a:cubicBezTo>
                    <a:pt x="165" y="11458"/>
                    <a:pt x="1090" y="13944"/>
                    <a:pt x="2677" y="15994"/>
                  </a:cubicBezTo>
                  <a:cubicBezTo>
                    <a:pt x="3089" y="16543"/>
                    <a:pt x="3589" y="17006"/>
                    <a:pt x="4176" y="17368"/>
                  </a:cubicBezTo>
                  <a:lnTo>
                    <a:pt x="5426" y="18368"/>
                  </a:lnTo>
                  <a:lnTo>
                    <a:pt x="7050" y="18368"/>
                  </a:lnTo>
                  <a:lnTo>
                    <a:pt x="8924" y="18368"/>
                  </a:lnTo>
                  <a:lnTo>
                    <a:pt x="8924" y="18368"/>
                  </a:lnTo>
                  <a:lnTo>
                    <a:pt x="10048" y="18368"/>
                  </a:lnTo>
                  <a:cubicBezTo>
                    <a:pt x="10673" y="18480"/>
                    <a:pt x="11298" y="18480"/>
                    <a:pt x="11923" y="18368"/>
                  </a:cubicBezTo>
                  <a:lnTo>
                    <a:pt x="13172" y="17618"/>
                  </a:lnTo>
                  <a:lnTo>
                    <a:pt x="13172" y="17618"/>
                  </a:lnTo>
                  <a:cubicBezTo>
                    <a:pt x="14396" y="17506"/>
                    <a:pt x="15546" y="16981"/>
                    <a:pt x="16421" y="16119"/>
                  </a:cubicBezTo>
                  <a:close/>
                </a:path>
              </a:pathLst>
            </a:custGeom>
            <a:solidFill>
              <a:srgbClr val="000000"/>
            </a:solidFill>
            <a:ln w="12483" cap="flat">
              <a:noFill/>
              <a:prstDash val="solid"/>
              <a:miter/>
            </a:ln>
          </p:spPr>
          <p:txBody>
            <a:bodyPr rtlCol="0" anchor="ctr"/>
            <a:lstStyle/>
            <a:p>
              <a:endParaRPr lang="en-US"/>
            </a:p>
          </p:txBody>
        </p:sp>
        <p:sp>
          <p:nvSpPr>
            <p:cNvPr id="1287" name="Freeform: Shape 1286">
              <a:extLst>
                <a:ext uri="{FF2B5EF4-FFF2-40B4-BE49-F238E27FC236}">
                  <a16:creationId xmlns:a16="http://schemas.microsoft.com/office/drawing/2014/main" id="{224318F9-E628-4F23-A104-F4618A5B227A}"/>
                </a:ext>
              </a:extLst>
            </p:cNvPr>
            <p:cNvSpPr/>
            <p:nvPr/>
          </p:nvSpPr>
          <p:spPr>
            <a:xfrm>
              <a:off x="9646362" y="5313388"/>
              <a:ext cx="114200" cy="165933"/>
            </a:xfrm>
            <a:custGeom>
              <a:avLst/>
              <a:gdLst>
                <a:gd name="connsiteX0" fmla="*/ 108078 w 114200"/>
                <a:gd name="connsiteY0" fmla="*/ 159686 h 165933"/>
                <a:gd name="connsiteX1" fmla="*/ 114200 w 114200"/>
                <a:gd name="connsiteY1" fmla="*/ 156188 h 165933"/>
                <a:gd name="connsiteX2" fmla="*/ 0 w 114200"/>
                <a:gd name="connsiteY2" fmla="*/ 0 h 165933"/>
                <a:gd name="connsiteX3" fmla="*/ 125 w 114200"/>
                <a:gd name="connsiteY3" fmla="*/ 3873 h 165933"/>
                <a:gd name="connsiteX4" fmla="*/ 999 w 114200"/>
                <a:gd name="connsiteY4" fmla="*/ 34237 h 165933"/>
                <a:gd name="connsiteX5" fmla="*/ 97333 w 114200"/>
                <a:gd name="connsiteY5" fmla="*/ 165934 h 165933"/>
                <a:gd name="connsiteX6" fmla="*/ 108078 w 114200"/>
                <a:gd name="connsiteY6" fmla="*/ 159686 h 16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200" h="165933">
                  <a:moveTo>
                    <a:pt x="108078" y="159686"/>
                  </a:moveTo>
                  <a:lnTo>
                    <a:pt x="114200" y="156188"/>
                  </a:lnTo>
                  <a:lnTo>
                    <a:pt x="0" y="0"/>
                  </a:lnTo>
                  <a:lnTo>
                    <a:pt x="125" y="3873"/>
                  </a:lnTo>
                  <a:lnTo>
                    <a:pt x="999" y="34237"/>
                  </a:lnTo>
                  <a:lnTo>
                    <a:pt x="97333" y="165934"/>
                  </a:lnTo>
                  <a:lnTo>
                    <a:pt x="108078" y="159686"/>
                  </a:lnTo>
                  <a:close/>
                </a:path>
              </a:pathLst>
            </a:custGeom>
            <a:solidFill>
              <a:srgbClr val="000000"/>
            </a:solidFill>
            <a:ln w="12483" cap="flat">
              <a:noFill/>
              <a:prstDash val="solid"/>
              <a:miter/>
            </a:ln>
          </p:spPr>
          <p:txBody>
            <a:bodyPr rtlCol="0" anchor="ctr"/>
            <a:lstStyle/>
            <a:p>
              <a:endParaRPr lang="en-US"/>
            </a:p>
          </p:txBody>
        </p:sp>
        <p:sp>
          <p:nvSpPr>
            <p:cNvPr id="1288" name="Freeform: Shape 1287">
              <a:extLst>
                <a:ext uri="{FF2B5EF4-FFF2-40B4-BE49-F238E27FC236}">
                  <a16:creationId xmlns:a16="http://schemas.microsoft.com/office/drawing/2014/main" id="{845108AA-F191-4903-AD8A-0E77CFD4DFDC}"/>
                </a:ext>
              </a:extLst>
            </p:cNvPr>
            <p:cNvSpPr/>
            <p:nvPr/>
          </p:nvSpPr>
          <p:spPr>
            <a:xfrm>
              <a:off x="9075734" y="3732144"/>
              <a:ext cx="1136259" cy="1487531"/>
            </a:xfrm>
            <a:custGeom>
              <a:avLst/>
              <a:gdLst>
                <a:gd name="connsiteX0" fmla="*/ 1134010 w 1136259"/>
                <a:gd name="connsiteY0" fmla="*/ 1478660 h 1487531"/>
                <a:gd name="connsiteX1" fmla="*/ 1136259 w 1136259"/>
                <a:gd name="connsiteY1" fmla="*/ 1478036 h 1487531"/>
                <a:gd name="connsiteX2" fmla="*/ 1136259 w 1136259"/>
                <a:gd name="connsiteY2" fmla="*/ 1478036 h 1487531"/>
                <a:gd name="connsiteX3" fmla="*/ 8621 w 1136259"/>
                <a:gd name="connsiteY3" fmla="*/ 0 h 1487531"/>
                <a:gd name="connsiteX4" fmla="*/ 8621 w 1136259"/>
                <a:gd name="connsiteY4" fmla="*/ 0 h 1487531"/>
                <a:gd name="connsiteX5" fmla="*/ 10495 w 1136259"/>
                <a:gd name="connsiteY5" fmla="*/ 3248 h 1487531"/>
                <a:gd name="connsiteX6" fmla="*/ 5872 w 1136259"/>
                <a:gd name="connsiteY6" fmla="*/ 17493 h 1487531"/>
                <a:gd name="connsiteX7" fmla="*/ 0 w 1136259"/>
                <a:gd name="connsiteY7" fmla="*/ 20492 h 1487531"/>
                <a:gd name="connsiteX8" fmla="*/ 1119267 w 1136259"/>
                <a:gd name="connsiteY8" fmla="*/ 1487532 h 1487531"/>
                <a:gd name="connsiteX9" fmla="*/ 1130137 w 1136259"/>
                <a:gd name="connsiteY9" fmla="*/ 1481284 h 148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259" h="1487531">
                  <a:moveTo>
                    <a:pt x="1134010" y="1478660"/>
                  </a:moveTo>
                  <a:cubicBezTo>
                    <a:pt x="1134722" y="1478336"/>
                    <a:pt x="1135485" y="1478123"/>
                    <a:pt x="1136259" y="1478036"/>
                  </a:cubicBezTo>
                  <a:lnTo>
                    <a:pt x="1136259" y="1478036"/>
                  </a:lnTo>
                  <a:lnTo>
                    <a:pt x="8621" y="0"/>
                  </a:lnTo>
                  <a:cubicBezTo>
                    <a:pt x="8621" y="0"/>
                    <a:pt x="8621" y="0"/>
                    <a:pt x="8621" y="0"/>
                  </a:cubicBezTo>
                  <a:cubicBezTo>
                    <a:pt x="9433" y="962"/>
                    <a:pt x="10071" y="2062"/>
                    <a:pt x="10495" y="3248"/>
                  </a:cubicBezTo>
                  <a:cubicBezTo>
                    <a:pt x="12570" y="8497"/>
                    <a:pt x="10633" y="14469"/>
                    <a:pt x="5872" y="17493"/>
                  </a:cubicBezTo>
                  <a:lnTo>
                    <a:pt x="0" y="20492"/>
                  </a:lnTo>
                  <a:lnTo>
                    <a:pt x="1119267" y="1487532"/>
                  </a:lnTo>
                  <a:lnTo>
                    <a:pt x="1130137" y="1481284"/>
                  </a:lnTo>
                  <a:close/>
                </a:path>
              </a:pathLst>
            </a:custGeom>
            <a:solidFill>
              <a:srgbClr val="000000"/>
            </a:solidFill>
            <a:ln w="12483" cap="flat">
              <a:noFill/>
              <a:prstDash val="solid"/>
              <a:miter/>
            </a:ln>
          </p:spPr>
          <p:txBody>
            <a:bodyPr rtlCol="0" anchor="ctr"/>
            <a:lstStyle/>
            <a:p>
              <a:endParaRPr lang="en-US"/>
            </a:p>
          </p:txBody>
        </p:sp>
        <p:sp>
          <p:nvSpPr>
            <p:cNvPr id="1289" name="Freeform: Shape 1288">
              <a:extLst>
                <a:ext uri="{FF2B5EF4-FFF2-40B4-BE49-F238E27FC236}">
                  <a16:creationId xmlns:a16="http://schemas.microsoft.com/office/drawing/2014/main" id="{89952BEB-1970-4CBD-9FFF-B082D0723C74}"/>
                </a:ext>
              </a:extLst>
            </p:cNvPr>
            <p:cNvSpPr/>
            <p:nvPr/>
          </p:nvSpPr>
          <p:spPr>
            <a:xfrm>
              <a:off x="7521905" y="3833353"/>
              <a:ext cx="410072" cy="208791"/>
            </a:xfrm>
            <a:custGeom>
              <a:avLst/>
              <a:gdLst>
                <a:gd name="connsiteX0" fmla="*/ 1374 w 410072"/>
                <a:gd name="connsiteY0" fmla="*/ 208792 h 208791"/>
                <a:gd name="connsiteX1" fmla="*/ 410073 w 410072"/>
                <a:gd name="connsiteY1" fmla="*/ 2999 h 208791"/>
                <a:gd name="connsiteX2" fmla="*/ 407949 w 410072"/>
                <a:gd name="connsiteY2" fmla="*/ 0 h 208791"/>
                <a:gd name="connsiteX3" fmla="*/ 0 w 410072"/>
                <a:gd name="connsiteY3" fmla="*/ 205293 h 208791"/>
                <a:gd name="connsiteX4" fmla="*/ 250 w 410072"/>
                <a:gd name="connsiteY4" fmla="*/ 207167 h 208791"/>
                <a:gd name="connsiteX5" fmla="*/ 1374 w 410072"/>
                <a:gd name="connsiteY5" fmla="*/ 208792 h 20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072" h="208791">
                  <a:moveTo>
                    <a:pt x="1374" y="208792"/>
                  </a:moveTo>
                  <a:lnTo>
                    <a:pt x="410073" y="2999"/>
                  </a:lnTo>
                  <a:lnTo>
                    <a:pt x="407949" y="0"/>
                  </a:lnTo>
                  <a:lnTo>
                    <a:pt x="0" y="205293"/>
                  </a:lnTo>
                  <a:lnTo>
                    <a:pt x="250" y="207167"/>
                  </a:lnTo>
                  <a:lnTo>
                    <a:pt x="1374" y="208792"/>
                  </a:lnTo>
                  <a:close/>
                </a:path>
              </a:pathLst>
            </a:custGeom>
            <a:solidFill>
              <a:srgbClr val="000000"/>
            </a:solidFill>
            <a:ln w="12483" cap="flat">
              <a:noFill/>
              <a:prstDash val="solid"/>
              <a:miter/>
            </a:ln>
          </p:spPr>
          <p:txBody>
            <a:bodyPr rtlCol="0" anchor="ctr"/>
            <a:lstStyle/>
            <a:p>
              <a:endParaRPr lang="en-US"/>
            </a:p>
          </p:txBody>
        </p:sp>
        <p:sp>
          <p:nvSpPr>
            <p:cNvPr id="1290" name="Freeform: Shape 1289">
              <a:extLst>
                <a:ext uri="{FF2B5EF4-FFF2-40B4-BE49-F238E27FC236}">
                  <a16:creationId xmlns:a16="http://schemas.microsoft.com/office/drawing/2014/main" id="{A0328F67-A1F3-416D-B63E-04F0C38DADB9}"/>
                </a:ext>
              </a:extLst>
            </p:cNvPr>
            <p:cNvSpPr/>
            <p:nvPr/>
          </p:nvSpPr>
          <p:spPr>
            <a:xfrm>
              <a:off x="7562013" y="4574183"/>
              <a:ext cx="36734" cy="57352"/>
            </a:xfrm>
            <a:custGeom>
              <a:avLst/>
              <a:gdLst>
                <a:gd name="connsiteX0" fmla="*/ 1000 w 36734"/>
                <a:gd name="connsiteY0" fmla="*/ 500 h 57352"/>
                <a:gd name="connsiteX1" fmla="*/ 0 w 36734"/>
                <a:gd name="connsiteY1" fmla="*/ 1125 h 57352"/>
                <a:gd name="connsiteX2" fmla="*/ 0 w 36734"/>
                <a:gd name="connsiteY2" fmla="*/ 1125 h 57352"/>
                <a:gd name="connsiteX3" fmla="*/ 36734 w 36734"/>
                <a:gd name="connsiteY3" fmla="*/ 57352 h 57352"/>
                <a:gd name="connsiteX4" fmla="*/ 36734 w 36734"/>
                <a:gd name="connsiteY4" fmla="*/ 57352 h 57352"/>
                <a:gd name="connsiteX5" fmla="*/ 35735 w 36734"/>
                <a:gd name="connsiteY5" fmla="*/ 49980 h 57352"/>
                <a:gd name="connsiteX6" fmla="*/ 2874 w 36734"/>
                <a:gd name="connsiteY6" fmla="*/ 0 h 57352"/>
                <a:gd name="connsiteX7" fmla="*/ 2874 w 36734"/>
                <a:gd name="connsiteY7" fmla="*/ 875 h 5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34" h="57352">
                  <a:moveTo>
                    <a:pt x="1000" y="500"/>
                  </a:moveTo>
                  <a:cubicBezTo>
                    <a:pt x="1000" y="500"/>
                    <a:pt x="375" y="500"/>
                    <a:pt x="0" y="1125"/>
                  </a:cubicBezTo>
                  <a:lnTo>
                    <a:pt x="0" y="1125"/>
                  </a:lnTo>
                  <a:lnTo>
                    <a:pt x="36734" y="57352"/>
                  </a:lnTo>
                  <a:lnTo>
                    <a:pt x="36734" y="57352"/>
                  </a:lnTo>
                  <a:lnTo>
                    <a:pt x="35735" y="49980"/>
                  </a:lnTo>
                  <a:lnTo>
                    <a:pt x="2874" y="0"/>
                  </a:lnTo>
                  <a:cubicBezTo>
                    <a:pt x="2936" y="288"/>
                    <a:pt x="2936" y="587"/>
                    <a:pt x="2874" y="875"/>
                  </a:cubicBezTo>
                  <a:close/>
                </a:path>
              </a:pathLst>
            </a:custGeom>
            <a:solidFill>
              <a:srgbClr val="000000"/>
            </a:solidFill>
            <a:ln w="12483" cap="flat">
              <a:noFill/>
              <a:prstDash val="solid"/>
              <a:miter/>
            </a:ln>
          </p:spPr>
          <p:txBody>
            <a:bodyPr rtlCol="0" anchor="ctr"/>
            <a:lstStyle/>
            <a:p>
              <a:endParaRPr lang="en-US"/>
            </a:p>
          </p:txBody>
        </p:sp>
        <p:sp>
          <p:nvSpPr>
            <p:cNvPr id="1291" name="Freeform: Shape 1290">
              <a:extLst>
                <a:ext uri="{FF2B5EF4-FFF2-40B4-BE49-F238E27FC236}">
                  <a16:creationId xmlns:a16="http://schemas.microsoft.com/office/drawing/2014/main" id="{A23CE59E-2EF7-4B6C-9112-FE9454E0B536}"/>
                </a:ext>
              </a:extLst>
            </p:cNvPr>
            <p:cNvSpPr/>
            <p:nvPr/>
          </p:nvSpPr>
          <p:spPr>
            <a:xfrm>
              <a:off x="11545916" y="2035570"/>
              <a:ext cx="562631" cy="290884"/>
            </a:xfrm>
            <a:custGeom>
              <a:avLst/>
              <a:gdLst>
                <a:gd name="connsiteX0" fmla="*/ 0 w 562631"/>
                <a:gd name="connsiteY0" fmla="*/ 287635 h 290884"/>
                <a:gd name="connsiteX1" fmla="*/ 0 w 562631"/>
                <a:gd name="connsiteY1" fmla="*/ 287635 h 290884"/>
                <a:gd name="connsiteX2" fmla="*/ 875 w 562631"/>
                <a:gd name="connsiteY2" fmla="*/ 287635 h 290884"/>
                <a:gd name="connsiteX3" fmla="*/ 2411 w 562631"/>
                <a:gd name="connsiteY3" fmla="*/ 289585 h 290884"/>
                <a:gd name="connsiteX4" fmla="*/ 2374 w 562631"/>
                <a:gd name="connsiteY4" fmla="*/ 289759 h 290884"/>
                <a:gd name="connsiteX5" fmla="*/ 2374 w 562631"/>
                <a:gd name="connsiteY5" fmla="*/ 290884 h 290884"/>
                <a:gd name="connsiteX6" fmla="*/ 562632 w 562631"/>
                <a:gd name="connsiteY6" fmla="*/ 3499 h 290884"/>
                <a:gd name="connsiteX7" fmla="*/ 562632 w 562631"/>
                <a:gd name="connsiteY7" fmla="*/ 1249 h 290884"/>
                <a:gd name="connsiteX8" fmla="*/ 561257 w 562631"/>
                <a:gd name="connsiteY8" fmla="*/ 0 h 290884"/>
                <a:gd name="connsiteX9" fmla="*/ 875 w 562631"/>
                <a:gd name="connsiteY9" fmla="*/ 287386 h 29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631" h="290884">
                  <a:moveTo>
                    <a:pt x="0" y="287635"/>
                  </a:moveTo>
                  <a:lnTo>
                    <a:pt x="0" y="287635"/>
                  </a:lnTo>
                  <a:cubicBezTo>
                    <a:pt x="288" y="287535"/>
                    <a:pt x="587" y="287535"/>
                    <a:pt x="875" y="287635"/>
                  </a:cubicBezTo>
                  <a:cubicBezTo>
                    <a:pt x="1837" y="287748"/>
                    <a:pt x="2524" y="288623"/>
                    <a:pt x="2411" y="289585"/>
                  </a:cubicBezTo>
                  <a:cubicBezTo>
                    <a:pt x="2399" y="289635"/>
                    <a:pt x="2387" y="289697"/>
                    <a:pt x="2374" y="289759"/>
                  </a:cubicBezTo>
                  <a:lnTo>
                    <a:pt x="2374" y="290884"/>
                  </a:lnTo>
                  <a:lnTo>
                    <a:pt x="562632" y="3499"/>
                  </a:lnTo>
                  <a:lnTo>
                    <a:pt x="562632" y="1249"/>
                  </a:lnTo>
                  <a:lnTo>
                    <a:pt x="561257" y="0"/>
                  </a:lnTo>
                  <a:lnTo>
                    <a:pt x="875" y="287386"/>
                  </a:lnTo>
                  <a:close/>
                </a:path>
              </a:pathLst>
            </a:custGeom>
            <a:solidFill>
              <a:srgbClr val="000000"/>
            </a:solidFill>
            <a:ln w="12483" cap="flat">
              <a:noFill/>
              <a:prstDash val="solid"/>
              <a:miter/>
            </a:ln>
          </p:spPr>
          <p:txBody>
            <a:bodyPr rtlCol="0" anchor="ctr"/>
            <a:lstStyle/>
            <a:p>
              <a:endParaRPr lang="en-US"/>
            </a:p>
          </p:txBody>
        </p:sp>
        <p:sp>
          <p:nvSpPr>
            <p:cNvPr id="1292" name="Freeform: Shape 1291">
              <a:extLst>
                <a:ext uri="{FF2B5EF4-FFF2-40B4-BE49-F238E27FC236}">
                  <a16:creationId xmlns:a16="http://schemas.microsoft.com/office/drawing/2014/main" id="{9983F5A6-12A5-4306-8559-77C48583BCD3}"/>
                </a:ext>
              </a:extLst>
            </p:cNvPr>
            <p:cNvSpPr/>
            <p:nvPr/>
          </p:nvSpPr>
          <p:spPr>
            <a:xfrm>
              <a:off x="11420720" y="3924817"/>
              <a:ext cx="228526" cy="131947"/>
            </a:xfrm>
            <a:custGeom>
              <a:avLst/>
              <a:gdLst>
                <a:gd name="connsiteX0" fmla="*/ 0 w 228526"/>
                <a:gd name="connsiteY0" fmla="*/ 129198 h 131947"/>
                <a:gd name="connsiteX1" fmla="*/ 750 w 228526"/>
                <a:gd name="connsiteY1" fmla="*/ 130073 h 131947"/>
                <a:gd name="connsiteX2" fmla="*/ 750 w 228526"/>
                <a:gd name="connsiteY2" fmla="*/ 130073 h 131947"/>
                <a:gd name="connsiteX3" fmla="*/ 750 w 228526"/>
                <a:gd name="connsiteY3" fmla="*/ 130823 h 131947"/>
                <a:gd name="connsiteX4" fmla="*/ 750 w 228526"/>
                <a:gd name="connsiteY4" fmla="*/ 130823 h 131947"/>
                <a:gd name="connsiteX5" fmla="*/ 750 w 228526"/>
                <a:gd name="connsiteY5" fmla="*/ 131947 h 131947"/>
                <a:gd name="connsiteX6" fmla="*/ 228526 w 228526"/>
                <a:gd name="connsiteY6" fmla="*/ 3998 h 131947"/>
                <a:gd name="connsiteX7" fmla="*/ 228526 w 228526"/>
                <a:gd name="connsiteY7" fmla="*/ 750 h 131947"/>
                <a:gd name="connsiteX8" fmla="*/ 227777 w 228526"/>
                <a:gd name="connsiteY8" fmla="*/ 0 h 13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6" h="131947">
                  <a:moveTo>
                    <a:pt x="0" y="129198"/>
                  </a:moveTo>
                  <a:lnTo>
                    <a:pt x="750" y="130073"/>
                  </a:lnTo>
                  <a:lnTo>
                    <a:pt x="750" y="130073"/>
                  </a:lnTo>
                  <a:cubicBezTo>
                    <a:pt x="800" y="130323"/>
                    <a:pt x="800" y="130573"/>
                    <a:pt x="750" y="130823"/>
                  </a:cubicBezTo>
                  <a:lnTo>
                    <a:pt x="750" y="130823"/>
                  </a:lnTo>
                  <a:lnTo>
                    <a:pt x="750" y="131947"/>
                  </a:lnTo>
                  <a:lnTo>
                    <a:pt x="228526" y="3998"/>
                  </a:lnTo>
                  <a:lnTo>
                    <a:pt x="228526" y="750"/>
                  </a:lnTo>
                  <a:lnTo>
                    <a:pt x="227777" y="0"/>
                  </a:lnTo>
                  <a:close/>
                </a:path>
              </a:pathLst>
            </a:custGeom>
            <a:solidFill>
              <a:srgbClr val="000000"/>
            </a:solidFill>
            <a:ln w="12483" cap="flat">
              <a:noFill/>
              <a:prstDash val="solid"/>
              <a:miter/>
            </a:ln>
          </p:spPr>
          <p:txBody>
            <a:bodyPr rtlCol="0" anchor="ctr"/>
            <a:lstStyle/>
            <a:p>
              <a:endParaRPr lang="en-US"/>
            </a:p>
          </p:txBody>
        </p:sp>
        <p:sp>
          <p:nvSpPr>
            <p:cNvPr id="1293" name="Freeform: Shape 1292">
              <a:extLst>
                <a:ext uri="{FF2B5EF4-FFF2-40B4-BE49-F238E27FC236}">
                  <a16:creationId xmlns:a16="http://schemas.microsoft.com/office/drawing/2014/main" id="{1E7C1A42-01CB-46B3-89C9-1B27B992B975}"/>
                </a:ext>
              </a:extLst>
            </p:cNvPr>
            <p:cNvSpPr/>
            <p:nvPr/>
          </p:nvSpPr>
          <p:spPr>
            <a:xfrm>
              <a:off x="10718399" y="2192133"/>
              <a:ext cx="309616" cy="156437"/>
            </a:xfrm>
            <a:custGeom>
              <a:avLst/>
              <a:gdLst>
                <a:gd name="connsiteX0" fmla="*/ 309366 w 309616"/>
                <a:gd name="connsiteY0" fmla="*/ 0 h 156437"/>
                <a:gd name="connsiteX1" fmla="*/ 0 w 309616"/>
                <a:gd name="connsiteY1" fmla="*/ 155063 h 156437"/>
                <a:gd name="connsiteX2" fmla="*/ 1000 w 309616"/>
                <a:gd name="connsiteY2" fmla="*/ 155063 h 156437"/>
                <a:gd name="connsiteX3" fmla="*/ 1000 w 309616"/>
                <a:gd name="connsiteY3" fmla="*/ 155063 h 156437"/>
                <a:gd name="connsiteX4" fmla="*/ 1000 w 309616"/>
                <a:gd name="connsiteY4" fmla="*/ 155063 h 156437"/>
                <a:gd name="connsiteX5" fmla="*/ 1000 w 309616"/>
                <a:gd name="connsiteY5" fmla="*/ 155063 h 156437"/>
                <a:gd name="connsiteX6" fmla="*/ 1000 w 309616"/>
                <a:gd name="connsiteY6" fmla="*/ 155063 h 156437"/>
                <a:gd name="connsiteX7" fmla="*/ 1000 w 309616"/>
                <a:gd name="connsiteY7" fmla="*/ 155063 h 156437"/>
                <a:gd name="connsiteX8" fmla="*/ 1000 w 309616"/>
                <a:gd name="connsiteY8" fmla="*/ 156437 h 156437"/>
                <a:gd name="connsiteX9" fmla="*/ 309616 w 309616"/>
                <a:gd name="connsiteY9" fmla="*/ 1749 h 156437"/>
                <a:gd name="connsiteX10" fmla="*/ 309616 w 309616"/>
                <a:gd name="connsiteY10" fmla="*/ 1874 h 15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616" h="156437">
                  <a:moveTo>
                    <a:pt x="309366" y="0"/>
                  </a:moveTo>
                  <a:lnTo>
                    <a:pt x="0" y="155063"/>
                  </a:lnTo>
                  <a:lnTo>
                    <a:pt x="1000" y="155063"/>
                  </a:lnTo>
                  <a:lnTo>
                    <a:pt x="1000" y="155063"/>
                  </a:lnTo>
                  <a:lnTo>
                    <a:pt x="1000" y="155063"/>
                  </a:lnTo>
                  <a:cubicBezTo>
                    <a:pt x="1000" y="155063"/>
                    <a:pt x="1000" y="155063"/>
                    <a:pt x="1000" y="155063"/>
                  </a:cubicBezTo>
                  <a:lnTo>
                    <a:pt x="1000" y="155063"/>
                  </a:lnTo>
                  <a:cubicBezTo>
                    <a:pt x="1000" y="155063"/>
                    <a:pt x="1000" y="155063"/>
                    <a:pt x="1000" y="155063"/>
                  </a:cubicBezTo>
                  <a:lnTo>
                    <a:pt x="1000" y="156437"/>
                  </a:lnTo>
                  <a:lnTo>
                    <a:pt x="309616" y="1749"/>
                  </a:lnTo>
                  <a:lnTo>
                    <a:pt x="309616" y="1874"/>
                  </a:lnTo>
                  <a:close/>
                </a:path>
              </a:pathLst>
            </a:custGeom>
            <a:solidFill>
              <a:srgbClr val="000000"/>
            </a:solidFill>
            <a:ln w="12483" cap="flat">
              <a:noFill/>
              <a:prstDash val="solid"/>
              <a:miter/>
            </a:ln>
          </p:spPr>
          <p:txBody>
            <a:bodyPr rtlCol="0" anchor="ctr"/>
            <a:lstStyle/>
            <a:p>
              <a:endParaRPr lang="en-US"/>
            </a:p>
          </p:txBody>
        </p:sp>
        <p:sp>
          <p:nvSpPr>
            <p:cNvPr id="1294" name="Freeform: Shape 1293">
              <a:extLst>
                <a:ext uri="{FF2B5EF4-FFF2-40B4-BE49-F238E27FC236}">
                  <a16:creationId xmlns:a16="http://schemas.microsoft.com/office/drawing/2014/main" id="{26F8CA40-E584-400F-B52C-34417368E25E}"/>
                </a:ext>
              </a:extLst>
            </p:cNvPr>
            <p:cNvSpPr/>
            <p:nvPr/>
          </p:nvSpPr>
          <p:spPr>
            <a:xfrm>
              <a:off x="10827852" y="1959600"/>
              <a:ext cx="216656" cy="234031"/>
            </a:xfrm>
            <a:custGeom>
              <a:avLst/>
              <a:gdLst>
                <a:gd name="connsiteX0" fmla="*/ 5123 w 216656"/>
                <a:gd name="connsiteY0" fmla="*/ 18992 h 234031"/>
                <a:gd name="connsiteX1" fmla="*/ 0 w 216656"/>
                <a:gd name="connsiteY1" fmla="*/ 21491 h 234031"/>
                <a:gd name="connsiteX2" fmla="*/ 199914 w 216656"/>
                <a:gd name="connsiteY2" fmla="*/ 232532 h 234031"/>
                <a:gd name="connsiteX3" fmla="*/ 201413 w 216656"/>
                <a:gd name="connsiteY3" fmla="*/ 234032 h 234031"/>
                <a:gd name="connsiteX4" fmla="*/ 201413 w 216656"/>
                <a:gd name="connsiteY4" fmla="*/ 228909 h 234031"/>
                <a:gd name="connsiteX5" fmla="*/ 210784 w 216656"/>
                <a:gd name="connsiteY5" fmla="*/ 218538 h 234031"/>
                <a:gd name="connsiteX6" fmla="*/ 216656 w 216656"/>
                <a:gd name="connsiteY6" fmla="*/ 221662 h 234031"/>
                <a:gd name="connsiteX7" fmla="*/ 216656 w 216656"/>
                <a:gd name="connsiteY7" fmla="*/ 221662 h 234031"/>
                <a:gd name="connsiteX8" fmla="*/ 7622 w 216656"/>
                <a:gd name="connsiteY8" fmla="*/ 750 h 234031"/>
                <a:gd name="connsiteX9" fmla="*/ 6622 w 216656"/>
                <a:gd name="connsiteY9" fmla="*/ 0 h 234031"/>
                <a:gd name="connsiteX10" fmla="*/ 10121 w 216656"/>
                <a:gd name="connsiteY10" fmla="*/ 4873 h 234031"/>
                <a:gd name="connsiteX11" fmla="*/ 5123 w 216656"/>
                <a:gd name="connsiteY11" fmla="*/ 18992 h 23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656" h="234031">
                  <a:moveTo>
                    <a:pt x="5123" y="18992"/>
                  </a:moveTo>
                  <a:lnTo>
                    <a:pt x="0" y="21491"/>
                  </a:lnTo>
                  <a:lnTo>
                    <a:pt x="199914" y="232532"/>
                  </a:lnTo>
                  <a:lnTo>
                    <a:pt x="201413" y="234032"/>
                  </a:lnTo>
                  <a:lnTo>
                    <a:pt x="201413" y="228909"/>
                  </a:lnTo>
                  <a:cubicBezTo>
                    <a:pt x="201201" y="223473"/>
                    <a:pt x="205361" y="218875"/>
                    <a:pt x="210784" y="218538"/>
                  </a:cubicBezTo>
                  <a:cubicBezTo>
                    <a:pt x="213083" y="218750"/>
                    <a:pt x="215194" y="219875"/>
                    <a:pt x="216656" y="221662"/>
                  </a:cubicBezTo>
                  <a:lnTo>
                    <a:pt x="216656" y="221662"/>
                  </a:lnTo>
                  <a:lnTo>
                    <a:pt x="7622" y="750"/>
                  </a:lnTo>
                  <a:cubicBezTo>
                    <a:pt x="7622" y="750"/>
                    <a:pt x="7622" y="750"/>
                    <a:pt x="6622" y="0"/>
                  </a:cubicBezTo>
                  <a:cubicBezTo>
                    <a:pt x="8221" y="1262"/>
                    <a:pt x="9433" y="2949"/>
                    <a:pt x="10121" y="4873"/>
                  </a:cubicBezTo>
                  <a:cubicBezTo>
                    <a:pt x="12057" y="10171"/>
                    <a:pt x="9958" y="16094"/>
                    <a:pt x="5123" y="18992"/>
                  </a:cubicBezTo>
                  <a:close/>
                </a:path>
              </a:pathLst>
            </a:custGeom>
            <a:solidFill>
              <a:srgbClr val="000000"/>
            </a:solidFill>
            <a:ln w="12483" cap="flat">
              <a:noFill/>
              <a:prstDash val="solid"/>
              <a:miter/>
            </a:ln>
          </p:spPr>
          <p:txBody>
            <a:bodyPr rtlCol="0" anchor="ctr"/>
            <a:lstStyle/>
            <a:p>
              <a:endParaRPr lang="en-US"/>
            </a:p>
          </p:txBody>
        </p:sp>
        <p:sp>
          <p:nvSpPr>
            <p:cNvPr id="1295" name="Freeform: Shape 1294">
              <a:extLst>
                <a:ext uri="{FF2B5EF4-FFF2-40B4-BE49-F238E27FC236}">
                  <a16:creationId xmlns:a16="http://schemas.microsoft.com/office/drawing/2014/main" id="{48E23D60-EE5A-47DD-8302-FE8401983FCA}"/>
                </a:ext>
              </a:extLst>
            </p:cNvPr>
            <p:cNvSpPr/>
            <p:nvPr/>
          </p:nvSpPr>
          <p:spPr>
            <a:xfrm>
              <a:off x="10694784" y="1958891"/>
              <a:ext cx="143904" cy="87549"/>
            </a:xfrm>
            <a:custGeom>
              <a:avLst/>
              <a:gdLst>
                <a:gd name="connsiteX0" fmla="*/ 0 w 143904"/>
                <a:gd name="connsiteY0" fmla="*/ 87549 h 87549"/>
                <a:gd name="connsiteX1" fmla="*/ 133067 w 143904"/>
                <a:gd name="connsiteY1" fmla="*/ 22700 h 87549"/>
                <a:gd name="connsiteX2" fmla="*/ 138190 w 143904"/>
                <a:gd name="connsiteY2" fmla="*/ 20201 h 87549"/>
                <a:gd name="connsiteX3" fmla="*/ 143188 w 143904"/>
                <a:gd name="connsiteY3" fmla="*/ 6082 h 87549"/>
                <a:gd name="connsiteX4" fmla="*/ 139690 w 143904"/>
                <a:gd name="connsiteY4" fmla="*/ 1209 h 87549"/>
                <a:gd name="connsiteX5" fmla="*/ 137940 w 143904"/>
                <a:gd name="connsiteY5" fmla="*/ 84 h 87549"/>
                <a:gd name="connsiteX6" fmla="*/ 136316 w 143904"/>
                <a:gd name="connsiteY6" fmla="*/ 84 h 87549"/>
                <a:gd name="connsiteX7" fmla="*/ 134567 w 143904"/>
                <a:gd name="connsiteY7" fmla="*/ 84 h 87549"/>
                <a:gd name="connsiteX8" fmla="*/ 132693 w 143904"/>
                <a:gd name="connsiteY8" fmla="*/ 84 h 87549"/>
                <a:gd name="connsiteX9" fmla="*/ 131443 w 143904"/>
                <a:gd name="connsiteY9" fmla="*/ 84 h 87549"/>
                <a:gd name="connsiteX10" fmla="*/ 500 w 143904"/>
                <a:gd name="connsiteY10" fmla="*/ 64434 h 87549"/>
                <a:gd name="connsiteX11" fmla="*/ 500 w 143904"/>
                <a:gd name="connsiteY11" fmla="*/ 81052 h 8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904" h="87549">
                  <a:moveTo>
                    <a:pt x="0" y="87549"/>
                  </a:moveTo>
                  <a:lnTo>
                    <a:pt x="133067" y="22700"/>
                  </a:lnTo>
                  <a:lnTo>
                    <a:pt x="138190" y="20201"/>
                  </a:lnTo>
                  <a:cubicBezTo>
                    <a:pt x="143026" y="17302"/>
                    <a:pt x="145125" y="11380"/>
                    <a:pt x="143188" y="6082"/>
                  </a:cubicBezTo>
                  <a:cubicBezTo>
                    <a:pt x="142501" y="4158"/>
                    <a:pt x="141289" y="2471"/>
                    <a:pt x="139690" y="1209"/>
                  </a:cubicBezTo>
                  <a:cubicBezTo>
                    <a:pt x="139152" y="759"/>
                    <a:pt x="138565" y="384"/>
                    <a:pt x="137940" y="84"/>
                  </a:cubicBezTo>
                  <a:lnTo>
                    <a:pt x="136316" y="84"/>
                  </a:lnTo>
                  <a:lnTo>
                    <a:pt x="134567" y="84"/>
                  </a:lnTo>
                  <a:cubicBezTo>
                    <a:pt x="133942" y="-28"/>
                    <a:pt x="133317" y="-28"/>
                    <a:pt x="132693" y="84"/>
                  </a:cubicBezTo>
                  <a:cubicBezTo>
                    <a:pt x="132693" y="84"/>
                    <a:pt x="131943" y="84"/>
                    <a:pt x="131443" y="84"/>
                  </a:cubicBezTo>
                  <a:lnTo>
                    <a:pt x="500" y="64434"/>
                  </a:lnTo>
                  <a:lnTo>
                    <a:pt x="500" y="81052"/>
                  </a:lnTo>
                  <a:close/>
                </a:path>
              </a:pathLst>
            </a:custGeom>
            <a:solidFill>
              <a:srgbClr val="000000"/>
            </a:solidFill>
            <a:ln w="12483" cap="flat">
              <a:noFill/>
              <a:prstDash val="solid"/>
              <a:miter/>
            </a:ln>
          </p:spPr>
          <p:txBody>
            <a:bodyPr rtlCol="0" anchor="ctr"/>
            <a:lstStyle/>
            <a:p>
              <a:endParaRPr lang="en-US"/>
            </a:p>
          </p:txBody>
        </p:sp>
        <p:sp>
          <p:nvSpPr>
            <p:cNvPr id="1296" name="Freeform: Shape 1295">
              <a:extLst>
                <a:ext uri="{FF2B5EF4-FFF2-40B4-BE49-F238E27FC236}">
                  <a16:creationId xmlns:a16="http://schemas.microsoft.com/office/drawing/2014/main" id="{0B1F2C47-B689-43B6-BD22-D3B70EF0BE48}"/>
                </a:ext>
              </a:extLst>
            </p:cNvPr>
            <p:cNvSpPr/>
            <p:nvPr/>
          </p:nvSpPr>
          <p:spPr>
            <a:xfrm>
              <a:off x="9037500" y="3651925"/>
              <a:ext cx="1233592" cy="1615855"/>
            </a:xfrm>
            <a:custGeom>
              <a:avLst/>
              <a:gdLst>
                <a:gd name="connsiteX0" fmla="*/ 1230593 w 1233592"/>
                <a:gd name="connsiteY0" fmla="*/ 1615856 h 1615855"/>
                <a:gd name="connsiteX1" fmla="*/ 1233592 w 1233592"/>
                <a:gd name="connsiteY1" fmla="*/ 1614231 h 1615855"/>
                <a:gd name="connsiteX2" fmla="*/ 0 w 1233592"/>
                <a:gd name="connsiteY2" fmla="*/ 0 h 1615855"/>
                <a:gd name="connsiteX3" fmla="*/ 375 w 1233592"/>
                <a:gd name="connsiteY3" fmla="*/ 6123 h 1615855"/>
                <a:gd name="connsiteX4" fmla="*/ 1230593 w 1233592"/>
                <a:gd name="connsiteY4" fmla="*/ 1615856 h 1615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592" h="1615855">
                  <a:moveTo>
                    <a:pt x="1230593" y="1615856"/>
                  </a:moveTo>
                  <a:lnTo>
                    <a:pt x="1233592" y="1614231"/>
                  </a:lnTo>
                  <a:lnTo>
                    <a:pt x="0" y="0"/>
                  </a:lnTo>
                  <a:lnTo>
                    <a:pt x="375" y="6123"/>
                  </a:lnTo>
                  <a:lnTo>
                    <a:pt x="1230593" y="1615856"/>
                  </a:lnTo>
                  <a:close/>
                </a:path>
              </a:pathLst>
            </a:custGeom>
            <a:solidFill>
              <a:srgbClr val="000000"/>
            </a:solidFill>
            <a:ln w="12483" cap="flat">
              <a:noFill/>
              <a:prstDash val="solid"/>
              <a:miter/>
            </a:ln>
          </p:spPr>
          <p:txBody>
            <a:bodyPr rtlCol="0" anchor="ctr"/>
            <a:lstStyle/>
            <a:p>
              <a:endParaRPr lang="en-US"/>
            </a:p>
          </p:txBody>
        </p:sp>
        <p:sp>
          <p:nvSpPr>
            <p:cNvPr id="1297" name="Freeform: Shape 1296">
              <a:extLst>
                <a:ext uri="{FF2B5EF4-FFF2-40B4-BE49-F238E27FC236}">
                  <a16:creationId xmlns:a16="http://schemas.microsoft.com/office/drawing/2014/main" id="{C26921F3-BFE8-4059-8935-ABFC715EBACA}"/>
                </a:ext>
              </a:extLst>
            </p:cNvPr>
            <p:cNvSpPr/>
            <p:nvPr/>
          </p:nvSpPr>
          <p:spPr>
            <a:xfrm>
              <a:off x="8690978" y="6234269"/>
              <a:ext cx="285585" cy="178681"/>
            </a:xfrm>
            <a:custGeom>
              <a:avLst/>
              <a:gdLst>
                <a:gd name="connsiteX0" fmla="*/ 7543 w 285585"/>
                <a:gd name="connsiteY0" fmla="*/ 166435 h 178681"/>
                <a:gd name="connsiteX1" fmla="*/ 9655 w 285585"/>
                <a:gd name="connsiteY1" fmla="*/ 166298 h 178681"/>
                <a:gd name="connsiteX2" fmla="*/ 9793 w 285585"/>
                <a:gd name="connsiteY2" fmla="*/ 166435 h 178681"/>
                <a:gd name="connsiteX3" fmla="*/ 15665 w 285585"/>
                <a:gd name="connsiteY3" fmla="*/ 175557 h 178681"/>
                <a:gd name="connsiteX4" fmla="*/ 18039 w 285585"/>
                <a:gd name="connsiteY4" fmla="*/ 174182 h 178681"/>
                <a:gd name="connsiteX5" fmla="*/ 281675 w 285585"/>
                <a:gd name="connsiteY5" fmla="*/ 20618 h 178681"/>
                <a:gd name="connsiteX6" fmla="*/ 281675 w 285585"/>
                <a:gd name="connsiteY6" fmla="*/ 20618 h 178681"/>
                <a:gd name="connsiteX7" fmla="*/ 281675 w 285585"/>
                <a:gd name="connsiteY7" fmla="*/ 20618 h 178681"/>
                <a:gd name="connsiteX8" fmla="*/ 276177 w 285585"/>
                <a:gd name="connsiteY8" fmla="*/ 12372 h 178681"/>
                <a:gd name="connsiteX9" fmla="*/ 276177 w 285585"/>
                <a:gd name="connsiteY9" fmla="*/ 9748 h 178681"/>
                <a:gd name="connsiteX10" fmla="*/ 277902 w 285585"/>
                <a:gd name="connsiteY10" fmla="*/ 9348 h 178681"/>
                <a:gd name="connsiteX11" fmla="*/ 278302 w 285585"/>
                <a:gd name="connsiteY11" fmla="*/ 9748 h 178681"/>
                <a:gd name="connsiteX12" fmla="*/ 283924 w 285585"/>
                <a:gd name="connsiteY12" fmla="*/ 17995 h 178681"/>
                <a:gd name="connsiteX13" fmla="*/ 283924 w 285585"/>
                <a:gd name="connsiteY13" fmla="*/ 17995 h 178681"/>
                <a:gd name="connsiteX14" fmla="*/ 284674 w 285585"/>
                <a:gd name="connsiteY14" fmla="*/ 16245 h 178681"/>
                <a:gd name="connsiteX15" fmla="*/ 285548 w 285585"/>
                <a:gd name="connsiteY15" fmla="*/ 14371 h 178681"/>
                <a:gd name="connsiteX16" fmla="*/ 285548 w 285585"/>
                <a:gd name="connsiteY16" fmla="*/ 12997 h 178681"/>
                <a:gd name="connsiteX17" fmla="*/ 285548 w 285585"/>
                <a:gd name="connsiteY17" fmla="*/ 10248 h 178681"/>
                <a:gd name="connsiteX18" fmla="*/ 284674 w 285585"/>
                <a:gd name="connsiteY18" fmla="*/ 6249 h 178681"/>
                <a:gd name="connsiteX19" fmla="*/ 274453 w 285585"/>
                <a:gd name="connsiteY19" fmla="*/ 277 h 178681"/>
                <a:gd name="connsiteX20" fmla="*/ 272179 w 285585"/>
                <a:gd name="connsiteY20" fmla="*/ 1251 h 178681"/>
                <a:gd name="connsiteX21" fmla="*/ 266682 w 285585"/>
                <a:gd name="connsiteY21" fmla="*/ 4500 h 178681"/>
                <a:gd name="connsiteX22" fmla="*/ 4545 w 285585"/>
                <a:gd name="connsiteY22" fmla="*/ 158064 h 178681"/>
                <a:gd name="connsiteX23" fmla="*/ 4545 w 285585"/>
                <a:gd name="connsiteY23" fmla="*/ 158064 h 178681"/>
                <a:gd name="connsiteX24" fmla="*/ 2795 w 285585"/>
                <a:gd name="connsiteY24" fmla="*/ 159688 h 178681"/>
                <a:gd name="connsiteX25" fmla="*/ 1796 w 285585"/>
                <a:gd name="connsiteY25" fmla="*/ 160687 h 178681"/>
                <a:gd name="connsiteX26" fmla="*/ 921 w 285585"/>
                <a:gd name="connsiteY26" fmla="*/ 162562 h 178681"/>
                <a:gd name="connsiteX27" fmla="*/ 47 w 285585"/>
                <a:gd name="connsiteY27" fmla="*/ 164311 h 178681"/>
                <a:gd name="connsiteX28" fmla="*/ 47 w 285585"/>
                <a:gd name="connsiteY28" fmla="*/ 166185 h 178681"/>
                <a:gd name="connsiteX29" fmla="*/ 47 w 285585"/>
                <a:gd name="connsiteY29" fmla="*/ 168559 h 178681"/>
                <a:gd name="connsiteX30" fmla="*/ 921 w 285585"/>
                <a:gd name="connsiteY30" fmla="*/ 172433 h 178681"/>
                <a:gd name="connsiteX31" fmla="*/ 11142 w 285585"/>
                <a:gd name="connsiteY31" fmla="*/ 178405 h 178681"/>
                <a:gd name="connsiteX32" fmla="*/ 13416 w 285585"/>
                <a:gd name="connsiteY32" fmla="*/ 177431 h 178681"/>
                <a:gd name="connsiteX33" fmla="*/ 13416 w 285585"/>
                <a:gd name="connsiteY33" fmla="*/ 177431 h 178681"/>
                <a:gd name="connsiteX34" fmla="*/ 8043 w 285585"/>
                <a:gd name="connsiteY34" fmla="*/ 169059 h 178681"/>
                <a:gd name="connsiteX35" fmla="*/ 7543 w 285585"/>
                <a:gd name="connsiteY35" fmla="*/ 166435 h 1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5585" h="178681">
                  <a:moveTo>
                    <a:pt x="7543" y="166435"/>
                  </a:moveTo>
                  <a:cubicBezTo>
                    <a:pt x="8093" y="165810"/>
                    <a:pt x="9043" y="165760"/>
                    <a:pt x="9655" y="166298"/>
                  </a:cubicBezTo>
                  <a:cubicBezTo>
                    <a:pt x="9705" y="166348"/>
                    <a:pt x="9755" y="166385"/>
                    <a:pt x="9793" y="166435"/>
                  </a:cubicBezTo>
                  <a:lnTo>
                    <a:pt x="15665" y="175557"/>
                  </a:lnTo>
                  <a:lnTo>
                    <a:pt x="18039" y="174182"/>
                  </a:lnTo>
                  <a:lnTo>
                    <a:pt x="281675" y="20618"/>
                  </a:lnTo>
                  <a:lnTo>
                    <a:pt x="281675" y="20618"/>
                  </a:lnTo>
                  <a:lnTo>
                    <a:pt x="281675" y="20618"/>
                  </a:lnTo>
                  <a:lnTo>
                    <a:pt x="276177" y="12372"/>
                  </a:lnTo>
                  <a:cubicBezTo>
                    <a:pt x="275528" y="11622"/>
                    <a:pt x="275528" y="10497"/>
                    <a:pt x="276177" y="9748"/>
                  </a:cubicBezTo>
                  <a:cubicBezTo>
                    <a:pt x="276540" y="9161"/>
                    <a:pt x="277314" y="8986"/>
                    <a:pt x="277902" y="9348"/>
                  </a:cubicBezTo>
                  <a:cubicBezTo>
                    <a:pt x="278064" y="9448"/>
                    <a:pt x="278202" y="9585"/>
                    <a:pt x="278302" y="9748"/>
                  </a:cubicBezTo>
                  <a:lnTo>
                    <a:pt x="283924" y="17995"/>
                  </a:lnTo>
                  <a:lnTo>
                    <a:pt x="283924" y="17995"/>
                  </a:lnTo>
                  <a:cubicBezTo>
                    <a:pt x="284249" y="17445"/>
                    <a:pt x="284499" y="16857"/>
                    <a:pt x="284674" y="16245"/>
                  </a:cubicBezTo>
                  <a:cubicBezTo>
                    <a:pt x="285086" y="15683"/>
                    <a:pt x="285386" y="15045"/>
                    <a:pt x="285548" y="14371"/>
                  </a:cubicBezTo>
                  <a:cubicBezTo>
                    <a:pt x="285548" y="14371"/>
                    <a:pt x="285548" y="13371"/>
                    <a:pt x="285548" y="12997"/>
                  </a:cubicBezTo>
                  <a:cubicBezTo>
                    <a:pt x="285598" y="12084"/>
                    <a:pt x="285598" y="11160"/>
                    <a:pt x="285548" y="10248"/>
                  </a:cubicBezTo>
                  <a:cubicBezTo>
                    <a:pt x="285448" y="8886"/>
                    <a:pt x="285161" y="7536"/>
                    <a:pt x="284674" y="6249"/>
                  </a:cubicBezTo>
                  <a:cubicBezTo>
                    <a:pt x="283499" y="1776"/>
                    <a:pt x="278926" y="-898"/>
                    <a:pt x="274453" y="277"/>
                  </a:cubicBezTo>
                  <a:cubicBezTo>
                    <a:pt x="273653" y="489"/>
                    <a:pt x="272879" y="814"/>
                    <a:pt x="272179" y="1251"/>
                  </a:cubicBezTo>
                  <a:lnTo>
                    <a:pt x="266682" y="4500"/>
                  </a:lnTo>
                  <a:lnTo>
                    <a:pt x="4545" y="158064"/>
                  </a:lnTo>
                  <a:lnTo>
                    <a:pt x="4545" y="158064"/>
                  </a:lnTo>
                  <a:cubicBezTo>
                    <a:pt x="3870" y="158501"/>
                    <a:pt x="3283" y="159051"/>
                    <a:pt x="2795" y="159688"/>
                  </a:cubicBezTo>
                  <a:lnTo>
                    <a:pt x="1796" y="160687"/>
                  </a:lnTo>
                  <a:cubicBezTo>
                    <a:pt x="1458" y="161287"/>
                    <a:pt x="1159" y="161912"/>
                    <a:pt x="921" y="162562"/>
                  </a:cubicBezTo>
                  <a:lnTo>
                    <a:pt x="47" y="164311"/>
                  </a:lnTo>
                  <a:cubicBezTo>
                    <a:pt x="-16" y="164936"/>
                    <a:pt x="-16" y="165561"/>
                    <a:pt x="47" y="166185"/>
                  </a:cubicBezTo>
                  <a:cubicBezTo>
                    <a:pt x="-16" y="166973"/>
                    <a:pt x="-16" y="167772"/>
                    <a:pt x="47" y="168559"/>
                  </a:cubicBezTo>
                  <a:cubicBezTo>
                    <a:pt x="159" y="169884"/>
                    <a:pt x="459" y="171183"/>
                    <a:pt x="921" y="172433"/>
                  </a:cubicBezTo>
                  <a:cubicBezTo>
                    <a:pt x="2096" y="176906"/>
                    <a:pt x="6669" y="179580"/>
                    <a:pt x="11142" y="178405"/>
                  </a:cubicBezTo>
                  <a:cubicBezTo>
                    <a:pt x="11942" y="178193"/>
                    <a:pt x="12716" y="177868"/>
                    <a:pt x="13416" y="177431"/>
                  </a:cubicBezTo>
                  <a:lnTo>
                    <a:pt x="13416" y="177431"/>
                  </a:lnTo>
                  <a:lnTo>
                    <a:pt x="8043" y="169059"/>
                  </a:lnTo>
                  <a:cubicBezTo>
                    <a:pt x="7281" y="168409"/>
                    <a:pt x="7069" y="167322"/>
                    <a:pt x="7543" y="166435"/>
                  </a:cubicBezTo>
                  <a:close/>
                </a:path>
              </a:pathLst>
            </a:custGeom>
            <a:solidFill>
              <a:srgbClr val="000000"/>
            </a:solidFill>
            <a:ln w="12483" cap="flat">
              <a:noFill/>
              <a:prstDash val="solid"/>
              <a:miter/>
            </a:ln>
          </p:spPr>
          <p:txBody>
            <a:bodyPr rtlCol="0" anchor="ctr"/>
            <a:lstStyle/>
            <a:p>
              <a:endParaRPr lang="en-US"/>
            </a:p>
          </p:txBody>
        </p:sp>
        <p:sp>
          <p:nvSpPr>
            <p:cNvPr id="1298" name="Freeform: Shape 1297">
              <a:extLst>
                <a:ext uri="{FF2B5EF4-FFF2-40B4-BE49-F238E27FC236}">
                  <a16:creationId xmlns:a16="http://schemas.microsoft.com/office/drawing/2014/main" id="{162E819D-340B-4D4A-8D7F-7442D86FF88B}"/>
                </a:ext>
              </a:extLst>
            </p:cNvPr>
            <p:cNvSpPr/>
            <p:nvPr/>
          </p:nvSpPr>
          <p:spPr>
            <a:xfrm>
              <a:off x="8885941" y="3355544"/>
              <a:ext cx="12369" cy="144817"/>
            </a:xfrm>
            <a:custGeom>
              <a:avLst/>
              <a:gdLst>
                <a:gd name="connsiteX0" fmla="*/ 375 w 12369"/>
                <a:gd name="connsiteY0" fmla="*/ 500 h 144817"/>
                <a:gd name="connsiteX1" fmla="*/ 0 w 12369"/>
                <a:gd name="connsiteY1" fmla="*/ 0 h 144817"/>
                <a:gd name="connsiteX2" fmla="*/ 8871 w 12369"/>
                <a:gd name="connsiteY2" fmla="*/ 140194 h 144817"/>
                <a:gd name="connsiteX3" fmla="*/ 12370 w 12369"/>
                <a:gd name="connsiteY3" fmla="*/ 144817 h 144817"/>
                <a:gd name="connsiteX4" fmla="*/ 3374 w 12369"/>
                <a:gd name="connsiteY4" fmla="*/ 4498 h 144817"/>
                <a:gd name="connsiteX5" fmla="*/ 375 w 12369"/>
                <a:gd name="connsiteY5" fmla="*/ 500 h 1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9" h="144817">
                  <a:moveTo>
                    <a:pt x="375" y="500"/>
                  </a:moveTo>
                  <a:lnTo>
                    <a:pt x="0" y="0"/>
                  </a:lnTo>
                  <a:lnTo>
                    <a:pt x="8871" y="140194"/>
                  </a:lnTo>
                  <a:lnTo>
                    <a:pt x="12370" y="144817"/>
                  </a:lnTo>
                  <a:lnTo>
                    <a:pt x="3374" y="4498"/>
                  </a:lnTo>
                  <a:lnTo>
                    <a:pt x="375" y="500"/>
                  </a:lnTo>
                  <a:close/>
                </a:path>
              </a:pathLst>
            </a:custGeom>
            <a:solidFill>
              <a:srgbClr val="000000"/>
            </a:solidFill>
            <a:ln w="12483" cap="flat">
              <a:noFill/>
              <a:prstDash val="solid"/>
              <a:miter/>
            </a:ln>
          </p:spPr>
          <p:txBody>
            <a:bodyPr rtlCol="0" anchor="ctr"/>
            <a:lstStyle/>
            <a:p>
              <a:endParaRPr lang="en-US"/>
            </a:p>
          </p:txBody>
        </p:sp>
        <p:sp>
          <p:nvSpPr>
            <p:cNvPr id="1299" name="Freeform: Shape 1298">
              <a:extLst>
                <a:ext uri="{FF2B5EF4-FFF2-40B4-BE49-F238E27FC236}">
                  <a16:creationId xmlns:a16="http://schemas.microsoft.com/office/drawing/2014/main" id="{C2F7A961-4C9E-420C-BDE4-CB058880782B}"/>
                </a:ext>
              </a:extLst>
            </p:cNvPr>
            <p:cNvSpPr/>
            <p:nvPr/>
          </p:nvSpPr>
          <p:spPr>
            <a:xfrm>
              <a:off x="10441518" y="459449"/>
              <a:ext cx="97957" cy="100459"/>
            </a:xfrm>
            <a:custGeom>
              <a:avLst/>
              <a:gdLst>
                <a:gd name="connsiteX0" fmla="*/ 4748 w 97957"/>
                <a:gd name="connsiteY0" fmla="*/ 18618 h 100459"/>
                <a:gd name="connsiteX1" fmla="*/ 0 w 97957"/>
                <a:gd name="connsiteY1" fmla="*/ 20742 h 100459"/>
                <a:gd name="connsiteX2" fmla="*/ 80840 w 97957"/>
                <a:gd name="connsiteY2" fmla="*/ 100460 h 100459"/>
                <a:gd name="connsiteX3" fmla="*/ 82964 w 97957"/>
                <a:gd name="connsiteY3" fmla="*/ 99460 h 100459"/>
                <a:gd name="connsiteX4" fmla="*/ 82964 w 97957"/>
                <a:gd name="connsiteY4" fmla="*/ 97711 h 100459"/>
                <a:gd name="connsiteX5" fmla="*/ 92023 w 97957"/>
                <a:gd name="connsiteY5" fmla="*/ 87095 h 100459"/>
                <a:gd name="connsiteX6" fmla="*/ 92085 w 97957"/>
                <a:gd name="connsiteY6" fmla="*/ 87090 h 100459"/>
                <a:gd name="connsiteX7" fmla="*/ 97958 w 97957"/>
                <a:gd name="connsiteY7" fmla="*/ 89964 h 100459"/>
                <a:gd name="connsiteX8" fmla="*/ 97958 w 97957"/>
                <a:gd name="connsiteY8" fmla="*/ 89964 h 100459"/>
                <a:gd name="connsiteX9" fmla="*/ 7372 w 97957"/>
                <a:gd name="connsiteY9" fmla="*/ 0 h 100459"/>
                <a:gd name="connsiteX10" fmla="*/ 6497 w 97957"/>
                <a:gd name="connsiteY10" fmla="*/ 0 h 100459"/>
                <a:gd name="connsiteX11" fmla="*/ 10121 w 97957"/>
                <a:gd name="connsiteY11" fmla="*/ 5248 h 100459"/>
                <a:gd name="connsiteX12" fmla="*/ 4748 w 97957"/>
                <a:gd name="connsiteY12" fmla="*/ 18618 h 10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957" h="100459">
                  <a:moveTo>
                    <a:pt x="4748" y="18618"/>
                  </a:moveTo>
                  <a:lnTo>
                    <a:pt x="0" y="20742"/>
                  </a:lnTo>
                  <a:lnTo>
                    <a:pt x="80840" y="100460"/>
                  </a:lnTo>
                  <a:lnTo>
                    <a:pt x="82964" y="99460"/>
                  </a:lnTo>
                  <a:lnTo>
                    <a:pt x="82964" y="97711"/>
                  </a:lnTo>
                  <a:cubicBezTo>
                    <a:pt x="82540" y="92276"/>
                    <a:pt x="86600" y="87523"/>
                    <a:pt x="92023" y="87095"/>
                  </a:cubicBezTo>
                  <a:cubicBezTo>
                    <a:pt x="92048" y="87093"/>
                    <a:pt x="92060" y="87092"/>
                    <a:pt x="92085" y="87090"/>
                  </a:cubicBezTo>
                  <a:cubicBezTo>
                    <a:pt x="94359" y="87183"/>
                    <a:pt x="96484" y="88226"/>
                    <a:pt x="97958" y="89964"/>
                  </a:cubicBezTo>
                  <a:lnTo>
                    <a:pt x="97958" y="89964"/>
                  </a:lnTo>
                  <a:lnTo>
                    <a:pt x="7372" y="0"/>
                  </a:lnTo>
                  <a:lnTo>
                    <a:pt x="6497" y="0"/>
                  </a:lnTo>
                  <a:cubicBezTo>
                    <a:pt x="8222" y="1325"/>
                    <a:pt x="9496" y="3161"/>
                    <a:pt x="10121" y="5248"/>
                  </a:cubicBezTo>
                  <a:cubicBezTo>
                    <a:pt x="11745" y="10415"/>
                    <a:pt x="9496" y="16009"/>
                    <a:pt x="4748" y="18618"/>
                  </a:cubicBezTo>
                  <a:close/>
                </a:path>
              </a:pathLst>
            </a:custGeom>
            <a:solidFill>
              <a:srgbClr val="000000"/>
            </a:solidFill>
            <a:ln w="12483" cap="flat">
              <a:noFill/>
              <a:prstDash val="solid"/>
              <a:miter/>
            </a:ln>
          </p:spPr>
          <p:txBody>
            <a:bodyPr rtlCol="0" anchor="ctr"/>
            <a:lstStyle/>
            <a:p>
              <a:endParaRPr lang="en-US"/>
            </a:p>
          </p:txBody>
        </p:sp>
        <p:sp>
          <p:nvSpPr>
            <p:cNvPr id="1300" name="Freeform: Shape 1299">
              <a:extLst>
                <a:ext uri="{FF2B5EF4-FFF2-40B4-BE49-F238E27FC236}">
                  <a16:creationId xmlns:a16="http://schemas.microsoft.com/office/drawing/2014/main" id="{79D596CD-1CFE-4970-BE4E-B2FF5EBBCC33}"/>
                </a:ext>
              </a:extLst>
            </p:cNvPr>
            <p:cNvSpPr/>
            <p:nvPr/>
          </p:nvSpPr>
          <p:spPr>
            <a:xfrm>
              <a:off x="9197431" y="3497487"/>
              <a:ext cx="109952" cy="59975"/>
            </a:xfrm>
            <a:custGeom>
              <a:avLst/>
              <a:gdLst>
                <a:gd name="connsiteX0" fmla="*/ 108953 w 109952"/>
                <a:gd name="connsiteY0" fmla="*/ 2499 h 59975"/>
                <a:gd name="connsiteX1" fmla="*/ 108953 w 109952"/>
                <a:gd name="connsiteY1" fmla="*/ 1874 h 59975"/>
                <a:gd name="connsiteX2" fmla="*/ 108953 w 109952"/>
                <a:gd name="connsiteY2" fmla="*/ 1249 h 59975"/>
                <a:gd name="connsiteX3" fmla="*/ 108953 w 109952"/>
                <a:gd name="connsiteY3" fmla="*/ 0 h 59975"/>
                <a:gd name="connsiteX4" fmla="*/ 0 w 109952"/>
                <a:gd name="connsiteY4" fmla="*/ 55853 h 59975"/>
                <a:gd name="connsiteX5" fmla="*/ 0 w 109952"/>
                <a:gd name="connsiteY5" fmla="*/ 59976 h 59975"/>
                <a:gd name="connsiteX6" fmla="*/ 109952 w 109952"/>
                <a:gd name="connsiteY6" fmla="*/ 3499 h 5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52" h="59975">
                  <a:moveTo>
                    <a:pt x="108953" y="2499"/>
                  </a:moveTo>
                  <a:cubicBezTo>
                    <a:pt x="108878" y="2299"/>
                    <a:pt x="108878" y="2074"/>
                    <a:pt x="108953" y="1874"/>
                  </a:cubicBezTo>
                  <a:cubicBezTo>
                    <a:pt x="108953" y="1874"/>
                    <a:pt x="108953" y="1874"/>
                    <a:pt x="108953" y="1249"/>
                  </a:cubicBezTo>
                  <a:lnTo>
                    <a:pt x="108953" y="0"/>
                  </a:lnTo>
                  <a:lnTo>
                    <a:pt x="0" y="55853"/>
                  </a:lnTo>
                  <a:lnTo>
                    <a:pt x="0" y="59976"/>
                  </a:lnTo>
                  <a:lnTo>
                    <a:pt x="109952" y="3499"/>
                  </a:lnTo>
                  <a:close/>
                </a:path>
              </a:pathLst>
            </a:custGeom>
            <a:solidFill>
              <a:srgbClr val="000000"/>
            </a:solidFill>
            <a:ln w="12483" cap="flat">
              <a:noFill/>
              <a:prstDash val="solid"/>
              <a:miter/>
            </a:ln>
          </p:spPr>
          <p:txBody>
            <a:bodyPr rtlCol="0" anchor="ctr"/>
            <a:lstStyle/>
            <a:p>
              <a:endParaRPr lang="en-US"/>
            </a:p>
          </p:txBody>
        </p:sp>
        <p:sp>
          <p:nvSpPr>
            <p:cNvPr id="1301" name="Freeform: Shape 1300">
              <a:extLst>
                <a:ext uri="{FF2B5EF4-FFF2-40B4-BE49-F238E27FC236}">
                  <a16:creationId xmlns:a16="http://schemas.microsoft.com/office/drawing/2014/main" id="{07958446-F4C5-4C34-9010-9289330177F8}"/>
                </a:ext>
              </a:extLst>
            </p:cNvPr>
            <p:cNvSpPr/>
            <p:nvPr/>
          </p:nvSpPr>
          <p:spPr>
            <a:xfrm>
              <a:off x="9207177" y="2637955"/>
              <a:ext cx="2498" cy="1999"/>
            </a:xfrm>
            <a:custGeom>
              <a:avLst/>
              <a:gdLst>
                <a:gd name="connsiteX0" fmla="*/ 2499 w 2498"/>
                <a:gd name="connsiteY0" fmla="*/ 0 h 1999"/>
                <a:gd name="connsiteX1" fmla="*/ 0 w 2498"/>
                <a:gd name="connsiteY1" fmla="*/ 1999 h 1999"/>
                <a:gd name="connsiteX2" fmla="*/ 0 w 2498"/>
                <a:gd name="connsiteY2" fmla="*/ 1999 h 1999"/>
                <a:gd name="connsiteX3" fmla="*/ 2499 w 2498"/>
                <a:gd name="connsiteY3" fmla="*/ 0 h 1999"/>
              </a:gdLst>
              <a:ahLst/>
              <a:cxnLst>
                <a:cxn ang="0">
                  <a:pos x="connsiteX0" y="connsiteY0"/>
                </a:cxn>
                <a:cxn ang="0">
                  <a:pos x="connsiteX1" y="connsiteY1"/>
                </a:cxn>
                <a:cxn ang="0">
                  <a:pos x="connsiteX2" y="connsiteY2"/>
                </a:cxn>
                <a:cxn ang="0">
                  <a:pos x="connsiteX3" y="connsiteY3"/>
                </a:cxn>
              </a:cxnLst>
              <a:rect l="l" t="t" r="r" b="b"/>
              <a:pathLst>
                <a:path w="2498" h="1999">
                  <a:moveTo>
                    <a:pt x="2499" y="0"/>
                  </a:moveTo>
                  <a:cubicBezTo>
                    <a:pt x="1799" y="812"/>
                    <a:pt x="949" y="1487"/>
                    <a:pt x="0" y="1999"/>
                  </a:cubicBezTo>
                  <a:lnTo>
                    <a:pt x="0" y="1999"/>
                  </a:lnTo>
                  <a:cubicBezTo>
                    <a:pt x="937" y="1474"/>
                    <a:pt x="1786" y="800"/>
                    <a:pt x="2499" y="0"/>
                  </a:cubicBezTo>
                  <a:close/>
                </a:path>
              </a:pathLst>
            </a:custGeom>
            <a:solidFill>
              <a:srgbClr val="000000"/>
            </a:solidFill>
            <a:ln w="12483" cap="flat">
              <a:noFill/>
              <a:prstDash val="solid"/>
              <a:miter/>
            </a:ln>
          </p:spPr>
          <p:txBody>
            <a:bodyPr rtlCol="0" anchor="ctr"/>
            <a:lstStyle/>
            <a:p>
              <a:endParaRPr lang="en-US"/>
            </a:p>
          </p:txBody>
        </p:sp>
        <p:sp>
          <p:nvSpPr>
            <p:cNvPr id="1302" name="Freeform: Shape 1301">
              <a:extLst>
                <a:ext uri="{FF2B5EF4-FFF2-40B4-BE49-F238E27FC236}">
                  <a16:creationId xmlns:a16="http://schemas.microsoft.com/office/drawing/2014/main" id="{FA0F8CFD-ED7A-4174-849B-A9E7A1536542}"/>
                </a:ext>
              </a:extLst>
            </p:cNvPr>
            <p:cNvSpPr/>
            <p:nvPr/>
          </p:nvSpPr>
          <p:spPr>
            <a:xfrm>
              <a:off x="9139581" y="2625960"/>
              <a:ext cx="67221" cy="40608"/>
            </a:xfrm>
            <a:custGeom>
              <a:avLst/>
              <a:gdLst>
                <a:gd name="connsiteX0" fmla="*/ 12744 w 67221"/>
                <a:gd name="connsiteY0" fmla="*/ 32737 h 40608"/>
                <a:gd name="connsiteX1" fmla="*/ 12744 w 67221"/>
                <a:gd name="connsiteY1" fmla="*/ 40609 h 40608"/>
                <a:gd name="connsiteX2" fmla="*/ 67221 w 67221"/>
                <a:gd name="connsiteY2" fmla="*/ 13994 h 40608"/>
                <a:gd name="connsiteX3" fmla="*/ 57475 w 67221"/>
                <a:gd name="connsiteY3" fmla="*/ 11495 h 40608"/>
                <a:gd name="connsiteX4" fmla="*/ 47979 w 67221"/>
                <a:gd name="connsiteY4" fmla="*/ 0 h 40608"/>
                <a:gd name="connsiteX5" fmla="*/ 0 w 67221"/>
                <a:gd name="connsiteY5" fmla="*/ 23366 h 40608"/>
                <a:gd name="connsiteX6" fmla="*/ 0 w 67221"/>
                <a:gd name="connsiteY6" fmla="*/ 23366 h 40608"/>
                <a:gd name="connsiteX7" fmla="*/ 3124 w 67221"/>
                <a:gd name="connsiteY7" fmla="*/ 22366 h 40608"/>
                <a:gd name="connsiteX8" fmla="*/ 12770 w 67221"/>
                <a:gd name="connsiteY8" fmla="*/ 32212 h 40608"/>
                <a:gd name="connsiteX9" fmla="*/ 12744 w 67221"/>
                <a:gd name="connsiteY9" fmla="*/ 32737 h 4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1" h="40608">
                  <a:moveTo>
                    <a:pt x="12744" y="32737"/>
                  </a:moveTo>
                  <a:lnTo>
                    <a:pt x="12744" y="40609"/>
                  </a:lnTo>
                  <a:lnTo>
                    <a:pt x="67221" y="13994"/>
                  </a:lnTo>
                  <a:cubicBezTo>
                    <a:pt x="63797" y="15619"/>
                    <a:pt x="59699" y="14569"/>
                    <a:pt x="57475" y="11495"/>
                  </a:cubicBezTo>
                  <a:lnTo>
                    <a:pt x="47979" y="0"/>
                  </a:lnTo>
                  <a:lnTo>
                    <a:pt x="0" y="23366"/>
                  </a:lnTo>
                  <a:lnTo>
                    <a:pt x="0" y="23366"/>
                  </a:lnTo>
                  <a:cubicBezTo>
                    <a:pt x="975" y="22841"/>
                    <a:pt x="2037" y="22503"/>
                    <a:pt x="3124" y="22366"/>
                  </a:cubicBezTo>
                  <a:cubicBezTo>
                    <a:pt x="8509" y="22429"/>
                    <a:pt x="12819" y="26839"/>
                    <a:pt x="12770" y="32212"/>
                  </a:cubicBezTo>
                  <a:cubicBezTo>
                    <a:pt x="12757" y="32387"/>
                    <a:pt x="12757" y="32562"/>
                    <a:pt x="12744" y="32737"/>
                  </a:cubicBezTo>
                  <a:close/>
                </a:path>
              </a:pathLst>
            </a:custGeom>
            <a:solidFill>
              <a:srgbClr val="000000"/>
            </a:solidFill>
            <a:ln w="12483" cap="flat">
              <a:noFill/>
              <a:prstDash val="solid"/>
              <a:miter/>
            </a:ln>
          </p:spPr>
          <p:txBody>
            <a:bodyPr rtlCol="0" anchor="ctr"/>
            <a:lstStyle/>
            <a:p>
              <a:endParaRPr lang="en-US"/>
            </a:p>
          </p:txBody>
        </p:sp>
        <p:sp>
          <p:nvSpPr>
            <p:cNvPr id="1303" name="Freeform: Shape 1302">
              <a:extLst>
                <a:ext uri="{FF2B5EF4-FFF2-40B4-BE49-F238E27FC236}">
                  <a16:creationId xmlns:a16="http://schemas.microsoft.com/office/drawing/2014/main" id="{3D0062D1-919E-47E4-BB07-0219B2849B78}"/>
                </a:ext>
              </a:extLst>
            </p:cNvPr>
            <p:cNvSpPr/>
            <p:nvPr/>
          </p:nvSpPr>
          <p:spPr>
            <a:xfrm>
              <a:off x="9211050" y="262383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cubicBezTo>
                    <a:pt x="0" y="0"/>
                    <a:pt x="0" y="0"/>
                    <a:pt x="0" y="0"/>
                  </a:cubicBezTo>
                  <a:lnTo>
                    <a:pt x="0" y="0"/>
                  </a:lnTo>
                  <a:close/>
                </a:path>
              </a:pathLst>
            </a:custGeom>
            <a:solidFill>
              <a:srgbClr val="000000"/>
            </a:solidFill>
            <a:ln w="12483" cap="flat">
              <a:noFill/>
              <a:prstDash val="solid"/>
              <a:miter/>
            </a:ln>
          </p:spPr>
          <p:txBody>
            <a:bodyPr rtlCol="0" anchor="ctr"/>
            <a:lstStyle/>
            <a:p>
              <a:endParaRPr lang="en-US"/>
            </a:p>
          </p:txBody>
        </p:sp>
        <p:sp>
          <p:nvSpPr>
            <p:cNvPr id="1304" name="Freeform: Shape 1303">
              <a:extLst>
                <a:ext uri="{FF2B5EF4-FFF2-40B4-BE49-F238E27FC236}">
                  <a16:creationId xmlns:a16="http://schemas.microsoft.com/office/drawing/2014/main" id="{EF7CF88A-F8E9-45BA-BA94-816B02AE9030}"/>
                </a:ext>
              </a:extLst>
            </p:cNvPr>
            <p:cNvSpPr/>
            <p:nvPr/>
          </p:nvSpPr>
          <p:spPr>
            <a:xfrm>
              <a:off x="8665224" y="3077030"/>
              <a:ext cx="28800" cy="161685"/>
            </a:xfrm>
            <a:custGeom>
              <a:avLst/>
              <a:gdLst>
                <a:gd name="connsiteX0" fmla="*/ 26801 w 28800"/>
                <a:gd name="connsiteY0" fmla="*/ 152689 h 161685"/>
                <a:gd name="connsiteX1" fmla="*/ 28800 w 28800"/>
                <a:gd name="connsiteY1" fmla="*/ 155438 h 161685"/>
                <a:gd name="connsiteX2" fmla="*/ 18679 w 28800"/>
                <a:gd name="connsiteY2" fmla="*/ 15619 h 161685"/>
                <a:gd name="connsiteX3" fmla="*/ 13432 w 28800"/>
                <a:gd name="connsiteY3" fmla="*/ 8872 h 161685"/>
                <a:gd name="connsiteX4" fmla="*/ 11807 w 28800"/>
                <a:gd name="connsiteY4" fmla="*/ 9621 h 161685"/>
                <a:gd name="connsiteX5" fmla="*/ 750 w 28800"/>
                <a:gd name="connsiteY5" fmla="*/ 5385 h 161685"/>
                <a:gd name="connsiteX6" fmla="*/ 187 w 28800"/>
                <a:gd name="connsiteY6" fmla="*/ 3624 h 161685"/>
                <a:gd name="connsiteX7" fmla="*/ 187 w 28800"/>
                <a:gd name="connsiteY7" fmla="*/ 0 h 161685"/>
                <a:gd name="connsiteX8" fmla="*/ 187 w 28800"/>
                <a:gd name="connsiteY8" fmla="*/ 0 h 161685"/>
                <a:gd name="connsiteX9" fmla="*/ 11807 w 28800"/>
                <a:gd name="connsiteY9" fmla="*/ 160436 h 161685"/>
                <a:gd name="connsiteX10" fmla="*/ 11807 w 28800"/>
                <a:gd name="connsiteY10" fmla="*/ 161686 h 161685"/>
                <a:gd name="connsiteX11" fmla="*/ 14306 w 28800"/>
                <a:gd name="connsiteY11" fmla="*/ 151565 h 161685"/>
                <a:gd name="connsiteX12" fmla="*/ 25614 w 28800"/>
                <a:gd name="connsiteY12" fmla="*/ 151265 h 161685"/>
                <a:gd name="connsiteX13" fmla="*/ 26801 w 28800"/>
                <a:gd name="connsiteY13" fmla="*/ 152689 h 16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00" h="161685">
                  <a:moveTo>
                    <a:pt x="26801" y="152689"/>
                  </a:moveTo>
                  <a:lnTo>
                    <a:pt x="28800" y="155438"/>
                  </a:lnTo>
                  <a:lnTo>
                    <a:pt x="18679" y="15619"/>
                  </a:lnTo>
                  <a:lnTo>
                    <a:pt x="13432" y="8872"/>
                  </a:lnTo>
                  <a:lnTo>
                    <a:pt x="11807" y="9621"/>
                  </a:lnTo>
                  <a:cubicBezTo>
                    <a:pt x="7584" y="11508"/>
                    <a:pt x="2636" y="9609"/>
                    <a:pt x="750" y="5385"/>
                  </a:cubicBezTo>
                  <a:cubicBezTo>
                    <a:pt x="500" y="4823"/>
                    <a:pt x="312" y="4236"/>
                    <a:pt x="187" y="3624"/>
                  </a:cubicBezTo>
                  <a:cubicBezTo>
                    <a:pt x="-62" y="2424"/>
                    <a:pt x="-62" y="1200"/>
                    <a:pt x="187" y="0"/>
                  </a:cubicBezTo>
                  <a:cubicBezTo>
                    <a:pt x="187" y="0"/>
                    <a:pt x="187" y="0"/>
                    <a:pt x="187" y="0"/>
                  </a:cubicBezTo>
                  <a:lnTo>
                    <a:pt x="11807" y="160436"/>
                  </a:lnTo>
                  <a:lnTo>
                    <a:pt x="11807" y="161686"/>
                  </a:lnTo>
                  <a:cubicBezTo>
                    <a:pt x="11120" y="158112"/>
                    <a:pt x="12032" y="154413"/>
                    <a:pt x="14306" y="151565"/>
                  </a:cubicBezTo>
                  <a:cubicBezTo>
                    <a:pt x="17343" y="148366"/>
                    <a:pt x="22403" y="148228"/>
                    <a:pt x="25614" y="151265"/>
                  </a:cubicBezTo>
                  <a:cubicBezTo>
                    <a:pt x="26064" y="151690"/>
                    <a:pt x="26463" y="152164"/>
                    <a:pt x="26801" y="152689"/>
                  </a:cubicBezTo>
                  <a:close/>
                </a:path>
              </a:pathLst>
            </a:custGeom>
            <a:solidFill>
              <a:srgbClr val="000000"/>
            </a:solidFill>
            <a:ln w="12483" cap="flat">
              <a:noFill/>
              <a:prstDash val="solid"/>
              <a:miter/>
            </a:ln>
          </p:spPr>
          <p:txBody>
            <a:bodyPr rtlCol="0" anchor="ctr"/>
            <a:lstStyle/>
            <a:p>
              <a:endParaRPr lang="en-US"/>
            </a:p>
          </p:txBody>
        </p:sp>
        <p:sp>
          <p:nvSpPr>
            <p:cNvPr id="1305" name="Freeform: Shape 1304">
              <a:extLst>
                <a:ext uri="{FF2B5EF4-FFF2-40B4-BE49-F238E27FC236}">
                  <a16:creationId xmlns:a16="http://schemas.microsoft.com/office/drawing/2014/main" id="{CFBC3169-574E-412A-82DF-52D7DF4C3C81}"/>
                </a:ext>
              </a:extLst>
            </p:cNvPr>
            <p:cNvSpPr/>
            <p:nvPr/>
          </p:nvSpPr>
          <p:spPr>
            <a:xfrm>
              <a:off x="8681779" y="3083527"/>
              <a:ext cx="1624" cy="2873"/>
            </a:xfrm>
            <a:custGeom>
              <a:avLst/>
              <a:gdLst>
                <a:gd name="connsiteX0" fmla="*/ 1375 w 1624"/>
                <a:gd name="connsiteY0" fmla="*/ 0 h 2873"/>
                <a:gd name="connsiteX1" fmla="*/ 0 w 1624"/>
                <a:gd name="connsiteY1" fmla="*/ 750 h 2873"/>
                <a:gd name="connsiteX2" fmla="*/ 1624 w 1624"/>
                <a:gd name="connsiteY2" fmla="*/ 2874 h 2873"/>
                <a:gd name="connsiteX3" fmla="*/ 1375 w 1624"/>
                <a:gd name="connsiteY3" fmla="*/ 0 h 2873"/>
              </a:gdLst>
              <a:ahLst/>
              <a:cxnLst>
                <a:cxn ang="0">
                  <a:pos x="connsiteX0" y="connsiteY0"/>
                </a:cxn>
                <a:cxn ang="0">
                  <a:pos x="connsiteX1" y="connsiteY1"/>
                </a:cxn>
                <a:cxn ang="0">
                  <a:pos x="connsiteX2" y="connsiteY2"/>
                </a:cxn>
                <a:cxn ang="0">
                  <a:pos x="connsiteX3" y="connsiteY3"/>
                </a:cxn>
              </a:cxnLst>
              <a:rect l="l" t="t" r="r" b="b"/>
              <a:pathLst>
                <a:path w="1624" h="2873">
                  <a:moveTo>
                    <a:pt x="1375" y="0"/>
                  </a:moveTo>
                  <a:lnTo>
                    <a:pt x="0" y="750"/>
                  </a:lnTo>
                  <a:lnTo>
                    <a:pt x="1624" y="2874"/>
                  </a:lnTo>
                  <a:lnTo>
                    <a:pt x="1375" y="0"/>
                  </a:lnTo>
                  <a:close/>
                </a:path>
              </a:pathLst>
            </a:custGeom>
            <a:solidFill>
              <a:srgbClr val="000000"/>
            </a:solidFill>
            <a:ln w="12483" cap="flat">
              <a:noFill/>
              <a:prstDash val="solid"/>
              <a:miter/>
            </a:ln>
          </p:spPr>
          <p:txBody>
            <a:bodyPr rtlCol="0" anchor="ctr"/>
            <a:lstStyle/>
            <a:p>
              <a:endParaRPr lang="en-US"/>
            </a:p>
          </p:txBody>
        </p:sp>
        <p:sp>
          <p:nvSpPr>
            <p:cNvPr id="1306" name="Freeform: Shape 1305">
              <a:extLst>
                <a:ext uri="{FF2B5EF4-FFF2-40B4-BE49-F238E27FC236}">
                  <a16:creationId xmlns:a16="http://schemas.microsoft.com/office/drawing/2014/main" id="{F18322C6-2D08-4FAB-80E3-76334A912B2E}"/>
                </a:ext>
              </a:extLst>
            </p:cNvPr>
            <p:cNvSpPr/>
            <p:nvPr/>
          </p:nvSpPr>
          <p:spPr>
            <a:xfrm>
              <a:off x="7565136" y="4560813"/>
              <a:ext cx="751" cy="1874"/>
            </a:xfrm>
            <a:custGeom>
              <a:avLst/>
              <a:gdLst>
                <a:gd name="connsiteX0" fmla="*/ 625 w 751"/>
                <a:gd name="connsiteY0" fmla="*/ 1125 h 1874"/>
                <a:gd name="connsiteX1" fmla="*/ 0 w 751"/>
                <a:gd name="connsiteY1" fmla="*/ 0 h 1874"/>
                <a:gd name="connsiteX2" fmla="*/ 750 w 751"/>
                <a:gd name="connsiteY2" fmla="*/ 1874 h 1874"/>
                <a:gd name="connsiteX3" fmla="*/ 625 w 751"/>
                <a:gd name="connsiteY3" fmla="*/ 1125 h 1874"/>
              </a:gdLst>
              <a:ahLst/>
              <a:cxnLst>
                <a:cxn ang="0">
                  <a:pos x="connsiteX0" y="connsiteY0"/>
                </a:cxn>
                <a:cxn ang="0">
                  <a:pos x="connsiteX1" y="connsiteY1"/>
                </a:cxn>
                <a:cxn ang="0">
                  <a:pos x="connsiteX2" y="connsiteY2"/>
                </a:cxn>
                <a:cxn ang="0">
                  <a:pos x="connsiteX3" y="connsiteY3"/>
                </a:cxn>
              </a:cxnLst>
              <a:rect l="l" t="t" r="r" b="b"/>
              <a:pathLst>
                <a:path w="751" h="1874">
                  <a:moveTo>
                    <a:pt x="625" y="1125"/>
                  </a:moveTo>
                  <a:cubicBezTo>
                    <a:pt x="625" y="1125"/>
                    <a:pt x="625" y="375"/>
                    <a:pt x="0" y="0"/>
                  </a:cubicBezTo>
                  <a:cubicBezTo>
                    <a:pt x="300" y="599"/>
                    <a:pt x="550" y="1224"/>
                    <a:pt x="750" y="1874"/>
                  </a:cubicBezTo>
                  <a:cubicBezTo>
                    <a:pt x="762" y="1612"/>
                    <a:pt x="725" y="1362"/>
                    <a:pt x="625" y="1125"/>
                  </a:cubicBezTo>
                  <a:close/>
                </a:path>
              </a:pathLst>
            </a:custGeom>
            <a:solidFill>
              <a:srgbClr val="000000"/>
            </a:solidFill>
            <a:ln w="12483" cap="flat">
              <a:noFill/>
              <a:prstDash val="solid"/>
              <a:miter/>
            </a:ln>
          </p:spPr>
          <p:txBody>
            <a:bodyPr rtlCol="0" anchor="ctr"/>
            <a:lstStyle/>
            <a:p>
              <a:endParaRPr lang="en-US"/>
            </a:p>
          </p:txBody>
        </p:sp>
        <p:sp>
          <p:nvSpPr>
            <p:cNvPr id="1307" name="Freeform: Shape 1306">
              <a:extLst>
                <a:ext uri="{FF2B5EF4-FFF2-40B4-BE49-F238E27FC236}">
                  <a16:creationId xmlns:a16="http://schemas.microsoft.com/office/drawing/2014/main" id="{CC845155-3696-41C9-A7AF-975BAE71F5F3}"/>
                </a:ext>
              </a:extLst>
            </p:cNvPr>
            <p:cNvSpPr/>
            <p:nvPr/>
          </p:nvSpPr>
          <p:spPr>
            <a:xfrm>
              <a:off x="7527903" y="4562688"/>
              <a:ext cx="33735" cy="24490"/>
            </a:xfrm>
            <a:custGeom>
              <a:avLst/>
              <a:gdLst>
                <a:gd name="connsiteX0" fmla="*/ 4623 w 33735"/>
                <a:gd name="connsiteY0" fmla="*/ 13370 h 24490"/>
                <a:gd name="connsiteX1" fmla="*/ 11870 w 33735"/>
                <a:gd name="connsiteY1" fmla="*/ 24490 h 24490"/>
                <a:gd name="connsiteX2" fmla="*/ 33111 w 33735"/>
                <a:gd name="connsiteY2" fmla="*/ 13494 h 24490"/>
                <a:gd name="connsiteX3" fmla="*/ 33735 w 33735"/>
                <a:gd name="connsiteY3" fmla="*/ 13494 h 24490"/>
                <a:gd name="connsiteX4" fmla="*/ 33735 w 33735"/>
                <a:gd name="connsiteY4" fmla="*/ 13494 h 24490"/>
                <a:gd name="connsiteX5" fmla="*/ 22728 w 33735"/>
                <a:gd name="connsiteY5" fmla="*/ 11858 h 24490"/>
                <a:gd name="connsiteX6" fmla="*/ 22240 w 33735"/>
                <a:gd name="connsiteY6" fmla="*/ 11120 h 24490"/>
                <a:gd name="connsiteX7" fmla="*/ 14993 w 33735"/>
                <a:gd name="connsiteY7" fmla="*/ 0 h 24490"/>
                <a:gd name="connsiteX8" fmla="*/ 0 w 33735"/>
                <a:gd name="connsiteY8" fmla="*/ 7747 h 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35" h="24490">
                  <a:moveTo>
                    <a:pt x="4623" y="13370"/>
                  </a:moveTo>
                  <a:lnTo>
                    <a:pt x="11870" y="24490"/>
                  </a:lnTo>
                  <a:lnTo>
                    <a:pt x="33111" y="13494"/>
                  </a:lnTo>
                  <a:lnTo>
                    <a:pt x="33735" y="13494"/>
                  </a:lnTo>
                  <a:lnTo>
                    <a:pt x="33735" y="13494"/>
                  </a:lnTo>
                  <a:cubicBezTo>
                    <a:pt x="30237" y="16081"/>
                    <a:pt x="25314" y="15344"/>
                    <a:pt x="22728" y="11858"/>
                  </a:cubicBezTo>
                  <a:cubicBezTo>
                    <a:pt x="22553" y="11620"/>
                    <a:pt x="22390" y="11371"/>
                    <a:pt x="22240" y="11120"/>
                  </a:cubicBezTo>
                  <a:lnTo>
                    <a:pt x="14993" y="0"/>
                  </a:lnTo>
                  <a:lnTo>
                    <a:pt x="0" y="7747"/>
                  </a:lnTo>
                  <a:close/>
                </a:path>
              </a:pathLst>
            </a:custGeom>
            <a:solidFill>
              <a:srgbClr val="000000"/>
            </a:solidFill>
            <a:ln w="12483" cap="flat">
              <a:noFill/>
              <a:prstDash val="solid"/>
              <a:miter/>
            </a:ln>
          </p:spPr>
          <p:txBody>
            <a:bodyPr rtlCol="0" anchor="ctr"/>
            <a:lstStyle/>
            <a:p>
              <a:endParaRPr lang="en-US"/>
            </a:p>
          </p:txBody>
        </p:sp>
        <p:sp>
          <p:nvSpPr>
            <p:cNvPr id="1308" name="Freeform: Shape 1307">
              <a:extLst>
                <a:ext uri="{FF2B5EF4-FFF2-40B4-BE49-F238E27FC236}">
                  <a16:creationId xmlns:a16="http://schemas.microsoft.com/office/drawing/2014/main" id="{FEA3A173-2492-4C81-9E5B-266330A6DF7D}"/>
                </a:ext>
              </a:extLst>
            </p:cNvPr>
            <p:cNvSpPr/>
            <p:nvPr/>
          </p:nvSpPr>
          <p:spPr>
            <a:xfrm>
              <a:off x="7563637" y="4572434"/>
              <a:ext cx="1171" cy="1749"/>
            </a:xfrm>
            <a:custGeom>
              <a:avLst/>
              <a:gdLst>
                <a:gd name="connsiteX0" fmla="*/ 1124 w 1171"/>
                <a:gd name="connsiteY0" fmla="*/ 875 h 1749"/>
                <a:gd name="connsiteX1" fmla="*/ 1124 w 1171"/>
                <a:gd name="connsiteY1" fmla="*/ 0 h 1749"/>
                <a:gd name="connsiteX2" fmla="*/ 0 w 1171"/>
                <a:gd name="connsiteY2" fmla="*/ 1749 h 1749"/>
                <a:gd name="connsiteX3" fmla="*/ 1124 w 1171"/>
                <a:gd name="connsiteY3" fmla="*/ 875 h 1749"/>
              </a:gdLst>
              <a:ahLst/>
              <a:cxnLst>
                <a:cxn ang="0">
                  <a:pos x="connsiteX0" y="connsiteY0"/>
                </a:cxn>
                <a:cxn ang="0">
                  <a:pos x="connsiteX1" y="connsiteY1"/>
                </a:cxn>
                <a:cxn ang="0">
                  <a:pos x="connsiteX2" y="connsiteY2"/>
                </a:cxn>
                <a:cxn ang="0">
                  <a:pos x="connsiteX3" y="connsiteY3"/>
                </a:cxn>
              </a:cxnLst>
              <a:rect l="l" t="t" r="r" b="b"/>
              <a:pathLst>
                <a:path w="1171" h="1749">
                  <a:moveTo>
                    <a:pt x="1124" y="875"/>
                  </a:moveTo>
                  <a:cubicBezTo>
                    <a:pt x="1187" y="587"/>
                    <a:pt x="1187" y="287"/>
                    <a:pt x="1124" y="0"/>
                  </a:cubicBezTo>
                  <a:lnTo>
                    <a:pt x="0" y="1749"/>
                  </a:lnTo>
                  <a:cubicBezTo>
                    <a:pt x="462" y="1587"/>
                    <a:pt x="850" y="1274"/>
                    <a:pt x="1124" y="875"/>
                  </a:cubicBezTo>
                  <a:close/>
                </a:path>
              </a:pathLst>
            </a:custGeom>
            <a:solidFill>
              <a:srgbClr val="000000"/>
            </a:solidFill>
            <a:ln w="12483" cap="flat">
              <a:noFill/>
              <a:prstDash val="solid"/>
              <a:miter/>
            </a:ln>
          </p:spPr>
          <p:txBody>
            <a:bodyPr rtlCol="0" anchor="ctr"/>
            <a:lstStyle/>
            <a:p>
              <a:endParaRPr lang="en-US"/>
            </a:p>
          </p:txBody>
        </p:sp>
        <p:sp>
          <p:nvSpPr>
            <p:cNvPr id="1309" name="Freeform: Shape 1308">
              <a:extLst>
                <a:ext uri="{FF2B5EF4-FFF2-40B4-BE49-F238E27FC236}">
                  <a16:creationId xmlns:a16="http://schemas.microsoft.com/office/drawing/2014/main" id="{3372D138-CDB2-4D86-8D25-2B1C74D24E54}"/>
                </a:ext>
              </a:extLst>
            </p:cNvPr>
            <p:cNvSpPr/>
            <p:nvPr/>
          </p:nvSpPr>
          <p:spPr>
            <a:xfrm>
              <a:off x="7575132" y="4462477"/>
              <a:ext cx="25364" cy="168932"/>
            </a:xfrm>
            <a:custGeom>
              <a:avLst/>
              <a:gdLst>
                <a:gd name="connsiteX0" fmla="*/ 23115 w 25364"/>
                <a:gd name="connsiteY0" fmla="*/ 168933 h 168932"/>
                <a:gd name="connsiteX1" fmla="*/ 23115 w 25364"/>
                <a:gd name="connsiteY1" fmla="*/ 166684 h 168932"/>
                <a:gd name="connsiteX2" fmla="*/ 25227 w 25364"/>
                <a:gd name="connsiteY2" fmla="*/ 166546 h 168932"/>
                <a:gd name="connsiteX3" fmla="*/ 25364 w 25364"/>
                <a:gd name="connsiteY3" fmla="*/ 166684 h 168932"/>
                <a:gd name="connsiteX4" fmla="*/ 25364 w 25364"/>
                <a:gd name="connsiteY4" fmla="*/ 166684 h 168932"/>
                <a:gd name="connsiteX5" fmla="*/ 3748 w 25364"/>
                <a:gd name="connsiteY5" fmla="*/ 5748 h 168932"/>
                <a:gd name="connsiteX6" fmla="*/ 0 w 25364"/>
                <a:gd name="connsiteY6" fmla="*/ 0 h 168932"/>
                <a:gd name="connsiteX7" fmla="*/ 0 w 25364"/>
                <a:gd name="connsiteY7" fmla="*/ 0 h 168932"/>
                <a:gd name="connsiteX8" fmla="*/ 0 w 25364"/>
                <a:gd name="connsiteY8" fmla="*/ 0 h 168932"/>
                <a:gd name="connsiteX9" fmla="*/ 21616 w 25364"/>
                <a:gd name="connsiteY9" fmla="*/ 161311 h 168932"/>
                <a:gd name="connsiteX10" fmla="*/ 22615 w 25364"/>
                <a:gd name="connsiteY10" fmla="*/ 168683 h 16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64" h="168932">
                  <a:moveTo>
                    <a:pt x="23115" y="168933"/>
                  </a:moveTo>
                  <a:cubicBezTo>
                    <a:pt x="22690" y="168246"/>
                    <a:pt x="22690" y="167371"/>
                    <a:pt x="23115" y="166684"/>
                  </a:cubicBezTo>
                  <a:cubicBezTo>
                    <a:pt x="23665" y="166059"/>
                    <a:pt x="24614" y="166009"/>
                    <a:pt x="25227" y="166546"/>
                  </a:cubicBezTo>
                  <a:cubicBezTo>
                    <a:pt x="25277" y="166596"/>
                    <a:pt x="25326" y="166634"/>
                    <a:pt x="25364" y="166684"/>
                  </a:cubicBezTo>
                  <a:lnTo>
                    <a:pt x="25364" y="166684"/>
                  </a:lnTo>
                  <a:lnTo>
                    <a:pt x="3748" y="5748"/>
                  </a:lnTo>
                  <a:lnTo>
                    <a:pt x="0" y="0"/>
                  </a:lnTo>
                  <a:cubicBezTo>
                    <a:pt x="0" y="0"/>
                    <a:pt x="0" y="0"/>
                    <a:pt x="0" y="0"/>
                  </a:cubicBezTo>
                  <a:lnTo>
                    <a:pt x="0" y="0"/>
                  </a:lnTo>
                  <a:lnTo>
                    <a:pt x="21616" y="161311"/>
                  </a:lnTo>
                  <a:lnTo>
                    <a:pt x="22615" y="168683"/>
                  </a:lnTo>
                  <a:close/>
                </a:path>
              </a:pathLst>
            </a:custGeom>
            <a:solidFill>
              <a:srgbClr val="000000"/>
            </a:solidFill>
            <a:ln w="12483" cap="flat">
              <a:noFill/>
              <a:prstDash val="solid"/>
              <a:miter/>
            </a:ln>
          </p:spPr>
          <p:txBody>
            <a:bodyPr rtlCol="0" anchor="ctr"/>
            <a:lstStyle/>
            <a:p>
              <a:endParaRPr lang="en-US"/>
            </a:p>
          </p:txBody>
        </p:sp>
        <p:sp>
          <p:nvSpPr>
            <p:cNvPr id="1310" name="Freeform: Shape 1309">
              <a:extLst>
                <a:ext uri="{FF2B5EF4-FFF2-40B4-BE49-F238E27FC236}">
                  <a16:creationId xmlns:a16="http://schemas.microsoft.com/office/drawing/2014/main" id="{B0AA5D0C-CC67-4363-B384-062949454CF9}"/>
                </a:ext>
              </a:extLst>
            </p:cNvPr>
            <p:cNvSpPr/>
            <p:nvPr/>
          </p:nvSpPr>
          <p:spPr>
            <a:xfrm>
              <a:off x="7519156" y="4041770"/>
              <a:ext cx="59099" cy="420707"/>
            </a:xfrm>
            <a:custGeom>
              <a:avLst/>
              <a:gdLst>
                <a:gd name="connsiteX0" fmla="*/ 56850 w 59099"/>
                <a:gd name="connsiteY0" fmla="*/ 418708 h 420707"/>
                <a:gd name="connsiteX1" fmla="*/ 58762 w 59099"/>
                <a:gd name="connsiteY1" fmla="*/ 418371 h 420707"/>
                <a:gd name="connsiteX2" fmla="*/ 59099 w 59099"/>
                <a:gd name="connsiteY2" fmla="*/ 418708 h 420707"/>
                <a:gd name="connsiteX3" fmla="*/ 59099 w 59099"/>
                <a:gd name="connsiteY3" fmla="*/ 418708 h 420707"/>
                <a:gd name="connsiteX4" fmla="*/ 3748 w 59099"/>
                <a:gd name="connsiteY4" fmla="*/ 5748 h 420707"/>
                <a:gd name="connsiteX5" fmla="*/ 0 w 59099"/>
                <a:gd name="connsiteY5" fmla="*/ 0 h 420707"/>
                <a:gd name="connsiteX6" fmla="*/ 0 w 59099"/>
                <a:gd name="connsiteY6" fmla="*/ 0 h 420707"/>
                <a:gd name="connsiteX7" fmla="*/ 0 w 59099"/>
                <a:gd name="connsiteY7" fmla="*/ 0 h 420707"/>
                <a:gd name="connsiteX8" fmla="*/ 56226 w 59099"/>
                <a:gd name="connsiteY8" fmla="*/ 420707 h 420707"/>
                <a:gd name="connsiteX9" fmla="*/ 56226 w 59099"/>
                <a:gd name="connsiteY9" fmla="*/ 420707 h 420707"/>
                <a:gd name="connsiteX10" fmla="*/ 56850 w 59099"/>
                <a:gd name="connsiteY10" fmla="*/ 418708 h 42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099" h="420707">
                  <a:moveTo>
                    <a:pt x="56850" y="418708"/>
                  </a:moveTo>
                  <a:cubicBezTo>
                    <a:pt x="57288" y="418083"/>
                    <a:pt x="58150" y="417933"/>
                    <a:pt x="58762" y="418371"/>
                  </a:cubicBezTo>
                  <a:cubicBezTo>
                    <a:pt x="58899" y="418471"/>
                    <a:pt x="59012" y="418583"/>
                    <a:pt x="59099" y="418708"/>
                  </a:cubicBezTo>
                  <a:lnTo>
                    <a:pt x="59099" y="418708"/>
                  </a:lnTo>
                  <a:lnTo>
                    <a:pt x="3748" y="5748"/>
                  </a:lnTo>
                  <a:lnTo>
                    <a:pt x="0" y="0"/>
                  </a:lnTo>
                  <a:cubicBezTo>
                    <a:pt x="0" y="0"/>
                    <a:pt x="0" y="0"/>
                    <a:pt x="0" y="0"/>
                  </a:cubicBezTo>
                  <a:cubicBezTo>
                    <a:pt x="0" y="0"/>
                    <a:pt x="0" y="0"/>
                    <a:pt x="0" y="0"/>
                  </a:cubicBezTo>
                  <a:lnTo>
                    <a:pt x="56226" y="420707"/>
                  </a:lnTo>
                  <a:lnTo>
                    <a:pt x="56226" y="420707"/>
                  </a:lnTo>
                  <a:cubicBezTo>
                    <a:pt x="56063" y="419983"/>
                    <a:pt x="56301" y="419220"/>
                    <a:pt x="56850" y="418708"/>
                  </a:cubicBezTo>
                  <a:close/>
                </a:path>
              </a:pathLst>
            </a:custGeom>
            <a:solidFill>
              <a:srgbClr val="000000"/>
            </a:solidFill>
            <a:ln w="12483" cap="flat">
              <a:noFill/>
              <a:prstDash val="solid"/>
              <a:miter/>
            </a:ln>
          </p:spPr>
          <p:txBody>
            <a:bodyPr rtlCol="0" anchor="ctr"/>
            <a:lstStyle/>
            <a:p>
              <a:endParaRPr lang="en-US"/>
            </a:p>
          </p:txBody>
        </p:sp>
        <p:sp>
          <p:nvSpPr>
            <p:cNvPr id="1311" name="Freeform: Shape 1310">
              <a:extLst>
                <a:ext uri="{FF2B5EF4-FFF2-40B4-BE49-F238E27FC236}">
                  <a16:creationId xmlns:a16="http://schemas.microsoft.com/office/drawing/2014/main" id="{1C117770-C739-4671-85CD-EA7B541126D2}"/>
                </a:ext>
              </a:extLst>
            </p:cNvPr>
            <p:cNvSpPr/>
            <p:nvPr/>
          </p:nvSpPr>
          <p:spPr>
            <a:xfrm>
              <a:off x="8553584" y="5881287"/>
              <a:ext cx="7246" cy="47356"/>
            </a:xfrm>
            <a:custGeom>
              <a:avLst/>
              <a:gdLst>
                <a:gd name="connsiteX0" fmla="*/ 0 w 7246"/>
                <a:gd name="connsiteY0" fmla="*/ 0 h 47356"/>
                <a:gd name="connsiteX1" fmla="*/ 4248 w 7246"/>
                <a:gd name="connsiteY1" fmla="*/ 47356 h 47356"/>
                <a:gd name="connsiteX2" fmla="*/ 5997 w 7246"/>
                <a:gd name="connsiteY2" fmla="*/ 46356 h 47356"/>
                <a:gd name="connsiteX3" fmla="*/ 5997 w 7246"/>
                <a:gd name="connsiteY3" fmla="*/ 46356 h 47356"/>
                <a:gd name="connsiteX4" fmla="*/ 7247 w 7246"/>
                <a:gd name="connsiteY4" fmla="*/ 45607 h 47356"/>
                <a:gd name="connsiteX5" fmla="*/ 3249 w 7246"/>
                <a:gd name="connsiteY5" fmla="*/ 1125 h 47356"/>
                <a:gd name="connsiteX6" fmla="*/ 0 w 7246"/>
                <a:gd name="connsiteY6" fmla="*/ 0 h 4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6" h="47356">
                  <a:moveTo>
                    <a:pt x="0" y="0"/>
                  </a:moveTo>
                  <a:lnTo>
                    <a:pt x="4248" y="47356"/>
                  </a:lnTo>
                  <a:lnTo>
                    <a:pt x="5997" y="46356"/>
                  </a:lnTo>
                  <a:lnTo>
                    <a:pt x="5997" y="46356"/>
                  </a:lnTo>
                  <a:lnTo>
                    <a:pt x="7247" y="45607"/>
                  </a:lnTo>
                  <a:lnTo>
                    <a:pt x="3249" y="1125"/>
                  </a:lnTo>
                  <a:cubicBezTo>
                    <a:pt x="2099" y="999"/>
                    <a:pt x="987" y="612"/>
                    <a:pt x="0" y="0"/>
                  </a:cubicBezTo>
                  <a:close/>
                </a:path>
              </a:pathLst>
            </a:custGeom>
            <a:solidFill>
              <a:srgbClr val="000000"/>
            </a:solidFill>
            <a:ln w="12483" cap="flat">
              <a:noFill/>
              <a:prstDash val="solid"/>
              <a:miter/>
            </a:ln>
          </p:spPr>
          <p:txBody>
            <a:bodyPr rtlCol="0" anchor="ctr"/>
            <a:lstStyle/>
            <a:p>
              <a:endParaRPr lang="en-US"/>
            </a:p>
          </p:txBody>
        </p:sp>
        <p:sp>
          <p:nvSpPr>
            <p:cNvPr id="1312" name="Freeform: Shape 1311">
              <a:extLst>
                <a:ext uri="{FF2B5EF4-FFF2-40B4-BE49-F238E27FC236}">
                  <a16:creationId xmlns:a16="http://schemas.microsoft.com/office/drawing/2014/main" id="{C67FEBDB-DB78-4882-B111-3434FCEF6A45}"/>
                </a:ext>
              </a:extLst>
            </p:cNvPr>
            <p:cNvSpPr/>
            <p:nvPr/>
          </p:nvSpPr>
          <p:spPr>
            <a:xfrm>
              <a:off x="8560082" y="5876039"/>
              <a:ext cx="14993" cy="49105"/>
            </a:xfrm>
            <a:custGeom>
              <a:avLst/>
              <a:gdLst>
                <a:gd name="connsiteX0" fmla="*/ 5248 w 14993"/>
                <a:gd name="connsiteY0" fmla="*/ 3249 h 49105"/>
                <a:gd name="connsiteX1" fmla="*/ 0 w 14993"/>
                <a:gd name="connsiteY1" fmla="*/ 5873 h 49105"/>
                <a:gd name="connsiteX2" fmla="*/ 3873 w 14993"/>
                <a:gd name="connsiteY2" fmla="*/ 49105 h 49105"/>
                <a:gd name="connsiteX3" fmla="*/ 14993 w 14993"/>
                <a:gd name="connsiteY3" fmla="*/ 42733 h 49105"/>
                <a:gd name="connsiteX4" fmla="*/ 11120 w 14993"/>
                <a:gd name="connsiteY4" fmla="*/ 0 h 4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93" h="49105">
                  <a:moveTo>
                    <a:pt x="5248" y="3249"/>
                  </a:moveTo>
                  <a:cubicBezTo>
                    <a:pt x="3261" y="3536"/>
                    <a:pt x="1424" y="4461"/>
                    <a:pt x="0" y="5873"/>
                  </a:cubicBezTo>
                  <a:lnTo>
                    <a:pt x="3873" y="49105"/>
                  </a:lnTo>
                  <a:lnTo>
                    <a:pt x="14993" y="42733"/>
                  </a:lnTo>
                  <a:lnTo>
                    <a:pt x="11120" y="0"/>
                  </a:lnTo>
                  <a:close/>
                </a:path>
              </a:pathLst>
            </a:custGeom>
            <a:solidFill>
              <a:srgbClr val="000000"/>
            </a:solidFill>
            <a:ln w="12483" cap="flat">
              <a:noFill/>
              <a:prstDash val="solid"/>
              <a:miter/>
            </a:ln>
          </p:spPr>
          <p:txBody>
            <a:bodyPr rtlCol="0" anchor="ctr"/>
            <a:lstStyle/>
            <a:p>
              <a:endParaRPr lang="en-US"/>
            </a:p>
          </p:txBody>
        </p:sp>
        <p:sp>
          <p:nvSpPr>
            <p:cNvPr id="1313" name="Freeform: Shape 1312">
              <a:extLst>
                <a:ext uri="{FF2B5EF4-FFF2-40B4-BE49-F238E27FC236}">
                  <a16:creationId xmlns:a16="http://schemas.microsoft.com/office/drawing/2014/main" id="{B993BCA8-09DC-4AE3-A8CC-E2528F55EB7E}"/>
                </a:ext>
              </a:extLst>
            </p:cNvPr>
            <p:cNvSpPr/>
            <p:nvPr/>
          </p:nvSpPr>
          <p:spPr>
            <a:xfrm>
              <a:off x="7598553" y="4630028"/>
              <a:ext cx="130512" cy="198677"/>
            </a:xfrm>
            <a:custGeom>
              <a:avLst/>
              <a:gdLst>
                <a:gd name="connsiteX0" fmla="*/ 129513 w 130512"/>
                <a:gd name="connsiteY0" fmla="*/ 196804 h 198677"/>
                <a:gd name="connsiteX1" fmla="*/ 130512 w 130512"/>
                <a:gd name="connsiteY1" fmla="*/ 196804 h 198677"/>
                <a:gd name="connsiteX2" fmla="*/ 130512 w 130512"/>
                <a:gd name="connsiteY2" fmla="*/ 196804 h 198677"/>
                <a:gd name="connsiteX3" fmla="*/ 130512 w 130512"/>
                <a:gd name="connsiteY3" fmla="*/ 196804 h 198677"/>
                <a:gd name="connsiteX4" fmla="*/ 2568 w 130512"/>
                <a:gd name="connsiteY4" fmla="*/ 507 h 198677"/>
                <a:gd name="connsiteX5" fmla="*/ 2568 w 130512"/>
                <a:gd name="connsiteY5" fmla="*/ 507 h 198677"/>
                <a:gd name="connsiteX6" fmla="*/ 456 w 130512"/>
                <a:gd name="connsiteY6" fmla="*/ 370 h 198677"/>
                <a:gd name="connsiteX7" fmla="*/ 319 w 130512"/>
                <a:gd name="connsiteY7" fmla="*/ 507 h 198677"/>
                <a:gd name="connsiteX8" fmla="*/ 319 w 130512"/>
                <a:gd name="connsiteY8" fmla="*/ 2756 h 198677"/>
                <a:gd name="connsiteX9" fmla="*/ 128138 w 130512"/>
                <a:gd name="connsiteY9" fmla="*/ 198678 h 19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2" h="198677">
                  <a:moveTo>
                    <a:pt x="129513" y="196804"/>
                  </a:moveTo>
                  <a:lnTo>
                    <a:pt x="130512" y="196804"/>
                  </a:lnTo>
                  <a:cubicBezTo>
                    <a:pt x="130512" y="196804"/>
                    <a:pt x="130512" y="196804"/>
                    <a:pt x="130512" y="196804"/>
                  </a:cubicBezTo>
                  <a:cubicBezTo>
                    <a:pt x="130512" y="196804"/>
                    <a:pt x="130512" y="196804"/>
                    <a:pt x="130512" y="196804"/>
                  </a:cubicBezTo>
                  <a:lnTo>
                    <a:pt x="2568" y="507"/>
                  </a:lnTo>
                  <a:lnTo>
                    <a:pt x="2568" y="507"/>
                  </a:lnTo>
                  <a:cubicBezTo>
                    <a:pt x="2018" y="-117"/>
                    <a:pt x="1068" y="-167"/>
                    <a:pt x="456" y="370"/>
                  </a:cubicBezTo>
                  <a:cubicBezTo>
                    <a:pt x="406" y="420"/>
                    <a:pt x="356" y="457"/>
                    <a:pt x="319" y="507"/>
                  </a:cubicBezTo>
                  <a:cubicBezTo>
                    <a:pt x="-106" y="1194"/>
                    <a:pt x="-106" y="2069"/>
                    <a:pt x="319" y="2756"/>
                  </a:cubicBezTo>
                  <a:lnTo>
                    <a:pt x="128138" y="198678"/>
                  </a:lnTo>
                  <a:close/>
                </a:path>
              </a:pathLst>
            </a:custGeom>
            <a:solidFill>
              <a:srgbClr val="000000"/>
            </a:solidFill>
            <a:ln w="12483" cap="flat">
              <a:noFill/>
              <a:prstDash val="solid"/>
              <a:miter/>
            </a:ln>
          </p:spPr>
          <p:txBody>
            <a:bodyPr rtlCol="0" anchor="ctr"/>
            <a:lstStyle/>
            <a:p>
              <a:endParaRPr lang="en-US"/>
            </a:p>
          </p:txBody>
        </p:sp>
        <p:sp>
          <p:nvSpPr>
            <p:cNvPr id="1314" name="Freeform: Shape 1313">
              <a:extLst>
                <a:ext uri="{FF2B5EF4-FFF2-40B4-BE49-F238E27FC236}">
                  <a16:creationId xmlns:a16="http://schemas.microsoft.com/office/drawing/2014/main" id="{6A106B93-3E1A-4327-A571-16A3ADE6A66B}"/>
                </a:ext>
              </a:extLst>
            </p:cNvPr>
            <p:cNvSpPr/>
            <p:nvPr/>
          </p:nvSpPr>
          <p:spPr>
            <a:xfrm>
              <a:off x="7575938" y="4460640"/>
              <a:ext cx="319430" cy="484894"/>
            </a:xfrm>
            <a:custGeom>
              <a:avLst/>
              <a:gdLst>
                <a:gd name="connsiteX0" fmla="*/ 319431 w 319430"/>
                <a:gd name="connsiteY0" fmla="*/ 483020 h 484894"/>
                <a:gd name="connsiteX1" fmla="*/ 2568 w 319430"/>
                <a:gd name="connsiteY1" fmla="*/ 588 h 484894"/>
                <a:gd name="connsiteX2" fmla="*/ 2568 w 319430"/>
                <a:gd name="connsiteY2" fmla="*/ 588 h 484894"/>
                <a:gd name="connsiteX3" fmla="*/ 656 w 319430"/>
                <a:gd name="connsiteY3" fmla="*/ 250 h 484894"/>
                <a:gd name="connsiteX4" fmla="*/ 319 w 319430"/>
                <a:gd name="connsiteY4" fmla="*/ 588 h 484894"/>
                <a:gd name="connsiteX5" fmla="*/ 319 w 319430"/>
                <a:gd name="connsiteY5" fmla="*/ 2837 h 484894"/>
                <a:gd name="connsiteX6" fmla="*/ 319 w 319430"/>
                <a:gd name="connsiteY6" fmla="*/ 2837 h 484894"/>
                <a:gd name="connsiteX7" fmla="*/ 4067 w 319430"/>
                <a:gd name="connsiteY7" fmla="*/ 8585 h 484894"/>
                <a:gd name="connsiteX8" fmla="*/ 316432 w 319430"/>
                <a:gd name="connsiteY8" fmla="*/ 484895 h 48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30" h="484894">
                  <a:moveTo>
                    <a:pt x="319431" y="483020"/>
                  </a:moveTo>
                  <a:lnTo>
                    <a:pt x="2568" y="588"/>
                  </a:lnTo>
                  <a:lnTo>
                    <a:pt x="2568" y="588"/>
                  </a:lnTo>
                  <a:cubicBezTo>
                    <a:pt x="2130" y="-37"/>
                    <a:pt x="1268" y="-187"/>
                    <a:pt x="656" y="250"/>
                  </a:cubicBezTo>
                  <a:cubicBezTo>
                    <a:pt x="519" y="350"/>
                    <a:pt x="406" y="463"/>
                    <a:pt x="319" y="588"/>
                  </a:cubicBezTo>
                  <a:cubicBezTo>
                    <a:pt x="-106" y="1275"/>
                    <a:pt x="-106" y="2150"/>
                    <a:pt x="319" y="2837"/>
                  </a:cubicBezTo>
                  <a:cubicBezTo>
                    <a:pt x="319" y="2837"/>
                    <a:pt x="319" y="2837"/>
                    <a:pt x="319" y="2837"/>
                  </a:cubicBezTo>
                  <a:lnTo>
                    <a:pt x="4067" y="8585"/>
                  </a:lnTo>
                  <a:lnTo>
                    <a:pt x="316432" y="484895"/>
                  </a:lnTo>
                  <a:close/>
                </a:path>
              </a:pathLst>
            </a:custGeom>
            <a:solidFill>
              <a:srgbClr val="000000"/>
            </a:solidFill>
            <a:ln w="12483" cap="flat">
              <a:noFill/>
              <a:prstDash val="solid"/>
              <a:miter/>
            </a:ln>
          </p:spPr>
          <p:txBody>
            <a:bodyPr rtlCol="0" anchor="ctr"/>
            <a:lstStyle/>
            <a:p>
              <a:endParaRPr lang="en-US"/>
            </a:p>
          </p:txBody>
        </p:sp>
        <p:sp>
          <p:nvSpPr>
            <p:cNvPr id="1315" name="Freeform: Shape 1314">
              <a:extLst>
                <a:ext uri="{FF2B5EF4-FFF2-40B4-BE49-F238E27FC236}">
                  <a16:creationId xmlns:a16="http://schemas.microsoft.com/office/drawing/2014/main" id="{89F0B0C6-3D9B-4743-A46E-3DF248FE42F6}"/>
                </a:ext>
              </a:extLst>
            </p:cNvPr>
            <p:cNvSpPr/>
            <p:nvPr/>
          </p:nvSpPr>
          <p:spPr>
            <a:xfrm>
              <a:off x="7518157" y="4040895"/>
              <a:ext cx="1003691" cy="1498777"/>
            </a:xfrm>
            <a:custGeom>
              <a:avLst/>
              <a:gdLst>
                <a:gd name="connsiteX0" fmla="*/ 1003067 w 1003691"/>
                <a:gd name="connsiteY0" fmla="*/ 1498527 h 1498777"/>
                <a:gd name="connsiteX1" fmla="*/ 1003067 w 1003691"/>
                <a:gd name="connsiteY1" fmla="*/ 1497778 h 1498777"/>
                <a:gd name="connsiteX2" fmla="*/ 1003067 w 1003691"/>
                <a:gd name="connsiteY2" fmla="*/ 1497028 h 1498777"/>
                <a:gd name="connsiteX3" fmla="*/ 1003691 w 1003691"/>
                <a:gd name="connsiteY3" fmla="*/ 1497028 h 1498777"/>
                <a:gd name="connsiteX4" fmla="*/ 4123 w 1003691"/>
                <a:gd name="connsiteY4" fmla="*/ 1624 h 1498777"/>
                <a:gd name="connsiteX5" fmla="*/ 2999 w 1003691"/>
                <a:gd name="connsiteY5" fmla="*/ 0 h 1498777"/>
                <a:gd name="connsiteX6" fmla="*/ 2999 w 1003691"/>
                <a:gd name="connsiteY6" fmla="*/ 0 h 1498777"/>
                <a:gd name="connsiteX7" fmla="*/ 1624 w 1003691"/>
                <a:gd name="connsiteY7" fmla="*/ 2249 h 1498777"/>
                <a:gd name="connsiteX8" fmla="*/ 0 w 1003691"/>
                <a:gd name="connsiteY8" fmla="*/ 1000 h 1498777"/>
                <a:gd name="connsiteX9" fmla="*/ 0 w 1003691"/>
                <a:gd name="connsiteY9" fmla="*/ 1000 h 1498777"/>
                <a:gd name="connsiteX10" fmla="*/ 3748 w 1003691"/>
                <a:gd name="connsiteY10" fmla="*/ 6747 h 1498777"/>
                <a:gd name="connsiteX11" fmla="*/ 1001317 w 1003691"/>
                <a:gd name="connsiteY11" fmla="*/ 1498778 h 1498777"/>
                <a:gd name="connsiteX12" fmla="*/ 1003067 w 1003691"/>
                <a:gd name="connsiteY12" fmla="*/ 1498527 h 149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3691" h="1498777">
                  <a:moveTo>
                    <a:pt x="1003067" y="1498527"/>
                  </a:moveTo>
                  <a:lnTo>
                    <a:pt x="1003067" y="1497778"/>
                  </a:lnTo>
                  <a:cubicBezTo>
                    <a:pt x="1003067" y="1497778"/>
                    <a:pt x="1003067" y="1497778"/>
                    <a:pt x="1003067" y="1497028"/>
                  </a:cubicBezTo>
                  <a:lnTo>
                    <a:pt x="1003691" y="1497028"/>
                  </a:lnTo>
                  <a:lnTo>
                    <a:pt x="4123" y="1624"/>
                  </a:lnTo>
                  <a:lnTo>
                    <a:pt x="2999" y="0"/>
                  </a:lnTo>
                  <a:lnTo>
                    <a:pt x="2999" y="0"/>
                  </a:lnTo>
                  <a:cubicBezTo>
                    <a:pt x="3236" y="1000"/>
                    <a:pt x="2624" y="1999"/>
                    <a:pt x="1624" y="2249"/>
                  </a:cubicBezTo>
                  <a:cubicBezTo>
                    <a:pt x="837" y="2324"/>
                    <a:pt x="125" y="1774"/>
                    <a:pt x="0" y="1000"/>
                  </a:cubicBezTo>
                  <a:cubicBezTo>
                    <a:pt x="0" y="1000"/>
                    <a:pt x="0" y="1000"/>
                    <a:pt x="0" y="1000"/>
                  </a:cubicBezTo>
                  <a:lnTo>
                    <a:pt x="3748" y="6747"/>
                  </a:lnTo>
                  <a:lnTo>
                    <a:pt x="1001317" y="1498778"/>
                  </a:lnTo>
                  <a:cubicBezTo>
                    <a:pt x="1001867" y="1498527"/>
                    <a:pt x="1002467" y="1498440"/>
                    <a:pt x="1003067" y="1498527"/>
                  </a:cubicBezTo>
                  <a:close/>
                </a:path>
              </a:pathLst>
            </a:custGeom>
            <a:solidFill>
              <a:srgbClr val="000000"/>
            </a:solidFill>
            <a:ln w="12483" cap="flat">
              <a:noFill/>
              <a:prstDash val="solid"/>
              <a:miter/>
            </a:ln>
          </p:spPr>
          <p:txBody>
            <a:bodyPr rtlCol="0" anchor="ctr"/>
            <a:lstStyle/>
            <a:p>
              <a:endParaRPr lang="en-US"/>
            </a:p>
          </p:txBody>
        </p:sp>
        <p:sp>
          <p:nvSpPr>
            <p:cNvPr id="1316" name="Freeform: Shape 1315">
              <a:extLst>
                <a:ext uri="{FF2B5EF4-FFF2-40B4-BE49-F238E27FC236}">
                  <a16:creationId xmlns:a16="http://schemas.microsoft.com/office/drawing/2014/main" id="{C2F32AA2-0273-42F5-A249-DD1AA52C9E46}"/>
                </a:ext>
              </a:extLst>
            </p:cNvPr>
            <p:cNvSpPr/>
            <p:nvPr/>
          </p:nvSpPr>
          <p:spPr>
            <a:xfrm>
              <a:off x="11531914" y="2323006"/>
              <a:ext cx="17125" cy="231107"/>
            </a:xfrm>
            <a:custGeom>
              <a:avLst/>
              <a:gdLst>
                <a:gd name="connsiteX0" fmla="*/ 16126 w 17125"/>
                <a:gd name="connsiteY0" fmla="*/ 2199 h 231107"/>
                <a:gd name="connsiteX1" fmla="*/ 14802 w 17125"/>
                <a:gd name="connsiteY1" fmla="*/ 100 h 231107"/>
                <a:gd name="connsiteX2" fmla="*/ 14627 w 17125"/>
                <a:gd name="connsiteY2" fmla="*/ 75 h 231107"/>
                <a:gd name="connsiteX3" fmla="*/ 13752 w 17125"/>
                <a:gd name="connsiteY3" fmla="*/ 75 h 231107"/>
                <a:gd name="connsiteX4" fmla="*/ 13752 w 17125"/>
                <a:gd name="connsiteY4" fmla="*/ 75 h 231107"/>
                <a:gd name="connsiteX5" fmla="*/ 13752 w 17125"/>
                <a:gd name="connsiteY5" fmla="*/ 75 h 231107"/>
                <a:gd name="connsiteX6" fmla="*/ 13752 w 17125"/>
                <a:gd name="connsiteY6" fmla="*/ 75 h 231107"/>
                <a:gd name="connsiteX7" fmla="*/ 13752 w 17125"/>
                <a:gd name="connsiteY7" fmla="*/ 1075 h 231107"/>
                <a:gd name="connsiteX8" fmla="*/ 8 w 17125"/>
                <a:gd name="connsiteY8" fmla="*/ 227609 h 231107"/>
                <a:gd name="connsiteX9" fmla="*/ 8 w 17125"/>
                <a:gd name="connsiteY9" fmla="*/ 228984 h 231107"/>
                <a:gd name="connsiteX10" fmla="*/ 1507 w 17125"/>
                <a:gd name="connsiteY10" fmla="*/ 231108 h 231107"/>
                <a:gd name="connsiteX11" fmla="*/ 3256 w 17125"/>
                <a:gd name="connsiteY11" fmla="*/ 229234 h 231107"/>
                <a:gd name="connsiteX12" fmla="*/ 3256 w 17125"/>
                <a:gd name="connsiteY12" fmla="*/ 228234 h 231107"/>
                <a:gd name="connsiteX13" fmla="*/ 17126 w 17125"/>
                <a:gd name="connsiteY13" fmla="*/ 1574 h 23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25" h="231107">
                  <a:moveTo>
                    <a:pt x="16126" y="2199"/>
                  </a:moveTo>
                  <a:cubicBezTo>
                    <a:pt x="16338" y="1262"/>
                    <a:pt x="15751" y="325"/>
                    <a:pt x="14802" y="100"/>
                  </a:cubicBezTo>
                  <a:cubicBezTo>
                    <a:pt x="14752" y="87"/>
                    <a:pt x="14689" y="87"/>
                    <a:pt x="14627" y="75"/>
                  </a:cubicBezTo>
                  <a:cubicBezTo>
                    <a:pt x="14339" y="-25"/>
                    <a:pt x="14039" y="-25"/>
                    <a:pt x="13752" y="75"/>
                  </a:cubicBezTo>
                  <a:lnTo>
                    <a:pt x="13752" y="75"/>
                  </a:lnTo>
                  <a:cubicBezTo>
                    <a:pt x="13752" y="75"/>
                    <a:pt x="13752" y="75"/>
                    <a:pt x="13752" y="75"/>
                  </a:cubicBezTo>
                  <a:lnTo>
                    <a:pt x="13752" y="75"/>
                  </a:lnTo>
                  <a:lnTo>
                    <a:pt x="13752" y="1075"/>
                  </a:lnTo>
                  <a:lnTo>
                    <a:pt x="8" y="227609"/>
                  </a:lnTo>
                  <a:lnTo>
                    <a:pt x="8" y="228984"/>
                  </a:lnTo>
                  <a:cubicBezTo>
                    <a:pt x="-80" y="229958"/>
                    <a:pt x="558" y="230870"/>
                    <a:pt x="1507" y="231108"/>
                  </a:cubicBezTo>
                  <a:cubicBezTo>
                    <a:pt x="2495" y="231045"/>
                    <a:pt x="3256" y="230221"/>
                    <a:pt x="3256" y="229234"/>
                  </a:cubicBezTo>
                  <a:lnTo>
                    <a:pt x="3256" y="228234"/>
                  </a:lnTo>
                  <a:lnTo>
                    <a:pt x="17126" y="1574"/>
                  </a:lnTo>
                  <a:close/>
                </a:path>
              </a:pathLst>
            </a:custGeom>
            <a:solidFill>
              <a:srgbClr val="000000"/>
            </a:solidFill>
            <a:ln w="12483" cap="flat">
              <a:noFill/>
              <a:prstDash val="solid"/>
              <a:miter/>
            </a:ln>
          </p:spPr>
          <p:txBody>
            <a:bodyPr rtlCol="0" anchor="ctr"/>
            <a:lstStyle/>
            <a:p>
              <a:endParaRPr lang="en-US"/>
            </a:p>
          </p:txBody>
        </p:sp>
        <p:sp>
          <p:nvSpPr>
            <p:cNvPr id="1317" name="Freeform: Shape 1316">
              <a:extLst>
                <a:ext uri="{FF2B5EF4-FFF2-40B4-BE49-F238E27FC236}">
                  <a16:creationId xmlns:a16="http://schemas.microsoft.com/office/drawing/2014/main" id="{B5597308-B76B-48BF-BE0E-93B8A678599D}"/>
                </a:ext>
              </a:extLst>
            </p:cNvPr>
            <p:cNvSpPr/>
            <p:nvPr/>
          </p:nvSpPr>
          <p:spPr>
            <a:xfrm>
              <a:off x="7863508" y="6470302"/>
              <a:ext cx="56725" cy="402839"/>
            </a:xfrm>
            <a:custGeom>
              <a:avLst/>
              <a:gdLst>
                <a:gd name="connsiteX0" fmla="*/ 1124 w 56725"/>
                <a:gd name="connsiteY0" fmla="*/ 500 h 402839"/>
                <a:gd name="connsiteX1" fmla="*/ 0 w 56725"/>
                <a:gd name="connsiteY1" fmla="*/ 500 h 402839"/>
                <a:gd name="connsiteX2" fmla="*/ 0 w 56725"/>
                <a:gd name="connsiteY2" fmla="*/ 500 h 402839"/>
                <a:gd name="connsiteX3" fmla="*/ 0 w 56725"/>
                <a:gd name="connsiteY3" fmla="*/ 500 h 402839"/>
                <a:gd name="connsiteX4" fmla="*/ 0 w 56725"/>
                <a:gd name="connsiteY4" fmla="*/ 500 h 402839"/>
                <a:gd name="connsiteX5" fmla="*/ 53477 w 56725"/>
                <a:gd name="connsiteY5" fmla="*/ 402839 h 402839"/>
                <a:gd name="connsiteX6" fmla="*/ 56725 w 56725"/>
                <a:gd name="connsiteY6" fmla="*/ 402839 h 402839"/>
                <a:gd name="connsiteX7" fmla="*/ 1124 w 56725"/>
                <a:gd name="connsiteY7" fmla="*/ 0 h 40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25" h="402839">
                  <a:moveTo>
                    <a:pt x="1124" y="500"/>
                  </a:moveTo>
                  <a:lnTo>
                    <a:pt x="0" y="500"/>
                  </a:lnTo>
                  <a:lnTo>
                    <a:pt x="0" y="500"/>
                  </a:lnTo>
                  <a:lnTo>
                    <a:pt x="0" y="500"/>
                  </a:lnTo>
                  <a:lnTo>
                    <a:pt x="0" y="500"/>
                  </a:lnTo>
                  <a:lnTo>
                    <a:pt x="53477" y="402839"/>
                  </a:lnTo>
                  <a:lnTo>
                    <a:pt x="56725" y="402839"/>
                  </a:lnTo>
                  <a:lnTo>
                    <a:pt x="1124" y="0"/>
                  </a:lnTo>
                  <a:close/>
                </a:path>
              </a:pathLst>
            </a:custGeom>
            <a:solidFill>
              <a:srgbClr val="000000"/>
            </a:solidFill>
            <a:ln w="12483" cap="flat">
              <a:noFill/>
              <a:prstDash val="solid"/>
              <a:miter/>
            </a:ln>
          </p:spPr>
          <p:txBody>
            <a:bodyPr rtlCol="0" anchor="ctr"/>
            <a:lstStyle/>
            <a:p>
              <a:endParaRPr lang="en-US"/>
            </a:p>
          </p:txBody>
        </p:sp>
        <p:sp>
          <p:nvSpPr>
            <p:cNvPr id="1318" name="Freeform: Shape 1317">
              <a:extLst>
                <a:ext uri="{FF2B5EF4-FFF2-40B4-BE49-F238E27FC236}">
                  <a16:creationId xmlns:a16="http://schemas.microsoft.com/office/drawing/2014/main" id="{19C6798A-F693-40B1-BE4E-E0A30326738E}"/>
                </a:ext>
              </a:extLst>
            </p:cNvPr>
            <p:cNvSpPr/>
            <p:nvPr/>
          </p:nvSpPr>
          <p:spPr>
            <a:xfrm>
              <a:off x="11576028" y="3502860"/>
              <a:ext cx="23989" cy="314624"/>
            </a:xfrm>
            <a:custGeom>
              <a:avLst/>
              <a:gdLst>
                <a:gd name="connsiteX0" fmla="*/ 2999 w 23989"/>
                <a:gd name="connsiteY0" fmla="*/ 314624 h 314624"/>
                <a:gd name="connsiteX1" fmla="*/ 23989 w 23989"/>
                <a:gd name="connsiteY1" fmla="*/ 0 h 314624"/>
                <a:gd name="connsiteX2" fmla="*/ 20741 w 23989"/>
                <a:gd name="connsiteY2" fmla="*/ 1874 h 314624"/>
                <a:gd name="connsiteX3" fmla="*/ 0 w 23989"/>
                <a:gd name="connsiteY3" fmla="*/ 311251 h 314624"/>
                <a:gd name="connsiteX4" fmla="*/ 2999 w 23989"/>
                <a:gd name="connsiteY4" fmla="*/ 314624 h 314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9" h="314624">
                  <a:moveTo>
                    <a:pt x="2999" y="314624"/>
                  </a:moveTo>
                  <a:lnTo>
                    <a:pt x="23989" y="0"/>
                  </a:lnTo>
                  <a:lnTo>
                    <a:pt x="20741" y="1874"/>
                  </a:lnTo>
                  <a:lnTo>
                    <a:pt x="0" y="311251"/>
                  </a:lnTo>
                  <a:lnTo>
                    <a:pt x="2999" y="314624"/>
                  </a:lnTo>
                  <a:close/>
                </a:path>
              </a:pathLst>
            </a:custGeom>
            <a:solidFill>
              <a:srgbClr val="000000"/>
            </a:solidFill>
            <a:ln w="12483" cap="flat">
              <a:noFill/>
              <a:prstDash val="solid"/>
              <a:miter/>
            </a:ln>
          </p:spPr>
          <p:txBody>
            <a:bodyPr rtlCol="0" anchor="ctr"/>
            <a:lstStyle/>
            <a:p>
              <a:endParaRPr lang="en-US"/>
            </a:p>
          </p:txBody>
        </p:sp>
        <p:sp>
          <p:nvSpPr>
            <p:cNvPr id="1319" name="Freeform: Shape 1318">
              <a:extLst>
                <a:ext uri="{FF2B5EF4-FFF2-40B4-BE49-F238E27FC236}">
                  <a16:creationId xmlns:a16="http://schemas.microsoft.com/office/drawing/2014/main" id="{6A5352B3-4C09-4518-B69F-DC764B0F43C7}"/>
                </a:ext>
              </a:extLst>
            </p:cNvPr>
            <p:cNvSpPr/>
            <p:nvPr/>
          </p:nvSpPr>
          <p:spPr>
            <a:xfrm>
              <a:off x="8698016" y="6400447"/>
              <a:ext cx="71975" cy="109089"/>
            </a:xfrm>
            <a:custGeom>
              <a:avLst/>
              <a:gdLst>
                <a:gd name="connsiteX0" fmla="*/ 8628 w 71975"/>
                <a:gd name="connsiteY0" fmla="*/ 9629 h 109089"/>
                <a:gd name="connsiteX1" fmla="*/ 2755 w 71975"/>
                <a:gd name="connsiteY1" fmla="*/ 507 h 109089"/>
                <a:gd name="connsiteX2" fmla="*/ 644 w 71975"/>
                <a:gd name="connsiteY2" fmla="*/ 370 h 109089"/>
                <a:gd name="connsiteX3" fmla="*/ 506 w 71975"/>
                <a:gd name="connsiteY3" fmla="*/ 507 h 109089"/>
                <a:gd name="connsiteX4" fmla="*/ 506 w 71975"/>
                <a:gd name="connsiteY4" fmla="*/ 3256 h 109089"/>
                <a:gd name="connsiteX5" fmla="*/ 5879 w 71975"/>
                <a:gd name="connsiteY5" fmla="*/ 11628 h 109089"/>
                <a:gd name="connsiteX6" fmla="*/ 12376 w 71975"/>
                <a:gd name="connsiteY6" fmla="*/ 21624 h 109089"/>
                <a:gd name="connsiteX7" fmla="*/ 68976 w 71975"/>
                <a:gd name="connsiteY7" fmla="*/ 109089 h 109089"/>
                <a:gd name="connsiteX8" fmla="*/ 71975 w 71975"/>
                <a:gd name="connsiteY8" fmla="*/ 107340 h 109089"/>
                <a:gd name="connsiteX9" fmla="*/ 11751 w 71975"/>
                <a:gd name="connsiteY9" fmla="*/ 14752 h 10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75" h="109089">
                  <a:moveTo>
                    <a:pt x="8628" y="9629"/>
                  </a:moveTo>
                  <a:lnTo>
                    <a:pt x="2755" y="507"/>
                  </a:lnTo>
                  <a:cubicBezTo>
                    <a:pt x="2205" y="-117"/>
                    <a:pt x="1256" y="-168"/>
                    <a:pt x="644" y="370"/>
                  </a:cubicBezTo>
                  <a:cubicBezTo>
                    <a:pt x="594" y="420"/>
                    <a:pt x="544" y="457"/>
                    <a:pt x="506" y="507"/>
                  </a:cubicBezTo>
                  <a:cubicBezTo>
                    <a:pt x="-169" y="1294"/>
                    <a:pt x="-169" y="2469"/>
                    <a:pt x="506" y="3256"/>
                  </a:cubicBezTo>
                  <a:lnTo>
                    <a:pt x="5879" y="11628"/>
                  </a:lnTo>
                  <a:lnTo>
                    <a:pt x="12376" y="21624"/>
                  </a:lnTo>
                  <a:lnTo>
                    <a:pt x="68976" y="109089"/>
                  </a:lnTo>
                  <a:lnTo>
                    <a:pt x="71975" y="107340"/>
                  </a:lnTo>
                  <a:lnTo>
                    <a:pt x="11751" y="14752"/>
                  </a:lnTo>
                  <a:close/>
                </a:path>
              </a:pathLst>
            </a:custGeom>
            <a:solidFill>
              <a:srgbClr val="000000"/>
            </a:solidFill>
            <a:ln w="12483" cap="flat">
              <a:noFill/>
              <a:prstDash val="solid"/>
              <a:miter/>
            </a:ln>
          </p:spPr>
          <p:txBody>
            <a:bodyPr rtlCol="0" anchor="ctr"/>
            <a:lstStyle/>
            <a:p>
              <a:endParaRPr lang="en-US"/>
            </a:p>
          </p:txBody>
        </p:sp>
        <p:sp>
          <p:nvSpPr>
            <p:cNvPr id="1320" name="Freeform: Shape 1319">
              <a:extLst>
                <a:ext uri="{FF2B5EF4-FFF2-40B4-BE49-F238E27FC236}">
                  <a16:creationId xmlns:a16="http://schemas.microsoft.com/office/drawing/2014/main" id="{0439DA69-1BA3-4095-A39B-E1B235F5322C}"/>
                </a:ext>
              </a:extLst>
            </p:cNvPr>
            <p:cNvSpPr/>
            <p:nvPr/>
          </p:nvSpPr>
          <p:spPr>
            <a:xfrm>
              <a:off x="11388110" y="2973821"/>
              <a:ext cx="228401" cy="251149"/>
            </a:xfrm>
            <a:custGeom>
              <a:avLst/>
              <a:gdLst>
                <a:gd name="connsiteX0" fmla="*/ 227402 w 228401"/>
                <a:gd name="connsiteY0" fmla="*/ 249900 h 251149"/>
                <a:gd name="connsiteX1" fmla="*/ 227402 w 228401"/>
                <a:gd name="connsiteY1" fmla="*/ 249900 h 251149"/>
                <a:gd name="connsiteX2" fmla="*/ 227402 w 228401"/>
                <a:gd name="connsiteY2" fmla="*/ 249276 h 251149"/>
                <a:gd name="connsiteX3" fmla="*/ 227402 w 228401"/>
                <a:gd name="connsiteY3" fmla="*/ 249276 h 251149"/>
                <a:gd name="connsiteX4" fmla="*/ 228401 w 228401"/>
                <a:gd name="connsiteY4" fmla="*/ 249276 h 251149"/>
                <a:gd name="connsiteX5" fmla="*/ 0 w 228401"/>
                <a:gd name="connsiteY5" fmla="*/ 0 h 251149"/>
                <a:gd name="connsiteX6" fmla="*/ 0 w 228401"/>
                <a:gd name="connsiteY6" fmla="*/ 0 h 251149"/>
                <a:gd name="connsiteX7" fmla="*/ 0 w 228401"/>
                <a:gd name="connsiteY7" fmla="*/ 4873 h 251149"/>
                <a:gd name="connsiteX8" fmla="*/ 227777 w 228401"/>
                <a:gd name="connsiteY8" fmla="*/ 251150 h 25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01" h="251149">
                  <a:moveTo>
                    <a:pt x="227402" y="249900"/>
                  </a:moveTo>
                  <a:lnTo>
                    <a:pt x="227402" y="249900"/>
                  </a:lnTo>
                  <a:lnTo>
                    <a:pt x="227402" y="249276"/>
                  </a:lnTo>
                  <a:lnTo>
                    <a:pt x="227402" y="249276"/>
                  </a:lnTo>
                  <a:lnTo>
                    <a:pt x="228401" y="249276"/>
                  </a:lnTo>
                  <a:lnTo>
                    <a:pt x="0" y="0"/>
                  </a:lnTo>
                  <a:lnTo>
                    <a:pt x="0" y="0"/>
                  </a:lnTo>
                  <a:lnTo>
                    <a:pt x="0" y="4873"/>
                  </a:lnTo>
                  <a:lnTo>
                    <a:pt x="227777" y="251150"/>
                  </a:lnTo>
                  <a:close/>
                </a:path>
              </a:pathLst>
            </a:custGeom>
            <a:solidFill>
              <a:srgbClr val="000000"/>
            </a:solidFill>
            <a:ln w="12483" cap="flat">
              <a:noFill/>
              <a:prstDash val="solid"/>
              <a:miter/>
            </a:ln>
          </p:spPr>
          <p:txBody>
            <a:bodyPr rtlCol="0" anchor="ctr"/>
            <a:lstStyle/>
            <a:p>
              <a:endParaRPr lang="en-US"/>
            </a:p>
          </p:txBody>
        </p:sp>
        <p:sp>
          <p:nvSpPr>
            <p:cNvPr id="1321" name="Freeform: Shape 1320">
              <a:extLst>
                <a:ext uri="{FF2B5EF4-FFF2-40B4-BE49-F238E27FC236}">
                  <a16:creationId xmlns:a16="http://schemas.microsoft.com/office/drawing/2014/main" id="{217874DE-C40C-477D-AC86-4818D6E42C4C}"/>
                </a:ext>
              </a:extLst>
            </p:cNvPr>
            <p:cNvSpPr/>
            <p:nvPr/>
          </p:nvSpPr>
          <p:spPr>
            <a:xfrm>
              <a:off x="9892381" y="5507561"/>
              <a:ext cx="176048" cy="236655"/>
            </a:xfrm>
            <a:custGeom>
              <a:avLst/>
              <a:gdLst>
                <a:gd name="connsiteX0" fmla="*/ 0 w 176048"/>
                <a:gd name="connsiteY0" fmla="*/ 1749 h 236655"/>
                <a:gd name="connsiteX1" fmla="*/ 173050 w 176048"/>
                <a:gd name="connsiteY1" fmla="*/ 236656 h 236655"/>
                <a:gd name="connsiteX2" fmla="*/ 176049 w 176048"/>
                <a:gd name="connsiteY2" fmla="*/ 234906 h 236655"/>
                <a:gd name="connsiteX3" fmla="*/ 2999 w 176048"/>
                <a:gd name="connsiteY3" fmla="*/ 0 h 236655"/>
                <a:gd name="connsiteX4" fmla="*/ 0 w 176048"/>
                <a:gd name="connsiteY4" fmla="*/ 1749 h 236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48" h="236655">
                  <a:moveTo>
                    <a:pt x="0" y="1749"/>
                  </a:moveTo>
                  <a:lnTo>
                    <a:pt x="173050" y="236656"/>
                  </a:lnTo>
                  <a:lnTo>
                    <a:pt x="176049" y="234906"/>
                  </a:lnTo>
                  <a:lnTo>
                    <a:pt x="2999" y="0"/>
                  </a:lnTo>
                  <a:lnTo>
                    <a:pt x="0" y="1749"/>
                  </a:lnTo>
                  <a:close/>
                </a:path>
              </a:pathLst>
            </a:custGeom>
            <a:solidFill>
              <a:srgbClr val="000000"/>
            </a:solidFill>
            <a:ln w="12483" cap="flat">
              <a:noFill/>
              <a:prstDash val="solid"/>
              <a:miter/>
            </a:ln>
          </p:spPr>
          <p:txBody>
            <a:bodyPr rtlCol="0" anchor="ctr"/>
            <a:lstStyle/>
            <a:p>
              <a:endParaRPr lang="en-US"/>
            </a:p>
          </p:txBody>
        </p:sp>
        <p:sp>
          <p:nvSpPr>
            <p:cNvPr id="1322" name="Freeform: Shape 1321">
              <a:extLst>
                <a:ext uri="{FF2B5EF4-FFF2-40B4-BE49-F238E27FC236}">
                  <a16:creationId xmlns:a16="http://schemas.microsoft.com/office/drawing/2014/main" id="{052BBFAF-A9F6-4F23-967A-ABA8B4B7A1CD}"/>
                </a:ext>
              </a:extLst>
            </p:cNvPr>
            <p:cNvSpPr/>
            <p:nvPr/>
          </p:nvSpPr>
          <p:spPr>
            <a:xfrm>
              <a:off x="9871015" y="5524554"/>
              <a:ext cx="171425" cy="235031"/>
            </a:xfrm>
            <a:custGeom>
              <a:avLst/>
              <a:gdLst>
                <a:gd name="connsiteX0" fmla="*/ 125 w 171425"/>
                <a:gd name="connsiteY0" fmla="*/ 5873 h 235031"/>
                <a:gd name="connsiteX1" fmla="*/ 168427 w 171425"/>
                <a:gd name="connsiteY1" fmla="*/ 235031 h 235031"/>
                <a:gd name="connsiteX2" fmla="*/ 171426 w 171425"/>
                <a:gd name="connsiteY2" fmla="*/ 233282 h 235031"/>
                <a:gd name="connsiteX3" fmla="*/ 0 w 171425"/>
                <a:gd name="connsiteY3" fmla="*/ 0 h 235031"/>
                <a:gd name="connsiteX4" fmla="*/ 125 w 171425"/>
                <a:gd name="connsiteY4" fmla="*/ 5873 h 235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25" h="235031">
                  <a:moveTo>
                    <a:pt x="125" y="5873"/>
                  </a:moveTo>
                  <a:lnTo>
                    <a:pt x="168427" y="235031"/>
                  </a:lnTo>
                  <a:lnTo>
                    <a:pt x="171426" y="233282"/>
                  </a:lnTo>
                  <a:lnTo>
                    <a:pt x="0" y="0"/>
                  </a:lnTo>
                  <a:lnTo>
                    <a:pt x="125" y="5873"/>
                  </a:lnTo>
                  <a:close/>
                </a:path>
              </a:pathLst>
            </a:custGeom>
            <a:solidFill>
              <a:srgbClr val="000000"/>
            </a:solidFill>
            <a:ln w="12483" cap="flat">
              <a:noFill/>
              <a:prstDash val="solid"/>
              <a:miter/>
            </a:ln>
          </p:spPr>
          <p:txBody>
            <a:bodyPr rtlCol="0" anchor="ctr"/>
            <a:lstStyle/>
            <a:p>
              <a:endParaRPr lang="en-US"/>
            </a:p>
          </p:txBody>
        </p:sp>
        <p:sp>
          <p:nvSpPr>
            <p:cNvPr id="1323" name="Freeform: Shape 1322">
              <a:extLst>
                <a:ext uri="{FF2B5EF4-FFF2-40B4-BE49-F238E27FC236}">
                  <a16:creationId xmlns:a16="http://schemas.microsoft.com/office/drawing/2014/main" id="{8C75AF2A-4681-4EFE-87AB-7264DF6F00F5}"/>
                </a:ext>
              </a:extLst>
            </p:cNvPr>
            <p:cNvSpPr/>
            <p:nvPr/>
          </p:nvSpPr>
          <p:spPr>
            <a:xfrm>
              <a:off x="8967293" y="6243054"/>
              <a:ext cx="51839" cy="75683"/>
            </a:xfrm>
            <a:custGeom>
              <a:avLst/>
              <a:gdLst>
                <a:gd name="connsiteX0" fmla="*/ 2611 w 51839"/>
                <a:gd name="connsiteY0" fmla="*/ 588 h 75683"/>
                <a:gd name="connsiteX1" fmla="*/ 887 w 51839"/>
                <a:gd name="connsiteY1" fmla="*/ 188 h 75683"/>
                <a:gd name="connsiteX2" fmla="*/ 487 w 51839"/>
                <a:gd name="connsiteY2" fmla="*/ 588 h 75683"/>
                <a:gd name="connsiteX3" fmla="*/ 487 w 51839"/>
                <a:gd name="connsiteY3" fmla="*/ 3212 h 75683"/>
                <a:gd name="connsiteX4" fmla="*/ 5985 w 51839"/>
                <a:gd name="connsiteY4" fmla="*/ 11459 h 75683"/>
                <a:gd name="connsiteX5" fmla="*/ 5985 w 51839"/>
                <a:gd name="connsiteY5" fmla="*/ 11459 h 75683"/>
                <a:gd name="connsiteX6" fmla="*/ 48841 w 51839"/>
                <a:gd name="connsiteY6" fmla="*/ 75683 h 75683"/>
                <a:gd name="connsiteX7" fmla="*/ 51840 w 51839"/>
                <a:gd name="connsiteY7" fmla="*/ 73934 h 75683"/>
                <a:gd name="connsiteX8" fmla="*/ 8484 w 51839"/>
                <a:gd name="connsiteY8" fmla="*/ 8960 h 7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39" h="75683">
                  <a:moveTo>
                    <a:pt x="2611" y="588"/>
                  </a:moveTo>
                  <a:cubicBezTo>
                    <a:pt x="2249" y="1"/>
                    <a:pt x="1474" y="-174"/>
                    <a:pt x="887" y="188"/>
                  </a:cubicBezTo>
                  <a:cubicBezTo>
                    <a:pt x="724" y="288"/>
                    <a:pt x="587" y="426"/>
                    <a:pt x="487" y="588"/>
                  </a:cubicBezTo>
                  <a:cubicBezTo>
                    <a:pt x="-162" y="1338"/>
                    <a:pt x="-162" y="2462"/>
                    <a:pt x="487" y="3212"/>
                  </a:cubicBezTo>
                  <a:lnTo>
                    <a:pt x="5985" y="11459"/>
                  </a:lnTo>
                  <a:lnTo>
                    <a:pt x="5985" y="11459"/>
                  </a:lnTo>
                  <a:lnTo>
                    <a:pt x="48841" y="75683"/>
                  </a:lnTo>
                  <a:lnTo>
                    <a:pt x="51840" y="73934"/>
                  </a:lnTo>
                  <a:lnTo>
                    <a:pt x="8484" y="8960"/>
                  </a:lnTo>
                  <a:close/>
                </a:path>
              </a:pathLst>
            </a:custGeom>
            <a:solidFill>
              <a:srgbClr val="000000"/>
            </a:solidFill>
            <a:ln w="12483" cap="flat">
              <a:noFill/>
              <a:prstDash val="solid"/>
              <a:miter/>
            </a:ln>
          </p:spPr>
          <p:txBody>
            <a:bodyPr rtlCol="0" anchor="ctr"/>
            <a:lstStyle/>
            <a:p>
              <a:endParaRPr lang="en-US"/>
            </a:p>
          </p:txBody>
        </p:sp>
        <p:sp>
          <p:nvSpPr>
            <p:cNvPr id="1324" name="Freeform: Shape 1323">
              <a:extLst>
                <a:ext uri="{FF2B5EF4-FFF2-40B4-BE49-F238E27FC236}">
                  <a16:creationId xmlns:a16="http://schemas.microsoft.com/office/drawing/2014/main" id="{6F641428-4E05-4D9B-8E37-33ED17EA1F99}"/>
                </a:ext>
              </a:extLst>
            </p:cNvPr>
            <p:cNvSpPr/>
            <p:nvPr/>
          </p:nvSpPr>
          <p:spPr>
            <a:xfrm>
              <a:off x="8958784" y="6047720"/>
              <a:ext cx="149060" cy="218662"/>
            </a:xfrm>
            <a:custGeom>
              <a:avLst/>
              <a:gdLst>
                <a:gd name="connsiteX0" fmla="*/ 2999 w 149060"/>
                <a:gd name="connsiteY0" fmla="*/ 0 h 218662"/>
                <a:gd name="connsiteX1" fmla="*/ 0 w 149060"/>
                <a:gd name="connsiteY1" fmla="*/ 1749 h 218662"/>
                <a:gd name="connsiteX2" fmla="*/ 5997 w 149060"/>
                <a:gd name="connsiteY2" fmla="*/ 10496 h 218662"/>
                <a:gd name="connsiteX3" fmla="*/ 146062 w 149060"/>
                <a:gd name="connsiteY3" fmla="*/ 218663 h 218662"/>
                <a:gd name="connsiteX4" fmla="*/ 149061 w 149060"/>
                <a:gd name="connsiteY4" fmla="*/ 216913 h 218662"/>
                <a:gd name="connsiteX5" fmla="*/ 5498 w 149060"/>
                <a:gd name="connsiteY5" fmla="*/ 3748 h 218662"/>
                <a:gd name="connsiteX6" fmla="*/ 2999 w 149060"/>
                <a:gd name="connsiteY6" fmla="*/ 0 h 21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60" h="218662">
                  <a:moveTo>
                    <a:pt x="2999" y="0"/>
                  </a:moveTo>
                  <a:lnTo>
                    <a:pt x="0" y="1749"/>
                  </a:lnTo>
                  <a:lnTo>
                    <a:pt x="5997" y="10496"/>
                  </a:lnTo>
                  <a:lnTo>
                    <a:pt x="146062" y="218663"/>
                  </a:lnTo>
                  <a:lnTo>
                    <a:pt x="149061" y="216913"/>
                  </a:lnTo>
                  <a:lnTo>
                    <a:pt x="5498" y="3748"/>
                  </a:lnTo>
                  <a:lnTo>
                    <a:pt x="2999" y="0"/>
                  </a:lnTo>
                  <a:close/>
                </a:path>
              </a:pathLst>
            </a:custGeom>
            <a:solidFill>
              <a:schemeClr val="tx2"/>
            </a:solidFill>
            <a:ln w="12483" cap="flat">
              <a:noFill/>
              <a:prstDash val="solid"/>
              <a:miter/>
            </a:ln>
          </p:spPr>
          <p:txBody>
            <a:bodyPr rtlCol="0" anchor="ctr"/>
            <a:lstStyle/>
            <a:p>
              <a:endParaRPr lang="en-US"/>
            </a:p>
          </p:txBody>
        </p:sp>
        <p:sp>
          <p:nvSpPr>
            <p:cNvPr id="1325" name="Freeform: Shape 1324">
              <a:extLst>
                <a:ext uri="{FF2B5EF4-FFF2-40B4-BE49-F238E27FC236}">
                  <a16:creationId xmlns:a16="http://schemas.microsoft.com/office/drawing/2014/main" id="{75C82723-98F2-4A27-A72E-6AA323E1A9C9}"/>
                </a:ext>
              </a:extLst>
            </p:cNvPr>
            <p:cNvSpPr/>
            <p:nvPr/>
          </p:nvSpPr>
          <p:spPr>
            <a:xfrm>
              <a:off x="11603516" y="3498862"/>
              <a:ext cx="212783" cy="234406"/>
            </a:xfrm>
            <a:custGeom>
              <a:avLst/>
              <a:gdLst>
                <a:gd name="connsiteX0" fmla="*/ 211909 w 212783"/>
                <a:gd name="connsiteY0" fmla="*/ 232033 h 234406"/>
                <a:gd name="connsiteX1" fmla="*/ 211909 w 212783"/>
                <a:gd name="connsiteY1" fmla="*/ 232033 h 234406"/>
                <a:gd name="connsiteX2" fmla="*/ 211909 w 212783"/>
                <a:gd name="connsiteY2" fmla="*/ 232033 h 234406"/>
                <a:gd name="connsiteX3" fmla="*/ 211909 w 212783"/>
                <a:gd name="connsiteY3" fmla="*/ 231408 h 234406"/>
                <a:gd name="connsiteX4" fmla="*/ 211909 w 212783"/>
                <a:gd name="connsiteY4" fmla="*/ 231408 h 234406"/>
                <a:gd name="connsiteX5" fmla="*/ 212783 w 212783"/>
                <a:gd name="connsiteY5" fmla="*/ 231408 h 234406"/>
                <a:gd name="connsiteX6" fmla="*/ 2124 w 212783"/>
                <a:gd name="connsiteY6" fmla="*/ 0 h 234406"/>
                <a:gd name="connsiteX7" fmla="*/ 0 w 212783"/>
                <a:gd name="connsiteY7" fmla="*/ 2749 h 234406"/>
                <a:gd name="connsiteX8" fmla="*/ 210909 w 212783"/>
                <a:gd name="connsiteY8" fmla="*/ 234407 h 23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783" h="234406">
                  <a:moveTo>
                    <a:pt x="211909" y="232033"/>
                  </a:moveTo>
                  <a:lnTo>
                    <a:pt x="211909" y="232033"/>
                  </a:lnTo>
                  <a:cubicBezTo>
                    <a:pt x="211909" y="232033"/>
                    <a:pt x="211909" y="232033"/>
                    <a:pt x="211909" y="232033"/>
                  </a:cubicBezTo>
                  <a:lnTo>
                    <a:pt x="211909" y="231408"/>
                  </a:lnTo>
                  <a:lnTo>
                    <a:pt x="211909" y="231408"/>
                  </a:lnTo>
                  <a:lnTo>
                    <a:pt x="212783" y="231408"/>
                  </a:lnTo>
                  <a:lnTo>
                    <a:pt x="2124" y="0"/>
                  </a:lnTo>
                  <a:cubicBezTo>
                    <a:pt x="1600" y="1050"/>
                    <a:pt x="875" y="1974"/>
                    <a:pt x="0" y="2749"/>
                  </a:cubicBezTo>
                  <a:lnTo>
                    <a:pt x="210909" y="234407"/>
                  </a:lnTo>
                  <a:close/>
                </a:path>
              </a:pathLst>
            </a:custGeom>
            <a:solidFill>
              <a:srgbClr val="000000"/>
            </a:solidFill>
            <a:ln w="12483" cap="flat">
              <a:noFill/>
              <a:prstDash val="solid"/>
              <a:miter/>
            </a:ln>
          </p:spPr>
          <p:txBody>
            <a:bodyPr rtlCol="0" anchor="ctr"/>
            <a:lstStyle/>
            <a:p>
              <a:endParaRPr lang="en-US"/>
            </a:p>
          </p:txBody>
        </p:sp>
        <p:sp>
          <p:nvSpPr>
            <p:cNvPr id="1326" name="Freeform: Shape 1325">
              <a:extLst>
                <a:ext uri="{FF2B5EF4-FFF2-40B4-BE49-F238E27FC236}">
                  <a16:creationId xmlns:a16="http://schemas.microsoft.com/office/drawing/2014/main" id="{603C72B2-E3DF-477D-B490-A5BF9F4D0431}"/>
                </a:ext>
              </a:extLst>
            </p:cNvPr>
            <p:cNvSpPr/>
            <p:nvPr/>
          </p:nvSpPr>
          <p:spPr>
            <a:xfrm>
              <a:off x="11667364" y="3207853"/>
              <a:ext cx="215656" cy="232032"/>
            </a:xfrm>
            <a:custGeom>
              <a:avLst/>
              <a:gdLst>
                <a:gd name="connsiteX0" fmla="*/ 214782 w 215656"/>
                <a:gd name="connsiteY0" fmla="*/ 229533 h 232032"/>
                <a:gd name="connsiteX1" fmla="*/ 214782 w 215656"/>
                <a:gd name="connsiteY1" fmla="*/ 229533 h 232032"/>
                <a:gd name="connsiteX2" fmla="*/ 214782 w 215656"/>
                <a:gd name="connsiteY2" fmla="*/ 228909 h 232032"/>
                <a:gd name="connsiteX3" fmla="*/ 214782 w 215656"/>
                <a:gd name="connsiteY3" fmla="*/ 228909 h 232032"/>
                <a:gd name="connsiteX4" fmla="*/ 214782 w 215656"/>
                <a:gd name="connsiteY4" fmla="*/ 228909 h 232032"/>
                <a:gd name="connsiteX5" fmla="*/ 215657 w 215656"/>
                <a:gd name="connsiteY5" fmla="*/ 228909 h 232032"/>
                <a:gd name="connsiteX6" fmla="*/ 3248 w 215656"/>
                <a:gd name="connsiteY6" fmla="*/ 0 h 232032"/>
                <a:gd name="connsiteX7" fmla="*/ 0 w 215656"/>
                <a:gd name="connsiteY7" fmla="*/ 1749 h 232032"/>
                <a:gd name="connsiteX8" fmla="*/ 213907 w 215656"/>
                <a:gd name="connsiteY8" fmla="*/ 232033 h 2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56" h="232032">
                  <a:moveTo>
                    <a:pt x="214782" y="229533"/>
                  </a:moveTo>
                  <a:lnTo>
                    <a:pt x="214782" y="229533"/>
                  </a:lnTo>
                  <a:cubicBezTo>
                    <a:pt x="214782" y="229533"/>
                    <a:pt x="214782" y="229533"/>
                    <a:pt x="214782" y="228909"/>
                  </a:cubicBezTo>
                  <a:lnTo>
                    <a:pt x="214782" y="228909"/>
                  </a:lnTo>
                  <a:lnTo>
                    <a:pt x="214782" y="228909"/>
                  </a:lnTo>
                  <a:lnTo>
                    <a:pt x="215657" y="228909"/>
                  </a:lnTo>
                  <a:lnTo>
                    <a:pt x="3248" y="0"/>
                  </a:lnTo>
                  <a:lnTo>
                    <a:pt x="0" y="1749"/>
                  </a:lnTo>
                  <a:lnTo>
                    <a:pt x="213907" y="232033"/>
                  </a:lnTo>
                  <a:close/>
                </a:path>
              </a:pathLst>
            </a:custGeom>
            <a:solidFill>
              <a:srgbClr val="000000"/>
            </a:solidFill>
            <a:ln w="12483" cap="flat">
              <a:noFill/>
              <a:prstDash val="solid"/>
              <a:miter/>
            </a:ln>
          </p:spPr>
          <p:txBody>
            <a:bodyPr rtlCol="0" anchor="ctr"/>
            <a:lstStyle/>
            <a:p>
              <a:endParaRPr lang="en-US"/>
            </a:p>
          </p:txBody>
        </p:sp>
        <p:sp>
          <p:nvSpPr>
            <p:cNvPr id="1327" name="Freeform: Shape 1326">
              <a:extLst>
                <a:ext uri="{FF2B5EF4-FFF2-40B4-BE49-F238E27FC236}">
                  <a16:creationId xmlns:a16="http://schemas.microsoft.com/office/drawing/2014/main" id="{C68F8F5D-06BE-4C4F-86FC-46D8F527222E}"/>
                </a:ext>
              </a:extLst>
            </p:cNvPr>
            <p:cNvSpPr/>
            <p:nvPr/>
          </p:nvSpPr>
          <p:spPr>
            <a:xfrm>
              <a:off x="5456423" y="3507733"/>
              <a:ext cx="7371" cy="14744"/>
            </a:xfrm>
            <a:custGeom>
              <a:avLst/>
              <a:gdLst>
                <a:gd name="connsiteX0" fmla="*/ 3998 w 7371"/>
                <a:gd name="connsiteY0" fmla="*/ 0 h 14744"/>
                <a:gd name="connsiteX1" fmla="*/ 0 w 7371"/>
                <a:gd name="connsiteY1" fmla="*/ 1874 h 14744"/>
                <a:gd name="connsiteX2" fmla="*/ 7372 w 7371"/>
                <a:gd name="connsiteY2" fmla="*/ 14744 h 14744"/>
                <a:gd name="connsiteX3" fmla="*/ 3998 w 7371"/>
                <a:gd name="connsiteY3" fmla="*/ 0 h 14744"/>
              </a:gdLst>
              <a:ahLst/>
              <a:cxnLst>
                <a:cxn ang="0">
                  <a:pos x="connsiteX0" y="connsiteY0"/>
                </a:cxn>
                <a:cxn ang="0">
                  <a:pos x="connsiteX1" y="connsiteY1"/>
                </a:cxn>
                <a:cxn ang="0">
                  <a:pos x="connsiteX2" y="connsiteY2"/>
                </a:cxn>
                <a:cxn ang="0">
                  <a:pos x="connsiteX3" y="connsiteY3"/>
                </a:cxn>
              </a:cxnLst>
              <a:rect l="l" t="t" r="r" b="b"/>
              <a:pathLst>
                <a:path w="7371" h="14744">
                  <a:moveTo>
                    <a:pt x="3998" y="0"/>
                  </a:moveTo>
                  <a:lnTo>
                    <a:pt x="0" y="1874"/>
                  </a:lnTo>
                  <a:lnTo>
                    <a:pt x="7372" y="14744"/>
                  </a:lnTo>
                  <a:lnTo>
                    <a:pt x="3998" y="0"/>
                  </a:lnTo>
                  <a:close/>
                </a:path>
              </a:pathLst>
            </a:custGeom>
            <a:solidFill>
              <a:srgbClr val="000000"/>
            </a:solidFill>
            <a:ln w="12483" cap="flat">
              <a:noFill/>
              <a:prstDash val="solid"/>
              <a:miter/>
            </a:ln>
          </p:spPr>
          <p:txBody>
            <a:bodyPr rtlCol="0" anchor="ctr"/>
            <a:lstStyle/>
            <a:p>
              <a:endParaRPr lang="en-US"/>
            </a:p>
          </p:txBody>
        </p:sp>
        <p:sp>
          <p:nvSpPr>
            <p:cNvPr id="1328" name="Freeform: Shape 1327">
              <a:extLst>
                <a:ext uri="{FF2B5EF4-FFF2-40B4-BE49-F238E27FC236}">
                  <a16:creationId xmlns:a16="http://schemas.microsoft.com/office/drawing/2014/main" id="{0A96B59D-28BB-461B-8F7D-B79EF6277D4D}"/>
                </a:ext>
              </a:extLst>
            </p:cNvPr>
            <p:cNvSpPr/>
            <p:nvPr/>
          </p:nvSpPr>
          <p:spPr>
            <a:xfrm>
              <a:off x="5441509" y="3502110"/>
              <a:ext cx="334836" cy="1387329"/>
            </a:xfrm>
            <a:custGeom>
              <a:avLst/>
              <a:gdLst>
                <a:gd name="connsiteX0" fmla="*/ 328154 w 334836"/>
                <a:gd name="connsiteY0" fmla="*/ 1387072 h 1387329"/>
                <a:gd name="connsiteX1" fmla="*/ 334401 w 334836"/>
                <a:gd name="connsiteY1" fmla="*/ 1373702 h 1387329"/>
                <a:gd name="connsiteX2" fmla="*/ 334401 w 334836"/>
                <a:gd name="connsiteY2" fmla="*/ 1372078 h 1387329"/>
                <a:gd name="connsiteX3" fmla="*/ 24910 w 334836"/>
                <a:gd name="connsiteY3" fmla="*/ 31612 h 1387329"/>
                <a:gd name="connsiteX4" fmla="*/ 11665 w 334836"/>
                <a:gd name="connsiteY4" fmla="*/ 8871 h 1387329"/>
                <a:gd name="connsiteX5" fmla="*/ 11665 w 334836"/>
                <a:gd name="connsiteY5" fmla="*/ 8871 h 1387329"/>
                <a:gd name="connsiteX6" fmla="*/ 471 w 334836"/>
                <a:gd name="connsiteY6" fmla="*/ 4036 h 1387329"/>
                <a:gd name="connsiteX7" fmla="*/ 45 w 334836"/>
                <a:gd name="connsiteY7" fmla="*/ 2624 h 1387329"/>
                <a:gd name="connsiteX8" fmla="*/ 45 w 334836"/>
                <a:gd name="connsiteY8" fmla="*/ 0 h 1387329"/>
                <a:gd name="connsiteX9" fmla="*/ 45 w 334836"/>
                <a:gd name="connsiteY9" fmla="*/ 1624 h 1387329"/>
                <a:gd name="connsiteX10" fmla="*/ 317158 w 334836"/>
                <a:gd name="connsiteY10" fmla="*/ 1379450 h 1387329"/>
                <a:gd name="connsiteX11" fmla="*/ 317783 w 334836"/>
                <a:gd name="connsiteY11" fmla="*/ 1381074 h 1387329"/>
                <a:gd name="connsiteX12" fmla="*/ 328154 w 334836"/>
                <a:gd name="connsiteY12" fmla="*/ 1387072 h 138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836" h="1387329">
                  <a:moveTo>
                    <a:pt x="328154" y="1387072"/>
                  </a:moveTo>
                  <a:cubicBezTo>
                    <a:pt x="333278" y="1384798"/>
                    <a:pt x="335943" y="1379088"/>
                    <a:pt x="334401" y="1373702"/>
                  </a:cubicBezTo>
                  <a:lnTo>
                    <a:pt x="334401" y="1372078"/>
                  </a:lnTo>
                  <a:lnTo>
                    <a:pt x="24910" y="31612"/>
                  </a:lnTo>
                  <a:lnTo>
                    <a:pt x="11665" y="8871"/>
                  </a:lnTo>
                  <a:lnTo>
                    <a:pt x="11665" y="8871"/>
                  </a:lnTo>
                  <a:cubicBezTo>
                    <a:pt x="7240" y="10633"/>
                    <a:pt x="2228" y="8459"/>
                    <a:pt x="471" y="4036"/>
                  </a:cubicBezTo>
                  <a:cubicBezTo>
                    <a:pt x="289" y="3586"/>
                    <a:pt x="146" y="3111"/>
                    <a:pt x="45" y="2624"/>
                  </a:cubicBezTo>
                  <a:cubicBezTo>
                    <a:pt x="-15" y="1749"/>
                    <a:pt x="-15" y="875"/>
                    <a:pt x="45" y="0"/>
                  </a:cubicBezTo>
                  <a:cubicBezTo>
                    <a:pt x="45" y="0"/>
                    <a:pt x="45" y="1125"/>
                    <a:pt x="45" y="1624"/>
                  </a:cubicBezTo>
                  <a:lnTo>
                    <a:pt x="317158" y="1379450"/>
                  </a:lnTo>
                  <a:cubicBezTo>
                    <a:pt x="317311" y="1380012"/>
                    <a:pt x="317521" y="1380550"/>
                    <a:pt x="317783" y="1381074"/>
                  </a:cubicBezTo>
                  <a:cubicBezTo>
                    <a:pt x="319060" y="1385535"/>
                    <a:pt x="323646" y="1388197"/>
                    <a:pt x="328154" y="1387072"/>
                  </a:cubicBezTo>
                  <a:close/>
                </a:path>
              </a:pathLst>
            </a:custGeom>
            <a:solidFill>
              <a:srgbClr val="000000"/>
            </a:solidFill>
            <a:ln w="12483" cap="flat">
              <a:noFill/>
              <a:prstDash val="solid"/>
              <a:miter/>
            </a:ln>
          </p:spPr>
          <p:txBody>
            <a:bodyPr rtlCol="0" anchor="ctr"/>
            <a:lstStyle/>
            <a:p>
              <a:endParaRPr lang="en-US"/>
            </a:p>
          </p:txBody>
        </p:sp>
        <p:sp>
          <p:nvSpPr>
            <p:cNvPr id="1329" name="Freeform: Shape 1328">
              <a:extLst>
                <a:ext uri="{FF2B5EF4-FFF2-40B4-BE49-F238E27FC236}">
                  <a16:creationId xmlns:a16="http://schemas.microsoft.com/office/drawing/2014/main" id="{24FDD673-7F2B-4CF0-A892-6D23CC88B4B7}"/>
                </a:ext>
              </a:extLst>
            </p:cNvPr>
            <p:cNvSpPr/>
            <p:nvPr/>
          </p:nvSpPr>
          <p:spPr>
            <a:xfrm>
              <a:off x="10534478" y="531420"/>
              <a:ext cx="1299438" cy="624625"/>
            </a:xfrm>
            <a:custGeom>
              <a:avLst/>
              <a:gdLst>
                <a:gd name="connsiteX0" fmla="*/ 0 w 1299438"/>
                <a:gd name="connsiteY0" fmla="*/ 624626 h 624625"/>
                <a:gd name="connsiteX1" fmla="*/ 1299439 w 1299438"/>
                <a:gd name="connsiteY1" fmla="*/ 22616 h 624625"/>
                <a:gd name="connsiteX2" fmla="*/ 1295440 w 1299438"/>
                <a:gd name="connsiteY2" fmla="*/ 18992 h 624625"/>
                <a:gd name="connsiteX3" fmla="*/ 1293691 w 1299438"/>
                <a:gd name="connsiteY3" fmla="*/ 3873 h 624625"/>
                <a:gd name="connsiteX4" fmla="*/ 1298564 w 1299438"/>
                <a:gd name="connsiteY4" fmla="*/ 0 h 624625"/>
                <a:gd name="connsiteX5" fmla="*/ 1297564 w 1299438"/>
                <a:gd name="connsiteY5" fmla="*/ 0 h 624625"/>
                <a:gd name="connsiteX6" fmla="*/ 250 w 1299438"/>
                <a:gd name="connsiteY6" fmla="*/ 601260 h 624625"/>
                <a:gd name="connsiteX7" fmla="*/ 250 w 1299438"/>
                <a:gd name="connsiteY7" fmla="*/ 624626 h 62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9438" h="624625">
                  <a:moveTo>
                    <a:pt x="0" y="624626"/>
                  </a:moveTo>
                  <a:lnTo>
                    <a:pt x="1299439" y="22616"/>
                  </a:lnTo>
                  <a:lnTo>
                    <a:pt x="1295440" y="18992"/>
                  </a:lnTo>
                  <a:cubicBezTo>
                    <a:pt x="1291505" y="14930"/>
                    <a:pt x="1290780" y="8728"/>
                    <a:pt x="1293691" y="3873"/>
                  </a:cubicBezTo>
                  <a:cubicBezTo>
                    <a:pt x="1294816" y="2051"/>
                    <a:pt x="1296540" y="680"/>
                    <a:pt x="1298564" y="0"/>
                  </a:cubicBezTo>
                  <a:lnTo>
                    <a:pt x="1297564" y="0"/>
                  </a:lnTo>
                  <a:lnTo>
                    <a:pt x="250" y="601260"/>
                  </a:lnTo>
                  <a:lnTo>
                    <a:pt x="250" y="624626"/>
                  </a:lnTo>
                  <a:close/>
                </a:path>
              </a:pathLst>
            </a:custGeom>
            <a:solidFill>
              <a:srgbClr val="000000"/>
            </a:solidFill>
            <a:ln w="12483" cap="flat">
              <a:noFill/>
              <a:prstDash val="solid"/>
              <a:miter/>
            </a:ln>
          </p:spPr>
          <p:txBody>
            <a:bodyPr rtlCol="0" anchor="ctr"/>
            <a:lstStyle/>
            <a:p>
              <a:endParaRPr lang="en-US"/>
            </a:p>
          </p:txBody>
        </p:sp>
        <p:sp>
          <p:nvSpPr>
            <p:cNvPr id="1330" name="Freeform: Shape 1329">
              <a:extLst>
                <a:ext uri="{FF2B5EF4-FFF2-40B4-BE49-F238E27FC236}">
                  <a16:creationId xmlns:a16="http://schemas.microsoft.com/office/drawing/2014/main" id="{8555C9D7-72BE-426F-A5E6-A0818AC6915E}"/>
                </a:ext>
              </a:extLst>
            </p:cNvPr>
            <p:cNvSpPr/>
            <p:nvPr/>
          </p:nvSpPr>
          <p:spPr>
            <a:xfrm>
              <a:off x="7783542" y="1291992"/>
              <a:ext cx="2407334" cy="1137796"/>
            </a:xfrm>
            <a:custGeom>
              <a:avLst/>
              <a:gdLst>
                <a:gd name="connsiteX0" fmla="*/ 2499 w 2407334"/>
                <a:gd name="connsiteY0" fmla="*/ 1137796 h 1137796"/>
                <a:gd name="connsiteX1" fmla="*/ 2407335 w 2407334"/>
                <a:gd name="connsiteY1" fmla="*/ 23241 h 1137796"/>
                <a:gd name="connsiteX2" fmla="*/ 2407335 w 2407334"/>
                <a:gd name="connsiteY2" fmla="*/ 7497 h 1137796"/>
                <a:gd name="connsiteX3" fmla="*/ 2407335 w 2407334"/>
                <a:gd name="connsiteY3" fmla="*/ 0 h 1137796"/>
                <a:gd name="connsiteX4" fmla="*/ 0 w 2407334"/>
                <a:gd name="connsiteY4" fmla="*/ 1115805 h 1137796"/>
                <a:gd name="connsiteX5" fmla="*/ 1624 w 2407334"/>
                <a:gd name="connsiteY5" fmla="*/ 1129300 h 1137796"/>
                <a:gd name="connsiteX6" fmla="*/ 2499 w 2407334"/>
                <a:gd name="connsiteY6" fmla="*/ 1137796 h 113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7334" h="1137796">
                  <a:moveTo>
                    <a:pt x="2499" y="1137796"/>
                  </a:moveTo>
                  <a:lnTo>
                    <a:pt x="2407335" y="23241"/>
                  </a:lnTo>
                  <a:lnTo>
                    <a:pt x="2407335" y="7497"/>
                  </a:lnTo>
                  <a:lnTo>
                    <a:pt x="2407335" y="0"/>
                  </a:lnTo>
                  <a:lnTo>
                    <a:pt x="0" y="1115805"/>
                  </a:lnTo>
                  <a:lnTo>
                    <a:pt x="1624" y="1129300"/>
                  </a:lnTo>
                  <a:lnTo>
                    <a:pt x="2499" y="1137796"/>
                  </a:lnTo>
                  <a:close/>
                </a:path>
              </a:pathLst>
            </a:custGeom>
            <a:solidFill>
              <a:srgbClr val="000000"/>
            </a:solidFill>
            <a:ln w="12483" cap="flat">
              <a:noFill/>
              <a:prstDash val="solid"/>
              <a:miter/>
            </a:ln>
          </p:spPr>
          <p:txBody>
            <a:bodyPr rtlCol="0" anchor="ctr"/>
            <a:lstStyle/>
            <a:p>
              <a:endParaRPr lang="en-US"/>
            </a:p>
          </p:txBody>
        </p:sp>
        <p:sp>
          <p:nvSpPr>
            <p:cNvPr id="1331" name="Freeform: Shape 1330">
              <a:extLst>
                <a:ext uri="{FF2B5EF4-FFF2-40B4-BE49-F238E27FC236}">
                  <a16:creationId xmlns:a16="http://schemas.microsoft.com/office/drawing/2014/main" id="{A9DAF81A-63B6-49DC-9D93-D8DF8F899297}"/>
                </a:ext>
              </a:extLst>
            </p:cNvPr>
            <p:cNvSpPr/>
            <p:nvPr/>
          </p:nvSpPr>
          <p:spPr>
            <a:xfrm>
              <a:off x="5441597" y="2689684"/>
              <a:ext cx="1737081" cy="822152"/>
            </a:xfrm>
            <a:custGeom>
              <a:avLst/>
              <a:gdLst>
                <a:gd name="connsiteX0" fmla="*/ 11577 w 1737081"/>
                <a:gd name="connsiteY0" fmla="*/ 821547 h 822152"/>
                <a:gd name="connsiteX1" fmla="*/ 11577 w 1737081"/>
                <a:gd name="connsiteY1" fmla="*/ 821547 h 822152"/>
                <a:gd name="connsiteX2" fmla="*/ 6579 w 1737081"/>
                <a:gd name="connsiteY2" fmla="*/ 812801 h 822152"/>
                <a:gd name="connsiteX3" fmla="*/ 6579 w 1737081"/>
                <a:gd name="connsiteY3" fmla="*/ 810052 h 822152"/>
                <a:gd name="connsiteX4" fmla="*/ 8696 w 1737081"/>
                <a:gd name="connsiteY4" fmla="*/ 809915 h 822152"/>
                <a:gd name="connsiteX5" fmla="*/ 8828 w 1737081"/>
                <a:gd name="connsiteY5" fmla="*/ 810052 h 822152"/>
                <a:gd name="connsiteX6" fmla="*/ 14326 w 1737081"/>
                <a:gd name="connsiteY6" fmla="*/ 819673 h 822152"/>
                <a:gd name="connsiteX7" fmla="*/ 18324 w 1737081"/>
                <a:gd name="connsiteY7" fmla="*/ 817799 h 822152"/>
                <a:gd name="connsiteX8" fmla="*/ 1737082 w 1737081"/>
                <a:gd name="connsiteY8" fmla="*/ 21241 h 822152"/>
                <a:gd name="connsiteX9" fmla="*/ 1735207 w 1737081"/>
                <a:gd name="connsiteY9" fmla="*/ 8746 h 822152"/>
                <a:gd name="connsiteX10" fmla="*/ 1733958 w 1737081"/>
                <a:gd name="connsiteY10" fmla="*/ 0 h 822152"/>
                <a:gd name="connsiteX11" fmla="*/ 4705 w 1737081"/>
                <a:gd name="connsiteY11" fmla="*/ 801306 h 822152"/>
                <a:gd name="connsiteX12" fmla="*/ 3581 w 1737081"/>
                <a:gd name="connsiteY12" fmla="*/ 802180 h 822152"/>
                <a:gd name="connsiteX13" fmla="*/ 2081 w 1737081"/>
                <a:gd name="connsiteY13" fmla="*/ 803805 h 822152"/>
                <a:gd name="connsiteX14" fmla="*/ 957 w 1737081"/>
                <a:gd name="connsiteY14" fmla="*/ 805429 h 822152"/>
                <a:gd name="connsiteX15" fmla="*/ 82 w 1737081"/>
                <a:gd name="connsiteY15" fmla="*/ 807053 h 822152"/>
                <a:gd name="connsiteX16" fmla="*/ 82 w 1737081"/>
                <a:gd name="connsiteY16" fmla="*/ 809052 h 822152"/>
                <a:gd name="connsiteX17" fmla="*/ 82 w 1737081"/>
                <a:gd name="connsiteY17" fmla="*/ 811052 h 822152"/>
                <a:gd name="connsiteX18" fmla="*/ 82 w 1737081"/>
                <a:gd name="connsiteY18" fmla="*/ 813176 h 822152"/>
                <a:gd name="connsiteX19" fmla="*/ 82 w 1737081"/>
                <a:gd name="connsiteY19" fmla="*/ 815800 h 822152"/>
                <a:gd name="connsiteX20" fmla="*/ 10667 w 1737081"/>
                <a:gd name="connsiteY20" fmla="*/ 821847 h 822152"/>
                <a:gd name="connsiteX21" fmla="*/ 11577 w 1737081"/>
                <a:gd name="connsiteY21" fmla="*/ 821547 h 82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7081" h="822152">
                  <a:moveTo>
                    <a:pt x="11577" y="821547"/>
                  </a:moveTo>
                  <a:lnTo>
                    <a:pt x="11577" y="821547"/>
                  </a:lnTo>
                  <a:lnTo>
                    <a:pt x="6579" y="812801"/>
                  </a:lnTo>
                  <a:cubicBezTo>
                    <a:pt x="5954" y="811989"/>
                    <a:pt x="5954" y="810864"/>
                    <a:pt x="6579" y="810052"/>
                  </a:cubicBezTo>
                  <a:cubicBezTo>
                    <a:pt x="7127" y="809427"/>
                    <a:pt x="8075" y="809377"/>
                    <a:pt x="8696" y="809915"/>
                  </a:cubicBezTo>
                  <a:cubicBezTo>
                    <a:pt x="8743" y="809965"/>
                    <a:pt x="8787" y="810002"/>
                    <a:pt x="8828" y="810052"/>
                  </a:cubicBezTo>
                  <a:lnTo>
                    <a:pt x="14326" y="819673"/>
                  </a:lnTo>
                  <a:lnTo>
                    <a:pt x="18324" y="817799"/>
                  </a:lnTo>
                  <a:lnTo>
                    <a:pt x="1737082" y="21241"/>
                  </a:lnTo>
                  <a:lnTo>
                    <a:pt x="1735207" y="8746"/>
                  </a:lnTo>
                  <a:lnTo>
                    <a:pt x="1733958" y="0"/>
                  </a:lnTo>
                  <a:lnTo>
                    <a:pt x="4705" y="801306"/>
                  </a:lnTo>
                  <a:lnTo>
                    <a:pt x="3581" y="802180"/>
                  </a:lnTo>
                  <a:lnTo>
                    <a:pt x="2081" y="803805"/>
                  </a:lnTo>
                  <a:lnTo>
                    <a:pt x="957" y="805429"/>
                  </a:lnTo>
                  <a:cubicBezTo>
                    <a:pt x="572" y="805916"/>
                    <a:pt x="275" y="806466"/>
                    <a:pt x="82" y="807053"/>
                  </a:cubicBezTo>
                  <a:cubicBezTo>
                    <a:pt x="-27" y="807716"/>
                    <a:pt x="-27" y="808390"/>
                    <a:pt x="82" y="809052"/>
                  </a:cubicBezTo>
                  <a:cubicBezTo>
                    <a:pt x="23" y="809715"/>
                    <a:pt x="23" y="810389"/>
                    <a:pt x="82" y="811052"/>
                  </a:cubicBezTo>
                  <a:cubicBezTo>
                    <a:pt x="82" y="811801"/>
                    <a:pt x="82" y="812426"/>
                    <a:pt x="82" y="813176"/>
                  </a:cubicBezTo>
                  <a:cubicBezTo>
                    <a:pt x="22" y="814051"/>
                    <a:pt x="22" y="814925"/>
                    <a:pt x="82" y="815800"/>
                  </a:cubicBezTo>
                  <a:cubicBezTo>
                    <a:pt x="1334" y="820398"/>
                    <a:pt x="6073" y="823097"/>
                    <a:pt x="10667" y="821847"/>
                  </a:cubicBezTo>
                  <a:cubicBezTo>
                    <a:pt x="10976" y="821772"/>
                    <a:pt x="11280" y="821660"/>
                    <a:pt x="11577" y="821547"/>
                  </a:cubicBezTo>
                  <a:close/>
                </a:path>
              </a:pathLst>
            </a:custGeom>
            <a:solidFill>
              <a:srgbClr val="000000"/>
            </a:solidFill>
            <a:ln w="12483" cap="flat">
              <a:noFill/>
              <a:prstDash val="solid"/>
              <a:miter/>
            </a:ln>
          </p:spPr>
          <p:txBody>
            <a:bodyPr rtlCol="0" anchor="ctr"/>
            <a:lstStyle/>
            <a:p>
              <a:endParaRPr lang="en-US"/>
            </a:p>
          </p:txBody>
        </p:sp>
        <p:sp>
          <p:nvSpPr>
            <p:cNvPr id="1332" name="Freeform: Shape 1331">
              <a:extLst>
                <a:ext uri="{FF2B5EF4-FFF2-40B4-BE49-F238E27FC236}">
                  <a16:creationId xmlns:a16="http://schemas.microsoft.com/office/drawing/2014/main" id="{BEBA7DB2-8C7C-45C1-8085-A3057018D78A}"/>
                </a:ext>
              </a:extLst>
            </p:cNvPr>
            <p:cNvSpPr/>
            <p:nvPr/>
          </p:nvSpPr>
          <p:spPr>
            <a:xfrm>
              <a:off x="5448207" y="3499854"/>
              <a:ext cx="421911" cy="734464"/>
            </a:xfrm>
            <a:custGeom>
              <a:avLst/>
              <a:gdLst>
                <a:gd name="connsiteX0" fmla="*/ 420787 w 421911"/>
                <a:gd name="connsiteY0" fmla="*/ 733215 h 734464"/>
                <a:gd name="connsiteX1" fmla="*/ 420787 w 421911"/>
                <a:gd name="connsiteY1" fmla="*/ 732591 h 734464"/>
                <a:gd name="connsiteX2" fmla="*/ 420787 w 421911"/>
                <a:gd name="connsiteY2" fmla="*/ 731841 h 734464"/>
                <a:gd name="connsiteX3" fmla="*/ 420787 w 421911"/>
                <a:gd name="connsiteY3" fmla="*/ 731841 h 734464"/>
                <a:gd name="connsiteX4" fmla="*/ 420787 w 421911"/>
                <a:gd name="connsiteY4" fmla="*/ 731841 h 734464"/>
                <a:gd name="connsiteX5" fmla="*/ 421912 w 421911"/>
                <a:gd name="connsiteY5" fmla="*/ 731216 h 734464"/>
                <a:gd name="connsiteX6" fmla="*/ 15587 w 421911"/>
                <a:gd name="connsiteY6" fmla="*/ 22624 h 734464"/>
                <a:gd name="connsiteX7" fmla="*/ 8215 w 421911"/>
                <a:gd name="connsiteY7" fmla="*/ 10129 h 734464"/>
                <a:gd name="connsiteX8" fmla="*/ 2718 w 421911"/>
                <a:gd name="connsiteY8" fmla="*/ 507 h 734464"/>
                <a:gd name="connsiteX9" fmla="*/ 602 w 421911"/>
                <a:gd name="connsiteY9" fmla="*/ 370 h 734464"/>
                <a:gd name="connsiteX10" fmla="*/ 469 w 421911"/>
                <a:gd name="connsiteY10" fmla="*/ 507 h 734464"/>
                <a:gd name="connsiteX11" fmla="*/ 469 w 421911"/>
                <a:gd name="connsiteY11" fmla="*/ 3256 h 734464"/>
                <a:gd name="connsiteX12" fmla="*/ 5467 w 421911"/>
                <a:gd name="connsiteY12" fmla="*/ 12003 h 734464"/>
                <a:gd name="connsiteX13" fmla="*/ 18586 w 421911"/>
                <a:gd name="connsiteY13" fmla="*/ 34744 h 734464"/>
                <a:gd name="connsiteX14" fmla="*/ 421287 w 421911"/>
                <a:gd name="connsiteY14" fmla="*/ 734465 h 7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1911" h="734464">
                  <a:moveTo>
                    <a:pt x="420787" y="733215"/>
                  </a:moveTo>
                  <a:cubicBezTo>
                    <a:pt x="420728" y="733015"/>
                    <a:pt x="420728" y="732790"/>
                    <a:pt x="420787" y="732591"/>
                  </a:cubicBezTo>
                  <a:cubicBezTo>
                    <a:pt x="420787" y="732591"/>
                    <a:pt x="420787" y="732591"/>
                    <a:pt x="420787" y="731841"/>
                  </a:cubicBezTo>
                  <a:lnTo>
                    <a:pt x="420787" y="731841"/>
                  </a:lnTo>
                  <a:cubicBezTo>
                    <a:pt x="420787" y="731841"/>
                    <a:pt x="420787" y="731841"/>
                    <a:pt x="420787" y="731841"/>
                  </a:cubicBezTo>
                  <a:lnTo>
                    <a:pt x="421912" y="731216"/>
                  </a:lnTo>
                  <a:lnTo>
                    <a:pt x="15587" y="22624"/>
                  </a:lnTo>
                  <a:lnTo>
                    <a:pt x="8215" y="10129"/>
                  </a:lnTo>
                  <a:lnTo>
                    <a:pt x="2718" y="507"/>
                  </a:lnTo>
                  <a:cubicBezTo>
                    <a:pt x="2170" y="-117"/>
                    <a:pt x="1223" y="-167"/>
                    <a:pt x="602" y="370"/>
                  </a:cubicBezTo>
                  <a:cubicBezTo>
                    <a:pt x="555" y="420"/>
                    <a:pt x="510" y="457"/>
                    <a:pt x="469" y="507"/>
                  </a:cubicBezTo>
                  <a:cubicBezTo>
                    <a:pt x="-156" y="1320"/>
                    <a:pt x="-156" y="2444"/>
                    <a:pt x="469" y="3256"/>
                  </a:cubicBezTo>
                  <a:lnTo>
                    <a:pt x="5467" y="12003"/>
                  </a:lnTo>
                  <a:lnTo>
                    <a:pt x="18586" y="34744"/>
                  </a:lnTo>
                  <a:lnTo>
                    <a:pt x="421287" y="734465"/>
                  </a:lnTo>
                  <a:close/>
                </a:path>
              </a:pathLst>
            </a:custGeom>
            <a:solidFill>
              <a:srgbClr val="000000"/>
            </a:solidFill>
            <a:ln w="12483" cap="flat">
              <a:noFill/>
              <a:prstDash val="solid"/>
              <a:miter/>
            </a:ln>
          </p:spPr>
          <p:txBody>
            <a:bodyPr rtlCol="0" anchor="ctr"/>
            <a:lstStyle/>
            <a:p>
              <a:endParaRPr lang="en-US"/>
            </a:p>
          </p:txBody>
        </p:sp>
        <p:sp>
          <p:nvSpPr>
            <p:cNvPr id="1333" name="Freeform: Shape 1332">
              <a:extLst>
                <a:ext uri="{FF2B5EF4-FFF2-40B4-BE49-F238E27FC236}">
                  <a16:creationId xmlns:a16="http://schemas.microsoft.com/office/drawing/2014/main" id="{FA60F5B2-D376-4BC6-89A1-95E9ADC0940F}"/>
                </a:ext>
              </a:extLst>
            </p:cNvPr>
            <p:cNvSpPr/>
            <p:nvPr/>
          </p:nvSpPr>
          <p:spPr>
            <a:xfrm>
              <a:off x="5714134" y="3515205"/>
              <a:ext cx="373890" cy="618028"/>
            </a:xfrm>
            <a:custGeom>
              <a:avLst/>
              <a:gdLst>
                <a:gd name="connsiteX0" fmla="*/ 363770 w 373890"/>
                <a:gd name="connsiteY0" fmla="*/ 605034 h 618028"/>
                <a:gd name="connsiteX1" fmla="*/ 373891 w 373890"/>
                <a:gd name="connsiteY1" fmla="*/ 611032 h 618028"/>
                <a:gd name="connsiteX2" fmla="*/ 373266 w 373890"/>
                <a:gd name="connsiteY2" fmla="*/ 609157 h 618028"/>
                <a:gd name="connsiteX3" fmla="*/ 18544 w 373890"/>
                <a:gd name="connsiteY3" fmla="*/ 8397 h 618028"/>
                <a:gd name="connsiteX4" fmla="*/ 9548 w 373890"/>
                <a:gd name="connsiteY4" fmla="*/ 12520 h 618028"/>
                <a:gd name="connsiteX5" fmla="*/ 7602 w 373890"/>
                <a:gd name="connsiteY5" fmla="*/ 11683 h 618028"/>
                <a:gd name="connsiteX6" fmla="*/ 7549 w 373890"/>
                <a:gd name="connsiteY6" fmla="*/ 11521 h 618028"/>
                <a:gd name="connsiteX7" fmla="*/ 8424 w 373890"/>
                <a:gd name="connsiteY7" fmla="*/ 9022 h 618028"/>
                <a:gd name="connsiteX8" fmla="*/ 16670 w 373890"/>
                <a:gd name="connsiteY8" fmla="*/ 5148 h 618028"/>
                <a:gd name="connsiteX9" fmla="*/ 16670 w 373890"/>
                <a:gd name="connsiteY9" fmla="*/ 4524 h 618028"/>
                <a:gd name="connsiteX10" fmla="*/ 5790 w 373890"/>
                <a:gd name="connsiteY10" fmla="*/ 850 h 618028"/>
                <a:gd name="connsiteX11" fmla="*/ 4176 w 373890"/>
                <a:gd name="connsiteY11" fmla="*/ 1899 h 618028"/>
                <a:gd name="connsiteX12" fmla="*/ 1427 w 373890"/>
                <a:gd name="connsiteY12" fmla="*/ 17019 h 618028"/>
                <a:gd name="connsiteX13" fmla="*/ 355774 w 373890"/>
                <a:gd name="connsiteY13" fmla="*/ 618029 h 618028"/>
                <a:gd name="connsiteX14" fmla="*/ 356523 w 373890"/>
                <a:gd name="connsiteY14" fmla="*/ 618029 h 618028"/>
                <a:gd name="connsiteX15" fmla="*/ 363770 w 373890"/>
                <a:gd name="connsiteY15" fmla="*/ 605034 h 61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3890" h="618028">
                  <a:moveTo>
                    <a:pt x="363770" y="605034"/>
                  </a:moveTo>
                  <a:cubicBezTo>
                    <a:pt x="368217" y="603922"/>
                    <a:pt x="372728" y="606596"/>
                    <a:pt x="373891" y="611032"/>
                  </a:cubicBezTo>
                  <a:lnTo>
                    <a:pt x="373266" y="609157"/>
                  </a:lnTo>
                  <a:lnTo>
                    <a:pt x="18544" y="8397"/>
                  </a:lnTo>
                  <a:lnTo>
                    <a:pt x="9548" y="12520"/>
                  </a:lnTo>
                  <a:cubicBezTo>
                    <a:pt x="8779" y="12820"/>
                    <a:pt x="7906" y="12445"/>
                    <a:pt x="7602" y="11683"/>
                  </a:cubicBezTo>
                  <a:cubicBezTo>
                    <a:pt x="7582" y="11633"/>
                    <a:pt x="7564" y="11571"/>
                    <a:pt x="7549" y="11521"/>
                  </a:cubicBezTo>
                  <a:cubicBezTo>
                    <a:pt x="7168" y="10584"/>
                    <a:pt x="7543" y="9509"/>
                    <a:pt x="8424" y="9022"/>
                  </a:cubicBezTo>
                  <a:lnTo>
                    <a:pt x="16670" y="5148"/>
                  </a:lnTo>
                  <a:lnTo>
                    <a:pt x="16670" y="4524"/>
                  </a:lnTo>
                  <a:cubicBezTo>
                    <a:pt x="14681" y="500"/>
                    <a:pt x="9809" y="-1149"/>
                    <a:pt x="5790" y="850"/>
                  </a:cubicBezTo>
                  <a:cubicBezTo>
                    <a:pt x="5211" y="1137"/>
                    <a:pt x="4670" y="1487"/>
                    <a:pt x="4176" y="1899"/>
                  </a:cubicBezTo>
                  <a:cubicBezTo>
                    <a:pt x="-98" y="5711"/>
                    <a:pt x="-1231" y="11945"/>
                    <a:pt x="1427" y="17019"/>
                  </a:cubicBezTo>
                  <a:lnTo>
                    <a:pt x="355774" y="618029"/>
                  </a:lnTo>
                  <a:lnTo>
                    <a:pt x="356523" y="618029"/>
                  </a:lnTo>
                  <a:cubicBezTo>
                    <a:pt x="355196" y="612469"/>
                    <a:pt x="358346" y="606821"/>
                    <a:pt x="363770" y="605034"/>
                  </a:cubicBezTo>
                  <a:close/>
                </a:path>
              </a:pathLst>
            </a:custGeom>
            <a:solidFill>
              <a:srgbClr val="000000"/>
            </a:solidFill>
            <a:ln w="12483" cap="flat">
              <a:noFill/>
              <a:prstDash val="solid"/>
              <a:miter/>
            </a:ln>
          </p:spPr>
          <p:txBody>
            <a:bodyPr rtlCol="0" anchor="ctr"/>
            <a:lstStyle/>
            <a:p>
              <a:endParaRPr lang="en-US"/>
            </a:p>
          </p:txBody>
        </p:sp>
        <p:sp>
          <p:nvSpPr>
            <p:cNvPr id="1334" name="Freeform: Shape 1333">
              <a:extLst>
                <a:ext uri="{FF2B5EF4-FFF2-40B4-BE49-F238E27FC236}">
                  <a16:creationId xmlns:a16="http://schemas.microsoft.com/office/drawing/2014/main" id="{48338282-6244-46D9-AD95-6BCC1214408C}"/>
                </a:ext>
              </a:extLst>
            </p:cNvPr>
            <p:cNvSpPr/>
            <p:nvPr/>
          </p:nvSpPr>
          <p:spPr>
            <a:xfrm>
              <a:off x="11790186" y="689426"/>
              <a:ext cx="12494" cy="55"/>
            </a:xfrm>
            <a:custGeom>
              <a:avLst/>
              <a:gdLst>
                <a:gd name="connsiteX0" fmla="*/ 0 w 12494"/>
                <a:gd name="connsiteY0" fmla="*/ 56 h 55"/>
                <a:gd name="connsiteX1" fmla="*/ 0 w 12494"/>
                <a:gd name="connsiteY1" fmla="*/ 56 h 55"/>
                <a:gd name="connsiteX2" fmla="*/ 0 w 12494"/>
                <a:gd name="connsiteY2" fmla="*/ 56 h 55"/>
                <a:gd name="connsiteX3" fmla="*/ 0 w 12494"/>
                <a:gd name="connsiteY3" fmla="*/ 56 h 55"/>
              </a:gdLst>
              <a:ahLst/>
              <a:cxnLst>
                <a:cxn ang="0">
                  <a:pos x="connsiteX0" y="connsiteY0"/>
                </a:cxn>
                <a:cxn ang="0">
                  <a:pos x="connsiteX1" y="connsiteY1"/>
                </a:cxn>
                <a:cxn ang="0">
                  <a:pos x="connsiteX2" y="connsiteY2"/>
                </a:cxn>
                <a:cxn ang="0">
                  <a:pos x="connsiteX3" y="connsiteY3"/>
                </a:cxn>
              </a:cxnLst>
              <a:rect l="l" t="t" r="r" b="b"/>
              <a:pathLst>
                <a:path w="12494" h="55">
                  <a:moveTo>
                    <a:pt x="0" y="56"/>
                  </a:moveTo>
                  <a:lnTo>
                    <a:pt x="0" y="56"/>
                  </a:lnTo>
                  <a:lnTo>
                    <a:pt x="0" y="56"/>
                  </a:lnTo>
                  <a:cubicBezTo>
                    <a:pt x="0" y="56"/>
                    <a:pt x="0" y="-69"/>
                    <a:pt x="0" y="56"/>
                  </a:cubicBezTo>
                  <a:close/>
                </a:path>
              </a:pathLst>
            </a:custGeom>
            <a:solidFill>
              <a:srgbClr val="000000"/>
            </a:solidFill>
            <a:ln w="12483" cap="flat">
              <a:noFill/>
              <a:prstDash val="solid"/>
              <a:miter/>
            </a:ln>
          </p:spPr>
          <p:txBody>
            <a:bodyPr rtlCol="0" anchor="ctr"/>
            <a:lstStyle/>
            <a:p>
              <a:endParaRPr lang="en-US"/>
            </a:p>
          </p:txBody>
        </p:sp>
        <p:sp>
          <p:nvSpPr>
            <p:cNvPr id="1335" name="Freeform: Shape 1334">
              <a:extLst>
                <a:ext uri="{FF2B5EF4-FFF2-40B4-BE49-F238E27FC236}">
                  <a16:creationId xmlns:a16="http://schemas.microsoft.com/office/drawing/2014/main" id="{D3680DBA-A7CB-4F33-8943-D4DAAF43925D}"/>
                </a:ext>
              </a:extLst>
            </p:cNvPr>
            <p:cNvSpPr/>
            <p:nvPr/>
          </p:nvSpPr>
          <p:spPr>
            <a:xfrm>
              <a:off x="10531980" y="690232"/>
              <a:ext cx="1255957" cy="591389"/>
            </a:xfrm>
            <a:custGeom>
              <a:avLst/>
              <a:gdLst>
                <a:gd name="connsiteX0" fmla="*/ 1255957 w 1255957"/>
                <a:gd name="connsiteY0" fmla="*/ 4373 h 591389"/>
                <a:gd name="connsiteX1" fmla="*/ 1255957 w 1255957"/>
                <a:gd name="connsiteY1" fmla="*/ 625 h 591389"/>
                <a:gd name="connsiteX2" fmla="*/ 1255957 w 1255957"/>
                <a:gd name="connsiteY2" fmla="*/ 625 h 591389"/>
                <a:gd name="connsiteX3" fmla="*/ 1255957 w 1255957"/>
                <a:gd name="connsiteY3" fmla="*/ 0 h 591389"/>
                <a:gd name="connsiteX4" fmla="*/ 1255957 w 1255957"/>
                <a:gd name="connsiteY4" fmla="*/ 0 h 591389"/>
                <a:gd name="connsiteX5" fmla="*/ 1255957 w 1255957"/>
                <a:gd name="connsiteY5" fmla="*/ 0 h 591389"/>
                <a:gd name="connsiteX6" fmla="*/ 1255957 w 1255957"/>
                <a:gd name="connsiteY6" fmla="*/ 0 h 591389"/>
                <a:gd name="connsiteX7" fmla="*/ 1255957 w 1255957"/>
                <a:gd name="connsiteY7" fmla="*/ 0 h 591389"/>
                <a:gd name="connsiteX8" fmla="*/ 0 w 1255957"/>
                <a:gd name="connsiteY8" fmla="*/ 587266 h 591389"/>
                <a:gd name="connsiteX9" fmla="*/ 0 w 1255957"/>
                <a:gd name="connsiteY9" fmla="*/ 591389 h 59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5957" h="591389">
                  <a:moveTo>
                    <a:pt x="1255957" y="4373"/>
                  </a:moveTo>
                  <a:lnTo>
                    <a:pt x="1255957" y="625"/>
                  </a:lnTo>
                  <a:lnTo>
                    <a:pt x="1255957" y="625"/>
                  </a:lnTo>
                  <a:cubicBezTo>
                    <a:pt x="1255895" y="421"/>
                    <a:pt x="1255895" y="204"/>
                    <a:pt x="1255957" y="0"/>
                  </a:cubicBezTo>
                  <a:lnTo>
                    <a:pt x="1255957" y="0"/>
                  </a:lnTo>
                  <a:lnTo>
                    <a:pt x="1255957" y="0"/>
                  </a:lnTo>
                  <a:lnTo>
                    <a:pt x="1255957" y="0"/>
                  </a:lnTo>
                  <a:lnTo>
                    <a:pt x="1255957" y="0"/>
                  </a:lnTo>
                  <a:lnTo>
                    <a:pt x="0" y="587266"/>
                  </a:lnTo>
                  <a:lnTo>
                    <a:pt x="0" y="591389"/>
                  </a:lnTo>
                  <a:close/>
                </a:path>
              </a:pathLst>
            </a:custGeom>
            <a:solidFill>
              <a:srgbClr val="000000"/>
            </a:solidFill>
            <a:ln w="12483" cap="flat">
              <a:noFill/>
              <a:prstDash val="solid"/>
              <a:miter/>
            </a:ln>
          </p:spPr>
          <p:txBody>
            <a:bodyPr rtlCol="0" anchor="ctr"/>
            <a:lstStyle/>
            <a:p>
              <a:endParaRPr lang="en-US"/>
            </a:p>
          </p:txBody>
        </p:sp>
        <p:sp>
          <p:nvSpPr>
            <p:cNvPr id="1336" name="Freeform: Shape 1335">
              <a:extLst>
                <a:ext uri="{FF2B5EF4-FFF2-40B4-BE49-F238E27FC236}">
                  <a16:creationId xmlns:a16="http://schemas.microsoft.com/office/drawing/2014/main" id="{6EEFA6E9-3FFA-45E5-8E80-85DADFC2C1E1}"/>
                </a:ext>
              </a:extLst>
            </p:cNvPr>
            <p:cNvSpPr/>
            <p:nvPr/>
          </p:nvSpPr>
          <p:spPr>
            <a:xfrm>
              <a:off x="7799910" y="1435934"/>
              <a:ext cx="2391091" cy="1121302"/>
            </a:xfrm>
            <a:custGeom>
              <a:avLst/>
              <a:gdLst>
                <a:gd name="connsiteX0" fmla="*/ 2391092 w 2391091"/>
                <a:gd name="connsiteY0" fmla="*/ 0 h 1121302"/>
                <a:gd name="connsiteX1" fmla="*/ 0 w 2391091"/>
                <a:gd name="connsiteY1" fmla="*/ 1117429 h 1121302"/>
                <a:gd name="connsiteX2" fmla="*/ 500 w 2391091"/>
                <a:gd name="connsiteY2" fmla="*/ 1121303 h 1121302"/>
                <a:gd name="connsiteX3" fmla="*/ 2391092 w 2391091"/>
                <a:gd name="connsiteY3" fmla="*/ 4123 h 1121302"/>
                <a:gd name="connsiteX4" fmla="*/ 2391092 w 2391091"/>
                <a:gd name="connsiteY4" fmla="*/ 0 h 1121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091" h="1121302">
                  <a:moveTo>
                    <a:pt x="2391092" y="0"/>
                  </a:moveTo>
                  <a:lnTo>
                    <a:pt x="0" y="1117429"/>
                  </a:lnTo>
                  <a:lnTo>
                    <a:pt x="500" y="1121303"/>
                  </a:lnTo>
                  <a:lnTo>
                    <a:pt x="2391092" y="4123"/>
                  </a:lnTo>
                  <a:lnTo>
                    <a:pt x="2391092" y="0"/>
                  </a:lnTo>
                  <a:close/>
                </a:path>
              </a:pathLst>
            </a:custGeom>
            <a:solidFill>
              <a:srgbClr val="000000"/>
            </a:solidFill>
            <a:ln w="12483" cap="flat">
              <a:noFill/>
              <a:prstDash val="solid"/>
              <a:miter/>
            </a:ln>
          </p:spPr>
          <p:txBody>
            <a:bodyPr rtlCol="0" anchor="ctr"/>
            <a:lstStyle/>
            <a:p>
              <a:endParaRPr lang="en-US"/>
            </a:p>
          </p:txBody>
        </p:sp>
        <p:sp>
          <p:nvSpPr>
            <p:cNvPr id="1337" name="Freeform: Shape 1336">
              <a:extLst>
                <a:ext uri="{FF2B5EF4-FFF2-40B4-BE49-F238E27FC236}">
                  <a16:creationId xmlns:a16="http://schemas.microsoft.com/office/drawing/2014/main" id="{26A8862C-0DDC-4167-BE22-2DAC5111C7A1}"/>
                </a:ext>
              </a:extLst>
            </p:cNvPr>
            <p:cNvSpPr/>
            <p:nvPr/>
          </p:nvSpPr>
          <p:spPr>
            <a:xfrm>
              <a:off x="5721535" y="2835251"/>
              <a:ext cx="1475635" cy="692579"/>
            </a:xfrm>
            <a:custGeom>
              <a:avLst/>
              <a:gdLst>
                <a:gd name="connsiteX0" fmla="*/ 148 w 1475635"/>
                <a:gd name="connsiteY0" fmla="*/ 691474 h 692579"/>
                <a:gd name="connsiteX1" fmla="*/ 1989 w 1475635"/>
                <a:gd name="connsiteY1" fmla="*/ 692524 h 692579"/>
                <a:gd name="connsiteX2" fmla="*/ 2147 w 1475635"/>
                <a:gd name="connsiteY2" fmla="*/ 692474 h 692579"/>
                <a:gd name="connsiteX3" fmla="*/ 11144 w 1475635"/>
                <a:gd name="connsiteY3" fmla="*/ 688351 h 692579"/>
                <a:gd name="connsiteX4" fmla="*/ 1475636 w 1475635"/>
                <a:gd name="connsiteY4" fmla="*/ 3873 h 692579"/>
                <a:gd name="connsiteX5" fmla="*/ 1475636 w 1475635"/>
                <a:gd name="connsiteY5" fmla="*/ 0 h 692579"/>
                <a:gd name="connsiteX6" fmla="*/ 9269 w 1475635"/>
                <a:gd name="connsiteY6" fmla="*/ 685102 h 692579"/>
                <a:gd name="connsiteX7" fmla="*/ 1023 w 1475635"/>
                <a:gd name="connsiteY7" fmla="*/ 688975 h 692579"/>
                <a:gd name="connsiteX8" fmla="*/ 148 w 1475635"/>
                <a:gd name="connsiteY8" fmla="*/ 691474 h 69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635" h="692579">
                  <a:moveTo>
                    <a:pt x="148" y="691474"/>
                  </a:moveTo>
                  <a:cubicBezTo>
                    <a:pt x="366" y="692274"/>
                    <a:pt x="1190" y="692749"/>
                    <a:pt x="1989" y="692524"/>
                  </a:cubicBezTo>
                  <a:cubicBezTo>
                    <a:pt x="2043" y="692511"/>
                    <a:pt x="2096" y="692499"/>
                    <a:pt x="2147" y="692474"/>
                  </a:cubicBezTo>
                  <a:lnTo>
                    <a:pt x="11144" y="688351"/>
                  </a:lnTo>
                  <a:lnTo>
                    <a:pt x="1475636" y="3873"/>
                  </a:lnTo>
                  <a:lnTo>
                    <a:pt x="1475636" y="0"/>
                  </a:lnTo>
                  <a:lnTo>
                    <a:pt x="9269" y="685102"/>
                  </a:lnTo>
                  <a:lnTo>
                    <a:pt x="1023" y="688975"/>
                  </a:lnTo>
                  <a:cubicBezTo>
                    <a:pt x="142" y="689462"/>
                    <a:pt x="-233" y="690537"/>
                    <a:pt x="148" y="691474"/>
                  </a:cubicBezTo>
                  <a:close/>
                </a:path>
              </a:pathLst>
            </a:custGeom>
            <a:solidFill>
              <a:srgbClr val="000000"/>
            </a:solidFill>
            <a:ln w="12483" cap="flat">
              <a:noFill/>
              <a:prstDash val="solid"/>
              <a:miter/>
            </a:ln>
          </p:spPr>
          <p:txBody>
            <a:bodyPr rtlCol="0" anchor="ctr"/>
            <a:lstStyle/>
            <a:p>
              <a:endParaRPr lang="en-US"/>
            </a:p>
          </p:txBody>
        </p:sp>
        <p:sp>
          <p:nvSpPr>
            <p:cNvPr id="1338" name="Freeform: Shape 1337">
              <a:extLst>
                <a:ext uri="{FF2B5EF4-FFF2-40B4-BE49-F238E27FC236}">
                  <a16:creationId xmlns:a16="http://schemas.microsoft.com/office/drawing/2014/main" id="{BF7362F6-EA77-4E79-9345-8F1B7F285344}"/>
                </a:ext>
              </a:extLst>
            </p:cNvPr>
            <p:cNvSpPr/>
            <p:nvPr/>
          </p:nvSpPr>
          <p:spPr>
            <a:xfrm>
              <a:off x="11356123" y="2955824"/>
              <a:ext cx="31585" cy="278642"/>
            </a:xfrm>
            <a:custGeom>
              <a:avLst/>
              <a:gdLst>
                <a:gd name="connsiteX0" fmla="*/ 9121 w 31585"/>
                <a:gd name="connsiteY0" fmla="*/ 267148 h 278642"/>
                <a:gd name="connsiteX1" fmla="*/ 17492 w 31585"/>
                <a:gd name="connsiteY1" fmla="*/ 278643 h 278642"/>
                <a:gd name="connsiteX2" fmla="*/ 31486 w 31585"/>
                <a:gd name="connsiteY2" fmla="*/ 22495 h 278642"/>
                <a:gd name="connsiteX3" fmla="*/ 31486 w 31585"/>
                <a:gd name="connsiteY3" fmla="*/ 17622 h 278642"/>
                <a:gd name="connsiteX4" fmla="*/ 31486 w 31585"/>
                <a:gd name="connsiteY4" fmla="*/ 11624 h 278642"/>
                <a:gd name="connsiteX5" fmla="*/ 23115 w 31585"/>
                <a:gd name="connsiteY5" fmla="*/ 4 h 278642"/>
                <a:gd name="connsiteX6" fmla="*/ 17742 w 31585"/>
                <a:gd name="connsiteY6" fmla="*/ 1878 h 278642"/>
                <a:gd name="connsiteX7" fmla="*/ 16368 w 31585"/>
                <a:gd name="connsiteY7" fmla="*/ 3128 h 278642"/>
                <a:gd name="connsiteX8" fmla="*/ 15243 w 31585"/>
                <a:gd name="connsiteY8" fmla="*/ 4752 h 278642"/>
                <a:gd name="connsiteX9" fmla="*/ 14369 w 31585"/>
                <a:gd name="connsiteY9" fmla="*/ 6502 h 278642"/>
                <a:gd name="connsiteX10" fmla="*/ 14369 w 31585"/>
                <a:gd name="connsiteY10" fmla="*/ 8626 h 278642"/>
                <a:gd name="connsiteX11" fmla="*/ 14369 w 31585"/>
                <a:gd name="connsiteY11" fmla="*/ 10125 h 278642"/>
                <a:gd name="connsiteX12" fmla="*/ 0 w 31585"/>
                <a:gd name="connsiteY12" fmla="*/ 273270 h 278642"/>
                <a:gd name="connsiteX13" fmla="*/ 0 w 31585"/>
                <a:gd name="connsiteY13" fmla="*/ 273270 h 278642"/>
                <a:gd name="connsiteX14" fmla="*/ 9121 w 31585"/>
                <a:gd name="connsiteY14" fmla="*/ 267148 h 27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85" h="278642">
                  <a:moveTo>
                    <a:pt x="9121" y="267148"/>
                  </a:moveTo>
                  <a:cubicBezTo>
                    <a:pt x="14519" y="268160"/>
                    <a:pt x="18179" y="273195"/>
                    <a:pt x="17492" y="278643"/>
                  </a:cubicBezTo>
                  <a:lnTo>
                    <a:pt x="31486" y="22495"/>
                  </a:lnTo>
                  <a:lnTo>
                    <a:pt x="31486" y="17622"/>
                  </a:lnTo>
                  <a:lnTo>
                    <a:pt x="31486" y="11624"/>
                  </a:lnTo>
                  <a:cubicBezTo>
                    <a:pt x="32248" y="6139"/>
                    <a:pt x="28563" y="1016"/>
                    <a:pt x="23115" y="4"/>
                  </a:cubicBezTo>
                  <a:cubicBezTo>
                    <a:pt x="21153" y="-58"/>
                    <a:pt x="19242" y="604"/>
                    <a:pt x="17742" y="1878"/>
                  </a:cubicBezTo>
                  <a:cubicBezTo>
                    <a:pt x="17230" y="2228"/>
                    <a:pt x="16768" y="2653"/>
                    <a:pt x="16368" y="3128"/>
                  </a:cubicBezTo>
                  <a:cubicBezTo>
                    <a:pt x="15918" y="3615"/>
                    <a:pt x="15543" y="4165"/>
                    <a:pt x="15243" y="4752"/>
                  </a:cubicBezTo>
                  <a:cubicBezTo>
                    <a:pt x="15243" y="5377"/>
                    <a:pt x="15243" y="5877"/>
                    <a:pt x="14369" y="6502"/>
                  </a:cubicBezTo>
                  <a:cubicBezTo>
                    <a:pt x="14294" y="7214"/>
                    <a:pt x="14294" y="7913"/>
                    <a:pt x="14369" y="8626"/>
                  </a:cubicBezTo>
                  <a:lnTo>
                    <a:pt x="14369" y="10125"/>
                  </a:lnTo>
                  <a:lnTo>
                    <a:pt x="0" y="273270"/>
                  </a:lnTo>
                  <a:lnTo>
                    <a:pt x="0" y="273270"/>
                  </a:lnTo>
                  <a:cubicBezTo>
                    <a:pt x="1262" y="269372"/>
                    <a:pt x="5035" y="266835"/>
                    <a:pt x="9121" y="267148"/>
                  </a:cubicBezTo>
                  <a:close/>
                </a:path>
              </a:pathLst>
            </a:custGeom>
            <a:solidFill>
              <a:srgbClr val="000000"/>
            </a:solidFill>
            <a:ln w="12483" cap="flat">
              <a:noFill/>
              <a:prstDash val="solid"/>
              <a:miter/>
            </a:ln>
          </p:spPr>
          <p:txBody>
            <a:bodyPr rtlCol="0" anchor="ctr"/>
            <a:lstStyle/>
            <a:p>
              <a:endParaRPr lang="en-US"/>
            </a:p>
          </p:txBody>
        </p:sp>
        <p:sp>
          <p:nvSpPr>
            <p:cNvPr id="1339" name="Freeform: Shape 1338">
              <a:extLst>
                <a:ext uri="{FF2B5EF4-FFF2-40B4-BE49-F238E27FC236}">
                  <a16:creationId xmlns:a16="http://schemas.microsoft.com/office/drawing/2014/main" id="{8D6B8207-8F25-4487-90C9-8A5E206338FB}"/>
                </a:ext>
              </a:extLst>
            </p:cNvPr>
            <p:cNvSpPr/>
            <p:nvPr/>
          </p:nvSpPr>
          <p:spPr>
            <a:xfrm>
              <a:off x="11372991" y="3240590"/>
              <a:ext cx="220529" cy="243777"/>
            </a:xfrm>
            <a:custGeom>
              <a:avLst/>
              <a:gdLst>
                <a:gd name="connsiteX0" fmla="*/ 220530 w 220529"/>
                <a:gd name="connsiteY0" fmla="*/ 242029 h 243777"/>
                <a:gd name="connsiteX1" fmla="*/ 250 w 220529"/>
                <a:gd name="connsiteY1" fmla="*/ 0 h 243777"/>
                <a:gd name="connsiteX2" fmla="*/ 0 w 220529"/>
                <a:gd name="connsiteY2" fmla="*/ 4998 h 243777"/>
                <a:gd name="connsiteX3" fmla="*/ 217406 w 220529"/>
                <a:gd name="connsiteY3" fmla="*/ 243778 h 243777"/>
                <a:gd name="connsiteX4" fmla="*/ 220530 w 220529"/>
                <a:gd name="connsiteY4" fmla="*/ 242029 h 243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29" h="243777">
                  <a:moveTo>
                    <a:pt x="220530" y="242029"/>
                  </a:moveTo>
                  <a:lnTo>
                    <a:pt x="250" y="0"/>
                  </a:lnTo>
                  <a:lnTo>
                    <a:pt x="0" y="4998"/>
                  </a:lnTo>
                  <a:lnTo>
                    <a:pt x="217406" y="243778"/>
                  </a:lnTo>
                  <a:lnTo>
                    <a:pt x="220530" y="242029"/>
                  </a:lnTo>
                  <a:close/>
                </a:path>
              </a:pathLst>
            </a:custGeom>
            <a:solidFill>
              <a:srgbClr val="000000"/>
            </a:solidFill>
            <a:ln w="12483" cap="flat">
              <a:noFill/>
              <a:prstDash val="solid"/>
              <a:miter/>
            </a:ln>
          </p:spPr>
          <p:txBody>
            <a:bodyPr rtlCol="0" anchor="ctr"/>
            <a:lstStyle/>
            <a:p>
              <a:endParaRPr lang="en-US"/>
            </a:p>
          </p:txBody>
        </p:sp>
        <p:sp>
          <p:nvSpPr>
            <p:cNvPr id="1340" name="Freeform: Shape 1339">
              <a:extLst>
                <a:ext uri="{FF2B5EF4-FFF2-40B4-BE49-F238E27FC236}">
                  <a16:creationId xmlns:a16="http://schemas.microsoft.com/office/drawing/2014/main" id="{3D8D1D85-187E-47DC-BA88-B3A24B22B916}"/>
                </a:ext>
              </a:extLst>
            </p:cNvPr>
            <p:cNvSpPr/>
            <p:nvPr/>
          </p:nvSpPr>
          <p:spPr>
            <a:xfrm>
              <a:off x="7666093" y="5973875"/>
              <a:ext cx="298620" cy="182926"/>
            </a:xfrm>
            <a:custGeom>
              <a:avLst/>
              <a:gdLst>
                <a:gd name="connsiteX0" fmla="*/ 296122 w 298620"/>
                <a:gd name="connsiteY0" fmla="*/ 1374 h 182926"/>
                <a:gd name="connsiteX1" fmla="*/ 298621 w 298620"/>
                <a:gd name="connsiteY1" fmla="*/ 0 h 182926"/>
                <a:gd name="connsiteX2" fmla="*/ 297746 w 298620"/>
                <a:gd name="connsiteY2" fmla="*/ 0 h 182926"/>
                <a:gd name="connsiteX3" fmla="*/ 0 w 298620"/>
                <a:gd name="connsiteY3" fmla="*/ 167183 h 182926"/>
                <a:gd name="connsiteX4" fmla="*/ 0 w 298620"/>
                <a:gd name="connsiteY4" fmla="*/ 167183 h 182926"/>
                <a:gd name="connsiteX5" fmla="*/ 2749 w 298620"/>
                <a:gd name="connsiteY5" fmla="*/ 165934 h 182926"/>
                <a:gd name="connsiteX6" fmla="*/ 13032 w 298620"/>
                <a:gd name="connsiteY6" fmla="*/ 173718 h 182926"/>
                <a:gd name="connsiteX7" fmla="*/ 13119 w 298620"/>
                <a:gd name="connsiteY7" fmla="*/ 174680 h 182926"/>
                <a:gd name="connsiteX8" fmla="*/ 14369 w 298620"/>
                <a:gd name="connsiteY8" fmla="*/ 182927 h 182926"/>
                <a:gd name="connsiteX9" fmla="*/ 298496 w 298620"/>
                <a:gd name="connsiteY9" fmla="*/ 23615 h 182926"/>
                <a:gd name="connsiteX10" fmla="*/ 294123 w 298620"/>
                <a:gd name="connsiteY10" fmla="*/ 16618 h 182926"/>
                <a:gd name="connsiteX11" fmla="*/ 296122 w 298620"/>
                <a:gd name="connsiteY11" fmla="*/ 1374 h 18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620" h="182926">
                  <a:moveTo>
                    <a:pt x="296122" y="1374"/>
                  </a:moveTo>
                  <a:cubicBezTo>
                    <a:pt x="296884" y="800"/>
                    <a:pt x="297721" y="337"/>
                    <a:pt x="298621" y="0"/>
                  </a:cubicBezTo>
                  <a:lnTo>
                    <a:pt x="297746" y="0"/>
                  </a:lnTo>
                  <a:lnTo>
                    <a:pt x="0" y="167183"/>
                  </a:lnTo>
                  <a:lnTo>
                    <a:pt x="0" y="167183"/>
                  </a:lnTo>
                  <a:cubicBezTo>
                    <a:pt x="800" y="166546"/>
                    <a:pt x="1737" y="166108"/>
                    <a:pt x="2749" y="165934"/>
                  </a:cubicBezTo>
                  <a:cubicBezTo>
                    <a:pt x="7734" y="165246"/>
                    <a:pt x="12345" y="168720"/>
                    <a:pt x="13032" y="173718"/>
                  </a:cubicBezTo>
                  <a:cubicBezTo>
                    <a:pt x="13082" y="174030"/>
                    <a:pt x="13107" y="174355"/>
                    <a:pt x="13119" y="174680"/>
                  </a:cubicBezTo>
                  <a:lnTo>
                    <a:pt x="14369" y="182927"/>
                  </a:lnTo>
                  <a:lnTo>
                    <a:pt x="298496" y="23615"/>
                  </a:lnTo>
                  <a:lnTo>
                    <a:pt x="294123" y="16618"/>
                  </a:lnTo>
                  <a:cubicBezTo>
                    <a:pt x="291212" y="11683"/>
                    <a:pt x="292036" y="5398"/>
                    <a:pt x="296122" y="1374"/>
                  </a:cubicBezTo>
                  <a:close/>
                </a:path>
              </a:pathLst>
            </a:custGeom>
            <a:solidFill>
              <a:srgbClr val="000000"/>
            </a:solidFill>
            <a:ln w="12483" cap="flat">
              <a:noFill/>
              <a:prstDash val="solid"/>
              <a:miter/>
            </a:ln>
          </p:spPr>
          <p:txBody>
            <a:bodyPr rtlCol="0" anchor="ctr"/>
            <a:lstStyle/>
            <a:p>
              <a:endParaRPr lang="en-US"/>
            </a:p>
          </p:txBody>
        </p:sp>
        <p:sp>
          <p:nvSpPr>
            <p:cNvPr id="1341" name="Freeform: Shape 1340">
              <a:extLst>
                <a:ext uri="{FF2B5EF4-FFF2-40B4-BE49-F238E27FC236}">
                  <a16:creationId xmlns:a16="http://schemas.microsoft.com/office/drawing/2014/main" id="{9BF6DF08-78C1-492B-9E6F-45874306E1AE}"/>
                </a:ext>
              </a:extLst>
            </p:cNvPr>
            <p:cNvSpPr/>
            <p:nvPr/>
          </p:nvSpPr>
          <p:spPr>
            <a:xfrm>
              <a:off x="7681211" y="6166673"/>
              <a:ext cx="182671" cy="303504"/>
            </a:xfrm>
            <a:custGeom>
              <a:avLst/>
              <a:gdLst>
                <a:gd name="connsiteX0" fmla="*/ 181547 w 182671"/>
                <a:gd name="connsiteY0" fmla="*/ 300630 h 303504"/>
                <a:gd name="connsiteX1" fmla="*/ 182671 w 182671"/>
                <a:gd name="connsiteY1" fmla="*/ 299880 h 303504"/>
                <a:gd name="connsiteX2" fmla="*/ 0 w 182671"/>
                <a:gd name="connsiteY2" fmla="*/ 0 h 303504"/>
                <a:gd name="connsiteX3" fmla="*/ 1124 w 182671"/>
                <a:gd name="connsiteY3" fmla="*/ 8497 h 303504"/>
                <a:gd name="connsiteX4" fmla="*/ 180672 w 182671"/>
                <a:gd name="connsiteY4" fmla="*/ 303504 h 303504"/>
                <a:gd name="connsiteX5" fmla="*/ 180672 w 182671"/>
                <a:gd name="connsiteY5" fmla="*/ 303504 h 303504"/>
                <a:gd name="connsiteX6" fmla="*/ 180672 w 182671"/>
                <a:gd name="connsiteY6" fmla="*/ 303504 h 303504"/>
                <a:gd name="connsiteX7" fmla="*/ 180672 w 182671"/>
                <a:gd name="connsiteY7" fmla="*/ 302879 h 303504"/>
                <a:gd name="connsiteX8" fmla="*/ 181547 w 182671"/>
                <a:gd name="connsiteY8" fmla="*/ 300630 h 30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71" h="303504">
                  <a:moveTo>
                    <a:pt x="181547" y="300630"/>
                  </a:moveTo>
                  <a:lnTo>
                    <a:pt x="182671" y="299880"/>
                  </a:lnTo>
                  <a:lnTo>
                    <a:pt x="0" y="0"/>
                  </a:lnTo>
                  <a:lnTo>
                    <a:pt x="1124" y="8497"/>
                  </a:lnTo>
                  <a:lnTo>
                    <a:pt x="180672" y="303504"/>
                  </a:lnTo>
                  <a:lnTo>
                    <a:pt x="180672" y="303504"/>
                  </a:lnTo>
                  <a:lnTo>
                    <a:pt x="180672" y="303504"/>
                  </a:lnTo>
                  <a:cubicBezTo>
                    <a:pt x="180672" y="303504"/>
                    <a:pt x="180672" y="303504"/>
                    <a:pt x="180672" y="302879"/>
                  </a:cubicBezTo>
                  <a:cubicBezTo>
                    <a:pt x="180322" y="302017"/>
                    <a:pt x="180697" y="301030"/>
                    <a:pt x="181547" y="300630"/>
                  </a:cubicBezTo>
                  <a:close/>
                </a:path>
              </a:pathLst>
            </a:custGeom>
            <a:solidFill>
              <a:srgbClr val="000000"/>
            </a:solidFill>
            <a:ln w="12483" cap="flat">
              <a:noFill/>
              <a:prstDash val="solid"/>
              <a:miter/>
            </a:ln>
          </p:spPr>
          <p:txBody>
            <a:bodyPr rtlCol="0" anchor="ctr"/>
            <a:lstStyle/>
            <a:p>
              <a:endParaRPr lang="en-US"/>
            </a:p>
          </p:txBody>
        </p:sp>
        <p:sp>
          <p:nvSpPr>
            <p:cNvPr id="1342" name="Freeform: Shape 1341">
              <a:extLst>
                <a:ext uri="{FF2B5EF4-FFF2-40B4-BE49-F238E27FC236}">
                  <a16:creationId xmlns:a16="http://schemas.microsoft.com/office/drawing/2014/main" id="{BCF7FEE0-D934-4F0E-A52C-65B0CFDEABB2}"/>
                </a:ext>
              </a:extLst>
            </p:cNvPr>
            <p:cNvSpPr/>
            <p:nvPr/>
          </p:nvSpPr>
          <p:spPr>
            <a:xfrm>
              <a:off x="7959268" y="5973500"/>
              <a:ext cx="58047" cy="106082"/>
            </a:xfrm>
            <a:custGeom>
              <a:avLst/>
              <a:gdLst>
                <a:gd name="connsiteX0" fmla="*/ 52175 w 58047"/>
                <a:gd name="connsiteY0" fmla="*/ 63600 h 106082"/>
                <a:gd name="connsiteX1" fmla="*/ 52175 w 58047"/>
                <a:gd name="connsiteY1" fmla="*/ 62975 h 106082"/>
                <a:gd name="connsiteX2" fmla="*/ 52175 w 58047"/>
                <a:gd name="connsiteY2" fmla="*/ 62225 h 106082"/>
                <a:gd name="connsiteX3" fmla="*/ 15566 w 58047"/>
                <a:gd name="connsiteY3" fmla="*/ 3873 h 106082"/>
                <a:gd name="connsiteX4" fmla="*/ 15566 w 58047"/>
                <a:gd name="connsiteY4" fmla="*/ 3248 h 106082"/>
                <a:gd name="connsiteX5" fmla="*/ 14192 w 58047"/>
                <a:gd name="connsiteY5" fmla="*/ 1749 h 106082"/>
                <a:gd name="connsiteX6" fmla="*/ 12817 w 58047"/>
                <a:gd name="connsiteY6" fmla="*/ 750 h 106082"/>
                <a:gd name="connsiteX7" fmla="*/ 11193 w 58047"/>
                <a:gd name="connsiteY7" fmla="*/ 0 h 106082"/>
                <a:gd name="connsiteX8" fmla="*/ 9444 w 58047"/>
                <a:gd name="connsiteY8" fmla="*/ 0 h 106082"/>
                <a:gd name="connsiteX9" fmla="*/ 7819 w 58047"/>
                <a:gd name="connsiteY9" fmla="*/ 0 h 106082"/>
                <a:gd name="connsiteX10" fmla="*/ 6070 w 58047"/>
                <a:gd name="connsiteY10" fmla="*/ 0 h 106082"/>
                <a:gd name="connsiteX11" fmla="*/ 3571 w 58047"/>
                <a:gd name="connsiteY11" fmla="*/ 1374 h 106082"/>
                <a:gd name="connsiteX12" fmla="*/ 1822 w 58047"/>
                <a:gd name="connsiteY12" fmla="*/ 16618 h 106082"/>
                <a:gd name="connsiteX13" fmla="*/ 6195 w 58047"/>
                <a:gd name="connsiteY13" fmla="*/ 23615 h 106082"/>
                <a:gd name="connsiteX14" fmla="*/ 58048 w 58047"/>
                <a:gd name="connsiteY14" fmla="*/ 106083 h 106082"/>
                <a:gd name="connsiteX15" fmla="*/ 58048 w 58047"/>
                <a:gd name="connsiteY15" fmla="*/ 103334 h 10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47" h="106082">
                  <a:moveTo>
                    <a:pt x="52175" y="63600"/>
                  </a:moveTo>
                  <a:cubicBezTo>
                    <a:pt x="52175" y="63600"/>
                    <a:pt x="52175" y="63600"/>
                    <a:pt x="52175" y="62975"/>
                  </a:cubicBezTo>
                  <a:cubicBezTo>
                    <a:pt x="52113" y="62725"/>
                    <a:pt x="52113" y="62475"/>
                    <a:pt x="52175" y="62225"/>
                  </a:cubicBezTo>
                  <a:lnTo>
                    <a:pt x="15566" y="3873"/>
                  </a:lnTo>
                  <a:cubicBezTo>
                    <a:pt x="15566" y="3873"/>
                    <a:pt x="15566" y="3873"/>
                    <a:pt x="15566" y="3248"/>
                  </a:cubicBezTo>
                  <a:lnTo>
                    <a:pt x="14192" y="1749"/>
                  </a:lnTo>
                  <a:lnTo>
                    <a:pt x="12817" y="750"/>
                  </a:lnTo>
                  <a:lnTo>
                    <a:pt x="11193" y="0"/>
                  </a:lnTo>
                  <a:lnTo>
                    <a:pt x="9444" y="0"/>
                  </a:lnTo>
                  <a:lnTo>
                    <a:pt x="7819" y="0"/>
                  </a:lnTo>
                  <a:lnTo>
                    <a:pt x="6070" y="0"/>
                  </a:lnTo>
                  <a:cubicBezTo>
                    <a:pt x="5171" y="337"/>
                    <a:pt x="4333" y="800"/>
                    <a:pt x="3571" y="1374"/>
                  </a:cubicBezTo>
                  <a:cubicBezTo>
                    <a:pt x="-427" y="5460"/>
                    <a:pt x="-1152" y="11733"/>
                    <a:pt x="1822" y="16618"/>
                  </a:cubicBezTo>
                  <a:lnTo>
                    <a:pt x="6195" y="23615"/>
                  </a:lnTo>
                  <a:lnTo>
                    <a:pt x="58048" y="106083"/>
                  </a:lnTo>
                  <a:lnTo>
                    <a:pt x="58048" y="103334"/>
                  </a:lnTo>
                  <a:close/>
                </a:path>
              </a:pathLst>
            </a:custGeom>
            <a:solidFill>
              <a:srgbClr val="000000"/>
            </a:solidFill>
            <a:ln w="12483" cap="flat">
              <a:noFill/>
              <a:prstDash val="solid"/>
              <a:miter/>
            </a:ln>
          </p:spPr>
          <p:txBody>
            <a:bodyPr rtlCol="0" anchor="ctr"/>
            <a:lstStyle/>
            <a:p>
              <a:endParaRPr lang="en-US"/>
            </a:p>
          </p:txBody>
        </p:sp>
        <p:sp>
          <p:nvSpPr>
            <p:cNvPr id="1343" name="Freeform: Shape 1342">
              <a:extLst>
                <a:ext uri="{FF2B5EF4-FFF2-40B4-BE49-F238E27FC236}">
                  <a16:creationId xmlns:a16="http://schemas.microsoft.com/office/drawing/2014/main" id="{B087FAB0-9E85-4899-BCB2-873AFE14254B}"/>
                </a:ext>
              </a:extLst>
            </p:cNvPr>
            <p:cNvSpPr/>
            <p:nvPr/>
          </p:nvSpPr>
          <p:spPr>
            <a:xfrm>
              <a:off x="8628302" y="4314286"/>
              <a:ext cx="334480" cy="470062"/>
            </a:xfrm>
            <a:custGeom>
              <a:avLst/>
              <a:gdLst>
                <a:gd name="connsiteX0" fmla="*/ 283628 w 334480"/>
                <a:gd name="connsiteY0" fmla="*/ 393093 h 470062"/>
                <a:gd name="connsiteX1" fmla="*/ 3249 w 334480"/>
                <a:gd name="connsiteY1" fmla="*/ 1874 h 470062"/>
                <a:gd name="connsiteX2" fmla="*/ 1874 w 334480"/>
                <a:gd name="connsiteY2" fmla="*/ 0 h 470062"/>
                <a:gd name="connsiteX3" fmla="*/ 1874 w 334480"/>
                <a:gd name="connsiteY3" fmla="*/ 0 h 470062"/>
                <a:gd name="connsiteX4" fmla="*/ 1874 w 334480"/>
                <a:gd name="connsiteY4" fmla="*/ 625 h 470062"/>
                <a:gd name="connsiteX5" fmla="*/ 1000 w 334480"/>
                <a:gd name="connsiteY5" fmla="*/ 3249 h 470062"/>
                <a:gd name="connsiteX6" fmla="*/ 0 w 334480"/>
                <a:gd name="connsiteY6" fmla="*/ 3249 h 470062"/>
                <a:gd name="connsiteX7" fmla="*/ 278880 w 334480"/>
                <a:gd name="connsiteY7" fmla="*/ 392593 h 470062"/>
                <a:gd name="connsiteX8" fmla="*/ 334481 w 334480"/>
                <a:gd name="connsiteY8" fmla="*/ 470063 h 470062"/>
                <a:gd name="connsiteX9" fmla="*/ 334481 w 334480"/>
                <a:gd name="connsiteY9" fmla="*/ 463565 h 470062"/>
                <a:gd name="connsiteX10" fmla="*/ 283877 w 334480"/>
                <a:gd name="connsiteY10" fmla="*/ 392968 h 47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480" h="470062">
                  <a:moveTo>
                    <a:pt x="283628" y="393093"/>
                  </a:moveTo>
                  <a:lnTo>
                    <a:pt x="3249" y="1874"/>
                  </a:lnTo>
                  <a:lnTo>
                    <a:pt x="1874" y="0"/>
                  </a:lnTo>
                  <a:cubicBezTo>
                    <a:pt x="1874" y="0"/>
                    <a:pt x="1874" y="0"/>
                    <a:pt x="1874" y="0"/>
                  </a:cubicBezTo>
                  <a:cubicBezTo>
                    <a:pt x="1924" y="200"/>
                    <a:pt x="1924" y="425"/>
                    <a:pt x="1874" y="625"/>
                  </a:cubicBezTo>
                  <a:cubicBezTo>
                    <a:pt x="2274" y="1599"/>
                    <a:pt x="1899" y="2712"/>
                    <a:pt x="1000" y="3249"/>
                  </a:cubicBezTo>
                  <a:lnTo>
                    <a:pt x="0" y="3249"/>
                  </a:lnTo>
                  <a:lnTo>
                    <a:pt x="278880" y="392593"/>
                  </a:lnTo>
                  <a:lnTo>
                    <a:pt x="334481" y="470063"/>
                  </a:lnTo>
                  <a:lnTo>
                    <a:pt x="334481" y="463565"/>
                  </a:lnTo>
                  <a:lnTo>
                    <a:pt x="283877" y="392968"/>
                  </a:lnTo>
                  <a:close/>
                </a:path>
              </a:pathLst>
            </a:custGeom>
            <a:solidFill>
              <a:srgbClr val="000000"/>
            </a:solidFill>
            <a:ln w="12483" cap="flat">
              <a:noFill/>
              <a:prstDash val="solid"/>
              <a:miter/>
            </a:ln>
          </p:spPr>
          <p:txBody>
            <a:bodyPr rtlCol="0" anchor="ctr"/>
            <a:lstStyle/>
            <a:p>
              <a:endParaRPr lang="en-US"/>
            </a:p>
          </p:txBody>
        </p:sp>
        <p:sp>
          <p:nvSpPr>
            <p:cNvPr id="1344" name="Freeform: Shape 1343">
              <a:extLst>
                <a:ext uri="{FF2B5EF4-FFF2-40B4-BE49-F238E27FC236}">
                  <a16:creationId xmlns:a16="http://schemas.microsoft.com/office/drawing/2014/main" id="{BDE3402B-81ED-41A1-9998-AF575EAA0ED7}"/>
                </a:ext>
              </a:extLst>
            </p:cNvPr>
            <p:cNvSpPr/>
            <p:nvPr/>
          </p:nvSpPr>
          <p:spPr>
            <a:xfrm>
              <a:off x="8387906" y="4314911"/>
              <a:ext cx="242679" cy="130198"/>
            </a:xfrm>
            <a:custGeom>
              <a:avLst/>
              <a:gdLst>
                <a:gd name="connsiteX0" fmla="*/ 240646 w 242679"/>
                <a:gd name="connsiteY0" fmla="*/ 3249 h 130198"/>
                <a:gd name="connsiteX1" fmla="*/ 241646 w 242679"/>
                <a:gd name="connsiteY1" fmla="*/ 3249 h 130198"/>
                <a:gd name="connsiteX2" fmla="*/ 242520 w 242679"/>
                <a:gd name="connsiteY2" fmla="*/ 625 h 130198"/>
                <a:gd name="connsiteX3" fmla="*/ 242520 w 242679"/>
                <a:gd name="connsiteY3" fmla="*/ 0 h 130198"/>
                <a:gd name="connsiteX4" fmla="*/ 242520 w 242679"/>
                <a:gd name="connsiteY4" fmla="*/ 0 h 130198"/>
                <a:gd name="connsiteX5" fmla="*/ 241521 w 242679"/>
                <a:gd name="connsiteY5" fmla="*/ 0 h 130198"/>
                <a:gd name="connsiteX6" fmla="*/ 0 w 242679"/>
                <a:gd name="connsiteY6" fmla="*/ 127200 h 130198"/>
                <a:gd name="connsiteX7" fmla="*/ 2249 w 242679"/>
                <a:gd name="connsiteY7" fmla="*/ 130198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679" h="130198">
                  <a:moveTo>
                    <a:pt x="240646" y="3249"/>
                  </a:moveTo>
                  <a:lnTo>
                    <a:pt x="241646" y="3249"/>
                  </a:lnTo>
                  <a:cubicBezTo>
                    <a:pt x="242545" y="2712"/>
                    <a:pt x="242920" y="1600"/>
                    <a:pt x="242520" y="625"/>
                  </a:cubicBezTo>
                  <a:cubicBezTo>
                    <a:pt x="242570" y="425"/>
                    <a:pt x="242570" y="212"/>
                    <a:pt x="242520" y="0"/>
                  </a:cubicBezTo>
                  <a:lnTo>
                    <a:pt x="242520" y="0"/>
                  </a:lnTo>
                  <a:lnTo>
                    <a:pt x="241521" y="0"/>
                  </a:lnTo>
                  <a:lnTo>
                    <a:pt x="0" y="127200"/>
                  </a:lnTo>
                  <a:lnTo>
                    <a:pt x="2249" y="130198"/>
                  </a:lnTo>
                  <a:close/>
                </a:path>
              </a:pathLst>
            </a:custGeom>
            <a:solidFill>
              <a:srgbClr val="000000"/>
            </a:solidFill>
            <a:ln w="12483" cap="flat">
              <a:noFill/>
              <a:prstDash val="solid"/>
              <a:miter/>
            </a:ln>
          </p:spPr>
          <p:txBody>
            <a:bodyPr rtlCol="0" anchor="ctr"/>
            <a:lstStyle/>
            <a:p>
              <a:endParaRPr lang="en-US"/>
            </a:p>
          </p:txBody>
        </p:sp>
        <p:sp>
          <p:nvSpPr>
            <p:cNvPr id="1345" name="Freeform: Shape 1344">
              <a:extLst>
                <a:ext uri="{FF2B5EF4-FFF2-40B4-BE49-F238E27FC236}">
                  <a16:creationId xmlns:a16="http://schemas.microsoft.com/office/drawing/2014/main" id="{6D857453-1DC3-431B-AAA6-F2697A363886}"/>
                </a:ext>
              </a:extLst>
            </p:cNvPr>
            <p:cNvSpPr/>
            <p:nvPr/>
          </p:nvSpPr>
          <p:spPr>
            <a:xfrm>
              <a:off x="11616386" y="3202980"/>
              <a:ext cx="38608" cy="22365"/>
            </a:xfrm>
            <a:custGeom>
              <a:avLst/>
              <a:gdLst>
                <a:gd name="connsiteX0" fmla="*/ 0 w 38608"/>
                <a:gd name="connsiteY0" fmla="*/ 19117 h 22365"/>
                <a:gd name="connsiteX1" fmla="*/ 0 w 38608"/>
                <a:gd name="connsiteY1" fmla="*/ 19117 h 22365"/>
                <a:gd name="connsiteX2" fmla="*/ 1000 w 38608"/>
                <a:gd name="connsiteY2" fmla="*/ 19117 h 22365"/>
                <a:gd name="connsiteX3" fmla="*/ 2374 w 38608"/>
                <a:gd name="connsiteY3" fmla="*/ 21241 h 22365"/>
                <a:gd name="connsiteX4" fmla="*/ 2374 w 38608"/>
                <a:gd name="connsiteY4" fmla="*/ 22366 h 22365"/>
                <a:gd name="connsiteX5" fmla="*/ 38608 w 38608"/>
                <a:gd name="connsiteY5" fmla="*/ 2874 h 22365"/>
                <a:gd name="connsiteX6" fmla="*/ 35985 w 38608"/>
                <a:gd name="connsiteY6" fmla="*/ 0 h 22365"/>
                <a:gd name="connsiteX7" fmla="*/ 1124 w 38608"/>
                <a:gd name="connsiteY7" fmla="*/ 18867 h 22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08" h="22365">
                  <a:moveTo>
                    <a:pt x="0" y="19117"/>
                  </a:moveTo>
                  <a:lnTo>
                    <a:pt x="0" y="19117"/>
                  </a:lnTo>
                  <a:cubicBezTo>
                    <a:pt x="325" y="19042"/>
                    <a:pt x="675" y="19042"/>
                    <a:pt x="1000" y="19117"/>
                  </a:cubicBezTo>
                  <a:cubicBezTo>
                    <a:pt x="1937" y="19367"/>
                    <a:pt x="2536" y="20279"/>
                    <a:pt x="2374" y="21241"/>
                  </a:cubicBezTo>
                  <a:lnTo>
                    <a:pt x="2374" y="22366"/>
                  </a:lnTo>
                  <a:lnTo>
                    <a:pt x="38608" y="2874"/>
                  </a:lnTo>
                  <a:lnTo>
                    <a:pt x="35985" y="0"/>
                  </a:lnTo>
                  <a:lnTo>
                    <a:pt x="1124" y="18867"/>
                  </a:lnTo>
                  <a:close/>
                </a:path>
              </a:pathLst>
            </a:custGeom>
            <a:solidFill>
              <a:srgbClr val="000000"/>
            </a:solidFill>
            <a:ln w="12483" cap="flat">
              <a:noFill/>
              <a:prstDash val="solid"/>
              <a:miter/>
            </a:ln>
          </p:spPr>
          <p:txBody>
            <a:bodyPr rtlCol="0" anchor="ctr"/>
            <a:lstStyle/>
            <a:p>
              <a:endParaRPr lang="en-US"/>
            </a:p>
          </p:txBody>
        </p:sp>
        <p:sp>
          <p:nvSpPr>
            <p:cNvPr id="1346" name="Freeform: Shape 1345">
              <a:extLst>
                <a:ext uri="{FF2B5EF4-FFF2-40B4-BE49-F238E27FC236}">
                  <a16:creationId xmlns:a16="http://schemas.microsoft.com/office/drawing/2014/main" id="{E166EB0E-30EC-4CA3-B5D8-600A25665B09}"/>
                </a:ext>
              </a:extLst>
            </p:cNvPr>
            <p:cNvSpPr/>
            <p:nvPr/>
          </p:nvSpPr>
          <p:spPr>
            <a:xfrm>
              <a:off x="11213435" y="3702905"/>
              <a:ext cx="153058" cy="175679"/>
            </a:xfrm>
            <a:custGeom>
              <a:avLst/>
              <a:gdLst>
                <a:gd name="connsiteX0" fmla="*/ 149935 w 153058"/>
                <a:gd name="connsiteY0" fmla="*/ 175680 h 175679"/>
                <a:gd name="connsiteX1" fmla="*/ 153059 w 153058"/>
                <a:gd name="connsiteY1" fmla="*/ 173930 h 175679"/>
                <a:gd name="connsiteX2" fmla="*/ 250 w 153058"/>
                <a:gd name="connsiteY2" fmla="*/ 0 h 175679"/>
                <a:gd name="connsiteX3" fmla="*/ 125 w 153058"/>
                <a:gd name="connsiteY3" fmla="*/ 874 h 175679"/>
                <a:gd name="connsiteX4" fmla="*/ 0 w 153058"/>
                <a:gd name="connsiteY4" fmla="*/ 4998 h 175679"/>
                <a:gd name="connsiteX5" fmla="*/ 149935 w 153058"/>
                <a:gd name="connsiteY5" fmla="*/ 175680 h 17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058" h="175679">
                  <a:moveTo>
                    <a:pt x="149935" y="175680"/>
                  </a:moveTo>
                  <a:lnTo>
                    <a:pt x="153059" y="173930"/>
                  </a:lnTo>
                  <a:lnTo>
                    <a:pt x="250" y="0"/>
                  </a:lnTo>
                  <a:lnTo>
                    <a:pt x="125" y="874"/>
                  </a:lnTo>
                  <a:lnTo>
                    <a:pt x="0" y="4998"/>
                  </a:lnTo>
                  <a:lnTo>
                    <a:pt x="149935" y="175680"/>
                  </a:lnTo>
                  <a:close/>
                </a:path>
              </a:pathLst>
            </a:custGeom>
            <a:solidFill>
              <a:srgbClr val="000000"/>
            </a:solidFill>
            <a:ln w="12483" cap="flat">
              <a:noFill/>
              <a:prstDash val="solid"/>
              <a:miter/>
            </a:ln>
          </p:spPr>
          <p:txBody>
            <a:bodyPr rtlCol="0" anchor="ctr"/>
            <a:lstStyle/>
            <a:p>
              <a:endParaRPr lang="en-US"/>
            </a:p>
          </p:txBody>
        </p:sp>
        <p:sp>
          <p:nvSpPr>
            <p:cNvPr id="1347" name="Freeform: Shape 1346">
              <a:extLst>
                <a:ext uri="{FF2B5EF4-FFF2-40B4-BE49-F238E27FC236}">
                  <a16:creationId xmlns:a16="http://schemas.microsoft.com/office/drawing/2014/main" id="{5905C2CF-E4A8-4489-8161-FBDAA698BDD7}"/>
                </a:ext>
              </a:extLst>
            </p:cNvPr>
            <p:cNvSpPr/>
            <p:nvPr/>
          </p:nvSpPr>
          <p:spPr>
            <a:xfrm>
              <a:off x="11394482" y="4311163"/>
              <a:ext cx="8496" cy="14494"/>
            </a:xfrm>
            <a:custGeom>
              <a:avLst/>
              <a:gdLst>
                <a:gd name="connsiteX0" fmla="*/ 0 w 8496"/>
                <a:gd name="connsiteY0" fmla="*/ 4998 h 14494"/>
                <a:gd name="connsiteX1" fmla="*/ 8121 w 8496"/>
                <a:gd name="connsiteY1" fmla="*/ 14494 h 14494"/>
                <a:gd name="connsiteX2" fmla="*/ 8246 w 8496"/>
                <a:gd name="connsiteY2" fmla="*/ 13745 h 14494"/>
                <a:gd name="connsiteX3" fmla="*/ 8246 w 8496"/>
                <a:gd name="connsiteY3" fmla="*/ 13745 h 14494"/>
                <a:gd name="connsiteX4" fmla="*/ 8246 w 8496"/>
                <a:gd name="connsiteY4" fmla="*/ 13620 h 14494"/>
                <a:gd name="connsiteX5" fmla="*/ 8496 w 8496"/>
                <a:gd name="connsiteY5" fmla="*/ 9496 h 14494"/>
                <a:gd name="connsiteX6" fmla="*/ 375 w 8496"/>
                <a:gd name="connsiteY6" fmla="*/ 0 h 14494"/>
                <a:gd name="connsiteX7" fmla="*/ 0 w 8496"/>
                <a:gd name="connsiteY7" fmla="*/ 4998 h 1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 h="14494">
                  <a:moveTo>
                    <a:pt x="0" y="4998"/>
                  </a:moveTo>
                  <a:lnTo>
                    <a:pt x="8121" y="14494"/>
                  </a:lnTo>
                  <a:lnTo>
                    <a:pt x="8246" y="13745"/>
                  </a:lnTo>
                  <a:lnTo>
                    <a:pt x="8246" y="13745"/>
                  </a:lnTo>
                  <a:lnTo>
                    <a:pt x="8246" y="13620"/>
                  </a:lnTo>
                  <a:lnTo>
                    <a:pt x="8496" y="9496"/>
                  </a:lnTo>
                  <a:lnTo>
                    <a:pt x="375" y="0"/>
                  </a:lnTo>
                  <a:lnTo>
                    <a:pt x="0" y="4998"/>
                  </a:lnTo>
                  <a:close/>
                </a:path>
              </a:pathLst>
            </a:custGeom>
            <a:solidFill>
              <a:srgbClr val="000000"/>
            </a:solidFill>
            <a:ln w="12483" cap="flat">
              <a:noFill/>
              <a:prstDash val="solid"/>
              <a:miter/>
            </a:ln>
          </p:spPr>
          <p:txBody>
            <a:bodyPr rtlCol="0" anchor="ctr"/>
            <a:lstStyle/>
            <a:p>
              <a:endParaRPr lang="en-US"/>
            </a:p>
          </p:txBody>
        </p:sp>
        <p:sp>
          <p:nvSpPr>
            <p:cNvPr id="1348" name="Freeform: Shape 1347">
              <a:extLst>
                <a:ext uri="{FF2B5EF4-FFF2-40B4-BE49-F238E27FC236}">
                  <a16:creationId xmlns:a16="http://schemas.microsoft.com/office/drawing/2014/main" id="{76360E5A-F07B-41A9-942E-6C8E966EC31C}"/>
                </a:ext>
              </a:extLst>
            </p:cNvPr>
            <p:cNvSpPr/>
            <p:nvPr/>
          </p:nvSpPr>
          <p:spPr>
            <a:xfrm>
              <a:off x="12022710" y="3173241"/>
              <a:ext cx="153058" cy="86715"/>
            </a:xfrm>
            <a:custGeom>
              <a:avLst/>
              <a:gdLst>
                <a:gd name="connsiteX0" fmla="*/ 152684 w 153058"/>
                <a:gd name="connsiteY0" fmla="*/ 4373 h 86715"/>
                <a:gd name="connsiteX1" fmla="*/ 153059 w 153058"/>
                <a:gd name="connsiteY1" fmla="*/ 0 h 86715"/>
                <a:gd name="connsiteX2" fmla="*/ 0 w 153058"/>
                <a:gd name="connsiteY2" fmla="*/ 83967 h 86715"/>
                <a:gd name="connsiteX3" fmla="*/ 2624 w 153058"/>
                <a:gd name="connsiteY3" fmla="*/ 86715 h 86715"/>
                <a:gd name="connsiteX4" fmla="*/ 152684 w 153058"/>
                <a:gd name="connsiteY4" fmla="*/ 4373 h 86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058" h="86715">
                  <a:moveTo>
                    <a:pt x="152684" y="4373"/>
                  </a:moveTo>
                  <a:lnTo>
                    <a:pt x="153059" y="0"/>
                  </a:lnTo>
                  <a:lnTo>
                    <a:pt x="0" y="83967"/>
                  </a:lnTo>
                  <a:lnTo>
                    <a:pt x="2624" y="86715"/>
                  </a:lnTo>
                  <a:lnTo>
                    <a:pt x="152684" y="4373"/>
                  </a:lnTo>
                  <a:close/>
                </a:path>
              </a:pathLst>
            </a:custGeom>
            <a:solidFill>
              <a:srgbClr val="000000"/>
            </a:solidFill>
            <a:ln w="12483" cap="flat">
              <a:noFill/>
              <a:prstDash val="solid"/>
              <a:miter/>
            </a:ln>
          </p:spPr>
          <p:txBody>
            <a:bodyPr rtlCol="0" anchor="ctr"/>
            <a:lstStyle/>
            <a:p>
              <a:endParaRPr lang="en-US"/>
            </a:p>
          </p:txBody>
        </p:sp>
        <p:sp>
          <p:nvSpPr>
            <p:cNvPr id="1349" name="Freeform: Shape 1348">
              <a:extLst>
                <a:ext uri="{FF2B5EF4-FFF2-40B4-BE49-F238E27FC236}">
                  <a16:creationId xmlns:a16="http://schemas.microsoft.com/office/drawing/2014/main" id="{2F348D2D-C7E9-46F8-9795-73BCF3533455}"/>
                </a:ext>
              </a:extLst>
            </p:cNvPr>
            <p:cNvSpPr/>
            <p:nvPr/>
          </p:nvSpPr>
          <p:spPr>
            <a:xfrm>
              <a:off x="11644499" y="3464250"/>
              <a:ext cx="216906" cy="238904"/>
            </a:xfrm>
            <a:custGeom>
              <a:avLst/>
              <a:gdLst>
                <a:gd name="connsiteX0" fmla="*/ 1000 w 216906"/>
                <a:gd name="connsiteY0" fmla="*/ 2999 h 238904"/>
                <a:gd name="connsiteX1" fmla="*/ 1000 w 216906"/>
                <a:gd name="connsiteY1" fmla="*/ 2999 h 238904"/>
                <a:gd name="connsiteX2" fmla="*/ 1000 w 216906"/>
                <a:gd name="connsiteY2" fmla="*/ 2999 h 238904"/>
                <a:gd name="connsiteX3" fmla="*/ 1000 w 216906"/>
                <a:gd name="connsiteY3" fmla="*/ 2999 h 238904"/>
                <a:gd name="connsiteX4" fmla="*/ 0 w 216906"/>
                <a:gd name="connsiteY4" fmla="*/ 2999 h 238904"/>
                <a:gd name="connsiteX5" fmla="*/ 215657 w 216906"/>
                <a:gd name="connsiteY5" fmla="*/ 238905 h 238904"/>
                <a:gd name="connsiteX6" fmla="*/ 216906 w 216906"/>
                <a:gd name="connsiteY6" fmla="*/ 238155 h 238904"/>
                <a:gd name="connsiteX7" fmla="*/ 216906 w 216906"/>
                <a:gd name="connsiteY7" fmla="*/ 235406 h 238904"/>
                <a:gd name="connsiteX8" fmla="*/ 1749 w 216906"/>
                <a:gd name="connsiteY8" fmla="*/ 0 h 238904"/>
                <a:gd name="connsiteX9" fmla="*/ 1749 w 216906"/>
                <a:gd name="connsiteY9" fmla="*/ 875 h 238904"/>
                <a:gd name="connsiteX10" fmla="*/ 1000 w 216906"/>
                <a:gd name="connsiteY10" fmla="*/ 2999 h 23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906" h="238904">
                  <a:moveTo>
                    <a:pt x="1000" y="2999"/>
                  </a:moveTo>
                  <a:cubicBezTo>
                    <a:pt x="1000" y="2999"/>
                    <a:pt x="1000" y="2999"/>
                    <a:pt x="1000" y="2999"/>
                  </a:cubicBezTo>
                  <a:lnTo>
                    <a:pt x="1000" y="2999"/>
                  </a:lnTo>
                  <a:lnTo>
                    <a:pt x="1000" y="2999"/>
                  </a:lnTo>
                  <a:lnTo>
                    <a:pt x="0" y="2999"/>
                  </a:lnTo>
                  <a:lnTo>
                    <a:pt x="215657" y="238905"/>
                  </a:lnTo>
                  <a:lnTo>
                    <a:pt x="216906" y="238155"/>
                  </a:lnTo>
                  <a:lnTo>
                    <a:pt x="216906" y="235406"/>
                  </a:lnTo>
                  <a:lnTo>
                    <a:pt x="1749" y="0"/>
                  </a:lnTo>
                  <a:lnTo>
                    <a:pt x="1749" y="875"/>
                  </a:lnTo>
                  <a:cubicBezTo>
                    <a:pt x="1749" y="875"/>
                    <a:pt x="1000" y="2874"/>
                    <a:pt x="1000" y="2999"/>
                  </a:cubicBezTo>
                  <a:close/>
                </a:path>
              </a:pathLst>
            </a:custGeom>
            <a:solidFill>
              <a:srgbClr val="000000"/>
            </a:solidFill>
            <a:ln w="12483" cap="flat">
              <a:noFill/>
              <a:prstDash val="solid"/>
              <a:miter/>
            </a:ln>
          </p:spPr>
          <p:txBody>
            <a:bodyPr rtlCol="0" anchor="ctr"/>
            <a:lstStyle/>
            <a:p>
              <a:endParaRPr lang="en-US"/>
            </a:p>
          </p:txBody>
        </p:sp>
        <p:sp>
          <p:nvSpPr>
            <p:cNvPr id="1350" name="Freeform: Shape 1349">
              <a:extLst>
                <a:ext uri="{FF2B5EF4-FFF2-40B4-BE49-F238E27FC236}">
                  <a16:creationId xmlns:a16="http://schemas.microsoft.com/office/drawing/2014/main" id="{1A382CCF-BD8E-4B5B-B8B7-10550092D73D}"/>
                </a:ext>
              </a:extLst>
            </p:cNvPr>
            <p:cNvSpPr/>
            <p:nvPr/>
          </p:nvSpPr>
          <p:spPr>
            <a:xfrm>
              <a:off x="11606265" y="3466000"/>
              <a:ext cx="38483" cy="22865"/>
            </a:xfrm>
            <a:custGeom>
              <a:avLst/>
              <a:gdLst>
                <a:gd name="connsiteX0" fmla="*/ 1499 w 38483"/>
                <a:gd name="connsiteY0" fmla="*/ 22866 h 22865"/>
                <a:gd name="connsiteX1" fmla="*/ 37484 w 38483"/>
                <a:gd name="connsiteY1" fmla="*/ 3124 h 22865"/>
                <a:gd name="connsiteX2" fmla="*/ 38484 w 38483"/>
                <a:gd name="connsiteY2" fmla="*/ 3124 h 22865"/>
                <a:gd name="connsiteX3" fmla="*/ 38484 w 38483"/>
                <a:gd name="connsiteY3" fmla="*/ 3124 h 22865"/>
                <a:gd name="connsiteX4" fmla="*/ 37484 w 38483"/>
                <a:gd name="connsiteY4" fmla="*/ 3124 h 22865"/>
                <a:gd name="connsiteX5" fmla="*/ 36072 w 38483"/>
                <a:gd name="connsiteY5" fmla="*/ 1312 h 22865"/>
                <a:gd name="connsiteX6" fmla="*/ 36110 w 38483"/>
                <a:gd name="connsiteY6" fmla="*/ 1125 h 22865"/>
                <a:gd name="connsiteX7" fmla="*/ 36110 w 38483"/>
                <a:gd name="connsiteY7" fmla="*/ 0 h 22865"/>
                <a:gd name="connsiteX8" fmla="*/ 0 w 38483"/>
                <a:gd name="connsiteY8" fmla="*/ 19742 h 22865"/>
                <a:gd name="connsiteX9" fmla="*/ 1000 w 38483"/>
                <a:gd name="connsiteY9" fmla="*/ 21366 h 22865"/>
                <a:gd name="connsiteX10" fmla="*/ 1499 w 38483"/>
                <a:gd name="connsiteY10" fmla="*/ 22866 h 2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83" h="22865">
                  <a:moveTo>
                    <a:pt x="1499" y="22866"/>
                  </a:moveTo>
                  <a:lnTo>
                    <a:pt x="37484" y="3124"/>
                  </a:lnTo>
                  <a:lnTo>
                    <a:pt x="38484" y="3124"/>
                  </a:lnTo>
                  <a:lnTo>
                    <a:pt x="38484" y="3124"/>
                  </a:lnTo>
                  <a:cubicBezTo>
                    <a:pt x="38159" y="3249"/>
                    <a:pt x="37809" y="3249"/>
                    <a:pt x="37484" y="3124"/>
                  </a:cubicBezTo>
                  <a:cubicBezTo>
                    <a:pt x="36597" y="3011"/>
                    <a:pt x="35960" y="2199"/>
                    <a:pt x="36072" y="1312"/>
                  </a:cubicBezTo>
                  <a:cubicBezTo>
                    <a:pt x="36084" y="1249"/>
                    <a:pt x="36097" y="1187"/>
                    <a:pt x="36110" y="1125"/>
                  </a:cubicBezTo>
                  <a:lnTo>
                    <a:pt x="36110" y="0"/>
                  </a:lnTo>
                  <a:lnTo>
                    <a:pt x="0" y="19742"/>
                  </a:lnTo>
                  <a:cubicBezTo>
                    <a:pt x="400" y="20242"/>
                    <a:pt x="737" y="20779"/>
                    <a:pt x="1000" y="21366"/>
                  </a:cubicBezTo>
                  <a:cubicBezTo>
                    <a:pt x="1200" y="21854"/>
                    <a:pt x="1375" y="22354"/>
                    <a:pt x="1499" y="22866"/>
                  </a:cubicBezTo>
                  <a:close/>
                </a:path>
              </a:pathLst>
            </a:custGeom>
            <a:solidFill>
              <a:srgbClr val="000000"/>
            </a:solidFill>
            <a:ln w="12483" cap="flat">
              <a:noFill/>
              <a:prstDash val="solid"/>
              <a:miter/>
            </a:ln>
          </p:spPr>
          <p:txBody>
            <a:bodyPr rtlCol="0" anchor="ctr"/>
            <a:lstStyle/>
            <a:p>
              <a:endParaRPr lang="en-US"/>
            </a:p>
          </p:txBody>
        </p:sp>
        <p:sp>
          <p:nvSpPr>
            <p:cNvPr id="1351" name="Freeform: Shape 1350">
              <a:extLst>
                <a:ext uri="{FF2B5EF4-FFF2-40B4-BE49-F238E27FC236}">
                  <a16:creationId xmlns:a16="http://schemas.microsoft.com/office/drawing/2014/main" id="{99520873-23AE-4CC0-8861-4314B0450856}"/>
                </a:ext>
              </a:extLst>
            </p:cNvPr>
            <p:cNvSpPr/>
            <p:nvPr/>
          </p:nvSpPr>
          <p:spPr>
            <a:xfrm>
              <a:off x="11633378" y="3922318"/>
              <a:ext cx="35110" cy="241403"/>
            </a:xfrm>
            <a:custGeom>
              <a:avLst/>
              <a:gdLst>
                <a:gd name="connsiteX0" fmla="*/ 34736 w 35110"/>
                <a:gd name="connsiteY0" fmla="*/ 0 h 241403"/>
                <a:gd name="connsiteX1" fmla="*/ 32362 w 35110"/>
                <a:gd name="connsiteY1" fmla="*/ 7122 h 241403"/>
                <a:gd name="connsiteX2" fmla="*/ 21329 w 35110"/>
                <a:gd name="connsiteY2" fmla="*/ 8584 h 241403"/>
                <a:gd name="connsiteX3" fmla="*/ 19867 w 35110"/>
                <a:gd name="connsiteY3" fmla="*/ 7122 h 241403"/>
                <a:gd name="connsiteX4" fmla="*/ 16619 w 35110"/>
                <a:gd name="connsiteY4" fmla="*/ 3499 h 241403"/>
                <a:gd name="connsiteX5" fmla="*/ 16619 w 35110"/>
                <a:gd name="connsiteY5" fmla="*/ 6747 h 241403"/>
                <a:gd name="connsiteX6" fmla="*/ 1 w 35110"/>
                <a:gd name="connsiteY6" fmla="*/ 239529 h 241403"/>
                <a:gd name="connsiteX7" fmla="*/ 9622 w 35110"/>
                <a:gd name="connsiteY7" fmla="*/ 229658 h 241403"/>
                <a:gd name="connsiteX8" fmla="*/ 9747 w 35110"/>
                <a:gd name="connsiteY8" fmla="*/ 229658 h 241403"/>
                <a:gd name="connsiteX9" fmla="*/ 17993 w 35110"/>
                <a:gd name="connsiteY9" fmla="*/ 241404 h 241403"/>
                <a:gd name="connsiteX10" fmla="*/ 35111 w 35110"/>
                <a:gd name="connsiteY10" fmla="*/ 125 h 24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10" h="241403">
                  <a:moveTo>
                    <a:pt x="34736" y="0"/>
                  </a:moveTo>
                  <a:cubicBezTo>
                    <a:pt x="34699" y="2561"/>
                    <a:pt x="33861" y="5048"/>
                    <a:pt x="32362" y="7122"/>
                  </a:cubicBezTo>
                  <a:cubicBezTo>
                    <a:pt x="29713" y="10571"/>
                    <a:pt x="24778" y="11220"/>
                    <a:pt x="21329" y="8584"/>
                  </a:cubicBezTo>
                  <a:cubicBezTo>
                    <a:pt x="20779" y="8159"/>
                    <a:pt x="20292" y="7672"/>
                    <a:pt x="19867" y="7122"/>
                  </a:cubicBezTo>
                  <a:lnTo>
                    <a:pt x="16619" y="3499"/>
                  </a:lnTo>
                  <a:lnTo>
                    <a:pt x="16619" y="6747"/>
                  </a:lnTo>
                  <a:lnTo>
                    <a:pt x="1" y="239529"/>
                  </a:lnTo>
                  <a:cubicBezTo>
                    <a:pt x="-74" y="234144"/>
                    <a:pt x="4237" y="229733"/>
                    <a:pt x="9622" y="229658"/>
                  </a:cubicBezTo>
                  <a:cubicBezTo>
                    <a:pt x="9659" y="229658"/>
                    <a:pt x="9709" y="229658"/>
                    <a:pt x="9747" y="229658"/>
                  </a:cubicBezTo>
                  <a:cubicBezTo>
                    <a:pt x="15119" y="230846"/>
                    <a:pt x="18706" y="235943"/>
                    <a:pt x="17993" y="241404"/>
                  </a:cubicBezTo>
                  <a:lnTo>
                    <a:pt x="35111" y="125"/>
                  </a:lnTo>
                  <a:close/>
                </a:path>
              </a:pathLst>
            </a:custGeom>
            <a:solidFill>
              <a:srgbClr val="000000"/>
            </a:solidFill>
            <a:ln w="12483" cap="flat">
              <a:noFill/>
              <a:prstDash val="solid"/>
              <a:miter/>
            </a:ln>
          </p:spPr>
          <p:txBody>
            <a:bodyPr rtlCol="0" anchor="ctr"/>
            <a:lstStyle/>
            <a:p>
              <a:endParaRPr lang="en-US"/>
            </a:p>
          </p:txBody>
        </p:sp>
        <p:sp>
          <p:nvSpPr>
            <p:cNvPr id="1352" name="Freeform: Shape 1351">
              <a:extLst>
                <a:ext uri="{FF2B5EF4-FFF2-40B4-BE49-F238E27FC236}">
                  <a16:creationId xmlns:a16="http://schemas.microsoft.com/office/drawing/2014/main" id="{A94E57B5-B35E-47B9-ACB2-4A005F33431E}"/>
                </a:ext>
              </a:extLst>
            </p:cNvPr>
            <p:cNvSpPr/>
            <p:nvPr/>
          </p:nvSpPr>
          <p:spPr>
            <a:xfrm>
              <a:off x="11407101" y="4055765"/>
              <a:ext cx="14962" cy="208541"/>
            </a:xfrm>
            <a:custGeom>
              <a:avLst/>
              <a:gdLst>
                <a:gd name="connsiteX0" fmla="*/ 14869 w 14962"/>
                <a:gd name="connsiteY0" fmla="*/ 0 h 208541"/>
                <a:gd name="connsiteX1" fmla="*/ 14869 w 14962"/>
                <a:gd name="connsiteY1" fmla="*/ 1374 h 208541"/>
                <a:gd name="connsiteX2" fmla="*/ 12770 w 14962"/>
                <a:gd name="connsiteY2" fmla="*/ 1649 h 208541"/>
                <a:gd name="connsiteX3" fmla="*/ 12495 w 14962"/>
                <a:gd name="connsiteY3" fmla="*/ 1374 h 208541"/>
                <a:gd name="connsiteX4" fmla="*/ 12495 w 14962"/>
                <a:gd name="connsiteY4" fmla="*/ 1374 h 208541"/>
                <a:gd name="connsiteX5" fmla="*/ 0 w 14962"/>
                <a:gd name="connsiteY5" fmla="*/ 204294 h 208541"/>
                <a:gd name="connsiteX6" fmla="*/ 2374 w 14962"/>
                <a:gd name="connsiteY6" fmla="*/ 207167 h 208541"/>
                <a:gd name="connsiteX7" fmla="*/ 2374 w 14962"/>
                <a:gd name="connsiteY7" fmla="*/ 207167 h 208541"/>
                <a:gd name="connsiteX8" fmla="*/ 2374 w 14962"/>
                <a:gd name="connsiteY8" fmla="*/ 207792 h 208541"/>
                <a:gd name="connsiteX9" fmla="*/ 2374 w 14962"/>
                <a:gd name="connsiteY9" fmla="*/ 208542 h 208541"/>
                <a:gd name="connsiteX10" fmla="*/ 2374 w 14962"/>
                <a:gd name="connsiteY10" fmla="*/ 208542 h 208541"/>
                <a:gd name="connsiteX11" fmla="*/ 14869 w 14962"/>
                <a:gd name="connsiteY11" fmla="*/ 1749 h 208541"/>
                <a:gd name="connsiteX12" fmla="*/ 14869 w 14962"/>
                <a:gd name="connsiteY12" fmla="*/ 625 h 20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62" h="208541">
                  <a:moveTo>
                    <a:pt x="14869" y="0"/>
                  </a:moveTo>
                  <a:cubicBezTo>
                    <a:pt x="14994" y="450"/>
                    <a:pt x="14994" y="925"/>
                    <a:pt x="14869" y="1374"/>
                  </a:cubicBezTo>
                  <a:cubicBezTo>
                    <a:pt x="14357" y="2024"/>
                    <a:pt x="13419" y="2149"/>
                    <a:pt x="12770" y="1649"/>
                  </a:cubicBezTo>
                  <a:cubicBezTo>
                    <a:pt x="12670" y="1562"/>
                    <a:pt x="12570" y="1475"/>
                    <a:pt x="12495" y="1374"/>
                  </a:cubicBezTo>
                  <a:lnTo>
                    <a:pt x="12495" y="1374"/>
                  </a:lnTo>
                  <a:lnTo>
                    <a:pt x="0" y="204294"/>
                  </a:lnTo>
                  <a:lnTo>
                    <a:pt x="2374" y="207167"/>
                  </a:lnTo>
                  <a:lnTo>
                    <a:pt x="2374" y="207167"/>
                  </a:lnTo>
                  <a:cubicBezTo>
                    <a:pt x="2374" y="207167"/>
                    <a:pt x="2374" y="207167"/>
                    <a:pt x="2374" y="207792"/>
                  </a:cubicBezTo>
                  <a:cubicBezTo>
                    <a:pt x="2374" y="208417"/>
                    <a:pt x="2374" y="207792"/>
                    <a:pt x="2374" y="208542"/>
                  </a:cubicBezTo>
                  <a:lnTo>
                    <a:pt x="2374" y="208542"/>
                  </a:lnTo>
                  <a:lnTo>
                    <a:pt x="14869" y="1749"/>
                  </a:lnTo>
                  <a:lnTo>
                    <a:pt x="14869" y="625"/>
                  </a:lnTo>
                  <a:close/>
                </a:path>
              </a:pathLst>
            </a:custGeom>
            <a:solidFill>
              <a:srgbClr val="000000"/>
            </a:solidFill>
            <a:ln w="12483" cap="flat">
              <a:noFill/>
              <a:prstDash val="solid"/>
              <a:miter/>
            </a:ln>
          </p:spPr>
          <p:txBody>
            <a:bodyPr rtlCol="0" anchor="ctr"/>
            <a:lstStyle/>
            <a:p>
              <a:endParaRPr lang="en-US"/>
            </a:p>
          </p:txBody>
        </p:sp>
        <p:sp>
          <p:nvSpPr>
            <p:cNvPr id="1353" name="Freeform: Shape 1352">
              <a:extLst>
                <a:ext uri="{FF2B5EF4-FFF2-40B4-BE49-F238E27FC236}">
                  <a16:creationId xmlns:a16="http://schemas.microsoft.com/office/drawing/2014/main" id="{54D5C67E-FE81-4B7E-9634-C0CCB367CDA3}"/>
                </a:ext>
              </a:extLst>
            </p:cNvPr>
            <p:cNvSpPr/>
            <p:nvPr/>
          </p:nvSpPr>
          <p:spPr>
            <a:xfrm>
              <a:off x="11642125" y="3211726"/>
              <a:ext cx="20366" cy="257116"/>
            </a:xfrm>
            <a:custGeom>
              <a:avLst/>
              <a:gdLst>
                <a:gd name="connsiteX0" fmla="*/ 375 w 20366"/>
                <a:gd name="connsiteY0" fmla="*/ 255023 h 257116"/>
                <a:gd name="connsiteX1" fmla="*/ 1562 w 20366"/>
                <a:gd name="connsiteY1" fmla="*/ 256985 h 257116"/>
                <a:gd name="connsiteX2" fmla="*/ 1749 w 20366"/>
                <a:gd name="connsiteY2" fmla="*/ 257023 h 257116"/>
                <a:gd name="connsiteX3" fmla="*/ 2749 w 20366"/>
                <a:gd name="connsiteY3" fmla="*/ 257023 h 257116"/>
                <a:gd name="connsiteX4" fmla="*/ 2749 w 20366"/>
                <a:gd name="connsiteY4" fmla="*/ 257023 h 257116"/>
                <a:gd name="connsiteX5" fmla="*/ 2749 w 20366"/>
                <a:gd name="connsiteY5" fmla="*/ 257023 h 257116"/>
                <a:gd name="connsiteX6" fmla="*/ 2749 w 20366"/>
                <a:gd name="connsiteY6" fmla="*/ 257023 h 257116"/>
                <a:gd name="connsiteX7" fmla="*/ 2749 w 20366"/>
                <a:gd name="connsiteY7" fmla="*/ 256148 h 257116"/>
                <a:gd name="connsiteX8" fmla="*/ 20366 w 20366"/>
                <a:gd name="connsiteY8" fmla="*/ 0 h 257116"/>
                <a:gd name="connsiteX9" fmla="*/ 20366 w 20366"/>
                <a:gd name="connsiteY9" fmla="*/ 0 h 257116"/>
                <a:gd name="connsiteX10" fmla="*/ 18742 w 20366"/>
                <a:gd name="connsiteY10" fmla="*/ 0 h 257116"/>
                <a:gd name="connsiteX11" fmla="*/ 17743 w 20366"/>
                <a:gd name="connsiteY11" fmla="*/ 0 h 257116"/>
                <a:gd name="connsiteX12" fmla="*/ 0 w 20366"/>
                <a:gd name="connsiteY12" fmla="*/ 256023 h 25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6" h="257116">
                  <a:moveTo>
                    <a:pt x="375" y="255023"/>
                  </a:moveTo>
                  <a:cubicBezTo>
                    <a:pt x="162" y="255898"/>
                    <a:pt x="687" y="256773"/>
                    <a:pt x="1562" y="256985"/>
                  </a:cubicBezTo>
                  <a:cubicBezTo>
                    <a:pt x="1624" y="256998"/>
                    <a:pt x="1687" y="257010"/>
                    <a:pt x="1749" y="257023"/>
                  </a:cubicBezTo>
                  <a:cubicBezTo>
                    <a:pt x="2074" y="257147"/>
                    <a:pt x="2424" y="257147"/>
                    <a:pt x="2749" y="257023"/>
                  </a:cubicBezTo>
                  <a:lnTo>
                    <a:pt x="2749" y="257023"/>
                  </a:lnTo>
                  <a:cubicBezTo>
                    <a:pt x="2749" y="257023"/>
                    <a:pt x="2749" y="257023"/>
                    <a:pt x="2749" y="257023"/>
                  </a:cubicBezTo>
                  <a:cubicBezTo>
                    <a:pt x="2749" y="257023"/>
                    <a:pt x="2749" y="257023"/>
                    <a:pt x="2749" y="257023"/>
                  </a:cubicBezTo>
                  <a:lnTo>
                    <a:pt x="2749" y="256148"/>
                  </a:lnTo>
                  <a:lnTo>
                    <a:pt x="20366" y="0"/>
                  </a:lnTo>
                  <a:lnTo>
                    <a:pt x="20366" y="0"/>
                  </a:lnTo>
                  <a:lnTo>
                    <a:pt x="18742" y="0"/>
                  </a:lnTo>
                  <a:lnTo>
                    <a:pt x="17743" y="0"/>
                  </a:lnTo>
                  <a:lnTo>
                    <a:pt x="0" y="256023"/>
                  </a:lnTo>
                  <a:close/>
                </a:path>
              </a:pathLst>
            </a:custGeom>
            <a:solidFill>
              <a:srgbClr val="000000"/>
            </a:solidFill>
            <a:ln w="12483" cap="flat">
              <a:noFill/>
              <a:prstDash val="solid"/>
              <a:miter/>
            </a:ln>
          </p:spPr>
          <p:txBody>
            <a:bodyPr rtlCol="0" anchor="ctr"/>
            <a:lstStyle/>
            <a:p>
              <a:endParaRPr lang="en-US"/>
            </a:p>
          </p:txBody>
        </p:sp>
        <p:sp>
          <p:nvSpPr>
            <p:cNvPr id="1354" name="Freeform: Shape 1353">
              <a:extLst>
                <a:ext uri="{FF2B5EF4-FFF2-40B4-BE49-F238E27FC236}">
                  <a16:creationId xmlns:a16="http://schemas.microsoft.com/office/drawing/2014/main" id="{22B5957A-CFD0-4716-9202-61438DF4145B}"/>
                </a:ext>
              </a:extLst>
            </p:cNvPr>
            <p:cNvSpPr/>
            <p:nvPr/>
          </p:nvSpPr>
          <p:spPr>
            <a:xfrm>
              <a:off x="11598269" y="3221666"/>
              <a:ext cx="20392" cy="259327"/>
            </a:xfrm>
            <a:custGeom>
              <a:avLst/>
              <a:gdLst>
                <a:gd name="connsiteX0" fmla="*/ 17367 w 20392"/>
                <a:gd name="connsiteY0" fmla="*/ 1805 h 259327"/>
                <a:gd name="connsiteX1" fmla="*/ 17367 w 20392"/>
                <a:gd name="connsiteY1" fmla="*/ 2930 h 259327"/>
                <a:gd name="connsiteX2" fmla="*/ 0 w 20392"/>
                <a:gd name="connsiteY2" fmla="*/ 259328 h 259327"/>
                <a:gd name="connsiteX3" fmla="*/ 3248 w 20392"/>
                <a:gd name="connsiteY3" fmla="*/ 259328 h 259327"/>
                <a:gd name="connsiteX4" fmla="*/ 20366 w 20392"/>
                <a:gd name="connsiteY4" fmla="*/ 3305 h 259327"/>
                <a:gd name="connsiteX5" fmla="*/ 20366 w 20392"/>
                <a:gd name="connsiteY5" fmla="*/ 2180 h 259327"/>
                <a:gd name="connsiteX6" fmla="*/ 18992 w 20392"/>
                <a:gd name="connsiteY6" fmla="*/ 56 h 259327"/>
                <a:gd name="connsiteX7" fmla="*/ 17992 w 20392"/>
                <a:gd name="connsiteY7" fmla="*/ 56 h 259327"/>
                <a:gd name="connsiteX8" fmla="*/ 17992 w 20392"/>
                <a:gd name="connsiteY8" fmla="*/ 681 h 259327"/>
                <a:gd name="connsiteX9" fmla="*/ 17367 w 20392"/>
                <a:gd name="connsiteY9" fmla="*/ 1805 h 25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92" h="259327">
                  <a:moveTo>
                    <a:pt x="17367" y="1805"/>
                  </a:moveTo>
                  <a:lnTo>
                    <a:pt x="17367" y="2930"/>
                  </a:lnTo>
                  <a:lnTo>
                    <a:pt x="0" y="259328"/>
                  </a:lnTo>
                  <a:cubicBezTo>
                    <a:pt x="1075" y="259078"/>
                    <a:pt x="2174" y="259078"/>
                    <a:pt x="3248" y="259328"/>
                  </a:cubicBezTo>
                  <a:lnTo>
                    <a:pt x="20366" y="3305"/>
                  </a:lnTo>
                  <a:lnTo>
                    <a:pt x="20366" y="2180"/>
                  </a:lnTo>
                  <a:cubicBezTo>
                    <a:pt x="20529" y="1218"/>
                    <a:pt x="19929" y="306"/>
                    <a:pt x="18992" y="56"/>
                  </a:cubicBezTo>
                  <a:cubicBezTo>
                    <a:pt x="18667" y="-19"/>
                    <a:pt x="18317" y="-19"/>
                    <a:pt x="17992" y="56"/>
                  </a:cubicBezTo>
                  <a:lnTo>
                    <a:pt x="17992" y="681"/>
                  </a:lnTo>
                  <a:cubicBezTo>
                    <a:pt x="17542" y="856"/>
                    <a:pt x="17280" y="1331"/>
                    <a:pt x="17367" y="1805"/>
                  </a:cubicBezTo>
                  <a:close/>
                </a:path>
              </a:pathLst>
            </a:custGeom>
            <a:solidFill>
              <a:srgbClr val="000000"/>
            </a:solidFill>
            <a:ln w="12483" cap="flat">
              <a:noFill/>
              <a:prstDash val="solid"/>
              <a:miter/>
            </a:ln>
          </p:spPr>
          <p:txBody>
            <a:bodyPr rtlCol="0" anchor="ctr"/>
            <a:lstStyle/>
            <a:p>
              <a:endParaRPr lang="en-US"/>
            </a:p>
          </p:txBody>
        </p:sp>
        <p:sp>
          <p:nvSpPr>
            <p:cNvPr id="1355" name="Freeform: Shape 1354">
              <a:extLst>
                <a:ext uri="{FF2B5EF4-FFF2-40B4-BE49-F238E27FC236}">
                  <a16:creationId xmlns:a16="http://schemas.microsoft.com/office/drawing/2014/main" id="{A41C783C-FD89-4F51-94E4-97E96861376D}"/>
                </a:ext>
              </a:extLst>
            </p:cNvPr>
            <p:cNvSpPr/>
            <p:nvPr/>
          </p:nvSpPr>
          <p:spPr>
            <a:xfrm>
              <a:off x="11396106" y="4283924"/>
              <a:ext cx="8496" cy="14494"/>
            </a:xfrm>
            <a:custGeom>
              <a:avLst/>
              <a:gdLst>
                <a:gd name="connsiteX0" fmla="*/ 375 w 8496"/>
                <a:gd name="connsiteY0" fmla="*/ 0 h 14494"/>
                <a:gd name="connsiteX1" fmla="*/ 0 w 8496"/>
                <a:gd name="connsiteY1" fmla="*/ 4998 h 14494"/>
                <a:gd name="connsiteX2" fmla="*/ 8121 w 8496"/>
                <a:gd name="connsiteY2" fmla="*/ 14494 h 14494"/>
                <a:gd name="connsiteX3" fmla="*/ 8246 w 8496"/>
                <a:gd name="connsiteY3" fmla="*/ 13620 h 14494"/>
                <a:gd name="connsiteX4" fmla="*/ 8496 w 8496"/>
                <a:gd name="connsiteY4" fmla="*/ 9496 h 14494"/>
                <a:gd name="connsiteX5" fmla="*/ 375 w 8496"/>
                <a:gd name="connsiteY5" fmla="*/ 0 h 1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6" h="14494">
                  <a:moveTo>
                    <a:pt x="375" y="0"/>
                  </a:moveTo>
                  <a:lnTo>
                    <a:pt x="0" y="4998"/>
                  </a:lnTo>
                  <a:lnTo>
                    <a:pt x="8121" y="14494"/>
                  </a:lnTo>
                  <a:lnTo>
                    <a:pt x="8246" y="13620"/>
                  </a:lnTo>
                  <a:lnTo>
                    <a:pt x="8496" y="9496"/>
                  </a:lnTo>
                  <a:lnTo>
                    <a:pt x="375" y="0"/>
                  </a:lnTo>
                  <a:close/>
                </a:path>
              </a:pathLst>
            </a:custGeom>
            <a:solidFill>
              <a:srgbClr val="000000"/>
            </a:solidFill>
            <a:ln w="12483" cap="flat">
              <a:noFill/>
              <a:prstDash val="solid"/>
              <a:miter/>
            </a:ln>
          </p:spPr>
          <p:txBody>
            <a:bodyPr rtlCol="0" anchor="ctr"/>
            <a:lstStyle/>
            <a:p>
              <a:endParaRPr lang="en-US"/>
            </a:p>
          </p:txBody>
        </p:sp>
        <p:sp>
          <p:nvSpPr>
            <p:cNvPr id="1356" name="Freeform: Shape 1355">
              <a:extLst>
                <a:ext uri="{FF2B5EF4-FFF2-40B4-BE49-F238E27FC236}">
                  <a16:creationId xmlns:a16="http://schemas.microsoft.com/office/drawing/2014/main" id="{67292506-8D8F-41DA-B9E8-0E363F2CEAE8}"/>
                </a:ext>
              </a:extLst>
            </p:cNvPr>
            <p:cNvSpPr/>
            <p:nvPr/>
          </p:nvSpPr>
          <p:spPr>
            <a:xfrm>
              <a:off x="11632879" y="4196833"/>
              <a:ext cx="749" cy="1124"/>
            </a:xfrm>
            <a:custGeom>
              <a:avLst/>
              <a:gdLst>
                <a:gd name="connsiteX0" fmla="*/ 0 w 749"/>
                <a:gd name="connsiteY0" fmla="*/ 0 h 1124"/>
                <a:gd name="connsiteX1" fmla="*/ 0 w 749"/>
                <a:gd name="connsiteY1" fmla="*/ 0 h 1124"/>
                <a:gd name="connsiteX2" fmla="*/ 750 w 749"/>
                <a:gd name="connsiteY2" fmla="*/ 1125 h 1124"/>
                <a:gd name="connsiteX3" fmla="*/ 750 w 749"/>
                <a:gd name="connsiteY3" fmla="*/ 125 h 1124"/>
              </a:gdLst>
              <a:ahLst/>
              <a:cxnLst>
                <a:cxn ang="0">
                  <a:pos x="connsiteX0" y="connsiteY0"/>
                </a:cxn>
                <a:cxn ang="0">
                  <a:pos x="connsiteX1" y="connsiteY1"/>
                </a:cxn>
                <a:cxn ang="0">
                  <a:pos x="connsiteX2" y="connsiteY2"/>
                </a:cxn>
                <a:cxn ang="0">
                  <a:pos x="connsiteX3" y="connsiteY3"/>
                </a:cxn>
              </a:cxnLst>
              <a:rect l="l" t="t" r="r" b="b"/>
              <a:pathLst>
                <a:path w="749" h="1124">
                  <a:moveTo>
                    <a:pt x="0" y="0"/>
                  </a:moveTo>
                  <a:lnTo>
                    <a:pt x="0" y="0"/>
                  </a:lnTo>
                  <a:cubicBezTo>
                    <a:pt x="200" y="400"/>
                    <a:pt x="463" y="774"/>
                    <a:pt x="750" y="1125"/>
                  </a:cubicBezTo>
                  <a:lnTo>
                    <a:pt x="750" y="125"/>
                  </a:lnTo>
                  <a:close/>
                </a:path>
              </a:pathLst>
            </a:custGeom>
            <a:solidFill>
              <a:srgbClr val="000000"/>
            </a:solidFill>
            <a:ln w="12483" cap="flat">
              <a:noFill/>
              <a:prstDash val="solid"/>
              <a:miter/>
            </a:ln>
          </p:spPr>
          <p:txBody>
            <a:bodyPr rtlCol="0" anchor="ctr"/>
            <a:lstStyle/>
            <a:p>
              <a:endParaRPr lang="en-US"/>
            </a:p>
          </p:txBody>
        </p:sp>
        <p:sp>
          <p:nvSpPr>
            <p:cNvPr id="1357" name="Freeform: Shape 1356">
              <a:extLst>
                <a:ext uri="{FF2B5EF4-FFF2-40B4-BE49-F238E27FC236}">
                  <a16:creationId xmlns:a16="http://schemas.microsoft.com/office/drawing/2014/main" id="{8A6F0E9A-E978-4974-808F-78B41AE9F265}"/>
                </a:ext>
              </a:extLst>
            </p:cNvPr>
            <p:cNvSpPr/>
            <p:nvPr/>
          </p:nvSpPr>
          <p:spPr>
            <a:xfrm>
              <a:off x="11631448" y="4192335"/>
              <a:ext cx="56" cy="874"/>
            </a:xfrm>
            <a:custGeom>
              <a:avLst/>
              <a:gdLst>
                <a:gd name="connsiteX0" fmla="*/ 56 w 56"/>
                <a:gd name="connsiteY0" fmla="*/ 875 h 874"/>
                <a:gd name="connsiteX1" fmla="*/ 56 w 56"/>
                <a:gd name="connsiteY1" fmla="*/ 0 h 874"/>
                <a:gd name="connsiteX2" fmla="*/ 56 w 56"/>
                <a:gd name="connsiteY2" fmla="*/ 875 h 874"/>
              </a:gdLst>
              <a:ahLst/>
              <a:cxnLst>
                <a:cxn ang="0">
                  <a:pos x="connsiteX0" y="connsiteY0"/>
                </a:cxn>
                <a:cxn ang="0">
                  <a:pos x="connsiteX1" y="connsiteY1"/>
                </a:cxn>
                <a:cxn ang="0">
                  <a:pos x="connsiteX2" y="connsiteY2"/>
                </a:cxn>
              </a:cxnLst>
              <a:rect l="l" t="t" r="r" b="b"/>
              <a:pathLst>
                <a:path w="56" h="874">
                  <a:moveTo>
                    <a:pt x="56" y="875"/>
                  </a:moveTo>
                  <a:cubicBezTo>
                    <a:pt x="56" y="875"/>
                    <a:pt x="56" y="875"/>
                    <a:pt x="56" y="0"/>
                  </a:cubicBezTo>
                  <a:cubicBezTo>
                    <a:pt x="-19" y="288"/>
                    <a:pt x="-19" y="587"/>
                    <a:pt x="56" y="875"/>
                  </a:cubicBezTo>
                  <a:close/>
                </a:path>
              </a:pathLst>
            </a:custGeom>
            <a:solidFill>
              <a:srgbClr val="000000"/>
            </a:solidFill>
            <a:ln w="12483" cap="flat">
              <a:noFill/>
              <a:prstDash val="solid"/>
              <a:miter/>
            </a:ln>
          </p:spPr>
          <p:txBody>
            <a:bodyPr rtlCol="0" anchor="ctr"/>
            <a:lstStyle/>
            <a:p>
              <a:endParaRPr lang="en-US"/>
            </a:p>
          </p:txBody>
        </p:sp>
        <p:sp>
          <p:nvSpPr>
            <p:cNvPr id="1358" name="Freeform: Shape 1357">
              <a:extLst>
                <a:ext uri="{FF2B5EF4-FFF2-40B4-BE49-F238E27FC236}">
                  <a16:creationId xmlns:a16="http://schemas.microsoft.com/office/drawing/2014/main" id="{90FB02D3-FB9F-43BC-B16F-9746EA3D5FAC}"/>
                </a:ext>
              </a:extLst>
            </p:cNvPr>
            <p:cNvSpPr/>
            <p:nvPr/>
          </p:nvSpPr>
          <p:spPr>
            <a:xfrm>
              <a:off x="11630786" y="4152476"/>
              <a:ext cx="19800" cy="37735"/>
            </a:xfrm>
            <a:custGeom>
              <a:avLst/>
              <a:gdLst>
                <a:gd name="connsiteX0" fmla="*/ 19710 w 19800"/>
                <a:gd name="connsiteY0" fmla="*/ 11745 h 37735"/>
                <a:gd name="connsiteX1" fmla="*/ 11464 w 19800"/>
                <a:gd name="connsiteY1" fmla="*/ 0 h 37735"/>
                <a:gd name="connsiteX2" fmla="*/ 1718 w 19800"/>
                <a:gd name="connsiteY2" fmla="*/ 9746 h 37735"/>
                <a:gd name="connsiteX3" fmla="*/ 1718 w 19800"/>
                <a:gd name="connsiteY3" fmla="*/ 9871 h 37735"/>
                <a:gd name="connsiteX4" fmla="*/ 1718 w 19800"/>
                <a:gd name="connsiteY4" fmla="*/ 13994 h 37735"/>
                <a:gd name="connsiteX5" fmla="*/ 10214 w 19800"/>
                <a:gd name="connsiteY5" fmla="*/ 9122 h 37735"/>
                <a:gd name="connsiteX6" fmla="*/ 12238 w 19800"/>
                <a:gd name="connsiteY6" fmla="*/ 9759 h 37735"/>
                <a:gd name="connsiteX7" fmla="*/ 12338 w 19800"/>
                <a:gd name="connsiteY7" fmla="*/ 9996 h 37735"/>
                <a:gd name="connsiteX8" fmla="*/ 11589 w 19800"/>
                <a:gd name="connsiteY8" fmla="*/ 12620 h 37735"/>
                <a:gd name="connsiteX9" fmla="*/ 1343 w 19800"/>
                <a:gd name="connsiteY9" fmla="*/ 18368 h 37735"/>
                <a:gd name="connsiteX10" fmla="*/ 94 w 19800"/>
                <a:gd name="connsiteY10" fmla="*/ 37110 h 37735"/>
                <a:gd name="connsiteX11" fmla="*/ 94 w 19800"/>
                <a:gd name="connsiteY11" fmla="*/ 37735 h 37735"/>
                <a:gd name="connsiteX12" fmla="*/ 94 w 19800"/>
                <a:gd name="connsiteY12" fmla="*/ 36361 h 37735"/>
                <a:gd name="connsiteX13" fmla="*/ 94 w 19800"/>
                <a:gd name="connsiteY13" fmla="*/ 34361 h 37735"/>
                <a:gd name="connsiteX14" fmla="*/ 718 w 19800"/>
                <a:gd name="connsiteY14" fmla="*/ 33112 h 37735"/>
                <a:gd name="connsiteX15" fmla="*/ 1968 w 19800"/>
                <a:gd name="connsiteY15" fmla="*/ 30738 h 37735"/>
                <a:gd name="connsiteX16" fmla="*/ 1968 w 19800"/>
                <a:gd name="connsiteY16" fmla="*/ 30738 h 37735"/>
                <a:gd name="connsiteX17" fmla="*/ 3467 w 19800"/>
                <a:gd name="connsiteY17" fmla="*/ 29488 h 37735"/>
                <a:gd name="connsiteX18" fmla="*/ 4716 w 19800"/>
                <a:gd name="connsiteY18" fmla="*/ 28364 h 37735"/>
                <a:gd name="connsiteX19" fmla="*/ 4716 w 19800"/>
                <a:gd name="connsiteY19" fmla="*/ 28364 h 37735"/>
                <a:gd name="connsiteX20" fmla="*/ 18711 w 19800"/>
                <a:gd name="connsiteY20" fmla="*/ 20492 h 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00" h="37735">
                  <a:moveTo>
                    <a:pt x="19710" y="11745"/>
                  </a:moveTo>
                  <a:cubicBezTo>
                    <a:pt x="20422" y="6285"/>
                    <a:pt x="16836" y="1187"/>
                    <a:pt x="11464" y="0"/>
                  </a:cubicBezTo>
                  <a:cubicBezTo>
                    <a:pt x="6078" y="0"/>
                    <a:pt x="1718" y="4361"/>
                    <a:pt x="1718" y="9746"/>
                  </a:cubicBezTo>
                  <a:cubicBezTo>
                    <a:pt x="1718" y="9784"/>
                    <a:pt x="1718" y="9834"/>
                    <a:pt x="1718" y="9871"/>
                  </a:cubicBezTo>
                  <a:lnTo>
                    <a:pt x="1718" y="13994"/>
                  </a:lnTo>
                  <a:lnTo>
                    <a:pt x="10214" y="9122"/>
                  </a:lnTo>
                  <a:cubicBezTo>
                    <a:pt x="10952" y="8734"/>
                    <a:pt x="11851" y="9022"/>
                    <a:pt x="12238" y="9759"/>
                  </a:cubicBezTo>
                  <a:cubicBezTo>
                    <a:pt x="12276" y="9834"/>
                    <a:pt x="12313" y="9909"/>
                    <a:pt x="12338" y="9996"/>
                  </a:cubicBezTo>
                  <a:cubicBezTo>
                    <a:pt x="12763" y="10933"/>
                    <a:pt x="12438" y="12045"/>
                    <a:pt x="11589" y="12620"/>
                  </a:cubicBezTo>
                  <a:lnTo>
                    <a:pt x="1343" y="18368"/>
                  </a:lnTo>
                  <a:lnTo>
                    <a:pt x="94" y="37110"/>
                  </a:lnTo>
                  <a:lnTo>
                    <a:pt x="94" y="37735"/>
                  </a:lnTo>
                  <a:cubicBezTo>
                    <a:pt x="31" y="37273"/>
                    <a:pt x="31" y="36823"/>
                    <a:pt x="94" y="36361"/>
                  </a:cubicBezTo>
                  <a:cubicBezTo>
                    <a:pt x="-31" y="35698"/>
                    <a:pt x="-31" y="35024"/>
                    <a:pt x="94" y="34361"/>
                  </a:cubicBezTo>
                  <a:cubicBezTo>
                    <a:pt x="219" y="33912"/>
                    <a:pt x="431" y="33487"/>
                    <a:pt x="718" y="33112"/>
                  </a:cubicBezTo>
                  <a:cubicBezTo>
                    <a:pt x="1006" y="32262"/>
                    <a:pt x="1430" y="31463"/>
                    <a:pt x="1968" y="30738"/>
                  </a:cubicBezTo>
                  <a:lnTo>
                    <a:pt x="1968" y="30738"/>
                  </a:lnTo>
                  <a:lnTo>
                    <a:pt x="3467" y="29488"/>
                  </a:lnTo>
                  <a:lnTo>
                    <a:pt x="4716" y="28364"/>
                  </a:lnTo>
                  <a:lnTo>
                    <a:pt x="4716" y="28364"/>
                  </a:lnTo>
                  <a:lnTo>
                    <a:pt x="18711" y="20492"/>
                  </a:lnTo>
                  <a:close/>
                </a:path>
              </a:pathLst>
            </a:custGeom>
            <a:solidFill>
              <a:srgbClr val="000000"/>
            </a:solidFill>
            <a:ln w="12483" cap="flat">
              <a:noFill/>
              <a:prstDash val="solid"/>
              <a:miter/>
            </a:ln>
          </p:spPr>
          <p:txBody>
            <a:bodyPr rtlCol="0" anchor="ctr"/>
            <a:lstStyle/>
            <a:p>
              <a:endParaRPr lang="en-US"/>
            </a:p>
          </p:txBody>
        </p:sp>
        <p:sp>
          <p:nvSpPr>
            <p:cNvPr id="1359" name="Freeform: Shape 1358">
              <a:extLst>
                <a:ext uri="{FF2B5EF4-FFF2-40B4-BE49-F238E27FC236}">
                  <a16:creationId xmlns:a16="http://schemas.microsoft.com/office/drawing/2014/main" id="{725227C2-CADE-4E36-A07B-0EDAD75CD045}"/>
                </a:ext>
              </a:extLst>
            </p:cNvPr>
            <p:cNvSpPr/>
            <p:nvPr/>
          </p:nvSpPr>
          <p:spPr>
            <a:xfrm>
              <a:off x="11290652" y="4142730"/>
              <a:ext cx="3373" cy="8496"/>
            </a:xfrm>
            <a:custGeom>
              <a:avLst/>
              <a:gdLst>
                <a:gd name="connsiteX0" fmla="*/ 0 w 3373"/>
                <a:gd name="connsiteY0" fmla="*/ 4998 h 8496"/>
                <a:gd name="connsiteX1" fmla="*/ 2999 w 3373"/>
                <a:gd name="connsiteY1" fmla="*/ 8497 h 8496"/>
                <a:gd name="connsiteX2" fmla="*/ 3373 w 3373"/>
                <a:gd name="connsiteY2" fmla="*/ 0 h 8496"/>
                <a:gd name="connsiteX3" fmla="*/ 125 w 3373"/>
                <a:gd name="connsiteY3" fmla="*/ 1749 h 8496"/>
                <a:gd name="connsiteX4" fmla="*/ 0 w 3373"/>
                <a:gd name="connsiteY4" fmla="*/ 4998 h 8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3" h="8496">
                  <a:moveTo>
                    <a:pt x="0" y="4998"/>
                  </a:moveTo>
                  <a:lnTo>
                    <a:pt x="2999" y="8497"/>
                  </a:lnTo>
                  <a:lnTo>
                    <a:pt x="3373" y="0"/>
                  </a:lnTo>
                  <a:lnTo>
                    <a:pt x="125" y="1749"/>
                  </a:lnTo>
                  <a:lnTo>
                    <a:pt x="0" y="4998"/>
                  </a:lnTo>
                  <a:close/>
                </a:path>
              </a:pathLst>
            </a:custGeom>
            <a:solidFill>
              <a:srgbClr val="000000"/>
            </a:solidFill>
            <a:ln w="12483" cap="flat">
              <a:noFill/>
              <a:prstDash val="solid"/>
              <a:miter/>
            </a:ln>
          </p:spPr>
          <p:txBody>
            <a:bodyPr rtlCol="0" anchor="ctr"/>
            <a:lstStyle/>
            <a:p>
              <a:endParaRPr lang="en-US"/>
            </a:p>
          </p:txBody>
        </p:sp>
        <p:sp>
          <p:nvSpPr>
            <p:cNvPr id="1360" name="Freeform: Shape 1359">
              <a:extLst>
                <a:ext uri="{FF2B5EF4-FFF2-40B4-BE49-F238E27FC236}">
                  <a16:creationId xmlns:a16="http://schemas.microsoft.com/office/drawing/2014/main" id="{13B62633-90CE-4645-AE74-3162CB941FF3}"/>
                </a:ext>
              </a:extLst>
            </p:cNvPr>
            <p:cNvSpPr/>
            <p:nvPr/>
          </p:nvSpPr>
          <p:spPr>
            <a:xfrm>
              <a:off x="12000220" y="6314489"/>
              <a:ext cx="204786" cy="135696"/>
            </a:xfrm>
            <a:custGeom>
              <a:avLst/>
              <a:gdLst>
                <a:gd name="connsiteX0" fmla="*/ 0 w 204786"/>
                <a:gd name="connsiteY0" fmla="*/ 134572 h 135696"/>
                <a:gd name="connsiteX1" fmla="*/ 875 w 204786"/>
                <a:gd name="connsiteY1" fmla="*/ 135696 h 135696"/>
                <a:gd name="connsiteX2" fmla="*/ 204787 w 204786"/>
                <a:gd name="connsiteY2" fmla="*/ 4373 h 135696"/>
                <a:gd name="connsiteX3" fmla="*/ 204787 w 204786"/>
                <a:gd name="connsiteY3" fmla="*/ 0 h 135696"/>
                <a:gd name="connsiteX4" fmla="*/ 250 w 204786"/>
                <a:gd name="connsiteY4" fmla="*/ 131823 h 135696"/>
                <a:gd name="connsiteX5" fmla="*/ 0 w 204786"/>
                <a:gd name="connsiteY5" fmla="*/ 134572 h 13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786" h="135696">
                  <a:moveTo>
                    <a:pt x="0" y="134572"/>
                  </a:moveTo>
                  <a:lnTo>
                    <a:pt x="875" y="135696"/>
                  </a:lnTo>
                  <a:lnTo>
                    <a:pt x="204787" y="4373"/>
                  </a:lnTo>
                  <a:lnTo>
                    <a:pt x="204787" y="0"/>
                  </a:lnTo>
                  <a:lnTo>
                    <a:pt x="250" y="131823"/>
                  </a:lnTo>
                  <a:lnTo>
                    <a:pt x="0" y="134572"/>
                  </a:lnTo>
                  <a:close/>
                </a:path>
              </a:pathLst>
            </a:custGeom>
            <a:solidFill>
              <a:srgbClr val="000000"/>
            </a:solidFill>
            <a:ln w="12483" cap="flat">
              <a:noFill/>
              <a:prstDash val="solid"/>
              <a:miter/>
            </a:ln>
          </p:spPr>
          <p:txBody>
            <a:bodyPr rtlCol="0" anchor="ctr"/>
            <a:lstStyle/>
            <a:p>
              <a:endParaRPr lang="en-US"/>
            </a:p>
          </p:txBody>
        </p:sp>
        <p:sp>
          <p:nvSpPr>
            <p:cNvPr id="1361" name="Freeform: Shape 1360">
              <a:extLst>
                <a:ext uri="{FF2B5EF4-FFF2-40B4-BE49-F238E27FC236}">
                  <a16:creationId xmlns:a16="http://schemas.microsoft.com/office/drawing/2014/main" id="{CC261B70-6169-4995-B4E7-F2967C95C157}"/>
                </a:ext>
              </a:extLst>
            </p:cNvPr>
            <p:cNvSpPr/>
            <p:nvPr/>
          </p:nvSpPr>
          <p:spPr>
            <a:xfrm>
              <a:off x="11999720" y="6449060"/>
              <a:ext cx="205286" cy="260521"/>
            </a:xfrm>
            <a:custGeom>
              <a:avLst/>
              <a:gdLst>
                <a:gd name="connsiteX0" fmla="*/ 500 w 205286"/>
                <a:gd name="connsiteY0" fmla="*/ 0 h 260521"/>
                <a:gd name="connsiteX1" fmla="*/ 374 w 205286"/>
                <a:gd name="connsiteY1" fmla="*/ 874 h 260521"/>
                <a:gd name="connsiteX2" fmla="*/ 0 w 205286"/>
                <a:gd name="connsiteY2" fmla="*/ 4873 h 260521"/>
                <a:gd name="connsiteX3" fmla="*/ 205286 w 205286"/>
                <a:gd name="connsiteY3" fmla="*/ 260521 h 260521"/>
                <a:gd name="connsiteX4" fmla="*/ 205286 w 205286"/>
                <a:gd name="connsiteY4" fmla="*/ 255023 h 260521"/>
                <a:gd name="connsiteX5" fmla="*/ 1374 w 205286"/>
                <a:gd name="connsiteY5" fmla="*/ 1125 h 260521"/>
                <a:gd name="connsiteX6" fmla="*/ 500 w 205286"/>
                <a:gd name="connsiteY6" fmla="*/ 0 h 26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286" h="260521">
                  <a:moveTo>
                    <a:pt x="500" y="0"/>
                  </a:moveTo>
                  <a:lnTo>
                    <a:pt x="374" y="874"/>
                  </a:lnTo>
                  <a:lnTo>
                    <a:pt x="0" y="4873"/>
                  </a:lnTo>
                  <a:lnTo>
                    <a:pt x="205286" y="260521"/>
                  </a:lnTo>
                  <a:lnTo>
                    <a:pt x="205286" y="255023"/>
                  </a:lnTo>
                  <a:lnTo>
                    <a:pt x="1374" y="1125"/>
                  </a:lnTo>
                  <a:lnTo>
                    <a:pt x="500" y="0"/>
                  </a:lnTo>
                  <a:close/>
                </a:path>
              </a:pathLst>
            </a:custGeom>
            <a:solidFill>
              <a:srgbClr val="000000"/>
            </a:solidFill>
            <a:ln w="12483" cap="flat">
              <a:noFill/>
              <a:prstDash val="solid"/>
              <a:miter/>
            </a:ln>
          </p:spPr>
          <p:txBody>
            <a:bodyPr rtlCol="0" anchor="ctr"/>
            <a:lstStyle/>
            <a:p>
              <a:endParaRPr lang="en-US"/>
            </a:p>
          </p:txBody>
        </p:sp>
        <p:sp>
          <p:nvSpPr>
            <p:cNvPr id="1362" name="Freeform: Shape 1361">
              <a:extLst>
                <a:ext uri="{FF2B5EF4-FFF2-40B4-BE49-F238E27FC236}">
                  <a16:creationId xmlns:a16="http://schemas.microsoft.com/office/drawing/2014/main" id="{1157EA4B-52FD-4856-9279-4077CB9196A9}"/>
                </a:ext>
              </a:extLst>
            </p:cNvPr>
            <p:cNvSpPr/>
            <p:nvPr/>
          </p:nvSpPr>
          <p:spPr>
            <a:xfrm>
              <a:off x="7861753" y="6359846"/>
              <a:ext cx="189798" cy="110580"/>
            </a:xfrm>
            <a:custGeom>
              <a:avLst/>
              <a:gdLst>
                <a:gd name="connsiteX0" fmla="*/ 1005 w 189798"/>
                <a:gd name="connsiteY0" fmla="*/ 107457 h 110580"/>
                <a:gd name="connsiteX1" fmla="*/ 168 w 189798"/>
                <a:gd name="connsiteY1" fmla="*/ 109781 h 110580"/>
                <a:gd name="connsiteX2" fmla="*/ 255 w 189798"/>
                <a:gd name="connsiteY2" fmla="*/ 109956 h 110580"/>
                <a:gd name="connsiteX3" fmla="*/ 255 w 189798"/>
                <a:gd name="connsiteY3" fmla="*/ 110581 h 110580"/>
                <a:gd name="connsiteX4" fmla="*/ 255 w 189798"/>
                <a:gd name="connsiteY4" fmla="*/ 110581 h 110580"/>
                <a:gd name="connsiteX5" fmla="*/ 2879 w 189798"/>
                <a:gd name="connsiteY5" fmla="*/ 110581 h 110580"/>
                <a:gd name="connsiteX6" fmla="*/ 3878 w 189798"/>
                <a:gd name="connsiteY6" fmla="*/ 110581 h 110580"/>
                <a:gd name="connsiteX7" fmla="*/ 189798 w 189798"/>
                <a:gd name="connsiteY7" fmla="*/ 3998 h 110580"/>
                <a:gd name="connsiteX8" fmla="*/ 189798 w 189798"/>
                <a:gd name="connsiteY8" fmla="*/ 0 h 110580"/>
                <a:gd name="connsiteX9" fmla="*/ 2129 w 189798"/>
                <a:gd name="connsiteY9" fmla="*/ 107457 h 1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798" h="110580">
                  <a:moveTo>
                    <a:pt x="1005" y="107457"/>
                  </a:moveTo>
                  <a:cubicBezTo>
                    <a:pt x="130" y="107869"/>
                    <a:pt x="-245" y="108907"/>
                    <a:pt x="168" y="109781"/>
                  </a:cubicBezTo>
                  <a:cubicBezTo>
                    <a:pt x="193" y="109844"/>
                    <a:pt x="218" y="109906"/>
                    <a:pt x="255" y="109956"/>
                  </a:cubicBezTo>
                  <a:cubicBezTo>
                    <a:pt x="255" y="109956"/>
                    <a:pt x="255" y="109956"/>
                    <a:pt x="255" y="110581"/>
                  </a:cubicBezTo>
                  <a:lnTo>
                    <a:pt x="255" y="110581"/>
                  </a:lnTo>
                  <a:lnTo>
                    <a:pt x="2879" y="110581"/>
                  </a:lnTo>
                  <a:lnTo>
                    <a:pt x="3878" y="110581"/>
                  </a:lnTo>
                  <a:lnTo>
                    <a:pt x="189798" y="3998"/>
                  </a:lnTo>
                  <a:lnTo>
                    <a:pt x="189798" y="0"/>
                  </a:lnTo>
                  <a:lnTo>
                    <a:pt x="2129" y="107457"/>
                  </a:lnTo>
                  <a:close/>
                </a:path>
              </a:pathLst>
            </a:custGeom>
            <a:solidFill>
              <a:srgbClr val="000000"/>
            </a:solidFill>
            <a:ln w="12483" cap="flat">
              <a:noFill/>
              <a:prstDash val="solid"/>
              <a:miter/>
            </a:ln>
          </p:spPr>
          <p:txBody>
            <a:bodyPr rtlCol="0" anchor="ctr"/>
            <a:lstStyle/>
            <a:p>
              <a:endParaRPr lang="en-US"/>
            </a:p>
          </p:txBody>
        </p:sp>
        <p:sp>
          <p:nvSpPr>
            <p:cNvPr id="1363" name="Freeform: Shape 1362">
              <a:extLst>
                <a:ext uri="{FF2B5EF4-FFF2-40B4-BE49-F238E27FC236}">
                  <a16:creationId xmlns:a16="http://schemas.microsoft.com/office/drawing/2014/main" id="{657EABBF-3369-4C42-8889-6F32DAE98E71}"/>
                </a:ext>
              </a:extLst>
            </p:cNvPr>
            <p:cNvSpPr/>
            <p:nvPr/>
          </p:nvSpPr>
          <p:spPr>
            <a:xfrm>
              <a:off x="12028583" y="6124315"/>
              <a:ext cx="176423" cy="116953"/>
            </a:xfrm>
            <a:custGeom>
              <a:avLst/>
              <a:gdLst>
                <a:gd name="connsiteX0" fmla="*/ 0 w 176423"/>
                <a:gd name="connsiteY0" fmla="*/ 116954 h 116953"/>
                <a:gd name="connsiteX1" fmla="*/ 176424 w 176423"/>
                <a:gd name="connsiteY1" fmla="*/ 4373 h 116953"/>
                <a:gd name="connsiteX2" fmla="*/ 176424 w 176423"/>
                <a:gd name="connsiteY2" fmla="*/ 0 h 116953"/>
                <a:gd name="connsiteX3" fmla="*/ 374 w 176423"/>
                <a:gd name="connsiteY3" fmla="*/ 112330 h 116953"/>
                <a:gd name="connsiteX4" fmla="*/ 0 w 176423"/>
                <a:gd name="connsiteY4" fmla="*/ 116954 h 11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23" h="116953">
                  <a:moveTo>
                    <a:pt x="0" y="116954"/>
                  </a:moveTo>
                  <a:lnTo>
                    <a:pt x="176424" y="4373"/>
                  </a:lnTo>
                  <a:lnTo>
                    <a:pt x="176424" y="0"/>
                  </a:lnTo>
                  <a:lnTo>
                    <a:pt x="374" y="112330"/>
                  </a:lnTo>
                  <a:lnTo>
                    <a:pt x="0" y="116954"/>
                  </a:lnTo>
                  <a:close/>
                </a:path>
              </a:pathLst>
            </a:custGeom>
            <a:solidFill>
              <a:srgbClr val="000000"/>
            </a:solidFill>
            <a:ln w="12483" cap="flat">
              <a:noFill/>
              <a:prstDash val="solid"/>
              <a:miter/>
            </a:ln>
          </p:spPr>
          <p:txBody>
            <a:bodyPr rtlCol="0" anchor="ctr"/>
            <a:lstStyle/>
            <a:p>
              <a:endParaRPr lang="en-US"/>
            </a:p>
          </p:txBody>
        </p:sp>
        <p:sp>
          <p:nvSpPr>
            <p:cNvPr id="1364" name="Freeform: Shape 1363">
              <a:extLst>
                <a:ext uri="{FF2B5EF4-FFF2-40B4-BE49-F238E27FC236}">
                  <a16:creationId xmlns:a16="http://schemas.microsoft.com/office/drawing/2014/main" id="{AAA0C318-A773-4F41-8D60-F0B666E614BD}"/>
                </a:ext>
              </a:extLst>
            </p:cNvPr>
            <p:cNvSpPr/>
            <p:nvPr/>
          </p:nvSpPr>
          <p:spPr>
            <a:xfrm>
              <a:off x="11406976" y="4193460"/>
              <a:ext cx="226901" cy="132072"/>
            </a:xfrm>
            <a:custGeom>
              <a:avLst/>
              <a:gdLst>
                <a:gd name="connsiteX0" fmla="*/ 224903 w 226901"/>
                <a:gd name="connsiteY0" fmla="*/ 1749 h 132072"/>
                <a:gd name="connsiteX1" fmla="*/ 224903 w 226901"/>
                <a:gd name="connsiteY1" fmla="*/ 1749 h 132072"/>
                <a:gd name="connsiteX2" fmla="*/ 224903 w 226901"/>
                <a:gd name="connsiteY2" fmla="*/ 0 h 132072"/>
                <a:gd name="connsiteX3" fmla="*/ 224903 w 226901"/>
                <a:gd name="connsiteY3" fmla="*/ 0 h 132072"/>
                <a:gd name="connsiteX4" fmla="*/ 0 w 226901"/>
                <a:gd name="connsiteY4" fmla="*/ 128449 h 132072"/>
                <a:gd name="connsiteX5" fmla="*/ 0 w 226901"/>
                <a:gd name="connsiteY5" fmla="*/ 130823 h 132072"/>
                <a:gd name="connsiteX6" fmla="*/ 1124 w 226901"/>
                <a:gd name="connsiteY6" fmla="*/ 132072 h 132072"/>
                <a:gd name="connsiteX7" fmla="*/ 226902 w 226901"/>
                <a:gd name="connsiteY7" fmla="*/ 3499 h 132072"/>
                <a:gd name="connsiteX8" fmla="*/ 226902 w 226901"/>
                <a:gd name="connsiteY8" fmla="*/ 3499 h 132072"/>
                <a:gd name="connsiteX9" fmla="*/ 224903 w 226901"/>
                <a:gd name="connsiteY9" fmla="*/ 1749 h 13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901" h="132072">
                  <a:moveTo>
                    <a:pt x="224903" y="1749"/>
                  </a:moveTo>
                  <a:lnTo>
                    <a:pt x="224903" y="1749"/>
                  </a:lnTo>
                  <a:cubicBezTo>
                    <a:pt x="224853" y="1162"/>
                    <a:pt x="224853" y="587"/>
                    <a:pt x="224903" y="0"/>
                  </a:cubicBezTo>
                  <a:lnTo>
                    <a:pt x="224903" y="0"/>
                  </a:lnTo>
                  <a:lnTo>
                    <a:pt x="0" y="128449"/>
                  </a:lnTo>
                  <a:lnTo>
                    <a:pt x="0" y="130823"/>
                  </a:lnTo>
                  <a:lnTo>
                    <a:pt x="1124" y="132072"/>
                  </a:lnTo>
                  <a:lnTo>
                    <a:pt x="226902" y="3499"/>
                  </a:lnTo>
                  <a:lnTo>
                    <a:pt x="226902" y="3499"/>
                  </a:lnTo>
                  <a:cubicBezTo>
                    <a:pt x="225652" y="2749"/>
                    <a:pt x="225153" y="2374"/>
                    <a:pt x="224903" y="1749"/>
                  </a:cubicBezTo>
                  <a:close/>
                </a:path>
              </a:pathLst>
            </a:custGeom>
            <a:solidFill>
              <a:srgbClr val="000000"/>
            </a:solidFill>
            <a:ln w="12483" cap="flat">
              <a:noFill/>
              <a:prstDash val="solid"/>
              <a:miter/>
            </a:ln>
          </p:spPr>
          <p:txBody>
            <a:bodyPr rtlCol="0" anchor="ctr"/>
            <a:lstStyle/>
            <a:p>
              <a:endParaRPr lang="en-US"/>
            </a:p>
          </p:txBody>
        </p:sp>
        <p:sp>
          <p:nvSpPr>
            <p:cNvPr id="1365" name="Freeform: Shape 1364">
              <a:extLst>
                <a:ext uri="{FF2B5EF4-FFF2-40B4-BE49-F238E27FC236}">
                  <a16:creationId xmlns:a16="http://schemas.microsoft.com/office/drawing/2014/main" id="{5DE681DD-AF80-48B4-90FF-98942A6C005F}"/>
                </a:ext>
              </a:extLst>
            </p:cNvPr>
            <p:cNvSpPr/>
            <p:nvPr/>
          </p:nvSpPr>
          <p:spPr>
            <a:xfrm>
              <a:off x="11407476" y="4161427"/>
              <a:ext cx="236084" cy="137490"/>
            </a:xfrm>
            <a:custGeom>
              <a:avLst/>
              <a:gdLst>
                <a:gd name="connsiteX0" fmla="*/ 0 w 236084"/>
                <a:gd name="connsiteY0" fmla="*/ 136366 h 137490"/>
                <a:gd name="connsiteX1" fmla="*/ 0 w 236084"/>
                <a:gd name="connsiteY1" fmla="*/ 137490 h 137490"/>
                <a:gd name="connsiteX2" fmla="*/ 224903 w 236084"/>
                <a:gd name="connsiteY2" fmla="*/ 9417 h 137490"/>
                <a:gd name="connsiteX3" fmla="*/ 235148 w 236084"/>
                <a:gd name="connsiteY3" fmla="*/ 3669 h 137490"/>
                <a:gd name="connsiteX4" fmla="*/ 235898 w 236084"/>
                <a:gd name="connsiteY4" fmla="*/ 1045 h 137490"/>
                <a:gd name="connsiteX5" fmla="*/ 234011 w 236084"/>
                <a:gd name="connsiteY5" fmla="*/ 70 h 137490"/>
                <a:gd name="connsiteX6" fmla="*/ 233774 w 236084"/>
                <a:gd name="connsiteY6" fmla="*/ 170 h 137490"/>
                <a:gd name="connsiteX7" fmla="*/ 225278 w 236084"/>
                <a:gd name="connsiteY7" fmla="*/ 5043 h 137490"/>
                <a:gd name="connsiteX8" fmla="*/ 375 w 236084"/>
                <a:gd name="connsiteY8" fmla="*/ 133117 h 137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84" h="137490">
                  <a:moveTo>
                    <a:pt x="0" y="136366"/>
                  </a:moveTo>
                  <a:lnTo>
                    <a:pt x="0" y="137490"/>
                  </a:lnTo>
                  <a:lnTo>
                    <a:pt x="224903" y="9417"/>
                  </a:lnTo>
                  <a:lnTo>
                    <a:pt x="235148" y="3669"/>
                  </a:lnTo>
                  <a:cubicBezTo>
                    <a:pt x="235998" y="3094"/>
                    <a:pt x="236323" y="1982"/>
                    <a:pt x="235898" y="1045"/>
                  </a:cubicBezTo>
                  <a:cubicBezTo>
                    <a:pt x="235648" y="258"/>
                    <a:pt x="234799" y="-180"/>
                    <a:pt x="234011" y="70"/>
                  </a:cubicBezTo>
                  <a:cubicBezTo>
                    <a:pt x="233937" y="95"/>
                    <a:pt x="233849" y="133"/>
                    <a:pt x="233774" y="170"/>
                  </a:cubicBezTo>
                  <a:lnTo>
                    <a:pt x="225278" y="5043"/>
                  </a:lnTo>
                  <a:lnTo>
                    <a:pt x="375" y="133117"/>
                  </a:lnTo>
                  <a:close/>
                </a:path>
              </a:pathLst>
            </a:custGeom>
            <a:solidFill>
              <a:srgbClr val="000000"/>
            </a:solidFill>
            <a:ln w="12483" cap="flat">
              <a:noFill/>
              <a:prstDash val="solid"/>
              <a:miter/>
            </a:ln>
          </p:spPr>
          <p:txBody>
            <a:bodyPr rtlCol="0" anchor="ctr"/>
            <a:lstStyle/>
            <a:p>
              <a:endParaRPr lang="en-US"/>
            </a:p>
          </p:txBody>
        </p:sp>
        <p:sp>
          <p:nvSpPr>
            <p:cNvPr id="1366" name="Freeform: Shape 1365">
              <a:extLst>
                <a:ext uri="{FF2B5EF4-FFF2-40B4-BE49-F238E27FC236}">
                  <a16:creationId xmlns:a16="http://schemas.microsoft.com/office/drawing/2014/main" id="{4780D559-1FAD-442B-AF94-0F812E557E2D}"/>
                </a:ext>
              </a:extLst>
            </p:cNvPr>
            <p:cNvSpPr/>
            <p:nvPr/>
          </p:nvSpPr>
          <p:spPr>
            <a:xfrm>
              <a:off x="11403066" y="4297543"/>
              <a:ext cx="4415" cy="27239"/>
            </a:xfrm>
            <a:custGeom>
              <a:avLst/>
              <a:gdLst>
                <a:gd name="connsiteX0" fmla="*/ 4410 w 4415"/>
                <a:gd name="connsiteY0" fmla="*/ 250 h 27239"/>
                <a:gd name="connsiteX1" fmla="*/ 2911 w 4415"/>
                <a:gd name="connsiteY1" fmla="*/ 1999 h 27239"/>
                <a:gd name="connsiteX2" fmla="*/ 2786 w 4415"/>
                <a:gd name="connsiteY2" fmla="*/ 1999 h 27239"/>
                <a:gd name="connsiteX3" fmla="*/ 1287 w 4415"/>
                <a:gd name="connsiteY3" fmla="*/ 37 h 27239"/>
                <a:gd name="connsiteX4" fmla="*/ 1287 w 4415"/>
                <a:gd name="connsiteY4" fmla="*/ 0 h 27239"/>
                <a:gd name="connsiteX5" fmla="*/ 1287 w 4415"/>
                <a:gd name="connsiteY5" fmla="*/ 875 h 27239"/>
                <a:gd name="connsiteX6" fmla="*/ 37 w 4415"/>
                <a:gd name="connsiteY6" fmla="*/ 23116 h 27239"/>
                <a:gd name="connsiteX7" fmla="*/ 37 w 4415"/>
                <a:gd name="connsiteY7" fmla="*/ 27239 h 27239"/>
                <a:gd name="connsiteX8" fmla="*/ 37 w 4415"/>
                <a:gd name="connsiteY8" fmla="*/ 27239 h 27239"/>
                <a:gd name="connsiteX9" fmla="*/ 37 w 4415"/>
                <a:gd name="connsiteY9" fmla="*/ 26614 h 27239"/>
                <a:gd name="connsiteX10" fmla="*/ 37 w 4415"/>
                <a:gd name="connsiteY10" fmla="*/ 26614 h 27239"/>
                <a:gd name="connsiteX11" fmla="*/ 37 w 4415"/>
                <a:gd name="connsiteY11" fmla="*/ 26614 h 27239"/>
                <a:gd name="connsiteX12" fmla="*/ 662 w 4415"/>
                <a:gd name="connsiteY12" fmla="*/ 26614 h 27239"/>
                <a:gd name="connsiteX13" fmla="*/ 662 w 4415"/>
                <a:gd name="connsiteY13" fmla="*/ 26614 h 27239"/>
                <a:gd name="connsiteX14" fmla="*/ 662 w 4415"/>
                <a:gd name="connsiteY14" fmla="*/ 26614 h 27239"/>
                <a:gd name="connsiteX15" fmla="*/ 662 w 4415"/>
                <a:gd name="connsiteY15" fmla="*/ 26614 h 27239"/>
                <a:gd name="connsiteX16" fmla="*/ 1287 w 4415"/>
                <a:gd name="connsiteY16" fmla="*/ 27239 h 27239"/>
                <a:gd name="connsiteX17" fmla="*/ 1287 w 4415"/>
                <a:gd name="connsiteY17" fmla="*/ 24865 h 27239"/>
                <a:gd name="connsiteX18" fmla="*/ 2661 w 4415"/>
                <a:gd name="connsiteY18" fmla="*/ 1999 h 2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15" h="27239">
                  <a:moveTo>
                    <a:pt x="4410" y="250"/>
                  </a:moveTo>
                  <a:cubicBezTo>
                    <a:pt x="4485" y="1149"/>
                    <a:pt x="3811" y="1924"/>
                    <a:pt x="2911" y="1999"/>
                  </a:cubicBezTo>
                  <a:cubicBezTo>
                    <a:pt x="2874" y="1999"/>
                    <a:pt x="2824" y="1999"/>
                    <a:pt x="2786" y="1999"/>
                  </a:cubicBezTo>
                  <a:cubicBezTo>
                    <a:pt x="1824" y="1874"/>
                    <a:pt x="1149" y="987"/>
                    <a:pt x="1287" y="37"/>
                  </a:cubicBezTo>
                  <a:cubicBezTo>
                    <a:pt x="1287" y="25"/>
                    <a:pt x="1287" y="13"/>
                    <a:pt x="1287" y="0"/>
                  </a:cubicBezTo>
                  <a:lnTo>
                    <a:pt x="1287" y="875"/>
                  </a:lnTo>
                  <a:lnTo>
                    <a:pt x="37" y="23116"/>
                  </a:lnTo>
                  <a:lnTo>
                    <a:pt x="37" y="27239"/>
                  </a:lnTo>
                  <a:cubicBezTo>
                    <a:pt x="37" y="27239"/>
                    <a:pt x="37" y="27239"/>
                    <a:pt x="37" y="27239"/>
                  </a:cubicBezTo>
                  <a:cubicBezTo>
                    <a:pt x="-12" y="27039"/>
                    <a:pt x="-12" y="26814"/>
                    <a:pt x="37" y="26614"/>
                  </a:cubicBezTo>
                  <a:lnTo>
                    <a:pt x="37" y="26614"/>
                  </a:lnTo>
                  <a:lnTo>
                    <a:pt x="37" y="26614"/>
                  </a:lnTo>
                  <a:lnTo>
                    <a:pt x="662" y="26614"/>
                  </a:lnTo>
                  <a:lnTo>
                    <a:pt x="662" y="26614"/>
                  </a:lnTo>
                  <a:lnTo>
                    <a:pt x="662" y="26614"/>
                  </a:lnTo>
                  <a:lnTo>
                    <a:pt x="662" y="26614"/>
                  </a:lnTo>
                  <a:lnTo>
                    <a:pt x="1287" y="27239"/>
                  </a:lnTo>
                  <a:lnTo>
                    <a:pt x="1287" y="24865"/>
                  </a:lnTo>
                  <a:lnTo>
                    <a:pt x="2661" y="1999"/>
                  </a:lnTo>
                  <a:close/>
                </a:path>
              </a:pathLst>
            </a:custGeom>
            <a:solidFill>
              <a:srgbClr val="000000"/>
            </a:solidFill>
            <a:ln w="12483" cap="flat">
              <a:noFill/>
              <a:prstDash val="solid"/>
              <a:miter/>
            </a:ln>
          </p:spPr>
          <p:txBody>
            <a:bodyPr rtlCol="0" anchor="ctr"/>
            <a:lstStyle/>
            <a:p>
              <a:endParaRPr lang="en-US"/>
            </a:p>
          </p:txBody>
        </p:sp>
        <p:sp>
          <p:nvSpPr>
            <p:cNvPr id="1367" name="Freeform: Shape 1366">
              <a:extLst>
                <a:ext uri="{FF2B5EF4-FFF2-40B4-BE49-F238E27FC236}">
                  <a16:creationId xmlns:a16="http://schemas.microsoft.com/office/drawing/2014/main" id="{94D2ED0F-DBFB-4190-828E-4438D5933746}"/>
                </a:ext>
              </a:extLst>
            </p:cNvPr>
            <p:cNvSpPr/>
            <p:nvPr/>
          </p:nvSpPr>
          <p:spPr>
            <a:xfrm>
              <a:off x="10828213" y="4443110"/>
              <a:ext cx="21629" cy="130198"/>
            </a:xfrm>
            <a:custGeom>
              <a:avLst/>
              <a:gdLst>
                <a:gd name="connsiteX0" fmla="*/ 17881 w 21629"/>
                <a:gd name="connsiteY0" fmla="*/ 10996 h 130198"/>
                <a:gd name="connsiteX1" fmla="*/ 16507 w 21629"/>
                <a:gd name="connsiteY1" fmla="*/ 11745 h 130198"/>
                <a:gd name="connsiteX2" fmla="*/ 4999 w 21629"/>
                <a:gd name="connsiteY2" fmla="*/ 8971 h 130198"/>
                <a:gd name="connsiteX3" fmla="*/ 4012 w 21629"/>
                <a:gd name="connsiteY3" fmla="*/ 6622 h 130198"/>
                <a:gd name="connsiteX4" fmla="*/ 4012 w 21629"/>
                <a:gd name="connsiteY4" fmla="*/ 0 h 130198"/>
                <a:gd name="connsiteX5" fmla="*/ 4012 w 21629"/>
                <a:gd name="connsiteY5" fmla="*/ 1499 h 130198"/>
                <a:gd name="connsiteX6" fmla="*/ 14 w 21629"/>
                <a:gd name="connsiteY6" fmla="*/ 129448 h 130198"/>
                <a:gd name="connsiteX7" fmla="*/ 9385 w 21629"/>
                <a:gd name="connsiteY7" fmla="*/ 118952 h 130198"/>
                <a:gd name="connsiteX8" fmla="*/ 18006 w 21629"/>
                <a:gd name="connsiteY8" fmla="*/ 130198 h 130198"/>
                <a:gd name="connsiteX9" fmla="*/ 21630 w 21629"/>
                <a:gd name="connsiteY9" fmla="*/ 15119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29" h="130198">
                  <a:moveTo>
                    <a:pt x="17881" y="10996"/>
                  </a:moveTo>
                  <a:lnTo>
                    <a:pt x="16507" y="11745"/>
                  </a:lnTo>
                  <a:cubicBezTo>
                    <a:pt x="12559" y="14157"/>
                    <a:pt x="7411" y="12920"/>
                    <a:pt x="4999" y="8971"/>
                  </a:cubicBezTo>
                  <a:cubicBezTo>
                    <a:pt x="4550" y="8247"/>
                    <a:pt x="4225" y="7447"/>
                    <a:pt x="4012" y="6622"/>
                  </a:cubicBezTo>
                  <a:cubicBezTo>
                    <a:pt x="3413" y="4461"/>
                    <a:pt x="3413" y="2162"/>
                    <a:pt x="4012" y="0"/>
                  </a:cubicBezTo>
                  <a:cubicBezTo>
                    <a:pt x="3950" y="500"/>
                    <a:pt x="3950" y="999"/>
                    <a:pt x="4012" y="1499"/>
                  </a:cubicBezTo>
                  <a:lnTo>
                    <a:pt x="14" y="129448"/>
                  </a:lnTo>
                  <a:cubicBezTo>
                    <a:pt x="-274" y="123976"/>
                    <a:pt x="3912" y="119290"/>
                    <a:pt x="9385" y="118952"/>
                  </a:cubicBezTo>
                  <a:cubicBezTo>
                    <a:pt x="14770" y="119852"/>
                    <a:pt x="18543" y="124763"/>
                    <a:pt x="18006" y="130198"/>
                  </a:cubicBezTo>
                  <a:lnTo>
                    <a:pt x="21630" y="15119"/>
                  </a:lnTo>
                  <a:close/>
                </a:path>
              </a:pathLst>
            </a:custGeom>
            <a:solidFill>
              <a:srgbClr val="000000"/>
            </a:solidFill>
            <a:ln w="12483" cap="flat">
              <a:noFill/>
              <a:prstDash val="solid"/>
              <a:miter/>
            </a:ln>
          </p:spPr>
          <p:txBody>
            <a:bodyPr rtlCol="0" anchor="ctr"/>
            <a:lstStyle/>
            <a:p>
              <a:endParaRPr lang="en-US"/>
            </a:p>
          </p:txBody>
        </p:sp>
        <p:sp>
          <p:nvSpPr>
            <p:cNvPr id="1368" name="Freeform: Shape 1367">
              <a:extLst>
                <a:ext uri="{FF2B5EF4-FFF2-40B4-BE49-F238E27FC236}">
                  <a16:creationId xmlns:a16="http://schemas.microsoft.com/office/drawing/2014/main" id="{66552728-947C-4FCA-95C6-FAC653087315}"/>
                </a:ext>
              </a:extLst>
            </p:cNvPr>
            <p:cNvSpPr/>
            <p:nvPr/>
          </p:nvSpPr>
          <p:spPr>
            <a:xfrm>
              <a:off x="10849217" y="4452107"/>
              <a:ext cx="374" cy="874"/>
            </a:xfrm>
            <a:custGeom>
              <a:avLst/>
              <a:gdLst>
                <a:gd name="connsiteX0" fmla="*/ 375 w 374"/>
                <a:gd name="connsiteY0" fmla="*/ 875 h 874"/>
                <a:gd name="connsiteX1" fmla="*/ 375 w 374"/>
                <a:gd name="connsiteY1" fmla="*/ 0 h 874"/>
                <a:gd name="connsiteX2" fmla="*/ 0 w 374"/>
                <a:gd name="connsiteY2" fmla="*/ 250 h 874"/>
                <a:gd name="connsiteX3" fmla="*/ 375 w 374"/>
                <a:gd name="connsiteY3" fmla="*/ 875 h 874"/>
              </a:gdLst>
              <a:ahLst/>
              <a:cxnLst>
                <a:cxn ang="0">
                  <a:pos x="connsiteX0" y="connsiteY0"/>
                </a:cxn>
                <a:cxn ang="0">
                  <a:pos x="connsiteX1" y="connsiteY1"/>
                </a:cxn>
                <a:cxn ang="0">
                  <a:pos x="connsiteX2" y="connsiteY2"/>
                </a:cxn>
                <a:cxn ang="0">
                  <a:pos x="connsiteX3" y="connsiteY3"/>
                </a:cxn>
              </a:cxnLst>
              <a:rect l="l" t="t" r="r" b="b"/>
              <a:pathLst>
                <a:path w="374" h="874">
                  <a:moveTo>
                    <a:pt x="375" y="875"/>
                  </a:moveTo>
                  <a:lnTo>
                    <a:pt x="375" y="0"/>
                  </a:lnTo>
                  <a:lnTo>
                    <a:pt x="0" y="250"/>
                  </a:lnTo>
                  <a:lnTo>
                    <a:pt x="375" y="875"/>
                  </a:lnTo>
                  <a:close/>
                </a:path>
              </a:pathLst>
            </a:custGeom>
            <a:solidFill>
              <a:srgbClr val="000000"/>
            </a:solidFill>
            <a:ln w="12483" cap="flat">
              <a:noFill/>
              <a:prstDash val="solid"/>
              <a:miter/>
            </a:ln>
          </p:spPr>
          <p:txBody>
            <a:bodyPr rtlCol="0" anchor="ctr"/>
            <a:lstStyle/>
            <a:p>
              <a:endParaRPr lang="en-US"/>
            </a:p>
          </p:txBody>
        </p:sp>
        <p:sp>
          <p:nvSpPr>
            <p:cNvPr id="1369" name="Freeform: Shape 1368">
              <a:extLst>
                <a:ext uri="{FF2B5EF4-FFF2-40B4-BE49-F238E27FC236}">
                  <a16:creationId xmlns:a16="http://schemas.microsoft.com/office/drawing/2014/main" id="{4A53813B-CD22-46E8-93ED-71CD9409F8CA}"/>
                </a:ext>
              </a:extLst>
            </p:cNvPr>
            <p:cNvSpPr/>
            <p:nvPr/>
          </p:nvSpPr>
          <p:spPr>
            <a:xfrm>
              <a:off x="11759324" y="6448685"/>
              <a:ext cx="236147" cy="156062"/>
            </a:xfrm>
            <a:custGeom>
              <a:avLst/>
              <a:gdLst>
                <a:gd name="connsiteX0" fmla="*/ 0 w 236147"/>
                <a:gd name="connsiteY0" fmla="*/ 152939 h 156062"/>
                <a:gd name="connsiteX1" fmla="*/ 1124 w 236147"/>
                <a:gd name="connsiteY1" fmla="*/ 152939 h 156062"/>
                <a:gd name="connsiteX2" fmla="*/ 1124 w 236147"/>
                <a:gd name="connsiteY2" fmla="*/ 152939 h 156062"/>
                <a:gd name="connsiteX3" fmla="*/ 1124 w 236147"/>
                <a:gd name="connsiteY3" fmla="*/ 152939 h 156062"/>
                <a:gd name="connsiteX4" fmla="*/ 1124 w 236147"/>
                <a:gd name="connsiteY4" fmla="*/ 152939 h 156062"/>
                <a:gd name="connsiteX5" fmla="*/ 1124 w 236147"/>
                <a:gd name="connsiteY5" fmla="*/ 153563 h 156062"/>
                <a:gd name="connsiteX6" fmla="*/ 1124 w 236147"/>
                <a:gd name="connsiteY6" fmla="*/ 153563 h 156062"/>
                <a:gd name="connsiteX7" fmla="*/ 1124 w 236147"/>
                <a:gd name="connsiteY7" fmla="*/ 156063 h 156062"/>
                <a:gd name="connsiteX8" fmla="*/ 236148 w 236147"/>
                <a:gd name="connsiteY8" fmla="*/ 4748 h 156062"/>
                <a:gd name="connsiteX9" fmla="*/ 236148 w 236147"/>
                <a:gd name="connsiteY9" fmla="*/ 999 h 156062"/>
                <a:gd name="connsiteX10" fmla="*/ 236148 w 236147"/>
                <a:gd name="connsiteY10" fmla="*/ 0 h 15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147" h="156062">
                  <a:moveTo>
                    <a:pt x="0" y="152939"/>
                  </a:moveTo>
                  <a:lnTo>
                    <a:pt x="1124" y="152939"/>
                  </a:lnTo>
                  <a:lnTo>
                    <a:pt x="1124" y="152939"/>
                  </a:lnTo>
                  <a:cubicBezTo>
                    <a:pt x="1124" y="152939"/>
                    <a:pt x="1124" y="152939"/>
                    <a:pt x="1124" y="152939"/>
                  </a:cubicBezTo>
                  <a:lnTo>
                    <a:pt x="1124" y="152939"/>
                  </a:lnTo>
                  <a:lnTo>
                    <a:pt x="1124" y="153563"/>
                  </a:lnTo>
                  <a:cubicBezTo>
                    <a:pt x="1124" y="153563"/>
                    <a:pt x="1124" y="153563"/>
                    <a:pt x="1124" y="153563"/>
                  </a:cubicBezTo>
                  <a:lnTo>
                    <a:pt x="1124" y="156063"/>
                  </a:lnTo>
                  <a:lnTo>
                    <a:pt x="236148" y="4748"/>
                  </a:lnTo>
                  <a:lnTo>
                    <a:pt x="236148" y="999"/>
                  </a:lnTo>
                  <a:lnTo>
                    <a:pt x="236148" y="0"/>
                  </a:lnTo>
                  <a:close/>
                </a:path>
              </a:pathLst>
            </a:custGeom>
            <a:solidFill>
              <a:srgbClr val="000000"/>
            </a:solidFill>
            <a:ln w="12483" cap="flat">
              <a:noFill/>
              <a:prstDash val="solid"/>
              <a:miter/>
            </a:ln>
          </p:spPr>
          <p:txBody>
            <a:bodyPr rtlCol="0" anchor="ctr"/>
            <a:lstStyle/>
            <a:p>
              <a:endParaRPr lang="en-US"/>
            </a:p>
          </p:txBody>
        </p:sp>
        <p:sp>
          <p:nvSpPr>
            <p:cNvPr id="1370" name="Freeform: Shape 1369">
              <a:extLst>
                <a:ext uri="{FF2B5EF4-FFF2-40B4-BE49-F238E27FC236}">
                  <a16:creationId xmlns:a16="http://schemas.microsoft.com/office/drawing/2014/main" id="{FAAFC6B6-4741-43D4-AB31-895CB762A759}"/>
                </a:ext>
              </a:extLst>
            </p:cNvPr>
            <p:cNvSpPr/>
            <p:nvPr/>
          </p:nvSpPr>
          <p:spPr>
            <a:xfrm>
              <a:off x="11360871" y="6601499"/>
              <a:ext cx="398952" cy="261271"/>
            </a:xfrm>
            <a:custGeom>
              <a:avLst/>
              <a:gdLst>
                <a:gd name="connsiteX0" fmla="*/ 0 w 398952"/>
                <a:gd name="connsiteY0" fmla="*/ 256772 h 261271"/>
                <a:gd name="connsiteX1" fmla="*/ 0 w 398952"/>
                <a:gd name="connsiteY1" fmla="*/ 260271 h 261271"/>
                <a:gd name="connsiteX2" fmla="*/ 0 w 398952"/>
                <a:gd name="connsiteY2" fmla="*/ 261271 h 261271"/>
                <a:gd name="connsiteX3" fmla="*/ 397703 w 398952"/>
                <a:gd name="connsiteY3" fmla="*/ 5248 h 261271"/>
                <a:gd name="connsiteX4" fmla="*/ 397703 w 398952"/>
                <a:gd name="connsiteY4" fmla="*/ 1624 h 261271"/>
                <a:gd name="connsiteX5" fmla="*/ 398953 w 398952"/>
                <a:gd name="connsiteY5" fmla="*/ 0 h 261271"/>
                <a:gd name="connsiteX6" fmla="*/ 398953 w 398952"/>
                <a:gd name="connsiteY6" fmla="*/ 0 h 26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952" h="261271">
                  <a:moveTo>
                    <a:pt x="0" y="256772"/>
                  </a:moveTo>
                  <a:lnTo>
                    <a:pt x="0" y="260271"/>
                  </a:lnTo>
                  <a:lnTo>
                    <a:pt x="0" y="261271"/>
                  </a:lnTo>
                  <a:lnTo>
                    <a:pt x="397703" y="5248"/>
                  </a:lnTo>
                  <a:lnTo>
                    <a:pt x="397703" y="1624"/>
                  </a:lnTo>
                  <a:cubicBezTo>
                    <a:pt x="397728" y="875"/>
                    <a:pt x="398228" y="212"/>
                    <a:pt x="398953" y="0"/>
                  </a:cubicBezTo>
                  <a:lnTo>
                    <a:pt x="398953" y="0"/>
                  </a:lnTo>
                  <a:close/>
                </a:path>
              </a:pathLst>
            </a:custGeom>
            <a:solidFill>
              <a:srgbClr val="000000"/>
            </a:solidFill>
            <a:ln w="12483" cap="flat">
              <a:noFill/>
              <a:prstDash val="solid"/>
              <a:miter/>
            </a:ln>
          </p:spPr>
          <p:txBody>
            <a:bodyPr rtlCol="0" anchor="ctr"/>
            <a:lstStyle/>
            <a:p>
              <a:endParaRPr lang="en-US"/>
            </a:p>
          </p:txBody>
        </p:sp>
        <p:sp>
          <p:nvSpPr>
            <p:cNvPr id="1371" name="Freeform: Shape 1370">
              <a:extLst>
                <a:ext uri="{FF2B5EF4-FFF2-40B4-BE49-F238E27FC236}">
                  <a16:creationId xmlns:a16="http://schemas.microsoft.com/office/drawing/2014/main" id="{C7062DB1-9005-44D0-B1AE-B6B771DB47EA}"/>
                </a:ext>
              </a:extLst>
            </p:cNvPr>
            <p:cNvSpPr/>
            <p:nvPr/>
          </p:nvSpPr>
          <p:spPr>
            <a:xfrm>
              <a:off x="11761323" y="6602249"/>
              <a:ext cx="37" cy="749"/>
            </a:xfrm>
            <a:custGeom>
              <a:avLst/>
              <a:gdLst>
                <a:gd name="connsiteX0" fmla="*/ 0 w 37"/>
                <a:gd name="connsiteY0" fmla="*/ 0 h 749"/>
                <a:gd name="connsiteX1" fmla="*/ 0 w 37"/>
                <a:gd name="connsiteY1" fmla="*/ 750 h 749"/>
                <a:gd name="connsiteX2" fmla="*/ 0 w 37"/>
                <a:gd name="connsiteY2" fmla="*/ 125 h 749"/>
              </a:gdLst>
              <a:ahLst/>
              <a:cxnLst>
                <a:cxn ang="0">
                  <a:pos x="connsiteX0" y="connsiteY0"/>
                </a:cxn>
                <a:cxn ang="0">
                  <a:pos x="connsiteX1" y="connsiteY1"/>
                </a:cxn>
                <a:cxn ang="0">
                  <a:pos x="connsiteX2" y="connsiteY2"/>
                </a:cxn>
              </a:cxnLst>
              <a:rect l="l" t="t" r="r" b="b"/>
              <a:pathLst>
                <a:path w="37" h="749">
                  <a:moveTo>
                    <a:pt x="0" y="0"/>
                  </a:moveTo>
                  <a:cubicBezTo>
                    <a:pt x="50" y="250"/>
                    <a:pt x="50" y="500"/>
                    <a:pt x="0" y="750"/>
                  </a:cubicBezTo>
                  <a:lnTo>
                    <a:pt x="0" y="125"/>
                  </a:lnTo>
                  <a:close/>
                </a:path>
              </a:pathLst>
            </a:custGeom>
            <a:solidFill>
              <a:srgbClr val="000000"/>
            </a:solidFill>
            <a:ln w="12483" cap="flat">
              <a:noFill/>
              <a:prstDash val="solid"/>
              <a:miter/>
            </a:ln>
          </p:spPr>
          <p:txBody>
            <a:bodyPr rtlCol="0" anchor="ctr"/>
            <a:lstStyle/>
            <a:p>
              <a:endParaRPr lang="en-US"/>
            </a:p>
          </p:txBody>
        </p:sp>
        <p:sp>
          <p:nvSpPr>
            <p:cNvPr id="1372" name="Freeform: Shape 1371">
              <a:extLst>
                <a:ext uri="{FF2B5EF4-FFF2-40B4-BE49-F238E27FC236}">
                  <a16:creationId xmlns:a16="http://schemas.microsoft.com/office/drawing/2014/main" id="{7F068469-E8FF-4A2D-B986-0E22BB697707}"/>
                </a:ext>
              </a:extLst>
            </p:cNvPr>
            <p:cNvSpPr/>
            <p:nvPr/>
          </p:nvSpPr>
          <p:spPr>
            <a:xfrm>
              <a:off x="11359622" y="6073960"/>
              <a:ext cx="53476" cy="787311"/>
            </a:xfrm>
            <a:custGeom>
              <a:avLst/>
              <a:gdLst>
                <a:gd name="connsiteX0" fmla="*/ 53477 w 53476"/>
                <a:gd name="connsiteY0" fmla="*/ 625 h 787311"/>
                <a:gd name="connsiteX1" fmla="*/ 52727 w 53476"/>
                <a:gd name="connsiteY1" fmla="*/ 625 h 787311"/>
                <a:gd name="connsiteX2" fmla="*/ 51727 w 53476"/>
                <a:gd name="connsiteY2" fmla="*/ 625 h 787311"/>
                <a:gd name="connsiteX3" fmla="*/ 51727 w 53476"/>
                <a:gd name="connsiteY3" fmla="*/ 625 h 787311"/>
                <a:gd name="connsiteX4" fmla="*/ 51727 w 53476"/>
                <a:gd name="connsiteY4" fmla="*/ 625 h 787311"/>
                <a:gd name="connsiteX5" fmla="*/ 51727 w 53476"/>
                <a:gd name="connsiteY5" fmla="*/ 0 h 787311"/>
                <a:gd name="connsiteX6" fmla="*/ 0 w 53476"/>
                <a:gd name="connsiteY6" fmla="*/ 783063 h 787311"/>
                <a:gd name="connsiteX7" fmla="*/ 2499 w 53476"/>
                <a:gd name="connsiteY7" fmla="*/ 786437 h 787311"/>
                <a:gd name="connsiteX8" fmla="*/ 2499 w 53476"/>
                <a:gd name="connsiteY8" fmla="*/ 786437 h 787311"/>
                <a:gd name="connsiteX9" fmla="*/ 2499 w 53476"/>
                <a:gd name="connsiteY9" fmla="*/ 787312 h 787311"/>
                <a:gd name="connsiteX10" fmla="*/ 2499 w 53476"/>
                <a:gd name="connsiteY10" fmla="*/ 787312 h 787311"/>
                <a:gd name="connsiteX11" fmla="*/ 2499 w 53476"/>
                <a:gd name="connsiteY11" fmla="*/ 787312 h 787311"/>
                <a:gd name="connsiteX12" fmla="*/ 2499 w 53476"/>
                <a:gd name="connsiteY12" fmla="*/ 783813 h 7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76" h="787311">
                  <a:moveTo>
                    <a:pt x="53477" y="625"/>
                  </a:moveTo>
                  <a:lnTo>
                    <a:pt x="52727" y="625"/>
                  </a:lnTo>
                  <a:lnTo>
                    <a:pt x="51727" y="625"/>
                  </a:lnTo>
                  <a:lnTo>
                    <a:pt x="51727" y="625"/>
                  </a:lnTo>
                  <a:lnTo>
                    <a:pt x="51727" y="625"/>
                  </a:lnTo>
                  <a:lnTo>
                    <a:pt x="51727" y="0"/>
                  </a:lnTo>
                  <a:lnTo>
                    <a:pt x="0" y="783063"/>
                  </a:lnTo>
                  <a:lnTo>
                    <a:pt x="2499" y="786437"/>
                  </a:lnTo>
                  <a:lnTo>
                    <a:pt x="2499" y="786437"/>
                  </a:lnTo>
                  <a:cubicBezTo>
                    <a:pt x="2511" y="786724"/>
                    <a:pt x="2511" y="787024"/>
                    <a:pt x="2499" y="787312"/>
                  </a:cubicBezTo>
                  <a:cubicBezTo>
                    <a:pt x="2499" y="787312"/>
                    <a:pt x="2499" y="787312"/>
                    <a:pt x="2499" y="787312"/>
                  </a:cubicBezTo>
                  <a:lnTo>
                    <a:pt x="2499" y="787312"/>
                  </a:lnTo>
                  <a:lnTo>
                    <a:pt x="2499" y="783813"/>
                  </a:lnTo>
                  <a:close/>
                </a:path>
              </a:pathLst>
            </a:custGeom>
            <a:solidFill>
              <a:srgbClr val="000000"/>
            </a:solidFill>
            <a:ln w="12483" cap="flat">
              <a:noFill/>
              <a:prstDash val="solid"/>
              <a:miter/>
            </a:ln>
          </p:spPr>
          <p:txBody>
            <a:bodyPr rtlCol="0" anchor="ctr"/>
            <a:lstStyle/>
            <a:p>
              <a:endParaRPr lang="en-US"/>
            </a:p>
          </p:txBody>
        </p:sp>
        <p:sp>
          <p:nvSpPr>
            <p:cNvPr id="1373" name="Freeform: Shape 1372">
              <a:extLst>
                <a:ext uri="{FF2B5EF4-FFF2-40B4-BE49-F238E27FC236}">
                  <a16:creationId xmlns:a16="http://schemas.microsoft.com/office/drawing/2014/main" id="{A3E00F58-E715-4A74-A892-9F9F3FA03E7D}"/>
                </a:ext>
              </a:extLst>
            </p:cNvPr>
            <p:cNvSpPr/>
            <p:nvPr/>
          </p:nvSpPr>
          <p:spPr>
            <a:xfrm>
              <a:off x="11926627" y="4792096"/>
              <a:ext cx="228776" cy="140069"/>
            </a:xfrm>
            <a:custGeom>
              <a:avLst/>
              <a:gdLst>
                <a:gd name="connsiteX0" fmla="*/ 750 w 228776"/>
                <a:gd name="connsiteY0" fmla="*/ 138320 h 140069"/>
                <a:gd name="connsiteX1" fmla="*/ 750 w 228776"/>
                <a:gd name="connsiteY1" fmla="*/ 138320 h 140069"/>
                <a:gd name="connsiteX2" fmla="*/ 750 w 228776"/>
                <a:gd name="connsiteY2" fmla="*/ 139070 h 140069"/>
                <a:gd name="connsiteX3" fmla="*/ 750 w 228776"/>
                <a:gd name="connsiteY3" fmla="*/ 139070 h 140069"/>
                <a:gd name="connsiteX4" fmla="*/ 750 w 228776"/>
                <a:gd name="connsiteY4" fmla="*/ 140069 h 140069"/>
                <a:gd name="connsiteX5" fmla="*/ 228776 w 228776"/>
                <a:gd name="connsiteY5" fmla="*/ 3998 h 140069"/>
                <a:gd name="connsiteX6" fmla="*/ 228776 w 228776"/>
                <a:gd name="connsiteY6" fmla="*/ 0 h 140069"/>
                <a:gd name="connsiteX7" fmla="*/ 228776 w 228776"/>
                <a:gd name="connsiteY7" fmla="*/ 0 h 140069"/>
                <a:gd name="connsiteX8" fmla="*/ 0 w 228776"/>
                <a:gd name="connsiteY8" fmla="*/ 136821 h 14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776" h="140069">
                  <a:moveTo>
                    <a:pt x="750" y="138320"/>
                  </a:moveTo>
                  <a:lnTo>
                    <a:pt x="750" y="138320"/>
                  </a:lnTo>
                  <a:cubicBezTo>
                    <a:pt x="800" y="138570"/>
                    <a:pt x="800" y="138820"/>
                    <a:pt x="750" y="139070"/>
                  </a:cubicBezTo>
                  <a:lnTo>
                    <a:pt x="750" y="139070"/>
                  </a:lnTo>
                  <a:lnTo>
                    <a:pt x="750" y="140069"/>
                  </a:lnTo>
                  <a:lnTo>
                    <a:pt x="228776" y="3998"/>
                  </a:lnTo>
                  <a:lnTo>
                    <a:pt x="228776" y="0"/>
                  </a:lnTo>
                  <a:lnTo>
                    <a:pt x="228776" y="0"/>
                  </a:lnTo>
                  <a:lnTo>
                    <a:pt x="0" y="136821"/>
                  </a:lnTo>
                  <a:close/>
                </a:path>
              </a:pathLst>
            </a:custGeom>
            <a:solidFill>
              <a:srgbClr val="000000"/>
            </a:solidFill>
            <a:ln w="12483" cap="flat">
              <a:noFill/>
              <a:prstDash val="solid"/>
              <a:miter/>
            </a:ln>
          </p:spPr>
          <p:txBody>
            <a:bodyPr rtlCol="0" anchor="ctr"/>
            <a:lstStyle/>
            <a:p>
              <a:endParaRPr lang="en-US"/>
            </a:p>
          </p:txBody>
        </p:sp>
        <p:sp>
          <p:nvSpPr>
            <p:cNvPr id="1374" name="Freeform: Shape 1373">
              <a:extLst>
                <a:ext uri="{FF2B5EF4-FFF2-40B4-BE49-F238E27FC236}">
                  <a16:creationId xmlns:a16="http://schemas.microsoft.com/office/drawing/2014/main" id="{BA1EF2B3-2410-4542-AA56-D5FA0585E4E6}"/>
                </a:ext>
              </a:extLst>
            </p:cNvPr>
            <p:cNvSpPr/>
            <p:nvPr/>
          </p:nvSpPr>
          <p:spPr>
            <a:xfrm>
              <a:off x="11403066" y="4323533"/>
              <a:ext cx="37" cy="624"/>
            </a:xfrm>
            <a:custGeom>
              <a:avLst/>
              <a:gdLst>
                <a:gd name="connsiteX0" fmla="*/ 37 w 37"/>
                <a:gd name="connsiteY0" fmla="*/ 0 h 624"/>
                <a:gd name="connsiteX1" fmla="*/ 37 w 37"/>
                <a:gd name="connsiteY1" fmla="*/ 625 h 624"/>
                <a:gd name="connsiteX2" fmla="*/ 37 w 37"/>
                <a:gd name="connsiteY2" fmla="*/ 0 h 624"/>
              </a:gdLst>
              <a:ahLst/>
              <a:cxnLst>
                <a:cxn ang="0">
                  <a:pos x="connsiteX0" y="connsiteY0"/>
                </a:cxn>
                <a:cxn ang="0">
                  <a:pos x="connsiteX1" y="connsiteY1"/>
                </a:cxn>
                <a:cxn ang="0">
                  <a:pos x="connsiteX2" y="connsiteY2"/>
                </a:cxn>
              </a:cxnLst>
              <a:rect l="l" t="t" r="r" b="b"/>
              <a:pathLst>
                <a:path w="37" h="624">
                  <a:moveTo>
                    <a:pt x="37" y="0"/>
                  </a:moveTo>
                  <a:cubicBezTo>
                    <a:pt x="-12" y="200"/>
                    <a:pt x="-12" y="425"/>
                    <a:pt x="37" y="625"/>
                  </a:cubicBezTo>
                  <a:cubicBezTo>
                    <a:pt x="-12" y="425"/>
                    <a:pt x="-12" y="200"/>
                    <a:pt x="37" y="0"/>
                  </a:cubicBezTo>
                  <a:close/>
                </a:path>
              </a:pathLst>
            </a:custGeom>
            <a:solidFill>
              <a:srgbClr val="000000"/>
            </a:solidFill>
            <a:ln w="12483" cap="flat">
              <a:noFill/>
              <a:prstDash val="solid"/>
              <a:miter/>
            </a:ln>
          </p:spPr>
          <p:txBody>
            <a:bodyPr rtlCol="0" anchor="ctr"/>
            <a:lstStyle/>
            <a:p>
              <a:endParaRPr lang="en-US"/>
            </a:p>
          </p:txBody>
        </p:sp>
        <p:sp>
          <p:nvSpPr>
            <p:cNvPr id="1375" name="Freeform: Shape 1374">
              <a:extLst>
                <a:ext uri="{FF2B5EF4-FFF2-40B4-BE49-F238E27FC236}">
                  <a16:creationId xmlns:a16="http://schemas.microsoft.com/office/drawing/2014/main" id="{42213809-DFEC-4978-BD7B-F4163405E2CF}"/>
                </a:ext>
              </a:extLst>
            </p:cNvPr>
            <p:cNvSpPr/>
            <p:nvPr/>
          </p:nvSpPr>
          <p:spPr>
            <a:xfrm>
              <a:off x="11405352" y="4323533"/>
              <a:ext cx="522773" cy="608757"/>
            </a:xfrm>
            <a:custGeom>
              <a:avLst/>
              <a:gdLst>
                <a:gd name="connsiteX0" fmla="*/ 0 w 522773"/>
                <a:gd name="connsiteY0" fmla="*/ 0 h 608757"/>
                <a:gd name="connsiteX1" fmla="*/ 0 w 522773"/>
                <a:gd name="connsiteY1" fmla="*/ 0 h 608757"/>
                <a:gd name="connsiteX2" fmla="*/ 999 w 522773"/>
                <a:gd name="connsiteY2" fmla="*/ 1749 h 608757"/>
                <a:gd name="connsiteX3" fmla="*/ 999 w 522773"/>
                <a:gd name="connsiteY3" fmla="*/ 5873 h 608757"/>
                <a:gd name="connsiteX4" fmla="*/ 520025 w 522773"/>
                <a:gd name="connsiteY4" fmla="*/ 608757 h 608757"/>
                <a:gd name="connsiteX5" fmla="*/ 520025 w 522773"/>
                <a:gd name="connsiteY5" fmla="*/ 607758 h 608757"/>
                <a:gd name="connsiteX6" fmla="*/ 521887 w 522773"/>
                <a:gd name="connsiteY6" fmla="*/ 606133 h 608757"/>
                <a:gd name="connsiteX7" fmla="*/ 521900 w 522773"/>
                <a:gd name="connsiteY7" fmla="*/ 606133 h 608757"/>
                <a:gd name="connsiteX8" fmla="*/ 522774 w 522773"/>
                <a:gd name="connsiteY8" fmla="*/ 606758 h 608757"/>
                <a:gd name="connsiteX9" fmla="*/ 522774 w 522773"/>
                <a:gd name="connsiteY9" fmla="*/ 606758 h 608757"/>
                <a:gd name="connsiteX10" fmla="*/ 522024 w 522773"/>
                <a:gd name="connsiteY10" fmla="*/ 605759 h 608757"/>
                <a:gd name="connsiteX11" fmla="*/ 2499 w 522773"/>
                <a:gd name="connsiteY11" fmla="*/ 2249 h 608757"/>
                <a:gd name="connsiteX12" fmla="*/ 1374 w 522773"/>
                <a:gd name="connsiteY12" fmla="*/ 1000 h 60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2773" h="608757">
                  <a:moveTo>
                    <a:pt x="0" y="0"/>
                  </a:moveTo>
                  <a:lnTo>
                    <a:pt x="0" y="0"/>
                  </a:lnTo>
                  <a:cubicBezTo>
                    <a:pt x="700" y="275"/>
                    <a:pt x="1112" y="1000"/>
                    <a:pt x="999" y="1749"/>
                  </a:cubicBezTo>
                  <a:lnTo>
                    <a:pt x="999" y="5873"/>
                  </a:lnTo>
                  <a:lnTo>
                    <a:pt x="520025" y="608757"/>
                  </a:lnTo>
                  <a:lnTo>
                    <a:pt x="520025" y="607758"/>
                  </a:lnTo>
                  <a:cubicBezTo>
                    <a:pt x="520088" y="606796"/>
                    <a:pt x="520925" y="606071"/>
                    <a:pt x="521887" y="606133"/>
                  </a:cubicBezTo>
                  <a:cubicBezTo>
                    <a:pt x="521900" y="606133"/>
                    <a:pt x="521900" y="606133"/>
                    <a:pt x="521900" y="606133"/>
                  </a:cubicBezTo>
                  <a:cubicBezTo>
                    <a:pt x="521900" y="606133"/>
                    <a:pt x="521900" y="606133"/>
                    <a:pt x="522774" y="606758"/>
                  </a:cubicBezTo>
                  <a:lnTo>
                    <a:pt x="522774" y="606758"/>
                  </a:lnTo>
                  <a:lnTo>
                    <a:pt x="522024" y="605759"/>
                  </a:lnTo>
                  <a:lnTo>
                    <a:pt x="2499" y="2249"/>
                  </a:lnTo>
                  <a:lnTo>
                    <a:pt x="1374" y="1000"/>
                  </a:lnTo>
                  <a:close/>
                </a:path>
              </a:pathLst>
            </a:custGeom>
            <a:solidFill>
              <a:srgbClr val="000000"/>
            </a:solidFill>
            <a:ln w="12483" cap="flat">
              <a:noFill/>
              <a:prstDash val="solid"/>
              <a:miter/>
            </a:ln>
          </p:spPr>
          <p:txBody>
            <a:bodyPr rtlCol="0" anchor="ctr"/>
            <a:lstStyle/>
            <a:p>
              <a:endParaRPr lang="en-US"/>
            </a:p>
          </p:txBody>
        </p:sp>
        <p:sp>
          <p:nvSpPr>
            <p:cNvPr id="1376" name="Freeform: Shape 1375">
              <a:extLst>
                <a:ext uri="{FF2B5EF4-FFF2-40B4-BE49-F238E27FC236}">
                  <a16:creationId xmlns:a16="http://schemas.microsoft.com/office/drawing/2014/main" id="{7EC3ADE8-F167-40AF-85E3-AEB0F3AFF668}"/>
                </a:ext>
              </a:extLst>
            </p:cNvPr>
            <p:cNvSpPr/>
            <p:nvPr/>
          </p:nvSpPr>
          <p:spPr>
            <a:xfrm>
              <a:off x="10846094" y="4453981"/>
              <a:ext cx="106953" cy="128448"/>
            </a:xfrm>
            <a:custGeom>
              <a:avLst/>
              <a:gdLst>
                <a:gd name="connsiteX0" fmla="*/ 0 w 106953"/>
                <a:gd name="connsiteY0" fmla="*/ 125 h 128448"/>
                <a:gd name="connsiteX1" fmla="*/ 3374 w 106953"/>
                <a:gd name="connsiteY1" fmla="*/ 4248 h 128448"/>
                <a:gd name="connsiteX2" fmla="*/ 105954 w 106953"/>
                <a:gd name="connsiteY2" fmla="*/ 128449 h 128448"/>
                <a:gd name="connsiteX3" fmla="*/ 105954 w 106953"/>
                <a:gd name="connsiteY3" fmla="*/ 127699 h 128448"/>
                <a:gd name="connsiteX4" fmla="*/ 105954 w 106953"/>
                <a:gd name="connsiteY4" fmla="*/ 127699 h 128448"/>
                <a:gd name="connsiteX5" fmla="*/ 105954 w 106953"/>
                <a:gd name="connsiteY5" fmla="*/ 127699 h 128448"/>
                <a:gd name="connsiteX6" fmla="*/ 105954 w 106953"/>
                <a:gd name="connsiteY6" fmla="*/ 127075 h 128448"/>
                <a:gd name="connsiteX7" fmla="*/ 105954 w 106953"/>
                <a:gd name="connsiteY7" fmla="*/ 127075 h 128448"/>
                <a:gd name="connsiteX8" fmla="*/ 105954 w 106953"/>
                <a:gd name="connsiteY8" fmla="*/ 127075 h 128448"/>
                <a:gd name="connsiteX9" fmla="*/ 105954 w 106953"/>
                <a:gd name="connsiteY9" fmla="*/ 127075 h 128448"/>
                <a:gd name="connsiteX10" fmla="*/ 106954 w 106953"/>
                <a:gd name="connsiteY10" fmla="*/ 126450 h 128448"/>
                <a:gd name="connsiteX11" fmla="*/ 2499 w 106953"/>
                <a:gd name="connsiteY11" fmla="*/ 0 h 128448"/>
                <a:gd name="connsiteX12" fmla="*/ 2499 w 106953"/>
                <a:gd name="connsiteY12" fmla="*/ 0 h 12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953" h="128448">
                  <a:moveTo>
                    <a:pt x="0" y="125"/>
                  </a:moveTo>
                  <a:lnTo>
                    <a:pt x="3374" y="4248"/>
                  </a:lnTo>
                  <a:lnTo>
                    <a:pt x="105954" y="128449"/>
                  </a:lnTo>
                  <a:lnTo>
                    <a:pt x="105954" y="127699"/>
                  </a:lnTo>
                  <a:lnTo>
                    <a:pt x="105954" y="127699"/>
                  </a:lnTo>
                  <a:lnTo>
                    <a:pt x="105954" y="127699"/>
                  </a:lnTo>
                  <a:cubicBezTo>
                    <a:pt x="105954" y="127699"/>
                    <a:pt x="105954" y="127699"/>
                    <a:pt x="105954" y="127075"/>
                  </a:cubicBezTo>
                  <a:cubicBezTo>
                    <a:pt x="105954" y="126450"/>
                    <a:pt x="105954" y="127075"/>
                    <a:pt x="105954" y="127075"/>
                  </a:cubicBezTo>
                  <a:lnTo>
                    <a:pt x="105954" y="127075"/>
                  </a:lnTo>
                  <a:cubicBezTo>
                    <a:pt x="105954" y="127075"/>
                    <a:pt x="105954" y="127075"/>
                    <a:pt x="105954" y="127075"/>
                  </a:cubicBezTo>
                  <a:lnTo>
                    <a:pt x="106954" y="126450"/>
                  </a:lnTo>
                  <a:lnTo>
                    <a:pt x="2499" y="0"/>
                  </a:lnTo>
                  <a:lnTo>
                    <a:pt x="2499" y="0"/>
                  </a:lnTo>
                  <a:close/>
                </a:path>
              </a:pathLst>
            </a:custGeom>
            <a:solidFill>
              <a:srgbClr val="000000"/>
            </a:solidFill>
            <a:ln w="12483" cap="flat">
              <a:noFill/>
              <a:prstDash val="solid"/>
              <a:miter/>
            </a:ln>
          </p:spPr>
          <p:txBody>
            <a:bodyPr rtlCol="0" anchor="ctr"/>
            <a:lstStyle/>
            <a:p>
              <a:endParaRPr lang="en-US"/>
            </a:p>
          </p:txBody>
        </p:sp>
        <p:sp>
          <p:nvSpPr>
            <p:cNvPr id="1377" name="Freeform: Shape 1376">
              <a:extLst>
                <a:ext uri="{FF2B5EF4-FFF2-40B4-BE49-F238E27FC236}">
                  <a16:creationId xmlns:a16="http://schemas.microsoft.com/office/drawing/2014/main" id="{98396F2C-6533-432F-8CA8-6D2E365A345C}"/>
                </a:ext>
              </a:extLst>
            </p:cNvPr>
            <p:cNvSpPr/>
            <p:nvPr/>
          </p:nvSpPr>
          <p:spPr>
            <a:xfrm>
              <a:off x="11275158" y="4209078"/>
              <a:ext cx="100581" cy="119827"/>
            </a:xfrm>
            <a:custGeom>
              <a:avLst/>
              <a:gdLst>
                <a:gd name="connsiteX0" fmla="*/ 2124 w 100581"/>
                <a:gd name="connsiteY0" fmla="*/ 0 h 119827"/>
                <a:gd name="connsiteX1" fmla="*/ 1000 w 100581"/>
                <a:gd name="connsiteY1" fmla="*/ 1749 h 119827"/>
                <a:gd name="connsiteX2" fmla="*/ 0 w 100581"/>
                <a:gd name="connsiteY2" fmla="*/ 2749 h 119827"/>
                <a:gd name="connsiteX3" fmla="*/ 100582 w 100581"/>
                <a:gd name="connsiteY3" fmla="*/ 119827 h 119827"/>
                <a:gd name="connsiteX4" fmla="*/ 100582 w 100581"/>
                <a:gd name="connsiteY4" fmla="*/ 114829 h 119827"/>
                <a:gd name="connsiteX5" fmla="*/ 1874 w 100581"/>
                <a:gd name="connsiteY5" fmla="*/ 0 h 11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81" h="119827">
                  <a:moveTo>
                    <a:pt x="2124" y="0"/>
                  </a:moveTo>
                  <a:cubicBezTo>
                    <a:pt x="1824" y="625"/>
                    <a:pt x="1449" y="1212"/>
                    <a:pt x="1000" y="1749"/>
                  </a:cubicBezTo>
                  <a:lnTo>
                    <a:pt x="0" y="2749"/>
                  </a:lnTo>
                  <a:lnTo>
                    <a:pt x="100582" y="119827"/>
                  </a:lnTo>
                  <a:lnTo>
                    <a:pt x="100582" y="114829"/>
                  </a:lnTo>
                  <a:lnTo>
                    <a:pt x="1874" y="0"/>
                  </a:lnTo>
                  <a:close/>
                </a:path>
              </a:pathLst>
            </a:custGeom>
            <a:solidFill>
              <a:srgbClr val="000000"/>
            </a:solidFill>
            <a:ln w="12483" cap="flat">
              <a:noFill/>
              <a:prstDash val="solid"/>
              <a:miter/>
            </a:ln>
          </p:spPr>
          <p:txBody>
            <a:bodyPr rtlCol="0" anchor="ctr"/>
            <a:lstStyle/>
            <a:p>
              <a:endParaRPr lang="en-US"/>
            </a:p>
          </p:txBody>
        </p:sp>
        <p:sp>
          <p:nvSpPr>
            <p:cNvPr id="1378" name="Freeform: Shape 1377">
              <a:extLst>
                <a:ext uri="{FF2B5EF4-FFF2-40B4-BE49-F238E27FC236}">
                  <a16:creationId xmlns:a16="http://schemas.microsoft.com/office/drawing/2014/main" id="{72BFEDE8-55CA-4645-9E1F-7CBAA2BDB4A0}"/>
                </a:ext>
              </a:extLst>
            </p:cNvPr>
            <p:cNvSpPr/>
            <p:nvPr/>
          </p:nvSpPr>
          <p:spPr>
            <a:xfrm>
              <a:off x="11404956" y="4264306"/>
              <a:ext cx="4603" cy="35236"/>
            </a:xfrm>
            <a:custGeom>
              <a:avLst/>
              <a:gdLst>
                <a:gd name="connsiteX0" fmla="*/ 4519 w 4603"/>
                <a:gd name="connsiteY0" fmla="*/ 0 h 35236"/>
                <a:gd name="connsiteX1" fmla="*/ 4519 w 4603"/>
                <a:gd name="connsiteY1" fmla="*/ 0 h 35236"/>
                <a:gd name="connsiteX2" fmla="*/ 4519 w 4603"/>
                <a:gd name="connsiteY2" fmla="*/ 1250 h 35236"/>
                <a:gd name="connsiteX3" fmla="*/ 2608 w 4603"/>
                <a:gd name="connsiteY3" fmla="*/ 1587 h 35236"/>
                <a:gd name="connsiteX4" fmla="*/ 2270 w 4603"/>
                <a:gd name="connsiteY4" fmla="*/ 1250 h 35236"/>
                <a:gd name="connsiteX5" fmla="*/ 1646 w 4603"/>
                <a:gd name="connsiteY5" fmla="*/ 625 h 35236"/>
                <a:gd name="connsiteX6" fmla="*/ 21 w 4603"/>
                <a:gd name="connsiteY6" fmla="*/ 29113 h 35236"/>
                <a:gd name="connsiteX7" fmla="*/ 21 w 4603"/>
                <a:gd name="connsiteY7" fmla="*/ 33237 h 35236"/>
                <a:gd name="connsiteX8" fmla="*/ 1483 w 4603"/>
                <a:gd name="connsiteY8" fmla="*/ 35236 h 35236"/>
                <a:gd name="connsiteX9" fmla="*/ 1520 w 4603"/>
                <a:gd name="connsiteY9" fmla="*/ 35236 h 35236"/>
                <a:gd name="connsiteX10" fmla="*/ 3145 w 4603"/>
                <a:gd name="connsiteY10" fmla="*/ 33612 h 35236"/>
                <a:gd name="connsiteX11" fmla="*/ 3145 w 4603"/>
                <a:gd name="connsiteY11" fmla="*/ 33487 h 35236"/>
                <a:gd name="connsiteX12" fmla="*/ 3145 w 4603"/>
                <a:gd name="connsiteY12" fmla="*/ 30238 h 3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3" h="35236">
                  <a:moveTo>
                    <a:pt x="4519" y="0"/>
                  </a:moveTo>
                  <a:lnTo>
                    <a:pt x="4519" y="0"/>
                  </a:lnTo>
                  <a:cubicBezTo>
                    <a:pt x="4632" y="412"/>
                    <a:pt x="4632" y="837"/>
                    <a:pt x="4519" y="1250"/>
                  </a:cubicBezTo>
                  <a:cubicBezTo>
                    <a:pt x="4082" y="1874"/>
                    <a:pt x="3220" y="2024"/>
                    <a:pt x="2608" y="1587"/>
                  </a:cubicBezTo>
                  <a:cubicBezTo>
                    <a:pt x="2470" y="1487"/>
                    <a:pt x="2357" y="1374"/>
                    <a:pt x="2270" y="1250"/>
                  </a:cubicBezTo>
                  <a:lnTo>
                    <a:pt x="1646" y="625"/>
                  </a:lnTo>
                  <a:lnTo>
                    <a:pt x="21" y="29113"/>
                  </a:lnTo>
                  <a:lnTo>
                    <a:pt x="21" y="33237"/>
                  </a:lnTo>
                  <a:cubicBezTo>
                    <a:pt x="-129" y="34186"/>
                    <a:pt x="533" y="35086"/>
                    <a:pt x="1483" y="35236"/>
                  </a:cubicBezTo>
                  <a:cubicBezTo>
                    <a:pt x="1495" y="35236"/>
                    <a:pt x="1508" y="35236"/>
                    <a:pt x="1520" y="35236"/>
                  </a:cubicBezTo>
                  <a:cubicBezTo>
                    <a:pt x="2420" y="35236"/>
                    <a:pt x="3145" y="34511"/>
                    <a:pt x="3145" y="33612"/>
                  </a:cubicBezTo>
                  <a:cubicBezTo>
                    <a:pt x="3145" y="33574"/>
                    <a:pt x="3145" y="33524"/>
                    <a:pt x="3145" y="33487"/>
                  </a:cubicBezTo>
                  <a:lnTo>
                    <a:pt x="3145" y="30238"/>
                  </a:lnTo>
                  <a:close/>
                </a:path>
              </a:pathLst>
            </a:custGeom>
            <a:solidFill>
              <a:srgbClr val="000000"/>
            </a:solidFill>
            <a:ln w="12483" cap="flat">
              <a:noFill/>
              <a:prstDash val="solid"/>
              <a:miter/>
            </a:ln>
          </p:spPr>
          <p:txBody>
            <a:bodyPr rtlCol="0" anchor="ctr"/>
            <a:lstStyle/>
            <a:p>
              <a:endParaRPr lang="en-US"/>
            </a:p>
          </p:txBody>
        </p:sp>
        <p:sp>
          <p:nvSpPr>
            <p:cNvPr id="1379" name="Freeform: Shape 1378">
              <a:extLst>
                <a:ext uri="{FF2B5EF4-FFF2-40B4-BE49-F238E27FC236}">
                  <a16:creationId xmlns:a16="http://schemas.microsoft.com/office/drawing/2014/main" id="{ECC24FC8-F8A0-4862-A105-B5A5462F704A}"/>
                </a:ext>
              </a:extLst>
            </p:cNvPr>
            <p:cNvSpPr/>
            <p:nvPr/>
          </p:nvSpPr>
          <p:spPr>
            <a:xfrm>
              <a:off x="8593067" y="4768980"/>
              <a:ext cx="62597" cy="85341"/>
            </a:xfrm>
            <a:custGeom>
              <a:avLst/>
              <a:gdLst>
                <a:gd name="connsiteX0" fmla="*/ 5997 w 62597"/>
                <a:gd name="connsiteY0" fmla="*/ 2749 h 85341"/>
                <a:gd name="connsiteX1" fmla="*/ 0 w 62597"/>
                <a:gd name="connsiteY1" fmla="*/ 0 h 85341"/>
                <a:gd name="connsiteX2" fmla="*/ 59474 w 62597"/>
                <a:gd name="connsiteY2" fmla="*/ 85341 h 85341"/>
                <a:gd name="connsiteX3" fmla="*/ 61473 w 62597"/>
                <a:gd name="connsiteY3" fmla="*/ 84217 h 85341"/>
                <a:gd name="connsiteX4" fmla="*/ 62598 w 62597"/>
                <a:gd name="connsiteY4" fmla="*/ 83592 h 85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97" h="85341">
                  <a:moveTo>
                    <a:pt x="5997" y="2749"/>
                  </a:moveTo>
                  <a:cubicBezTo>
                    <a:pt x="3686" y="2811"/>
                    <a:pt x="1462" y="1799"/>
                    <a:pt x="0" y="0"/>
                  </a:cubicBezTo>
                  <a:lnTo>
                    <a:pt x="59474" y="85341"/>
                  </a:lnTo>
                  <a:lnTo>
                    <a:pt x="61473" y="84217"/>
                  </a:lnTo>
                  <a:lnTo>
                    <a:pt x="62598" y="83592"/>
                  </a:lnTo>
                  <a:close/>
                </a:path>
              </a:pathLst>
            </a:custGeom>
            <a:solidFill>
              <a:srgbClr val="000000"/>
            </a:solidFill>
            <a:ln w="12483" cap="flat">
              <a:noFill/>
              <a:prstDash val="solid"/>
              <a:miter/>
            </a:ln>
          </p:spPr>
          <p:txBody>
            <a:bodyPr rtlCol="0" anchor="ctr"/>
            <a:lstStyle/>
            <a:p>
              <a:endParaRPr lang="en-US"/>
            </a:p>
          </p:txBody>
        </p:sp>
        <p:sp>
          <p:nvSpPr>
            <p:cNvPr id="1380" name="Freeform: Shape 1379">
              <a:extLst>
                <a:ext uri="{FF2B5EF4-FFF2-40B4-BE49-F238E27FC236}">
                  <a16:creationId xmlns:a16="http://schemas.microsoft.com/office/drawing/2014/main" id="{4B06810E-78C0-4835-80D1-117E987104DA}"/>
                </a:ext>
              </a:extLst>
            </p:cNvPr>
            <p:cNvSpPr/>
            <p:nvPr/>
          </p:nvSpPr>
          <p:spPr>
            <a:xfrm>
              <a:off x="8248466" y="5710230"/>
              <a:ext cx="1124" cy="12495"/>
            </a:xfrm>
            <a:custGeom>
              <a:avLst/>
              <a:gdLst>
                <a:gd name="connsiteX0" fmla="*/ 0 w 1124"/>
                <a:gd name="connsiteY0" fmla="*/ 0 h 12495"/>
                <a:gd name="connsiteX1" fmla="*/ 1124 w 1124"/>
                <a:gd name="connsiteY1" fmla="*/ 0 h 12495"/>
                <a:gd name="connsiteX2" fmla="*/ 1124 w 1124"/>
                <a:gd name="connsiteY2" fmla="*/ 0 h 12495"/>
              </a:gdLst>
              <a:ahLst/>
              <a:cxnLst>
                <a:cxn ang="0">
                  <a:pos x="connsiteX0" y="connsiteY0"/>
                </a:cxn>
                <a:cxn ang="0">
                  <a:pos x="connsiteX1" y="connsiteY1"/>
                </a:cxn>
                <a:cxn ang="0">
                  <a:pos x="connsiteX2" y="connsiteY2"/>
                </a:cxn>
              </a:cxnLst>
              <a:rect l="l" t="t" r="r" b="b"/>
              <a:pathLst>
                <a:path w="1124" h="12495">
                  <a:moveTo>
                    <a:pt x="0" y="0"/>
                  </a:moveTo>
                  <a:lnTo>
                    <a:pt x="1124" y="0"/>
                  </a:lnTo>
                  <a:lnTo>
                    <a:pt x="1124" y="0"/>
                  </a:lnTo>
                  <a:close/>
                </a:path>
              </a:pathLst>
            </a:custGeom>
            <a:solidFill>
              <a:srgbClr val="000000"/>
            </a:solidFill>
            <a:ln w="12483" cap="flat">
              <a:noFill/>
              <a:prstDash val="solid"/>
              <a:miter/>
            </a:ln>
          </p:spPr>
          <p:txBody>
            <a:bodyPr rtlCol="0" anchor="ctr"/>
            <a:lstStyle/>
            <a:p>
              <a:endParaRPr lang="en-US"/>
            </a:p>
          </p:txBody>
        </p:sp>
        <p:sp>
          <p:nvSpPr>
            <p:cNvPr id="1381" name="Freeform: Shape 1380">
              <a:extLst>
                <a:ext uri="{FF2B5EF4-FFF2-40B4-BE49-F238E27FC236}">
                  <a16:creationId xmlns:a16="http://schemas.microsoft.com/office/drawing/2014/main" id="{ED9CB3CD-D478-4283-B54C-19BE37C2BD0C}"/>
                </a:ext>
              </a:extLst>
            </p:cNvPr>
            <p:cNvSpPr/>
            <p:nvPr/>
          </p:nvSpPr>
          <p:spPr>
            <a:xfrm>
              <a:off x="8265209" y="5692612"/>
              <a:ext cx="46" cy="1999"/>
            </a:xfrm>
            <a:custGeom>
              <a:avLst/>
              <a:gdLst>
                <a:gd name="connsiteX0" fmla="*/ 0 w 46"/>
                <a:gd name="connsiteY0" fmla="*/ 0 h 1999"/>
                <a:gd name="connsiteX1" fmla="*/ 0 w 46"/>
                <a:gd name="connsiteY1" fmla="*/ 1999 h 1999"/>
                <a:gd name="connsiteX2" fmla="*/ 0 w 46"/>
                <a:gd name="connsiteY2" fmla="*/ 375 h 1999"/>
              </a:gdLst>
              <a:ahLst/>
              <a:cxnLst>
                <a:cxn ang="0">
                  <a:pos x="connsiteX0" y="connsiteY0"/>
                </a:cxn>
                <a:cxn ang="0">
                  <a:pos x="connsiteX1" y="connsiteY1"/>
                </a:cxn>
                <a:cxn ang="0">
                  <a:pos x="connsiteX2" y="connsiteY2"/>
                </a:cxn>
              </a:cxnLst>
              <a:rect l="l" t="t" r="r" b="b"/>
              <a:pathLst>
                <a:path w="46" h="1999">
                  <a:moveTo>
                    <a:pt x="0" y="0"/>
                  </a:moveTo>
                  <a:cubicBezTo>
                    <a:pt x="63" y="662"/>
                    <a:pt x="63" y="1337"/>
                    <a:pt x="0" y="1999"/>
                  </a:cubicBezTo>
                  <a:cubicBezTo>
                    <a:pt x="0" y="1999"/>
                    <a:pt x="0" y="875"/>
                    <a:pt x="0" y="375"/>
                  </a:cubicBezTo>
                  <a:close/>
                </a:path>
              </a:pathLst>
            </a:custGeom>
            <a:solidFill>
              <a:srgbClr val="000000"/>
            </a:solidFill>
            <a:ln w="12483" cap="flat">
              <a:noFill/>
              <a:prstDash val="solid"/>
              <a:miter/>
            </a:ln>
          </p:spPr>
          <p:txBody>
            <a:bodyPr rtlCol="0" anchor="ctr"/>
            <a:lstStyle/>
            <a:p>
              <a:endParaRPr lang="en-US"/>
            </a:p>
          </p:txBody>
        </p:sp>
        <p:sp>
          <p:nvSpPr>
            <p:cNvPr id="1382" name="Freeform: Shape 1381">
              <a:extLst>
                <a:ext uri="{FF2B5EF4-FFF2-40B4-BE49-F238E27FC236}">
                  <a16:creationId xmlns:a16="http://schemas.microsoft.com/office/drawing/2014/main" id="{BEF0E8A4-2E2C-424D-BE64-121832E84D46}"/>
                </a:ext>
              </a:extLst>
            </p:cNvPr>
            <p:cNvSpPr/>
            <p:nvPr/>
          </p:nvSpPr>
          <p:spPr>
            <a:xfrm>
              <a:off x="8252131" y="4945410"/>
              <a:ext cx="4457" cy="13953"/>
            </a:xfrm>
            <a:custGeom>
              <a:avLst/>
              <a:gdLst>
                <a:gd name="connsiteX0" fmla="*/ 2832 w 4457"/>
                <a:gd name="connsiteY0" fmla="*/ 8246 h 13953"/>
                <a:gd name="connsiteX1" fmla="*/ 2832 w 4457"/>
                <a:gd name="connsiteY1" fmla="*/ 3124 h 13953"/>
                <a:gd name="connsiteX2" fmla="*/ 2832 w 4457"/>
                <a:gd name="connsiteY2" fmla="*/ 1624 h 13953"/>
                <a:gd name="connsiteX3" fmla="*/ 1208 w 4457"/>
                <a:gd name="connsiteY3" fmla="*/ 0 h 13953"/>
                <a:gd name="connsiteX4" fmla="*/ 1083 w 4457"/>
                <a:gd name="connsiteY4" fmla="*/ 0 h 13953"/>
                <a:gd name="connsiteX5" fmla="*/ 333 w 4457"/>
                <a:gd name="connsiteY5" fmla="*/ 0 h 13953"/>
                <a:gd name="connsiteX6" fmla="*/ 333 w 4457"/>
                <a:gd name="connsiteY6" fmla="*/ 0 h 13953"/>
                <a:gd name="connsiteX7" fmla="*/ 333 w 4457"/>
                <a:gd name="connsiteY7" fmla="*/ 750 h 13953"/>
                <a:gd name="connsiteX8" fmla="*/ 333 w 4457"/>
                <a:gd name="connsiteY8" fmla="*/ 750 h 13953"/>
                <a:gd name="connsiteX9" fmla="*/ 333 w 4457"/>
                <a:gd name="connsiteY9" fmla="*/ 750 h 13953"/>
                <a:gd name="connsiteX10" fmla="*/ 1208 w 4457"/>
                <a:gd name="connsiteY10" fmla="*/ 9121 h 13953"/>
                <a:gd name="connsiteX11" fmla="*/ 1208 w 4457"/>
                <a:gd name="connsiteY11" fmla="*/ 12245 h 13953"/>
                <a:gd name="connsiteX12" fmla="*/ 2832 w 4457"/>
                <a:gd name="connsiteY12" fmla="*/ 13869 h 13953"/>
                <a:gd name="connsiteX13" fmla="*/ 2957 w 4457"/>
                <a:gd name="connsiteY13" fmla="*/ 13869 h 13953"/>
                <a:gd name="connsiteX14" fmla="*/ 3707 w 4457"/>
                <a:gd name="connsiteY14" fmla="*/ 13869 h 13953"/>
                <a:gd name="connsiteX15" fmla="*/ 4456 w 4457"/>
                <a:gd name="connsiteY15" fmla="*/ 12245 h 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 h="13953">
                  <a:moveTo>
                    <a:pt x="2832" y="8246"/>
                  </a:moveTo>
                  <a:lnTo>
                    <a:pt x="2832" y="3124"/>
                  </a:lnTo>
                  <a:lnTo>
                    <a:pt x="2832" y="1624"/>
                  </a:lnTo>
                  <a:cubicBezTo>
                    <a:pt x="2832" y="725"/>
                    <a:pt x="2108" y="0"/>
                    <a:pt x="1208" y="0"/>
                  </a:cubicBezTo>
                  <a:cubicBezTo>
                    <a:pt x="1170" y="0"/>
                    <a:pt x="1120" y="0"/>
                    <a:pt x="1083" y="0"/>
                  </a:cubicBezTo>
                  <a:cubicBezTo>
                    <a:pt x="1083" y="0"/>
                    <a:pt x="1083" y="0"/>
                    <a:pt x="333" y="0"/>
                  </a:cubicBezTo>
                  <a:cubicBezTo>
                    <a:pt x="-416" y="0"/>
                    <a:pt x="333" y="0"/>
                    <a:pt x="333" y="0"/>
                  </a:cubicBezTo>
                  <a:lnTo>
                    <a:pt x="333" y="750"/>
                  </a:lnTo>
                  <a:cubicBezTo>
                    <a:pt x="333" y="750"/>
                    <a:pt x="333" y="750"/>
                    <a:pt x="333" y="750"/>
                  </a:cubicBezTo>
                  <a:lnTo>
                    <a:pt x="333" y="750"/>
                  </a:lnTo>
                  <a:lnTo>
                    <a:pt x="1208" y="9121"/>
                  </a:lnTo>
                  <a:lnTo>
                    <a:pt x="1208" y="12245"/>
                  </a:lnTo>
                  <a:cubicBezTo>
                    <a:pt x="1208" y="13145"/>
                    <a:pt x="1933" y="13869"/>
                    <a:pt x="2832" y="13869"/>
                  </a:cubicBezTo>
                  <a:cubicBezTo>
                    <a:pt x="2870" y="13869"/>
                    <a:pt x="2920" y="13869"/>
                    <a:pt x="2957" y="13869"/>
                  </a:cubicBezTo>
                  <a:cubicBezTo>
                    <a:pt x="3194" y="13982"/>
                    <a:pt x="3469" y="13982"/>
                    <a:pt x="3707" y="13869"/>
                  </a:cubicBezTo>
                  <a:cubicBezTo>
                    <a:pt x="4194" y="13482"/>
                    <a:pt x="4481" y="12870"/>
                    <a:pt x="4456" y="12245"/>
                  </a:cubicBezTo>
                  <a:close/>
                </a:path>
              </a:pathLst>
            </a:custGeom>
            <a:solidFill>
              <a:srgbClr val="000000"/>
            </a:solidFill>
            <a:ln w="12483" cap="flat">
              <a:noFill/>
              <a:prstDash val="solid"/>
              <a:miter/>
            </a:ln>
          </p:spPr>
          <p:txBody>
            <a:bodyPr rtlCol="0" anchor="ctr"/>
            <a:lstStyle/>
            <a:p>
              <a:endParaRPr lang="en-US"/>
            </a:p>
          </p:txBody>
        </p:sp>
        <p:sp>
          <p:nvSpPr>
            <p:cNvPr id="1383" name="Freeform: Shape 1382">
              <a:extLst>
                <a:ext uri="{FF2B5EF4-FFF2-40B4-BE49-F238E27FC236}">
                  <a16:creationId xmlns:a16="http://schemas.microsoft.com/office/drawing/2014/main" id="{9DC7E408-9BAD-4A99-93C9-5D6AAEA6AD92}"/>
                </a:ext>
              </a:extLst>
            </p:cNvPr>
            <p:cNvSpPr/>
            <p:nvPr/>
          </p:nvSpPr>
          <p:spPr>
            <a:xfrm>
              <a:off x="8414395" y="5874539"/>
              <a:ext cx="135941" cy="79343"/>
            </a:xfrm>
            <a:custGeom>
              <a:avLst/>
              <a:gdLst>
                <a:gd name="connsiteX0" fmla="*/ 135941 w 135941"/>
                <a:gd name="connsiteY0" fmla="*/ 3499 h 79343"/>
                <a:gd name="connsiteX1" fmla="*/ 134567 w 135941"/>
                <a:gd name="connsiteY1" fmla="*/ 0 h 79343"/>
                <a:gd name="connsiteX2" fmla="*/ 0 w 135941"/>
                <a:gd name="connsiteY2" fmla="*/ 76220 h 79343"/>
                <a:gd name="connsiteX3" fmla="*/ 1999 w 135941"/>
                <a:gd name="connsiteY3" fmla="*/ 79343 h 79343"/>
              </a:gdLst>
              <a:ahLst/>
              <a:cxnLst>
                <a:cxn ang="0">
                  <a:pos x="connsiteX0" y="connsiteY0"/>
                </a:cxn>
                <a:cxn ang="0">
                  <a:pos x="connsiteX1" y="connsiteY1"/>
                </a:cxn>
                <a:cxn ang="0">
                  <a:pos x="connsiteX2" y="connsiteY2"/>
                </a:cxn>
                <a:cxn ang="0">
                  <a:pos x="connsiteX3" y="connsiteY3"/>
                </a:cxn>
              </a:cxnLst>
              <a:rect l="l" t="t" r="r" b="b"/>
              <a:pathLst>
                <a:path w="135941" h="79343">
                  <a:moveTo>
                    <a:pt x="135941" y="3499"/>
                  </a:moveTo>
                  <a:cubicBezTo>
                    <a:pt x="135304" y="2411"/>
                    <a:pt x="134842" y="1224"/>
                    <a:pt x="134567" y="0"/>
                  </a:cubicBezTo>
                  <a:lnTo>
                    <a:pt x="0" y="76220"/>
                  </a:lnTo>
                  <a:lnTo>
                    <a:pt x="1999" y="79343"/>
                  </a:lnTo>
                  <a:close/>
                </a:path>
              </a:pathLst>
            </a:custGeom>
            <a:solidFill>
              <a:srgbClr val="000000"/>
            </a:solidFill>
            <a:ln w="12483" cap="flat">
              <a:noFill/>
              <a:prstDash val="solid"/>
              <a:miter/>
            </a:ln>
          </p:spPr>
          <p:txBody>
            <a:bodyPr rtlCol="0" anchor="ctr"/>
            <a:lstStyle/>
            <a:p>
              <a:endParaRPr lang="en-US"/>
            </a:p>
          </p:txBody>
        </p:sp>
        <p:sp>
          <p:nvSpPr>
            <p:cNvPr id="1384" name="Freeform: Shape 1383">
              <a:extLst>
                <a:ext uri="{FF2B5EF4-FFF2-40B4-BE49-F238E27FC236}">
                  <a16:creationId xmlns:a16="http://schemas.microsoft.com/office/drawing/2014/main" id="{1D0F31B4-C669-4647-90EF-BAB633A83AF6}"/>
                </a:ext>
              </a:extLst>
            </p:cNvPr>
            <p:cNvSpPr/>
            <p:nvPr/>
          </p:nvSpPr>
          <p:spPr>
            <a:xfrm>
              <a:off x="8562580" y="5849299"/>
              <a:ext cx="14118" cy="30113"/>
            </a:xfrm>
            <a:custGeom>
              <a:avLst/>
              <a:gdLst>
                <a:gd name="connsiteX0" fmla="*/ 2499 w 14118"/>
                <a:gd name="connsiteY0" fmla="*/ 5748 h 30113"/>
                <a:gd name="connsiteX1" fmla="*/ 2499 w 14118"/>
                <a:gd name="connsiteY1" fmla="*/ 10996 h 30113"/>
                <a:gd name="connsiteX2" fmla="*/ 3374 w 14118"/>
                <a:gd name="connsiteY2" fmla="*/ 20866 h 30113"/>
                <a:gd name="connsiteX3" fmla="*/ 0 w 14118"/>
                <a:gd name="connsiteY3" fmla="*/ 30113 h 30113"/>
                <a:gd name="connsiteX4" fmla="*/ 2249 w 14118"/>
                <a:gd name="connsiteY4" fmla="*/ 29488 h 30113"/>
                <a:gd name="connsiteX5" fmla="*/ 8121 w 14118"/>
                <a:gd name="connsiteY5" fmla="*/ 26240 h 30113"/>
                <a:gd name="connsiteX6" fmla="*/ 14119 w 14118"/>
                <a:gd name="connsiteY6" fmla="*/ 22741 h 30113"/>
                <a:gd name="connsiteX7" fmla="*/ 12745 w 14118"/>
                <a:gd name="connsiteY7" fmla="*/ 7747 h 30113"/>
                <a:gd name="connsiteX8" fmla="*/ 11995 w 14118"/>
                <a:gd name="connsiteY8" fmla="*/ 0 h 3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8" h="30113">
                  <a:moveTo>
                    <a:pt x="2499" y="5748"/>
                  </a:moveTo>
                  <a:lnTo>
                    <a:pt x="2499" y="10996"/>
                  </a:lnTo>
                  <a:lnTo>
                    <a:pt x="3374" y="20866"/>
                  </a:lnTo>
                  <a:cubicBezTo>
                    <a:pt x="3561" y="24278"/>
                    <a:pt x="2336" y="27626"/>
                    <a:pt x="0" y="30113"/>
                  </a:cubicBezTo>
                  <a:cubicBezTo>
                    <a:pt x="775" y="30038"/>
                    <a:pt x="1537" y="29826"/>
                    <a:pt x="2249" y="29488"/>
                  </a:cubicBezTo>
                  <a:lnTo>
                    <a:pt x="8121" y="26240"/>
                  </a:lnTo>
                  <a:lnTo>
                    <a:pt x="14119" y="22741"/>
                  </a:lnTo>
                  <a:lnTo>
                    <a:pt x="12745" y="7747"/>
                  </a:lnTo>
                  <a:lnTo>
                    <a:pt x="11995" y="0"/>
                  </a:lnTo>
                  <a:close/>
                </a:path>
              </a:pathLst>
            </a:custGeom>
            <a:solidFill>
              <a:srgbClr val="000000"/>
            </a:solidFill>
            <a:ln w="12483" cap="flat">
              <a:noFill/>
              <a:prstDash val="solid"/>
              <a:miter/>
            </a:ln>
          </p:spPr>
          <p:txBody>
            <a:bodyPr rtlCol="0" anchor="ctr"/>
            <a:lstStyle/>
            <a:p>
              <a:endParaRPr lang="en-US"/>
            </a:p>
          </p:txBody>
        </p:sp>
        <p:sp>
          <p:nvSpPr>
            <p:cNvPr id="1385" name="Freeform: Shape 1384">
              <a:extLst>
                <a:ext uri="{FF2B5EF4-FFF2-40B4-BE49-F238E27FC236}">
                  <a16:creationId xmlns:a16="http://schemas.microsoft.com/office/drawing/2014/main" id="{DD333E43-7A9A-4555-B17D-F6C09E38FF17}"/>
                </a:ext>
              </a:extLst>
            </p:cNvPr>
            <p:cNvSpPr/>
            <p:nvPr/>
          </p:nvSpPr>
          <p:spPr>
            <a:xfrm>
              <a:off x="8123645" y="5411528"/>
              <a:ext cx="137796" cy="77540"/>
            </a:xfrm>
            <a:custGeom>
              <a:avLst/>
              <a:gdLst>
                <a:gd name="connsiteX0" fmla="*/ 2499 w 137796"/>
                <a:gd name="connsiteY0" fmla="*/ 77540 h 77540"/>
                <a:gd name="connsiteX1" fmla="*/ 137441 w 137796"/>
                <a:gd name="connsiteY1" fmla="*/ 3320 h 77540"/>
                <a:gd name="connsiteX2" fmla="*/ 137441 w 137796"/>
                <a:gd name="connsiteY2" fmla="*/ 3320 h 77540"/>
                <a:gd name="connsiteX3" fmla="*/ 137441 w 137796"/>
                <a:gd name="connsiteY3" fmla="*/ 1196 h 77540"/>
                <a:gd name="connsiteX4" fmla="*/ 135317 w 137796"/>
                <a:gd name="connsiteY4" fmla="*/ 196 h 77540"/>
                <a:gd name="connsiteX5" fmla="*/ 135317 w 137796"/>
                <a:gd name="connsiteY5" fmla="*/ 196 h 77540"/>
                <a:gd name="connsiteX6" fmla="*/ 0 w 137796"/>
                <a:gd name="connsiteY6" fmla="*/ 75166 h 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796" h="77540">
                  <a:moveTo>
                    <a:pt x="2499" y="77540"/>
                  </a:moveTo>
                  <a:lnTo>
                    <a:pt x="137441" y="3320"/>
                  </a:lnTo>
                  <a:lnTo>
                    <a:pt x="137441" y="3320"/>
                  </a:lnTo>
                  <a:cubicBezTo>
                    <a:pt x="137916" y="2695"/>
                    <a:pt x="137916" y="1820"/>
                    <a:pt x="137441" y="1196"/>
                  </a:cubicBezTo>
                  <a:cubicBezTo>
                    <a:pt x="137441" y="196"/>
                    <a:pt x="136191" y="-304"/>
                    <a:pt x="135317" y="196"/>
                  </a:cubicBezTo>
                  <a:lnTo>
                    <a:pt x="135317" y="196"/>
                  </a:lnTo>
                  <a:lnTo>
                    <a:pt x="0" y="75166"/>
                  </a:lnTo>
                  <a:close/>
                </a:path>
              </a:pathLst>
            </a:custGeom>
            <a:solidFill>
              <a:srgbClr val="000000"/>
            </a:solidFill>
            <a:ln w="12483" cap="flat">
              <a:noFill/>
              <a:prstDash val="solid"/>
              <a:miter/>
            </a:ln>
          </p:spPr>
          <p:txBody>
            <a:bodyPr rtlCol="0" anchor="ctr"/>
            <a:lstStyle/>
            <a:p>
              <a:endParaRPr lang="en-US"/>
            </a:p>
          </p:txBody>
        </p:sp>
        <p:sp>
          <p:nvSpPr>
            <p:cNvPr id="1386" name="Freeform: Shape 1385">
              <a:extLst>
                <a:ext uri="{FF2B5EF4-FFF2-40B4-BE49-F238E27FC236}">
                  <a16:creationId xmlns:a16="http://schemas.microsoft.com/office/drawing/2014/main" id="{5DD1F4B2-C3D9-42E4-A227-B8F6B73597A6}"/>
                </a:ext>
              </a:extLst>
            </p:cNvPr>
            <p:cNvSpPr/>
            <p:nvPr/>
          </p:nvSpPr>
          <p:spPr>
            <a:xfrm>
              <a:off x="8251090" y="5687270"/>
              <a:ext cx="33985" cy="196640"/>
            </a:xfrm>
            <a:custGeom>
              <a:avLst/>
              <a:gdLst>
                <a:gd name="connsiteX0" fmla="*/ 17867 w 33985"/>
                <a:gd name="connsiteY0" fmla="*/ 196140 h 196640"/>
                <a:gd name="connsiteX1" fmla="*/ 22865 w 33985"/>
                <a:gd name="connsiteY1" fmla="*/ 193267 h 196640"/>
                <a:gd name="connsiteX2" fmla="*/ 22865 w 33985"/>
                <a:gd name="connsiteY2" fmla="*/ 193267 h 196640"/>
                <a:gd name="connsiteX3" fmla="*/ 33985 w 33985"/>
                <a:gd name="connsiteY3" fmla="*/ 187019 h 196640"/>
                <a:gd name="connsiteX4" fmla="*/ 15119 w 33985"/>
                <a:gd name="connsiteY4" fmla="*/ 8965 h 196640"/>
                <a:gd name="connsiteX5" fmla="*/ 15119 w 33985"/>
                <a:gd name="connsiteY5" fmla="*/ 7341 h 196640"/>
                <a:gd name="connsiteX6" fmla="*/ 15119 w 33985"/>
                <a:gd name="connsiteY6" fmla="*/ 5342 h 196640"/>
                <a:gd name="connsiteX7" fmla="*/ 13994 w 33985"/>
                <a:gd name="connsiteY7" fmla="*/ 3467 h 196640"/>
                <a:gd name="connsiteX8" fmla="*/ 11495 w 33985"/>
                <a:gd name="connsiteY8" fmla="*/ 968 h 196640"/>
                <a:gd name="connsiteX9" fmla="*/ 9871 w 33985"/>
                <a:gd name="connsiteY9" fmla="*/ 94 h 196640"/>
                <a:gd name="connsiteX10" fmla="*/ 8372 w 33985"/>
                <a:gd name="connsiteY10" fmla="*/ 94 h 196640"/>
                <a:gd name="connsiteX11" fmla="*/ 6497 w 33985"/>
                <a:gd name="connsiteY11" fmla="*/ 94 h 196640"/>
                <a:gd name="connsiteX12" fmla="*/ 6497 w 33985"/>
                <a:gd name="connsiteY12" fmla="*/ 94 h 196640"/>
                <a:gd name="connsiteX13" fmla="*/ 5373 w 33985"/>
                <a:gd name="connsiteY13" fmla="*/ 94 h 196640"/>
                <a:gd name="connsiteX14" fmla="*/ 9621 w 33985"/>
                <a:gd name="connsiteY14" fmla="*/ 6591 h 196640"/>
                <a:gd name="connsiteX15" fmla="*/ 8122 w 33985"/>
                <a:gd name="connsiteY15" fmla="*/ 21835 h 196640"/>
                <a:gd name="connsiteX16" fmla="*/ 0 w 33985"/>
                <a:gd name="connsiteY16" fmla="*/ 23460 h 196640"/>
                <a:gd name="connsiteX17" fmla="*/ 0 w 33985"/>
                <a:gd name="connsiteY17" fmla="*/ 23460 h 196640"/>
                <a:gd name="connsiteX18" fmla="*/ 18367 w 33985"/>
                <a:gd name="connsiteY18" fmla="*/ 196640 h 196640"/>
                <a:gd name="connsiteX19" fmla="*/ 19242 w 33985"/>
                <a:gd name="connsiteY19" fmla="*/ 196640 h 19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985" h="196640">
                  <a:moveTo>
                    <a:pt x="17867" y="196140"/>
                  </a:moveTo>
                  <a:lnTo>
                    <a:pt x="22865" y="193267"/>
                  </a:lnTo>
                  <a:lnTo>
                    <a:pt x="22865" y="193267"/>
                  </a:lnTo>
                  <a:lnTo>
                    <a:pt x="33985" y="187019"/>
                  </a:lnTo>
                  <a:lnTo>
                    <a:pt x="15119" y="8965"/>
                  </a:lnTo>
                  <a:cubicBezTo>
                    <a:pt x="15119" y="8340"/>
                    <a:pt x="15119" y="7841"/>
                    <a:pt x="15119" y="7341"/>
                  </a:cubicBezTo>
                  <a:cubicBezTo>
                    <a:pt x="15181" y="6678"/>
                    <a:pt x="15181" y="6004"/>
                    <a:pt x="15119" y="5342"/>
                  </a:cubicBezTo>
                  <a:lnTo>
                    <a:pt x="13994" y="3467"/>
                  </a:lnTo>
                  <a:cubicBezTo>
                    <a:pt x="13332" y="2480"/>
                    <a:pt x="12482" y="1631"/>
                    <a:pt x="11495" y="968"/>
                  </a:cubicBezTo>
                  <a:cubicBezTo>
                    <a:pt x="10995" y="606"/>
                    <a:pt x="10446" y="306"/>
                    <a:pt x="9871" y="94"/>
                  </a:cubicBezTo>
                  <a:lnTo>
                    <a:pt x="8372" y="94"/>
                  </a:lnTo>
                  <a:cubicBezTo>
                    <a:pt x="7759" y="-31"/>
                    <a:pt x="7122" y="-31"/>
                    <a:pt x="6497" y="94"/>
                  </a:cubicBezTo>
                  <a:cubicBezTo>
                    <a:pt x="6497" y="94"/>
                    <a:pt x="6497" y="94"/>
                    <a:pt x="6497" y="94"/>
                  </a:cubicBezTo>
                  <a:lnTo>
                    <a:pt x="5373" y="94"/>
                  </a:lnTo>
                  <a:lnTo>
                    <a:pt x="9621" y="6591"/>
                  </a:lnTo>
                  <a:cubicBezTo>
                    <a:pt x="12657" y="11414"/>
                    <a:pt x="12045" y="17687"/>
                    <a:pt x="8122" y="21835"/>
                  </a:cubicBezTo>
                  <a:cubicBezTo>
                    <a:pt x="5973" y="23934"/>
                    <a:pt x="2786" y="24559"/>
                    <a:pt x="0" y="23460"/>
                  </a:cubicBezTo>
                  <a:lnTo>
                    <a:pt x="0" y="23460"/>
                  </a:lnTo>
                  <a:lnTo>
                    <a:pt x="18367" y="196640"/>
                  </a:lnTo>
                  <a:lnTo>
                    <a:pt x="19242" y="196640"/>
                  </a:lnTo>
                  <a:close/>
                </a:path>
              </a:pathLst>
            </a:custGeom>
            <a:solidFill>
              <a:srgbClr val="000000"/>
            </a:solidFill>
            <a:ln w="12483" cap="flat">
              <a:noFill/>
              <a:prstDash val="solid"/>
              <a:miter/>
            </a:ln>
          </p:spPr>
          <p:txBody>
            <a:bodyPr rtlCol="0" anchor="ctr"/>
            <a:lstStyle/>
            <a:p>
              <a:endParaRPr lang="en-US"/>
            </a:p>
          </p:txBody>
        </p:sp>
        <p:sp>
          <p:nvSpPr>
            <p:cNvPr id="1387" name="Freeform: Shape 1386">
              <a:extLst>
                <a:ext uri="{FF2B5EF4-FFF2-40B4-BE49-F238E27FC236}">
                  <a16:creationId xmlns:a16="http://schemas.microsoft.com/office/drawing/2014/main" id="{94B67D4E-3065-4DD0-9EC5-0C4DA1462BC6}"/>
                </a:ext>
              </a:extLst>
            </p:cNvPr>
            <p:cNvSpPr/>
            <p:nvPr/>
          </p:nvSpPr>
          <p:spPr>
            <a:xfrm>
              <a:off x="8653791" y="4856195"/>
              <a:ext cx="2998" cy="10371"/>
            </a:xfrm>
            <a:custGeom>
              <a:avLst/>
              <a:gdLst>
                <a:gd name="connsiteX0" fmla="*/ 2999 w 2998"/>
                <a:gd name="connsiteY0" fmla="*/ 0 h 10371"/>
                <a:gd name="connsiteX1" fmla="*/ 1999 w 2998"/>
                <a:gd name="connsiteY1" fmla="*/ 0 h 10371"/>
                <a:gd name="connsiteX2" fmla="*/ 0 w 2998"/>
                <a:gd name="connsiteY2" fmla="*/ 1125 h 10371"/>
                <a:gd name="connsiteX3" fmla="*/ 750 w 2998"/>
                <a:gd name="connsiteY3" fmla="*/ 10371 h 10371"/>
                <a:gd name="connsiteX4" fmla="*/ 750 w 2998"/>
                <a:gd name="connsiteY4" fmla="*/ 8247 h 10371"/>
                <a:gd name="connsiteX5" fmla="*/ 2661 w 2998"/>
                <a:gd name="connsiteY5" fmla="*/ 7909 h 10371"/>
                <a:gd name="connsiteX6" fmla="*/ 2999 w 2998"/>
                <a:gd name="connsiteY6" fmla="*/ 8247 h 10371"/>
                <a:gd name="connsiteX7" fmla="*/ 2999 w 2998"/>
                <a:gd name="connsiteY7" fmla="*/ 8247 h 10371"/>
                <a:gd name="connsiteX8" fmla="*/ 2999 w 2998"/>
                <a:gd name="connsiteY8" fmla="*/ 3124 h 1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 h="10371">
                  <a:moveTo>
                    <a:pt x="2999" y="0"/>
                  </a:moveTo>
                  <a:lnTo>
                    <a:pt x="1999" y="0"/>
                  </a:lnTo>
                  <a:lnTo>
                    <a:pt x="0" y="1125"/>
                  </a:lnTo>
                  <a:lnTo>
                    <a:pt x="750" y="10371"/>
                  </a:lnTo>
                  <a:cubicBezTo>
                    <a:pt x="375" y="9709"/>
                    <a:pt x="375" y="8909"/>
                    <a:pt x="750" y="8247"/>
                  </a:cubicBezTo>
                  <a:cubicBezTo>
                    <a:pt x="1187" y="7622"/>
                    <a:pt x="2049" y="7472"/>
                    <a:pt x="2661" y="7909"/>
                  </a:cubicBezTo>
                  <a:cubicBezTo>
                    <a:pt x="2799" y="8009"/>
                    <a:pt x="2911" y="8122"/>
                    <a:pt x="2999" y="8247"/>
                  </a:cubicBezTo>
                  <a:lnTo>
                    <a:pt x="2999" y="8247"/>
                  </a:lnTo>
                  <a:lnTo>
                    <a:pt x="2999" y="3124"/>
                  </a:lnTo>
                  <a:close/>
                </a:path>
              </a:pathLst>
            </a:custGeom>
            <a:solidFill>
              <a:srgbClr val="000000"/>
            </a:solidFill>
            <a:ln w="12483" cap="flat">
              <a:noFill/>
              <a:prstDash val="solid"/>
              <a:miter/>
            </a:ln>
          </p:spPr>
          <p:txBody>
            <a:bodyPr rtlCol="0" anchor="ctr"/>
            <a:lstStyle/>
            <a:p>
              <a:endParaRPr lang="en-US"/>
            </a:p>
          </p:txBody>
        </p:sp>
        <p:sp>
          <p:nvSpPr>
            <p:cNvPr id="1388" name="Freeform: Shape 1387">
              <a:extLst>
                <a:ext uri="{FF2B5EF4-FFF2-40B4-BE49-F238E27FC236}">
                  <a16:creationId xmlns:a16="http://schemas.microsoft.com/office/drawing/2014/main" id="{53FE8112-10A4-4243-AB91-FE9CFE21E5BA}"/>
                </a:ext>
              </a:extLst>
            </p:cNvPr>
            <p:cNvSpPr/>
            <p:nvPr/>
          </p:nvSpPr>
          <p:spPr>
            <a:xfrm>
              <a:off x="8556833" y="5882161"/>
              <a:ext cx="6872" cy="44857"/>
            </a:xfrm>
            <a:custGeom>
              <a:avLst/>
              <a:gdLst>
                <a:gd name="connsiteX0" fmla="*/ 1624 w 6872"/>
                <a:gd name="connsiteY0" fmla="*/ 375 h 44857"/>
                <a:gd name="connsiteX1" fmla="*/ 0 w 6872"/>
                <a:gd name="connsiteY1" fmla="*/ 375 h 44857"/>
                <a:gd name="connsiteX2" fmla="*/ 3998 w 6872"/>
                <a:gd name="connsiteY2" fmla="*/ 44857 h 44857"/>
                <a:gd name="connsiteX3" fmla="*/ 6872 w 6872"/>
                <a:gd name="connsiteY3" fmla="*/ 43233 h 44857"/>
                <a:gd name="connsiteX4" fmla="*/ 6872 w 6872"/>
                <a:gd name="connsiteY4" fmla="*/ 43233 h 44857"/>
                <a:gd name="connsiteX5" fmla="*/ 2999 w 6872"/>
                <a:gd name="connsiteY5" fmla="*/ 0 h 44857"/>
                <a:gd name="connsiteX6" fmla="*/ 1624 w 6872"/>
                <a:gd name="connsiteY6" fmla="*/ 375 h 4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2" h="44857">
                  <a:moveTo>
                    <a:pt x="1624" y="375"/>
                  </a:moveTo>
                  <a:cubicBezTo>
                    <a:pt x="1087" y="437"/>
                    <a:pt x="537" y="437"/>
                    <a:pt x="0" y="375"/>
                  </a:cubicBezTo>
                  <a:lnTo>
                    <a:pt x="3998" y="44857"/>
                  </a:lnTo>
                  <a:lnTo>
                    <a:pt x="6872" y="43233"/>
                  </a:lnTo>
                  <a:lnTo>
                    <a:pt x="6872" y="43233"/>
                  </a:lnTo>
                  <a:lnTo>
                    <a:pt x="2999" y="0"/>
                  </a:lnTo>
                  <a:cubicBezTo>
                    <a:pt x="2999" y="0"/>
                    <a:pt x="2249" y="375"/>
                    <a:pt x="1624" y="375"/>
                  </a:cubicBezTo>
                  <a:close/>
                </a:path>
              </a:pathLst>
            </a:custGeom>
            <a:solidFill>
              <a:srgbClr val="000000"/>
            </a:solidFill>
            <a:ln w="12483" cap="flat">
              <a:noFill/>
              <a:prstDash val="solid"/>
              <a:miter/>
            </a:ln>
          </p:spPr>
          <p:txBody>
            <a:bodyPr rtlCol="0" anchor="ctr"/>
            <a:lstStyle/>
            <a:p>
              <a:endParaRPr lang="en-US"/>
            </a:p>
          </p:txBody>
        </p:sp>
        <p:sp>
          <p:nvSpPr>
            <p:cNvPr id="1389" name="Freeform: Shape 1388">
              <a:extLst>
                <a:ext uri="{FF2B5EF4-FFF2-40B4-BE49-F238E27FC236}">
                  <a16:creationId xmlns:a16="http://schemas.microsoft.com/office/drawing/2014/main" id="{E1FB49B0-3CF1-4325-9127-B711A5EECA9C}"/>
                </a:ext>
              </a:extLst>
            </p:cNvPr>
            <p:cNvSpPr/>
            <p:nvPr/>
          </p:nvSpPr>
          <p:spPr>
            <a:xfrm>
              <a:off x="8655134" y="4865479"/>
              <a:ext cx="302400" cy="431166"/>
            </a:xfrm>
            <a:custGeom>
              <a:avLst/>
              <a:gdLst>
                <a:gd name="connsiteX0" fmla="*/ 2530 w 302400"/>
                <a:gd name="connsiteY0" fmla="*/ 588 h 431166"/>
                <a:gd name="connsiteX1" fmla="*/ 2530 w 302400"/>
                <a:gd name="connsiteY1" fmla="*/ 588 h 431166"/>
                <a:gd name="connsiteX2" fmla="*/ 618 w 302400"/>
                <a:gd name="connsiteY2" fmla="*/ 250 h 431166"/>
                <a:gd name="connsiteX3" fmla="*/ 281 w 302400"/>
                <a:gd name="connsiteY3" fmla="*/ 588 h 431166"/>
                <a:gd name="connsiteX4" fmla="*/ 281 w 302400"/>
                <a:gd name="connsiteY4" fmla="*/ 2712 h 431166"/>
                <a:gd name="connsiteX5" fmla="*/ 281 w 302400"/>
                <a:gd name="connsiteY5" fmla="*/ 2712 h 431166"/>
                <a:gd name="connsiteX6" fmla="*/ 299402 w 302400"/>
                <a:gd name="connsiteY6" fmla="*/ 431166 h 431166"/>
                <a:gd name="connsiteX7" fmla="*/ 302400 w 302400"/>
                <a:gd name="connsiteY7" fmla="*/ 429417 h 43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400" h="431166">
                  <a:moveTo>
                    <a:pt x="2530" y="588"/>
                  </a:moveTo>
                  <a:lnTo>
                    <a:pt x="2530" y="588"/>
                  </a:lnTo>
                  <a:cubicBezTo>
                    <a:pt x="2093" y="-37"/>
                    <a:pt x="1231" y="-187"/>
                    <a:pt x="618" y="250"/>
                  </a:cubicBezTo>
                  <a:cubicBezTo>
                    <a:pt x="481" y="350"/>
                    <a:pt x="368" y="463"/>
                    <a:pt x="281" y="588"/>
                  </a:cubicBezTo>
                  <a:cubicBezTo>
                    <a:pt x="-94" y="1250"/>
                    <a:pt x="-94" y="2050"/>
                    <a:pt x="281" y="2712"/>
                  </a:cubicBezTo>
                  <a:lnTo>
                    <a:pt x="281" y="2712"/>
                  </a:lnTo>
                  <a:lnTo>
                    <a:pt x="299402" y="431166"/>
                  </a:lnTo>
                  <a:lnTo>
                    <a:pt x="302400" y="429417"/>
                  </a:lnTo>
                  <a:close/>
                </a:path>
              </a:pathLst>
            </a:custGeom>
            <a:solidFill>
              <a:srgbClr val="000000"/>
            </a:solidFill>
            <a:ln w="12483" cap="flat">
              <a:noFill/>
              <a:prstDash val="solid"/>
              <a:miter/>
            </a:ln>
          </p:spPr>
          <p:txBody>
            <a:bodyPr rtlCol="0" anchor="ctr"/>
            <a:lstStyle/>
            <a:p>
              <a:endParaRPr lang="en-US"/>
            </a:p>
          </p:txBody>
        </p:sp>
        <p:sp>
          <p:nvSpPr>
            <p:cNvPr id="1390" name="Freeform: Shape 1389">
              <a:extLst>
                <a:ext uri="{FF2B5EF4-FFF2-40B4-BE49-F238E27FC236}">
                  <a16:creationId xmlns:a16="http://schemas.microsoft.com/office/drawing/2014/main" id="{EDD9CA62-A638-4425-96C5-0E253319515E}"/>
                </a:ext>
              </a:extLst>
            </p:cNvPr>
            <p:cNvSpPr/>
            <p:nvPr/>
          </p:nvSpPr>
          <p:spPr>
            <a:xfrm>
              <a:off x="8654541" y="4849403"/>
              <a:ext cx="9028" cy="7292"/>
            </a:xfrm>
            <a:custGeom>
              <a:avLst/>
              <a:gdLst>
                <a:gd name="connsiteX0" fmla="*/ 8121 w 9028"/>
                <a:gd name="connsiteY0" fmla="*/ 3669 h 7292"/>
                <a:gd name="connsiteX1" fmla="*/ 8871 w 9028"/>
                <a:gd name="connsiteY1" fmla="*/ 1045 h 7292"/>
                <a:gd name="connsiteX2" fmla="*/ 6984 w 9028"/>
                <a:gd name="connsiteY2" fmla="*/ 70 h 7292"/>
                <a:gd name="connsiteX3" fmla="*/ 6747 w 9028"/>
                <a:gd name="connsiteY3" fmla="*/ 170 h 7292"/>
                <a:gd name="connsiteX4" fmla="*/ 1124 w 9028"/>
                <a:gd name="connsiteY4" fmla="*/ 3169 h 7292"/>
                <a:gd name="connsiteX5" fmla="*/ 0 w 9028"/>
                <a:gd name="connsiteY5" fmla="*/ 3794 h 7292"/>
                <a:gd name="connsiteX6" fmla="*/ 2099 w 9028"/>
                <a:gd name="connsiteY6" fmla="*/ 4731 h 7292"/>
                <a:gd name="connsiteX7" fmla="*/ 2124 w 9028"/>
                <a:gd name="connsiteY7" fmla="*/ 4793 h 7292"/>
                <a:gd name="connsiteX8" fmla="*/ 1250 w 9028"/>
                <a:gd name="connsiteY8" fmla="*/ 7292 h 7292"/>
                <a:gd name="connsiteX9" fmla="*/ 2249 w 9028"/>
                <a:gd name="connsiteY9" fmla="*/ 7292 h 7292"/>
                <a:gd name="connsiteX10" fmla="*/ 3249 w 9028"/>
                <a:gd name="connsiteY10" fmla="*/ 7292 h 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8" h="7292">
                  <a:moveTo>
                    <a:pt x="8121" y="3669"/>
                  </a:moveTo>
                  <a:cubicBezTo>
                    <a:pt x="8934" y="3069"/>
                    <a:pt x="9246" y="1994"/>
                    <a:pt x="8871" y="1045"/>
                  </a:cubicBezTo>
                  <a:cubicBezTo>
                    <a:pt x="8621" y="258"/>
                    <a:pt x="7772" y="-179"/>
                    <a:pt x="6984" y="70"/>
                  </a:cubicBezTo>
                  <a:cubicBezTo>
                    <a:pt x="6910" y="95"/>
                    <a:pt x="6822" y="133"/>
                    <a:pt x="6747" y="170"/>
                  </a:cubicBezTo>
                  <a:lnTo>
                    <a:pt x="1124" y="3169"/>
                  </a:lnTo>
                  <a:lnTo>
                    <a:pt x="0" y="3794"/>
                  </a:lnTo>
                  <a:cubicBezTo>
                    <a:pt x="837" y="3469"/>
                    <a:pt x="1774" y="3894"/>
                    <a:pt x="2099" y="4731"/>
                  </a:cubicBezTo>
                  <a:cubicBezTo>
                    <a:pt x="2112" y="4743"/>
                    <a:pt x="2112" y="4769"/>
                    <a:pt x="2124" y="4793"/>
                  </a:cubicBezTo>
                  <a:cubicBezTo>
                    <a:pt x="2511" y="5731"/>
                    <a:pt x="2124" y="6805"/>
                    <a:pt x="1250" y="7292"/>
                  </a:cubicBezTo>
                  <a:lnTo>
                    <a:pt x="2249" y="7292"/>
                  </a:lnTo>
                  <a:lnTo>
                    <a:pt x="3249" y="7292"/>
                  </a:lnTo>
                  <a:close/>
                </a:path>
              </a:pathLst>
            </a:custGeom>
            <a:solidFill>
              <a:srgbClr val="000000"/>
            </a:solidFill>
            <a:ln w="12483" cap="flat">
              <a:noFill/>
              <a:prstDash val="solid"/>
              <a:miter/>
            </a:ln>
          </p:spPr>
          <p:txBody>
            <a:bodyPr rtlCol="0" anchor="ctr"/>
            <a:lstStyle/>
            <a:p>
              <a:endParaRPr lang="en-US"/>
            </a:p>
          </p:txBody>
        </p:sp>
        <p:sp>
          <p:nvSpPr>
            <p:cNvPr id="1391" name="Freeform: Shape 1390">
              <a:extLst>
                <a:ext uri="{FF2B5EF4-FFF2-40B4-BE49-F238E27FC236}">
                  <a16:creationId xmlns:a16="http://schemas.microsoft.com/office/drawing/2014/main" id="{E0EF8518-778E-4763-9124-49ABC30A13D0}"/>
                </a:ext>
              </a:extLst>
            </p:cNvPr>
            <p:cNvSpPr/>
            <p:nvPr/>
          </p:nvSpPr>
          <p:spPr>
            <a:xfrm>
              <a:off x="8314188" y="4853086"/>
              <a:ext cx="342726" cy="187410"/>
            </a:xfrm>
            <a:custGeom>
              <a:avLst/>
              <a:gdLst>
                <a:gd name="connsiteX0" fmla="*/ 342477 w 342726"/>
                <a:gd name="connsiteY0" fmla="*/ 1110 h 187410"/>
                <a:gd name="connsiteX1" fmla="*/ 340416 w 342726"/>
                <a:gd name="connsiteY1" fmla="*/ 85 h 187410"/>
                <a:gd name="connsiteX2" fmla="*/ 340353 w 342726"/>
                <a:gd name="connsiteY2" fmla="*/ 110 h 187410"/>
                <a:gd name="connsiteX3" fmla="*/ 338354 w 342726"/>
                <a:gd name="connsiteY3" fmla="*/ 1235 h 187410"/>
                <a:gd name="connsiteX4" fmla="*/ 338354 w 342726"/>
                <a:gd name="connsiteY4" fmla="*/ 1235 h 187410"/>
                <a:gd name="connsiteX5" fmla="*/ 1000 w 342726"/>
                <a:gd name="connsiteY5" fmla="*/ 183787 h 187410"/>
                <a:gd name="connsiteX6" fmla="*/ 0 w 342726"/>
                <a:gd name="connsiteY6" fmla="*/ 184412 h 187410"/>
                <a:gd name="connsiteX7" fmla="*/ 0 w 342726"/>
                <a:gd name="connsiteY7" fmla="*/ 184412 h 187410"/>
                <a:gd name="connsiteX8" fmla="*/ 750 w 342726"/>
                <a:gd name="connsiteY8" fmla="*/ 184412 h 187410"/>
                <a:gd name="connsiteX9" fmla="*/ 2499 w 342726"/>
                <a:gd name="connsiteY9" fmla="*/ 185911 h 187410"/>
                <a:gd name="connsiteX10" fmla="*/ 2499 w 342726"/>
                <a:gd name="connsiteY10" fmla="*/ 186036 h 187410"/>
                <a:gd name="connsiteX11" fmla="*/ 2499 w 342726"/>
                <a:gd name="connsiteY11" fmla="*/ 187411 h 187410"/>
                <a:gd name="connsiteX12" fmla="*/ 339853 w 342726"/>
                <a:gd name="connsiteY12" fmla="*/ 4859 h 187410"/>
                <a:gd name="connsiteX13" fmla="*/ 341852 w 342726"/>
                <a:gd name="connsiteY13" fmla="*/ 3734 h 187410"/>
                <a:gd name="connsiteX14" fmla="*/ 342477 w 342726"/>
                <a:gd name="connsiteY14" fmla="*/ 1110 h 18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26" h="187410">
                  <a:moveTo>
                    <a:pt x="342477" y="1110"/>
                  </a:moveTo>
                  <a:cubicBezTo>
                    <a:pt x="342190" y="260"/>
                    <a:pt x="341278" y="-202"/>
                    <a:pt x="340416" y="85"/>
                  </a:cubicBezTo>
                  <a:cubicBezTo>
                    <a:pt x="340403" y="98"/>
                    <a:pt x="340378" y="98"/>
                    <a:pt x="340353" y="110"/>
                  </a:cubicBezTo>
                  <a:lnTo>
                    <a:pt x="338354" y="1235"/>
                  </a:lnTo>
                  <a:lnTo>
                    <a:pt x="338354" y="1235"/>
                  </a:lnTo>
                  <a:lnTo>
                    <a:pt x="1000" y="183787"/>
                  </a:lnTo>
                  <a:lnTo>
                    <a:pt x="0" y="184412"/>
                  </a:lnTo>
                  <a:cubicBezTo>
                    <a:pt x="0" y="184412"/>
                    <a:pt x="0" y="184412"/>
                    <a:pt x="0" y="184412"/>
                  </a:cubicBezTo>
                  <a:cubicBezTo>
                    <a:pt x="0" y="184412"/>
                    <a:pt x="0" y="184412"/>
                    <a:pt x="750" y="184412"/>
                  </a:cubicBezTo>
                  <a:cubicBezTo>
                    <a:pt x="1649" y="184337"/>
                    <a:pt x="2424" y="185012"/>
                    <a:pt x="2499" y="185911"/>
                  </a:cubicBezTo>
                  <a:cubicBezTo>
                    <a:pt x="2499" y="185949"/>
                    <a:pt x="2499" y="185999"/>
                    <a:pt x="2499" y="186036"/>
                  </a:cubicBezTo>
                  <a:lnTo>
                    <a:pt x="2499" y="187411"/>
                  </a:lnTo>
                  <a:lnTo>
                    <a:pt x="339853" y="4859"/>
                  </a:lnTo>
                  <a:lnTo>
                    <a:pt x="341852" y="3734"/>
                  </a:lnTo>
                  <a:cubicBezTo>
                    <a:pt x="342702" y="3146"/>
                    <a:pt x="342977" y="2009"/>
                    <a:pt x="342477" y="1110"/>
                  </a:cubicBezTo>
                  <a:close/>
                </a:path>
              </a:pathLst>
            </a:custGeom>
            <a:solidFill>
              <a:srgbClr val="000000"/>
            </a:solidFill>
            <a:ln w="12483" cap="flat">
              <a:noFill/>
              <a:prstDash val="solid"/>
              <a:miter/>
            </a:ln>
          </p:spPr>
          <p:txBody>
            <a:bodyPr rtlCol="0" anchor="ctr"/>
            <a:lstStyle/>
            <a:p>
              <a:endParaRPr lang="en-US"/>
            </a:p>
          </p:txBody>
        </p:sp>
        <p:sp>
          <p:nvSpPr>
            <p:cNvPr id="1392" name="Freeform: Shape 1391">
              <a:extLst>
                <a:ext uri="{FF2B5EF4-FFF2-40B4-BE49-F238E27FC236}">
                  <a16:creationId xmlns:a16="http://schemas.microsoft.com/office/drawing/2014/main" id="{25E9A883-29A0-4ADF-A75D-9A435566DDE2}"/>
                </a:ext>
              </a:extLst>
            </p:cNvPr>
            <p:cNvSpPr/>
            <p:nvPr/>
          </p:nvSpPr>
          <p:spPr>
            <a:xfrm>
              <a:off x="9306203" y="3497862"/>
              <a:ext cx="517457" cy="656987"/>
            </a:xfrm>
            <a:custGeom>
              <a:avLst/>
              <a:gdLst>
                <a:gd name="connsiteX0" fmla="*/ 2930 w 517457"/>
                <a:gd name="connsiteY0" fmla="*/ 0 h 656987"/>
                <a:gd name="connsiteX1" fmla="*/ 2930 w 517457"/>
                <a:gd name="connsiteY1" fmla="*/ 750 h 656987"/>
                <a:gd name="connsiteX2" fmla="*/ 1431 w 517457"/>
                <a:gd name="connsiteY2" fmla="*/ 2749 h 656987"/>
                <a:gd name="connsiteX3" fmla="*/ 56 w 517457"/>
                <a:gd name="connsiteY3" fmla="*/ 1499 h 656987"/>
                <a:gd name="connsiteX4" fmla="*/ 56 w 517457"/>
                <a:gd name="connsiteY4" fmla="*/ 2124 h 656987"/>
                <a:gd name="connsiteX5" fmla="*/ 806 w 517457"/>
                <a:gd name="connsiteY5" fmla="*/ 3124 h 656987"/>
                <a:gd name="connsiteX6" fmla="*/ 514459 w 517457"/>
                <a:gd name="connsiteY6" fmla="*/ 656988 h 656987"/>
                <a:gd name="connsiteX7" fmla="*/ 517458 w 517457"/>
                <a:gd name="connsiteY7" fmla="*/ 655363 h 65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457" h="656987">
                  <a:moveTo>
                    <a:pt x="2930" y="0"/>
                  </a:moveTo>
                  <a:lnTo>
                    <a:pt x="2930" y="750"/>
                  </a:lnTo>
                  <a:cubicBezTo>
                    <a:pt x="3018" y="1699"/>
                    <a:pt x="2368" y="2561"/>
                    <a:pt x="1431" y="2749"/>
                  </a:cubicBezTo>
                  <a:cubicBezTo>
                    <a:pt x="756" y="2661"/>
                    <a:pt x="206" y="2161"/>
                    <a:pt x="56" y="1499"/>
                  </a:cubicBezTo>
                  <a:cubicBezTo>
                    <a:pt x="-19" y="1699"/>
                    <a:pt x="-19" y="1924"/>
                    <a:pt x="56" y="2124"/>
                  </a:cubicBezTo>
                  <a:lnTo>
                    <a:pt x="806" y="3124"/>
                  </a:lnTo>
                  <a:lnTo>
                    <a:pt x="514459" y="656988"/>
                  </a:lnTo>
                  <a:lnTo>
                    <a:pt x="517458" y="655363"/>
                  </a:lnTo>
                  <a:close/>
                </a:path>
              </a:pathLst>
            </a:custGeom>
            <a:solidFill>
              <a:srgbClr val="000000"/>
            </a:solidFill>
            <a:ln w="12483" cap="flat">
              <a:noFill/>
              <a:prstDash val="solid"/>
              <a:miter/>
            </a:ln>
          </p:spPr>
          <p:txBody>
            <a:bodyPr rtlCol="0" anchor="ctr"/>
            <a:lstStyle/>
            <a:p>
              <a:endParaRPr lang="en-US"/>
            </a:p>
          </p:txBody>
        </p:sp>
        <p:sp>
          <p:nvSpPr>
            <p:cNvPr id="1393" name="Freeform: Shape 1392">
              <a:extLst>
                <a:ext uri="{FF2B5EF4-FFF2-40B4-BE49-F238E27FC236}">
                  <a16:creationId xmlns:a16="http://schemas.microsoft.com/office/drawing/2014/main" id="{8B6958AA-3A36-4C9D-846B-B82B6FB3C6C2}"/>
                </a:ext>
              </a:extLst>
            </p:cNvPr>
            <p:cNvSpPr/>
            <p:nvPr/>
          </p:nvSpPr>
          <p:spPr>
            <a:xfrm>
              <a:off x="8903058" y="3521977"/>
              <a:ext cx="118074" cy="158186"/>
            </a:xfrm>
            <a:custGeom>
              <a:avLst/>
              <a:gdLst>
                <a:gd name="connsiteX0" fmla="*/ 118074 w 118074"/>
                <a:gd name="connsiteY0" fmla="*/ 158187 h 158186"/>
                <a:gd name="connsiteX1" fmla="*/ 118074 w 118074"/>
                <a:gd name="connsiteY1" fmla="*/ 152065 h 158186"/>
                <a:gd name="connsiteX2" fmla="*/ 2124 w 118074"/>
                <a:gd name="connsiteY2" fmla="*/ 0 h 158186"/>
                <a:gd name="connsiteX3" fmla="*/ 1250 w 118074"/>
                <a:gd name="connsiteY3" fmla="*/ 1250 h 158186"/>
                <a:gd name="connsiteX4" fmla="*/ 1250 w 118074"/>
                <a:gd name="connsiteY4" fmla="*/ 1250 h 158186"/>
                <a:gd name="connsiteX5" fmla="*/ 0 w 118074"/>
                <a:gd name="connsiteY5" fmla="*/ 2249 h 158186"/>
                <a:gd name="connsiteX6" fmla="*/ 0 w 118074"/>
                <a:gd name="connsiteY6" fmla="*/ 2249 h 15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74" h="158186">
                  <a:moveTo>
                    <a:pt x="118074" y="158187"/>
                  </a:moveTo>
                  <a:lnTo>
                    <a:pt x="118074" y="152065"/>
                  </a:lnTo>
                  <a:lnTo>
                    <a:pt x="2124" y="0"/>
                  </a:lnTo>
                  <a:cubicBezTo>
                    <a:pt x="2124" y="0"/>
                    <a:pt x="2124" y="875"/>
                    <a:pt x="1250" y="1250"/>
                  </a:cubicBezTo>
                  <a:lnTo>
                    <a:pt x="1250" y="1250"/>
                  </a:lnTo>
                  <a:cubicBezTo>
                    <a:pt x="1250" y="1250"/>
                    <a:pt x="375" y="1250"/>
                    <a:pt x="0" y="2249"/>
                  </a:cubicBezTo>
                  <a:lnTo>
                    <a:pt x="0" y="2249"/>
                  </a:lnTo>
                  <a:close/>
                </a:path>
              </a:pathLst>
            </a:custGeom>
            <a:solidFill>
              <a:srgbClr val="000000"/>
            </a:solidFill>
            <a:ln w="12483" cap="flat">
              <a:noFill/>
              <a:prstDash val="solid"/>
              <a:miter/>
            </a:ln>
          </p:spPr>
          <p:txBody>
            <a:bodyPr rtlCol="0" anchor="ctr"/>
            <a:lstStyle/>
            <a:p>
              <a:endParaRPr lang="en-US"/>
            </a:p>
          </p:txBody>
        </p:sp>
        <p:sp>
          <p:nvSpPr>
            <p:cNvPr id="1394" name="Freeform: Shape 1393">
              <a:extLst>
                <a:ext uri="{FF2B5EF4-FFF2-40B4-BE49-F238E27FC236}">
                  <a16:creationId xmlns:a16="http://schemas.microsoft.com/office/drawing/2014/main" id="{FB49964C-1E6E-4FEB-B109-0160445BEBCF}"/>
                </a:ext>
              </a:extLst>
            </p:cNvPr>
            <p:cNvSpPr/>
            <p:nvPr/>
          </p:nvSpPr>
          <p:spPr>
            <a:xfrm>
              <a:off x="8905057" y="3509732"/>
              <a:ext cx="999" cy="1874"/>
            </a:xfrm>
            <a:custGeom>
              <a:avLst/>
              <a:gdLst>
                <a:gd name="connsiteX0" fmla="*/ 0 w 999"/>
                <a:gd name="connsiteY0" fmla="*/ 0 h 1874"/>
                <a:gd name="connsiteX1" fmla="*/ 1000 w 999"/>
                <a:gd name="connsiteY1" fmla="*/ 1874 h 1874"/>
                <a:gd name="connsiteX2" fmla="*/ 1000 w 999"/>
                <a:gd name="connsiteY2" fmla="*/ 1874 h 1874"/>
                <a:gd name="connsiteX3" fmla="*/ 0 w 999"/>
                <a:gd name="connsiteY3" fmla="*/ 0 h 1874"/>
              </a:gdLst>
              <a:ahLst/>
              <a:cxnLst>
                <a:cxn ang="0">
                  <a:pos x="connsiteX0" y="connsiteY0"/>
                </a:cxn>
                <a:cxn ang="0">
                  <a:pos x="connsiteX1" y="connsiteY1"/>
                </a:cxn>
                <a:cxn ang="0">
                  <a:pos x="connsiteX2" y="connsiteY2"/>
                </a:cxn>
                <a:cxn ang="0">
                  <a:pos x="connsiteX3" y="connsiteY3"/>
                </a:cxn>
              </a:cxnLst>
              <a:rect l="l" t="t" r="r" b="b"/>
              <a:pathLst>
                <a:path w="999" h="1874">
                  <a:moveTo>
                    <a:pt x="0" y="0"/>
                  </a:moveTo>
                  <a:cubicBezTo>
                    <a:pt x="387" y="600"/>
                    <a:pt x="712" y="1224"/>
                    <a:pt x="1000" y="1874"/>
                  </a:cubicBezTo>
                  <a:lnTo>
                    <a:pt x="1000" y="1874"/>
                  </a:lnTo>
                  <a:cubicBezTo>
                    <a:pt x="837" y="1174"/>
                    <a:pt x="487" y="525"/>
                    <a:pt x="0" y="0"/>
                  </a:cubicBezTo>
                  <a:close/>
                </a:path>
              </a:pathLst>
            </a:custGeom>
            <a:solidFill>
              <a:srgbClr val="000000"/>
            </a:solidFill>
            <a:ln w="12483" cap="flat">
              <a:noFill/>
              <a:prstDash val="solid"/>
              <a:miter/>
            </a:ln>
          </p:spPr>
          <p:txBody>
            <a:bodyPr rtlCol="0" anchor="ctr"/>
            <a:lstStyle/>
            <a:p>
              <a:endParaRPr lang="en-US"/>
            </a:p>
          </p:txBody>
        </p:sp>
        <p:sp>
          <p:nvSpPr>
            <p:cNvPr id="1395" name="Freeform: Shape 1394">
              <a:extLst>
                <a:ext uri="{FF2B5EF4-FFF2-40B4-BE49-F238E27FC236}">
                  <a16:creationId xmlns:a16="http://schemas.microsoft.com/office/drawing/2014/main" id="{7177CAFC-6EDF-4106-93B9-D1C6EFD4FE6B}"/>
                </a:ext>
              </a:extLst>
            </p:cNvPr>
            <p:cNvSpPr/>
            <p:nvPr/>
          </p:nvSpPr>
          <p:spPr>
            <a:xfrm>
              <a:off x="8540412" y="3511482"/>
              <a:ext cx="362146" cy="192255"/>
            </a:xfrm>
            <a:custGeom>
              <a:avLst/>
              <a:gdLst>
                <a:gd name="connsiteX0" fmla="*/ 11423 w 362146"/>
                <a:gd name="connsiteY0" fmla="*/ 191674 h 192255"/>
                <a:gd name="connsiteX1" fmla="*/ 12673 w 362146"/>
                <a:gd name="connsiteY1" fmla="*/ 191674 h 192255"/>
                <a:gd name="connsiteX2" fmla="*/ 6675 w 362146"/>
                <a:gd name="connsiteY2" fmla="*/ 183552 h 192255"/>
                <a:gd name="connsiteX3" fmla="*/ 6675 w 362146"/>
                <a:gd name="connsiteY3" fmla="*/ 180803 h 192255"/>
                <a:gd name="connsiteX4" fmla="*/ 8587 w 362146"/>
                <a:gd name="connsiteY4" fmla="*/ 180465 h 192255"/>
                <a:gd name="connsiteX5" fmla="*/ 8924 w 362146"/>
                <a:gd name="connsiteY5" fmla="*/ 180803 h 192255"/>
                <a:gd name="connsiteX6" fmla="*/ 15671 w 362146"/>
                <a:gd name="connsiteY6" fmla="*/ 189799 h 192255"/>
                <a:gd name="connsiteX7" fmla="*/ 17296 w 362146"/>
                <a:gd name="connsiteY7" fmla="*/ 188925 h 192255"/>
                <a:gd name="connsiteX8" fmla="*/ 360897 w 362146"/>
                <a:gd name="connsiteY8" fmla="*/ 13994 h 192255"/>
                <a:gd name="connsiteX9" fmla="*/ 362147 w 362146"/>
                <a:gd name="connsiteY9" fmla="*/ 12995 h 192255"/>
                <a:gd name="connsiteX10" fmla="*/ 362147 w 362146"/>
                <a:gd name="connsiteY10" fmla="*/ 12995 h 192255"/>
                <a:gd name="connsiteX11" fmla="*/ 351064 w 362146"/>
                <a:gd name="connsiteY11" fmla="*/ 11920 h 192255"/>
                <a:gd name="connsiteX12" fmla="*/ 350652 w 362146"/>
                <a:gd name="connsiteY12" fmla="*/ 11371 h 192255"/>
                <a:gd name="connsiteX13" fmla="*/ 342030 w 362146"/>
                <a:gd name="connsiteY13" fmla="*/ 0 h 192255"/>
                <a:gd name="connsiteX14" fmla="*/ 4676 w 362146"/>
                <a:gd name="connsiteY14" fmla="*/ 171681 h 192255"/>
                <a:gd name="connsiteX15" fmla="*/ 4676 w 362146"/>
                <a:gd name="connsiteY15" fmla="*/ 171681 h 192255"/>
                <a:gd name="connsiteX16" fmla="*/ 3177 w 362146"/>
                <a:gd name="connsiteY16" fmla="*/ 173056 h 192255"/>
                <a:gd name="connsiteX17" fmla="*/ 1927 w 362146"/>
                <a:gd name="connsiteY17" fmla="*/ 174306 h 192255"/>
                <a:gd name="connsiteX18" fmla="*/ 928 w 362146"/>
                <a:gd name="connsiteY18" fmla="*/ 175930 h 192255"/>
                <a:gd name="connsiteX19" fmla="*/ 178 w 362146"/>
                <a:gd name="connsiteY19" fmla="*/ 177804 h 192255"/>
                <a:gd name="connsiteX20" fmla="*/ 178 w 362146"/>
                <a:gd name="connsiteY20" fmla="*/ 179678 h 192255"/>
                <a:gd name="connsiteX21" fmla="*/ 178 w 362146"/>
                <a:gd name="connsiteY21" fmla="*/ 181927 h 192255"/>
                <a:gd name="connsiteX22" fmla="*/ 178 w 362146"/>
                <a:gd name="connsiteY22" fmla="*/ 185676 h 192255"/>
                <a:gd name="connsiteX23" fmla="*/ 10149 w 362146"/>
                <a:gd name="connsiteY23" fmla="*/ 192061 h 192255"/>
                <a:gd name="connsiteX24" fmla="*/ 11423 w 362146"/>
                <a:gd name="connsiteY24" fmla="*/ 191674 h 19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146" h="192255">
                  <a:moveTo>
                    <a:pt x="11423" y="191674"/>
                  </a:moveTo>
                  <a:lnTo>
                    <a:pt x="12673" y="191674"/>
                  </a:lnTo>
                  <a:lnTo>
                    <a:pt x="6675" y="183552"/>
                  </a:lnTo>
                  <a:cubicBezTo>
                    <a:pt x="6126" y="182714"/>
                    <a:pt x="6126" y="181640"/>
                    <a:pt x="6675" y="180803"/>
                  </a:cubicBezTo>
                  <a:cubicBezTo>
                    <a:pt x="7113" y="180178"/>
                    <a:pt x="7975" y="180028"/>
                    <a:pt x="8587" y="180465"/>
                  </a:cubicBezTo>
                  <a:cubicBezTo>
                    <a:pt x="8724" y="180565"/>
                    <a:pt x="8837" y="180678"/>
                    <a:pt x="8924" y="180803"/>
                  </a:cubicBezTo>
                  <a:lnTo>
                    <a:pt x="15671" y="189799"/>
                  </a:lnTo>
                  <a:lnTo>
                    <a:pt x="17296" y="188925"/>
                  </a:lnTo>
                  <a:lnTo>
                    <a:pt x="360897" y="13994"/>
                  </a:lnTo>
                  <a:cubicBezTo>
                    <a:pt x="361347" y="13694"/>
                    <a:pt x="361759" y="13370"/>
                    <a:pt x="362147" y="12995"/>
                  </a:cubicBezTo>
                  <a:lnTo>
                    <a:pt x="362147" y="12995"/>
                  </a:lnTo>
                  <a:cubicBezTo>
                    <a:pt x="358786" y="15756"/>
                    <a:pt x="353825" y="15281"/>
                    <a:pt x="351064" y="11920"/>
                  </a:cubicBezTo>
                  <a:cubicBezTo>
                    <a:pt x="350914" y="11745"/>
                    <a:pt x="350777" y="11558"/>
                    <a:pt x="350652" y="11371"/>
                  </a:cubicBezTo>
                  <a:lnTo>
                    <a:pt x="342030" y="0"/>
                  </a:lnTo>
                  <a:lnTo>
                    <a:pt x="4676" y="171681"/>
                  </a:lnTo>
                  <a:lnTo>
                    <a:pt x="4676" y="171681"/>
                  </a:lnTo>
                  <a:cubicBezTo>
                    <a:pt x="4114" y="172069"/>
                    <a:pt x="3614" y="172531"/>
                    <a:pt x="3177" y="173056"/>
                  </a:cubicBezTo>
                  <a:cubicBezTo>
                    <a:pt x="2677" y="173368"/>
                    <a:pt x="2240" y="173806"/>
                    <a:pt x="1927" y="174306"/>
                  </a:cubicBezTo>
                  <a:lnTo>
                    <a:pt x="928" y="175930"/>
                  </a:lnTo>
                  <a:cubicBezTo>
                    <a:pt x="628" y="176529"/>
                    <a:pt x="378" y="177154"/>
                    <a:pt x="178" y="177804"/>
                  </a:cubicBezTo>
                  <a:cubicBezTo>
                    <a:pt x="116" y="178429"/>
                    <a:pt x="116" y="179053"/>
                    <a:pt x="178" y="179678"/>
                  </a:cubicBezTo>
                  <a:cubicBezTo>
                    <a:pt x="53" y="180428"/>
                    <a:pt x="53" y="181178"/>
                    <a:pt x="178" y="181927"/>
                  </a:cubicBezTo>
                  <a:cubicBezTo>
                    <a:pt x="-59" y="183164"/>
                    <a:pt x="-59" y="184439"/>
                    <a:pt x="178" y="185676"/>
                  </a:cubicBezTo>
                  <a:cubicBezTo>
                    <a:pt x="1165" y="190187"/>
                    <a:pt x="5626" y="193048"/>
                    <a:pt x="10149" y="192061"/>
                  </a:cubicBezTo>
                  <a:cubicBezTo>
                    <a:pt x="10586" y="191961"/>
                    <a:pt x="11011" y="191836"/>
                    <a:pt x="11423" y="191674"/>
                  </a:cubicBezTo>
                  <a:close/>
                </a:path>
              </a:pathLst>
            </a:custGeom>
            <a:solidFill>
              <a:srgbClr val="000000"/>
            </a:solidFill>
            <a:ln w="12483" cap="flat">
              <a:noFill/>
              <a:prstDash val="solid"/>
              <a:miter/>
            </a:ln>
          </p:spPr>
          <p:txBody>
            <a:bodyPr rtlCol="0" anchor="ctr"/>
            <a:lstStyle/>
            <a:p>
              <a:endParaRPr lang="en-US"/>
            </a:p>
          </p:txBody>
        </p:sp>
        <p:sp>
          <p:nvSpPr>
            <p:cNvPr id="1396" name="Freeform: Shape 1395">
              <a:extLst>
                <a:ext uri="{FF2B5EF4-FFF2-40B4-BE49-F238E27FC236}">
                  <a16:creationId xmlns:a16="http://schemas.microsoft.com/office/drawing/2014/main" id="{F654BD20-ACA4-4A3A-AD60-8122E2B0527C}"/>
                </a:ext>
              </a:extLst>
            </p:cNvPr>
            <p:cNvSpPr/>
            <p:nvPr/>
          </p:nvSpPr>
          <p:spPr>
            <a:xfrm>
              <a:off x="8903933" y="3521228"/>
              <a:ext cx="1249" cy="1999"/>
            </a:xfrm>
            <a:custGeom>
              <a:avLst/>
              <a:gdLst>
                <a:gd name="connsiteX0" fmla="*/ 1250 w 1249"/>
                <a:gd name="connsiteY0" fmla="*/ 0 h 1999"/>
                <a:gd name="connsiteX1" fmla="*/ 0 w 1249"/>
                <a:gd name="connsiteY1" fmla="*/ 1999 h 1999"/>
                <a:gd name="connsiteX2" fmla="*/ 875 w 1249"/>
                <a:gd name="connsiteY2" fmla="*/ 750 h 1999"/>
              </a:gdLst>
              <a:ahLst/>
              <a:cxnLst>
                <a:cxn ang="0">
                  <a:pos x="connsiteX0" y="connsiteY0"/>
                </a:cxn>
                <a:cxn ang="0">
                  <a:pos x="connsiteX1" y="connsiteY1"/>
                </a:cxn>
                <a:cxn ang="0">
                  <a:pos x="connsiteX2" y="connsiteY2"/>
                </a:cxn>
              </a:cxnLst>
              <a:rect l="l" t="t" r="r" b="b"/>
              <a:pathLst>
                <a:path w="1249" h="1999">
                  <a:moveTo>
                    <a:pt x="1250" y="0"/>
                  </a:moveTo>
                  <a:cubicBezTo>
                    <a:pt x="875" y="700"/>
                    <a:pt x="463" y="1362"/>
                    <a:pt x="0" y="1999"/>
                  </a:cubicBezTo>
                  <a:cubicBezTo>
                    <a:pt x="0" y="1999"/>
                    <a:pt x="0" y="1125"/>
                    <a:pt x="875" y="750"/>
                  </a:cubicBezTo>
                  <a:close/>
                </a:path>
              </a:pathLst>
            </a:custGeom>
            <a:solidFill>
              <a:srgbClr val="000000"/>
            </a:solidFill>
            <a:ln w="12483" cap="flat">
              <a:noFill/>
              <a:prstDash val="solid"/>
              <a:miter/>
            </a:ln>
          </p:spPr>
          <p:txBody>
            <a:bodyPr rtlCol="0" anchor="ctr"/>
            <a:lstStyle/>
            <a:p>
              <a:endParaRPr lang="en-US"/>
            </a:p>
          </p:txBody>
        </p:sp>
        <p:sp>
          <p:nvSpPr>
            <p:cNvPr id="1397" name="Freeform: Shape 1396">
              <a:extLst>
                <a:ext uri="{FF2B5EF4-FFF2-40B4-BE49-F238E27FC236}">
                  <a16:creationId xmlns:a16="http://schemas.microsoft.com/office/drawing/2014/main" id="{1B7992A5-BD72-4BDE-914A-367EFE1E72AD}"/>
                </a:ext>
              </a:extLst>
            </p:cNvPr>
            <p:cNvSpPr/>
            <p:nvPr/>
          </p:nvSpPr>
          <p:spPr>
            <a:xfrm>
              <a:off x="8546550" y="3691322"/>
              <a:ext cx="167590" cy="226122"/>
            </a:xfrm>
            <a:custGeom>
              <a:avLst/>
              <a:gdLst>
                <a:gd name="connsiteX0" fmla="*/ 11408 w 167590"/>
                <a:gd name="connsiteY0" fmla="*/ 12333 h 226122"/>
                <a:gd name="connsiteX1" fmla="*/ 9409 w 167590"/>
                <a:gd name="connsiteY1" fmla="*/ 9584 h 226122"/>
                <a:gd name="connsiteX2" fmla="*/ 2661 w 167590"/>
                <a:gd name="connsiteY2" fmla="*/ 588 h 226122"/>
                <a:gd name="connsiteX3" fmla="*/ 750 w 167590"/>
                <a:gd name="connsiteY3" fmla="*/ 250 h 226122"/>
                <a:gd name="connsiteX4" fmla="*/ 412 w 167590"/>
                <a:gd name="connsiteY4" fmla="*/ 588 h 226122"/>
                <a:gd name="connsiteX5" fmla="*/ 412 w 167590"/>
                <a:gd name="connsiteY5" fmla="*/ 3337 h 226122"/>
                <a:gd name="connsiteX6" fmla="*/ 6410 w 167590"/>
                <a:gd name="connsiteY6" fmla="*/ 11459 h 226122"/>
                <a:gd name="connsiteX7" fmla="*/ 12032 w 167590"/>
                <a:gd name="connsiteY7" fmla="*/ 19080 h 226122"/>
                <a:gd name="connsiteX8" fmla="*/ 164466 w 167590"/>
                <a:gd name="connsiteY8" fmla="*/ 226123 h 226122"/>
                <a:gd name="connsiteX9" fmla="*/ 167590 w 167590"/>
                <a:gd name="connsiteY9" fmla="*/ 224498 h 2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590" h="226122">
                  <a:moveTo>
                    <a:pt x="11408" y="12333"/>
                  </a:moveTo>
                  <a:lnTo>
                    <a:pt x="9409" y="9584"/>
                  </a:lnTo>
                  <a:lnTo>
                    <a:pt x="2661" y="588"/>
                  </a:lnTo>
                  <a:cubicBezTo>
                    <a:pt x="2224" y="-37"/>
                    <a:pt x="1362" y="-187"/>
                    <a:pt x="750" y="250"/>
                  </a:cubicBezTo>
                  <a:cubicBezTo>
                    <a:pt x="612" y="350"/>
                    <a:pt x="500" y="463"/>
                    <a:pt x="412" y="588"/>
                  </a:cubicBezTo>
                  <a:cubicBezTo>
                    <a:pt x="-137" y="1425"/>
                    <a:pt x="-137" y="2499"/>
                    <a:pt x="412" y="3337"/>
                  </a:cubicBezTo>
                  <a:lnTo>
                    <a:pt x="6410" y="11459"/>
                  </a:lnTo>
                  <a:lnTo>
                    <a:pt x="12032" y="19080"/>
                  </a:lnTo>
                  <a:lnTo>
                    <a:pt x="164466" y="226123"/>
                  </a:lnTo>
                  <a:lnTo>
                    <a:pt x="167590" y="224498"/>
                  </a:lnTo>
                  <a:close/>
                </a:path>
              </a:pathLst>
            </a:custGeom>
            <a:solidFill>
              <a:srgbClr val="000000"/>
            </a:solidFill>
            <a:ln w="12483" cap="flat">
              <a:noFill/>
              <a:prstDash val="solid"/>
              <a:miter/>
            </a:ln>
          </p:spPr>
          <p:txBody>
            <a:bodyPr rtlCol="0" anchor="ctr"/>
            <a:lstStyle/>
            <a:p>
              <a:endParaRPr lang="en-US"/>
            </a:p>
          </p:txBody>
        </p:sp>
        <p:sp>
          <p:nvSpPr>
            <p:cNvPr id="1398" name="Freeform: Shape 1397">
              <a:extLst>
                <a:ext uri="{FF2B5EF4-FFF2-40B4-BE49-F238E27FC236}">
                  <a16:creationId xmlns:a16="http://schemas.microsoft.com/office/drawing/2014/main" id="{0B603529-FBFA-4D4C-97BA-4125F47E8A22}"/>
                </a:ext>
              </a:extLst>
            </p:cNvPr>
            <p:cNvSpPr/>
            <p:nvPr/>
          </p:nvSpPr>
          <p:spPr>
            <a:xfrm>
              <a:off x="8665848" y="2833502"/>
              <a:ext cx="478355" cy="253534"/>
            </a:xfrm>
            <a:custGeom>
              <a:avLst/>
              <a:gdLst>
                <a:gd name="connsiteX0" fmla="*/ 10933 w 478355"/>
                <a:gd name="connsiteY0" fmla="*/ 253149 h 253534"/>
                <a:gd name="connsiteX1" fmla="*/ 12557 w 478355"/>
                <a:gd name="connsiteY1" fmla="*/ 252400 h 253534"/>
                <a:gd name="connsiteX2" fmla="*/ 6435 w 478355"/>
                <a:gd name="connsiteY2" fmla="*/ 244403 h 253534"/>
                <a:gd name="connsiteX3" fmla="*/ 6435 w 478355"/>
                <a:gd name="connsiteY3" fmla="*/ 241654 h 253534"/>
                <a:gd name="connsiteX4" fmla="*/ 8534 w 478355"/>
                <a:gd name="connsiteY4" fmla="*/ 241379 h 253534"/>
                <a:gd name="connsiteX5" fmla="*/ 8809 w 478355"/>
                <a:gd name="connsiteY5" fmla="*/ 241654 h 253534"/>
                <a:gd name="connsiteX6" fmla="*/ 15681 w 478355"/>
                <a:gd name="connsiteY6" fmla="*/ 250650 h 253534"/>
                <a:gd name="connsiteX7" fmla="*/ 17055 w 478355"/>
                <a:gd name="connsiteY7" fmla="*/ 250025 h 253534"/>
                <a:gd name="connsiteX8" fmla="*/ 478356 w 478355"/>
                <a:gd name="connsiteY8" fmla="*/ 22741 h 253534"/>
                <a:gd name="connsiteX9" fmla="*/ 477606 w 478355"/>
                <a:gd name="connsiteY9" fmla="*/ 7747 h 253534"/>
                <a:gd name="connsiteX10" fmla="*/ 477606 w 478355"/>
                <a:gd name="connsiteY10" fmla="*/ 0 h 253534"/>
                <a:gd name="connsiteX11" fmla="*/ 4811 w 478355"/>
                <a:gd name="connsiteY11" fmla="*/ 232907 h 253534"/>
                <a:gd name="connsiteX12" fmla="*/ 4811 w 478355"/>
                <a:gd name="connsiteY12" fmla="*/ 232907 h 253534"/>
                <a:gd name="connsiteX13" fmla="*/ 3186 w 478355"/>
                <a:gd name="connsiteY13" fmla="*/ 234157 h 253534"/>
                <a:gd name="connsiteX14" fmla="*/ 1937 w 478355"/>
                <a:gd name="connsiteY14" fmla="*/ 235281 h 253534"/>
                <a:gd name="connsiteX15" fmla="*/ 1062 w 478355"/>
                <a:gd name="connsiteY15" fmla="*/ 237031 h 253534"/>
                <a:gd name="connsiteX16" fmla="*/ 188 w 478355"/>
                <a:gd name="connsiteY16" fmla="*/ 238780 h 253534"/>
                <a:gd name="connsiteX17" fmla="*/ 188 w 478355"/>
                <a:gd name="connsiteY17" fmla="*/ 240779 h 253534"/>
                <a:gd name="connsiteX18" fmla="*/ 188 w 478355"/>
                <a:gd name="connsiteY18" fmla="*/ 243028 h 253534"/>
                <a:gd name="connsiteX19" fmla="*/ 188 w 478355"/>
                <a:gd name="connsiteY19" fmla="*/ 246652 h 253534"/>
                <a:gd name="connsiteX20" fmla="*/ 9921 w 478355"/>
                <a:gd name="connsiteY20" fmla="*/ 253399 h 253534"/>
                <a:gd name="connsiteX21" fmla="*/ 10933 w 478355"/>
                <a:gd name="connsiteY21" fmla="*/ 253149 h 2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355" h="253534">
                  <a:moveTo>
                    <a:pt x="10933" y="253149"/>
                  </a:moveTo>
                  <a:lnTo>
                    <a:pt x="12557" y="252400"/>
                  </a:lnTo>
                  <a:lnTo>
                    <a:pt x="6435" y="244403"/>
                  </a:lnTo>
                  <a:cubicBezTo>
                    <a:pt x="5810" y="243591"/>
                    <a:pt x="5810" y="242466"/>
                    <a:pt x="6435" y="241654"/>
                  </a:cubicBezTo>
                  <a:cubicBezTo>
                    <a:pt x="6947" y="241004"/>
                    <a:pt x="7884" y="240879"/>
                    <a:pt x="8534" y="241379"/>
                  </a:cubicBezTo>
                  <a:cubicBezTo>
                    <a:pt x="8634" y="241466"/>
                    <a:pt x="8734" y="241554"/>
                    <a:pt x="8809" y="241654"/>
                  </a:cubicBezTo>
                  <a:lnTo>
                    <a:pt x="15681" y="250650"/>
                  </a:lnTo>
                  <a:lnTo>
                    <a:pt x="17055" y="250025"/>
                  </a:lnTo>
                  <a:lnTo>
                    <a:pt x="478356" y="22741"/>
                  </a:lnTo>
                  <a:lnTo>
                    <a:pt x="477606" y="7747"/>
                  </a:lnTo>
                  <a:lnTo>
                    <a:pt x="477606" y="0"/>
                  </a:lnTo>
                  <a:lnTo>
                    <a:pt x="4811" y="232907"/>
                  </a:lnTo>
                  <a:lnTo>
                    <a:pt x="4811" y="232907"/>
                  </a:lnTo>
                  <a:cubicBezTo>
                    <a:pt x="4186" y="233207"/>
                    <a:pt x="3636" y="233632"/>
                    <a:pt x="3186" y="234157"/>
                  </a:cubicBezTo>
                  <a:lnTo>
                    <a:pt x="1937" y="235281"/>
                  </a:lnTo>
                  <a:cubicBezTo>
                    <a:pt x="1599" y="235843"/>
                    <a:pt x="1299" y="236418"/>
                    <a:pt x="1062" y="237031"/>
                  </a:cubicBezTo>
                  <a:lnTo>
                    <a:pt x="188" y="238780"/>
                  </a:lnTo>
                  <a:cubicBezTo>
                    <a:pt x="125" y="239442"/>
                    <a:pt x="125" y="240117"/>
                    <a:pt x="188" y="240779"/>
                  </a:cubicBezTo>
                  <a:cubicBezTo>
                    <a:pt x="125" y="241529"/>
                    <a:pt x="125" y="242279"/>
                    <a:pt x="188" y="243028"/>
                  </a:cubicBezTo>
                  <a:cubicBezTo>
                    <a:pt x="-63" y="244228"/>
                    <a:pt x="-63" y="245452"/>
                    <a:pt x="188" y="246652"/>
                  </a:cubicBezTo>
                  <a:cubicBezTo>
                    <a:pt x="1012" y="251200"/>
                    <a:pt x="5360" y="254224"/>
                    <a:pt x="9921" y="253399"/>
                  </a:cubicBezTo>
                  <a:cubicBezTo>
                    <a:pt x="10258" y="253337"/>
                    <a:pt x="10595" y="253249"/>
                    <a:pt x="10933" y="253149"/>
                  </a:cubicBezTo>
                  <a:close/>
                </a:path>
              </a:pathLst>
            </a:custGeom>
            <a:solidFill>
              <a:srgbClr val="000000"/>
            </a:solidFill>
            <a:ln w="12483" cap="flat">
              <a:noFill/>
              <a:prstDash val="solid"/>
              <a:miter/>
            </a:ln>
          </p:spPr>
          <p:txBody>
            <a:bodyPr rtlCol="0" anchor="ctr"/>
            <a:lstStyle/>
            <a:p>
              <a:endParaRPr lang="en-US"/>
            </a:p>
          </p:txBody>
        </p:sp>
        <p:sp>
          <p:nvSpPr>
            <p:cNvPr id="1399" name="Freeform: Shape 1398">
              <a:extLst>
                <a:ext uri="{FF2B5EF4-FFF2-40B4-BE49-F238E27FC236}">
                  <a16:creationId xmlns:a16="http://schemas.microsoft.com/office/drawing/2014/main" id="{45BF51EE-5E5E-4084-AAC3-1FF74EB1E2A5}"/>
                </a:ext>
              </a:extLst>
            </p:cNvPr>
            <p:cNvSpPr/>
            <p:nvPr/>
          </p:nvSpPr>
          <p:spPr>
            <a:xfrm>
              <a:off x="8672064" y="3074574"/>
              <a:ext cx="216500" cy="281469"/>
            </a:xfrm>
            <a:custGeom>
              <a:avLst/>
              <a:gdLst>
                <a:gd name="connsiteX0" fmla="*/ 214251 w 216500"/>
                <a:gd name="connsiteY0" fmla="*/ 281470 h 281469"/>
                <a:gd name="connsiteX1" fmla="*/ 214251 w 216500"/>
                <a:gd name="connsiteY1" fmla="*/ 278721 h 281469"/>
                <a:gd name="connsiteX2" fmla="*/ 216163 w 216500"/>
                <a:gd name="connsiteY2" fmla="*/ 278383 h 281469"/>
                <a:gd name="connsiteX3" fmla="*/ 216500 w 216500"/>
                <a:gd name="connsiteY3" fmla="*/ 278721 h 281469"/>
                <a:gd name="connsiteX4" fmla="*/ 11339 w 216500"/>
                <a:gd name="connsiteY4" fmla="*/ 11702 h 281469"/>
                <a:gd name="connsiteX5" fmla="*/ 9715 w 216500"/>
                <a:gd name="connsiteY5" fmla="*/ 9578 h 281469"/>
                <a:gd name="connsiteX6" fmla="*/ 2843 w 216500"/>
                <a:gd name="connsiteY6" fmla="*/ 582 h 281469"/>
                <a:gd name="connsiteX7" fmla="*/ 744 w 216500"/>
                <a:gd name="connsiteY7" fmla="*/ 307 h 281469"/>
                <a:gd name="connsiteX8" fmla="*/ 469 w 216500"/>
                <a:gd name="connsiteY8" fmla="*/ 582 h 281469"/>
                <a:gd name="connsiteX9" fmla="*/ 469 w 216500"/>
                <a:gd name="connsiteY9" fmla="*/ 3330 h 281469"/>
                <a:gd name="connsiteX10" fmla="*/ 6591 w 216500"/>
                <a:gd name="connsiteY10" fmla="*/ 11327 h 281469"/>
                <a:gd name="connsiteX11" fmla="*/ 11839 w 216500"/>
                <a:gd name="connsiteY11" fmla="*/ 18075 h 281469"/>
                <a:gd name="connsiteX12" fmla="*/ 213876 w 216500"/>
                <a:gd name="connsiteY12" fmla="*/ 280470 h 28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500" h="281469">
                  <a:moveTo>
                    <a:pt x="214251" y="281470"/>
                  </a:moveTo>
                  <a:cubicBezTo>
                    <a:pt x="213627" y="280657"/>
                    <a:pt x="213627" y="279533"/>
                    <a:pt x="214251" y="278721"/>
                  </a:cubicBezTo>
                  <a:cubicBezTo>
                    <a:pt x="214689" y="278096"/>
                    <a:pt x="215551" y="277946"/>
                    <a:pt x="216163" y="278383"/>
                  </a:cubicBezTo>
                  <a:cubicBezTo>
                    <a:pt x="216300" y="278483"/>
                    <a:pt x="216413" y="278596"/>
                    <a:pt x="216500" y="278721"/>
                  </a:cubicBezTo>
                  <a:lnTo>
                    <a:pt x="11339" y="11702"/>
                  </a:lnTo>
                  <a:lnTo>
                    <a:pt x="9715" y="9578"/>
                  </a:lnTo>
                  <a:lnTo>
                    <a:pt x="2843" y="582"/>
                  </a:lnTo>
                  <a:cubicBezTo>
                    <a:pt x="2343" y="-68"/>
                    <a:pt x="1393" y="-193"/>
                    <a:pt x="744" y="307"/>
                  </a:cubicBezTo>
                  <a:cubicBezTo>
                    <a:pt x="644" y="394"/>
                    <a:pt x="543" y="481"/>
                    <a:pt x="469" y="582"/>
                  </a:cubicBezTo>
                  <a:cubicBezTo>
                    <a:pt x="-156" y="1394"/>
                    <a:pt x="-156" y="2518"/>
                    <a:pt x="469" y="3330"/>
                  </a:cubicBezTo>
                  <a:lnTo>
                    <a:pt x="6591" y="11327"/>
                  </a:lnTo>
                  <a:lnTo>
                    <a:pt x="11839" y="18075"/>
                  </a:lnTo>
                  <a:lnTo>
                    <a:pt x="213876" y="280470"/>
                  </a:lnTo>
                  <a:close/>
                </a:path>
              </a:pathLst>
            </a:custGeom>
            <a:solidFill>
              <a:srgbClr val="000000"/>
            </a:solidFill>
            <a:ln w="12483" cap="flat">
              <a:noFill/>
              <a:prstDash val="solid"/>
              <a:miter/>
            </a:ln>
          </p:spPr>
          <p:txBody>
            <a:bodyPr rtlCol="0" anchor="ctr"/>
            <a:lstStyle/>
            <a:p>
              <a:endParaRPr lang="en-US"/>
            </a:p>
          </p:txBody>
        </p:sp>
        <p:sp>
          <p:nvSpPr>
            <p:cNvPr id="1400" name="Freeform: Shape 1399">
              <a:extLst>
                <a:ext uri="{FF2B5EF4-FFF2-40B4-BE49-F238E27FC236}">
                  <a16:creationId xmlns:a16="http://schemas.microsoft.com/office/drawing/2014/main" id="{1D115A3B-B896-463E-8ECD-6CF5F3662526}"/>
                </a:ext>
              </a:extLst>
            </p:cNvPr>
            <p:cNvSpPr/>
            <p:nvPr/>
          </p:nvSpPr>
          <p:spPr>
            <a:xfrm>
              <a:off x="8885847" y="3352832"/>
              <a:ext cx="194884" cy="252112"/>
            </a:xfrm>
            <a:custGeom>
              <a:avLst/>
              <a:gdLst>
                <a:gd name="connsiteX0" fmla="*/ 191761 w 194884"/>
                <a:gd name="connsiteY0" fmla="*/ 252112 h 252112"/>
                <a:gd name="connsiteX1" fmla="*/ 194884 w 194884"/>
                <a:gd name="connsiteY1" fmla="*/ 250488 h 252112"/>
                <a:gd name="connsiteX2" fmla="*/ 2718 w 194884"/>
                <a:gd name="connsiteY2" fmla="*/ 588 h 252112"/>
                <a:gd name="connsiteX3" fmla="*/ 806 w 194884"/>
                <a:gd name="connsiteY3" fmla="*/ 250 h 252112"/>
                <a:gd name="connsiteX4" fmla="*/ 468 w 194884"/>
                <a:gd name="connsiteY4" fmla="*/ 588 h 252112"/>
                <a:gd name="connsiteX5" fmla="*/ 468 w 194884"/>
                <a:gd name="connsiteY5" fmla="*/ 3337 h 252112"/>
                <a:gd name="connsiteX6" fmla="*/ 3592 w 194884"/>
                <a:gd name="connsiteY6" fmla="*/ 7335 h 2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884" h="252112">
                  <a:moveTo>
                    <a:pt x="191761" y="252112"/>
                  </a:moveTo>
                  <a:lnTo>
                    <a:pt x="194884" y="250488"/>
                  </a:lnTo>
                  <a:lnTo>
                    <a:pt x="2718" y="588"/>
                  </a:lnTo>
                  <a:cubicBezTo>
                    <a:pt x="2280" y="-37"/>
                    <a:pt x="1418" y="-187"/>
                    <a:pt x="806" y="250"/>
                  </a:cubicBezTo>
                  <a:cubicBezTo>
                    <a:pt x="669" y="350"/>
                    <a:pt x="556" y="463"/>
                    <a:pt x="468" y="588"/>
                  </a:cubicBezTo>
                  <a:cubicBezTo>
                    <a:pt x="-156" y="1400"/>
                    <a:pt x="-156" y="2525"/>
                    <a:pt x="468" y="3337"/>
                  </a:cubicBezTo>
                  <a:lnTo>
                    <a:pt x="3592" y="7335"/>
                  </a:lnTo>
                  <a:close/>
                </a:path>
              </a:pathLst>
            </a:custGeom>
            <a:solidFill>
              <a:srgbClr val="000000"/>
            </a:solidFill>
            <a:ln w="12483" cap="flat">
              <a:noFill/>
              <a:prstDash val="solid"/>
              <a:miter/>
            </a:ln>
          </p:spPr>
          <p:txBody>
            <a:bodyPr rtlCol="0" anchor="ctr"/>
            <a:lstStyle/>
            <a:p>
              <a:endParaRPr lang="en-US"/>
            </a:p>
          </p:txBody>
        </p:sp>
        <p:sp>
          <p:nvSpPr>
            <p:cNvPr id="1401" name="Freeform: Shape 1400">
              <a:extLst>
                <a:ext uri="{FF2B5EF4-FFF2-40B4-BE49-F238E27FC236}">
                  <a16:creationId xmlns:a16="http://schemas.microsoft.com/office/drawing/2014/main" id="{916112A6-9D7E-4621-BC2D-DC2352E2B3D3}"/>
                </a:ext>
              </a:extLst>
            </p:cNvPr>
            <p:cNvSpPr/>
            <p:nvPr/>
          </p:nvSpPr>
          <p:spPr>
            <a:xfrm>
              <a:off x="11045383" y="2121480"/>
              <a:ext cx="196165" cy="121507"/>
            </a:xfrm>
            <a:custGeom>
              <a:avLst/>
              <a:gdLst>
                <a:gd name="connsiteX0" fmla="*/ 0 w 196165"/>
                <a:gd name="connsiteY0" fmla="*/ 121508 h 121507"/>
                <a:gd name="connsiteX1" fmla="*/ 196165 w 196165"/>
                <a:gd name="connsiteY1" fmla="*/ 23047 h 121507"/>
                <a:gd name="connsiteX2" fmla="*/ 191917 w 196165"/>
                <a:gd name="connsiteY2" fmla="*/ 18674 h 121507"/>
                <a:gd name="connsiteX3" fmla="*/ 191042 w 196165"/>
                <a:gd name="connsiteY3" fmla="*/ 3305 h 121507"/>
                <a:gd name="connsiteX4" fmla="*/ 195666 w 196165"/>
                <a:gd name="connsiteY4" fmla="*/ 56 h 121507"/>
                <a:gd name="connsiteX5" fmla="*/ 194416 w 196165"/>
                <a:gd name="connsiteY5" fmla="*/ 56 h 121507"/>
                <a:gd name="connsiteX6" fmla="*/ 875 w 196165"/>
                <a:gd name="connsiteY6" fmla="*/ 97517 h 121507"/>
                <a:gd name="connsiteX7" fmla="*/ 250 w 196165"/>
                <a:gd name="connsiteY7" fmla="*/ 114511 h 1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165" h="121507">
                  <a:moveTo>
                    <a:pt x="0" y="121508"/>
                  </a:moveTo>
                  <a:lnTo>
                    <a:pt x="196165" y="23047"/>
                  </a:lnTo>
                  <a:lnTo>
                    <a:pt x="191917" y="18674"/>
                  </a:lnTo>
                  <a:cubicBezTo>
                    <a:pt x="188131" y="14363"/>
                    <a:pt x="187769" y="8016"/>
                    <a:pt x="191042" y="3305"/>
                  </a:cubicBezTo>
                  <a:cubicBezTo>
                    <a:pt x="192192" y="1756"/>
                    <a:pt x="193816" y="618"/>
                    <a:pt x="195666" y="56"/>
                  </a:cubicBezTo>
                  <a:cubicBezTo>
                    <a:pt x="195253" y="-19"/>
                    <a:pt x="194828" y="-19"/>
                    <a:pt x="194416" y="56"/>
                  </a:cubicBezTo>
                  <a:lnTo>
                    <a:pt x="875" y="97517"/>
                  </a:lnTo>
                  <a:lnTo>
                    <a:pt x="250" y="114511"/>
                  </a:lnTo>
                  <a:close/>
                </a:path>
              </a:pathLst>
            </a:custGeom>
            <a:solidFill>
              <a:schemeClr val="accent6">
                <a:lumMod val="50000"/>
              </a:schemeClr>
            </a:solidFill>
            <a:ln w="12483" cap="flat">
              <a:noFill/>
              <a:prstDash val="solid"/>
              <a:miter/>
            </a:ln>
          </p:spPr>
          <p:txBody>
            <a:bodyPr rtlCol="0" anchor="ctr"/>
            <a:lstStyle/>
            <a:p>
              <a:endParaRPr lang="en-US"/>
            </a:p>
          </p:txBody>
        </p:sp>
        <p:sp>
          <p:nvSpPr>
            <p:cNvPr id="1402" name="Freeform: Shape 1401">
              <a:extLst>
                <a:ext uri="{FF2B5EF4-FFF2-40B4-BE49-F238E27FC236}">
                  <a16:creationId xmlns:a16="http://schemas.microsoft.com/office/drawing/2014/main" id="{A5C018B0-680C-4935-BF91-6E559D22BA0D}"/>
                </a:ext>
              </a:extLst>
            </p:cNvPr>
            <p:cNvSpPr/>
            <p:nvPr/>
          </p:nvSpPr>
          <p:spPr>
            <a:xfrm>
              <a:off x="11234288" y="2121786"/>
              <a:ext cx="33623" cy="30862"/>
            </a:xfrm>
            <a:custGeom>
              <a:avLst/>
              <a:gdLst>
                <a:gd name="connsiteX0" fmla="*/ 3012 w 33623"/>
                <a:gd name="connsiteY0" fmla="*/ 18368 h 30862"/>
                <a:gd name="connsiteX1" fmla="*/ 7260 w 33623"/>
                <a:gd name="connsiteY1" fmla="*/ 22741 h 30862"/>
                <a:gd name="connsiteX2" fmla="*/ 15132 w 33623"/>
                <a:gd name="connsiteY2" fmla="*/ 30863 h 30862"/>
                <a:gd name="connsiteX3" fmla="*/ 28626 w 33623"/>
                <a:gd name="connsiteY3" fmla="*/ 24115 h 30862"/>
                <a:gd name="connsiteX4" fmla="*/ 33624 w 33623"/>
                <a:gd name="connsiteY4" fmla="*/ 21616 h 30862"/>
                <a:gd name="connsiteX5" fmla="*/ 14757 w 33623"/>
                <a:gd name="connsiteY5" fmla="*/ 1874 h 30862"/>
                <a:gd name="connsiteX6" fmla="*/ 13632 w 33623"/>
                <a:gd name="connsiteY6" fmla="*/ 1125 h 30862"/>
                <a:gd name="connsiteX7" fmla="*/ 12008 w 33623"/>
                <a:gd name="connsiteY7" fmla="*/ 0 h 30862"/>
                <a:gd name="connsiteX8" fmla="*/ 10384 w 33623"/>
                <a:gd name="connsiteY8" fmla="*/ 0 h 30862"/>
                <a:gd name="connsiteX9" fmla="*/ 8635 w 33623"/>
                <a:gd name="connsiteY9" fmla="*/ 0 h 30862"/>
                <a:gd name="connsiteX10" fmla="*/ 6761 w 33623"/>
                <a:gd name="connsiteY10" fmla="*/ 0 h 30862"/>
                <a:gd name="connsiteX11" fmla="*/ 2137 w 33623"/>
                <a:gd name="connsiteY11" fmla="*/ 3249 h 30862"/>
                <a:gd name="connsiteX12" fmla="*/ 3012 w 33623"/>
                <a:gd name="connsiteY12" fmla="*/ 18368 h 3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623" h="30862">
                  <a:moveTo>
                    <a:pt x="3012" y="18368"/>
                  </a:moveTo>
                  <a:lnTo>
                    <a:pt x="7260" y="22741"/>
                  </a:lnTo>
                  <a:lnTo>
                    <a:pt x="15132" y="30863"/>
                  </a:lnTo>
                  <a:lnTo>
                    <a:pt x="28626" y="24115"/>
                  </a:lnTo>
                  <a:lnTo>
                    <a:pt x="33624" y="21616"/>
                  </a:lnTo>
                  <a:lnTo>
                    <a:pt x="14757" y="1874"/>
                  </a:lnTo>
                  <a:lnTo>
                    <a:pt x="13632" y="1125"/>
                  </a:lnTo>
                  <a:cubicBezTo>
                    <a:pt x="13145" y="675"/>
                    <a:pt x="12595" y="300"/>
                    <a:pt x="12008" y="0"/>
                  </a:cubicBezTo>
                  <a:lnTo>
                    <a:pt x="10384" y="0"/>
                  </a:lnTo>
                  <a:lnTo>
                    <a:pt x="8635" y="0"/>
                  </a:lnTo>
                  <a:lnTo>
                    <a:pt x="6761" y="0"/>
                  </a:lnTo>
                  <a:cubicBezTo>
                    <a:pt x="4911" y="562"/>
                    <a:pt x="3287" y="1699"/>
                    <a:pt x="2137" y="3249"/>
                  </a:cubicBezTo>
                  <a:cubicBezTo>
                    <a:pt x="-1011" y="7909"/>
                    <a:pt x="-649" y="14094"/>
                    <a:pt x="3012" y="18368"/>
                  </a:cubicBezTo>
                  <a:close/>
                </a:path>
              </a:pathLst>
            </a:custGeom>
            <a:solidFill>
              <a:srgbClr val="000000"/>
            </a:solidFill>
            <a:ln w="12483" cap="flat">
              <a:noFill/>
              <a:prstDash val="solid"/>
              <a:miter/>
            </a:ln>
          </p:spPr>
          <p:txBody>
            <a:bodyPr rtlCol="0" anchor="ctr"/>
            <a:lstStyle/>
            <a:p>
              <a:endParaRPr lang="en-US"/>
            </a:p>
          </p:txBody>
        </p:sp>
        <p:sp>
          <p:nvSpPr>
            <p:cNvPr id="1403" name="Freeform: Shape 1402">
              <a:extLst>
                <a:ext uri="{FF2B5EF4-FFF2-40B4-BE49-F238E27FC236}">
                  <a16:creationId xmlns:a16="http://schemas.microsoft.com/office/drawing/2014/main" id="{A1279B7E-0A20-41AD-8B08-B13CEB8FC7D8}"/>
                </a:ext>
              </a:extLst>
            </p:cNvPr>
            <p:cNvSpPr/>
            <p:nvPr/>
          </p:nvSpPr>
          <p:spPr>
            <a:xfrm>
              <a:off x="10707903" y="2813885"/>
              <a:ext cx="283877" cy="320247"/>
            </a:xfrm>
            <a:custGeom>
              <a:avLst/>
              <a:gdLst>
                <a:gd name="connsiteX0" fmla="*/ 0 w 283877"/>
                <a:gd name="connsiteY0" fmla="*/ 3124 h 320247"/>
                <a:gd name="connsiteX1" fmla="*/ 283877 w 283877"/>
                <a:gd name="connsiteY1" fmla="*/ 320247 h 320247"/>
                <a:gd name="connsiteX2" fmla="*/ 283877 w 283877"/>
                <a:gd name="connsiteY2" fmla="*/ 315249 h 320247"/>
                <a:gd name="connsiteX3" fmla="*/ 3124 w 283877"/>
                <a:gd name="connsiteY3" fmla="*/ 1499 h 320247"/>
                <a:gd name="connsiteX4" fmla="*/ 1874 w 283877"/>
                <a:gd name="connsiteY4" fmla="*/ 0 h 320247"/>
                <a:gd name="connsiteX5" fmla="*/ 1874 w 283877"/>
                <a:gd name="connsiteY5" fmla="*/ 875 h 320247"/>
                <a:gd name="connsiteX6" fmla="*/ 1874 w 283877"/>
                <a:gd name="connsiteY6" fmla="*/ 875 h 320247"/>
                <a:gd name="connsiteX7" fmla="*/ 1874 w 283877"/>
                <a:gd name="connsiteY7" fmla="*/ 875 h 320247"/>
                <a:gd name="connsiteX8" fmla="*/ 1874 w 283877"/>
                <a:gd name="connsiteY8" fmla="*/ 875 h 320247"/>
                <a:gd name="connsiteX9" fmla="*/ 1874 w 283877"/>
                <a:gd name="connsiteY9" fmla="*/ 875 h 32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877" h="320247">
                  <a:moveTo>
                    <a:pt x="0" y="3124"/>
                  </a:moveTo>
                  <a:lnTo>
                    <a:pt x="283877" y="320247"/>
                  </a:lnTo>
                  <a:lnTo>
                    <a:pt x="283877" y="315249"/>
                  </a:lnTo>
                  <a:lnTo>
                    <a:pt x="3124" y="1499"/>
                  </a:lnTo>
                  <a:lnTo>
                    <a:pt x="1874" y="0"/>
                  </a:lnTo>
                  <a:lnTo>
                    <a:pt x="1874" y="875"/>
                  </a:lnTo>
                  <a:cubicBezTo>
                    <a:pt x="1874" y="875"/>
                    <a:pt x="1874" y="875"/>
                    <a:pt x="1874" y="875"/>
                  </a:cubicBezTo>
                  <a:lnTo>
                    <a:pt x="1874" y="875"/>
                  </a:lnTo>
                  <a:lnTo>
                    <a:pt x="1874" y="875"/>
                  </a:lnTo>
                  <a:cubicBezTo>
                    <a:pt x="1874" y="875"/>
                    <a:pt x="1874" y="875"/>
                    <a:pt x="1874" y="875"/>
                  </a:cubicBezTo>
                  <a:close/>
                </a:path>
              </a:pathLst>
            </a:custGeom>
            <a:solidFill>
              <a:srgbClr val="000000"/>
            </a:solidFill>
            <a:ln w="12483" cap="flat">
              <a:noFill/>
              <a:prstDash val="solid"/>
              <a:miter/>
            </a:ln>
          </p:spPr>
          <p:txBody>
            <a:bodyPr rtlCol="0" anchor="ctr"/>
            <a:lstStyle/>
            <a:p>
              <a:endParaRPr lang="en-US"/>
            </a:p>
          </p:txBody>
        </p:sp>
        <p:sp>
          <p:nvSpPr>
            <p:cNvPr id="1404" name="Freeform: Shape 1403">
              <a:extLst>
                <a:ext uri="{FF2B5EF4-FFF2-40B4-BE49-F238E27FC236}">
                  <a16:creationId xmlns:a16="http://schemas.microsoft.com/office/drawing/2014/main" id="{804E2F44-E665-4D34-A9B1-8622B163D61C}"/>
                </a:ext>
              </a:extLst>
            </p:cNvPr>
            <p:cNvSpPr/>
            <p:nvPr/>
          </p:nvSpPr>
          <p:spPr>
            <a:xfrm>
              <a:off x="9301761" y="3329554"/>
              <a:ext cx="614234" cy="775565"/>
            </a:xfrm>
            <a:custGeom>
              <a:avLst/>
              <a:gdLst>
                <a:gd name="connsiteX0" fmla="*/ 614235 w 614234"/>
                <a:gd name="connsiteY0" fmla="*/ 773941 h 775565"/>
                <a:gd name="connsiteX1" fmla="*/ 1124 w 614234"/>
                <a:gd name="connsiteY1" fmla="*/ 0 h 775565"/>
                <a:gd name="connsiteX2" fmla="*/ 0 w 614234"/>
                <a:gd name="connsiteY2" fmla="*/ 625 h 775565"/>
                <a:gd name="connsiteX3" fmla="*/ 250 w 614234"/>
                <a:gd name="connsiteY3" fmla="*/ 4373 h 775565"/>
                <a:gd name="connsiteX4" fmla="*/ 611236 w 614234"/>
                <a:gd name="connsiteY4" fmla="*/ 775566 h 775565"/>
                <a:gd name="connsiteX5" fmla="*/ 614235 w 614234"/>
                <a:gd name="connsiteY5" fmla="*/ 773941 h 77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34" h="775565">
                  <a:moveTo>
                    <a:pt x="614235" y="773941"/>
                  </a:moveTo>
                  <a:lnTo>
                    <a:pt x="1124" y="0"/>
                  </a:lnTo>
                  <a:lnTo>
                    <a:pt x="0" y="625"/>
                  </a:lnTo>
                  <a:lnTo>
                    <a:pt x="250" y="4373"/>
                  </a:lnTo>
                  <a:lnTo>
                    <a:pt x="611236" y="775566"/>
                  </a:lnTo>
                  <a:lnTo>
                    <a:pt x="614235" y="773941"/>
                  </a:lnTo>
                  <a:close/>
                </a:path>
              </a:pathLst>
            </a:custGeom>
            <a:solidFill>
              <a:srgbClr val="000000"/>
            </a:solidFill>
            <a:ln w="12483" cap="flat">
              <a:noFill/>
              <a:prstDash val="solid"/>
              <a:miter/>
            </a:ln>
          </p:spPr>
          <p:txBody>
            <a:bodyPr rtlCol="0" anchor="ctr"/>
            <a:lstStyle/>
            <a:p>
              <a:endParaRPr lang="en-US"/>
            </a:p>
          </p:txBody>
        </p:sp>
        <p:sp>
          <p:nvSpPr>
            <p:cNvPr id="1405" name="Freeform: Shape 1404">
              <a:extLst>
                <a:ext uri="{FF2B5EF4-FFF2-40B4-BE49-F238E27FC236}">
                  <a16:creationId xmlns:a16="http://schemas.microsoft.com/office/drawing/2014/main" id="{D044206D-B10E-4F48-A6EC-231435C6C18A}"/>
                </a:ext>
              </a:extLst>
            </p:cNvPr>
            <p:cNvSpPr/>
            <p:nvPr/>
          </p:nvSpPr>
          <p:spPr>
            <a:xfrm>
              <a:off x="9301636" y="3290820"/>
              <a:ext cx="71469" cy="39359"/>
            </a:xfrm>
            <a:custGeom>
              <a:avLst/>
              <a:gdLst>
                <a:gd name="connsiteX0" fmla="*/ 71469 w 71469"/>
                <a:gd name="connsiteY0" fmla="*/ 2999 h 39359"/>
                <a:gd name="connsiteX1" fmla="*/ 69095 w 71469"/>
                <a:gd name="connsiteY1" fmla="*/ 0 h 39359"/>
                <a:gd name="connsiteX2" fmla="*/ 0 w 71469"/>
                <a:gd name="connsiteY2" fmla="*/ 35236 h 39359"/>
                <a:gd name="connsiteX3" fmla="*/ 125 w 71469"/>
                <a:gd name="connsiteY3" fmla="*/ 37985 h 39359"/>
                <a:gd name="connsiteX4" fmla="*/ 125 w 71469"/>
                <a:gd name="connsiteY4" fmla="*/ 39359 h 39359"/>
                <a:gd name="connsiteX5" fmla="*/ 1249 w 71469"/>
                <a:gd name="connsiteY5" fmla="*/ 38735 h 39359"/>
                <a:gd name="connsiteX6" fmla="*/ 71469 w 71469"/>
                <a:gd name="connsiteY6" fmla="*/ 2999 h 3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69" h="39359">
                  <a:moveTo>
                    <a:pt x="71469" y="2999"/>
                  </a:moveTo>
                  <a:lnTo>
                    <a:pt x="69095" y="0"/>
                  </a:lnTo>
                  <a:lnTo>
                    <a:pt x="0" y="35236"/>
                  </a:lnTo>
                  <a:lnTo>
                    <a:pt x="125" y="37985"/>
                  </a:lnTo>
                  <a:lnTo>
                    <a:pt x="125" y="39359"/>
                  </a:lnTo>
                  <a:lnTo>
                    <a:pt x="1249" y="38735"/>
                  </a:lnTo>
                  <a:lnTo>
                    <a:pt x="71469" y="2999"/>
                  </a:lnTo>
                  <a:close/>
                </a:path>
              </a:pathLst>
            </a:custGeom>
            <a:solidFill>
              <a:srgbClr val="000000"/>
            </a:solidFill>
            <a:ln w="12483" cap="flat">
              <a:noFill/>
              <a:prstDash val="solid"/>
              <a:miter/>
            </a:ln>
          </p:spPr>
          <p:txBody>
            <a:bodyPr rtlCol="0" anchor="ctr"/>
            <a:lstStyle/>
            <a:p>
              <a:endParaRPr lang="en-US"/>
            </a:p>
          </p:txBody>
        </p:sp>
        <p:sp>
          <p:nvSpPr>
            <p:cNvPr id="1406" name="Freeform: Shape 1405">
              <a:extLst>
                <a:ext uri="{FF2B5EF4-FFF2-40B4-BE49-F238E27FC236}">
                  <a16:creationId xmlns:a16="http://schemas.microsoft.com/office/drawing/2014/main" id="{65005595-7DC6-4113-8CFC-5DE68F1C49CB}"/>
                </a:ext>
              </a:extLst>
            </p:cNvPr>
            <p:cNvSpPr/>
            <p:nvPr/>
          </p:nvSpPr>
          <p:spPr>
            <a:xfrm>
              <a:off x="10052312" y="4133234"/>
              <a:ext cx="576375" cy="719837"/>
            </a:xfrm>
            <a:custGeom>
              <a:avLst/>
              <a:gdLst>
                <a:gd name="connsiteX0" fmla="*/ 3124 w 576375"/>
                <a:gd name="connsiteY0" fmla="*/ 0 h 719837"/>
                <a:gd name="connsiteX1" fmla="*/ 0 w 576375"/>
                <a:gd name="connsiteY1" fmla="*/ 1749 h 719837"/>
                <a:gd name="connsiteX2" fmla="*/ 4123 w 576375"/>
                <a:gd name="connsiteY2" fmla="*/ 6747 h 719837"/>
                <a:gd name="connsiteX3" fmla="*/ 573377 w 576375"/>
                <a:gd name="connsiteY3" fmla="*/ 719838 h 719837"/>
                <a:gd name="connsiteX4" fmla="*/ 576376 w 576375"/>
                <a:gd name="connsiteY4" fmla="*/ 718089 h 719837"/>
                <a:gd name="connsiteX5" fmla="*/ 3998 w 576375"/>
                <a:gd name="connsiteY5" fmla="*/ 1125 h 719837"/>
                <a:gd name="connsiteX6" fmla="*/ 3124 w 576375"/>
                <a:gd name="connsiteY6" fmla="*/ 0 h 71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375" h="719837">
                  <a:moveTo>
                    <a:pt x="3124" y="0"/>
                  </a:moveTo>
                  <a:lnTo>
                    <a:pt x="0" y="1749"/>
                  </a:lnTo>
                  <a:lnTo>
                    <a:pt x="4123" y="6747"/>
                  </a:lnTo>
                  <a:lnTo>
                    <a:pt x="573377" y="719838"/>
                  </a:lnTo>
                  <a:lnTo>
                    <a:pt x="576376" y="718089"/>
                  </a:lnTo>
                  <a:lnTo>
                    <a:pt x="3998" y="1125"/>
                  </a:lnTo>
                  <a:lnTo>
                    <a:pt x="3124" y="0"/>
                  </a:lnTo>
                  <a:close/>
                </a:path>
              </a:pathLst>
            </a:custGeom>
            <a:solidFill>
              <a:srgbClr val="000000"/>
            </a:solidFill>
            <a:ln w="12483" cap="flat">
              <a:noFill/>
              <a:prstDash val="solid"/>
              <a:miter/>
            </a:ln>
          </p:spPr>
          <p:txBody>
            <a:bodyPr rtlCol="0" anchor="ctr"/>
            <a:lstStyle/>
            <a:p>
              <a:endParaRPr lang="en-US"/>
            </a:p>
          </p:txBody>
        </p:sp>
        <p:sp>
          <p:nvSpPr>
            <p:cNvPr id="1407" name="Freeform: Shape 1406">
              <a:extLst>
                <a:ext uri="{FF2B5EF4-FFF2-40B4-BE49-F238E27FC236}">
                  <a16:creationId xmlns:a16="http://schemas.microsoft.com/office/drawing/2014/main" id="{D8C9F74D-D97D-4CDC-92E5-6BDE13B19B99}"/>
                </a:ext>
              </a:extLst>
            </p:cNvPr>
            <p:cNvSpPr/>
            <p:nvPr/>
          </p:nvSpPr>
          <p:spPr>
            <a:xfrm>
              <a:off x="10038552" y="3741140"/>
              <a:ext cx="696839" cy="395361"/>
            </a:xfrm>
            <a:custGeom>
              <a:avLst/>
              <a:gdLst>
                <a:gd name="connsiteX0" fmla="*/ 12635 w 696839"/>
                <a:gd name="connsiteY0" fmla="*/ 394593 h 395361"/>
                <a:gd name="connsiteX1" fmla="*/ 14010 w 696839"/>
                <a:gd name="connsiteY1" fmla="*/ 393843 h 395361"/>
                <a:gd name="connsiteX2" fmla="*/ 17133 w 696839"/>
                <a:gd name="connsiteY2" fmla="*/ 392094 h 395361"/>
                <a:gd name="connsiteX3" fmla="*/ 18008 w 696839"/>
                <a:gd name="connsiteY3" fmla="*/ 392094 h 395361"/>
                <a:gd name="connsiteX4" fmla="*/ 696840 w 696839"/>
                <a:gd name="connsiteY4" fmla="*/ 24115 h 395361"/>
                <a:gd name="connsiteX5" fmla="*/ 696840 w 696839"/>
                <a:gd name="connsiteY5" fmla="*/ 6747 h 395361"/>
                <a:gd name="connsiteX6" fmla="*/ 696840 w 696839"/>
                <a:gd name="connsiteY6" fmla="*/ 0 h 395361"/>
                <a:gd name="connsiteX7" fmla="*/ 4764 w 696839"/>
                <a:gd name="connsiteY7" fmla="*/ 374851 h 395361"/>
                <a:gd name="connsiteX8" fmla="*/ 4764 w 696839"/>
                <a:gd name="connsiteY8" fmla="*/ 374851 h 395361"/>
                <a:gd name="connsiteX9" fmla="*/ 4139 w 696839"/>
                <a:gd name="connsiteY9" fmla="*/ 374851 h 395361"/>
                <a:gd name="connsiteX10" fmla="*/ 2015 w 696839"/>
                <a:gd name="connsiteY10" fmla="*/ 376725 h 395361"/>
                <a:gd name="connsiteX11" fmla="*/ 1015 w 696839"/>
                <a:gd name="connsiteY11" fmla="*/ 378474 h 395361"/>
                <a:gd name="connsiteX12" fmla="*/ 141 w 696839"/>
                <a:gd name="connsiteY12" fmla="*/ 380223 h 395361"/>
                <a:gd name="connsiteX13" fmla="*/ 141 w 696839"/>
                <a:gd name="connsiteY13" fmla="*/ 383597 h 395361"/>
                <a:gd name="connsiteX14" fmla="*/ 141 w 696839"/>
                <a:gd name="connsiteY14" fmla="*/ 384346 h 395361"/>
                <a:gd name="connsiteX15" fmla="*/ 141 w 696839"/>
                <a:gd name="connsiteY15" fmla="*/ 384346 h 395361"/>
                <a:gd name="connsiteX16" fmla="*/ 890 w 696839"/>
                <a:gd name="connsiteY16" fmla="*/ 388470 h 395361"/>
                <a:gd name="connsiteX17" fmla="*/ 10611 w 696839"/>
                <a:gd name="connsiteY17" fmla="*/ 395230 h 395361"/>
                <a:gd name="connsiteX18" fmla="*/ 12635 w 696839"/>
                <a:gd name="connsiteY18" fmla="*/ 394593 h 39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6839" h="395361">
                  <a:moveTo>
                    <a:pt x="12635" y="394593"/>
                  </a:moveTo>
                  <a:lnTo>
                    <a:pt x="14010" y="393843"/>
                  </a:lnTo>
                  <a:lnTo>
                    <a:pt x="17133" y="392094"/>
                  </a:lnTo>
                  <a:lnTo>
                    <a:pt x="18008" y="392094"/>
                  </a:lnTo>
                  <a:lnTo>
                    <a:pt x="696840" y="24115"/>
                  </a:lnTo>
                  <a:lnTo>
                    <a:pt x="696840" y="6747"/>
                  </a:lnTo>
                  <a:lnTo>
                    <a:pt x="696840" y="0"/>
                  </a:lnTo>
                  <a:lnTo>
                    <a:pt x="4764" y="374851"/>
                  </a:lnTo>
                  <a:lnTo>
                    <a:pt x="4764" y="374851"/>
                  </a:lnTo>
                  <a:lnTo>
                    <a:pt x="4139" y="374851"/>
                  </a:lnTo>
                  <a:cubicBezTo>
                    <a:pt x="3352" y="375375"/>
                    <a:pt x="2627" y="376000"/>
                    <a:pt x="2015" y="376725"/>
                  </a:cubicBezTo>
                  <a:cubicBezTo>
                    <a:pt x="2015" y="376725"/>
                    <a:pt x="1390" y="377849"/>
                    <a:pt x="1015" y="378474"/>
                  </a:cubicBezTo>
                  <a:cubicBezTo>
                    <a:pt x="641" y="379099"/>
                    <a:pt x="1015" y="379599"/>
                    <a:pt x="141" y="380223"/>
                  </a:cubicBezTo>
                  <a:cubicBezTo>
                    <a:pt x="-47" y="381335"/>
                    <a:pt x="-47" y="382485"/>
                    <a:pt x="141" y="383597"/>
                  </a:cubicBezTo>
                  <a:cubicBezTo>
                    <a:pt x="141" y="383597"/>
                    <a:pt x="141" y="383597"/>
                    <a:pt x="141" y="384346"/>
                  </a:cubicBezTo>
                  <a:lnTo>
                    <a:pt x="141" y="384346"/>
                  </a:lnTo>
                  <a:cubicBezTo>
                    <a:pt x="141" y="385759"/>
                    <a:pt x="390" y="387158"/>
                    <a:pt x="890" y="388470"/>
                  </a:cubicBezTo>
                  <a:cubicBezTo>
                    <a:pt x="1703" y="393018"/>
                    <a:pt x="6063" y="396042"/>
                    <a:pt x="10611" y="395230"/>
                  </a:cubicBezTo>
                  <a:cubicBezTo>
                    <a:pt x="11311" y="395105"/>
                    <a:pt x="11986" y="394893"/>
                    <a:pt x="12635" y="394593"/>
                  </a:cubicBezTo>
                  <a:close/>
                </a:path>
              </a:pathLst>
            </a:custGeom>
            <a:solidFill>
              <a:srgbClr val="000000"/>
            </a:solidFill>
            <a:ln w="12483" cap="flat">
              <a:noFill/>
              <a:prstDash val="solid"/>
              <a:miter/>
            </a:ln>
          </p:spPr>
          <p:txBody>
            <a:bodyPr rtlCol="0" anchor="ctr"/>
            <a:lstStyle/>
            <a:p>
              <a:endParaRPr lang="en-US"/>
            </a:p>
          </p:txBody>
        </p:sp>
        <p:sp>
          <p:nvSpPr>
            <p:cNvPr id="1408" name="Freeform: Shape 1407">
              <a:extLst>
                <a:ext uri="{FF2B5EF4-FFF2-40B4-BE49-F238E27FC236}">
                  <a16:creationId xmlns:a16="http://schemas.microsoft.com/office/drawing/2014/main" id="{175515B6-53AB-4A13-9564-E212733AA6BB}"/>
                </a:ext>
              </a:extLst>
            </p:cNvPr>
            <p:cNvSpPr/>
            <p:nvPr/>
          </p:nvSpPr>
          <p:spPr>
            <a:xfrm>
              <a:off x="10818231" y="5322759"/>
              <a:ext cx="121197" cy="153938"/>
            </a:xfrm>
            <a:custGeom>
              <a:avLst/>
              <a:gdLst>
                <a:gd name="connsiteX0" fmla="*/ 1374 w 121197"/>
                <a:gd name="connsiteY0" fmla="*/ 625 h 153938"/>
                <a:gd name="connsiteX1" fmla="*/ 0 w 121197"/>
                <a:gd name="connsiteY1" fmla="*/ 1999 h 153938"/>
                <a:gd name="connsiteX2" fmla="*/ 0 w 121197"/>
                <a:gd name="connsiteY2" fmla="*/ 1999 h 153938"/>
                <a:gd name="connsiteX3" fmla="*/ 120073 w 121197"/>
                <a:gd name="connsiteY3" fmla="*/ 153939 h 153938"/>
                <a:gd name="connsiteX4" fmla="*/ 121197 w 121197"/>
                <a:gd name="connsiteY4" fmla="*/ 153314 h 153938"/>
                <a:gd name="connsiteX5" fmla="*/ 121197 w 121197"/>
                <a:gd name="connsiteY5" fmla="*/ 149940 h 153938"/>
                <a:gd name="connsiteX6" fmla="*/ 2499 w 121197"/>
                <a:gd name="connsiteY6" fmla="*/ 0 h 15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197" h="153938">
                  <a:moveTo>
                    <a:pt x="1374" y="625"/>
                  </a:moveTo>
                  <a:cubicBezTo>
                    <a:pt x="949" y="1112"/>
                    <a:pt x="487" y="1574"/>
                    <a:pt x="0" y="1999"/>
                  </a:cubicBezTo>
                  <a:lnTo>
                    <a:pt x="0" y="1999"/>
                  </a:lnTo>
                  <a:lnTo>
                    <a:pt x="120073" y="153939"/>
                  </a:lnTo>
                  <a:lnTo>
                    <a:pt x="121197" y="153314"/>
                  </a:lnTo>
                  <a:lnTo>
                    <a:pt x="121197" y="149940"/>
                  </a:lnTo>
                  <a:lnTo>
                    <a:pt x="2499" y="0"/>
                  </a:lnTo>
                  <a:close/>
                </a:path>
              </a:pathLst>
            </a:custGeom>
            <a:solidFill>
              <a:srgbClr val="000000"/>
            </a:solidFill>
            <a:ln w="12483" cap="flat">
              <a:noFill/>
              <a:prstDash val="solid"/>
              <a:miter/>
            </a:ln>
          </p:spPr>
          <p:txBody>
            <a:bodyPr rtlCol="0" anchor="ctr"/>
            <a:lstStyle/>
            <a:p>
              <a:endParaRPr lang="en-US"/>
            </a:p>
          </p:txBody>
        </p:sp>
        <p:sp>
          <p:nvSpPr>
            <p:cNvPr id="1409" name="Freeform: Shape 1408">
              <a:extLst>
                <a:ext uri="{FF2B5EF4-FFF2-40B4-BE49-F238E27FC236}">
                  <a16:creationId xmlns:a16="http://schemas.microsoft.com/office/drawing/2014/main" id="{BD0D12CA-9801-4D93-BBC0-3DAB57D41419}"/>
                </a:ext>
              </a:extLst>
            </p:cNvPr>
            <p:cNvSpPr/>
            <p:nvPr/>
          </p:nvSpPr>
          <p:spPr>
            <a:xfrm>
              <a:off x="12057195" y="3619439"/>
              <a:ext cx="76842" cy="47230"/>
            </a:xfrm>
            <a:custGeom>
              <a:avLst/>
              <a:gdLst>
                <a:gd name="connsiteX0" fmla="*/ 0 w 76842"/>
                <a:gd name="connsiteY0" fmla="*/ 47231 h 47230"/>
                <a:gd name="connsiteX1" fmla="*/ 76342 w 76842"/>
                <a:gd name="connsiteY1" fmla="*/ 4373 h 47230"/>
                <a:gd name="connsiteX2" fmla="*/ 76842 w 76842"/>
                <a:gd name="connsiteY2" fmla="*/ 0 h 47230"/>
                <a:gd name="connsiteX3" fmla="*/ 500 w 76842"/>
                <a:gd name="connsiteY3" fmla="*/ 42733 h 47230"/>
                <a:gd name="connsiteX4" fmla="*/ 0 w 76842"/>
                <a:gd name="connsiteY4" fmla="*/ 47231 h 47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42" h="47230">
                  <a:moveTo>
                    <a:pt x="0" y="47231"/>
                  </a:moveTo>
                  <a:lnTo>
                    <a:pt x="76342" y="4373"/>
                  </a:lnTo>
                  <a:lnTo>
                    <a:pt x="76842" y="0"/>
                  </a:lnTo>
                  <a:lnTo>
                    <a:pt x="500" y="42733"/>
                  </a:lnTo>
                  <a:lnTo>
                    <a:pt x="0" y="47231"/>
                  </a:lnTo>
                  <a:close/>
                </a:path>
              </a:pathLst>
            </a:custGeom>
            <a:solidFill>
              <a:srgbClr val="000000"/>
            </a:solidFill>
            <a:ln w="12483" cap="flat">
              <a:noFill/>
              <a:prstDash val="solid"/>
              <a:miter/>
            </a:ln>
          </p:spPr>
          <p:txBody>
            <a:bodyPr rtlCol="0" anchor="ctr"/>
            <a:lstStyle/>
            <a:p>
              <a:endParaRPr lang="en-US"/>
            </a:p>
          </p:txBody>
        </p:sp>
        <p:sp>
          <p:nvSpPr>
            <p:cNvPr id="1410" name="Freeform: Shape 1409">
              <a:extLst>
                <a:ext uri="{FF2B5EF4-FFF2-40B4-BE49-F238E27FC236}">
                  <a16:creationId xmlns:a16="http://schemas.microsoft.com/office/drawing/2014/main" id="{A41E82B1-5E8B-480F-B438-E905A1FDE5CA}"/>
                </a:ext>
              </a:extLst>
            </p:cNvPr>
            <p:cNvSpPr/>
            <p:nvPr/>
          </p:nvSpPr>
          <p:spPr>
            <a:xfrm>
              <a:off x="12139160" y="5096850"/>
              <a:ext cx="65846" cy="44232"/>
            </a:xfrm>
            <a:custGeom>
              <a:avLst/>
              <a:gdLst>
                <a:gd name="connsiteX0" fmla="*/ 0 w 65846"/>
                <a:gd name="connsiteY0" fmla="*/ 44232 h 44232"/>
                <a:gd name="connsiteX1" fmla="*/ 65847 w 65846"/>
                <a:gd name="connsiteY1" fmla="*/ 4248 h 44232"/>
                <a:gd name="connsiteX2" fmla="*/ 65847 w 65846"/>
                <a:gd name="connsiteY2" fmla="*/ 0 h 44232"/>
                <a:gd name="connsiteX3" fmla="*/ 500 w 65846"/>
                <a:gd name="connsiteY3" fmla="*/ 39609 h 44232"/>
                <a:gd name="connsiteX4" fmla="*/ 0 w 65846"/>
                <a:gd name="connsiteY4" fmla="*/ 44232 h 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46" h="44232">
                  <a:moveTo>
                    <a:pt x="0" y="44232"/>
                  </a:moveTo>
                  <a:lnTo>
                    <a:pt x="65847" y="4248"/>
                  </a:lnTo>
                  <a:lnTo>
                    <a:pt x="65847" y="0"/>
                  </a:lnTo>
                  <a:lnTo>
                    <a:pt x="500" y="39609"/>
                  </a:lnTo>
                  <a:lnTo>
                    <a:pt x="0" y="44232"/>
                  </a:lnTo>
                  <a:close/>
                </a:path>
              </a:pathLst>
            </a:custGeom>
            <a:solidFill>
              <a:srgbClr val="000000"/>
            </a:solidFill>
            <a:ln w="12483" cap="flat">
              <a:noFill/>
              <a:prstDash val="solid"/>
              <a:miter/>
            </a:ln>
          </p:spPr>
          <p:txBody>
            <a:bodyPr rtlCol="0" anchor="ctr"/>
            <a:lstStyle/>
            <a:p>
              <a:endParaRPr lang="en-US"/>
            </a:p>
          </p:txBody>
        </p:sp>
        <p:sp>
          <p:nvSpPr>
            <p:cNvPr id="1411" name="Freeform: Shape 1410">
              <a:extLst>
                <a:ext uri="{FF2B5EF4-FFF2-40B4-BE49-F238E27FC236}">
                  <a16:creationId xmlns:a16="http://schemas.microsoft.com/office/drawing/2014/main" id="{9E500025-DEC0-4E36-B438-CE0BFA00A211}"/>
                </a:ext>
              </a:extLst>
            </p:cNvPr>
            <p:cNvSpPr/>
            <p:nvPr/>
          </p:nvSpPr>
          <p:spPr>
            <a:xfrm>
              <a:off x="10966417" y="3425766"/>
              <a:ext cx="15868" cy="350485"/>
            </a:xfrm>
            <a:custGeom>
              <a:avLst/>
              <a:gdLst>
                <a:gd name="connsiteX0" fmla="*/ 2999 w 15868"/>
                <a:gd name="connsiteY0" fmla="*/ 350485 h 350485"/>
                <a:gd name="connsiteX1" fmla="*/ 15868 w 15868"/>
                <a:gd name="connsiteY1" fmla="*/ 3249 h 350485"/>
                <a:gd name="connsiteX2" fmla="*/ 12994 w 15868"/>
                <a:gd name="connsiteY2" fmla="*/ 0 h 350485"/>
                <a:gd name="connsiteX3" fmla="*/ 12744 w 15868"/>
                <a:gd name="connsiteY3" fmla="*/ 125 h 350485"/>
                <a:gd name="connsiteX4" fmla="*/ 0 w 15868"/>
                <a:gd name="connsiteY4" fmla="*/ 346987 h 350485"/>
                <a:gd name="connsiteX5" fmla="*/ 2999 w 15868"/>
                <a:gd name="connsiteY5" fmla="*/ 350485 h 35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68" h="350485">
                  <a:moveTo>
                    <a:pt x="2999" y="350485"/>
                  </a:moveTo>
                  <a:lnTo>
                    <a:pt x="15868" y="3249"/>
                  </a:lnTo>
                  <a:lnTo>
                    <a:pt x="12994" y="0"/>
                  </a:lnTo>
                  <a:lnTo>
                    <a:pt x="12744" y="125"/>
                  </a:lnTo>
                  <a:lnTo>
                    <a:pt x="0" y="346987"/>
                  </a:lnTo>
                  <a:lnTo>
                    <a:pt x="2999" y="350485"/>
                  </a:lnTo>
                  <a:close/>
                </a:path>
              </a:pathLst>
            </a:custGeom>
            <a:solidFill>
              <a:srgbClr val="000000"/>
            </a:solidFill>
            <a:ln w="12483" cap="flat">
              <a:noFill/>
              <a:prstDash val="solid"/>
              <a:miter/>
            </a:ln>
          </p:spPr>
          <p:txBody>
            <a:bodyPr rtlCol="0" anchor="ctr"/>
            <a:lstStyle/>
            <a:p>
              <a:endParaRPr lang="en-US"/>
            </a:p>
          </p:txBody>
        </p:sp>
        <p:sp>
          <p:nvSpPr>
            <p:cNvPr id="1412" name="Freeform: Shape 1411">
              <a:extLst>
                <a:ext uri="{FF2B5EF4-FFF2-40B4-BE49-F238E27FC236}">
                  <a16:creationId xmlns:a16="http://schemas.microsoft.com/office/drawing/2014/main" id="{43582E39-DA2F-4F5A-90C8-B448FE5C21A4}"/>
                </a:ext>
              </a:extLst>
            </p:cNvPr>
            <p:cNvSpPr/>
            <p:nvPr/>
          </p:nvSpPr>
          <p:spPr>
            <a:xfrm>
              <a:off x="11209812" y="3688911"/>
              <a:ext cx="3756" cy="14868"/>
            </a:xfrm>
            <a:custGeom>
              <a:avLst/>
              <a:gdLst>
                <a:gd name="connsiteX0" fmla="*/ 2249 w 3756"/>
                <a:gd name="connsiteY0" fmla="*/ 12870 h 14868"/>
                <a:gd name="connsiteX1" fmla="*/ 3748 w 3756"/>
                <a:gd name="connsiteY1" fmla="*/ 14869 h 14868"/>
                <a:gd name="connsiteX2" fmla="*/ 3748 w 3756"/>
                <a:gd name="connsiteY2" fmla="*/ 13994 h 14868"/>
                <a:gd name="connsiteX3" fmla="*/ 3748 w 3756"/>
                <a:gd name="connsiteY3" fmla="*/ 3499 h 14868"/>
                <a:gd name="connsiteX4" fmla="*/ 625 w 3756"/>
                <a:gd name="connsiteY4" fmla="*/ 0 h 14868"/>
                <a:gd name="connsiteX5" fmla="*/ 0 w 3756"/>
                <a:gd name="connsiteY5" fmla="*/ 14744 h 14868"/>
                <a:gd name="connsiteX6" fmla="*/ 2249 w 3756"/>
                <a:gd name="connsiteY6" fmla="*/ 12870 h 1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6" h="14868">
                  <a:moveTo>
                    <a:pt x="2249" y="12870"/>
                  </a:moveTo>
                  <a:cubicBezTo>
                    <a:pt x="3186" y="13057"/>
                    <a:pt x="3836" y="13919"/>
                    <a:pt x="3748" y="14869"/>
                  </a:cubicBezTo>
                  <a:lnTo>
                    <a:pt x="3748" y="13994"/>
                  </a:lnTo>
                  <a:lnTo>
                    <a:pt x="3748" y="3499"/>
                  </a:lnTo>
                  <a:lnTo>
                    <a:pt x="625" y="0"/>
                  </a:lnTo>
                  <a:lnTo>
                    <a:pt x="0" y="14744"/>
                  </a:lnTo>
                  <a:cubicBezTo>
                    <a:pt x="625" y="13620"/>
                    <a:pt x="1374" y="12745"/>
                    <a:pt x="2249" y="12870"/>
                  </a:cubicBezTo>
                  <a:close/>
                </a:path>
              </a:pathLst>
            </a:custGeom>
            <a:solidFill>
              <a:srgbClr val="000000"/>
            </a:solidFill>
            <a:ln w="12483" cap="flat">
              <a:noFill/>
              <a:prstDash val="solid"/>
              <a:miter/>
            </a:ln>
          </p:spPr>
          <p:txBody>
            <a:bodyPr rtlCol="0" anchor="ctr"/>
            <a:lstStyle/>
            <a:p>
              <a:endParaRPr lang="en-US"/>
            </a:p>
          </p:txBody>
        </p:sp>
        <p:sp>
          <p:nvSpPr>
            <p:cNvPr id="1413" name="Freeform: Shape 1412">
              <a:extLst>
                <a:ext uri="{FF2B5EF4-FFF2-40B4-BE49-F238E27FC236}">
                  <a16:creationId xmlns:a16="http://schemas.microsoft.com/office/drawing/2014/main" id="{FA3E4313-7E6E-47C4-A4C7-128E521EA32E}"/>
                </a:ext>
              </a:extLst>
            </p:cNvPr>
            <p:cNvSpPr/>
            <p:nvPr/>
          </p:nvSpPr>
          <p:spPr>
            <a:xfrm>
              <a:off x="9285143" y="3182613"/>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Lst>
              <a:ahLst/>
              <a:cxnLst>
                <a:cxn ang="0">
                  <a:pos x="connsiteX0" y="connsiteY0"/>
                </a:cxn>
                <a:cxn ang="0">
                  <a:pos x="connsiteX1" y="connsiteY1"/>
                </a:cxn>
                <a:cxn ang="0">
                  <a:pos x="connsiteX2" y="connsiteY2"/>
                </a:cxn>
                <a:cxn ang="0">
                  <a:pos x="connsiteX3" y="connsiteY3"/>
                </a:cxn>
              </a:cxnLst>
              <a:rect l="l" t="t" r="r" b="b"/>
              <a:pathLst>
                <a:path w="12494" h="12495">
                  <a:moveTo>
                    <a:pt x="0" y="0"/>
                  </a:moveTo>
                  <a:lnTo>
                    <a:pt x="0" y="0"/>
                  </a:lnTo>
                  <a:cubicBezTo>
                    <a:pt x="0" y="0"/>
                    <a:pt x="0" y="0"/>
                    <a:pt x="0" y="0"/>
                  </a:cubicBezTo>
                  <a:lnTo>
                    <a:pt x="0" y="0"/>
                  </a:lnTo>
                  <a:close/>
                </a:path>
              </a:pathLst>
            </a:custGeom>
            <a:solidFill>
              <a:srgbClr val="000000"/>
            </a:solidFill>
            <a:ln w="12483" cap="flat">
              <a:noFill/>
              <a:prstDash val="solid"/>
              <a:miter/>
            </a:ln>
          </p:spPr>
          <p:txBody>
            <a:bodyPr rtlCol="0" anchor="ctr"/>
            <a:lstStyle/>
            <a:p>
              <a:endParaRPr lang="en-US"/>
            </a:p>
          </p:txBody>
        </p:sp>
        <p:sp>
          <p:nvSpPr>
            <p:cNvPr id="1414" name="Freeform: Shape 1413">
              <a:extLst>
                <a:ext uri="{FF2B5EF4-FFF2-40B4-BE49-F238E27FC236}">
                  <a16:creationId xmlns:a16="http://schemas.microsoft.com/office/drawing/2014/main" id="{83C3224F-53D1-484E-A650-FB105865088C}"/>
                </a:ext>
              </a:extLst>
            </p:cNvPr>
            <p:cNvSpPr/>
            <p:nvPr/>
          </p:nvSpPr>
          <p:spPr>
            <a:xfrm>
              <a:off x="9301761" y="3143878"/>
              <a:ext cx="50603" cy="38609"/>
            </a:xfrm>
            <a:custGeom>
              <a:avLst/>
              <a:gdLst>
                <a:gd name="connsiteX0" fmla="*/ 50603 w 50603"/>
                <a:gd name="connsiteY0" fmla="*/ 16743 h 38609"/>
                <a:gd name="connsiteX1" fmla="*/ 46355 w 50603"/>
                <a:gd name="connsiteY1" fmla="*/ 11495 h 38609"/>
                <a:gd name="connsiteX2" fmla="*/ 37234 w 50603"/>
                <a:gd name="connsiteY2" fmla="*/ 0 h 38609"/>
                <a:gd name="connsiteX3" fmla="*/ 0 w 50603"/>
                <a:gd name="connsiteY3" fmla="*/ 18743 h 38609"/>
                <a:gd name="connsiteX4" fmla="*/ 500 w 50603"/>
                <a:gd name="connsiteY4" fmla="*/ 30113 h 38609"/>
                <a:gd name="connsiteX5" fmla="*/ 7372 w 50603"/>
                <a:gd name="connsiteY5" fmla="*/ 38610 h 38609"/>
                <a:gd name="connsiteX6" fmla="*/ 50603 w 50603"/>
                <a:gd name="connsiteY6" fmla="*/ 16743 h 3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03" h="38609">
                  <a:moveTo>
                    <a:pt x="50603" y="16743"/>
                  </a:moveTo>
                  <a:lnTo>
                    <a:pt x="46355" y="11495"/>
                  </a:lnTo>
                  <a:lnTo>
                    <a:pt x="37234" y="0"/>
                  </a:lnTo>
                  <a:lnTo>
                    <a:pt x="0" y="18743"/>
                  </a:lnTo>
                  <a:lnTo>
                    <a:pt x="500" y="30113"/>
                  </a:lnTo>
                  <a:lnTo>
                    <a:pt x="7372" y="38610"/>
                  </a:lnTo>
                  <a:lnTo>
                    <a:pt x="50603" y="16743"/>
                  </a:lnTo>
                  <a:close/>
                </a:path>
              </a:pathLst>
            </a:custGeom>
            <a:solidFill>
              <a:srgbClr val="000000"/>
            </a:solidFill>
            <a:ln w="12483" cap="flat">
              <a:noFill/>
              <a:prstDash val="solid"/>
              <a:miter/>
            </a:ln>
          </p:spPr>
          <p:txBody>
            <a:bodyPr rtlCol="0" anchor="ctr"/>
            <a:lstStyle/>
            <a:p>
              <a:endParaRPr lang="en-US"/>
            </a:p>
          </p:txBody>
        </p:sp>
        <p:sp>
          <p:nvSpPr>
            <p:cNvPr id="1415" name="Freeform: Shape 1414">
              <a:extLst>
                <a:ext uri="{FF2B5EF4-FFF2-40B4-BE49-F238E27FC236}">
                  <a16:creationId xmlns:a16="http://schemas.microsoft.com/office/drawing/2014/main" id="{4C88E2B0-830D-4818-8A30-24E946DFD099}"/>
                </a:ext>
              </a:extLst>
            </p:cNvPr>
            <p:cNvSpPr/>
            <p:nvPr/>
          </p:nvSpPr>
          <p:spPr>
            <a:xfrm>
              <a:off x="7981863" y="4559564"/>
              <a:ext cx="18901" cy="22381"/>
            </a:xfrm>
            <a:custGeom>
              <a:avLst/>
              <a:gdLst>
                <a:gd name="connsiteX0" fmla="*/ 18836 w 18901"/>
                <a:gd name="connsiteY0" fmla="*/ 11245 h 22381"/>
                <a:gd name="connsiteX1" fmla="*/ 18836 w 18901"/>
                <a:gd name="connsiteY1" fmla="*/ 9621 h 22381"/>
                <a:gd name="connsiteX2" fmla="*/ 18836 w 18901"/>
                <a:gd name="connsiteY2" fmla="*/ 5873 h 22381"/>
                <a:gd name="connsiteX3" fmla="*/ 12588 w 18901"/>
                <a:gd name="connsiteY3" fmla="*/ 9121 h 22381"/>
                <a:gd name="connsiteX4" fmla="*/ 1006 w 18901"/>
                <a:gd name="connsiteY4" fmla="*/ 5910 h 22381"/>
                <a:gd name="connsiteX5" fmla="*/ 94 w 18901"/>
                <a:gd name="connsiteY5" fmla="*/ 3499 h 22381"/>
                <a:gd name="connsiteX6" fmla="*/ 94 w 18901"/>
                <a:gd name="connsiteY6" fmla="*/ 0 h 22381"/>
                <a:gd name="connsiteX7" fmla="*/ 94 w 18901"/>
                <a:gd name="connsiteY7" fmla="*/ 625 h 22381"/>
                <a:gd name="connsiteX8" fmla="*/ 1468 w 18901"/>
                <a:gd name="connsiteY8" fmla="*/ 13120 h 22381"/>
                <a:gd name="connsiteX9" fmla="*/ 11189 w 18901"/>
                <a:gd name="connsiteY9" fmla="*/ 22378 h 22381"/>
                <a:gd name="connsiteX10" fmla="*/ 11589 w 18901"/>
                <a:gd name="connsiteY10" fmla="*/ 22366 h 22381"/>
                <a:gd name="connsiteX11" fmla="*/ 15962 w 18901"/>
                <a:gd name="connsiteY11" fmla="*/ 19867 h 22381"/>
                <a:gd name="connsiteX12" fmla="*/ 18211 w 18901"/>
                <a:gd name="connsiteY12" fmla="*/ 16368 h 22381"/>
                <a:gd name="connsiteX13" fmla="*/ 18836 w 18901"/>
                <a:gd name="connsiteY13" fmla="*/ 11245 h 2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01" h="22381">
                  <a:moveTo>
                    <a:pt x="18836" y="11245"/>
                  </a:moveTo>
                  <a:cubicBezTo>
                    <a:pt x="18898" y="10708"/>
                    <a:pt x="18898" y="10158"/>
                    <a:pt x="18836" y="9621"/>
                  </a:cubicBezTo>
                  <a:lnTo>
                    <a:pt x="18836" y="5873"/>
                  </a:lnTo>
                  <a:lnTo>
                    <a:pt x="12588" y="9121"/>
                  </a:lnTo>
                  <a:cubicBezTo>
                    <a:pt x="8503" y="11433"/>
                    <a:pt x="3317" y="9996"/>
                    <a:pt x="1006" y="5910"/>
                  </a:cubicBezTo>
                  <a:cubicBezTo>
                    <a:pt x="581" y="5160"/>
                    <a:pt x="269" y="4348"/>
                    <a:pt x="94" y="3499"/>
                  </a:cubicBezTo>
                  <a:cubicBezTo>
                    <a:pt x="-31" y="2336"/>
                    <a:pt x="-31" y="1162"/>
                    <a:pt x="94" y="0"/>
                  </a:cubicBezTo>
                  <a:cubicBezTo>
                    <a:pt x="94" y="0"/>
                    <a:pt x="94" y="0"/>
                    <a:pt x="94" y="625"/>
                  </a:cubicBezTo>
                  <a:lnTo>
                    <a:pt x="1468" y="13120"/>
                  </a:lnTo>
                  <a:cubicBezTo>
                    <a:pt x="1593" y="18368"/>
                    <a:pt x="5954" y="22516"/>
                    <a:pt x="11189" y="22378"/>
                  </a:cubicBezTo>
                  <a:cubicBezTo>
                    <a:pt x="11326" y="22378"/>
                    <a:pt x="11451" y="22378"/>
                    <a:pt x="11589" y="22366"/>
                  </a:cubicBezTo>
                  <a:cubicBezTo>
                    <a:pt x="13288" y="22041"/>
                    <a:pt x="14825" y="21167"/>
                    <a:pt x="15962" y="19867"/>
                  </a:cubicBezTo>
                  <a:cubicBezTo>
                    <a:pt x="16961" y="18880"/>
                    <a:pt x="17736" y="17693"/>
                    <a:pt x="18211" y="16368"/>
                  </a:cubicBezTo>
                  <a:cubicBezTo>
                    <a:pt x="18811" y="14731"/>
                    <a:pt x="19023" y="12982"/>
                    <a:pt x="18836" y="11245"/>
                  </a:cubicBezTo>
                  <a:close/>
                </a:path>
              </a:pathLst>
            </a:custGeom>
            <a:solidFill>
              <a:srgbClr val="000000"/>
            </a:solidFill>
            <a:ln w="12483" cap="flat">
              <a:noFill/>
              <a:prstDash val="solid"/>
              <a:miter/>
            </a:ln>
          </p:spPr>
          <p:txBody>
            <a:bodyPr rtlCol="0" anchor="ctr"/>
            <a:lstStyle/>
            <a:p>
              <a:endParaRPr lang="en-US"/>
            </a:p>
          </p:txBody>
        </p:sp>
        <p:sp>
          <p:nvSpPr>
            <p:cNvPr id="1416" name="Freeform: Shape 1415">
              <a:extLst>
                <a:ext uri="{FF2B5EF4-FFF2-40B4-BE49-F238E27FC236}">
                  <a16:creationId xmlns:a16="http://schemas.microsoft.com/office/drawing/2014/main" id="{00BB28BC-9541-4553-BE3D-7ABC28AD1754}"/>
                </a:ext>
              </a:extLst>
            </p:cNvPr>
            <p:cNvSpPr/>
            <p:nvPr/>
          </p:nvSpPr>
          <p:spPr>
            <a:xfrm>
              <a:off x="8313757" y="5037373"/>
              <a:ext cx="4210" cy="13744"/>
            </a:xfrm>
            <a:custGeom>
              <a:avLst/>
              <a:gdLst>
                <a:gd name="connsiteX0" fmla="*/ 2555 w 4210"/>
                <a:gd name="connsiteY0" fmla="*/ 1624 h 13744"/>
                <a:gd name="connsiteX1" fmla="*/ 931 w 4210"/>
                <a:gd name="connsiteY1" fmla="*/ 0 h 13744"/>
                <a:gd name="connsiteX2" fmla="*/ 806 w 4210"/>
                <a:gd name="connsiteY2" fmla="*/ 0 h 13744"/>
                <a:gd name="connsiteX3" fmla="*/ 56 w 4210"/>
                <a:gd name="connsiteY3" fmla="*/ 0 h 13744"/>
                <a:gd name="connsiteX4" fmla="*/ 56 w 4210"/>
                <a:gd name="connsiteY4" fmla="*/ 0 h 13744"/>
                <a:gd name="connsiteX5" fmla="*/ 56 w 4210"/>
                <a:gd name="connsiteY5" fmla="*/ 625 h 13744"/>
                <a:gd name="connsiteX6" fmla="*/ 56 w 4210"/>
                <a:gd name="connsiteY6" fmla="*/ 625 h 13744"/>
                <a:gd name="connsiteX7" fmla="*/ 56 w 4210"/>
                <a:gd name="connsiteY7" fmla="*/ 625 h 13744"/>
                <a:gd name="connsiteX8" fmla="*/ 931 w 4210"/>
                <a:gd name="connsiteY8" fmla="*/ 8996 h 13744"/>
                <a:gd name="connsiteX9" fmla="*/ 931 w 4210"/>
                <a:gd name="connsiteY9" fmla="*/ 11995 h 13744"/>
                <a:gd name="connsiteX10" fmla="*/ 2680 w 4210"/>
                <a:gd name="connsiteY10" fmla="*/ 13745 h 13744"/>
                <a:gd name="connsiteX11" fmla="*/ 2805 w 4210"/>
                <a:gd name="connsiteY11" fmla="*/ 13745 h 13744"/>
                <a:gd name="connsiteX12" fmla="*/ 4179 w 4210"/>
                <a:gd name="connsiteY12" fmla="*/ 11496 h 13744"/>
                <a:gd name="connsiteX13" fmla="*/ 4179 w 4210"/>
                <a:gd name="connsiteY13" fmla="*/ 11496 h 13744"/>
                <a:gd name="connsiteX14" fmla="*/ 3305 w 4210"/>
                <a:gd name="connsiteY14" fmla="*/ 1499 h 1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10" h="13744">
                  <a:moveTo>
                    <a:pt x="2555" y="1624"/>
                  </a:moveTo>
                  <a:cubicBezTo>
                    <a:pt x="2555" y="725"/>
                    <a:pt x="1830" y="0"/>
                    <a:pt x="931" y="0"/>
                  </a:cubicBezTo>
                  <a:cubicBezTo>
                    <a:pt x="893" y="0"/>
                    <a:pt x="843" y="0"/>
                    <a:pt x="806" y="0"/>
                  </a:cubicBezTo>
                  <a:cubicBezTo>
                    <a:pt x="806" y="0"/>
                    <a:pt x="806" y="0"/>
                    <a:pt x="56" y="0"/>
                  </a:cubicBezTo>
                  <a:lnTo>
                    <a:pt x="56" y="0"/>
                  </a:lnTo>
                  <a:cubicBezTo>
                    <a:pt x="-19" y="200"/>
                    <a:pt x="-19" y="425"/>
                    <a:pt x="56" y="625"/>
                  </a:cubicBezTo>
                  <a:cubicBezTo>
                    <a:pt x="56" y="625"/>
                    <a:pt x="56" y="625"/>
                    <a:pt x="56" y="625"/>
                  </a:cubicBezTo>
                  <a:lnTo>
                    <a:pt x="56" y="625"/>
                  </a:lnTo>
                  <a:lnTo>
                    <a:pt x="931" y="8996"/>
                  </a:lnTo>
                  <a:lnTo>
                    <a:pt x="931" y="11995"/>
                  </a:lnTo>
                  <a:cubicBezTo>
                    <a:pt x="931" y="12957"/>
                    <a:pt x="1706" y="13745"/>
                    <a:pt x="2680" y="13745"/>
                  </a:cubicBezTo>
                  <a:cubicBezTo>
                    <a:pt x="2718" y="13745"/>
                    <a:pt x="2768" y="13745"/>
                    <a:pt x="2805" y="13745"/>
                  </a:cubicBezTo>
                  <a:cubicBezTo>
                    <a:pt x="3767" y="13444"/>
                    <a:pt x="4354" y="12482"/>
                    <a:pt x="4179" y="11496"/>
                  </a:cubicBezTo>
                  <a:lnTo>
                    <a:pt x="4179" y="11496"/>
                  </a:lnTo>
                  <a:lnTo>
                    <a:pt x="3305" y="1499"/>
                  </a:lnTo>
                  <a:close/>
                </a:path>
              </a:pathLst>
            </a:custGeom>
            <a:solidFill>
              <a:srgbClr val="000000"/>
            </a:solidFill>
            <a:ln w="12483" cap="flat">
              <a:noFill/>
              <a:prstDash val="solid"/>
              <a:miter/>
            </a:ln>
          </p:spPr>
          <p:txBody>
            <a:bodyPr rtlCol="0" anchor="ctr"/>
            <a:lstStyle/>
            <a:p>
              <a:endParaRPr lang="en-US"/>
            </a:p>
          </p:txBody>
        </p:sp>
        <p:sp>
          <p:nvSpPr>
            <p:cNvPr id="1417" name="Freeform: Shape 1416">
              <a:extLst>
                <a:ext uri="{FF2B5EF4-FFF2-40B4-BE49-F238E27FC236}">
                  <a16:creationId xmlns:a16="http://schemas.microsoft.com/office/drawing/2014/main" id="{07601680-A236-488A-BAA6-60762019D6E9}"/>
                </a:ext>
              </a:extLst>
            </p:cNvPr>
            <p:cNvSpPr/>
            <p:nvPr/>
          </p:nvSpPr>
          <p:spPr>
            <a:xfrm>
              <a:off x="7474301" y="4973024"/>
              <a:ext cx="636350" cy="1000975"/>
            </a:xfrm>
            <a:custGeom>
              <a:avLst/>
              <a:gdLst>
                <a:gd name="connsiteX0" fmla="*/ 636350 w 636350"/>
                <a:gd name="connsiteY0" fmla="*/ 999601 h 1000975"/>
                <a:gd name="connsiteX1" fmla="*/ 1624 w 636350"/>
                <a:gd name="connsiteY1" fmla="*/ 0 h 1000975"/>
                <a:gd name="connsiteX2" fmla="*/ 875 w 636350"/>
                <a:gd name="connsiteY2" fmla="*/ 750 h 1000975"/>
                <a:gd name="connsiteX3" fmla="*/ 875 w 636350"/>
                <a:gd name="connsiteY3" fmla="*/ 1374 h 1000975"/>
                <a:gd name="connsiteX4" fmla="*/ 0 w 636350"/>
                <a:gd name="connsiteY4" fmla="*/ 1374 h 1000975"/>
                <a:gd name="connsiteX5" fmla="*/ 0 w 636350"/>
                <a:gd name="connsiteY5" fmla="*/ 1374 h 1000975"/>
                <a:gd name="connsiteX6" fmla="*/ 634476 w 636350"/>
                <a:gd name="connsiteY6" fmla="*/ 1000976 h 100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350" h="1000975">
                  <a:moveTo>
                    <a:pt x="636350" y="999601"/>
                  </a:moveTo>
                  <a:lnTo>
                    <a:pt x="1624" y="0"/>
                  </a:lnTo>
                  <a:lnTo>
                    <a:pt x="875" y="750"/>
                  </a:lnTo>
                  <a:cubicBezTo>
                    <a:pt x="875" y="750"/>
                    <a:pt x="875" y="750"/>
                    <a:pt x="875" y="1374"/>
                  </a:cubicBezTo>
                  <a:lnTo>
                    <a:pt x="0" y="1374"/>
                  </a:lnTo>
                  <a:lnTo>
                    <a:pt x="0" y="1374"/>
                  </a:lnTo>
                  <a:lnTo>
                    <a:pt x="634476" y="1000976"/>
                  </a:lnTo>
                  <a:close/>
                </a:path>
              </a:pathLst>
            </a:custGeom>
            <a:solidFill>
              <a:srgbClr val="000000"/>
            </a:solidFill>
            <a:ln w="12483" cap="flat">
              <a:noFill/>
              <a:prstDash val="solid"/>
              <a:miter/>
            </a:ln>
          </p:spPr>
          <p:txBody>
            <a:bodyPr rtlCol="0" anchor="ctr"/>
            <a:lstStyle/>
            <a:p>
              <a:endParaRPr lang="en-US"/>
            </a:p>
          </p:txBody>
        </p:sp>
        <p:sp>
          <p:nvSpPr>
            <p:cNvPr id="1418" name="Freeform: Shape 1417">
              <a:extLst>
                <a:ext uri="{FF2B5EF4-FFF2-40B4-BE49-F238E27FC236}">
                  <a16:creationId xmlns:a16="http://schemas.microsoft.com/office/drawing/2014/main" id="{5D9C797A-05B2-4C40-8073-42C906E86C12}"/>
                </a:ext>
              </a:extLst>
            </p:cNvPr>
            <p:cNvSpPr/>
            <p:nvPr/>
          </p:nvSpPr>
          <p:spPr>
            <a:xfrm>
              <a:off x="7728191" y="4827707"/>
              <a:ext cx="100706" cy="153313"/>
            </a:xfrm>
            <a:custGeom>
              <a:avLst/>
              <a:gdLst>
                <a:gd name="connsiteX0" fmla="*/ 1124 w 100706"/>
                <a:gd name="connsiteY0" fmla="*/ 2749 h 153313"/>
                <a:gd name="connsiteX1" fmla="*/ 0 w 100706"/>
                <a:gd name="connsiteY1" fmla="*/ 3374 h 153313"/>
                <a:gd name="connsiteX2" fmla="*/ 97708 w 100706"/>
                <a:gd name="connsiteY2" fmla="*/ 153314 h 153313"/>
                <a:gd name="connsiteX3" fmla="*/ 100706 w 100706"/>
                <a:gd name="connsiteY3" fmla="*/ 151690 h 153313"/>
                <a:gd name="connsiteX4" fmla="*/ 1749 w 100706"/>
                <a:gd name="connsiteY4" fmla="*/ 0 h 153313"/>
                <a:gd name="connsiteX5" fmla="*/ 1749 w 100706"/>
                <a:gd name="connsiteY5" fmla="*/ 0 h 153313"/>
                <a:gd name="connsiteX6" fmla="*/ 2374 w 100706"/>
                <a:gd name="connsiteY6" fmla="*/ 625 h 153313"/>
                <a:gd name="connsiteX7" fmla="*/ 1124 w 100706"/>
                <a:gd name="connsiteY7" fmla="*/ 2749 h 15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06" h="153313">
                  <a:moveTo>
                    <a:pt x="1124" y="2749"/>
                  </a:moveTo>
                  <a:lnTo>
                    <a:pt x="0" y="3374"/>
                  </a:lnTo>
                  <a:lnTo>
                    <a:pt x="97708" y="153314"/>
                  </a:lnTo>
                  <a:lnTo>
                    <a:pt x="100706" y="151690"/>
                  </a:lnTo>
                  <a:lnTo>
                    <a:pt x="1749" y="0"/>
                  </a:lnTo>
                  <a:cubicBezTo>
                    <a:pt x="1749" y="0"/>
                    <a:pt x="1749" y="0"/>
                    <a:pt x="1749" y="0"/>
                  </a:cubicBezTo>
                  <a:cubicBezTo>
                    <a:pt x="2049" y="100"/>
                    <a:pt x="2274" y="325"/>
                    <a:pt x="2374" y="625"/>
                  </a:cubicBezTo>
                  <a:cubicBezTo>
                    <a:pt x="2449" y="1525"/>
                    <a:pt x="1949" y="2374"/>
                    <a:pt x="1124" y="2749"/>
                  </a:cubicBezTo>
                  <a:close/>
                </a:path>
              </a:pathLst>
            </a:custGeom>
            <a:solidFill>
              <a:srgbClr val="000000"/>
            </a:solidFill>
            <a:ln w="12483" cap="flat">
              <a:noFill/>
              <a:prstDash val="solid"/>
              <a:miter/>
            </a:ln>
          </p:spPr>
          <p:txBody>
            <a:bodyPr rtlCol="0" anchor="ctr"/>
            <a:lstStyle/>
            <a:p>
              <a:endParaRPr lang="en-US"/>
            </a:p>
          </p:txBody>
        </p:sp>
        <p:sp>
          <p:nvSpPr>
            <p:cNvPr id="1419" name="Freeform: Shape 1418">
              <a:extLst>
                <a:ext uri="{FF2B5EF4-FFF2-40B4-BE49-F238E27FC236}">
                  <a16:creationId xmlns:a16="http://schemas.microsoft.com/office/drawing/2014/main" id="{5E008EFF-D207-424B-AA79-DB1072C39C82}"/>
                </a:ext>
              </a:extLst>
            </p:cNvPr>
            <p:cNvSpPr/>
            <p:nvPr/>
          </p:nvSpPr>
          <p:spPr>
            <a:xfrm>
              <a:off x="7704326" y="4826707"/>
              <a:ext cx="25982" cy="15868"/>
            </a:xfrm>
            <a:custGeom>
              <a:avLst/>
              <a:gdLst>
                <a:gd name="connsiteX0" fmla="*/ 23865 w 25982"/>
                <a:gd name="connsiteY0" fmla="*/ 3748 h 15868"/>
                <a:gd name="connsiteX1" fmla="*/ 24989 w 25982"/>
                <a:gd name="connsiteY1" fmla="*/ 3124 h 15868"/>
                <a:gd name="connsiteX2" fmla="*/ 25864 w 25982"/>
                <a:gd name="connsiteY2" fmla="*/ 625 h 15868"/>
                <a:gd name="connsiteX3" fmla="*/ 25239 w 25982"/>
                <a:gd name="connsiteY3" fmla="*/ 0 h 15868"/>
                <a:gd name="connsiteX4" fmla="*/ 25239 w 25982"/>
                <a:gd name="connsiteY4" fmla="*/ 0 h 15868"/>
                <a:gd name="connsiteX5" fmla="*/ 24240 w 25982"/>
                <a:gd name="connsiteY5" fmla="*/ 0 h 15868"/>
                <a:gd name="connsiteX6" fmla="*/ 22365 w 25982"/>
                <a:gd name="connsiteY6" fmla="*/ 999 h 15868"/>
                <a:gd name="connsiteX7" fmla="*/ 0 w 25982"/>
                <a:gd name="connsiteY7" fmla="*/ 12745 h 15868"/>
                <a:gd name="connsiteX8" fmla="*/ 2124 w 25982"/>
                <a:gd name="connsiteY8" fmla="*/ 15869 h 1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2" h="15868">
                  <a:moveTo>
                    <a:pt x="23865" y="3748"/>
                  </a:moveTo>
                  <a:lnTo>
                    <a:pt x="24989" y="3124"/>
                  </a:lnTo>
                  <a:cubicBezTo>
                    <a:pt x="25826" y="2599"/>
                    <a:pt x="26189" y="1562"/>
                    <a:pt x="25864" y="625"/>
                  </a:cubicBezTo>
                  <a:cubicBezTo>
                    <a:pt x="25764" y="325"/>
                    <a:pt x="25539" y="100"/>
                    <a:pt x="25239" y="0"/>
                  </a:cubicBezTo>
                  <a:cubicBezTo>
                    <a:pt x="25239" y="0"/>
                    <a:pt x="25239" y="0"/>
                    <a:pt x="25239" y="0"/>
                  </a:cubicBezTo>
                  <a:lnTo>
                    <a:pt x="24240" y="0"/>
                  </a:lnTo>
                  <a:lnTo>
                    <a:pt x="22365" y="999"/>
                  </a:lnTo>
                  <a:lnTo>
                    <a:pt x="0" y="12745"/>
                  </a:lnTo>
                  <a:lnTo>
                    <a:pt x="2124" y="15869"/>
                  </a:lnTo>
                  <a:close/>
                </a:path>
              </a:pathLst>
            </a:custGeom>
            <a:solidFill>
              <a:srgbClr val="000000"/>
            </a:solidFill>
            <a:ln w="12483" cap="flat">
              <a:noFill/>
              <a:prstDash val="solid"/>
              <a:miter/>
            </a:ln>
          </p:spPr>
          <p:txBody>
            <a:bodyPr rtlCol="0" anchor="ctr"/>
            <a:lstStyle/>
            <a:p>
              <a:endParaRPr lang="en-US"/>
            </a:p>
          </p:txBody>
        </p:sp>
        <p:sp>
          <p:nvSpPr>
            <p:cNvPr id="1420" name="Freeform: Shape 1419">
              <a:extLst>
                <a:ext uri="{FF2B5EF4-FFF2-40B4-BE49-F238E27FC236}">
                  <a16:creationId xmlns:a16="http://schemas.microsoft.com/office/drawing/2014/main" id="{A8403DD9-94C3-486D-9650-95C756617E86}"/>
                </a:ext>
              </a:extLst>
            </p:cNvPr>
            <p:cNvSpPr/>
            <p:nvPr/>
          </p:nvSpPr>
          <p:spPr>
            <a:xfrm>
              <a:off x="8598940" y="5670297"/>
              <a:ext cx="431610" cy="248724"/>
            </a:xfrm>
            <a:custGeom>
              <a:avLst/>
              <a:gdLst>
                <a:gd name="connsiteX0" fmla="*/ 431563 w 431610"/>
                <a:gd name="connsiteY0" fmla="*/ 2198 h 248724"/>
                <a:gd name="connsiteX1" fmla="*/ 431563 w 431610"/>
                <a:gd name="connsiteY1" fmla="*/ 1073 h 248724"/>
                <a:gd name="connsiteX2" fmla="*/ 429440 w 431610"/>
                <a:gd name="connsiteY2" fmla="*/ 199 h 248724"/>
                <a:gd name="connsiteX3" fmla="*/ 428440 w 431610"/>
                <a:gd name="connsiteY3" fmla="*/ 199 h 248724"/>
                <a:gd name="connsiteX4" fmla="*/ 0 w 431610"/>
                <a:gd name="connsiteY4" fmla="*/ 244726 h 248724"/>
                <a:gd name="connsiteX5" fmla="*/ 0 w 431610"/>
                <a:gd name="connsiteY5" fmla="*/ 248724 h 248724"/>
                <a:gd name="connsiteX6" fmla="*/ 430314 w 431610"/>
                <a:gd name="connsiteY6" fmla="*/ 3697 h 248724"/>
                <a:gd name="connsiteX7" fmla="*/ 430314 w 431610"/>
                <a:gd name="connsiteY7" fmla="*/ 3697 h 248724"/>
                <a:gd name="connsiteX8" fmla="*/ 430314 w 431610"/>
                <a:gd name="connsiteY8" fmla="*/ 3697 h 248724"/>
                <a:gd name="connsiteX9" fmla="*/ 431563 w 431610"/>
                <a:gd name="connsiteY9" fmla="*/ 2198 h 24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610" h="248724">
                  <a:moveTo>
                    <a:pt x="431563" y="2198"/>
                  </a:moveTo>
                  <a:cubicBezTo>
                    <a:pt x="431626" y="1823"/>
                    <a:pt x="431626" y="1448"/>
                    <a:pt x="431563" y="1073"/>
                  </a:cubicBezTo>
                  <a:cubicBezTo>
                    <a:pt x="431563" y="199"/>
                    <a:pt x="430189" y="-301"/>
                    <a:pt x="429440" y="199"/>
                  </a:cubicBezTo>
                  <a:lnTo>
                    <a:pt x="428440" y="199"/>
                  </a:lnTo>
                  <a:lnTo>
                    <a:pt x="0" y="244726"/>
                  </a:lnTo>
                  <a:lnTo>
                    <a:pt x="0" y="248724"/>
                  </a:lnTo>
                  <a:lnTo>
                    <a:pt x="430314" y="3697"/>
                  </a:lnTo>
                  <a:lnTo>
                    <a:pt x="430314" y="3697"/>
                  </a:lnTo>
                  <a:cubicBezTo>
                    <a:pt x="430314" y="3697"/>
                    <a:pt x="430314" y="3697"/>
                    <a:pt x="430314" y="3697"/>
                  </a:cubicBezTo>
                  <a:cubicBezTo>
                    <a:pt x="430314" y="3697"/>
                    <a:pt x="431563" y="2448"/>
                    <a:pt x="431563" y="2198"/>
                  </a:cubicBezTo>
                  <a:close/>
                </a:path>
              </a:pathLst>
            </a:custGeom>
            <a:solidFill>
              <a:srgbClr val="000000"/>
            </a:solidFill>
            <a:ln w="12483" cap="flat">
              <a:noFill/>
              <a:prstDash val="solid"/>
              <a:miter/>
            </a:ln>
          </p:spPr>
          <p:txBody>
            <a:bodyPr rtlCol="0" anchor="ctr"/>
            <a:lstStyle/>
            <a:p>
              <a:endParaRPr lang="en-US"/>
            </a:p>
          </p:txBody>
        </p:sp>
        <p:sp>
          <p:nvSpPr>
            <p:cNvPr id="1421" name="Freeform: Shape 1420">
              <a:extLst>
                <a:ext uri="{FF2B5EF4-FFF2-40B4-BE49-F238E27FC236}">
                  <a16:creationId xmlns:a16="http://schemas.microsoft.com/office/drawing/2014/main" id="{E9F04B17-B035-4E3A-8DDB-A8023323C7A8}"/>
                </a:ext>
              </a:extLst>
            </p:cNvPr>
            <p:cNvSpPr/>
            <p:nvPr/>
          </p:nvSpPr>
          <p:spPr>
            <a:xfrm>
              <a:off x="7697329" y="6418822"/>
              <a:ext cx="1249" cy="12495"/>
            </a:xfrm>
            <a:custGeom>
              <a:avLst/>
              <a:gdLst>
                <a:gd name="connsiteX0" fmla="*/ 0 w 1249"/>
                <a:gd name="connsiteY0" fmla="*/ 0 h 12495"/>
                <a:gd name="connsiteX1" fmla="*/ 1250 w 1249"/>
                <a:gd name="connsiteY1" fmla="*/ 0 h 12495"/>
                <a:gd name="connsiteX2" fmla="*/ 1250 w 1249"/>
                <a:gd name="connsiteY2" fmla="*/ 0 h 12495"/>
                <a:gd name="connsiteX3" fmla="*/ 1250 w 1249"/>
                <a:gd name="connsiteY3" fmla="*/ 0 h 12495"/>
                <a:gd name="connsiteX4" fmla="*/ 0 w 1249"/>
                <a:gd name="connsiteY4" fmla="*/ 0 h 1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 h="12495">
                  <a:moveTo>
                    <a:pt x="0" y="0"/>
                  </a:moveTo>
                  <a:lnTo>
                    <a:pt x="1250" y="0"/>
                  </a:lnTo>
                  <a:lnTo>
                    <a:pt x="1250" y="0"/>
                  </a:lnTo>
                  <a:lnTo>
                    <a:pt x="1250" y="0"/>
                  </a:lnTo>
                  <a:cubicBezTo>
                    <a:pt x="1250" y="0"/>
                    <a:pt x="250" y="0"/>
                    <a:pt x="0" y="0"/>
                  </a:cubicBezTo>
                  <a:close/>
                </a:path>
              </a:pathLst>
            </a:custGeom>
            <a:solidFill>
              <a:srgbClr val="000000"/>
            </a:solidFill>
            <a:ln w="12483" cap="flat">
              <a:noFill/>
              <a:prstDash val="solid"/>
              <a:miter/>
            </a:ln>
          </p:spPr>
          <p:txBody>
            <a:bodyPr rtlCol="0" anchor="ctr"/>
            <a:lstStyle/>
            <a:p>
              <a:endParaRPr lang="en-US"/>
            </a:p>
          </p:txBody>
        </p:sp>
        <p:sp>
          <p:nvSpPr>
            <p:cNvPr id="1422" name="Freeform: Shape 1421">
              <a:extLst>
                <a:ext uri="{FF2B5EF4-FFF2-40B4-BE49-F238E27FC236}">
                  <a16:creationId xmlns:a16="http://schemas.microsoft.com/office/drawing/2014/main" id="{39A97D4D-CC77-4F1B-AB81-2D22B34DAE6D}"/>
                </a:ext>
              </a:extLst>
            </p:cNvPr>
            <p:cNvSpPr/>
            <p:nvPr/>
          </p:nvSpPr>
          <p:spPr>
            <a:xfrm>
              <a:off x="7476425" y="6867768"/>
              <a:ext cx="5622" cy="4498"/>
            </a:xfrm>
            <a:custGeom>
              <a:avLst/>
              <a:gdLst>
                <a:gd name="connsiteX0" fmla="*/ 125 w 5622"/>
                <a:gd name="connsiteY0" fmla="*/ 1624 h 4498"/>
                <a:gd name="connsiteX1" fmla="*/ 0 w 5622"/>
                <a:gd name="connsiteY1" fmla="*/ 1624 h 4498"/>
                <a:gd name="connsiteX2" fmla="*/ 1624 w 5622"/>
                <a:gd name="connsiteY2" fmla="*/ 4498 h 4498"/>
                <a:gd name="connsiteX3" fmla="*/ 5623 w 5622"/>
                <a:gd name="connsiteY3" fmla="*/ 4498 h 4498"/>
                <a:gd name="connsiteX4" fmla="*/ 2874 w 5622"/>
                <a:gd name="connsiteY4" fmla="*/ 0 h 4498"/>
                <a:gd name="connsiteX5" fmla="*/ 125 w 5622"/>
                <a:gd name="connsiteY5" fmla="*/ 1624 h 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2" h="4498">
                  <a:moveTo>
                    <a:pt x="125" y="1624"/>
                  </a:moveTo>
                  <a:lnTo>
                    <a:pt x="0" y="1624"/>
                  </a:lnTo>
                  <a:lnTo>
                    <a:pt x="1624" y="4498"/>
                  </a:lnTo>
                  <a:lnTo>
                    <a:pt x="5623" y="4498"/>
                  </a:lnTo>
                  <a:lnTo>
                    <a:pt x="2874" y="0"/>
                  </a:lnTo>
                  <a:lnTo>
                    <a:pt x="125" y="1624"/>
                  </a:lnTo>
                  <a:close/>
                </a:path>
              </a:pathLst>
            </a:custGeom>
            <a:solidFill>
              <a:srgbClr val="000000"/>
            </a:solidFill>
            <a:ln w="12483" cap="flat">
              <a:noFill/>
              <a:prstDash val="solid"/>
              <a:miter/>
            </a:ln>
          </p:spPr>
          <p:txBody>
            <a:bodyPr rtlCol="0" anchor="ctr"/>
            <a:lstStyle/>
            <a:p>
              <a:endParaRPr lang="en-US"/>
            </a:p>
          </p:txBody>
        </p:sp>
        <p:sp>
          <p:nvSpPr>
            <p:cNvPr id="1423" name="Freeform: Shape 1422">
              <a:extLst>
                <a:ext uri="{FF2B5EF4-FFF2-40B4-BE49-F238E27FC236}">
                  <a16:creationId xmlns:a16="http://schemas.microsoft.com/office/drawing/2014/main" id="{6DDA49F9-E31E-421D-BFEF-30619FBB2A9D}"/>
                </a:ext>
              </a:extLst>
            </p:cNvPr>
            <p:cNvSpPr/>
            <p:nvPr/>
          </p:nvSpPr>
          <p:spPr>
            <a:xfrm>
              <a:off x="10292833" y="5047744"/>
              <a:ext cx="18616" cy="213789"/>
            </a:xfrm>
            <a:custGeom>
              <a:avLst/>
              <a:gdLst>
                <a:gd name="connsiteX0" fmla="*/ 17118 w 18616"/>
                <a:gd name="connsiteY0" fmla="*/ 207542 h 213789"/>
                <a:gd name="connsiteX1" fmla="*/ 17743 w 18616"/>
                <a:gd name="connsiteY1" fmla="*/ 213790 h 213789"/>
                <a:gd name="connsiteX2" fmla="*/ 17743 w 18616"/>
                <a:gd name="connsiteY2" fmla="*/ 212290 h 213789"/>
                <a:gd name="connsiteX3" fmla="*/ 18617 w 18616"/>
                <a:gd name="connsiteY3" fmla="*/ 16118 h 213789"/>
                <a:gd name="connsiteX4" fmla="*/ 14619 w 18616"/>
                <a:gd name="connsiteY4" fmla="*/ 10995 h 213789"/>
                <a:gd name="connsiteX5" fmla="*/ 13494 w 18616"/>
                <a:gd name="connsiteY5" fmla="*/ 11620 h 213789"/>
                <a:gd name="connsiteX6" fmla="*/ 2237 w 18616"/>
                <a:gd name="connsiteY6" fmla="*/ 7959 h 213789"/>
                <a:gd name="connsiteX7" fmla="*/ 1624 w 18616"/>
                <a:gd name="connsiteY7" fmla="*/ 6372 h 213789"/>
                <a:gd name="connsiteX8" fmla="*/ 1000 w 18616"/>
                <a:gd name="connsiteY8" fmla="*/ 0 h 213789"/>
                <a:gd name="connsiteX9" fmla="*/ 1000 w 18616"/>
                <a:gd name="connsiteY9" fmla="*/ 1749 h 213789"/>
                <a:gd name="connsiteX10" fmla="*/ 0 w 18616"/>
                <a:gd name="connsiteY10" fmla="*/ 205418 h 213789"/>
                <a:gd name="connsiteX11" fmla="*/ 5123 w 18616"/>
                <a:gd name="connsiteY11" fmla="*/ 202419 h 213789"/>
                <a:gd name="connsiteX12" fmla="*/ 16555 w 18616"/>
                <a:gd name="connsiteY12" fmla="*/ 206130 h 213789"/>
                <a:gd name="connsiteX13" fmla="*/ 17118 w 18616"/>
                <a:gd name="connsiteY13" fmla="*/ 207542 h 2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16" h="213789">
                  <a:moveTo>
                    <a:pt x="17118" y="207542"/>
                  </a:moveTo>
                  <a:cubicBezTo>
                    <a:pt x="17817" y="209541"/>
                    <a:pt x="18042" y="211690"/>
                    <a:pt x="17743" y="213790"/>
                  </a:cubicBezTo>
                  <a:cubicBezTo>
                    <a:pt x="17743" y="213790"/>
                    <a:pt x="17743" y="212790"/>
                    <a:pt x="17743" y="212290"/>
                  </a:cubicBezTo>
                  <a:lnTo>
                    <a:pt x="18617" y="16118"/>
                  </a:lnTo>
                  <a:lnTo>
                    <a:pt x="14619" y="10995"/>
                  </a:lnTo>
                  <a:lnTo>
                    <a:pt x="13494" y="11620"/>
                  </a:lnTo>
                  <a:cubicBezTo>
                    <a:pt x="9371" y="13719"/>
                    <a:pt x="4336" y="12082"/>
                    <a:pt x="2237" y="7959"/>
                  </a:cubicBezTo>
                  <a:cubicBezTo>
                    <a:pt x="1974" y="7447"/>
                    <a:pt x="1774" y="6922"/>
                    <a:pt x="1624" y="6372"/>
                  </a:cubicBezTo>
                  <a:cubicBezTo>
                    <a:pt x="862" y="4336"/>
                    <a:pt x="650" y="2137"/>
                    <a:pt x="1000" y="0"/>
                  </a:cubicBezTo>
                  <a:cubicBezTo>
                    <a:pt x="937" y="587"/>
                    <a:pt x="937" y="1162"/>
                    <a:pt x="1000" y="1749"/>
                  </a:cubicBezTo>
                  <a:lnTo>
                    <a:pt x="0" y="205418"/>
                  </a:lnTo>
                  <a:lnTo>
                    <a:pt x="5123" y="202419"/>
                  </a:lnTo>
                  <a:cubicBezTo>
                    <a:pt x="9308" y="200283"/>
                    <a:pt x="14419" y="201944"/>
                    <a:pt x="16555" y="206130"/>
                  </a:cubicBezTo>
                  <a:cubicBezTo>
                    <a:pt x="16780" y="206580"/>
                    <a:pt x="16968" y="207055"/>
                    <a:pt x="17118" y="207542"/>
                  </a:cubicBezTo>
                  <a:close/>
                </a:path>
              </a:pathLst>
            </a:custGeom>
            <a:solidFill>
              <a:srgbClr val="000000"/>
            </a:solidFill>
            <a:ln w="12483" cap="flat">
              <a:noFill/>
              <a:prstDash val="solid"/>
              <a:miter/>
            </a:ln>
          </p:spPr>
          <p:txBody>
            <a:bodyPr rtlCol="0" anchor="ctr"/>
            <a:lstStyle/>
            <a:p>
              <a:endParaRPr lang="en-US"/>
            </a:p>
          </p:txBody>
        </p:sp>
        <p:sp>
          <p:nvSpPr>
            <p:cNvPr id="1424" name="Freeform: Shape 1423">
              <a:extLst>
                <a:ext uri="{FF2B5EF4-FFF2-40B4-BE49-F238E27FC236}">
                  <a16:creationId xmlns:a16="http://schemas.microsoft.com/office/drawing/2014/main" id="{2F404516-1AAD-4E0A-8A36-725C8203DD04}"/>
                </a:ext>
              </a:extLst>
            </p:cNvPr>
            <p:cNvSpPr/>
            <p:nvPr/>
          </p:nvSpPr>
          <p:spPr>
            <a:xfrm>
              <a:off x="10310700" y="5056740"/>
              <a:ext cx="999" cy="1874"/>
            </a:xfrm>
            <a:custGeom>
              <a:avLst/>
              <a:gdLst>
                <a:gd name="connsiteX0" fmla="*/ 1000 w 999"/>
                <a:gd name="connsiteY0" fmla="*/ 0 h 1874"/>
                <a:gd name="connsiteX1" fmla="*/ 0 w 999"/>
                <a:gd name="connsiteY1" fmla="*/ 625 h 1874"/>
                <a:gd name="connsiteX2" fmla="*/ 1000 w 999"/>
                <a:gd name="connsiteY2" fmla="*/ 1875 h 1874"/>
                <a:gd name="connsiteX3" fmla="*/ 1000 w 999"/>
                <a:gd name="connsiteY3" fmla="*/ 0 h 1874"/>
              </a:gdLst>
              <a:ahLst/>
              <a:cxnLst>
                <a:cxn ang="0">
                  <a:pos x="connsiteX0" y="connsiteY0"/>
                </a:cxn>
                <a:cxn ang="0">
                  <a:pos x="connsiteX1" y="connsiteY1"/>
                </a:cxn>
                <a:cxn ang="0">
                  <a:pos x="connsiteX2" y="connsiteY2"/>
                </a:cxn>
                <a:cxn ang="0">
                  <a:pos x="connsiteX3" y="connsiteY3"/>
                </a:cxn>
              </a:cxnLst>
              <a:rect l="l" t="t" r="r" b="b"/>
              <a:pathLst>
                <a:path w="999" h="1874">
                  <a:moveTo>
                    <a:pt x="1000" y="0"/>
                  </a:moveTo>
                  <a:lnTo>
                    <a:pt x="0" y="625"/>
                  </a:lnTo>
                  <a:lnTo>
                    <a:pt x="1000" y="1875"/>
                  </a:lnTo>
                  <a:lnTo>
                    <a:pt x="1000" y="0"/>
                  </a:lnTo>
                  <a:close/>
                </a:path>
              </a:pathLst>
            </a:custGeom>
            <a:solidFill>
              <a:srgbClr val="000000"/>
            </a:solidFill>
            <a:ln w="12483" cap="flat">
              <a:noFill/>
              <a:prstDash val="solid"/>
              <a:miter/>
            </a:ln>
          </p:spPr>
          <p:txBody>
            <a:bodyPr rtlCol="0" anchor="ctr"/>
            <a:lstStyle/>
            <a:p>
              <a:endParaRPr lang="en-US"/>
            </a:p>
          </p:txBody>
        </p:sp>
        <p:sp>
          <p:nvSpPr>
            <p:cNvPr id="1425" name="Freeform: Shape 1424">
              <a:extLst>
                <a:ext uri="{FF2B5EF4-FFF2-40B4-BE49-F238E27FC236}">
                  <a16:creationId xmlns:a16="http://schemas.microsoft.com/office/drawing/2014/main" id="{3CA683F6-01A4-4DE3-AE4F-E7BFEFAD838A}"/>
                </a:ext>
              </a:extLst>
            </p:cNvPr>
            <p:cNvSpPr/>
            <p:nvPr/>
          </p:nvSpPr>
          <p:spPr>
            <a:xfrm>
              <a:off x="10306577" y="5266782"/>
              <a:ext cx="178672" cy="232032"/>
            </a:xfrm>
            <a:custGeom>
              <a:avLst/>
              <a:gdLst>
                <a:gd name="connsiteX0" fmla="*/ 0 w 178672"/>
                <a:gd name="connsiteY0" fmla="*/ 2624 h 232032"/>
                <a:gd name="connsiteX1" fmla="*/ 175674 w 178672"/>
                <a:gd name="connsiteY1" fmla="*/ 232032 h 232032"/>
                <a:gd name="connsiteX2" fmla="*/ 178673 w 178672"/>
                <a:gd name="connsiteY2" fmla="*/ 230158 h 232032"/>
                <a:gd name="connsiteX3" fmla="*/ 2374 w 178672"/>
                <a:gd name="connsiteY3" fmla="*/ 0 h 232032"/>
                <a:gd name="connsiteX4" fmla="*/ 0 w 178672"/>
                <a:gd name="connsiteY4" fmla="*/ 2624 h 23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72" h="232032">
                  <a:moveTo>
                    <a:pt x="0" y="2624"/>
                  </a:moveTo>
                  <a:lnTo>
                    <a:pt x="175674" y="232032"/>
                  </a:lnTo>
                  <a:lnTo>
                    <a:pt x="178673" y="230158"/>
                  </a:lnTo>
                  <a:lnTo>
                    <a:pt x="2374" y="0"/>
                  </a:lnTo>
                  <a:cubicBezTo>
                    <a:pt x="1712" y="987"/>
                    <a:pt x="912" y="1862"/>
                    <a:pt x="0" y="2624"/>
                  </a:cubicBezTo>
                  <a:close/>
                </a:path>
              </a:pathLst>
            </a:custGeom>
            <a:solidFill>
              <a:srgbClr val="000000"/>
            </a:solidFill>
            <a:ln w="12483" cap="flat">
              <a:noFill/>
              <a:prstDash val="solid"/>
              <a:miter/>
            </a:ln>
          </p:spPr>
          <p:txBody>
            <a:bodyPr rtlCol="0" anchor="ctr"/>
            <a:lstStyle/>
            <a:p>
              <a:endParaRPr lang="en-US"/>
            </a:p>
          </p:txBody>
        </p:sp>
        <p:sp>
          <p:nvSpPr>
            <p:cNvPr id="1426" name="Freeform: Shape 1425">
              <a:extLst>
                <a:ext uri="{FF2B5EF4-FFF2-40B4-BE49-F238E27FC236}">
                  <a16:creationId xmlns:a16="http://schemas.microsoft.com/office/drawing/2014/main" id="{F718F0B5-7BBD-414F-B9D6-3D546146F81A}"/>
                </a:ext>
              </a:extLst>
            </p:cNvPr>
            <p:cNvSpPr/>
            <p:nvPr/>
          </p:nvSpPr>
          <p:spPr>
            <a:xfrm>
              <a:off x="10721897" y="4818960"/>
              <a:ext cx="94334" cy="119827"/>
            </a:xfrm>
            <a:custGeom>
              <a:avLst/>
              <a:gdLst>
                <a:gd name="connsiteX0" fmla="*/ 1499 w 94334"/>
                <a:gd name="connsiteY0" fmla="*/ 1250 h 119827"/>
                <a:gd name="connsiteX1" fmla="*/ 0 w 94334"/>
                <a:gd name="connsiteY1" fmla="*/ 2624 h 119827"/>
                <a:gd name="connsiteX2" fmla="*/ 94334 w 94334"/>
                <a:gd name="connsiteY2" fmla="*/ 119828 h 119827"/>
                <a:gd name="connsiteX3" fmla="*/ 94334 w 94334"/>
                <a:gd name="connsiteY3" fmla="*/ 114579 h 119827"/>
                <a:gd name="connsiteX4" fmla="*/ 2249 w 94334"/>
                <a:gd name="connsiteY4" fmla="*/ 0 h 119827"/>
                <a:gd name="connsiteX5" fmla="*/ 1499 w 94334"/>
                <a:gd name="connsiteY5" fmla="*/ 1250 h 11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34" h="119827">
                  <a:moveTo>
                    <a:pt x="1499" y="1250"/>
                  </a:moveTo>
                  <a:cubicBezTo>
                    <a:pt x="1087" y="1799"/>
                    <a:pt x="587" y="2262"/>
                    <a:pt x="0" y="2624"/>
                  </a:cubicBezTo>
                  <a:lnTo>
                    <a:pt x="94334" y="119828"/>
                  </a:lnTo>
                  <a:lnTo>
                    <a:pt x="94334" y="114579"/>
                  </a:lnTo>
                  <a:lnTo>
                    <a:pt x="2249" y="0"/>
                  </a:lnTo>
                  <a:cubicBezTo>
                    <a:pt x="2037" y="437"/>
                    <a:pt x="1787" y="862"/>
                    <a:pt x="1499" y="1250"/>
                  </a:cubicBezTo>
                  <a:close/>
                </a:path>
              </a:pathLst>
            </a:custGeom>
            <a:solidFill>
              <a:srgbClr val="000000"/>
            </a:solidFill>
            <a:ln w="12483" cap="flat">
              <a:noFill/>
              <a:prstDash val="solid"/>
              <a:miter/>
            </a:ln>
          </p:spPr>
          <p:txBody>
            <a:bodyPr rtlCol="0" anchor="ctr"/>
            <a:lstStyle/>
            <a:p>
              <a:endParaRPr lang="en-US"/>
            </a:p>
          </p:txBody>
        </p:sp>
        <p:sp>
          <p:nvSpPr>
            <p:cNvPr id="1427" name="Freeform: Shape 1426">
              <a:extLst>
                <a:ext uri="{FF2B5EF4-FFF2-40B4-BE49-F238E27FC236}">
                  <a16:creationId xmlns:a16="http://schemas.microsoft.com/office/drawing/2014/main" id="{169CFE5D-338B-4E6F-A3D3-E4F0CB9F28BE}"/>
                </a:ext>
              </a:extLst>
            </p:cNvPr>
            <p:cNvSpPr/>
            <p:nvPr/>
          </p:nvSpPr>
          <p:spPr>
            <a:xfrm>
              <a:off x="10307701" y="5057365"/>
              <a:ext cx="291498" cy="374350"/>
            </a:xfrm>
            <a:custGeom>
              <a:avLst/>
              <a:gdLst>
                <a:gd name="connsiteX0" fmla="*/ 2999 w 291498"/>
                <a:gd name="connsiteY0" fmla="*/ 0 h 374350"/>
                <a:gd name="connsiteX1" fmla="*/ 0 w 291498"/>
                <a:gd name="connsiteY1" fmla="*/ 1749 h 374350"/>
                <a:gd name="connsiteX2" fmla="*/ 3998 w 291498"/>
                <a:gd name="connsiteY2" fmla="*/ 6872 h 374350"/>
                <a:gd name="connsiteX3" fmla="*/ 288500 w 291498"/>
                <a:gd name="connsiteY3" fmla="*/ 374351 h 374350"/>
                <a:gd name="connsiteX4" fmla="*/ 291499 w 291498"/>
                <a:gd name="connsiteY4" fmla="*/ 372602 h 374350"/>
                <a:gd name="connsiteX5" fmla="*/ 3998 w 291498"/>
                <a:gd name="connsiteY5" fmla="*/ 1250 h 374350"/>
                <a:gd name="connsiteX6" fmla="*/ 2999 w 291498"/>
                <a:gd name="connsiteY6" fmla="*/ 0 h 37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498" h="374350">
                  <a:moveTo>
                    <a:pt x="2999" y="0"/>
                  </a:moveTo>
                  <a:lnTo>
                    <a:pt x="0" y="1749"/>
                  </a:lnTo>
                  <a:lnTo>
                    <a:pt x="3998" y="6872"/>
                  </a:lnTo>
                  <a:lnTo>
                    <a:pt x="288500" y="374351"/>
                  </a:lnTo>
                  <a:lnTo>
                    <a:pt x="291499" y="372602"/>
                  </a:lnTo>
                  <a:lnTo>
                    <a:pt x="3998" y="1250"/>
                  </a:lnTo>
                  <a:lnTo>
                    <a:pt x="2999" y="0"/>
                  </a:lnTo>
                  <a:close/>
                </a:path>
              </a:pathLst>
            </a:custGeom>
            <a:solidFill>
              <a:srgbClr val="000000"/>
            </a:solidFill>
            <a:ln w="12483" cap="flat">
              <a:noFill/>
              <a:prstDash val="solid"/>
              <a:miter/>
            </a:ln>
          </p:spPr>
          <p:txBody>
            <a:bodyPr rtlCol="0" anchor="ctr"/>
            <a:lstStyle/>
            <a:p>
              <a:endParaRPr lang="en-US"/>
            </a:p>
          </p:txBody>
        </p:sp>
        <p:sp>
          <p:nvSpPr>
            <p:cNvPr id="1428" name="Freeform: Shape 1427">
              <a:extLst>
                <a:ext uri="{FF2B5EF4-FFF2-40B4-BE49-F238E27FC236}">
                  <a16:creationId xmlns:a16="http://schemas.microsoft.com/office/drawing/2014/main" id="{ADA478B1-045C-409A-9B49-590D688A66BC}"/>
                </a:ext>
              </a:extLst>
            </p:cNvPr>
            <p:cNvSpPr/>
            <p:nvPr/>
          </p:nvSpPr>
          <p:spPr>
            <a:xfrm>
              <a:off x="10488498" y="2347321"/>
              <a:ext cx="230650" cy="118327"/>
            </a:xfrm>
            <a:custGeom>
              <a:avLst/>
              <a:gdLst>
                <a:gd name="connsiteX0" fmla="*/ 0 w 230650"/>
                <a:gd name="connsiteY0" fmla="*/ 115079 h 118327"/>
                <a:gd name="connsiteX1" fmla="*/ 0 w 230650"/>
                <a:gd name="connsiteY1" fmla="*/ 115079 h 118327"/>
                <a:gd name="connsiteX2" fmla="*/ 875 w 230650"/>
                <a:gd name="connsiteY2" fmla="*/ 115079 h 118327"/>
                <a:gd name="connsiteX3" fmla="*/ 2374 w 230650"/>
                <a:gd name="connsiteY3" fmla="*/ 117078 h 118327"/>
                <a:gd name="connsiteX4" fmla="*/ 2374 w 230650"/>
                <a:gd name="connsiteY4" fmla="*/ 118328 h 118327"/>
                <a:gd name="connsiteX5" fmla="*/ 229276 w 230650"/>
                <a:gd name="connsiteY5" fmla="*/ 4623 h 118327"/>
                <a:gd name="connsiteX6" fmla="*/ 229276 w 230650"/>
                <a:gd name="connsiteY6" fmla="*/ 1749 h 118327"/>
                <a:gd name="connsiteX7" fmla="*/ 230650 w 230650"/>
                <a:gd name="connsiteY7" fmla="*/ 0 h 118327"/>
                <a:gd name="connsiteX8" fmla="*/ 230650 w 230650"/>
                <a:gd name="connsiteY8" fmla="*/ 0 h 118327"/>
                <a:gd name="connsiteX9" fmla="*/ 1499 w 230650"/>
                <a:gd name="connsiteY9" fmla="*/ 114829 h 11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650" h="118327">
                  <a:moveTo>
                    <a:pt x="0" y="115079"/>
                  </a:moveTo>
                  <a:lnTo>
                    <a:pt x="0" y="115079"/>
                  </a:lnTo>
                  <a:cubicBezTo>
                    <a:pt x="288" y="114979"/>
                    <a:pt x="587" y="114979"/>
                    <a:pt x="875" y="115079"/>
                  </a:cubicBezTo>
                  <a:cubicBezTo>
                    <a:pt x="1749" y="115079"/>
                    <a:pt x="2374" y="115954"/>
                    <a:pt x="2374" y="117078"/>
                  </a:cubicBezTo>
                  <a:lnTo>
                    <a:pt x="2374" y="118328"/>
                  </a:lnTo>
                  <a:lnTo>
                    <a:pt x="229276" y="4623"/>
                  </a:lnTo>
                  <a:lnTo>
                    <a:pt x="229276" y="1749"/>
                  </a:lnTo>
                  <a:cubicBezTo>
                    <a:pt x="229201" y="900"/>
                    <a:pt x="229801" y="125"/>
                    <a:pt x="230650" y="0"/>
                  </a:cubicBezTo>
                  <a:lnTo>
                    <a:pt x="230650" y="0"/>
                  </a:lnTo>
                  <a:lnTo>
                    <a:pt x="1499" y="114829"/>
                  </a:lnTo>
                  <a:close/>
                </a:path>
              </a:pathLst>
            </a:custGeom>
            <a:solidFill>
              <a:srgbClr val="000000"/>
            </a:solidFill>
            <a:ln w="12483" cap="flat">
              <a:noFill/>
              <a:prstDash val="solid"/>
              <a:miter/>
            </a:ln>
          </p:spPr>
          <p:txBody>
            <a:bodyPr rtlCol="0" anchor="ctr"/>
            <a:lstStyle/>
            <a:p>
              <a:endParaRPr lang="en-US"/>
            </a:p>
          </p:txBody>
        </p:sp>
        <p:sp>
          <p:nvSpPr>
            <p:cNvPr id="1429" name="Freeform: Shape 1428">
              <a:extLst>
                <a:ext uri="{FF2B5EF4-FFF2-40B4-BE49-F238E27FC236}">
                  <a16:creationId xmlns:a16="http://schemas.microsoft.com/office/drawing/2014/main" id="{D3DD32AE-6D83-4EB5-8734-CC4FAFDA003B}"/>
                </a:ext>
              </a:extLst>
            </p:cNvPr>
            <p:cNvSpPr/>
            <p:nvPr/>
          </p:nvSpPr>
          <p:spPr>
            <a:xfrm>
              <a:off x="10720523" y="2348195"/>
              <a:ext cx="12494" cy="624"/>
            </a:xfrm>
            <a:custGeom>
              <a:avLst/>
              <a:gdLst>
                <a:gd name="connsiteX0" fmla="*/ 0 w 12494"/>
                <a:gd name="connsiteY0" fmla="*/ 0 h 624"/>
                <a:gd name="connsiteX1" fmla="*/ 0 w 12494"/>
                <a:gd name="connsiteY1" fmla="*/ 0 h 624"/>
                <a:gd name="connsiteX2" fmla="*/ 0 w 12494"/>
                <a:gd name="connsiteY2" fmla="*/ 625 h 624"/>
              </a:gdLst>
              <a:ahLst/>
              <a:cxnLst>
                <a:cxn ang="0">
                  <a:pos x="connsiteX0" y="connsiteY0"/>
                </a:cxn>
                <a:cxn ang="0">
                  <a:pos x="connsiteX1" y="connsiteY1"/>
                </a:cxn>
                <a:cxn ang="0">
                  <a:pos x="connsiteX2" y="connsiteY2"/>
                </a:cxn>
              </a:cxnLst>
              <a:rect l="l" t="t" r="r" b="b"/>
              <a:pathLst>
                <a:path w="12494" h="624">
                  <a:moveTo>
                    <a:pt x="0" y="0"/>
                  </a:moveTo>
                  <a:cubicBezTo>
                    <a:pt x="0" y="0"/>
                    <a:pt x="0" y="0"/>
                    <a:pt x="0" y="0"/>
                  </a:cubicBezTo>
                  <a:lnTo>
                    <a:pt x="0" y="625"/>
                  </a:lnTo>
                  <a:close/>
                </a:path>
              </a:pathLst>
            </a:custGeom>
            <a:solidFill>
              <a:srgbClr val="000000"/>
            </a:solidFill>
            <a:ln w="12483" cap="flat">
              <a:noFill/>
              <a:prstDash val="solid"/>
              <a:miter/>
            </a:ln>
          </p:spPr>
          <p:txBody>
            <a:bodyPr rtlCol="0" anchor="ctr"/>
            <a:lstStyle/>
            <a:p>
              <a:endParaRPr lang="en-US"/>
            </a:p>
          </p:txBody>
        </p:sp>
        <p:sp>
          <p:nvSpPr>
            <p:cNvPr id="1430" name="Freeform: Shape 1429">
              <a:extLst>
                <a:ext uri="{FF2B5EF4-FFF2-40B4-BE49-F238E27FC236}">
                  <a16:creationId xmlns:a16="http://schemas.microsoft.com/office/drawing/2014/main" id="{18D1D78C-3D50-4ECE-A4DA-5A9BFF3CA8B0}"/>
                </a:ext>
              </a:extLst>
            </p:cNvPr>
            <p:cNvSpPr/>
            <p:nvPr/>
          </p:nvSpPr>
          <p:spPr>
            <a:xfrm>
              <a:off x="10482251" y="293208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431" name="Freeform: Shape 1430">
              <a:extLst>
                <a:ext uri="{FF2B5EF4-FFF2-40B4-BE49-F238E27FC236}">
                  <a16:creationId xmlns:a16="http://schemas.microsoft.com/office/drawing/2014/main" id="{D1A38FF5-3120-4CFB-B381-5D016553ABCD}"/>
                </a:ext>
              </a:extLst>
            </p:cNvPr>
            <p:cNvSpPr/>
            <p:nvPr/>
          </p:nvSpPr>
          <p:spPr>
            <a:xfrm>
              <a:off x="10484625" y="2812635"/>
              <a:ext cx="225277" cy="118577"/>
            </a:xfrm>
            <a:custGeom>
              <a:avLst/>
              <a:gdLst>
                <a:gd name="connsiteX0" fmla="*/ 0 w 225277"/>
                <a:gd name="connsiteY0" fmla="*/ 117828 h 118577"/>
                <a:gd name="connsiteX1" fmla="*/ 0 w 225277"/>
                <a:gd name="connsiteY1" fmla="*/ 117828 h 118577"/>
                <a:gd name="connsiteX2" fmla="*/ 0 w 225277"/>
                <a:gd name="connsiteY2" fmla="*/ 117828 h 118577"/>
                <a:gd name="connsiteX3" fmla="*/ 0 w 225277"/>
                <a:gd name="connsiteY3" fmla="*/ 118578 h 118577"/>
                <a:gd name="connsiteX4" fmla="*/ 0 w 225277"/>
                <a:gd name="connsiteY4" fmla="*/ 118578 h 118577"/>
                <a:gd name="connsiteX5" fmla="*/ 0 w 225277"/>
                <a:gd name="connsiteY5" fmla="*/ 118578 h 118577"/>
                <a:gd name="connsiteX6" fmla="*/ 0 w 225277"/>
                <a:gd name="connsiteY6" fmla="*/ 118578 h 118577"/>
                <a:gd name="connsiteX7" fmla="*/ 224278 w 225277"/>
                <a:gd name="connsiteY7" fmla="*/ 3249 h 118577"/>
                <a:gd name="connsiteX8" fmla="*/ 225278 w 225277"/>
                <a:gd name="connsiteY8" fmla="*/ 3249 h 118577"/>
                <a:gd name="connsiteX9" fmla="*/ 225278 w 225277"/>
                <a:gd name="connsiteY9" fmla="*/ 3249 h 118577"/>
                <a:gd name="connsiteX10" fmla="*/ 224403 w 225277"/>
                <a:gd name="connsiteY10" fmla="*/ 3249 h 118577"/>
                <a:gd name="connsiteX11" fmla="*/ 222779 w 225277"/>
                <a:gd name="connsiteY11" fmla="*/ 1250 h 118577"/>
                <a:gd name="connsiteX12" fmla="*/ 222779 w 225277"/>
                <a:gd name="connsiteY12" fmla="*/ 0 h 118577"/>
                <a:gd name="connsiteX13" fmla="*/ 750 w 225277"/>
                <a:gd name="connsiteY13" fmla="*/ 114204 h 11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277" h="118577">
                  <a:moveTo>
                    <a:pt x="0" y="117828"/>
                  </a:moveTo>
                  <a:lnTo>
                    <a:pt x="0" y="117828"/>
                  </a:lnTo>
                  <a:cubicBezTo>
                    <a:pt x="0" y="117828"/>
                    <a:pt x="0" y="117828"/>
                    <a:pt x="0" y="117828"/>
                  </a:cubicBezTo>
                  <a:cubicBezTo>
                    <a:pt x="0" y="117828"/>
                    <a:pt x="0" y="117828"/>
                    <a:pt x="0" y="118578"/>
                  </a:cubicBezTo>
                  <a:lnTo>
                    <a:pt x="0" y="118578"/>
                  </a:lnTo>
                  <a:lnTo>
                    <a:pt x="0" y="118578"/>
                  </a:lnTo>
                  <a:lnTo>
                    <a:pt x="0" y="118578"/>
                  </a:lnTo>
                  <a:lnTo>
                    <a:pt x="224278" y="3249"/>
                  </a:lnTo>
                  <a:lnTo>
                    <a:pt x="225278" y="3249"/>
                  </a:lnTo>
                  <a:cubicBezTo>
                    <a:pt x="225278" y="3249"/>
                    <a:pt x="225278" y="3249"/>
                    <a:pt x="225278" y="3249"/>
                  </a:cubicBezTo>
                  <a:lnTo>
                    <a:pt x="224403" y="3249"/>
                  </a:lnTo>
                  <a:cubicBezTo>
                    <a:pt x="223416" y="3124"/>
                    <a:pt x="222704" y="2237"/>
                    <a:pt x="222779" y="1250"/>
                  </a:cubicBezTo>
                  <a:lnTo>
                    <a:pt x="222779" y="0"/>
                  </a:lnTo>
                  <a:lnTo>
                    <a:pt x="750" y="114204"/>
                  </a:lnTo>
                  <a:close/>
                </a:path>
              </a:pathLst>
            </a:custGeom>
            <a:solidFill>
              <a:srgbClr val="000000"/>
            </a:solidFill>
            <a:ln w="12483" cap="flat">
              <a:noFill/>
              <a:prstDash val="solid"/>
              <a:miter/>
            </a:ln>
          </p:spPr>
          <p:txBody>
            <a:bodyPr rtlCol="0" anchor="ctr"/>
            <a:lstStyle/>
            <a:p>
              <a:endParaRPr lang="en-US"/>
            </a:p>
          </p:txBody>
        </p:sp>
        <p:sp>
          <p:nvSpPr>
            <p:cNvPr id="1432" name="Freeform: Shape 1431">
              <a:extLst>
                <a:ext uri="{FF2B5EF4-FFF2-40B4-BE49-F238E27FC236}">
                  <a16:creationId xmlns:a16="http://schemas.microsoft.com/office/drawing/2014/main" id="{DB8DE63B-F950-4E39-9271-F07ABB8D72DB}"/>
                </a:ext>
              </a:extLst>
            </p:cNvPr>
            <p:cNvSpPr/>
            <p:nvPr/>
          </p:nvSpPr>
          <p:spPr>
            <a:xfrm>
              <a:off x="10447016" y="2886856"/>
              <a:ext cx="37483" cy="44576"/>
            </a:xfrm>
            <a:custGeom>
              <a:avLst/>
              <a:gdLst>
                <a:gd name="connsiteX0" fmla="*/ 34485 w 37483"/>
                <a:gd name="connsiteY0" fmla="*/ 43608 h 44576"/>
                <a:gd name="connsiteX1" fmla="*/ 34485 w 37483"/>
                <a:gd name="connsiteY1" fmla="*/ 39234 h 44576"/>
                <a:gd name="connsiteX2" fmla="*/ 0 w 37483"/>
                <a:gd name="connsiteY2" fmla="*/ 0 h 44576"/>
                <a:gd name="connsiteX3" fmla="*/ 0 w 37483"/>
                <a:gd name="connsiteY3" fmla="*/ 750 h 44576"/>
                <a:gd name="connsiteX4" fmla="*/ 0 w 37483"/>
                <a:gd name="connsiteY4" fmla="*/ 750 h 44576"/>
                <a:gd name="connsiteX5" fmla="*/ 0 w 37483"/>
                <a:gd name="connsiteY5" fmla="*/ 750 h 44576"/>
                <a:gd name="connsiteX6" fmla="*/ 0 w 37483"/>
                <a:gd name="connsiteY6" fmla="*/ 1374 h 44576"/>
                <a:gd name="connsiteX7" fmla="*/ 0 w 37483"/>
                <a:gd name="connsiteY7" fmla="*/ 1374 h 44576"/>
                <a:gd name="connsiteX8" fmla="*/ 0 w 37483"/>
                <a:gd name="connsiteY8" fmla="*/ 1374 h 44576"/>
                <a:gd name="connsiteX9" fmla="*/ 0 w 37483"/>
                <a:gd name="connsiteY9" fmla="*/ 1374 h 44576"/>
                <a:gd name="connsiteX10" fmla="*/ 0 w 37483"/>
                <a:gd name="connsiteY10" fmla="*/ 1374 h 44576"/>
                <a:gd name="connsiteX11" fmla="*/ 0 w 37483"/>
                <a:gd name="connsiteY11" fmla="*/ 1374 h 44576"/>
                <a:gd name="connsiteX12" fmla="*/ 0 w 37483"/>
                <a:gd name="connsiteY12" fmla="*/ 1374 h 44576"/>
                <a:gd name="connsiteX13" fmla="*/ 37484 w 37483"/>
                <a:gd name="connsiteY13" fmla="*/ 44107 h 44576"/>
                <a:gd name="connsiteX14" fmla="*/ 34672 w 37483"/>
                <a:gd name="connsiteY14" fmla="*/ 43858 h 44576"/>
                <a:gd name="connsiteX15" fmla="*/ 34485 w 37483"/>
                <a:gd name="connsiteY15" fmla="*/ 43608 h 4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83" h="44576">
                  <a:moveTo>
                    <a:pt x="34485" y="43608"/>
                  </a:moveTo>
                  <a:lnTo>
                    <a:pt x="34485" y="39234"/>
                  </a:lnTo>
                  <a:lnTo>
                    <a:pt x="0" y="0"/>
                  </a:lnTo>
                  <a:lnTo>
                    <a:pt x="0" y="750"/>
                  </a:lnTo>
                  <a:lnTo>
                    <a:pt x="0" y="750"/>
                  </a:lnTo>
                  <a:cubicBezTo>
                    <a:pt x="0" y="750"/>
                    <a:pt x="0" y="750"/>
                    <a:pt x="0" y="750"/>
                  </a:cubicBezTo>
                  <a:cubicBezTo>
                    <a:pt x="75" y="950"/>
                    <a:pt x="75" y="1175"/>
                    <a:pt x="0" y="1374"/>
                  </a:cubicBezTo>
                  <a:lnTo>
                    <a:pt x="0" y="1374"/>
                  </a:lnTo>
                  <a:lnTo>
                    <a:pt x="0" y="1374"/>
                  </a:lnTo>
                  <a:cubicBezTo>
                    <a:pt x="0" y="1374"/>
                    <a:pt x="0" y="1374"/>
                    <a:pt x="0" y="1374"/>
                  </a:cubicBezTo>
                  <a:lnTo>
                    <a:pt x="0" y="1374"/>
                  </a:lnTo>
                  <a:lnTo>
                    <a:pt x="0" y="1374"/>
                  </a:lnTo>
                  <a:lnTo>
                    <a:pt x="0" y="1374"/>
                  </a:lnTo>
                  <a:lnTo>
                    <a:pt x="37484" y="44107"/>
                  </a:lnTo>
                  <a:cubicBezTo>
                    <a:pt x="36634" y="44820"/>
                    <a:pt x="35372" y="44707"/>
                    <a:pt x="34672" y="43858"/>
                  </a:cubicBezTo>
                  <a:cubicBezTo>
                    <a:pt x="34598" y="43783"/>
                    <a:pt x="34535" y="43695"/>
                    <a:pt x="34485" y="43608"/>
                  </a:cubicBezTo>
                  <a:close/>
                </a:path>
              </a:pathLst>
            </a:custGeom>
            <a:solidFill>
              <a:srgbClr val="000000"/>
            </a:solidFill>
            <a:ln w="12483" cap="flat">
              <a:noFill/>
              <a:prstDash val="solid"/>
              <a:miter/>
            </a:ln>
          </p:spPr>
          <p:txBody>
            <a:bodyPr rtlCol="0" anchor="ctr"/>
            <a:lstStyle/>
            <a:p>
              <a:endParaRPr lang="en-US"/>
            </a:p>
          </p:txBody>
        </p:sp>
        <p:sp>
          <p:nvSpPr>
            <p:cNvPr id="1433" name="Freeform: Shape 1432">
              <a:extLst>
                <a:ext uri="{FF2B5EF4-FFF2-40B4-BE49-F238E27FC236}">
                  <a16:creationId xmlns:a16="http://schemas.microsoft.com/office/drawing/2014/main" id="{ADFBF10F-A29B-48F0-8190-5E840C2B7236}"/>
                </a:ext>
              </a:extLst>
            </p:cNvPr>
            <p:cNvSpPr/>
            <p:nvPr/>
          </p:nvSpPr>
          <p:spPr>
            <a:xfrm>
              <a:off x="10482751" y="2932337"/>
              <a:ext cx="624" cy="12495"/>
            </a:xfrm>
            <a:custGeom>
              <a:avLst/>
              <a:gdLst>
                <a:gd name="connsiteX0" fmla="*/ 625 w 624"/>
                <a:gd name="connsiteY0" fmla="*/ 0 h 12495"/>
                <a:gd name="connsiteX1" fmla="*/ 625 w 624"/>
                <a:gd name="connsiteY1" fmla="*/ 0 h 12495"/>
                <a:gd name="connsiteX2" fmla="*/ 0 w 624"/>
                <a:gd name="connsiteY2" fmla="*/ 0 h 12495"/>
              </a:gdLst>
              <a:ahLst/>
              <a:cxnLst>
                <a:cxn ang="0">
                  <a:pos x="connsiteX0" y="connsiteY0"/>
                </a:cxn>
                <a:cxn ang="0">
                  <a:pos x="connsiteX1" y="connsiteY1"/>
                </a:cxn>
                <a:cxn ang="0">
                  <a:pos x="connsiteX2" y="connsiteY2"/>
                </a:cxn>
              </a:cxnLst>
              <a:rect l="l" t="t" r="r" b="b"/>
              <a:pathLst>
                <a:path w="624" h="12495">
                  <a:moveTo>
                    <a:pt x="625" y="0"/>
                  </a:moveTo>
                  <a:lnTo>
                    <a:pt x="625" y="0"/>
                  </a:lnTo>
                  <a:cubicBezTo>
                    <a:pt x="625" y="0"/>
                    <a:pt x="625" y="0"/>
                    <a:pt x="0" y="0"/>
                  </a:cubicBezTo>
                  <a:close/>
                </a:path>
              </a:pathLst>
            </a:custGeom>
            <a:solidFill>
              <a:srgbClr val="000000"/>
            </a:solidFill>
            <a:ln w="12483" cap="flat">
              <a:noFill/>
              <a:prstDash val="solid"/>
              <a:miter/>
            </a:ln>
          </p:spPr>
          <p:txBody>
            <a:bodyPr rtlCol="0" anchor="ctr"/>
            <a:lstStyle/>
            <a:p>
              <a:endParaRPr lang="en-US"/>
            </a:p>
          </p:txBody>
        </p:sp>
        <p:sp>
          <p:nvSpPr>
            <p:cNvPr id="1434" name="Freeform: Shape 1433">
              <a:extLst>
                <a:ext uri="{FF2B5EF4-FFF2-40B4-BE49-F238E27FC236}">
                  <a16:creationId xmlns:a16="http://schemas.microsoft.com/office/drawing/2014/main" id="{20F1B4EE-4973-42E7-BBFF-D9B673C3330F}"/>
                </a:ext>
              </a:extLst>
            </p:cNvPr>
            <p:cNvSpPr/>
            <p:nvPr/>
          </p:nvSpPr>
          <p:spPr>
            <a:xfrm>
              <a:off x="10481876" y="2931838"/>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endParaRPr lang="en-US"/>
            </a:p>
          </p:txBody>
        </p:sp>
        <p:sp>
          <p:nvSpPr>
            <p:cNvPr id="1435" name="Freeform: Shape 1434">
              <a:extLst>
                <a:ext uri="{FF2B5EF4-FFF2-40B4-BE49-F238E27FC236}">
                  <a16:creationId xmlns:a16="http://schemas.microsoft.com/office/drawing/2014/main" id="{B3A1778C-4FBD-4BF6-9154-F2CB577E634A}"/>
                </a:ext>
              </a:extLst>
            </p:cNvPr>
            <p:cNvSpPr/>
            <p:nvPr/>
          </p:nvSpPr>
          <p:spPr>
            <a:xfrm>
              <a:off x="10484250" y="2930781"/>
              <a:ext cx="12494" cy="1182"/>
            </a:xfrm>
            <a:custGeom>
              <a:avLst/>
              <a:gdLst>
                <a:gd name="connsiteX0" fmla="*/ 0 w 12494"/>
                <a:gd name="connsiteY0" fmla="*/ 1057 h 1182"/>
                <a:gd name="connsiteX1" fmla="*/ 0 w 12494"/>
                <a:gd name="connsiteY1" fmla="*/ 308 h 1182"/>
                <a:gd name="connsiteX2" fmla="*/ 0 w 12494"/>
                <a:gd name="connsiteY2" fmla="*/ 1182 h 1182"/>
              </a:gdLst>
              <a:ahLst/>
              <a:cxnLst>
                <a:cxn ang="0">
                  <a:pos x="connsiteX0" y="connsiteY0"/>
                </a:cxn>
                <a:cxn ang="0">
                  <a:pos x="connsiteX1" y="connsiteY1"/>
                </a:cxn>
                <a:cxn ang="0">
                  <a:pos x="connsiteX2" y="connsiteY2"/>
                </a:cxn>
              </a:cxnLst>
              <a:rect l="l" t="t" r="r" b="b"/>
              <a:pathLst>
                <a:path w="12494" h="1182">
                  <a:moveTo>
                    <a:pt x="0" y="1057"/>
                  </a:moveTo>
                  <a:cubicBezTo>
                    <a:pt x="0" y="1057"/>
                    <a:pt x="0" y="1057"/>
                    <a:pt x="0" y="308"/>
                  </a:cubicBezTo>
                  <a:cubicBezTo>
                    <a:pt x="0" y="-442"/>
                    <a:pt x="0" y="308"/>
                    <a:pt x="0" y="1182"/>
                  </a:cubicBezTo>
                  <a:close/>
                </a:path>
              </a:pathLst>
            </a:custGeom>
            <a:solidFill>
              <a:srgbClr val="000000"/>
            </a:solidFill>
            <a:ln w="12483" cap="flat">
              <a:noFill/>
              <a:prstDash val="solid"/>
              <a:miter/>
            </a:ln>
          </p:spPr>
          <p:txBody>
            <a:bodyPr rtlCol="0" anchor="ctr"/>
            <a:lstStyle/>
            <a:p>
              <a:endParaRPr lang="en-US"/>
            </a:p>
          </p:txBody>
        </p:sp>
        <p:sp>
          <p:nvSpPr>
            <p:cNvPr id="1436" name="Freeform: Shape 1435">
              <a:extLst>
                <a:ext uri="{FF2B5EF4-FFF2-40B4-BE49-F238E27FC236}">
                  <a16:creationId xmlns:a16="http://schemas.microsoft.com/office/drawing/2014/main" id="{C0CECC25-6AE6-4B59-899F-D309CBD1D685}"/>
                </a:ext>
              </a:extLst>
            </p:cNvPr>
            <p:cNvSpPr/>
            <p:nvPr/>
          </p:nvSpPr>
          <p:spPr>
            <a:xfrm>
              <a:off x="10285586" y="2235865"/>
              <a:ext cx="163304" cy="186550"/>
            </a:xfrm>
            <a:custGeom>
              <a:avLst/>
              <a:gdLst>
                <a:gd name="connsiteX0" fmla="*/ 163304 w 163304"/>
                <a:gd name="connsiteY0" fmla="*/ 186551 h 186550"/>
                <a:gd name="connsiteX1" fmla="*/ 163304 w 163304"/>
                <a:gd name="connsiteY1" fmla="*/ 185676 h 186550"/>
                <a:gd name="connsiteX2" fmla="*/ 163304 w 163304"/>
                <a:gd name="connsiteY2" fmla="*/ 181303 h 186550"/>
                <a:gd name="connsiteX3" fmla="*/ 0 w 163304"/>
                <a:gd name="connsiteY3" fmla="*/ 0 h 186550"/>
                <a:gd name="connsiteX4" fmla="*/ 0 w 163304"/>
                <a:gd name="connsiteY4" fmla="*/ 750 h 186550"/>
                <a:gd name="connsiteX5" fmla="*/ 0 w 163304"/>
                <a:gd name="connsiteY5" fmla="*/ 5123 h 186550"/>
                <a:gd name="connsiteX6" fmla="*/ 163304 w 163304"/>
                <a:gd name="connsiteY6" fmla="*/ 186551 h 18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04" h="186550">
                  <a:moveTo>
                    <a:pt x="163304" y="186551"/>
                  </a:moveTo>
                  <a:lnTo>
                    <a:pt x="163304" y="185676"/>
                  </a:lnTo>
                  <a:lnTo>
                    <a:pt x="163304" y="181303"/>
                  </a:lnTo>
                  <a:lnTo>
                    <a:pt x="0" y="0"/>
                  </a:lnTo>
                  <a:lnTo>
                    <a:pt x="0" y="750"/>
                  </a:lnTo>
                  <a:lnTo>
                    <a:pt x="0" y="5123"/>
                  </a:lnTo>
                  <a:lnTo>
                    <a:pt x="163304" y="186551"/>
                  </a:lnTo>
                  <a:close/>
                </a:path>
              </a:pathLst>
            </a:custGeom>
            <a:solidFill>
              <a:srgbClr val="000000"/>
            </a:solidFill>
            <a:ln w="12483" cap="flat">
              <a:noFill/>
              <a:prstDash val="solid"/>
              <a:miter/>
            </a:ln>
          </p:spPr>
          <p:txBody>
            <a:bodyPr rtlCol="0" anchor="ctr"/>
            <a:lstStyle/>
            <a:p>
              <a:endParaRPr lang="en-US"/>
            </a:p>
          </p:txBody>
        </p:sp>
        <p:sp>
          <p:nvSpPr>
            <p:cNvPr id="1437" name="Freeform: Shape 1436">
              <a:extLst>
                <a:ext uri="{FF2B5EF4-FFF2-40B4-BE49-F238E27FC236}">
                  <a16:creationId xmlns:a16="http://schemas.microsoft.com/office/drawing/2014/main" id="{0D5A47A5-274B-477D-807B-4FF3FC758947}"/>
                </a:ext>
              </a:extLst>
            </p:cNvPr>
            <p:cNvSpPr/>
            <p:nvPr/>
          </p:nvSpPr>
          <p:spPr>
            <a:xfrm>
              <a:off x="9928365" y="3669793"/>
              <a:ext cx="808775" cy="440324"/>
            </a:xfrm>
            <a:custGeom>
              <a:avLst/>
              <a:gdLst>
                <a:gd name="connsiteX0" fmla="*/ 0 w 808775"/>
                <a:gd name="connsiteY0" fmla="*/ 436826 h 440324"/>
                <a:gd name="connsiteX1" fmla="*/ 874 w 808775"/>
                <a:gd name="connsiteY1" fmla="*/ 438325 h 440324"/>
                <a:gd name="connsiteX2" fmla="*/ 874 w 808775"/>
                <a:gd name="connsiteY2" fmla="*/ 440325 h 440324"/>
                <a:gd name="connsiteX3" fmla="*/ 808775 w 808775"/>
                <a:gd name="connsiteY3" fmla="*/ 4249 h 440324"/>
                <a:gd name="connsiteX4" fmla="*/ 808775 w 808775"/>
                <a:gd name="connsiteY4" fmla="*/ 0 h 44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775" h="440324">
                  <a:moveTo>
                    <a:pt x="0" y="436826"/>
                  </a:moveTo>
                  <a:cubicBezTo>
                    <a:pt x="325" y="437313"/>
                    <a:pt x="612" y="437813"/>
                    <a:pt x="874" y="438325"/>
                  </a:cubicBezTo>
                  <a:cubicBezTo>
                    <a:pt x="937" y="438988"/>
                    <a:pt x="937" y="439662"/>
                    <a:pt x="874" y="440325"/>
                  </a:cubicBezTo>
                  <a:lnTo>
                    <a:pt x="808775" y="4249"/>
                  </a:lnTo>
                  <a:lnTo>
                    <a:pt x="808775" y="0"/>
                  </a:lnTo>
                  <a:close/>
                </a:path>
              </a:pathLst>
            </a:custGeom>
            <a:solidFill>
              <a:srgbClr val="000000"/>
            </a:solidFill>
            <a:ln w="12483" cap="flat">
              <a:noFill/>
              <a:prstDash val="solid"/>
              <a:miter/>
            </a:ln>
          </p:spPr>
          <p:txBody>
            <a:bodyPr rtlCol="0" anchor="ctr"/>
            <a:lstStyle/>
            <a:p>
              <a:endParaRPr lang="en-US"/>
            </a:p>
          </p:txBody>
        </p:sp>
        <p:sp>
          <p:nvSpPr>
            <p:cNvPr id="1438" name="Freeform: Shape 1437">
              <a:extLst>
                <a:ext uri="{FF2B5EF4-FFF2-40B4-BE49-F238E27FC236}">
                  <a16:creationId xmlns:a16="http://schemas.microsoft.com/office/drawing/2014/main" id="{91965013-E4A3-4C78-8479-04FD2E1F6BE8}"/>
                </a:ext>
              </a:extLst>
            </p:cNvPr>
            <p:cNvSpPr/>
            <p:nvPr/>
          </p:nvSpPr>
          <p:spPr>
            <a:xfrm>
              <a:off x="10449503" y="1976968"/>
              <a:ext cx="7883" cy="444572"/>
            </a:xfrm>
            <a:custGeom>
              <a:avLst/>
              <a:gdLst>
                <a:gd name="connsiteX0" fmla="*/ 1511 w 7883"/>
                <a:gd name="connsiteY0" fmla="*/ 442698 h 444572"/>
                <a:gd name="connsiteX1" fmla="*/ 3135 w 7883"/>
                <a:gd name="connsiteY1" fmla="*/ 444560 h 444572"/>
                <a:gd name="connsiteX2" fmla="*/ 3135 w 7883"/>
                <a:gd name="connsiteY2" fmla="*/ 444573 h 444572"/>
                <a:gd name="connsiteX3" fmla="*/ 3135 w 7883"/>
                <a:gd name="connsiteY3" fmla="*/ 444573 h 444572"/>
                <a:gd name="connsiteX4" fmla="*/ 3135 w 7883"/>
                <a:gd name="connsiteY4" fmla="*/ 443823 h 444572"/>
                <a:gd name="connsiteX5" fmla="*/ 7883 w 7883"/>
                <a:gd name="connsiteY5" fmla="*/ 625 h 444572"/>
                <a:gd name="connsiteX6" fmla="*/ 6884 w 7883"/>
                <a:gd name="connsiteY6" fmla="*/ 625 h 444572"/>
                <a:gd name="connsiteX7" fmla="*/ 6009 w 7883"/>
                <a:gd name="connsiteY7" fmla="*/ 625 h 444572"/>
                <a:gd name="connsiteX8" fmla="*/ 6009 w 7883"/>
                <a:gd name="connsiteY8" fmla="*/ 625 h 444572"/>
                <a:gd name="connsiteX9" fmla="*/ 6009 w 7883"/>
                <a:gd name="connsiteY9" fmla="*/ 625 h 444572"/>
                <a:gd name="connsiteX10" fmla="*/ 5384 w 7883"/>
                <a:gd name="connsiteY10" fmla="*/ 0 h 444572"/>
                <a:gd name="connsiteX11" fmla="*/ 636 w 7883"/>
                <a:gd name="connsiteY11" fmla="*/ 440200 h 444572"/>
                <a:gd name="connsiteX12" fmla="*/ 636 w 7883"/>
                <a:gd name="connsiteY12" fmla="*/ 444573 h 444572"/>
                <a:gd name="connsiteX13" fmla="*/ 1511 w 7883"/>
                <a:gd name="connsiteY13" fmla="*/ 442698 h 44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3" h="444572">
                  <a:moveTo>
                    <a:pt x="1511" y="442698"/>
                  </a:moveTo>
                  <a:cubicBezTo>
                    <a:pt x="2473" y="442761"/>
                    <a:pt x="3198" y="443598"/>
                    <a:pt x="3135" y="444560"/>
                  </a:cubicBezTo>
                  <a:cubicBezTo>
                    <a:pt x="3135" y="444573"/>
                    <a:pt x="3135" y="444573"/>
                    <a:pt x="3135" y="444573"/>
                  </a:cubicBezTo>
                  <a:lnTo>
                    <a:pt x="3135" y="444573"/>
                  </a:lnTo>
                  <a:lnTo>
                    <a:pt x="3135" y="443823"/>
                  </a:lnTo>
                  <a:lnTo>
                    <a:pt x="7883" y="625"/>
                  </a:lnTo>
                  <a:lnTo>
                    <a:pt x="6884" y="625"/>
                  </a:lnTo>
                  <a:lnTo>
                    <a:pt x="6009" y="625"/>
                  </a:lnTo>
                  <a:lnTo>
                    <a:pt x="6009" y="625"/>
                  </a:lnTo>
                  <a:lnTo>
                    <a:pt x="6009" y="625"/>
                  </a:lnTo>
                  <a:lnTo>
                    <a:pt x="5384" y="0"/>
                  </a:lnTo>
                  <a:lnTo>
                    <a:pt x="636" y="440200"/>
                  </a:lnTo>
                  <a:lnTo>
                    <a:pt x="636" y="444573"/>
                  </a:lnTo>
                  <a:cubicBezTo>
                    <a:pt x="-613" y="443448"/>
                    <a:pt x="137" y="442574"/>
                    <a:pt x="1511" y="442698"/>
                  </a:cubicBezTo>
                  <a:close/>
                </a:path>
              </a:pathLst>
            </a:custGeom>
            <a:solidFill>
              <a:srgbClr val="000000"/>
            </a:solidFill>
            <a:ln w="12483" cap="flat">
              <a:noFill/>
              <a:prstDash val="solid"/>
              <a:miter/>
            </a:ln>
          </p:spPr>
          <p:txBody>
            <a:bodyPr rtlCol="0" anchor="ctr"/>
            <a:lstStyle/>
            <a:p>
              <a:endParaRPr lang="en-US"/>
            </a:p>
          </p:txBody>
        </p:sp>
        <p:sp>
          <p:nvSpPr>
            <p:cNvPr id="1439" name="Freeform: Shape 1438">
              <a:extLst>
                <a:ext uri="{FF2B5EF4-FFF2-40B4-BE49-F238E27FC236}">
                  <a16:creationId xmlns:a16="http://schemas.microsoft.com/office/drawing/2014/main" id="{3793B9C4-7D5A-4F96-BDC3-B3F1C4DAAB76}"/>
                </a:ext>
              </a:extLst>
            </p:cNvPr>
            <p:cNvSpPr/>
            <p:nvPr/>
          </p:nvSpPr>
          <p:spPr>
            <a:xfrm>
              <a:off x="10288710" y="558909"/>
              <a:ext cx="235273" cy="107832"/>
            </a:xfrm>
            <a:custGeom>
              <a:avLst/>
              <a:gdLst>
                <a:gd name="connsiteX0" fmla="*/ 1249 w 235273"/>
                <a:gd name="connsiteY0" fmla="*/ 105833 h 107832"/>
                <a:gd name="connsiteX1" fmla="*/ 1249 w 235273"/>
                <a:gd name="connsiteY1" fmla="*/ 105833 h 107832"/>
                <a:gd name="connsiteX2" fmla="*/ 1249 w 235273"/>
                <a:gd name="connsiteY2" fmla="*/ 106583 h 107832"/>
                <a:gd name="connsiteX3" fmla="*/ 1249 w 235273"/>
                <a:gd name="connsiteY3" fmla="*/ 106583 h 107832"/>
                <a:gd name="connsiteX4" fmla="*/ 1249 w 235273"/>
                <a:gd name="connsiteY4" fmla="*/ 106583 h 107832"/>
                <a:gd name="connsiteX5" fmla="*/ 1249 w 235273"/>
                <a:gd name="connsiteY5" fmla="*/ 107832 h 107832"/>
                <a:gd name="connsiteX6" fmla="*/ 235273 w 235273"/>
                <a:gd name="connsiteY6" fmla="*/ 3374 h 107832"/>
                <a:gd name="connsiteX7" fmla="*/ 235273 w 235273"/>
                <a:gd name="connsiteY7" fmla="*/ 0 h 107832"/>
                <a:gd name="connsiteX8" fmla="*/ 233149 w 235273"/>
                <a:gd name="connsiteY8" fmla="*/ 1000 h 107832"/>
                <a:gd name="connsiteX9" fmla="*/ 0 w 235273"/>
                <a:gd name="connsiteY9" fmla="*/ 105083 h 10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273" h="107832">
                  <a:moveTo>
                    <a:pt x="1249" y="105833"/>
                  </a:moveTo>
                  <a:lnTo>
                    <a:pt x="1249" y="105833"/>
                  </a:lnTo>
                  <a:lnTo>
                    <a:pt x="1249" y="106583"/>
                  </a:lnTo>
                  <a:cubicBezTo>
                    <a:pt x="1249" y="106583"/>
                    <a:pt x="1249" y="106583"/>
                    <a:pt x="1249" y="106583"/>
                  </a:cubicBezTo>
                  <a:lnTo>
                    <a:pt x="1249" y="106583"/>
                  </a:lnTo>
                  <a:lnTo>
                    <a:pt x="1249" y="107832"/>
                  </a:lnTo>
                  <a:lnTo>
                    <a:pt x="235273" y="3374"/>
                  </a:lnTo>
                  <a:lnTo>
                    <a:pt x="235273" y="0"/>
                  </a:lnTo>
                  <a:lnTo>
                    <a:pt x="233149" y="1000"/>
                  </a:lnTo>
                  <a:lnTo>
                    <a:pt x="0" y="105083"/>
                  </a:lnTo>
                  <a:close/>
                </a:path>
              </a:pathLst>
            </a:custGeom>
            <a:solidFill>
              <a:srgbClr val="000000"/>
            </a:solidFill>
            <a:ln w="12483" cap="flat">
              <a:noFill/>
              <a:prstDash val="solid"/>
              <a:miter/>
            </a:ln>
          </p:spPr>
          <p:txBody>
            <a:bodyPr rtlCol="0" anchor="ctr"/>
            <a:lstStyle/>
            <a:p>
              <a:endParaRPr lang="en-US"/>
            </a:p>
          </p:txBody>
        </p:sp>
        <p:sp>
          <p:nvSpPr>
            <p:cNvPr id="1440" name="Freeform: Shape 1439">
              <a:extLst>
                <a:ext uri="{FF2B5EF4-FFF2-40B4-BE49-F238E27FC236}">
                  <a16:creationId xmlns:a16="http://schemas.microsoft.com/office/drawing/2014/main" id="{C0D531CB-8224-4CA4-809E-9C26C58C62F3}"/>
                </a:ext>
              </a:extLst>
            </p:cNvPr>
            <p:cNvSpPr/>
            <p:nvPr/>
          </p:nvSpPr>
          <p:spPr>
            <a:xfrm>
              <a:off x="10196249" y="457478"/>
              <a:ext cx="256054" cy="125421"/>
            </a:xfrm>
            <a:custGeom>
              <a:avLst/>
              <a:gdLst>
                <a:gd name="connsiteX0" fmla="*/ 12120 w 256054"/>
                <a:gd name="connsiteY0" fmla="*/ 118425 h 125421"/>
                <a:gd name="connsiteX1" fmla="*/ 12120 w 256054"/>
                <a:gd name="connsiteY1" fmla="*/ 124672 h 125421"/>
                <a:gd name="connsiteX2" fmla="*/ 12745 w 256054"/>
                <a:gd name="connsiteY2" fmla="*/ 125422 h 125421"/>
                <a:gd name="connsiteX3" fmla="*/ 245269 w 256054"/>
                <a:gd name="connsiteY3" fmla="*/ 22463 h 125421"/>
                <a:gd name="connsiteX4" fmla="*/ 250017 w 256054"/>
                <a:gd name="connsiteY4" fmla="*/ 20339 h 125421"/>
                <a:gd name="connsiteX5" fmla="*/ 255390 w 256054"/>
                <a:gd name="connsiteY5" fmla="*/ 6469 h 125421"/>
                <a:gd name="connsiteX6" fmla="*/ 251767 w 256054"/>
                <a:gd name="connsiteY6" fmla="*/ 1221 h 125421"/>
                <a:gd name="connsiteX7" fmla="*/ 250142 w 256054"/>
                <a:gd name="connsiteY7" fmla="*/ 97 h 125421"/>
                <a:gd name="connsiteX8" fmla="*/ 248393 w 256054"/>
                <a:gd name="connsiteY8" fmla="*/ 97 h 125421"/>
                <a:gd name="connsiteX9" fmla="*/ 246768 w 256054"/>
                <a:gd name="connsiteY9" fmla="*/ 97 h 125421"/>
                <a:gd name="connsiteX10" fmla="*/ 245019 w 256054"/>
                <a:gd name="connsiteY10" fmla="*/ 97 h 125421"/>
                <a:gd name="connsiteX11" fmla="*/ 243895 w 256054"/>
                <a:gd name="connsiteY11" fmla="*/ 97 h 125421"/>
                <a:gd name="connsiteX12" fmla="*/ 0 w 256054"/>
                <a:gd name="connsiteY12" fmla="*/ 108179 h 125421"/>
                <a:gd name="connsiteX13" fmla="*/ 0 w 256054"/>
                <a:gd name="connsiteY13" fmla="*/ 108179 h 125421"/>
                <a:gd name="connsiteX14" fmla="*/ 3249 w 256054"/>
                <a:gd name="connsiteY14" fmla="*/ 107429 h 125421"/>
                <a:gd name="connsiteX15" fmla="*/ 12120 w 256054"/>
                <a:gd name="connsiteY15" fmla="*/ 118425 h 1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054" h="125421">
                  <a:moveTo>
                    <a:pt x="12120" y="118425"/>
                  </a:moveTo>
                  <a:lnTo>
                    <a:pt x="12120" y="124672"/>
                  </a:lnTo>
                  <a:lnTo>
                    <a:pt x="12745" y="125422"/>
                  </a:lnTo>
                  <a:lnTo>
                    <a:pt x="245269" y="22463"/>
                  </a:lnTo>
                  <a:lnTo>
                    <a:pt x="250017" y="20339"/>
                  </a:lnTo>
                  <a:cubicBezTo>
                    <a:pt x="255003" y="17690"/>
                    <a:pt x="257289" y="11785"/>
                    <a:pt x="255390" y="6469"/>
                  </a:cubicBezTo>
                  <a:cubicBezTo>
                    <a:pt x="254765" y="4383"/>
                    <a:pt x="253491" y="2547"/>
                    <a:pt x="251767" y="1221"/>
                  </a:cubicBezTo>
                  <a:lnTo>
                    <a:pt x="250142" y="97"/>
                  </a:lnTo>
                  <a:cubicBezTo>
                    <a:pt x="249555" y="38"/>
                    <a:pt x="248980" y="38"/>
                    <a:pt x="248393" y="97"/>
                  </a:cubicBezTo>
                  <a:lnTo>
                    <a:pt x="246768" y="97"/>
                  </a:lnTo>
                  <a:cubicBezTo>
                    <a:pt x="246194" y="-32"/>
                    <a:pt x="245594" y="-32"/>
                    <a:pt x="245019" y="97"/>
                  </a:cubicBezTo>
                  <a:lnTo>
                    <a:pt x="243895" y="97"/>
                  </a:lnTo>
                  <a:lnTo>
                    <a:pt x="0" y="108179"/>
                  </a:lnTo>
                  <a:lnTo>
                    <a:pt x="0" y="108179"/>
                  </a:lnTo>
                  <a:cubicBezTo>
                    <a:pt x="1025" y="107739"/>
                    <a:pt x="2124" y="107485"/>
                    <a:pt x="3249" y="107429"/>
                  </a:cubicBezTo>
                  <a:cubicBezTo>
                    <a:pt x="8734" y="108019"/>
                    <a:pt x="12707" y="112939"/>
                    <a:pt x="12120" y="118425"/>
                  </a:cubicBezTo>
                  <a:close/>
                </a:path>
              </a:pathLst>
            </a:custGeom>
            <a:solidFill>
              <a:srgbClr val="000000"/>
            </a:solidFill>
            <a:ln w="12483" cap="flat">
              <a:noFill/>
              <a:prstDash val="solid"/>
              <a:miter/>
            </a:ln>
          </p:spPr>
          <p:txBody>
            <a:bodyPr rtlCol="0" anchor="ctr"/>
            <a:lstStyle/>
            <a:p>
              <a:endParaRPr lang="en-US"/>
            </a:p>
          </p:txBody>
        </p:sp>
        <p:sp>
          <p:nvSpPr>
            <p:cNvPr id="1441" name="Freeform: Shape 1440">
              <a:extLst>
                <a:ext uri="{FF2B5EF4-FFF2-40B4-BE49-F238E27FC236}">
                  <a16:creationId xmlns:a16="http://schemas.microsoft.com/office/drawing/2014/main" id="{7EA88D2C-01A4-465D-AE05-B4189CEC6EFE}"/>
                </a:ext>
              </a:extLst>
            </p:cNvPr>
            <p:cNvSpPr/>
            <p:nvPr/>
          </p:nvSpPr>
          <p:spPr>
            <a:xfrm>
              <a:off x="10707898" y="2347946"/>
              <a:ext cx="13124" cy="469437"/>
            </a:xfrm>
            <a:custGeom>
              <a:avLst/>
              <a:gdLst>
                <a:gd name="connsiteX0" fmla="*/ 12625 w 13124"/>
                <a:gd name="connsiteY0" fmla="*/ 625 h 469437"/>
                <a:gd name="connsiteX1" fmla="*/ 12625 w 13124"/>
                <a:gd name="connsiteY1" fmla="*/ 0 h 469437"/>
                <a:gd name="connsiteX2" fmla="*/ 12625 w 13124"/>
                <a:gd name="connsiteY2" fmla="*/ 0 h 469437"/>
                <a:gd name="connsiteX3" fmla="*/ 12625 w 13124"/>
                <a:gd name="connsiteY3" fmla="*/ 0 h 469437"/>
                <a:gd name="connsiteX4" fmla="*/ 12000 w 13124"/>
                <a:gd name="connsiteY4" fmla="*/ 0 h 469437"/>
                <a:gd name="connsiteX5" fmla="*/ 10626 w 13124"/>
                <a:gd name="connsiteY5" fmla="*/ 1749 h 469437"/>
                <a:gd name="connsiteX6" fmla="*/ 10626 w 13124"/>
                <a:gd name="connsiteY6" fmla="*/ 4623 h 469437"/>
                <a:gd name="connsiteX7" fmla="*/ 5 w 13124"/>
                <a:gd name="connsiteY7" fmla="*/ 466189 h 469437"/>
                <a:gd name="connsiteX8" fmla="*/ 5 w 13124"/>
                <a:gd name="connsiteY8" fmla="*/ 467438 h 469437"/>
                <a:gd name="connsiteX9" fmla="*/ 1630 w 13124"/>
                <a:gd name="connsiteY9" fmla="*/ 469438 h 469437"/>
                <a:gd name="connsiteX10" fmla="*/ 2505 w 13124"/>
                <a:gd name="connsiteY10" fmla="*/ 469438 h 469437"/>
                <a:gd name="connsiteX11" fmla="*/ 2505 w 13124"/>
                <a:gd name="connsiteY11" fmla="*/ 469438 h 469437"/>
                <a:gd name="connsiteX12" fmla="*/ 2505 w 13124"/>
                <a:gd name="connsiteY12" fmla="*/ 469438 h 469437"/>
                <a:gd name="connsiteX13" fmla="*/ 2505 w 13124"/>
                <a:gd name="connsiteY13" fmla="*/ 469438 h 469437"/>
                <a:gd name="connsiteX14" fmla="*/ 2505 w 13124"/>
                <a:gd name="connsiteY14" fmla="*/ 466439 h 469437"/>
                <a:gd name="connsiteX15" fmla="*/ 13125 w 13124"/>
                <a:gd name="connsiteY15" fmla="*/ 4998 h 469437"/>
                <a:gd name="connsiteX16" fmla="*/ 13125 w 13124"/>
                <a:gd name="connsiteY16" fmla="*/ 3623 h 469437"/>
                <a:gd name="connsiteX17" fmla="*/ 12625 w 13124"/>
                <a:gd name="connsiteY17" fmla="*/ 625 h 46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24" h="469437">
                  <a:moveTo>
                    <a:pt x="12625" y="625"/>
                  </a:moveTo>
                  <a:lnTo>
                    <a:pt x="12625" y="0"/>
                  </a:lnTo>
                  <a:lnTo>
                    <a:pt x="12625" y="0"/>
                  </a:lnTo>
                  <a:lnTo>
                    <a:pt x="12625" y="0"/>
                  </a:lnTo>
                  <a:lnTo>
                    <a:pt x="12000" y="0"/>
                  </a:lnTo>
                  <a:cubicBezTo>
                    <a:pt x="11151" y="125"/>
                    <a:pt x="10551" y="900"/>
                    <a:pt x="10626" y="1749"/>
                  </a:cubicBezTo>
                  <a:lnTo>
                    <a:pt x="10626" y="4623"/>
                  </a:lnTo>
                  <a:lnTo>
                    <a:pt x="5" y="466189"/>
                  </a:lnTo>
                  <a:lnTo>
                    <a:pt x="5" y="467438"/>
                  </a:lnTo>
                  <a:cubicBezTo>
                    <a:pt x="-70" y="468426"/>
                    <a:pt x="643" y="469313"/>
                    <a:pt x="1630" y="469438"/>
                  </a:cubicBezTo>
                  <a:lnTo>
                    <a:pt x="2505" y="469438"/>
                  </a:lnTo>
                  <a:lnTo>
                    <a:pt x="2505" y="469438"/>
                  </a:lnTo>
                  <a:lnTo>
                    <a:pt x="2505" y="469438"/>
                  </a:lnTo>
                  <a:cubicBezTo>
                    <a:pt x="2505" y="469438"/>
                    <a:pt x="2505" y="469438"/>
                    <a:pt x="2505" y="469438"/>
                  </a:cubicBezTo>
                  <a:lnTo>
                    <a:pt x="2505" y="466439"/>
                  </a:lnTo>
                  <a:lnTo>
                    <a:pt x="13125" y="4998"/>
                  </a:lnTo>
                  <a:lnTo>
                    <a:pt x="13125" y="3623"/>
                  </a:lnTo>
                  <a:cubicBezTo>
                    <a:pt x="13125" y="3623"/>
                    <a:pt x="12625" y="750"/>
                    <a:pt x="12625" y="625"/>
                  </a:cubicBezTo>
                  <a:close/>
                </a:path>
              </a:pathLst>
            </a:custGeom>
            <a:solidFill>
              <a:srgbClr val="000000"/>
            </a:solidFill>
            <a:ln w="12483" cap="flat">
              <a:noFill/>
              <a:prstDash val="solid"/>
              <a:miter/>
            </a:ln>
          </p:spPr>
          <p:txBody>
            <a:bodyPr rtlCol="0" anchor="ctr"/>
            <a:lstStyle/>
            <a:p>
              <a:endParaRPr lang="en-US"/>
            </a:p>
          </p:txBody>
        </p:sp>
        <p:sp>
          <p:nvSpPr>
            <p:cNvPr id="1442" name="Freeform: Shape 1441">
              <a:extLst>
                <a:ext uri="{FF2B5EF4-FFF2-40B4-BE49-F238E27FC236}">
                  <a16:creationId xmlns:a16="http://schemas.microsoft.com/office/drawing/2014/main" id="{346F4AF3-2800-4240-BC65-317A8F3C18FB}"/>
                </a:ext>
              </a:extLst>
            </p:cNvPr>
            <p:cNvSpPr/>
            <p:nvPr/>
          </p:nvSpPr>
          <p:spPr>
            <a:xfrm>
              <a:off x="10481505" y="2462450"/>
              <a:ext cx="7118" cy="469387"/>
            </a:xfrm>
            <a:custGeom>
              <a:avLst/>
              <a:gdLst>
                <a:gd name="connsiteX0" fmla="*/ 5994 w 7118"/>
                <a:gd name="connsiteY0" fmla="*/ 1450 h 469387"/>
                <a:gd name="connsiteX1" fmla="*/ 5994 w 7118"/>
                <a:gd name="connsiteY1" fmla="*/ 2574 h 469387"/>
                <a:gd name="connsiteX2" fmla="*/ 122 w 7118"/>
                <a:gd name="connsiteY2" fmla="*/ 463640 h 469387"/>
                <a:gd name="connsiteX3" fmla="*/ 122 w 7118"/>
                <a:gd name="connsiteY3" fmla="*/ 468013 h 469387"/>
                <a:gd name="connsiteX4" fmla="*/ 122 w 7118"/>
                <a:gd name="connsiteY4" fmla="*/ 469388 h 469387"/>
                <a:gd name="connsiteX5" fmla="*/ 122 w 7118"/>
                <a:gd name="connsiteY5" fmla="*/ 469388 h 469387"/>
                <a:gd name="connsiteX6" fmla="*/ 122 w 7118"/>
                <a:gd name="connsiteY6" fmla="*/ 469388 h 469387"/>
                <a:gd name="connsiteX7" fmla="*/ 746 w 7118"/>
                <a:gd name="connsiteY7" fmla="*/ 469388 h 469387"/>
                <a:gd name="connsiteX8" fmla="*/ 1371 w 7118"/>
                <a:gd name="connsiteY8" fmla="*/ 469388 h 469387"/>
                <a:gd name="connsiteX9" fmla="*/ 1371 w 7118"/>
                <a:gd name="connsiteY9" fmla="*/ 469388 h 469387"/>
                <a:gd name="connsiteX10" fmla="*/ 1371 w 7118"/>
                <a:gd name="connsiteY10" fmla="*/ 468513 h 469387"/>
                <a:gd name="connsiteX11" fmla="*/ 1371 w 7118"/>
                <a:gd name="connsiteY11" fmla="*/ 468513 h 469387"/>
                <a:gd name="connsiteX12" fmla="*/ 1371 w 7118"/>
                <a:gd name="connsiteY12" fmla="*/ 468513 h 469387"/>
                <a:gd name="connsiteX13" fmla="*/ 1371 w 7118"/>
                <a:gd name="connsiteY13" fmla="*/ 465639 h 469387"/>
                <a:gd name="connsiteX14" fmla="*/ 7119 w 7118"/>
                <a:gd name="connsiteY14" fmla="*/ 3324 h 469387"/>
                <a:gd name="connsiteX15" fmla="*/ 7119 w 7118"/>
                <a:gd name="connsiteY15" fmla="*/ 2074 h 469387"/>
                <a:gd name="connsiteX16" fmla="*/ 5619 w 7118"/>
                <a:gd name="connsiteY16" fmla="*/ 75 h 469387"/>
                <a:gd name="connsiteX17" fmla="*/ 4745 w 7118"/>
                <a:gd name="connsiteY17" fmla="*/ 75 h 469387"/>
                <a:gd name="connsiteX18" fmla="*/ 4745 w 7118"/>
                <a:gd name="connsiteY18" fmla="*/ 75 h 469387"/>
                <a:gd name="connsiteX19" fmla="*/ 5994 w 7118"/>
                <a:gd name="connsiteY19" fmla="*/ 1450 h 46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18" h="469387">
                  <a:moveTo>
                    <a:pt x="5994" y="1450"/>
                  </a:moveTo>
                  <a:lnTo>
                    <a:pt x="5994" y="2574"/>
                  </a:lnTo>
                  <a:lnTo>
                    <a:pt x="122" y="463640"/>
                  </a:lnTo>
                  <a:lnTo>
                    <a:pt x="122" y="468013"/>
                  </a:lnTo>
                  <a:cubicBezTo>
                    <a:pt x="-41" y="468463"/>
                    <a:pt x="-41" y="468938"/>
                    <a:pt x="122" y="469388"/>
                  </a:cubicBezTo>
                  <a:lnTo>
                    <a:pt x="122" y="469388"/>
                  </a:lnTo>
                  <a:lnTo>
                    <a:pt x="122" y="469388"/>
                  </a:lnTo>
                  <a:lnTo>
                    <a:pt x="746" y="469388"/>
                  </a:lnTo>
                  <a:cubicBezTo>
                    <a:pt x="746" y="469388"/>
                    <a:pt x="746" y="469388"/>
                    <a:pt x="1371" y="469388"/>
                  </a:cubicBezTo>
                  <a:lnTo>
                    <a:pt x="1371" y="469388"/>
                  </a:lnTo>
                  <a:cubicBezTo>
                    <a:pt x="1371" y="469388"/>
                    <a:pt x="1371" y="468763"/>
                    <a:pt x="1371" y="468513"/>
                  </a:cubicBezTo>
                  <a:cubicBezTo>
                    <a:pt x="1371" y="468263"/>
                    <a:pt x="1371" y="468513"/>
                    <a:pt x="1371" y="468513"/>
                  </a:cubicBezTo>
                  <a:lnTo>
                    <a:pt x="1371" y="468513"/>
                  </a:lnTo>
                  <a:lnTo>
                    <a:pt x="1371" y="465639"/>
                  </a:lnTo>
                  <a:lnTo>
                    <a:pt x="7119" y="3324"/>
                  </a:lnTo>
                  <a:lnTo>
                    <a:pt x="7119" y="2074"/>
                  </a:lnTo>
                  <a:cubicBezTo>
                    <a:pt x="7119" y="950"/>
                    <a:pt x="6494" y="75"/>
                    <a:pt x="5619" y="75"/>
                  </a:cubicBezTo>
                  <a:cubicBezTo>
                    <a:pt x="5332" y="-25"/>
                    <a:pt x="5032" y="-25"/>
                    <a:pt x="4745" y="75"/>
                  </a:cubicBezTo>
                  <a:lnTo>
                    <a:pt x="4745" y="75"/>
                  </a:lnTo>
                  <a:cubicBezTo>
                    <a:pt x="4857" y="737"/>
                    <a:pt x="5345" y="1275"/>
                    <a:pt x="5994" y="1450"/>
                  </a:cubicBezTo>
                  <a:close/>
                </a:path>
              </a:pathLst>
            </a:custGeom>
            <a:solidFill>
              <a:srgbClr val="000000"/>
            </a:solidFill>
            <a:ln w="12483" cap="flat">
              <a:noFill/>
              <a:prstDash val="solid"/>
              <a:miter/>
            </a:ln>
          </p:spPr>
          <p:txBody>
            <a:bodyPr rtlCol="0" anchor="ctr"/>
            <a:lstStyle/>
            <a:p>
              <a:endParaRPr lang="en-US"/>
            </a:p>
          </p:txBody>
        </p:sp>
        <p:sp>
          <p:nvSpPr>
            <p:cNvPr id="1443" name="Freeform: Shape 1442">
              <a:extLst>
                <a:ext uri="{FF2B5EF4-FFF2-40B4-BE49-F238E27FC236}">
                  <a16:creationId xmlns:a16="http://schemas.microsoft.com/office/drawing/2014/main" id="{B0502336-AA52-4193-9DE4-6238B19A0FD3}"/>
                </a:ext>
              </a:extLst>
            </p:cNvPr>
            <p:cNvSpPr/>
            <p:nvPr/>
          </p:nvSpPr>
          <p:spPr>
            <a:xfrm>
              <a:off x="10443268" y="2419667"/>
              <a:ext cx="8251" cy="467938"/>
            </a:xfrm>
            <a:custGeom>
              <a:avLst/>
              <a:gdLst>
                <a:gd name="connsiteX0" fmla="*/ 3249 w 8251"/>
                <a:gd name="connsiteY0" fmla="*/ 466564 h 467938"/>
                <a:gd name="connsiteX1" fmla="*/ 3249 w 8251"/>
                <a:gd name="connsiteY1" fmla="*/ 467938 h 467938"/>
                <a:gd name="connsiteX2" fmla="*/ 3249 w 8251"/>
                <a:gd name="connsiteY2" fmla="*/ 467189 h 467938"/>
                <a:gd name="connsiteX3" fmla="*/ 8246 w 8251"/>
                <a:gd name="connsiteY3" fmla="*/ 6248 h 467938"/>
                <a:gd name="connsiteX4" fmla="*/ 8246 w 8251"/>
                <a:gd name="connsiteY4" fmla="*/ 1874 h 467938"/>
                <a:gd name="connsiteX5" fmla="*/ 6635 w 8251"/>
                <a:gd name="connsiteY5" fmla="*/ 0 h 467938"/>
                <a:gd name="connsiteX6" fmla="*/ 6622 w 8251"/>
                <a:gd name="connsiteY6" fmla="*/ 0 h 467938"/>
                <a:gd name="connsiteX7" fmla="*/ 4998 w 8251"/>
                <a:gd name="connsiteY7" fmla="*/ 1874 h 467938"/>
                <a:gd name="connsiteX8" fmla="*/ 4998 w 8251"/>
                <a:gd name="connsiteY8" fmla="*/ 2749 h 467938"/>
                <a:gd name="connsiteX9" fmla="*/ 0 w 8251"/>
                <a:gd name="connsiteY9" fmla="*/ 463565 h 46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1" h="467938">
                  <a:moveTo>
                    <a:pt x="3249" y="466564"/>
                  </a:moveTo>
                  <a:cubicBezTo>
                    <a:pt x="3423" y="467001"/>
                    <a:pt x="3423" y="467501"/>
                    <a:pt x="3249" y="467938"/>
                  </a:cubicBezTo>
                  <a:lnTo>
                    <a:pt x="3249" y="467189"/>
                  </a:lnTo>
                  <a:lnTo>
                    <a:pt x="8246" y="6248"/>
                  </a:lnTo>
                  <a:lnTo>
                    <a:pt x="8246" y="1874"/>
                  </a:lnTo>
                  <a:cubicBezTo>
                    <a:pt x="8321" y="912"/>
                    <a:pt x="7597" y="75"/>
                    <a:pt x="6635" y="0"/>
                  </a:cubicBezTo>
                  <a:cubicBezTo>
                    <a:pt x="6622" y="0"/>
                    <a:pt x="6622" y="0"/>
                    <a:pt x="6622" y="0"/>
                  </a:cubicBezTo>
                  <a:cubicBezTo>
                    <a:pt x="5747" y="0"/>
                    <a:pt x="4998" y="750"/>
                    <a:pt x="4998" y="1874"/>
                  </a:cubicBezTo>
                  <a:lnTo>
                    <a:pt x="4998" y="2749"/>
                  </a:lnTo>
                  <a:lnTo>
                    <a:pt x="0" y="463565"/>
                  </a:lnTo>
                  <a:close/>
                </a:path>
              </a:pathLst>
            </a:custGeom>
            <a:solidFill>
              <a:srgbClr val="000000"/>
            </a:solidFill>
            <a:ln w="12483" cap="flat">
              <a:noFill/>
              <a:prstDash val="solid"/>
              <a:miter/>
            </a:ln>
          </p:spPr>
          <p:txBody>
            <a:bodyPr rtlCol="0" anchor="ctr"/>
            <a:lstStyle/>
            <a:p>
              <a:endParaRPr lang="en-US"/>
            </a:p>
          </p:txBody>
        </p:sp>
        <p:sp>
          <p:nvSpPr>
            <p:cNvPr id="1444" name="Freeform: Shape 1443">
              <a:extLst>
                <a:ext uri="{FF2B5EF4-FFF2-40B4-BE49-F238E27FC236}">
                  <a16:creationId xmlns:a16="http://schemas.microsoft.com/office/drawing/2014/main" id="{5723DBDC-9090-4AC3-9FE8-0ADFED2C4CA5}"/>
                </a:ext>
              </a:extLst>
            </p:cNvPr>
            <p:cNvSpPr/>
            <p:nvPr/>
          </p:nvSpPr>
          <p:spPr>
            <a:xfrm>
              <a:off x="10447016" y="2887605"/>
              <a:ext cx="37" cy="749"/>
            </a:xfrm>
            <a:custGeom>
              <a:avLst/>
              <a:gdLst>
                <a:gd name="connsiteX0" fmla="*/ 0 w 37"/>
                <a:gd name="connsiteY0" fmla="*/ 0 h 749"/>
                <a:gd name="connsiteX1" fmla="*/ 0 w 37"/>
                <a:gd name="connsiteY1" fmla="*/ 750 h 749"/>
                <a:gd name="connsiteX2" fmla="*/ 0 w 37"/>
                <a:gd name="connsiteY2" fmla="*/ 750 h 749"/>
              </a:gdLst>
              <a:ahLst/>
              <a:cxnLst>
                <a:cxn ang="0">
                  <a:pos x="connsiteX0" y="connsiteY0"/>
                </a:cxn>
                <a:cxn ang="0">
                  <a:pos x="connsiteX1" y="connsiteY1"/>
                </a:cxn>
                <a:cxn ang="0">
                  <a:pos x="connsiteX2" y="connsiteY2"/>
                </a:cxn>
              </a:cxnLst>
              <a:rect l="l" t="t" r="r" b="b"/>
              <a:pathLst>
                <a:path w="37" h="749">
                  <a:moveTo>
                    <a:pt x="0" y="0"/>
                  </a:moveTo>
                  <a:cubicBezTo>
                    <a:pt x="50" y="250"/>
                    <a:pt x="50" y="500"/>
                    <a:pt x="0" y="750"/>
                  </a:cubicBezTo>
                  <a:cubicBezTo>
                    <a:pt x="0" y="750"/>
                    <a:pt x="0" y="750"/>
                    <a:pt x="0" y="750"/>
                  </a:cubicBezTo>
                  <a:close/>
                </a:path>
              </a:pathLst>
            </a:custGeom>
            <a:solidFill>
              <a:srgbClr val="000000"/>
            </a:solidFill>
            <a:ln w="12483" cap="flat">
              <a:noFill/>
              <a:prstDash val="solid"/>
              <a:miter/>
            </a:ln>
          </p:spPr>
          <p:txBody>
            <a:bodyPr rtlCol="0" anchor="ctr"/>
            <a:lstStyle/>
            <a:p>
              <a:endParaRPr lang="en-US"/>
            </a:p>
          </p:txBody>
        </p:sp>
        <p:sp>
          <p:nvSpPr>
            <p:cNvPr id="1445" name="Freeform: Shape 1444">
              <a:extLst>
                <a:ext uri="{FF2B5EF4-FFF2-40B4-BE49-F238E27FC236}">
                  <a16:creationId xmlns:a16="http://schemas.microsoft.com/office/drawing/2014/main" id="{39E751DD-FD14-4D4A-9A24-B6801136B6F6}"/>
                </a:ext>
              </a:extLst>
            </p:cNvPr>
            <p:cNvSpPr/>
            <p:nvPr/>
          </p:nvSpPr>
          <p:spPr>
            <a:xfrm>
              <a:off x="10445517" y="288960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446" name="Freeform: Shape 1445">
              <a:extLst>
                <a:ext uri="{FF2B5EF4-FFF2-40B4-BE49-F238E27FC236}">
                  <a16:creationId xmlns:a16="http://schemas.microsoft.com/office/drawing/2014/main" id="{58B7F807-DD81-4196-A873-F480758FB590}"/>
                </a:ext>
              </a:extLst>
            </p:cNvPr>
            <p:cNvSpPr/>
            <p:nvPr/>
          </p:nvSpPr>
          <p:spPr>
            <a:xfrm>
              <a:off x="9916870" y="3848722"/>
              <a:ext cx="3373" cy="99085"/>
            </a:xfrm>
            <a:custGeom>
              <a:avLst/>
              <a:gdLst>
                <a:gd name="connsiteX0" fmla="*/ 3373 w 3373"/>
                <a:gd name="connsiteY0" fmla="*/ 99085 h 99085"/>
                <a:gd name="connsiteX1" fmla="*/ 1874 w 3373"/>
                <a:gd name="connsiteY1" fmla="*/ 625 h 99085"/>
                <a:gd name="connsiteX2" fmla="*/ 999 w 3373"/>
                <a:gd name="connsiteY2" fmla="*/ 625 h 99085"/>
                <a:gd name="connsiteX3" fmla="*/ 0 w 3373"/>
                <a:gd name="connsiteY3" fmla="*/ 625 h 99085"/>
                <a:gd name="connsiteX4" fmla="*/ 0 w 3373"/>
                <a:gd name="connsiteY4" fmla="*/ 625 h 99085"/>
                <a:gd name="connsiteX5" fmla="*/ 0 w 3373"/>
                <a:gd name="connsiteY5" fmla="*/ 625 h 99085"/>
                <a:gd name="connsiteX6" fmla="*/ 0 w 3373"/>
                <a:gd name="connsiteY6" fmla="*/ 0 h 99085"/>
                <a:gd name="connsiteX7" fmla="*/ 1374 w 3373"/>
                <a:gd name="connsiteY7" fmla="*/ 94837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3" h="99085">
                  <a:moveTo>
                    <a:pt x="3373" y="99085"/>
                  </a:moveTo>
                  <a:lnTo>
                    <a:pt x="1874" y="625"/>
                  </a:lnTo>
                  <a:lnTo>
                    <a:pt x="999" y="625"/>
                  </a:lnTo>
                  <a:lnTo>
                    <a:pt x="0" y="625"/>
                  </a:lnTo>
                  <a:lnTo>
                    <a:pt x="0" y="625"/>
                  </a:lnTo>
                  <a:lnTo>
                    <a:pt x="0" y="625"/>
                  </a:lnTo>
                  <a:lnTo>
                    <a:pt x="0" y="0"/>
                  </a:lnTo>
                  <a:lnTo>
                    <a:pt x="1374" y="94837"/>
                  </a:lnTo>
                  <a:close/>
                </a:path>
              </a:pathLst>
            </a:custGeom>
            <a:solidFill>
              <a:srgbClr val="000000"/>
            </a:solidFill>
            <a:ln w="12483" cap="flat">
              <a:noFill/>
              <a:prstDash val="solid"/>
              <a:miter/>
            </a:ln>
          </p:spPr>
          <p:txBody>
            <a:bodyPr rtlCol="0" anchor="ctr"/>
            <a:lstStyle/>
            <a:p>
              <a:endParaRPr lang="en-US"/>
            </a:p>
          </p:txBody>
        </p:sp>
        <p:sp>
          <p:nvSpPr>
            <p:cNvPr id="1447" name="Freeform: Shape 1446">
              <a:extLst>
                <a:ext uri="{FF2B5EF4-FFF2-40B4-BE49-F238E27FC236}">
                  <a16:creationId xmlns:a16="http://schemas.microsoft.com/office/drawing/2014/main" id="{E558700B-56EF-4FCA-82A5-633560F46217}"/>
                </a:ext>
              </a:extLst>
            </p:cNvPr>
            <p:cNvSpPr/>
            <p:nvPr/>
          </p:nvSpPr>
          <p:spPr>
            <a:xfrm>
              <a:off x="11193819" y="3701781"/>
              <a:ext cx="19374" cy="338739"/>
            </a:xfrm>
            <a:custGeom>
              <a:avLst/>
              <a:gdLst>
                <a:gd name="connsiteX0" fmla="*/ 19366 w 19374"/>
                <a:gd name="connsiteY0" fmla="*/ 6122 h 338739"/>
                <a:gd name="connsiteX1" fmla="*/ 19366 w 19374"/>
                <a:gd name="connsiteY1" fmla="*/ 1999 h 338739"/>
                <a:gd name="connsiteX2" fmla="*/ 17867 w 19374"/>
                <a:gd name="connsiteY2" fmla="*/ 0 h 338739"/>
                <a:gd name="connsiteX3" fmla="*/ 16243 w 19374"/>
                <a:gd name="connsiteY3" fmla="*/ 1874 h 338739"/>
                <a:gd name="connsiteX4" fmla="*/ 0 w 19374"/>
                <a:gd name="connsiteY4" fmla="*/ 335241 h 338739"/>
                <a:gd name="connsiteX5" fmla="*/ 2999 w 19374"/>
                <a:gd name="connsiteY5" fmla="*/ 338740 h 33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74" h="338739">
                  <a:moveTo>
                    <a:pt x="19366" y="6122"/>
                  </a:moveTo>
                  <a:lnTo>
                    <a:pt x="19366" y="1999"/>
                  </a:lnTo>
                  <a:cubicBezTo>
                    <a:pt x="19454" y="1049"/>
                    <a:pt x="18804" y="187"/>
                    <a:pt x="17867" y="0"/>
                  </a:cubicBezTo>
                  <a:cubicBezTo>
                    <a:pt x="16992" y="0"/>
                    <a:pt x="16243" y="750"/>
                    <a:pt x="16243" y="1874"/>
                  </a:cubicBezTo>
                  <a:lnTo>
                    <a:pt x="0" y="335241"/>
                  </a:lnTo>
                  <a:lnTo>
                    <a:pt x="2999" y="338740"/>
                  </a:lnTo>
                  <a:close/>
                </a:path>
              </a:pathLst>
            </a:custGeom>
            <a:solidFill>
              <a:srgbClr val="000000"/>
            </a:solidFill>
            <a:ln w="12483" cap="flat">
              <a:noFill/>
              <a:prstDash val="solid"/>
              <a:miter/>
            </a:ln>
          </p:spPr>
          <p:txBody>
            <a:bodyPr rtlCol="0" anchor="ctr"/>
            <a:lstStyle/>
            <a:p>
              <a:endParaRPr lang="en-US"/>
            </a:p>
          </p:txBody>
        </p:sp>
        <p:sp>
          <p:nvSpPr>
            <p:cNvPr id="1448" name="Freeform: Shape 1447">
              <a:extLst>
                <a:ext uri="{FF2B5EF4-FFF2-40B4-BE49-F238E27FC236}">
                  <a16:creationId xmlns:a16="http://schemas.microsoft.com/office/drawing/2014/main" id="{8681DE08-2FA6-4D66-8EF3-03A8898209FF}"/>
                </a:ext>
              </a:extLst>
            </p:cNvPr>
            <p:cNvSpPr/>
            <p:nvPr/>
          </p:nvSpPr>
          <p:spPr>
            <a:xfrm>
              <a:off x="11313142" y="3930814"/>
              <a:ext cx="108546" cy="126781"/>
            </a:xfrm>
            <a:custGeom>
              <a:avLst/>
              <a:gdLst>
                <a:gd name="connsiteX0" fmla="*/ 0 w 108546"/>
                <a:gd name="connsiteY0" fmla="*/ 4748 h 126781"/>
                <a:gd name="connsiteX1" fmla="*/ 106079 w 108546"/>
                <a:gd name="connsiteY1" fmla="*/ 126200 h 126781"/>
                <a:gd name="connsiteX2" fmla="*/ 106079 w 108546"/>
                <a:gd name="connsiteY2" fmla="*/ 126200 h 126781"/>
                <a:gd name="connsiteX3" fmla="*/ 108178 w 108546"/>
                <a:gd name="connsiteY3" fmla="*/ 126475 h 126781"/>
                <a:gd name="connsiteX4" fmla="*/ 108453 w 108546"/>
                <a:gd name="connsiteY4" fmla="*/ 126200 h 126781"/>
                <a:gd name="connsiteX5" fmla="*/ 108453 w 108546"/>
                <a:gd name="connsiteY5" fmla="*/ 124825 h 126781"/>
                <a:gd name="connsiteX6" fmla="*/ 108453 w 108546"/>
                <a:gd name="connsiteY6" fmla="*/ 124075 h 126781"/>
                <a:gd name="connsiteX7" fmla="*/ 108453 w 108546"/>
                <a:gd name="connsiteY7" fmla="*/ 124075 h 126781"/>
                <a:gd name="connsiteX8" fmla="*/ 107703 w 108546"/>
                <a:gd name="connsiteY8" fmla="*/ 123201 h 126781"/>
                <a:gd name="connsiteX9" fmla="*/ 0 w 108546"/>
                <a:gd name="connsiteY9" fmla="*/ 0 h 12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6" h="126781">
                  <a:moveTo>
                    <a:pt x="0" y="4748"/>
                  </a:moveTo>
                  <a:lnTo>
                    <a:pt x="106079" y="126200"/>
                  </a:lnTo>
                  <a:lnTo>
                    <a:pt x="106079" y="126200"/>
                  </a:lnTo>
                  <a:cubicBezTo>
                    <a:pt x="106579" y="126850"/>
                    <a:pt x="107528" y="126974"/>
                    <a:pt x="108178" y="126475"/>
                  </a:cubicBezTo>
                  <a:cubicBezTo>
                    <a:pt x="108278" y="126387"/>
                    <a:pt x="108378" y="126300"/>
                    <a:pt x="108453" y="126200"/>
                  </a:cubicBezTo>
                  <a:cubicBezTo>
                    <a:pt x="108578" y="125750"/>
                    <a:pt x="108578" y="125275"/>
                    <a:pt x="108453" y="124825"/>
                  </a:cubicBezTo>
                  <a:cubicBezTo>
                    <a:pt x="108503" y="124575"/>
                    <a:pt x="108503" y="124326"/>
                    <a:pt x="108453" y="124075"/>
                  </a:cubicBezTo>
                  <a:lnTo>
                    <a:pt x="108453" y="124075"/>
                  </a:lnTo>
                  <a:lnTo>
                    <a:pt x="107703" y="123201"/>
                  </a:lnTo>
                  <a:lnTo>
                    <a:pt x="0" y="0"/>
                  </a:lnTo>
                  <a:close/>
                </a:path>
              </a:pathLst>
            </a:custGeom>
            <a:solidFill>
              <a:srgbClr val="000000"/>
            </a:solidFill>
            <a:ln w="12483" cap="flat">
              <a:noFill/>
              <a:prstDash val="solid"/>
              <a:miter/>
            </a:ln>
          </p:spPr>
          <p:txBody>
            <a:bodyPr rtlCol="0" anchor="ctr"/>
            <a:lstStyle/>
            <a:p>
              <a:endParaRPr lang="en-US"/>
            </a:p>
          </p:txBody>
        </p:sp>
        <p:sp>
          <p:nvSpPr>
            <p:cNvPr id="1449" name="Freeform: Shape 1448">
              <a:extLst>
                <a:ext uri="{FF2B5EF4-FFF2-40B4-BE49-F238E27FC236}">
                  <a16:creationId xmlns:a16="http://schemas.microsoft.com/office/drawing/2014/main" id="{E95B7EE4-AE97-4802-B592-E90808792CED}"/>
                </a:ext>
              </a:extLst>
            </p:cNvPr>
            <p:cNvSpPr/>
            <p:nvPr/>
          </p:nvSpPr>
          <p:spPr>
            <a:xfrm>
              <a:off x="6977515" y="5247789"/>
              <a:ext cx="717814" cy="1200271"/>
            </a:xfrm>
            <a:custGeom>
              <a:avLst/>
              <a:gdLst>
                <a:gd name="connsiteX0" fmla="*/ 716565 w 717814"/>
                <a:gd name="connsiteY0" fmla="*/ 1191650 h 1200271"/>
                <a:gd name="connsiteX1" fmla="*/ 0 w 717814"/>
                <a:gd name="connsiteY1" fmla="*/ 0 h 1200271"/>
                <a:gd name="connsiteX2" fmla="*/ 1499 w 717814"/>
                <a:gd name="connsiteY2" fmla="*/ 9122 h 1200271"/>
                <a:gd name="connsiteX3" fmla="*/ 717815 w 717814"/>
                <a:gd name="connsiteY3" fmla="*/ 1200271 h 1200271"/>
                <a:gd name="connsiteX4" fmla="*/ 716565 w 717814"/>
                <a:gd name="connsiteY4" fmla="*/ 1191650 h 1200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14" h="1200271">
                  <a:moveTo>
                    <a:pt x="716565" y="1191650"/>
                  </a:moveTo>
                  <a:lnTo>
                    <a:pt x="0" y="0"/>
                  </a:lnTo>
                  <a:lnTo>
                    <a:pt x="1499" y="9122"/>
                  </a:lnTo>
                  <a:lnTo>
                    <a:pt x="717815" y="1200271"/>
                  </a:lnTo>
                  <a:lnTo>
                    <a:pt x="716565" y="1191650"/>
                  </a:lnTo>
                  <a:close/>
                </a:path>
              </a:pathLst>
            </a:custGeom>
            <a:solidFill>
              <a:srgbClr val="000000"/>
            </a:solidFill>
            <a:ln w="12483" cap="flat">
              <a:noFill/>
              <a:prstDash val="solid"/>
              <a:miter/>
            </a:ln>
          </p:spPr>
          <p:txBody>
            <a:bodyPr rtlCol="0" anchor="ctr"/>
            <a:lstStyle/>
            <a:p>
              <a:endParaRPr lang="en-US"/>
            </a:p>
          </p:txBody>
        </p:sp>
        <p:sp>
          <p:nvSpPr>
            <p:cNvPr id="1450" name="Freeform: Shape 1449">
              <a:extLst>
                <a:ext uri="{FF2B5EF4-FFF2-40B4-BE49-F238E27FC236}">
                  <a16:creationId xmlns:a16="http://schemas.microsoft.com/office/drawing/2014/main" id="{33113EDE-0A47-4EC1-AB92-D823C35E8AC7}"/>
                </a:ext>
              </a:extLst>
            </p:cNvPr>
            <p:cNvSpPr/>
            <p:nvPr/>
          </p:nvSpPr>
          <p:spPr>
            <a:xfrm>
              <a:off x="6957056" y="5232170"/>
              <a:ext cx="62066" cy="265269"/>
            </a:xfrm>
            <a:custGeom>
              <a:avLst/>
              <a:gdLst>
                <a:gd name="connsiteX0" fmla="*/ 48448 w 62066"/>
                <a:gd name="connsiteY0" fmla="*/ 254274 h 265269"/>
                <a:gd name="connsiteX1" fmla="*/ 59730 w 62066"/>
                <a:gd name="connsiteY1" fmla="*/ 254961 h 265269"/>
                <a:gd name="connsiteX2" fmla="*/ 60942 w 62066"/>
                <a:gd name="connsiteY2" fmla="*/ 256773 h 265269"/>
                <a:gd name="connsiteX3" fmla="*/ 62067 w 62066"/>
                <a:gd name="connsiteY3" fmla="*/ 258647 h 265269"/>
                <a:gd name="connsiteX4" fmla="*/ 21959 w 62066"/>
                <a:gd name="connsiteY4" fmla="*/ 24740 h 265269"/>
                <a:gd name="connsiteX5" fmla="*/ 20460 w 62066"/>
                <a:gd name="connsiteY5" fmla="*/ 15619 h 265269"/>
                <a:gd name="connsiteX6" fmla="*/ 18586 w 62066"/>
                <a:gd name="connsiteY6" fmla="*/ 5248 h 265269"/>
                <a:gd name="connsiteX7" fmla="*/ 11964 w 62066"/>
                <a:gd name="connsiteY7" fmla="*/ 8747 h 265269"/>
                <a:gd name="connsiteX8" fmla="*/ 656 w 62066"/>
                <a:gd name="connsiteY8" fmla="*/ 4686 h 265269"/>
                <a:gd name="connsiteX9" fmla="*/ 94 w 62066"/>
                <a:gd name="connsiteY9" fmla="*/ 3124 h 265269"/>
                <a:gd name="connsiteX10" fmla="*/ 94 w 62066"/>
                <a:gd name="connsiteY10" fmla="*/ 0 h 265269"/>
                <a:gd name="connsiteX11" fmla="*/ 94 w 62066"/>
                <a:gd name="connsiteY11" fmla="*/ 1000 h 265269"/>
                <a:gd name="connsiteX12" fmla="*/ 45449 w 62066"/>
                <a:gd name="connsiteY12" fmla="*/ 265269 h 265269"/>
                <a:gd name="connsiteX13" fmla="*/ 45449 w 62066"/>
                <a:gd name="connsiteY13" fmla="*/ 265269 h 265269"/>
                <a:gd name="connsiteX14" fmla="*/ 48448 w 62066"/>
                <a:gd name="connsiteY14" fmla="*/ 254274 h 26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066" h="265269">
                  <a:moveTo>
                    <a:pt x="48448" y="254274"/>
                  </a:moveTo>
                  <a:cubicBezTo>
                    <a:pt x="51759" y="251350"/>
                    <a:pt x="56807" y="251650"/>
                    <a:pt x="59730" y="254961"/>
                  </a:cubicBezTo>
                  <a:cubicBezTo>
                    <a:pt x="60218" y="255511"/>
                    <a:pt x="60630" y="256123"/>
                    <a:pt x="60942" y="256773"/>
                  </a:cubicBezTo>
                  <a:lnTo>
                    <a:pt x="62067" y="258647"/>
                  </a:lnTo>
                  <a:lnTo>
                    <a:pt x="21959" y="24740"/>
                  </a:lnTo>
                  <a:lnTo>
                    <a:pt x="20460" y="15619"/>
                  </a:lnTo>
                  <a:lnTo>
                    <a:pt x="18586" y="5248"/>
                  </a:lnTo>
                  <a:lnTo>
                    <a:pt x="11964" y="8747"/>
                  </a:lnTo>
                  <a:cubicBezTo>
                    <a:pt x="7715" y="10746"/>
                    <a:pt x="2655" y="8934"/>
                    <a:pt x="656" y="4686"/>
                  </a:cubicBezTo>
                  <a:cubicBezTo>
                    <a:pt x="419" y="4186"/>
                    <a:pt x="231" y="3661"/>
                    <a:pt x="94" y="3124"/>
                  </a:cubicBezTo>
                  <a:cubicBezTo>
                    <a:pt x="-31" y="2087"/>
                    <a:pt x="-31" y="1037"/>
                    <a:pt x="94" y="0"/>
                  </a:cubicBezTo>
                  <a:cubicBezTo>
                    <a:pt x="94" y="0"/>
                    <a:pt x="94" y="750"/>
                    <a:pt x="94" y="1000"/>
                  </a:cubicBezTo>
                  <a:lnTo>
                    <a:pt x="45449" y="265269"/>
                  </a:lnTo>
                  <a:lnTo>
                    <a:pt x="45449" y="265269"/>
                  </a:lnTo>
                  <a:cubicBezTo>
                    <a:pt x="44624" y="261333"/>
                    <a:pt x="45737" y="257248"/>
                    <a:pt x="48448" y="254274"/>
                  </a:cubicBezTo>
                  <a:close/>
                </a:path>
              </a:pathLst>
            </a:custGeom>
            <a:solidFill>
              <a:srgbClr val="000000"/>
            </a:solidFill>
            <a:ln w="12483" cap="flat">
              <a:noFill/>
              <a:prstDash val="solid"/>
              <a:miter/>
            </a:ln>
          </p:spPr>
          <p:txBody>
            <a:bodyPr rtlCol="0" anchor="ctr"/>
            <a:lstStyle/>
            <a:p>
              <a:endParaRPr lang="en-US"/>
            </a:p>
          </p:txBody>
        </p:sp>
        <p:sp>
          <p:nvSpPr>
            <p:cNvPr id="1451" name="Freeform: Shape 1450">
              <a:extLst>
                <a:ext uri="{FF2B5EF4-FFF2-40B4-BE49-F238E27FC236}">
                  <a16:creationId xmlns:a16="http://schemas.microsoft.com/office/drawing/2014/main" id="{67E2F179-01B4-4D2B-8DDF-964E4666D36D}"/>
                </a:ext>
              </a:extLst>
            </p:cNvPr>
            <p:cNvSpPr/>
            <p:nvPr/>
          </p:nvSpPr>
          <p:spPr>
            <a:xfrm>
              <a:off x="7477299" y="4959904"/>
              <a:ext cx="874" cy="1999"/>
            </a:xfrm>
            <a:custGeom>
              <a:avLst/>
              <a:gdLst>
                <a:gd name="connsiteX0" fmla="*/ 0 w 874"/>
                <a:gd name="connsiteY0" fmla="*/ 0 h 1999"/>
                <a:gd name="connsiteX1" fmla="*/ 875 w 874"/>
                <a:gd name="connsiteY1" fmla="*/ 1999 h 1999"/>
                <a:gd name="connsiteX2" fmla="*/ 875 w 874"/>
                <a:gd name="connsiteY2" fmla="*/ 1125 h 1999"/>
              </a:gdLst>
              <a:ahLst/>
              <a:cxnLst>
                <a:cxn ang="0">
                  <a:pos x="connsiteX0" y="connsiteY0"/>
                </a:cxn>
                <a:cxn ang="0">
                  <a:pos x="connsiteX1" y="connsiteY1"/>
                </a:cxn>
                <a:cxn ang="0">
                  <a:pos x="connsiteX2" y="connsiteY2"/>
                </a:cxn>
              </a:cxnLst>
              <a:rect l="l" t="t" r="r" b="b"/>
              <a:pathLst>
                <a:path w="874" h="1999">
                  <a:moveTo>
                    <a:pt x="0" y="0"/>
                  </a:moveTo>
                  <a:cubicBezTo>
                    <a:pt x="362" y="625"/>
                    <a:pt x="662" y="1300"/>
                    <a:pt x="875" y="1999"/>
                  </a:cubicBezTo>
                  <a:cubicBezTo>
                    <a:pt x="812" y="1712"/>
                    <a:pt x="812" y="1412"/>
                    <a:pt x="875" y="1125"/>
                  </a:cubicBezTo>
                  <a:close/>
                </a:path>
              </a:pathLst>
            </a:custGeom>
            <a:solidFill>
              <a:srgbClr val="000000"/>
            </a:solidFill>
            <a:ln w="12483" cap="flat">
              <a:noFill/>
              <a:prstDash val="solid"/>
              <a:miter/>
            </a:ln>
          </p:spPr>
          <p:txBody>
            <a:bodyPr rtlCol="0" anchor="ctr"/>
            <a:lstStyle/>
            <a:p>
              <a:endParaRPr lang="en-US"/>
            </a:p>
          </p:txBody>
        </p:sp>
        <p:sp>
          <p:nvSpPr>
            <p:cNvPr id="1452" name="Freeform: Shape 1451">
              <a:extLst>
                <a:ext uri="{FF2B5EF4-FFF2-40B4-BE49-F238E27FC236}">
                  <a16:creationId xmlns:a16="http://schemas.microsoft.com/office/drawing/2014/main" id="{F8E295AD-288E-4DE2-81FE-CF2DD12BC461}"/>
                </a:ext>
              </a:extLst>
            </p:cNvPr>
            <p:cNvSpPr/>
            <p:nvPr/>
          </p:nvSpPr>
          <p:spPr>
            <a:xfrm>
              <a:off x="7475175" y="4971649"/>
              <a:ext cx="1249" cy="1749"/>
            </a:xfrm>
            <a:custGeom>
              <a:avLst/>
              <a:gdLst>
                <a:gd name="connsiteX0" fmla="*/ 1249 w 1249"/>
                <a:gd name="connsiteY0" fmla="*/ 0 h 1749"/>
                <a:gd name="connsiteX1" fmla="*/ 0 w 1249"/>
                <a:gd name="connsiteY1" fmla="*/ 1749 h 1749"/>
                <a:gd name="connsiteX2" fmla="*/ 750 w 1249"/>
                <a:gd name="connsiteY2" fmla="*/ 1000 h 1749"/>
                <a:gd name="connsiteX3" fmla="*/ 1249 w 1249"/>
                <a:gd name="connsiteY3" fmla="*/ 0 h 1749"/>
              </a:gdLst>
              <a:ahLst/>
              <a:cxnLst>
                <a:cxn ang="0">
                  <a:pos x="connsiteX0" y="connsiteY0"/>
                </a:cxn>
                <a:cxn ang="0">
                  <a:pos x="connsiteX1" y="connsiteY1"/>
                </a:cxn>
                <a:cxn ang="0">
                  <a:pos x="connsiteX2" y="connsiteY2"/>
                </a:cxn>
                <a:cxn ang="0">
                  <a:pos x="connsiteX3" y="connsiteY3"/>
                </a:cxn>
              </a:cxnLst>
              <a:rect l="l" t="t" r="r" b="b"/>
              <a:pathLst>
                <a:path w="1249" h="1749">
                  <a:moveTo>
                    <a:pt x="1249" y="0"/>
                  </a:moveTo>
                  <a:cubicBezTo>
                    <a:pt x="899" y="638"/>
                    <a:pt x="487" y="1225"/>
                    <a:pt x="0" y="1749"/>
                  </a:cubicBezTo>
                  <a:lnTo>
                    <a:pt x="750" y="1000"/>
                  </a:lnTo>
                  <a:cubicBezTo>
                    <a:pt x="837" y="638"/>
                    <a:pt x="1012" y="288"/>
                    <a:pt x="1249" y="0"/>
                  </a:cubicBezTo>
                  <a:close/>
                </a:path>
              </a:pathLst>
            </a:custGeom>
            <a:solidFill>
              <a:srgbClr val="000000"/>
            </a:solidFill>
            <a:ln w="12483" cap="flat">
              <a:noFill/>
              <a:prstDash val="solid"/>
              <a:miter/>
            </a:ln>
          </p:spPr>
          <p:txBody>
            <a:bodyPr rtlCol="0" anchor="ctr"/>
            <a:lstStyle/>
            <a:p>
              <a:endParaRPr lang="en-US"/>
            </a:p>
          </p:txBody>
        </p:sp>
        <p:sp>
          <p:nvSpPr>
            <p:cNvPr id="1453" name="Freeform: Shape 1452">
              <a:extLst>
                <a:ext uri="{FF2B5EF4-FFF2-40B4-BE49-F238E27FC236}">
                  <a16:creationId xmlns:a16="http://schemas.microsoft.com/office/drawing/2014/main" id="{C4602092-101C-4012-BFCC-460491688CCD}"/>
                </a:ext>
              </a:extLst>
            </p:cNvPr>
            <p:cNvSpPr/>
            <p:nvPr/>
          </p:nvSpPr>
          <p:spPr>
            <a:xfrm>
              <a:off x="6956431" y="4961528"/>
              <a:ext cx="516370" cy="280555"/>
            </a:xfrm>
            <a:custGeom>
              <a:avLst/>
              <a:gdLst>
                <a:gd name="connsiteX0" fmla="*/ 12588 w 516370"/>
                <a:gd name="connsiteY0" fmla="*/ 279389 h 280555"/>
                <a:gd name="connsiteX1" fmla="*/ 19210 w 516370"/>
                <a:gd name="connsiteY1" fmla="*/ 275890 h 280555"/>
                <a:gd name="connsiteX2" fmla="*/ 516371 w 516370"/>
                <a:gd name="connsiteY2" fmla="*/ 13495 h 280555"/>
                <a:gd name="connsiteX3" fmla="*/ 516371 w 516370"/>
                <a:gd name="connsiteY3" fmla="*/ 13495 h 280555"/>
                <a:gd name="connsiteX4" fmla="*/ 516371 w 516370"/>
                <a:gd name="connsiteY4" fmla="*/ 13495 h 280555"/>
                <a:gd name="connsiteX5" fmla="*/ 505363 w 516370"/>
                <a:gd name="connsiteY5" fmla="*/ 11845 h 280555"/>
                <a:gd name="connsiteX6" fmla="*/ 504751 w 516370"/>
                <a:gd name="connsiteY6" fmla="*/ 10871 h 280555"/>
                <a:gd name="connsiteX7" fmla="*/ 497754 w 516370"/>
                <a:gd name="connsiteY7" fmla="*/ 0 h 280555"/>
                <a:gd name="connsiteX8" fmla="*/ 4342 w 516370"/>
                <a:gd name="connsiteY8" fmla="*/ 260021 h 280555"/>
                <a:gd name="connsiteX9" fmla="*/ 4342 w 516370"/>
                <a:gd name="connsiteY9" fmla="*/ 260646 h 280555"/>
                <a:gd name="connsiteX10" fmla="*/ 2843 w 516370"/>
                <a:gd name="connsiteY10" fmla="*/ 261896 h 280555"/>
                <a:gd name="connsiteX11" fmla="*/ 1718 w 516370"/>
                <a:gd name="connsiteY11" fmla="*/ 263270 h 280555"/>
                <a:gd name="connsiteX12" fmla="*/ 718 w 516370"/>
                <a:gd name="connsiteY12" fmla="*/ 265020 h 280555"/>
                <a:gd name="connsiteX13" fmla="*/ 94 w 516370"/>
                <a:gd name="connsiteY13" fmla="*/ 267018 h 280555"/>
                <a:gd name="connsiteX14" fmla="*/ 94 w 516370"/>
                <a:gd name="connsiteY14" fmla="*/ 268893 h 280555"/>
                <a:gd name="connsiteX15" fmla="*/ 94 w 516370"/>
                <a:gd name="connsiteY15" fmla="*/ 271142 h 280555"/>
                <a:gd name="connsiteX16" fmla="*/ 94 w 516370"/>
                <a:gd name="connsiteY16" fmla="*/ 274266 h 280555"/>
                <a:gd name="connsiteX17" fmla="*/ 10502 w 516370"/>
                <a:gd name="connsiteY17" fmla="*/ 280264 h 280555"/>
                <a:gd name="connsiteX18" fmla="*/ 12588 w 516370"/>
                <a:gd name="connsiteY18" fmla="*/ 279389 h 28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6370" h="280555">
                  <a:moveTo>
                    <a:pt x="12588" y="279389"/>
                  </a:moveTo>
                  <a:lnTo>
                    <a:pt x="19210" y="275890"/>
                  </a:lnTo>
                  <a:lnTo>
                    <a:pt x="516371" y="13495"/>
                  </a:lnTo>
                  <a:cubicBezTo>
                    <a:pt x="516371" y="13495"/>
                    <a:pt x="516371" y="13495"/>
                    <a:pt x="516371" y="13495"/>
                  </a:cubicBezTo>
                  <a:lnTo>
                    <a:pt x="516371" y="13495"/>
                  </a:lnTo>
                  <a:cubicBezTo>
                    <a:pt x="512872" y="16081"/>
                    <a:pt x="507949" y="15332"/>
                    <a:pt x="505363" y="11845"/>
                  </a:cubicBezTo>
                  <a:cubicBezTo>
                    <a:pt x="505138" y="11533"/>
                    <a:pt x="504926" y="11208"/>
                    <a:pt x="504751" y="10871"/>
                  </a:cubicBezTo>
                  <a:lnTo>
                    <a:pt x="497754" y="0"/>
                  </a:lnTo>
                  <a:lnTo>
                    <a:pt x="4342" y="260021"/>
                  </a:lnTo>
                  <a:lnTo>
                    <a:pt x="4342" y="260646"/>
                  </a:lnTo>
                  <a:cubicBezTo>
                    <a:pt x="3792" y="260996"/>
                    <a:pt x="3280" y="261409"/>
                    <a:pt x="2843" y="261896"/>
                  </a:cubicBezTo>
                  <a:cubicBezTo>
                    <a:pt x="2393" y="262295"/>
                    <a:pt x="2018" y="262758"/>
                    <a:pt x="1718" y="263270"/>
                  </a:cubicBezTo>
                  <a:cubicBezTo>
                    <a:pt x="1343" y="263820"/>
                    <a:pt x="1006" y="264407"/>
                    <a:pt x="718" y="265020"/>
                  </a:cubicBezTo>
                  <a:cubicBezTo>
                    <a:pt x="431" y="265657"/>
                    <a:pt x="231" y="266331"/>
                    <a:pt x="94" y="267018"/>
                  </a:cubicBezTo>
                  <a:cubicBezTo>
                    <a:pt x="31" y="267643"/>
                    <a:pt x="31" y="268268"/>
                    <a:pt x="94" y="268893"/>
                  </a:cubicBezTo>
                  <a:cubicBezTo>
                    <a:pt x="-31" y="269643"/>
                    <a:pt x="-31" y="270392"/>
                    <a:pt x="94" y="271142"/>
                  </a:cubicBezTo>
                  <a:cubicBezTo>
                    <a:pt x="-31" y="272179"/>
                    <a:pt x="-31" y="273229"/>
                    <a:pt x="94" y="274266"/>
                  </a:cubicBezTo>
                  <a:cubicBezTo>
                    <a:pt x="1318" y="278802"/>
                    <a:pt x="5979" y="281475"/>
                    <a:pt x="10502" y="280264"/>
                  </a:cubicBezTo>
                  <a:cubicBezTo>
                    <a:pt x="11239" y="280063"/>
                    <a:pt x="11939" y="279776"/>
                    <a:pt x="12588" y="279389"/>
                  </a:cubicBezTo>
                  <a:close/>
                </a:path>
              </a:pathLst>
            </a:custGeom>
            <a:solidFill>
              <a:srgbClr val="000000"/>
            </a:solidFill>
            <a:ln w="12483" cap="flat">
              <a:noFill/>
              <a:prstDash val="solid"/>
              <a:miter/>
            </a:ln>
          </p:spPr>
          <p:txBody>
            <a:bodyPr rtlCol="0" anchor="ctr"/>
            <a:lstStyle/>
            <a:p>
              <a:endParaRPr lang="en-US"/>
            </a:p>
          </p:txBody>
        </p:sp>
        <p:sp>
          <p:nvSpPr>
            <p:cNvPr id="1454" name="Freeform: Shape 1453">
              <a:extLst>
                <a:ext uri="{FF2B5EF4-FFF2-40B4-BE49-F238E27FC236}">
                  <a16:creationId xmlns:a16="http://schemas.microsoft.com/office/drawing/2014/main" id="{C441A039-F2CB-44AD-90C5-05E0BAA29A7B}"/>
                </a:ext>
              </a:extLst>
            </p:cNvPr>
            <p:cNvSpPr/>
            <p:nvPr/>
          </p:nvSpPr>
          <p:spPr>
            <a:xfrm>
              <a:off x="11997096" y="6254888"/>
              <a:ext cx="22240" cy="194672"/>
            </a:xfrm>
            <a:custGeom>
              <a:avLst/>
              <a:gdLst>
                <a:gd name="connsiteX0" fmla="*/ 19366 w 22240"/>
                <a:gd name="connsiteY0" fmla="*/ 0 h 194672"/>
                <a:gd name="connsiteX1" fmla="*/ 0 w 22240"/>
                <a:gd name="connsiteY1" fmla="*/ 193173 h 194672"/>
                <a:gd name="connsiteX2" fmla="*/ 0 w 22240"/>
                <a:gd name="connsiteY2" fmla="*/ 194173 h 194672"/>
                <a:gd name="connsiteX3" fmla="*/ 1624 w 22240"/>
                <a:gd name="connsiteY3" fmla="*/ 192548 h 194672"/>
                <a:gd name="connsiteX4" fmla="*/ 1749 w 22240"/>
                <a:gd name="connsiteY4" fmla="*/ 192548 h 194672"/>
                <a:gd name="connsiteX5" fmla="*/ 3124 w 22240"/>
                <a:gd name="connsiteY5" fmla="*/ 194672 h 194672"/>
                <a:gd name="connsiteX6" fmla="*/ 3124 w 22240"/>
                <a:gd name="connsiteY6" fmla="*/ 193798 h 194672"/>
                <a:gd name="connsiteX7" fmla="*/ 3124 w 22240"/>
                <a:gd name="connsiteY7" fmla="*/ 191049 h 194672"/>
                <a:gd name="connsiteX8" fmla="*/ 22241 w 22240"/>
                <a:gd name="connsiteY8" fmla="*/ 500 h 194672"/>
                <a:gd name="connsiteX9" fmla="*/ 20741 w 22240"/>
                <a:gd name="connsiteY9" fmla="*/ 500 h 194672"/>
                <a:gd name="connsiteX10" fmla="*/ 19366 w 22240"/>
                <a:gd name="connsiteY10" fmla="*/ 0 h 19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240" h="194672">
                  <a:moveTo>
                    <a:pt x="19366" y="0"/>
                  </a:moveTo>
                  <a:lnTo>
                    <a:pt x="0" y="193173"/>
                  </a:lnTo>
                  <a:lnTo>
                    <a:pt x="0" y="194173"/>
                  </a:lnTo>
                  <a:cubicBezTo>
                    <a:pt x="0" y="193273"/>
                    <a:pt x="724" y="192548"/>
                    <a:pt x="1624" y="192548"/>
                  </a:cubicBezTo>
                  <a:cubicBezTo>
                    <a:pt x="1662" y="192548"/>
                    <a:pt x="1712" y="192548"/>
                    <a:pt x="1749" y="192548"/>
                  </a:cubicBezTo>
                  <a:cubicBezTo>
                    <a:pt x="2687" y="192798"/>
                    <a:pt x="3286" y="193710"/>
                    <a:pt x="3124" y="194672"/>
                  </a:cubicBezTo>
                  <a:lnTo>
                    <a:pt x="3124" y="193798"/>
                  </a:lnTo>
                  <a:lnTo>
                    <a:pt x="3124" y="191049"/>
                  </a:lnTo>
                  <a:lnTo>
                    <a:pt x="22241" y="500"/>
                  </a:lnTo>
                  <a:cubicBezTo>
                    <a:pt x="22241" y="500"/>
                    <a:pt x="21241" y="500"/>
                    <a:pt x="20741" y="500"/>
                  </a:cubicBezTo>
                  <a:cubicBezTo>
                    <a:pt x="20254" y="425"/>
                    <a:pt x="19791" y="262"/>
                    <a:pt x="19366" y="0"/>
                  </a:cubicBezTo>
                  <a:close/>
                </a:path>
              </a:pathLst>
            </a:custGeom>
            <a:solidFill>
              <a:srgbClr val="000000"/>
            </a:solidFill>
            <a:ln w="12483" cap="flat">
              <a:noFill/>
              <a:prstDash val="solid"/>
              <a:miter/>
            </a:ln>
          </p:spPr>
          <p:txBody>
            <a:bodyPr rtlCol="0" anchor="ctr"/>
            <a:lstStyle/>
            <a:p>
              <a:endParaRPr lang="en-US"/>
            </a:p>
          </p:txBody>
        </p:sp>
        <p:sp>
          <p:nvSpPr>
            <p:cNvPr id="1455" name="Freeform: Shape 1454">
              <a:extLst>
                <a:ext uri="{FF2B5EF4-FFF2-40B4-BE49-F238E27FC236}">
                  <a16:creationId xmlns:a16="http://schemas.microsoft.com/office/drawing/2014/main" id="{D66F2388-EFD1-413D-AC62-A4866ED1C127}"/>
                </a:ext>
              </a:extLst>
            </p:cNvPr>
            <p:cNvSpPr/>
            <p:nvPr/>
          </p:nvSpPr>
          <p:spPr>
            <a:xfrm>
              <a:off x="9870265" y="5727598"/>
              <a:ext cx="68845" cy="93088"/>
            </a:xfrm>
            <a:custGeom>
              <a:avLst/>
              <a:gdLst>
                <a:gd name="connsiteX0" fmla="*/ 0 w 68845"/>
                <a:gd name="connsiteY0" fmla="*/ 2499 h 93088"/>
                <a:gd name="connsiteX1" fmla="*/ 65971 w 68845"/>
                <a:gd name="connsiteY1" fmla="*/ 93088 h 93088"/>
                <a:gd name="connsiteX2" fmla="*/ 68845 w 68845"/>
                <a:gd name="connsiteY2" fmla="*/ 91339 h 93088"/>
                <a:gd name="connsiteX3" fmla="*/ 2374 w 68845"/>
                <a:gd name="connsiteY3" fmla="*/ 0 h 93088"/>
                <a:gd name="connsiteX4" fmla="*/ 0 w 68845"/>
                <a:gd name="connsiteY4" fmla="*/ 2499 h 93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45" h="93088">
                  <a:moveTo>
                    <a:pt x="0" y="2499"/>
                  </a:moveTo>
                  <a:lnTo>
                    <a:pt x="65971" y="93088"/>
                  </a:lnTo>
                  <a:lnTo>
                    <a:pt x="68845" y="91339"/>
                  </a:lnTo>
                  <a:lnTo>
                    <a:pt x="2374" y="0"/>
                  </a:lnTo>
                  <a:cubicBezTo>
                    <a:pt x="1749" y="975"/>
                    <a:pt x="937" y="1825"/>
                    <a:pt x="0" y="2499"/>
                  </a:cubicBezTo>
                  <a:close/>
                </a:path>
              </a:pathLst>
            </a:custGeom>
            <a:solidFill>
              <a:srgbClr val="000000"/>
            </a:solidFill>
            <a:ln w="12483" cap="flat">
              <a:noFill/>
              <a:prstDash val="solid"/>
              <a:miter/>
            </a:ln>
          </p:spPr>
          <p:txBody>
            <a:bodyPr rtlCol="0" anchor="ctr"/>
            <a:lstStyle/>
            <a:p>
              <a:endParaRPr lang="en-US"/>
            </a:p>
          </p:txBody>
        </p:sp>
        <p:sp>
          <p:nvSpPr>
            <p:cNvPr id="1456" name="Freeform: Shape 1455">
              <a:extLst>
                <a:ext uri="{FF2B5EF4-FFF2-40B4-BE49-F238E27FC236}">
                  <a16:creationId xmlns:a16="http://schemas.microsoft.com/office/drawing/2014/main" id="{5327C523-D526-4E67-8744-DA1853B48443}"/>
                </a:ext>
              </a:extLst>
            </p:cNvPr>
            <p:cNvSpPr/>
            <p:nvPr/>
          </p:nvSpPr>
          <p:spPr>
            <a:xfrm>
              <a:off x="9222170" y="5413598"/>
              <a:ext cx="411072" cy="236280"/>
            </a:xfrm>
            <a:custGeom>
              <a:avLst/>
              <a:gdLst>
                <a:gd name="connsiteX0" fmla="*/ 409698 w 411072"/>
                <a:gd name="connsiteY0" fmla="*/ 0 h 236280"/>
                <a:gd name="connsiteX1" fmla="*/ 2124 w 411072"/>
                <a:gd name="connsiteY1" fmla="*/ 233157 h 236280"/>
                <a:gd name="connsiteX2" fmla="*/ 0 w 411072"/>
                <a:gd name="connsiteY2" fmla="*/ 234406 h 236280"/>
                <a:gd name="connsiteX3" fmla="*/ 0 w 411072"/>
                <a:gd name="connsiteY3" fmla="*/ 234406 h 236280"/>
                <a:gd name="connsiteX4" fmla="*/ 1937 w 411072"/>
                <a:gd name="connsiteY4" fmla="*/ 234344 h 236280"/>
                <a:gd name="connsiteX5" fmla="*/ 1999 w 411072"/>
                <a:gd name="connsiteY5" fmla="*/ 234406 h 236280"/>
                <a:gd name="connsiteX6" fmla="*/ 3374 w 411072"/>
                <a:gd name="connsiteY6" fmla="*/ 236280 h 236280"/>
                <a:gd name="connsiteX7" fmla="*/ 411072 w 411072"/>
                <a:gd name="connsiteY7" fmla="*/ 4123 h 236280"/>
                <a:gd name="connsiteX8" fmla="*/ 409698 w 411072"/>
                <a:gd name="connsiteY8" fmla="*/ 0 h 23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072" h="236280">
                  <a:moveTo>
                    <a:pt x="409698" y="0"/>
                  </a:moveTo>
                  <a:lnTo>
                    <a:pt x="2124" y="233157"/>
                  </a:lnTo>
                  <a:lnTo>
                    <a:pt x="0" y="234406"/>
                  </a:lnTo>
                  <a:lnTo>
                    <a:pt x="0" y="234406"/>
                  </a:lnTo>
                  <a:cubicBezTo>
                    <a:pt x="525" y="233856"/>
                    <a:pt x="1387" y="233832"/>
                    <a:pt x="1937" y="234344"/>
                  </a:cubicBezTo>
                  <a:cubicBezTo>
                    <a:pt x="1962" y="234369"/>
                    <a:pt x="1987" y="234381"/>
                    <a:pt x="1999" y="234406"/>
                  </a:cubicBezTo>
                  <a:lnTo>
                    <a:pt x="3374" y="236280"/>
                  </a:lnTo>
                  <a:lnTo>
                    <a:pt x="411072" y="4123"/>
                  </a:lnTo>
                  <a:cubicBezTo>
                    <a:pt x="410235" y="2899"/>
                    <a:pt x="409761" y="1474"/>
                    <a:pt x="409698" y="0"/>
                  </a:cubicBezTo>
                  <a:close/>
                </a:path>
              </a:pathLst>
            </a:custGeom>
            <a:solidFill>
              <a:srgbClr val="000000"/>
            </a:solidFill>
            <a:ln w="12483" cap="flat">
              <a:noFill/>
              <a:prstDash val="solid"/>
              <a:miter/>
            </a:ln>
          </p:spPr>
          <p:txBody>
            <a:bodyPr rtlCol="0" anchor="ctr"/>
            <a:lstStyle/>
            <a:p>
              <a:endParaRPr lang="en-US"/>
            </a:p>
          </p:txBody>
        </p:sp>
        <p:sp>
          <p:nvSpPr>
            <p:cNvPr id="1457" name="Freeform: Shape 1456">
              <a:extLst>
                <a:ext uri="{FF2B5EF4-FFF2-40B4-BE49-F238E27FC236}">
                  <a16:creationId xmlns:a16="http://schemas.microsoft.com/office/drawing/2014/main" id="{7AF968CA-1FA5-46F9-9DD8-1B2D7C17068C}"/>
                </a:ext>
              </a:extLst>
            </p:cNvPr>
            <p:cNvSpPr/>
            <p:nvPr/>
          </p:nvSpPr>
          <p:spPr>
            <a:xfrm>
              <a:off x="9221296" y="5649379"/>
              <a:ext cx="12494" cy="749"/>
            </a:xfrm>
            <a:custGeom>
              <a:avLst/>
              <a:gdLst>
                <a:gd name="connsiteX0" fmla="*/ 0 w 12494"/>
                <a:gd name="connsiteY0" fmla="*/ 750 h 749"/>
                <a:gd name="connsiteX1" fmla="*/ 0 w 12494"/>
                <a:gd name="connsiteY1" fmla="*/ 750 h 749"/>
                <a:gd name="connsiteX2" fmla="*/ 0 w 12494"/>
                <a:gd name="connsiteY2" fmla="*/ 750 h 749"/>
                <a:gd name="connsiteX3" fmla="*/ 0 w 12494"/>
                <a:gd name="connsiteY3" fmla="*/ 0 h 749"/>
              </a:gdLst>
              <a:ahLst/>
              <a:cxnLst>
                <a:cxn ang="0">
                  <a:pos x="connsiteX0" y="connsiteY0"/>
                </a:cxn>
                <a:cxn ang="0">
                  <a:pos x="connsiteX1" y="connsiteY1"/>
                </a:cxn>
                <a:cxn ang="0">
                  <a:pos x="connsiteX2" y="connsiteY2"/>
                </a:cxn>
                <a:cxn ang="0">
                  <a:pos x="connsiteX3" y="connsiteY3"/>
                </a:cxn>
              </a:cxnLst>
              <a:rect l="l" t="t" r="r" b="b"/>
              <a:pathLst>
                <a:path w="12494" h="749">
                  <a:moveTo>
                    <a:pt x="0" y="750"/>
                  </a:moveTo>
                  <a:cubicBezTo>
                    <a:pt x="0" y="750"/>
                    <a:pt x="0" y="750"/>
                    <a:pt x="0" y="750"/>
                  </a:cubicBezTo>
                  <a:lnTo>
                    <a:pt x="0" y="750"/>
                  </a:lnTo>
                  <a:cubicBezTo>
                    <a:pt x="0" y="750"/>
                    <a:pt x="0" y="750"/>
                    <a:pt x="0" y="0"/>
                  </a:cubicBezTo>
                  <a:close/>
                </a:path>
              </a:pathLst>
            </a:custGeom>
            <a:solidFill>
              <a:srgbClr val="000000"/>
            </a:solidFill>
            <a:ln w="12483" cap="flat">
              <a:noFill/>
              <a:prstDash val="solid"/>
              <a:miter/>
            </a:ln>
          </p:spPr>
          <p:txBody>
            <a:bodyPr rtlCol="0" anchor="ctr"/>
            <a:lstStyle/>
            <a:p>
              <a:endParaRPr lang="en-US"/>
            </a:p>
          </p:txBody>
        </p:sp>
        <p:sp>
          <p:nvSpPr>
            <p:cNvPr id="1458" name="Freeform: Shape 1457">
              <a:extLst>
                <a:ext uri="{FF2B5EF4-FFF2-40B4-BE49-F238E27FC236}">
                  <a16:creationId xmlns:a16="http://schemas.microsoft.com/office/drawing/2014/main" id="{DCB759D8-ED19-4E29-A055-12EF30DFA774}"/>
                </a:ext>
              </a:extLst>
            </p:cNvPr>
            <p:cNvSpPr/>
            <p:nvPr/>
          </p:nvSpPr>
          <p:spPr>
            <a:xfrm>
              <a:off x="9652438" y="6548339"/>
              <a:ext cx="13416" cy="323552"/>
            </a:xfrm>
            <a:custGeom>
              <a:avLst/>
              <a:gdLst>
                <a:gd name="connsiteX0" fmla="*/ 2546 w 13416"/>
                <a:gd name="connsiteY0" fmla="*/ 1806 h 323552"/>
                <a:gd name="connsiteX1" fmla="*/ 1047 w 13416"/>
                <a:gd name="connsiteY1" fmla="*/ 56 h 323552"/>
                <a:gd name="connsiteX2" fmla="*/ 922 w 13416"/>
                <a:gd name="connsiteY2" fmla="*/ 56 h 323552"/>
                <a:gd name="connsiteX3" fmla="*/ 47 w 13416"/>
                <a:gd name="connsiteY3" fmla="*/ 56 h 323552"/>
                <a:gd name="connsiteX4" fmla="*/ 47 w 13416"/>
                <a:gd name="connsiteY4" fmla="*/ 681 h 323552"/>
                <a:gd name="connsiteX5" fmla="*/ 47 w 13416"/>
                <a:gd name="connsiteY5" fmla="*/ 1306 h 323552"/>
                <a:gd name="connsiteX6" fmla="*/ 47 w 13416"/>
                <a:gd name="connsiteY6" fmla="*/ 4554 h 323552"/>
                <a:gd name="connsiteX7" fmla="*/ 10293 w 13416"/>
                <a:gd name="connsiteY7" fmla="*/ 323552 h 323552"/>
                <a:gd name="connsiteX8" fmla="*/ 13416 w 13416"/>
                <a:gd name="connsiteY8" fmla="*/ 323552 h 323552"/>
                <a:gd name="connsiteX9" fmla="*/ 3171 w 13416"/>
                <a:gd name="connsiteY9" fmla="*/ 2680 h 32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16" h="323552">
                  <a:moveTo>
                    <a:pt x="2546" y="1806"/>
                  </a:moveTo>
                  <a:cubicBezTo>
                    <a:pt x="2621" y="906"/>
                    <a:pt x="1946" y="131"/>
                    <a:pt x="1047" y="56"/>
                  </a:cubicBezTo>
                  <a:cubicBezTo>
                    <a:pt x="1009" y="56"/>
                    <a:pt x="959" y="56"/>
                    <a:pt x="922" y="56"/>
                  </a:cubicBezTo>
                  <a:cubicBezTo>
                    <a:pt x="634" y="-19"/>
                    <a:pt x="334" y="-19"/>
                    <a:pt x="47" y="56"/>
                  </a:cubicBezTo>
                  <a:lnTo>
                    <a:pt x="47" y="681"/>
                  </a:lnTo>
                  <a:cubicBezTo>
                    <a:pt x="-16" y="881"/>
                    <a:pt x="-16" y="1106"/>
                    <a:pt x="47" y="1306"/>
                  </a:cubicBezTo>
                  <a:lnTo>
                    <a:pt x="47" y="4554"/>
                  </a:lnTo>
                  <a:lnTo>
                    <a:pt x="10293" y="323552"/>
                  </a:lnTo>
                  <a:lnTo>
                    <a:pt x="13416" y="323552"/>
                  </a:lnTo>
                  <a:lnTo>
                    <a:pt x="3171" y="2680"/>
                  </a:lnTo>
                  <a:close/>
                </a:path>
              </a:pathLst>
            </a:custGeom>
            <a:solidFill>
              <a:srgbClr val="000000"/>
            </a:solidFill>
            <a:ln w="12483" cap="flat">
              <a:noFill/>
              <a:prstDash val="solid"/>
              <a:miter/>
            </a:ln>
          </p:spPr>
          <p:txBody>
            <a:bodyPr rtlCol="0" anchor="ctr"/>
            <a:lstStyle/>
            <a:p>
              <a:endParaRPr lang="en-US"/>
            </a:p>
          </p:txBody>
        </p:sp>
        <p:sp>
          <p:nvSpPr>
            <p:cNvPr id="1459" name="Freeform: Shape 1458">
              <a:extLst>
                <a:ext uri="{FF2B5EF4-FFF2-40B4-BE49-F238E27FC236}">
                  <a16:creationId xmlns:a16="http://schemas.microsoft.com/office/drawing/2014/main" id="{EF7751D0-B8D8-4806-950D-114B1E61B59F}"/>
                </a:ext>
              </a:extLst>
            </p:cNvPr>
            <p:cNvSpPr/>
            <p:nvPr/>
          </p:nvSpPr>
          <p:spPr>
            <a:xfrm>
              <a:off x="9222046" y="5648074"/>
              <a:ext cx="113700" cy="160116"/>
            </a:xfrm>
            <a:custGeom>
              <a:avLst/>
              <a:gdLst>
                <a:gd name="connsiteX0" fmla="*/ 3373 w 113700"/>
                <a:gd name="connsiteY0" fmla="*/ 2304 h 160116"/>
                <a:gd name="connsiteX1" fmla="*/ 1999 w 113700"/>
                <a:gd name="connsiteY1" fmla="*/ 430 h 160116"/>
                <a:gd name="connsiteX2" fmla="*/ 62 w 113700"/>
                <a:gd name="connsiteY2" fmla="*/ 368 h 160116"/>
                <a:gd name="connsiteX3" fmla="*/ 0 w 113700"/>
                <a:gd name="connsiteY3" fmla="*/ 430 h 160116"/>
                <a:gd name="connsiteX4" fmla="*/ 0 w 113700"/>
                <a:gd name="connsiteY4" fmla="*/ 430 h 160116"/>
                <a:gd name="connsiteX5" fmla="*/ 0 w 113700"/>
                <a:gd name="connsiteY5" fmla="*/ 430 h 160116"/>
                <a:gd name="connsiteX6" fmla="*/ 0 w 113700"/>
                <a:gd name="connsiteY6" fmla="*/ 1055 h 160116"/>
                <a:gd name="connsiteX7" fmla="*/ 0 w 113700"/>
                <a:gd name="connsiteY7" fmla="*/ 1055 h 160116"/>
                <a:gd name="connsiteX8" fmla="*/ 0 w 113700"/>
                <a:gd name="connsiteY8" fmla="*/ 1804 h 160116"/>
                <a:gd name="connsiteX9" fmla="*/ 0 w 113700"/>
                <a:gd name="connsiteY9" fmla="*/ 1804 h 160116"/>
                <a:gd name="connsiteX10" fmla="*/ 110702 w 113700"/>
                <a:gd name="connsiteY10" fmla="*/ 160116 h 160116"/>
                <a:gd name="connsiteX11" fmla="*/ 113701 w 113700"/>
                <a:gd name="connsiteY11" fmla="*/ 158367 h 16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700" h="160116">
                  <a:moveTo>
                    <a:pt x="3373" y="2304"/>
                  </a:moveTo>
                  <a:lnTo>
                    <a:pt x="1999" y="430"/>
                  </a:lnTo>
                  <a:cubicBezTo>
                    <a:pt x="1474" y="-120"/>
                    <a:pt x="612" y="-144"/>
                    <a:pt x="62" y="368"/>
                  </a:cubicBezTo>
                  <a:cubicBezTo>
                    <a:pt x="37" y="393"/>
                    <a:pt x="12" y="405"/>
                    <a:pt x="0" y="430"/>
                  </a:cubicBezTo>
                  <a:lnTo>
                    <a:pt x="0" y="430"/>
                  </a:lnTo>
                  <a:cubicBezTo>
                    <a:pt x="0" y="430"/>
                    <a:pt x="0" y="430"/>
                    <a:pt x="0" y="430"/>
                  </a:cubicBezTo>
                  <a:lnTo>
                    <a:pt x="0" y="1055"/>
                  </a:lnTo>
                  <a:lnTo>
                    <a:pt x="0" y="1055"/>
                  </a:lnTo>
                  <a:cubicBezTo>
                    <a:pt x="0" y="1055"/>
                    <a:pt x="0" y="1055"/>
                    <a:pt x="0" y="1804"/>
                  </a:cubicBezTo>
                  <a:lnTo>
                    <a:pt x="0" y="1804"/>
                  </a:lnTo>
                  <a:lnTo>
                    <a:pt x="110702" y="160116"/>
                  </a:lnTo>
                  <a:lnTo>
                    <a:pt x="113701" y="158367"/>
                  </a:lnTo>
                  <a:close/>
                </a:path>
              </a:pathLst>
            </a:custGeom>
            <a:solidFill>
              <a:srgbClr val="000000"/>
            </a:solidFill>
            <a:ln w="12483" cap="flat">
              <a:noFill/>
              <a:prstDash val="solid"/>
              <a:miter/>
            </a:ln>
          </p:spPr>
          <p:txBody>
            <a:bodyPr rtlCol="0" anchor="ctr"/>
            <a:lstStyle/>
            <a:p>
              <a:endParaRPr lang="en-US"/>
            </a:p>
          </p:txBody>
        </p:sp>
        <p:sp>
          <p:nvSpPr>
            <p:cNvPr id="1460" name="Freeform: Shape 1459">
              <a:extLst>
                <a:ext uri="{FF2B5EF4-FFF2-40B4-BE49-F238E27FC236}">
                  <a16:creationId xmlns:a16="http://schemas.microsoft.com/office/drawing/2014/main" id="{D1568F36-4231-484B-B1A6-5C5C15CD58D2}"/>
                </a:ext>
              </a:extLst>
            </p:cNvPr>
            <p:cNvSpPr/>
            <p:nvPr/>
          </p:nvSpPr>
          <p:spPr>
            <a:xfrm>
              <a:off x="11736459" y="6602749"/>
              <a:ext cx="25276" cy="270767"/>
            </a:xfrm>
            <a:custGeom>
              <a:avLst/>
              <a:gdLst>
                <a:gd name="connsiteX0" fmla="*/ 25239 w 25276"/>
                <a:gd name="connsiteY0" fmla="*/ 750 h 270767"/>
                <a:gd name="connsiteX1" fmla="*/ 25239 w 25276"/>
                <a:gd name="connsiteY1" fmla="*/ 750 h 270767"/>
                <a:gd name="connsiteX2" fmla="*/ 25239 w 25276"/>
                <a:gd name="connsiteY2" fmla="*/ 0 h 270767"/>
                <a:gd name="connsiteX3" fmla="*/ 25239 w 25276"/>
                <a:gd name="connsiteY3" fmla="*/ 0 h 270767"/>
                <a:gd name="connsiteX4" fmla="*/ 25239 w 25276"/>
                <a:gd name="connsiteY4" fmla="*/ 0 h 270767"/>
                <a:gd name="connsiteX5" fmla="*/ 24614 w 25276"/>
                <a:gd name="connsiteY5" fmla="*/ 0 h 270767"/>
                <a:gd name="connsiteX6" fmla="*/ 23365 w 25276"/>
                <a:gd name="connsiteY6" fmla="*/ 1624 h 270767"/>
                <a:gd name="connsiteX7" fmla="*/ 23365 w 25276"/>
                <a:gd name="connsiteY7" fmla="*/ 5248 h 270767"/>
                <a:gd name="connsiteX8" fmla="*/ 0 w 25276"/>
                <a:gd name="connsiteY8" fmla="*/ 270767 h 270767"/>
                <a:gd name="connsiteX9" fmla="*/ 1499 w 25276"/>
                <a:gd name="connsiteY9" fmla="*/ 270767 h 270767"/>
                <a:gd name="connsiteX10" fmla="*/ 25114 w 25276"/>
                <a:gd name="connsiteY10" fmla="*/ 1999 h 27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76" h="270767">
                  <a:moveTo>
                    <a:pt x="25239" y="750"/>
                  </a:moveTo>
                  <a:cubicBezTo>
                    <a:pt x="25239" y="750"/>
                    <a:pt x="25239" y="750"/>
                    <a:pt x="25239" y="750"/>
                  </a:cubicBezTo>
                  <a:cubicBezTo>
                    <a:pt x="25289" y="500"/>
                    <a:pt x="25289" y="250"/>
                    <a:pt x="25239" y="0"/>
                  </a:cubicBezTo>
                  <a:cubicBezTo>
                    <a:pt x="25239" y="0"/>
                    <a:pt x="25239" y="0"/>
                    <a:pt x="25239" y="0"/>
                  </a:cubicBezTo>
                  <a:lnTo>
                    <a:pt x="25239" y="0"/>
                  </a:lnTo>
                  <a:lnTo>
                    <a:pt x="24614" y="0"/>
                  </a:lnTo>
                  <a:cubicBezTo>
                    <a:pt x="23890" y="212"/>
                    <a:pt x="23390" y="875"/>
                    <a:pt x="23365" y="1624"/>
                  </a:cubicBezTo>
                  <a:lnTo>
                    <a:pt x="23365" y="5248"/>
                  </a:lnTo>
                  <a:lnTo>
                    <a:pt x="0" y="270767"/>
                  </a:lnTo>
                  <a:lnTo>
                    <a:pt x="1499" y="270767"/>
                  </a:lnTo>
                  <a:lnTo>
                    <a:pt x="25114" y="1999"/>
                  </a:lnTo>
                  <a:close/>
                </a:path>
              </a:pathLst>
            </a:custGeom>
            <a:solidFill>
              <a:srgbClr val="000000"/>
            </a:solidFill>
            <a:ln w="12483" cap="flat">
              <a:noFill/>
              <a:prstDash val="solid"/>
              <a:miter/>
            </a:ln>
          </p:spPr>
          <p:txBody>
            <a:bodyPr rtlCol="0" anchor="ctr"/>
            <a:lstStyle/>
            <a:p>
              <a:endParaRPr lang="en-US"/>
            </a:p>
          </p:txBody>
        </p:sp>
        <p:sp>
          <p:nvSpPr>
            <p:cNvPr id="1461" name="Freeform: Shape 1460">
              <a:extLst>
                <a:ext uri="{FF2B5EF4-FFF2-40B4-BE49-F238E27FC236}">
                  <a16:creationId xmlns:a16="http://schemas.microsoft.com/office/drawing/2014/main" id="{AB37AB7D-CDE0-414B-A10F-0CE72912F007}"/>
                </a:ext>
              </a:extLst>
            </p:cNvPr>
            <p:cNvSpPr/>
            <p:nvPr/>
          </p:nvSpPr>
          <p:spPr>
            <a:xfrm>
              <a:off x="11954989" y="6447805"/>
              <a:ext cx="45381" cy="424461"/>
            </a:xfrm>
            <a:custGeom>
              <a:avLst/>
              <a:gdLst>
                <a:gd name="connsiteX0" fmla="*/ 45355 w 45381"/>
                <a:gd name="connsiteY0" fmla="*/ 2130 h 424461"/>
                <a:gd name="connsiteX1" fmla="*/ 43981 w 45381"/>
                <a:gd name="connsiteY1" fmla="*/ 6 h 424461"/>
                <a:gd name="connsiteX2" fmla="*/ 42232 w 45381"/>
                <a:gd name="connsiteY2" fmla="*/ 1505 h 424461"/>
                <a:gd name="connsiteX3" fmla="*/ 42232 w 45381"/>
                <a:gd name="connsiteY3" fmla="*/ 1630 h 424461"/>
                <a:gd name="connsiteX4" fmla="*/ 42232 w 45381"/>
                <a:gd name="connsiteY4" fmla="*/ 5378 h 424461"/>
                <a:gd name="connsiteX5" fmla="*/ 0 w 45381"/>
                <a:gd name="connsiteY5" fmla="*/ 424461 h 424461"/>
                <a:gd name="connsiteX6" fmla="*/ 3249 w 45381"/>
                <a:gd name="connsiteY6" fmla="*/ 424461 h 424461"/>
                <a:gd name="connsiteX7" fmla="*/ 45355 w 45381"/>
                <a:gd name="connsiteY7" fmla="*/ 6128 h 42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81" h="424461">
                  <a:moveTo>
                    <a:pt x="45355" y="2130"/>
                  </a:moveTo>
                  <a:cubicBezTo>
                    <a:pt x="45518" y="1168"/>
                    <a:pt x="44918" y="255"/>
                    <a:pt x="43981" y="6"/>
                  </a:cubicBezTo>
                  <a:cubicBezTo>
                    <a:pt x="43081" y="-69"/>
                    <a:pt x="42307" y="606"/>
                    <a:pt x="42232" y="1505"/>
                  </a:cubicBezTo>
                  <a:cubicBezTo>
                    <a:pt x="42232" y="1542"/>
                    <a:pt x="42232" y="1592"/>
                    <a:pt x="42232" y="1630"/>
                  </a:cubicBezTo>
                  <a:lnTo>
                    <a:pt x="42232" y="5378"/>
                  </a:lnTo>
                  <a:lnTo>
                    <a:pt x="0" y="424461"/>
                  </a:lnTo>
                  <a:lnTo>
                    <a:pt x="3249" y="424461"/>
                  </a:lnTo>
                  <a:lnTo>
                    <a:pt x="45355" y="6128"/>
                  </a:lnTo>
                  <a:close/>
                </a:path>
              </a:pathLst>
            </a:custGeom>
            <a:solidFill>
              <a:srgbClr val="000000"/>
            </a:solidFill>
            <a:ln w="12483" cap="flat">
              <a:noFill/>
              <a:prstDash val="solid"/>
              <a:miter/>
            </a:ln>
          </p:spPr>
          <p:txBody>
            <a:bodyPr rtlCol="0" anchor="ctr"/>
            <a:lstStyle/>
            <a:p>
              <a:endParaRPr lang="en-US"/>
            </a:p>
          </p:txBody>
        </p:sp>
        <p:sp>
          <p:nvSpPr>
            <p:cNvPr id="1462" name="Freeform: Shape 1461">
              <a:extLst>
                <a:ext uri="{FF2B5EF4-FFF2-40B4-BE49-F238E27FC236}">
                  <a16:creationId xmlns:a16="http://schemas.microsoft.com/office/drawing/2014/main" id="{B76FADD2-4B52-48AB-9060-D66C673BCE57}"/>
                </a:ext>
              </a:extLst>
            </p:cNvPr>
            <p:cNvSpPr/>
            <p:nvPr/>
          </p:nvSpPr>
          <p:spPr>
            <a:xfrm>
              <a:off x="11357748" y="6861771"/>
              <a:ext cx="3748" cy="11245"/>
            </a:xfrm>
            <a:custGeom>
              <a:avLst/>
              <a:gdLst>
                <a:gd name="connsiteX0" fmla="*/ 2874 w 3748"/>
                <a:gd name="connsiteY0" fmla="*/ 0 h 11245"/>
                <a:gd name="connsiteX1" fmla="*/ 2874 w 3748"/>
                <a:gd name="connsiteY1" fmla="*/ 0 h 11245"/>
                <a:gd name="connsiteX2" fmla="*/ 2874 w 3748"/>
                <a:gd name="connsiteY2" fmla="*/ 1249 h 11245"/>
                <a:gd name="connsiteX3" fmla="*/ 962 w 3748"/>
                <a:gd name="connsiteY3" fmla="*/ 1587 h 11245"/>
                <a:gd name="connsiteX4" fmla="*/ 625 w 3748"/>
                <a:gd name="connsiteY4" fmla="*/ 1249 h 11245"/>
                <a:gd name="connsiteX5" fmla="*/ 625 w 3748"/>
                <a:gd name="connsiteY5" fmla="*/ 1249 h 11245"/>
                <a:gd name="connsiteX6" fmla="*/ 0 w 3748"/>
                <a:gd name="connsiteY6" fmla="*/ 11245 h 11245"/>
                <a:gd name="connsiteX7" fmla="*/ 3124 w 3748"/>
                <a:gd name="connsiteY7" fmla="*/ 11245 h 11245"/>
                <a:gd name="connsiteX8" fmla="*/ 3748 w 3748"/>
                <a:gd name="connsiteY8" fmla="*/ 1749 h 1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8" h="11245">
                  <a:moveTo>
                    <a:pt x="2874" y="0"/>
                  </a:moveTo>
                  <a:lnTo>
                    <a:pt x="2874" y="0"/>
                  </a:lnTo>
                  <a:cubicBezTo>
                    <a:pt x="2986" y="413"/>
                    <a:pt x="2986" y="837"/>
                    <a:pt x="2874" y="1249"/>
                  </a:cubicBezTo>
                  <a:cubicBezTo>
                    <a:pt x="2437" y="1874"/>
                    <a:pt x="1574" y="2024"/>
                    <a:pt x="962" y="1587"/>
                  </a:cubicBezTo>
                  <a:cubicBezTo>
                    <a:pt x="824" y="1487"/>
                    <a:pt x="712" y="1374"/>
                    <a:pt x="625" y="1249"/>
                  </a:cubicBezTo>
                  <a:lnTo>
                    <a:pt x="625" y="1249"/>
                  </a:lnTo>
                  <a:lnTo>
                    <a:pt x="0" y="11245"/>
                  </a:lnTo>
                  <a:lnTo>
                    <a:pt x="3124" y="11245"/>
                  </a:lnTo>
                  <a:lnTo>
                    <a:pt x="3748" y="1749"/>
                  </a:lnTo>
                  <a:close/>
                </a:path>
              </a:pathLst>
            </a:custGeom>
            <a:solidFill>
              <a:srgbClr val="000000"/>
            </a:solidFill>
            <a:ln w="12483" cap="flat">
              <a:noFill/>
              <a:prstDash val="solid"/>
              <a:miter/>
            </a:ln>
          </p:spPr>
          <p:txBody>
            <a:bodyPr rtlCol="0" anchor="ctr"/>
            <a:lstStyle/>
            <a:p>
              <a:endParaRPr lang="en-US"/>
            </a:p>
          </p:txBody>
        </p:sp>
        <p:sp>
          <p:nvSpPr>
            <p:cNvPr id="1463" name="Freeform: Shape 1462">
              <a:extLst>
                <a:ext uri="{FF2B5EF4-FFF2-40B4-BE49-F238E27FC236}">
                  <a16:creationId xmlns:a16="http://schemas.microsoft.com/office/drawing/2014/main" id="{51D5E0BC-E0B6-48A7-8E21-BE609DAB06D9}"/>
                </a:ext>
              </a:extLst>
            </p:cNvPr>
            <p:cNvSpPr/>
            <p:nvPr/>
          </p:nvSpPr>
          <p:spPr>
            <a:xfrm>
              <a:off x="10942302" y="5234544"/>
              <a:ext cx="403575" cy="243278"/>
            </a:xfrm>
            <a:custGeom>
              <a:avLst/>
              <a:gdLst>
                <a:gd name="connsiteX0" fmla="*/ 0 w 403575"/>
                <a:gd name="connsiteY0" fmla="*/ 239530 h 243278"/>
                <a:gd name="connsiteX1" fmla="*/ 0 w 403575"/>
                <a:gd name="connsiteY1" fmla="*/ 242028 h 243278"/>
                <a:gd name="connsiteX2" fmla="*/ 999 w 403575"/>
                <a:gd name="connsiteY2" fmla="*/ 243278 h 243278"/>
                <a:gd name="connsiteX3" fmla="*/ 403575 w 403575"/>
                <a:gd name="connsiteY3" fmla="*/ 3499 h 243278"/>
                <a:gd name="connsiteX4" fmla="*/ 402201 w 403575"/>
                <a:gd name="connsiteY4" fmla="*/ 0 h 24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75" h="243278">
                  <a:moveTo>
                    <a:pt x="0" y="239530"/>
                  </a:moveTo>
                  <a:lnTo>
                    <a:pt x="0" y="242028"/>
                  </a:lnTo>
                  <a:lnTo>
                    <a:pt x="999" y="243278"/>
                  </a:lnTo>
                  <a:lnTo>
                    <a:pt x="403575" y="3499"/>
                  </a:lnTo>
                  <a:cubicBezTo>
                    <a:pt x="402938" y="2411"/>
                    <a:pt x="402476" y="1224"/>
                    <a:pt x="402201" y="0"/>
                  </a:cubicBezTo>
                  <a:close/>
                </a:path>
              </a:pathLst>
            </a:custGeom>
            <a:solidFill>
              <a:srgbClr val="000000"/>
            </a:solidFill>
            <a:ln w="12483" cap="flat">
              <a:noFill/>
              <a:prstDash val="solid"/>
              <a:miter/>
            </a:ln>
          </p:spPr>
          <p:txBody>
            <a:bodyPr rtlCol="0" anchor="ctr"/>
            <a:lstStyle/>
            <a:p>
              <a:endParaRPr lang="en-US"/>
            </a:p>
          </p:txBody>
        </p:sp>
        <p:sp>
          <p:nvSpPr>
            <p:cNvPr id="1464" name="Freeform: Shape 1463">
              <a:extLst>
                <a:ext uri="{FF2B5EF4-FFF2-40B4-BE49-F238E27FC236}">
                  <a16:creationId xmlns:a16="http://schemas.microsoft.com/office/drawing/2014/main" id="{034F9542-1C4B-4044-90D5-81A3ACB62217}"/>
                </a:ext>
              </a:extLst>
            </p:cNvPr>
            <p:cNvSpPr/>
            <p:nvPr/>
          </p:nvSpPr>
          <p:spPr>
            <a:xfrm>
              <a:off x="11850410" y="5802443"/>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 name="connsiteX4" fmla="*/ 0 w 12494"/>
                <a:gd name="connsiteY4" fmla="*/ 0 h 1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4" h="12495">
                  <a:moveTo>
                    <a:pt x="0" y="0"/>
                  </a:moveTo>
                  <a:lnTo>
                    <a:pt x="0" y="0"/>
                  </a:lnTo>
                  <a:lnTo>
                    <a:pt x="0" y="0"/>
                  </a:ln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465" name="Freeform: Shape 1464">
              <a:extLst>
                <a:ext uri="{FF2B5EF4-FFF2-40B4-BE49-F238E27FC236}">
                  <a16:creationId xmlns:a16="http://schemas.microsoft.com/office/drawing/2014/main" id="{FFA3B49A-3CB2-4B72-A6E5-B29FFF01744D}"/>
                </a:ext>
              </a:extLst>
            </p:cNvPr>
            <p:cNvSpPr/>
            <p:nvPr/>
          </p:nvSpPr>
          <p:spPr>
            <a:xfrm>
              <a:off x="11363245" y="5206931"/>
              <a:ext cx="484415" cy="593638"/>
            </a:xfrm>
            <a:custGeom>
              <a:avLst/>
              <a:gdLst>
                <a:gd name="connsiteX0" fmla="*/ 250 w 484415"/>
                <a:gd name="connsiteY0" fmla="*/ 0 h 593638"/>
                <a:gd name="connsiteX1" fmla="*/ 0 w 484415"/>
                <a:gd name="connsiteY1" fmla="*/ 5123 h 593638"/>
                <a:gd name="connsiteX2" fmla="*/ 483041 w 484415"/>
                <a:gd name="connsiteY2" fmla="*/ 593638 h 593638"/>
                <a:gd name="connsiteX3" fmla="*/ 484166 w 484415"/>
                <a:gd name="connsiteY3" fmla="*/ 592888 h 593638"/>
                <a:gd name="connsiteX4" fmla="*/ 484416 w 484415"/>
                <a:gd name="connsiteY4" fmla="*/ 589890 h 593638"/>
                <a:gd name="connsiteX5" fmla="*/ 250 w 484415"/>
                <a:gd name="connsiteY5" fmla="*/ 0 h 59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415" h="593638">
                  <a:moveTo>
                    <a:pt x="250" y="0"/>
                  </a:moveTo>
                  <a:lnTo>
                    <a:pt x="0" y="5123"/>
                  </a:lnTo>
                  <a:lnTo>
                    <a:pt x="483041" y="593638"/>
                  </a:lnTo>
                  <a:lnTo>
                    <a:pt x="484166" y="592888"/>
                  </a:lnTo>
                  <a:lnTo>
                    <a:pt x="484416" y="589890"/>
                  </a:lnTo>
                  <a:lnTo>
                    <a:pt x="250" y="0"/>
                  </a:lnTo>
                  <a:close/>
                </a:path>
              </a:pathLst>
            </a:custGeom>
            <a:solidFill>
              <a:srgbClr val="000000"/>
            </a:solidFill>
            <a:ln w="12483" cap="flat">
              <a:noFill/>
              <a:prstDash val="solid"/>
              <a:miter/>
            </a:ln>
          </p:spPr>
          <p:txBody>
            <a:bodyPr rtlCol="0" anchor="ctr"/>
            <a:lstStyle/>
            <a:p>
              <a:endParaRPr lang="en-US"/>
            </a:p>
          </p:txBody>
        </p:sp>
        <p:sp>
          <p:nvSpPr>
            <p:cNvPr id="1466" name="Freeform: Shape 1465">
              <a:extLst>
                <a:ext uri="{FF2B5EF4-FFF2-40B4-BE49-F238E27FC236}">
                  <a16:creationId xmlns:a16="http://schemas.microsoft.com/office/drawing/2014/main" id="{708A2507-3ACD-4B32-82B4-0299DA8D491E}"/>
                </a:ext>
              </a:extLst>
            </p:cNvPr>
            <p:cNvSpPr/>
            <p:nvPr/>
          </p:nvSpPr>
          <p:spPr>
            <a:xfrm>
              <a:off x="11411974" y="5799444"/>
              <a:ext cx="438435" cy="274890"/>
            </a:xfrm>
            <a:custGeom>
              <a:avLst/>
              <a:gdLst>
                <a:gd name="connsiteX0" fmla="*/ 438436 w 438435"/>
                <a:gd name="connsiteY0" fmla="*/ 3124 h 274890"/>
                <a:gd name="connsiteX1" fmla="*/ 437436 w 438435"/>
                <a:gd name="connsiteY1" fmla="*/ 3124 h 274890"/>
                <a:gd name="connsiteX2" fmla="*/ 436049 w 438435"/>
                <a:gd name="connsiteY2" fmla="*/ 1075 h 274890"/>
                <a:gd name="connsiteX3" fmla="*/ 436062 w 438435"/>
                <a:gd name="connsiteY3" fmla="*/ 1000 h 274890"/>
                <a:gd name="connsiteX4" fmla="*/ 436062 w 438435"/>
                <a:gd name="connsiteY4" fmla="*/ 0 h 274890"/>
                <a:gd name="connsiteX5" fmla="*/ 434937 w 438435"/>
                <a:gd name="connsiteY5" fmla="*/ 750 h 274890"/>
                <a:gd name="connsiteX6" fmla="*/ 0 w 438435"/>
                <a:gd name="connsiteY6" fmla="*/ 271142 h 274890"/>
                <a:gd name="connsiteX7" fmla="*/ 875 w 438435"/>
                <a:gd name="connsiteY7" fmla="*/ 272141 h 274890"/>
                <a:gd name="connsiteX8" fmla="*/ 875 w 438435"/>
                <a:gd name="connsiteY8" fmla="*/ 274890 h 274890"/>
                <a:gd name="connsiteX9" fmla="*/ 125 w 438435"/>
                <a:gd name="connsiteY9" fmla="*/ 274890 h 274890"/>
                <a:gd name="connsiteX10" fmla="*/ 125 w 438435"/>
                <a:gd name="connsiteY10" fmla="*/ 274890 h 274890"/>
                <a:gd name="connsiteX11" fmla="*/ 875 w 438435"/>
                <a:gd name="connsiteY11" fmla="*/ 274890 h 274890"/>
                <a:gd name="connsiteX12" fmla="*/ 438185 w 438435"/>
                <a:gd name="connsiteY12" fmla="*/ 3124 h 27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435" h="274890">
                  <a:moveTo>
                    <a:pt x="438436" y="3124"/>
                  </a:moveTo>
                  <a:cubicBezTo>
                    <a:pt x="438123" y="3299"/>
                    <a:pt x="437748" y="3299"/>
                    <a:pt x="437436" y="3124"/>
                  </a:cubicBezTo>
                  <a:cubicBezTo>
                    <a:pt x="436486" y="2949"/>
                    <a:pt x="435862" y="2024"/>
                    <a:pt x="436049" y="1075"/>
                  </a:cubicBezTo>
                  <a:cubicBezTo>
                    <a:pt x="436049" y="1050"/>
                    <a:pt x="436062" y="1025"/>
                    <a:pt x="436062" y="1000"/>
                  </a:cubicBezTo>
                  <a:lnTo>
                    <a:pt x="436062" y="0"/>
                  </a:lnTo>
                  <a:lnTo>
                    <a:pt x="434937" y="750"/>
                  </a:lnTo>
                  <a:lnTo>
                    <a:pt x="0" y="271142"/>
                  </a:lnTo>
                  <a:lnTo>
                    <a:pt x="875" y="272141"/>
                  </a:lnTo>
                  <a:cubicBezTo>
                    <a:pt x="1499" y="272954"/>
                    <a:pt x="1499" y="274078"/>
                    <a:pt x="875" y="274890"/>
                  </a:cubicBezTo>
                  <a:cubicBezTo>
                    <a:pt x="875" y="274890"/>
                    <a:pt x="875" y="274890"/>
                    <a:pt x="125" y="274890"/>
                  </a:cubicBezTo>
                  <a:lnTo>
                    <a:pt x="125" y="274890"/>
                  </a:lnTo>
                  <a:lnTo>
                    <a:pt x="875" y="274890"/>
                  </a:lnTo>
                  <a:lnTo>
                    <a:pt x="438185" y="3124"/>
                  </a:lnTo>
                  <a:close/>
                </a:path>
              </a:pathLst>
            </a:custGeom>
            <a:solidFill>
              <a:srgbClr val="000000"/>
            </a:solidFill>
            <a:ln w="12483" cap="flat">
              <a:noFill/>
              <a:prstDash val="solid"/>
              <a:miter/>
            </a:ln>
          </p:spPr>
          <p:txBody>
            <a:bodyPr rtlCol="0" anchor="ctr"/>
            <a:lstStyle/>
            <a:p>
              <a:endParaRPr lang="en-US"/>
            </a:p>
          </p:txBody>
        </p:sp>
        <p:sp>
          <p:nvSpPr>
            <p:cNvPr id="1467" name="Freeform: Shape 1466">
              <a:extLst>
                <a:ext uri="{FF2B5EF4-FFF2-40B4-BE49-F238E27FC236}">
                  <a16:creationId xmlns:a16="http://schemas.microsoft.com/office/drawing/2014/main" id="{1FF9A9FC-63BF-4213-8B4F-F0B1A81BEE9E}"/>
                </a:ext>
              </a:extLst>
            </p:cNvPr>
            <p:cNvSpPr/>
            <p:nvPr/>
          </p:nvSpPr>
          <p:spPr>
            <a:xfrm>
              <a:off x="11850410" y="5801943"/>
              <a:ext cx="46" cy="624"/>
            </a:xfrm>
            <a:custGeom>
              <a:avLst/>
              <a:gdLst>
                <a:gd name="connsiteX0" fmla="*/ 0 w 46"/>
                <a:gd name="connsiteY0" fmla="*/ 0 h 624"/>
                <a:gd name="connsiteX1" fmla="*/ 0 w 46"/>
                <a:gd name="connsiteY1" fmla="*/ 0 h 624"/>
                <a:gd name="connsiteX2" fmla="*/ 0 w 46"/>
                <a:gd name="connsiteY2" fmla="*/ 625 h 624"/>
              </a:gdLst>
              <a:ahLst/>
              <a:cxnLst>
                <a:cxn ang="0">
                  <a:pos x="connsiteX0" y="connsiteY0"/>
                </a:cxn>
                <a:cxn ang="0">
                  <a:pos x="connsiteX1" y="connsiteY1"/>
                </a:cxn>
                <a:cxn ang="0">
                  <a:pos x="connsiteX2" y="connsiteY2"/>
                </a:cxn>
              </a:cxnLst>
              <a:rect l="l" t="t" r="r" b="b"/>
              <a:pathLst>
                <a:path w="46" h="624">
                  <a:moveTo>
                    <a:pt x="0" y="0"/>
                  </a:moveTo>
                  <a:cubicBezTo>
                    <a:pt x="0" y="0"/>
                    <a:pt x="0" y="0"/>
                    <a:pt x="0" y="0"/>
                  </a:cubicBezTo>
                  <a:cubicBezTo>
                    <a:pt x="63" y="200"/>
                    <a:pt x="63" y="425"/>
                    <a:pt x="0" y="625"/>
                  </a:cubicBezTo>
                  <a:close/>
                </a:path>
              </a:pathLst>
            </a:custGeom>
            <a:solidFill>
              <a:srgbClr val="000000"/>
            </a:solidFill>
            <a:ln w="12483" cap="flat">
              <a:noFill/>
              <a:prstDash val="solid"/>
              <a:miter/>
            </a:ln>
          </p:spPr>
          <p:txBody>
            <a:bodyPr rtlCol="0" anchor="ctr"/>
            <a:lstStyle/>
            <a:p>
              <a:endParaRPr lang="en-US"/>
            </a:p>
          </p:txBody>
        </p:sp>
        <p:sp>
          <p:nvSpPr>
            <p:cNvPr id="1468" name="Freeform: Shape 1467">
              <a:extLst>
                <a:ext uri="{FF2B5EF4-FFF2-40B4-BE49-F238E27FC236}">
                  <a16:creationId xmlns:a16="http://schemas.microsoft.com/office/drawing/2014/main" id="{73CA84D9-BC8D-4CEC-9FB8-9321CDCED432}"/>
                </a:ext>
              </a:extLst>
            </p:cNvPr>
            <p:cNvSpPr/>
            <p:nvPr/>
          </p:nvSpPr>
          <p:spPr>
            <a:xfrm>
              <a:off x="11402853" y="4322033"/>
              <a:ext cx="3891" cy="21616"/>
            </a:xfrm>
            <a:custGeom>
              <a:avLst/>
              <a:gdLst>
                <a:gd name="connsiteX0" fmla="*/ 1499 w 3891"/>
                <a:gd name="connsiteY0" fmla="*/ 1000 h 21616"/>
                <a:gd name="connsiteX1" fmla="*/ 875 w 3891"/>
                <a:gd name="connsiteY1" fmla="*/ 1000 h 21616"/>
                <a:gd name="connsiteX2" fmla="*/ 875 w 3891"/>
                <a:gd name="connsiteY2" fmla="*/ 1000 h 21616"/>
                <a:gd name="connsiteX3" fmla="*/ 875 w 3891"/>
                <a:gd name="connsiteY3" fmla="*/ 1624 h 21616"/>
                <a:gd name="connsiteX4" fmla="*/ 875 w 3891"/>
                <a:gd name="connsiteY4" fmla="*/ 1624 h 21616"/>
                <a:gd name="connsiteX5" fmla="*/ 875 w 3891"/>
                <a:gd name="connsiteY5" fmla="*/ 1624 h 21616"/>
                <a:gd name="connsiteX6" fmla="*/ 875 w 3891"/>
                <a:gd name="connsiteY6" fmla="*/ 2374 h 21616"/>
                <a:gd name="connsiteX7" fmla="*/ 0 w 3891"/>
                <a:gd name="connsiteY7" fmla="*/ 18118 h 21616"/>
                <a:gd name="connsiteX8" fmla="*/ 2999 w 3891"/>
                <a:gd name="connsiteY8" fmla="*/ 21617 h 21616"/>
                <a:gd name="connsiteX9" fmla="*/ 3873 w 3891"/>
                <a:gd name="connsiteY9" fmla="*/ 5873 h 21616"/>
                <a:gd name="connsiteX10" fmla="*/ 3873 w 3891"/>
                <a:gd name="connsiteY10" fmla="*/ 1749 h 21616"/>
                <a:gd name="connsiteX11" fmla="*/ 2874 w 3891"/>
                <a:gd name="connsiteY11" fmla="*/ 0 h 21616"/>
                <a:gd name="connsiteX12" fmla="*/ 2874 w 3891"/>
                <a:gd name="connsiteY12" fmla="*/ 0 h 2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1" h="21616">
                  <a:moveTo>
                    <a:pt x="1499" y="1000"/>
                  </a:moveTo>
                  <a:lnTo>
                    <a:pt x="875" y="1000"/>
                  </a:lnTo>
                  <a:lnTo>
                    <a:pt x="875" y="1000"/>
                  </a:lnTo>
                  <a:cubicBezTo>
                    <a:pt x="825" y="1200"/>
                    <a:pt x="825" y="1425"/>
                    <a:pt x="875" y="1624"/>
                  </a:cubicBezTo>
                  <a:cubicBezTo>
                    <a:pt x="875" y="1624"/>
                    <a:pt x="875" y="1624"/>
                    <a:pt x="875" y="1624"/>
                  </a:cubicBezTo>
                  <a:lnTo>
                    <a:pt x="875" y="1624"/>
                  </a:lnTo>
                  <a:lnTo>
                    <a:pt x="875" y="2374"/>
                  </a:lnTo>
                  <a:lnTo>
                    <a:pt x="0" y="18118"/>
                  </a:lnTo>
                  <a:lnTo>
                    <a:pt x="2999" y="21617"/>
                  </a:lnTo>
                  <a:lnTo>
                    <a:pt x="3873" y="5873"/>
                  </a:lnTo>
                  <a:lnTo>
                    <a:pt x="3873" y="1749"/>
                  </a:lnTo>
                  <a:cubicBezTo>
                    <a:pt x="3986" y="1000"/>
                    <a:pt x="3574" y="288"/>
                    <a:pt x="2874" y="0"/>
                  </a:cubicBezTo>
                  <a:lnTo>
                    <a:pt x="2874" y="0"/>
                  </a:lnTo>
                  <a:close/>
                </a:path>
              </a:pathLst>
            </a:custGeom>
            <a:solidFill>
              <a:srgbClr val="000000"/>
            </a:solidFill>
            <a:ln w="12483" cap="flat">
              <a:noFill/>
              <a:prstDash val="solid"/>
              <a:miter/>
            </a:ln>
          </p:spPr>
          <p:txBody>
            <a:bodyPr rtlCol="0" anchor="ctr"/>
            <a:lstStyle/>
            <a:p>
              <a:endParaRPr lang="en-US"/>
            </a:p>
          </p:txBody>
        </p:sp>
        <p:sp>
          <p:nvSpPr>
            <p:cNvPr id="1469" name="Freeform: Shape 1468">
              <a:extLst>
                <a:ext uri="{FF2B5EF4-FFF2-40B4-BE49-F238E27FC236}">
                  <a16:creationId xmlns:a16="http://schemas.microsoft.com/office/drawing/2014/main" id="{6A59F1DA-3EF5-4B70-AB20-954981A41EAA}"/>
                </a:ext>
              </a:extLst>
            </p:cNvPr>
            <p:cNvSpPr/>
            <p:nvPr/>
          </p:nvSpPr>
          <p:spPr>
            <a:xfrm>
              <a:off x="11847737" y="4930827"/>
              <a:ext cx="79677" cy="872246"/>
            </a:xfrm>
            <a:custGeom>
              <a:avLst/>
              <a:gdLst>
                <a:gd name="connsiteX0" fmla="*/ 76891 w 79677"/>
                <a:gd name="connsiteY0" fmla="*/ 213 h 872246"/>
                <a:gd name="connsiteX1" fmla="*/ 76891 w 79677"/>
                <a:gd name="connsiteY1" fmla="*/ 1213 h 872246"/>
                <a:gd name="connsiteX2" fmla="*/ 49 w 79677"/>
                <a:gd name="connsiteY2" fmla="*/ 865993 h 872246"/>
                <a:gd name="connsiteX3" fmla="*/ 49 w 79677"/>
                <a:gd name="connsiteY3" fmla="*/ 868992 h 872246"/>
                <a:gd name="connsiteX4" fmla="*/ 49 w 79677"/>
                <a:gd name="connsiteY4" fmla="*/ 869992 h 872246"/>
                <a:gd name="connsiteX5" fmla="*/ 1348 w 79677"/>
                <a:gd name="connsiteY5" fmla="*/ 872103 h 872246"/>
                <a:gd name="connsiteX6" fmla="*/ 1424 w 79677"/>
                <a:gd name="connsiteY6" fmla="*/ 872115 h 872246"/>
                <a:gd name="connsiteX7" fmla="*/ 2423 w 79677"/>
                <a:gd name="connsiteY7" fmla="*/ 872115 h 872246"/>
                <a:gd name="connsiteX8" fmla="*/ 2423 w 79677"/>
                <a:gd name="connsiteY8" fmla="*/ 872115 h 872246"/>
                <a:gd name="connsiteX9" fmla="*/ 2423 w 79677"/>
                <a:gd name="connsiteY9" fmla="*/ 872115 h 872246"/>
                <a:gd name="connsiteX10" fmla="*/ 2423 w 79677"/>
                <a:gd name="connsiteY10" fmla="*/ 871491 h 872246"/>
                <a:gd name="connsiteX11" fmla="*/ 2423 w 79677"/>
                <a:gd name="connsiteY11" fmla="*/ 871491 h 872246"/>
                <a:gd name="connsiteX12" fmla="*/ 79639 w 79677"/>
                <a:gd name="connsiteY12" fmla="*/ 2712 h 872246"/>
                <a:gd name="connsiteX13" fmla="*/ 79639 w 79677"/>
                <a:gd name="connsiteY13" fmla="*/ 1713 h 872246"/>
                <a:gd name="connsiteX14" fmla="*/ 79639 w 79677"/>
                <a:gd name="connsiteY14" fmla="*/ 1713 h 872246"/>
                <a:gd name="connsiteX15" fmla="*/ 79639 w 79677"/>
                <a:gd name="connsiteY15" fmla="*/ 963 h 872246"/>
                <a:gd name="connsiteX16" fmla="*/ 78765 w 79677"/>
                <a:gd name="connsiteY16" fmla="*/ 338 h 872246"/>
                <a:gd name="connsiteX17" fmla="*/ 76891 w 79677"/>
                <a:gd name="connsiteY17" fmla="*/ 213 h 87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677" h="872246">
                  <a:moveTo>
                    <a:pt x="76891" y="213"/>
                  </a:moveTo>
                  <a:lnTo>
                    <a:pt x="76891" y="1213"/>
                  </a:lnTo>
                  <a:lnTo>
                    <a:pt x="49" y="865993"/>
                  </a:lnTo>
                  <a:lnTo>
                    <a:pt x="49" y="868992"/>
                  </a:lnTo>
                  <a:lnTo>
                    <a:pt x="49" y="869992"/>
                  </a:lnTo>
                  <a:cubicBezTo>
                    <a:pt x="-176" y="870928"/>
                    <a:pt x="399" y="871878"/>
                    <a:pt x="1348" y="872103"/>
                  </a:cubicBezTo>
                  <a:cubicBezTo>
                    <a:pt x="1373" y="872103"/>
                    <a:pt x="1399" y="872115"/>
                    <a:pt x="1424" y="872115"/>
                  </a:cubicBezTo>
                  <a:cubicBezTo>
                    <a:pt x="1736" y="872290"/>
                    <a:pt x="2111" y="872290"/>
                    <a:pt x="2423" y="872115"/>
                  </a:cubicBezTo>
                  <a:lnTo>
                    <a:pt x="2423" y="872115"/>
                  </a:lnTo>
                  <a:lnTo>
                    <a:pt x="2423" y="872115"/>
                  </a:lnTo>
                  <a:cubicBezTo>
                    <a:pt x="2485" y="871916"/>
                    <a:pt x="2485" y="871691"/>
                    <a:pt x="2423" y="871491"/>
                  </a:cubicBezTo>
                  <a:lnTo>
                    <a:pt x="2423" y="871491"/>
                  </a:lnTo>
                  <a:lnTo>
                    <a:pt x="79639" y="2712"/>
                  </a:lnTo>
                  <a:lnTo>
                    <a:pt x="79639" y="1713"/>
                  </a:lnTo>
                  <a:lnTo>
                    <a:pt x="79639" y="1713"/>
                  </a:lnTo>
                  <a:cubicBezTo>
                    <a:pt x="79690" y="1463"/>
                    <a:pt x="79690" y="1213"/>
                    <a:pt x="79639" y="963"/>
                  </a:cubicBezTo>
                  <a:cubicBezTo>
                    <a:pt x="79639" y="963"/>
                    <a:pt x="79639" y="338"/>
                    <a:pt x="78765" y="338"/>
                  </a:cubicBezTo>
                  <a:cubicBezTo>
                    <a:pt x="78215" y="-61"/>
                    <a:pt x="77490" y="-112"/>
                    <a:pt x="76891" y="213"/>
                  </a:cubicBezTo>
                  <a:close/>
                </a:path>
              </a:pathLst>
            </a:custGeom>
            <a:solidFill>
              <a:srgbClr val="000000"/>
            </a:solidFill>
            <a:ln w="12483" cap="flat">
              <a:noFill/>
              <a:prstDash val="solid"/>
              <a:miter/>
            </a:ln>
          </p:spPr>
          <p:txBody>
            <a:bodyPr rtlCol="0" anchor="ctr"/>
            <a:lstStyle/>
            <a:p>
              <a:endParaRPr lang="en-US"/>
            </a:p>
          </p:txBody>
        </p:sp>
        <p:sp>
          <p:nvSpPr>
            <p:cNvPr id="1470" name="Freeform: Shape 1469">
              <a:extLst>
                <a:ext uri="{FF2B5EF4-FFF2-40B4-BE49-F238E27FC236}">
                  <a16:creationId xmlns:a16="http://schemas.microsoft.com/office/drawing/2014/main" id="{10FD9431-0980-46DB-84ED-EC35446081D2}"/>
                </a:ext>
              </a:extLst>
            </p:cNvPr>
            <p:cNvSpPr/>
            <p:nvPr/>
          </p:nvSpPr>
          <p:spPr>
            <a:xfrm>
              <a:off x="11883146" y="3334052"/>
              <a:ext cx="185794" cy="104833"/>
            </a:xfrm>
            <a:custGeom>
              <a:avLst/>
              <a:gdLst>
                <a:gd name="connsiteX0" fmla="*/ 0 w 185794"/>
                <a:gd name="connsiteY0" fmla="*/ 101709 h 104833"/>
                <a:gd name="connsiteX1" fmla="*/ 0 w 185794"/>
                <a:gd name="connsiteY1" fmla="*/ 101709 h 104833"/>
                <a:gd name="connsiteX2" fmla="*/ 1000 w 185794"/>
                <a:gd name="connsiteY2" fmla="*/ 101709 h 104833"/>
                <a:gd name="connsiteX3" fmla="*/ 2499 w 185794"/>
                <a:gd name="connsiteY3" fmla="*/ 103834 h 104833"/>
                <a:gd name="connsiteX4" fmla="*/ 2499 w 185794"/>
                <a:gd name="connsiteY4" fmla="*/ 104833 h 104833"/>
                <a:gd name="connsiteX5" fmla="*/ 185795 w 185794"/>
                <a:gd name="connsiteY5" fmla="*/ 3873 h 104833"/>
                <a:gd name="connsiteX6" fmla="*/ 185795 w 185794"/>
                <a:gd name="connsiteY6" fmla="*/ 875 h 104833"/>
                <a:gd name="connsiteX7" fmla="*/ 184920 w 185794"/>
                <a:gd name="connsiteY7" fmla="*/ 0 h 104833"/>
                <a:gd name="connsiteX8" fmla="*/ 1000 w 185794"/>
                <a:gd name="connsiteY8" fmla="*/ 101335 h 10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794" h="104833">
                  <a:moveTo>
                    <a:pt x="0" y="101709"/>
                  </a:moveTo>
                  <a:lnTo>
                    <a:pt x="0" y="101709"/>
                  </a:lnTo>
                  <a:cubicBezTo>
                    <a:pt x="325" y="101609"/>
                    <a:pt x="675" y="101609"/>
                    <a:pt x="1000" y="101709"/>
                  </a:cubicBezTo>
                  <a:cubicBezTo>
                    <a:pt x="1949" y="101947"/>
                    <a:pt x="2587" y="102859"/>
                    <a:pt x="2499" y="103834"/>
                  </a:cubicBezTo>
                  <a:lnTo>
                    <a:pt x="2499" y="104833"/>
                  </a:lnTo>
                  <a:lnTo>
                    <a:pt x="185795" y="3873"/>
                  </a:lnTo>
                  <a:lnTo>
                    <a:pt x="185795" y="875"/>
                  </a:lnTo>
                  <a:lnTo>
                    <a:pt x="184920" y="0"/>
                  </a:lnTo>
                  <a:lnTo>
                    <a:pt x="1000" y="101335"/>
                  </a:lnTo>
                  <a:close/>
                </a:path>
              </a:pathLst>
            </a:custGeom>
            <a:solidFill>
              <a:srgbClr val="000000"/>
            </a:solidFill>
            <a:ln w="12483" cap="flat">
              <a:noFill/>
              <a:prstDash val="solid"/>
              <a:miter/>
            </a:ln>
          </p:spPr>
          <p:txBody>
            <a:bodyPr rtlCol="0" anchor="ctr"/>
            <a:lstStyle/>
            <a:p>
              <a:endParaRPr lang="en-US"/>
            </a:p>
          </p:txBody>
        </p:sp>
        <p:sp>
          <p:nvSpPr>
            <p:cNvPr id="1471" name="Freeform: Shape 1470">
              <a:extLst>
                <a:ext uri="{FF2B5EF4-FFF2-40B4-BE49-F238E27FC236}">
                  <a16:creationId xmlns:a16="http://schemas.microsoft.com/office/drawing/2014/main" id="{C9B9CBC4-FCD4-4890-A666-87C57BB35D5B}"/>
                </a:ext>
              </a:extLst>
            </p:cNvPr>
            <p:cNvSpPr/>
            <p:nvPr/>
          </p:nvSpPr>
          <p:spPr>
            <a:xfrm>
              <a:off x="11816424" y="3704405"/>
              <a:ext cx="44230" cy="27738"/>
            </a:xfrm>
            <a:custGeom>
              <a:avLst/>
              <a:gdLst>
                <a:gd name="connsiteX0" fmla="*/ 0 w 44230"/>
                <a:gd name="connsiteY0" fmla="*/ 24615 h 27738"/>
                <a:gd name="connsiteX1" fmla="*/ 0 w 44230"/>
                <a:gd name="connsiteY1" fmla="*/ 24615 h 27738"/>
                <a:gd name="connsiteX2" fmla="*/ 875 w 44230"/>
                <a:gd name="connsiteY2" fmla="*/ 24615 h 27738"/>
                <a:gd name="connsiteX3" fmla="*/ 2374 w 44230"/>
                <a:gd name="connsiteY3" fmla="*/ 26577 h 27738"/>
                <a:gd name="connsiteX4" fmla="*/ 2374 w 44230"/>
                <a:gd name="connsiteY4" fmla="*/ 26614 h 27738"/>
                <a:gd name="connsiteX5" fmla="*/ 2374 w 44230"/>
                <a:gd name="connsiteY5" fmla="*/ 27739 h 27738"/>
                <a:gd name="connsiteX6" fmla="*/ 44231 w 44230"/>
                <a:gd name="connsiteY6" fmla="*/ 4373 h 27738"/>
                <a:gd name="connsiteX7" fmla="*/ 44231 w 44230"/>
                <a:gd name="connsiteY7" fmla="*/ 999 h 27738"/>
                <a:gd name="connsiteX8" fmla="*/ 44231 w 44230"/>
                <a:gd name="connsiteY8" fmla="*/ 0 h 27738"/>
                <a:gd name="connsiteX9" fmla="*/ 42981 w 44230"/>
                <a:gd name="connsiteY9" fmla="*/ 750 h 27738"/>
                <a:gd name="connsiteX10" fmla="*/ 875 w 44230"/>
                <a:gd name="connsiteY10" fmla="*/ 24240 h 2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30" h="27738">
                  <a:moveTo>
                    <a:pt x="0" y="24615"/>
                  </a:moveTo>
                  <a:lnTo>
                    <a:pt x="0" y="24615"/>
                  </a:lnTo>
                  <a:cubicBezTo>
                    <a:pt x="0" y="24615"/>
                    <a:pt x="0" y="24615"/>
                    <a:pt x="875" y="24615"/>
                  </a:cubicBezTo>
                  <a:cubicBezTo>
                    <a:pt x="1837" y="24740"/>
                    <a:pt x="2511" y="25627"/>
                    <a:pt x="2374" y="26577"/>
                  </a:cubicBezTo>
                  <a:cubicBezTo>
                    <a:pt x="2374" y="26589"/>
                    <a:pt x="2374" y="26602"/>
                    <a:pt x="2374" y="26614"/>
                  </a:cubicBezTo>
                  <a:lnTo>
                    <a:pt x="2374" y="27739"/>
                  </a:lnTo>
                  <a:lnTo>
                    <a:pt x="44231" y="4373"/>
                  </a:lnTo>
                  <a:lnTo>
                    <a:pt x="44231" y="999"/>
                  </a:lnTo>
                  <a:lnTo>
                    <a:pt x="44231" y="0"/>
                  </a:lnTo>
                  <a:lnTo>
                    <a:pt x="42981" y="750"/>
                  </a:lnTo>
                  <a:lnTo>
                    <a:pt x="875" y="24240"/>
                  </a:lnTo>
                  <a:close/>
                </a:path>
              </a:pathLst>
            </a:custGeom>
            <a:solidFill>
              <a:srgbClr val="000000"/>
            </a:solidFill>
            <a:ln w="12483" cap="flat">
              <a:noFill/>
              <a:prstDash val="solid"/>
              <a:miter/>
            </a:ln>
          </p:spPr>
          <p:txBody>
            <a:bodyPr rtlCol="0" anchor="ctr"/>
            <a:lstStyle/>
            <a:p>
              <a:endParaRPr lang="en-US"/>
            </a:p>
          </p:txBody>
        </p:sp>
        <p:sp>
          <p:nvSpPr>
            <p:cNvPr id="1472" name="Freeform: Shape 1471">
              <a:extLst>
                <a:ext uri="{FF2B5EF4-FFF2-40B4-BE49-F238E27FC236}">
                  <a16:creationId xmlns:a16="http://schemas.microsoft.com/office/drawing/2014/main" id="{E3BA0C9A-7369-4B90-9DD5-BB535C2E8FC6}"/>
                </a:ext>
              </a:extLst>
            </p:cNvPr>
            <p:cNvSpPr/>
            <p:nvPr/>
          </p:nvSpPr>
          <p:spPr>
            <a:xfrm>
              <a:off x="11860655" y="3436187"/>
              <a:ext cx="24622" cy="270092"/>
            </a:xfrm>
            <a:custGeom>
              <a:avLst/>
              <a:gdLst>
                <a:gd name="connsiteX0" fmla="*/ 0 w 24622"/>
                <a:gd name="connsiteY0" fmla="*/ 269717 h 270092"/>
                <a:gd name="connsiteX1" fmla="*/ 1624 w 24622"/>
                <a:gd name="connsiteY1" fmla="*/ 268093 h 270092"/>
                <a:gd name="connsiteX2" fmla="*/ 1749 w 24622"/>
                <a:gd name="connsiteY2" fmla="*/ 268093 h 270092"/>
                <a:gd name="connsiteX3" fmla="*/ 3161 w 24622"/>
                <a:gd name="connsiteY3" fmla="*/ 269905 h 270092"/>
                <a:gd name="connsiteX4" fmla="*/ 3124 w 24622"/>
                <a:gd name="connsiteY4" fmla="*/ 270092 h 270092"/>
                <a:gd name="connsiteX5" fmla="*/ 24614 w 24622"/>
                <a:gd name="connsiteY5" fmla="*/ 3199 h 270092"/>
                <a:gd name="connsiteX6" fmla="*/ 24614 w 24622"/>
                <a:gd name="connsiteY6" fmla="*/ 2199 h 270092"/>
                <a:gd name="connsiteX7" fmla="*/ 23115 w 24622"/>
                <a:gd name="connsiteY7" fmla="*/ 75 h 270092"/>
                <a:gd name="connsiteX8" fmla="*/ 22116 w 24622"/>
                <a:gd name="connsiteY8" fmla="*/ 75 h 270092"/>
                <a:gd name="connsiteX9" fmla="*/ 22116 w 24622"/>
                <a:gd name="connsiteY9" fmla="*/ 75 h 270092"/>
                <a:gd name="connsiteX10" fmla="*/ 22116 w 24622"/>
                <a:gd name="connsiteY10" fmla="*/ 700 h 270092"/>
                <a:gd name="connsiteX11" fmla="*/ 22116 w 24622"/>
                <a:gd name="connsiteY11" fmla="*/ 1949 h 270092"/>
                <a:gd name="connsiteX12" fmla="*/ 875 w 24622"/>
                <a:gd name="connsiteY12" fmla="*/ 265094 h 270092"/>
                <a:gd name="connsiteX13" fmla="*/ 875 w 24622"/>
                <a:gd name="connsiteY13" fmla="*/ 267843 h 27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22" h="270092">
                  <a:moveTo>
                    <a:pt x="0" y="269717"/>
                  </a:moveTo>
                  <a:cubicBezTo>
                    <a:pt x="0" y="268818"/>
                    <a:pt x="724" y="268093"/>
                    <a:pt x="1624" y="268093"/>
                  </a:cubicBezTo>
                  <a:cubicBezTo>
                    <a:pt x="1662" y="268093"/>
                    <a:pt x="1711" y="268093"/>
                    <a:pt x="1749" y="268093"/>
                  </a:cubicBezTo>
                  <a:cubicBezTo>
                    <a:pt x="2636" y="268206"/>
                    <a:pt x="3273" y="269018"/>
                    <a:pt x="3161" y="269905"/>
                  </a:cubicBezTo>
                  <a:cubicBezTo>
                    <a:pt x="3149" y="269967"/>
                    <a:pt x="3136" y="270030"/>
                    <a:pt x="3124" y="270092"/>
                  </a:cubicBezTo>
                  <a:lnTo>
                    <a:pt x="24614" y="3199"/>
                  </a:lnTo>
                  <a:lnTo>
                    <a:pt x="24614" y="2199"/>
                  </a:lnTo>
                  <a:cubicBezTo>
                    <a:pt x="24702" y="1224"/>
                    <a:pt x="24064" y="312"/>
                    <a:pt x="23115" y="75"/>
                  </a:cubicBezTo>
                  <a:cubicBezTo>
                    <a:pt x="22790" y="-25"/>
                    <a:pt x="22441" y="-25"/>
                    <a:pt x="22116" y="75"/>
                  </a:cubicBezTo>
                  <a:lnTo>
                    <a:pt x="22116" y="75"/>
                  </a:lnTo>
                  <a:cubicBezTo>
                    <a:pt x="22116" y="75"/>
                    <a:pt x="22116" y="75"/>
                    <a:pt x="22116" y="700"/>
                  </a:cubicBezTo>
                  <a:lnTo>
                    <a:pt x="22116" y="1949"/>
                  </a:lnTo>
                  <a:lnTo>
                    <a:pt x="875" y="265094"/>
                  </a:lnTo>
                  <a:lnTo>
                    <a:pt x="875" y="267843"/>
                  </a:lnTo>
                  <a:close/>
                </a:path>
              </a:pathLst>
            </a:custGeom>
            <a:solidFill>
              <a:srgbClr val="000000"/>
            </a:solidFill>
            <a:ln w="12483" cap="flat">
              <a:noFill/>
              <a:prstDash val="solid"/>
              <a:miter/>
            </a:ln>
          </p:spPr>
          <p:txBody>
            <a:bodyPr rtlCol="0" anchor="ctr"/>
            <a:lstStyle/>
            <a:p>
              <a:endParaRPr lang="en-US"/>
            </a:p>
          </p:txBody>
        </p:sp>
        <p:sp>
          <p:nvSpPr>
            <p:cNvPr id="1473" name="Freeform: Shape 1472">
              <a:extLst>
                <a:ext uri="{FF2B5EF4-FFF2-40B4-BE49-F238E27FC236}">
                  <a16:creationId xmlns:a16="http://schemas.microsoft.com/office/drawing/2014/main" id="{8D9BF6F1-9BEC-49EA-A3FE-B010B7C7AAAA}"/>
                </a:ext>
              </a:extLst>
            </p:cNvPr>
            <p:cNvSpPr/>
            <p:nvPr/>
          </p:nvSpPr>
          <p:spPr>
            <a:xfrm>
              <a:off x="12098928" y="5537299"/>
              <a:ext cx="106079" cy="130572"/>
            </a:xfrm>
            <a:custGeom>
              <a:avLst/>
              <a:gdLst>
                <a:gd name="connsiteX0" fmla="*/ 0 w 106079"/>
                <a:gd name="connsiteY0" fmla="*/ 4748 h 130572"/>
                <a:gd name="connsiteX1" fmla="*/ 106079 w 106079"/>
                <a:gd name="connsiteY1" fmla="*/ 130573 h 130572"/>
                <a:gd name="connsiteX2" fmla="*/ 106079 w 106079"/>
                <a:gd name="connsiteY2" fmla="*/ 125200 h 130572"/>
                <a:gd name="connsiteX3" fmla="*/ 500 w 106079"/>
                <a:gd name="connsiteY3" fmla="*/ 0 h 130572"/>
                <a:gd name="connsiteX4" fmla="*/ 0 w 106079"/>
                <a:gd name="connsiteY4" fmla="*/ 4748 h 13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79" h="130572">
                  <a:moveTo>
                    <a:pt x="0" y="4748"/>
                  </a:moveTo>
                  <a:lnTo>
                    <a:pt x="106079" y="130573"/>
                  </a:lnTo>
                  <a:lnTo>
                    <a:pt x="106079" y="125200"/>
                  </a:lnTo>
                  <a:lnTo>
                    <a:pt x="500" y="0"/>
                  </a:lnTo>
                  <a:lnTo>
                    <a:pt x="0" y="4748"/>
                  </a:lnTo>
                  <a:close/>
                </a:path>
              </a:pathLst>
            </a:custGeom>
            <a:solidFill>
              <a:srgbClr val="000000"/>
            </a:solidFill>
            <a:ln w="12483" cap="flat">
              <a:noFill/>
              <a:prstDash val="solid"/>
              <a:miter/>
            </a:ln>
          </p:spPr>
          <p:txBody>
            <a:bodyPr rtlCol="0" anchor="ctr"/>
            <a:lstStyle/>
            <a:p>
              <a:endParaRPr lang="en-US"/>
            </a:p>
          </p:txBody>
        </p:sp>
        <p:sp>
          <p:nvSpPr>
            <p:cNvPr id="1474" name="Freeform: Shape 1473">
              <a:extLst>
                <a:ext uri="{FF2B5EF4-FFF2-40B4-BE49-F238E27FC236}">
                  <a16:creationId xmlns:a16="http://schemas.microsoft.com/office/drawing/2014/main" id="{63AD8F98-CE0D-4969-B3FC-A0B61FE4D7F7}"/>
                </a:ext>
              </a:extLst>
            </p:cNvPr>
            <p:cNvSpPr/>
            <p:nvPr/>
          </p:nvSpPr>
          <p:spPr>
            <a:xfrm>
              <a:off x="11970608" y="3967425"/>
              <a:ext cx="70595" cy="602884"/>
            </a:xfrm>
            <a:custGeom>
              <a:avLst/>
              <a:gdLst>
                <a:gd name="connsiteX0" fmla="*/ 65472 w 70595"/>
                <a:gd name="connsiteY0" fmla="*/ 9496 h 602884"/>
                <a:gd name="connsiteX1" fmla="*/ 53977 w 70595"/>
                <a:gd name="connsiteY1" fmla="*/ 15994 h 602884"/>
                <a:gd name="connsiteX2" fmla="*/ 50978 w 70595"/>
                <a:gd name="connsiteY2" fmla="*/ 17743 h 602884"/>
                <a:gd name="connsiteX3" fmla="*/ 0 w 70595"/>
                <a:gd name="connsiteY3" fmla="*/ 584267 h 602884"/>
                <a:gd name="connsiteX4" fmla="*/ 13244 w 70595"/>
                <a:gd name="connsiteY4" fmla="*/ 599261 h 602884"/>
                <a:gd name="connsiteX5" fmla="*/ 16493 w 70595"/>
                <a:gd name="connsiteY5" fmla="*/ 602885 h 602884"/>
                <a:gd name="connsiteX6" fmla="*/ 70595 w 70595"/>
                <a:gd name="connsiteY6" fmla="*/ 875 h 602884"/>
                <a:gd name="connsiteX7" fmla="*/ 70595 w 70595"/>
                <a:gd name="connsiteY7" fmla="*/ 0 h 602884"/>
                <a:gd name="connsiteX8" fmla="*/ 65472 w 70595"/>
                <a:gd name="connsiteY8" fmla="*/ 9496 h 60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595" h="602884">
                  <a:moveTo>
                    <a:pt x="65472" y="9496"/>
                  </a:moveTo>
                  <a:lnTo>
                    <a:pt x="53977" y="15994"/>
                  </a:lnTo>
                  <a:lnTo>
                    <a:pt x="50978" y="17743"/>
                  </a:lnTo>
                  <a:lnTo>
                    <a:pt x="0" y="584267"/>
                  </a:lnTo>
                  <a:lnTo>
                    <a:pt x="13244" y="599261"/>
                  </a:lnTo>
                  <a:lnTo>
                    <a:pt x="16493" y="602885"/>
                  </a:lnTo>
                  <a:lnTo>
                    <a:pt x="70595" y="875"/>
                  </a:lnTo>
                  <a:cubicBezTo>
                    <a:pt x="70595" y="875"/>
                    <a:pt x="70595" y="875"/>
                    <a:pt x="70595" y="0"/>
                  </a:cubicBezTo>
                  <a:cubicBezTo>
                    <a:pt x="70619" y="3836"/>
                    <a:pt x="68683" y="7410"/>
                    <a:pt x="65472" y="9496"/>
                  </a:cubicBezTo>
                  <a:close/>
                </a:path>
              </a:pathLst>
            </a:custGeom>
            <a:solidFill>
              <a:srgbClr val="000000"/>
            </a:solidFill>
            <a:ln w="12483" cap="flat">
              <a:noFill/>
              <a:prstDash val="solid"/>
              <a:miter/>
            </a:ln>
          </p:spPr>
          <p:txBody>
            <a:bodyPr rtlCol="0" anchor="ctr"/>
            <a:lstStyle/>
            <a:p>
              <a:endParaRPr lang="en-US"/>
            </a:p>
          </p:txBody>
        </p:sp>
        <p:sp>
          <p:nvSpPr>
            <p:cNvPr id="1475" name="Freeform: Shape 1474">
              <a:extLst>
                <a:ext uri="{FF2B5EF4-FFF2-40B4-BE49-F238E27FC236}">
                  <a16:creationId xmlns:a16="http://schemas.microsoft.com/office/drawing/2014/main" id="{25E613E0-E613-4D14-9697-4B0BF7F5EF52}"/>
                </a:ext>
              </a:extLst>
            </p:cNvPr>
            <p:cNvSpPr/>
            <p:nvPr/>
          </p:nvSpPr>
          <p:spPr>
            <a:xfrm>
              <a:off x="12033206" y="3955804"/>
              <a:ext cx="1624" cy="12495"/>
            </a:xfrm>
            <a:custGeom>
              <a:avLst/>
              <a:gdLst>
                <a:gd name="connsiteX0" fmla="*/ 0 w 1624"/>
                <a:gd name="connsiteY0" fmla="*/ 0 h 12495"/>
                <a:gd name="connsiteX1" fmla="*/ 0 w 1624"/>
                <a:gd name="connsiteY1" fmla="*/ 0 h 12495"/>
                <a:gd name="connsiteX2" fmla="*/ 1624 w 1624"/>
                <a:gd name="connsiteY2" fmla="*/ 0 h 12495"/>
              </a:gdLst>
              <a:ahLst/>
              <a:cxnLst>
                <a:cxn ang="0">
                  <a:pos x="connsiteX0" y="connsiteY0"/>
                </a:cxn>
                <a:cxn ang="0">
                  <a:pos x="connsiteX1" y="connsiteY1"/>
                </a:cxn>
                <a:cxn ang="0">
                  <a:pos x="connsiteX2" y="connsiteY2"/>
                </a:cxn>
              </a:cxnLst>
              <a:rect l="l" t="t" r="r" b="b"/>
              <a:pathLst>
                <a:path w="1624" h="12495">
                  <a:moveTo>
                    <a:pt x="0" y="0"/>
                  </a:moveTo>
                  <a:lnTo>
                    <a:pt x="0" y="0"/>
                  </a:lnTo>
                  <a:lnTo>
                    <a:pt x="1624" y="0"/>
                  </a:lnTo>
                  <a:close/>
                </a:path>
              </a:pathLst>
            </a:custGeom>
            <a:solidFill>
              <a:srgbClr val="000000"/>
            </a:solidFill>
            <a:ln w="12483" cap="flat">
              <a:noFill/>
              <a:prstDash val="solid"/>
              <a:miter/>
            </a:ln>
          </p:spPr>
          <p:txBody>
            <a:bodyPr rtlCol="0" anchor="ctr"/>
            <a:lstStyle/>
            <a:p>
              <a:endParaRPr lang="en-US"/>
            </a:p>
          </p:txBody>
        </p:sp>
        <p:sp>
          <p:nvSpPr>
            <p:cNvPr id="1476" name="Freeform: Shape 1475">
              <a:extLst>
                <a:ext uri="{FF2B5EF4-FFF2-40B4-BE49-F238E27FC236}">
                  <a16:creationId xmlns:a16="http://schemas.microsoft.com/office/drawing/2014/main" id="{41952F98-73F3-416A-A596-42E56673781B}"/>
                </a:ext>
              </a:extLst>
            </p:cNvPr>
            <p:cNvSpPr/>
            <p:nvPr/>
          </p:nvSpPr>
          <p:spPr>
            <a:xfrm>
              <a:off x="11787062" y="3728895"/>
              <a:ext cx="31632" cy="366354"/>
            </a:xfrm>
            <a:custGeom>
              <a:avLst/>
              <a:gdLst>
                <a:gd name="connsiteX0" fmla="*/ 28488 w 31632"/>
                <a:gd name="connsiteY0" fmla="*/ 1999 h 366354"/>
                <a:gd name="connsiteX1" fmla="*/ 28488 w 31632"/>
                <a:gd name="connsiteY1" fmla="*/ 1999 h 366354"/>
                <a:gd name="connsiteX2" fmla="*/ 28488 w 31632"/>
                <a:gd name="connsiteY2" fmla="*/ 2999 h 366354"/>
                <a:gd name="connsiteX3" fmla="*/ 0 w 31632"/>
                <a:gd name="connsiteY3" fmla="*/ 366354 h 366354"/>
                <a:gd name="connsiteX4" fmla="*/ 3374 w 31632"/>
                <a:gd name="connsiteY4" fmla="*/ 364480 h 366354"/>
                <a:gd name="connsiteX5" fmla="*/ 31611 w 31632"/>
                <a:gd name="connsiteY5" fmla="*/ 3499 h 366354"/>
                <a:gd name="connsiteX6" fmla="*/ 31611 w 31632"/>
                <a:gd name="connsiteY6" fmla="*/ 1999 h 366354"/>
                <a:gd name="connsiteX7" fmla="*/ 30149 w 31632"/>
                <a:gd name="connsiteY7" fmla="*/ 0 h 366354"/>
                <a:gd name="connsiteX8" fmla="*/ 30112 w 31632"/>
                <a:gd name="connsiteY8" fmla="*/ 0 h 366354"/>
                <a:gd name="connsiteX9" fmla="*/ 29237 w 31632"/>
                <a:gd name="connsiteY9" fmla="*/ 0 h 366354"/>
                <a:gd name="connsiteX10" fmla="*/ 29237 w 31632"/>
                <a:gd name="connsiteY10" fmla="*/ 625 h 366354"/>
                <a:gd name="connsiteX11" fmla="*/ 28488 w 31632"/>
                <a:gd name="connsiteY11" fmla="*/ 1999 h 36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32" h="366354">
                  <a:moveTo>
                    <a:pt x="28488" y="1999"/>
                  </a:moveTo>
                  <a:lnTo>
                    <a:pt x="28488" y="1999"/>
                  </a:lnTo>
                  <a:lnTo>
                    <a:pt x="28488" y="2999"/>
                  </a:lnTo>
                  <a:lnTo>
                    <a:pt x="0" y="366354"/>
                  </a:lnTo>
                  <a:lnTo>
                    <a:pt x="3374" y="364480"/>
                  </a:lnTo>
                  <a:lnTo>
                    <a:pt x="31611" y="3499"/>
                  </a:lnTo>
                  <a:lnTo>
                    <a:pt x="31611" y="1999"/>
                  </a:lnTo>
                  <a:cubicBezTo>
                    <a:pt x="31761" y="1050"/>
                    <a:pt x="31099" y="150"/>
                    <a:pt x="30149" y="0"/>
                  </a:cubicBezTo>
                  <a:cubicBezTo>
                    <a:pt x="30137" y="0"/>
                    <a:pt x="30125" y="0"/>
                    <a:pt x="30112" y="0"/>
                  </a:cubicBezTo>
                  <a:cubicBezTo>
                    <a:pt x="30112" y="0"/>
                    <a:pt x="30112" y="0"/>
                    <a:pt x="29237" y="0"/>
                  </a:cubicBezTo>
                  <a:lnTo>
                    <a:pt x="29237" y="625"/>
                  </a:lnTo>
                  <a:cubicBezTo>
                    <a:pt x="29237" y="625"/>
                    <a:pt x="28613" y="1250"/>
                    <a:pt x="28488" y="1999"/>
                  </a:cubicBezTo>
                  <a:close/>
                </a:path>
              </a:pathLst>
            </a:custGeom>
            <a:solidFill>
              <a:srgbClr val="000000"/>
            </a:solidFill>
            <a:ln w="12483" cap="flat">
              <a:noFill/>
              <a:prstDash val="solid"/>
              <a:miter/>
            </a:ln>
          </p:spPr>
          <p:txBody>
            <a:bodyPr rtlCol="0" anchor="ctr"/>
            <a:lstStyle/>
            <a:p>
              <a:endParaRPr lang="en-US"/>
            </a:p>
          </p:txBody>
        </p:sp>
        <p:sp>
          <p:nvSpPr>
            <p:cNvPr id="1477" name="Freeform: Shape 1476">
              <a:extLst>
                <a:ext uri="{FF2B5EF4-FFF2-40B4-BE49-F238E27FC236}">
                  <a16:creationId xmlns:a16="http://schemas.microsoft.com/office/drawing/2014/main" id="{970685D6-E31A-4634-92A9-AE94E39099F0}"/>
                </a:ext>
              </a:extLst>
            </p:cNvPr>
            <p:cNvSpPr/>
            <p:nvPr/>
          </p:nvSpPr>
          <p:spPr>
            <a:xfrm>
              <a:off x="11831293" y="3703399"/>
              <a:ext cx="32532" cy="366234"/>
            </a:xfrm>
            <a:custGeom>
              <a:avLst/>
              <a:gdLst>
                <a:gd name="connsiteX0" fmla="*/ 0 w 32532"/>
                <a:gd name="connsiteY0" fmla="*/ 366235 h 366234"/>
                <a:gd name="connsiteX1" fmla="*/ 3373 w 32532"/>
                <a:gd name="connsiteY1" fmla="*/ 364360 h 366234"/>
                <a:gd name="connsiteX2" fmla="*/ 32486 w 32532"/>
                <a:gd name="connsiteY2" fmla="*/ 2005 h 366234"/>
                <a:gd name="connsiteX3" fmla="*/ 31299 w 32532"/>
                <a:gd name="connsiteY3" fmla="*/ 43 h 366234"/>
                <a:gd name="connsiteX4" fmla="*/ 31112 w 32532"/>
                <a:gd name="connsiteY4" fmla="*/ 6 h 366234"/>
                <a:gd name="connsiteX5" fmla="*/ 29362 w 32532"/>
                <a:gd name="connsiteY5" fmla="*/ 1505 h 366234"/>
                <a:gd name="connsiteX6" fmla="*/ 29362 w 32532"/>
                <a:gd name="connsiteY6" fmla="*/ 1630 h 366234"/>
                <a:gd name="connsiteX7" fmla="*/ 29362 w 32532"/>
                <a:gd name="connsiteY7" fmla="*/ 5004 h 36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2" h="366234">
                  <a:moveTo>
                    <a:pt x="0" y="366235"/>
                  </a:moveTo>
                  <a:lnTo>
                    <a:pt x="3373" y="364360"/>
                  </a:lnTo>
                  <a:lnTo>
                    <a:pt x="32486" y="2005"/>
                  </a:lnTo>
                  <a:cubicBezTo>
                    <a:pt x="32698" y="1131"/>
                    <a:pt x="32161" y="256"/>
                    <a:pt x="31299" y="43"/>
                  </a:cubicBezTo>
                  <a:cubicBezTo>
                    <a:pt x="31236" y="31"/>
                    <a:pt x="31174" y="18"/>
                    <a:pt x="31112" y="6"/>
                  </a:cubicBezTo>
                  <a:cubicBezTo>
                    <a:pt x="30212" y="-69"/>
                    <a:pt x="29437" y="605"/>
                    <a:pt x="29362" y="1505"/>
                  </a:cubicBezTo>
                  <a:cubicBezTo>
                    <a:pt x="29362" y="1543"/>
                    <a:pt x="29362" y="1593"/>
                    <a:pt x="29362" y="1630"/>
                  </a:cubicBezTo>
                  <a:lnTo>
                    <a:pt x="29362" y="5004"/>
                  </a:lnTo>
                  <a:close/>
                </a:path>
              </a:pathLst>
            </a:custGeom>
            <a:solidFill>
              <a:srgbClr val="000000"/>
            </a:solidFill>
            <a:ln w="12483" cap="flat">
              <a:noFill/>
              <a:prstDash val="solid"/>
              <a:miter/>
            </a:ln>
          </p:spPr>
          <p:txBody>
            <a:bodyPr rtlCol="0" anchor="ctr"/>
            <a:lstStyle/>
            <a:p>
              <a:endParaRPr lang="en-US"/>
            </a:p>
          </p:txBody>
        </p:sp>
        <p:sp>
          <p:nvSpPr>
            <p:cNvPr id="1478" name="Freeform: Shape 1477">
              <a:extLst>
                <a:ext uri="{FF2B5EF4-FFF2-40B4-BE49-F238E27FC236}">
                  <a16:creationId xmlns:a16="http://schemas.microsoft.com/office/drawing/2014/main" id="{4CEE3BCC-EC36-4989-8863-1254ABE8268C}"/>
                </a:ext>
              </a:extLst>
            </p:cNvPr>
            <p:cNvSpPr/>
            <p:nvPr/>
          </p:nvSpPr>
          <p:spPr>
            <a:xfrm>
              <a:off x="11080492" y="5707356"/>
              <a:ext cx="41232" cy="777814"/>
            </a:xfrm>
            <a:custGeom>
              <a:avLst/>
              <a:gdLst>
                <a:gd name="connsiteX0" fmla="*/ 41232 w 41232"/>
                <a:gd name="connsiteY0" fmla="*/ 2124 h 777814"/>
                <a:gd name="connsiteX1" fmla="*/ 39483 w 41232"/>
                <a:gd name="connsiteY1" fmla="*/ 0 h 777814"/>
                <a:gd name="connsiteX2" fmla="*/ 38108 w 41232"/>
                <a:gd name="connsiteY2" fmla="*/ 875 h 777814"/>
                <a:gd name="connsiteX3" fmla="*/ 0 w 41232"/>
                <a:gd name="connsiteY3" fmla="*/ 777815 h 777814"/>
                <a:gd name="connsiteX4" fmla="*/ 3249 w 41232"/>
                <a:gd name="connsiteY4" fmla="*/ 777815 h 777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32" h="777814">
                  <a:moveTo>
                    <a:pt x="41232" y="2124"/>
                  </a:moveTo>
                  <a:lnTo>
                    <a:pt x="39483" y="0"/>
                  </a:lnTo>
                  <a:lnTo>
                    <a:pt x="38108" y="875"/>
                  </a:lnTo>
                  <a:lnTo>
                    <a:pt x="0" y="777815"/>
                  </a:lnTo>
                  <a:cubicBezTo>
                    <a:pt x="1062" y="777503"/>
                    <a:pt x="2186" y="777503"/>
                    <a:pt x="3249" y="777815"/>
                  </a:cubicBezTo>
                  <a:close/>
                </a:path>
              </a:pathLst>
            </a:custGeom>
            <a:solidFill>
              <a:srgbClr val="000000"/>
            </a:solidFill>
            <a:ln w="12483" cap="flat">
              <a:noFill/>
              <a:prstDash val="solid"/>
              <a:miter/>
            </a:ln>
          </p:spPr>
          <p:txBody>
            <a:bodyPr rtlCol="0" anchor="ctr"/>
            <a:lstStyle/>
            <a:p>
              <a:endParaRPr lang="en-US"/>
            </a:p>
          </p:txBody>
        </p:sp>
        <p:sp>
          <p:nvSpPr>
            <p:cNvPr id="1479" name="Freeform: Shape 1478">
              <a:extLst>
                <a:ext uri="{FF2B5EF4-FFF2-40B4-BE49-F238E27FC236}">
                  <a16:creationId xmlns:a16="http://schemas.microsoft.com/office/drawing/2014/main" id="{C22A1597-1D69-4996-AED4-7AD6C5999D98}"/>
                </a:ext>
              </a:extLst>
            </p:cNvPr>
            <p:cNvSpPr/>
            <p:nvPr/>
          </p:nvSpPr>
          <p:spPr>
            <a:xfrm>
              <a:off x="11085865" y="6502289"/>
              <a:ext cx="274381" cy="360569"/>
            </a:xfrm>
            <a:custGeom>
              <a:avLst/>
              <a:gdLst>
                <a:gd name="connsiteX0" fmla="*/ 274381 w 274381"/>
                <a:gd name="connsiteY0" fmla="*/ 358108 h 360569"/>
                <a:gd name="connsiteX1" fmla="*/ 274381 w 274381"/>
                <a:gd name="connsiteY1" fmla="*/ 358108 h 360569"/>
                <a:gd name="connsiteX2" fmla="*/ 271883 w 274381"/>
                <a:gd name="connsiteY2" fmla="*/ 354734 h 360569"/>
                <a:gd name="connsiteX3" fmla="*/ 2374 w 274381"/>
                <a:gd name="connsiteY3" fmla="*/ 0 h 360569"/>
                <a:gd name="connsiteX4" fmla="*/ 0 w 274381"/>
                <a:gd name="connsiteY4" fmla="*/ 2624 h 360569"/>
                <a:gd name="connsiteX5" fmla="*/ 271008 w 274381"/>
                <a:gd name="connsiteY5" fmla="*/ 359981 h 360569"/>
                <a:gd name="connsiteX6" fmla="*/ 271008 w 274381"/>
                <a:gd name="connsiteY6" fmla="*/ 359981 h 360569"/>
                <a:gd name="connsiteX7" fmla="*/ 272920 w 274381"/>
                <a:gd name="connsiteY7" fmla="*/ 360319 h 360569"/>
                <a:gd name="connsiteX8" fmla="*/ 273257 w 274381"/>
                <a:gd name="connsiteY8" fmla="*/ 359981 h 360569"/>
                <a:gd name="connsiteX9" fmla="*/ 273257 w 274381"/>
                <a:gd name="connsiteY9" fmla="*/ 358732 h 360569"/>
                <a:gd name="connsiteX10" fmla="*/ 273257 w 274381"/>
                <a:gd name="connsiteY10" fmla="*/ 358732 h 360569"/>
                <a:gd name="connsiteX11" fmla="*/ 274381 w 274381"/>
                <a:gd name="connsiteY11" fmla="*/ 358108 h 36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81" h="360569">
                  <a:moveTo>
                    <a:pt x="274381" y="358108"/>
                  </a:moveTo>
                  <a:lnTo>
                    <a:pt x="274381" y="358108"/>
                  </a:lnTo>
                  <a:lnTo>
                    <a:pt x="271883" y="354734"/>
                  </a:lnTo>
                  <a:lnTo>
                    <a:pt x="2374" y="0"/>
                  </a:lnTo>
                  <a:cubicBezTo>
                    <a:pt x="1712" y="987"/>
                    <a:pt x="912" y="1862"/>
                    <a:pt x="0" y="2624"/>
                  </a:cubicBezTo>
                  <a:lnTo>
                    <a:pt x="271008" y="359981"/>
                  </a:lnTo>
                  <a:lnTo>
                    <a:pt x="271008" y="359981"/>
                  </a:lnTo>
                  <a:cubicBezTo>
                    <a:pt x="271445" y="360606"/>
                    <a:pt x="272307" y="360756"/>
                    <a:pt x="272920" y="360319"/>
                  </a:cubicBezTo>
                  <a:cubicBezTo>
                    <a:pt x="273057" y="360219"/>
                    <a:pt x="273170" y="360107"/>
                    <a:pt x="273257" y="359981"/>
                  </a:cubicBezTo>
                  <a:cubicBezTo>
                    <a:pt x="273369" y="359570"/>
                    <a:pt x="273369" y="359145"/>
                    <a:pt x="273257" y="358732"/>
                  </a:cubicBezTo>
                  <a:cubicBezTo>
                    <a:pt x="273257" y="358732"/>
                    <a:pt x="273257" y="358732"/>
                    <a:pt x="273257" y="358732"/>
                  </a:cubicBezTo>
                  <a:cubicBezTo>
                    <a:pt x="273644" y="358557"/>
                    <a:pt x="274019" y="358345"/>
                    <a:pt x="274381" y="358108"/>
                  </a:cubicBezTo>
                  <a:close/>
                </a:path>
              </a:pathLst>
            </a:custGeom>
            <a:solidFill>
              <a:srgbClr val="000000"/>
            </a:solidFill>
            <a:ln w="12483" cap="flat">
              <a:noFill/>
              <a:prstDash val="solid"/>
              <a:miter/>
            </a:ln>
          </p:spPr>
          <p:txBody>
            <a:bodyPr rtlCol="0" anchor="ctr"/>
            <a:lstStyle/>
            <a:p>
              <a:endParaRPr lang="en-US"/>
            </a:p>
          </p:txBody>
        </p:sp>
        <p:sp>
          <p:nvSpPr>
            <p:cNvPr id="1480" name="Freeform: Shape 1479">
              <a:extLst>
                <a:ext uri="{FF2B5EF4-FFF2-40B4-BE49-F238E27FC236}">
                  <a16:creationId xmlns:a16="http://schemas.microsoft.com/office/drawing/2014/main" id="{44BB90B7-40ED-44A6-A7A1-00909BA42FA4}"/>
                </a:ext>
              </a:extLst>
            </p:cNvPr>
            <p:cNvSpPr/>
            <p:nvPr/>
          </p:nvSpPr>
          <p:spPr>
            <a:xfrm>
              <a:off x="11120350" y="5703608"/>
              <a:ext cx="291873" cy="370227"/>
            </a:xfrm>
            <a:custGeom>
              <a:avLst/>
              <a:gdLst>
                <a:gd name="connsiteX0" fmla="*/ 291874 w 291873"/>
                <a:gd name="connsiteY0" fmla="*/ 368353 h 370227"/>
                <a:gd name="connsiteX1" fmla="*/ 290999 w 291873"/>
                <a:gd name="connsiteY1" fmla="*/ 367353 h 370227"/>
                <a:gd name="connsiteX2" fmla="*/ 1124 w 291873"/>
                <a:gd name="connsiteY2" fmla="*/ 0 h 370227"/>
                <a:gd name="connsiteX3" fmla="*/ 1124 w 291873"/>
                <a:gd name="connsiteY3" fmla="*/ 0 h 370227"/>
                <a:gd name="connsiteX4" fmla="*/ 1124 w 291873"/>
                <a:gd name="connsiteY4" fmla="*/ 0 h 370227"/>
                <a:gd name="connsiteX5" fmla="*/ 1124 w 291873"/>
                <a:gd name="connsiteY5" fmla="*/ 0 h 370227"/>
                <a:gd name="connsiteX6" fmla="*/ 1124 w 291873"/>
                <a:gd name="connsiteY6" fmla="*/ 1499 h 370227"/>
                <a:gd name="connsiteX7" fmla="*/ 1124 w 291873"/>
                <a:gd name="connsiteY7" fmla="*/ 2249 h 370227"/>
                <a:gd name="connsiteX8" fmla="*/ 1124 w 291873"/>
                <a:gd name="connsiteY8" fmla="*/ 2249 h 370227"/>
                <a:gd name="connsiteX9" fmla="*/ 1124 w 291873"/>
                <a:gd name="connsiteY9" fmla="*/ 2249 h 370227"/>
                <a:gd name="connsiteX10" fmla="*/ 0 w 291873"/>
                <a:gd name="connsiteY10" fmla="*/ 2999 h 370227"/>
                <a:gd name="connsiteX11" fmla="*/ 1749 w 291873"/>
                <a:gd name="connsiteY11" fmla="*/ 5123 h 370227"/>
                <a:gd name="connsiteX12" fmla="*/ 289125 w 291873"/>
                <a:gd name="connsiteY12" fmla="*/ 369602 h 370227"/>
                <a:gd name="connsiteX13" fmla="*/ 289125 w 291873"/>
                <a:gd name="connsiteY13" fmla="*/ 370227 h 370227"/>
                <a:gd name="connsiteX14" fmla="*/ 289125 w 291873"/>
                <a:gd name="connsiteY14" fmla="*/ 370227 h 370227"/>
                <a:gd name="connsiteX15" fmla="*/ 289125 w 291873"/>
                <a:gd name="connsiteY15" fmla="*/ 370227 h 370227"/>
                <a:gd name="connsiteX16" fmla="*/ 289750 w 291873"/>
                <a:gd name="connsiteY16" fmla="*/ 370227 h 370227"/>
                <a:gd name="connsiteX17" fmla="*/ 290499 w 291873"/>
                <a:gd name="connsiteY17" fmla="*/ 370227 h 370227"/>
                <a:gd name="connsiteX18" fmla="*/ 291874 w 291873"/>
                <a:gd name="connsiteY18" fmla="*/ 368353 h 37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1873" h="370227">
                  <a:moveTo>
                    <a:pt x="291874" y="368353"/>
                  </a:moveTo>
                  <a:lnTo>
                    <a:pt x="290999" y="367353"/>
                  </a:lnTo>
                  <a:lnTo>
                    <a:pt x="1124" y="0"/>
                  </a:lnTo>
                  <a:lnTo>
                    <a:pt x="1124" y="0"/>
                  </a:lnTo>
                  <a:cubicBezTo>
                    <a:pt x="1124" y="0"/>
                    <a:pt x="1124" y="0"/>
                    <a:pt x="1124" y="0"/>
                  </a:cubicBezTo>
                  <a:cubicBezTo>
                    <a:pt x="1124" y="0"/>
                    <a:pt x="1124" y="0"/>
                    <a:pt x="1124" y="0"/>
                  </a:cubicBezTo>
                  <a:lnTo>
                    <a:pt x="1124" y="1499"/>
                  </a:lnTo>
                  <a:cubicBezTo>
                    <a:pt x="1174" y="1749"/>
                    <a:pt x="1174" y="1999"/>
                    <a:pt x="1124" y="2249"/>
                  </a:cubicBezTo>
                  <a:lnTo>
                    <a:pt x="1124" y="2249"/>
                  </a:lnTo>
                  <a:lnTo>
                    <a:pt x="1124" y="2249"/>
                  </a:lnTo>
                  <a:lnTo>
                    <a:pt x="0" y="2999"/>
                  </a:lnTo>
                  <a:lnTo>
                    <a:pt x="1749" y="5123"/>
                  </a:lnTo>
                  <a:lnTo>
                    <a:pt x="289125" y="369602"/>
                  </a:lnTo>
                  <a:lnTo>
                    <a:pt x="289125" y="370227"/>
                  </a:lnTo>
                  <a:lnTo>
                    <a:pt x="289125" y="370227"/>
                  </a:lnTo>
                  <a:lnTo>
                    <a:pt x="289125" y="370227"/>
                  </a:lnTo>
                  <a:lnTo>
                    <a:pt x="289750" y="370227"/>
                  </a:lnTo>
                  <a:cubicBezTo>
                    <a:pt x="289750" y="370227"/>
                    <a:pt x="289750" y="370227"/>
                    <a:pt x="290499" y="370227"/>
                  </a:cubicBezTo>
                  <a:cubicBezTo>
                    <a:pt x="291274" y="369903"/>
                    <a:pt x="291799" y="369190"/>
                    <a:pt x="291874" y="368353"/>
                  </a:cubicBezTo>
                  <a:close/>
                </a:path>
              </a:pathLst>
            </a:custGeom>
            <a:solidFill>
              <a:srgbClr val="000000"/>
            </a:solidFill>
            <a:ln w="12483" cap="flat">
              <a:noFill/>
              <a:prstDash val="solid"/>
              <a:miter/>
            </a:ln>
          </p:spPr>
          <p:txBody>
            <a:bodyPr rtlCol="0" anchor="ctr"/>
            <a:lstStyle/>
            <a:p>
              <a:endParaRPr lang="en-US"/>
            </a:p>
          </p:txBody>
        </p:sp>
        <p:sp>
          <p:nvSpPr>
            <p:cNvPr id="1481" name="Freeform: Shape 1480">
              <a:extLst>
                <a:ext uri="{FF2B5EF4-FFF2-40B4-BE49-F238E27FC236}">
                  <a16:creationId xmlns:a16="http://schemas.microsoft.com/office/drawing/2014/main" id="{DB71F52C-4118-450E-BD6E-F856CA920445}"/>
                </a:ext>
              </a:extLst>
            </p:cNvPr>
            <p:cNvSpPr/>
            <p:nvPr/>
          </p:nvSpPr>
          <p:spPr>
            <a:xfrm>
              <a:off x="11273909" y="4124237"/>
              <a:ext cx="23365" cy="21366"/>
            </a:xfrm>
            <a:custGeom>
              <a:avLst/>
              <a:gdLst>
                <a:gd name="connsiteX0" fmla="*/ 10246 w 23365"/>
                <a:gd name="connsiteY0" fmla="*/ 6497 h 21366"/>
                <a:gd name="connsiteX1" fmla="*/ 10246 w 23365"/>
                <a:gd name="connsiteY1" fmla="*/ 0 h 21366"/>
                <a:gd name="connsiteX2" fmla="*/ 0 w 23365"/>
                <a:gd name="connsiteY2" fmla="*/ 5748 h 21366"/>
                <a:gd name="connsiteX3" fmla="*/ 2249 w 23365"/>
                <a:gd name="connsiteY3" fmla="*/ 8371 h 21366"/>
                <a:gd name="connsiteX4" fmla="*/ 2249 w 23365"/>
                <a:gd name="connsiteY4" fmla="*/ 8371 h 21366"/>
                <a:gd name="connsiteX5" fmla="*/ 3749 w 23365"/>
                <a:gd name="connsiteY5" fmla="*/ 9621 h 21366"/>
                <a:gd name="connsiteX6" fmla="*/ 4873 w 23365"/>
                <a:gd name="connsiteY6" fmla="*/ 10496 h 21366"/>
                <a:gd name="connsiteX7" fmla="*/ 14244 w 23365"/>
                <a:gd name="connsiteY7" fmla="*/ 21366 h 21366"/>
                <a:gd name="connsiteX8" fmla="*/ 16243 w 23365"/>
                <a:gd name="connsiteY8" fmla="*/ 20242 h 21366"/>
                <a:gd name="connsiteX9" fmla="*/ 19492 w 23365"/>
                <a:gd name="connsiteY9" fmla="*/ 18492 h 21366"/>
                <a:gd name="connsiteX10" fmla="*/ 22365 w 23365"/>
                <a:gd name="connsiteY10" fmla="*/ 16868 h 21366"/>
                <a:gd name="connsiteX11" fmla="*/ 23365 w 23365"/>
                <a:gd name="connsiteY11" fmla="*/ 15994 h 21366"/>
                <a:gd name="connsiteX12" fmla="*/ 17992 w 23365"/>
                <a:gd name="connsiteY12" fmla="*/ 17868 h 21366"/>
                <a:gd name="connsiteX13" fmla="*/ 10246 w 23365"/>
                <a:gd name="connsiteY13" fmla="*/ 6497 h 2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65" h="21366">
                  <a:moveTo>
                    <a:pt x="10246" y="6497"/>
                  </a:moveTo>
                  <a:lnTo>
                    <a:pt x="10246" y="0"/>
                  </a:lnTo>
                  <a:lnTo>
                    <a:pt x="0" y="5748"/>
                  </a:lnTo>
                  <a:lnTo>
                    <a:pt x="2249" y="8371"/>
                  </a:lnTo>
                  <a:lnTo>
                    <a:pt x="2249" y="8371"/>
                  </a:lnTo>
                  <a:lnTo>
                    <a:pt x="3749" y="9621"/>
                  </a:lnTo>
                  <a:lnTo>
                    <a:pt x="4873" y="10496"/>
                  </a:lnTo>
                  <a:lnTo>
                    <a:pt x="14244" y="21366"/>
                  </a:lnTo>
                  <a:lnTo>
                    <a:pt x="16243" y="20242"/>
                  </a:lnTo>
                  <a:lnTo>
                    <a:pt x="19492" y="18492"/>
                  </a:lnTo>
                  <a:lnTo>
                    <a:pt x="22365" y="16868"/>
                  </a:lnTo>
                  <a:lnTo>
                    <a:pt x="23365" y="15994"/>
                  </a:lnTo>
                  <a:cubicBezTo>
                    <a:pt x="21866" y="17268"/>
                    <a:pt x="19954" y="17930"/>
                    <a:pt x="17992" y="17868"/>
                  </a:cubicBezTo>
                  <a:cubicBezTo>
                    <a:pt x="12870" y="16631"/>
                    <a:pt x="9521" y="11720"/>
                    <a:pt x="10246" y="6497"/>
                  </a:cubicBezTo>
                  <a:close/>
                </a:path>
              </a:pathLst>
            </a:custGeom>
            <a:solidFill>
              <a:srgbClr val="000000"/>
            </a:solidFill>
            <a:ln w="12483" cap="flat">
              <a:noFill/>
              <a:prstDash val="solid"/>
              <a:miter/>
            </a:ln>
          </p:spPr>
          <p:txBody>
            <a:bodyPr rtlCol="0" anchor="ctr"/>
            <a:lstStyle/>
            <a:p>
              <a:endParaRPr lang="en-US"/>
            </a:p>
          </p:txBody>
        </p:sp>
        <p:sp>
          <p:nvSpPr>
            <p:cNvPr id="1482" name="Freeform: Shape 1481">
              <a:extLst>
                <a:ext uri="{FF2B5EF4-FFF2-40B4-BE49-F238E27FC236}">
                  <a16:creationId xmlns:a16="http://schemas.microsoft.com/office/drawing/2014/main" id="{726F112F-FF7E-43DC-A0A7-7B5AED016586}"/>
                </a:ext>
              </a:extLst>
            </p:cNvPr>
            <p:cNvSpPr/>
            <p:nvPr/>
          </p:nvSpPr>
          <p:spPr>
            <a:xfrm>
              <a:off x="11298398" y="4137107"/>
              <a:ext cx="110911" cy="129036"/>
            </a:xfrm>
            <a:custGeom>
              <a:avLst/>
              <a:gdLst>
                <a:gd name="connsiteX0" fmla="*/ 110702 w 110911"/>
                <a:gd name="connsiteY0" fmla="*/ 125825 h 129036"/>
                <a:gd name="connsiteX1" fmla="*/ 110702 w 110911"/>
                <a:gd name="connsiteY1" fmla="*/ 125825 h 129036"/>
                <a:gd name="connsiteX2" fmla="*/ 108328 w 110911"/>
                <a:gd name="connsiteY2" fmla="*/ 122951 h 129036"/>
                <a:gd name="connsiteX3" fmla="*/ 2249 w 110911"/>
                <a:gd name="connsiteY3" fmla="*/ 0 h 129036"/>
                <a:gd name="connsiteX4" fmla="*/ 0 w 110911"/>
                <a:gd name="connsiteY4" fmla="*/ 2874 h 129036"/>
                <a:gd name="connsiteX5" fmla="*/ 107953 w 110911"/>
                <a:gd name="connsiteY5" fmla="*/ 127824 h 129036"/>
                <a:gd name="connsiteX6" fmla="*/ 108578 w 110911"/>
                <a:gd name="connsiteY6" fmla="*/ 128449 h 129036"/>
                <a:gd name="connsiteX7" fmla="*/ 110490 w 110911"/>
                <a:gd name="connsiteY7" fmla="*/ 128786 h 129036"/>
                <a:gd name="connsiteX8" fmla="*/ 110827 w 110911"/>
                <a:gd name="connsiteY8" fmla="*/ 128449 h 129036"/>
                <a:gd name="connsiteX9" fmla="*/ 110827 w 110911"/>
                <a:gd name="connsiteY9" fmla="*/ 127199 h 129036"/>
                <a:gd name="connsiteX10" fmla="*/ 110827 w 110911"/>
                <a:gd name="connsiteY10" fmla="*/ 126450 h 129036"/>
                <a:gd name="connsiteX11" fmla="*/ 110702 w 110911"/>
                <a:gd name="connsiteY11" fmla="*/ 125825 h 12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11" h="129036">
                  <a:moveTo>
                    <a:pt x="110702" y="125825"/>
                  </a:moveTo>
                  <a:lnTo>
                    <a:pt x="110702" y="125825"/>
                  </a:lnTo>
                  <a:lnTo>
                    <a:pt x="108328" y="122951"/>
                  </a:lnTo>
                  <a:lnTo>
                    <a:pt x="2249" y="0"/>
                  </a:lnTo>
                  <a:cubicBezTo>
                    <a:pt x="1674" y="1087"/>
                    <a:pt x="912" y="2049"/>
                    <a:pt x="0" y="2874"/>
                  </a:cubicBezTo>
                  <a:lnTo>
                    <a:pt x="107953" y="127824"/>
                  </a:lnTo>
                  <a:lnTo>
                    <a:pt x="108578" y="128449"/>
                  </a:lnTo>
                  <a:cubicBezTo>
                    <a:pt x="109015" y="129073"/>
                    <a:pt x="109878" y="129223"/>
                    <a:pt x="110490" y="128786"/>
                  </a:cubicBezTo>
                  <a:cubicBezTo>
                    <a:pt x="110627" y="128686"/>
                    <a:pt x="110740" y="128573"/>
                    <a:pt x="110827" y="128449"/>
                  </a:cubicBezTo>
                  <a:cubicBezTo>
                    <a:pt x="110940" y="128036"/>
                    <a:pt x="110940" y="127611"/>
                    <a:pt x="110827" y="127199"/>
                  </a:cubicBezTo>
                  <a:cubicBezTo>
                    <a:pt x="110827" y="127199"/>
                    <a:pt x="110827" y="127199"/>
                    <a:pt x="110827" y="126450"/>
                  </a:cubicBezTo>
                  <a:cubicBezTo>
                    <a:pt x="110827" y="125700"/>
                    <a:pt x="110827" y="125950"/>
                    <a:pt x="110702" y="125825"/>
                  </a:cubicBezTo>
                  <a:close/>
                </a:path>
              </a:pathLst>
            </a:custGeom>
            <a:solidFill>
              <a:srgbClr val="000000"/>
            </a:solidFill>
            <a:ln w="12483" cap="flat">
              <a:noFill/>
              <a:prstDash val="solid"/>
              <a:miter/>
            </a:ln>
          </p:spPr>
          <p:txBody>
            <a:bodyPr rtlCol="0" anchor="ctr"/>
            <a:lstStyle/>
            <a:p>
              <a:endParaRPr lang="en-US"/>
            </a:p>
          </p:txBody>
        </p:sp>
        <p:sp>
          <p:nvSpPr>
            <p:cNvPr id="1483" name="Freeform: Shape 1482">
              <a:extLst>
                <a:ext uri="{FF2B5EF4-FFF2-40B4-BE49-F238E27FC236}">
                  <a16:creationId xmlns:a16="http://schemas.microsoft.com/office/drawing/2014/main" id="{FD4297BE-70D5-4244-BB4E-5DDA626388FB}"/>
                </a:ext>
              </a:extLst>
            </p:cNvPr>
            <p:cNvSpPr/>
            <p:nvPr/>
          </p:nvSpPr>
          <p:spPr>
            <a:xfrm>
              <a:off x="11284808" y="3921318"/>
              <a:ext cx="27584" cy="220791"/>
            </a:xfrm>
            <a:custGeom>
              <a:avLst/>
              <a:gdLst>
                <a:gd name="connsiteX0" fmla="*/ 16964 w 27584"/>
                <a:gd name="connsiteY0" fmla="*/ 212040 h 220791"/>
                <a:gd name="connsiteX1" fmla="*/ 16964 w 27584"/>
                <a:gd name="connsiteY1" fmla="*/ 210666 h 220791"/>
                <a:gd name="connsiteX2" fmla="*/ 27585 w 27584"/>
                <a:gd name="connsiteY2" fmla="*/ 14245 h 220791"/>
                <a:gd name="connsiteX3" fmla="*/ 27585 w 27584"/>
                <a:gd name="connsiteY3" fmla="*/ 9247 h 220791"/>
                <a:gd name="connsiteX4" fmla="*/ 27585 w 27584"/>
                <a:gd name="connsiteY4" fmla="*/ 9247 h 220791"/>
                <a:gd name="connsiteX5" fmla="*/ 22712 w 27584"/>
                <a:gd name="connsiteY5" fmla="*/ 11870 h 220791"/>
                <a:gd name="connsiteX6" fmla="*/ 11454 w 27584"/>
                <a:gd name="connsiteY6" fmla="*/ 8209 h 220791"/>
                <a:gd name="connsiteX7" fmla="*/ 10842 w 27584"/>
                <a:gd name="connsiteY7" fmla="*/ 6622 h 220791"/>
                <a:gd name="connsiteX8" fmla="*/ 10842 w 27584"/>
                <a:gd name="connsiteY8" fmla="*/ 0 h 220791"/>
                <a:gd name="connsiteX9" fmla="*/ 10842 w 27584"/>
                <a:gd name="connsiteY9" fmla="*/ 1375 h 220791"/>
                <a:gd name="connsiteX10" fmla="*/ 96 w 27584"/>
                <a:gd name="connsiteY10" fmla="*/ 202794 h 220791"/>
                <a:gd name="connsiteX11" fmla="*/ 96 w 27584"/>
                <a:gd name="connsiteY11" fmla="*/ 209292 h 220791"/>
                <a:gd name="connsiteX12" fmla="*/ 8468 w 27584"/>
                <a:gd name="connsiteY12" fmla="*/ 220787 h 220791"/>
                <a:gd name="connsiteX13" fmla="*/ 13841 w 27584"/>
                <a:gd name="connsiteY13" fmla="*/ 218913 h 220791"/>
                <a:gd name="connsiteX14" fmla="*/ 13841 w 27584"/>
                <a:gd name="connsiteY14" fmla="*/ 218913 h 220791"/>
                <a:gd name="connsiteX15" fmla="*/ 16090 w 27584"/>
                <a:gd name="connsiteY15" fmla="*/ 216039 h 220791"/>
                <a:gd name="connsiteX16" fmla="*/ 16839 w 27584"/>
                <a:gd name="connsiteY16" fmla="*/ 214540 h 220791"/>
                <a:gd name="connsiteX17" fmla="*/ 16964 w 27584"/>
                <a:gd name="connsiteY17" fmla="*/ 212040 h 220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84" h="220791">
                  <a:moveTo>
                    <a:pt x="16964" y="212040"/>
                  </a:moveTo>
                  <a:cubicBezTo>
                    <a:pt x="16964" y="212040"/>
                    <a:pt x="16964" y="211166"/>
                    <a:pt x="16964" y="210666"/>
                  </a:cubicBezTo>
                  <a:lnTo>
                    <a:pt x="27585" y="14245"/>
                  </a:lnTo>
                  <a:lnTo>
                    <a:pt x="27585" y="9247"/>
                  </a:lnTo>
                  <a:lnTo>
                    <a:pt x="27585" y="9247"/>
                  </a:lnTo>
                  <a:lnTo>
                    <a:pt x="22712" y="11870"/>
                  </a:lnTo>
                  <a:cubicBezTo>
                    <a:pt x="18589" y="13970"/>
                    <a:pt x="13553" y="12333"/>
                    <a:pt x="11454" y="8209"/>
                  </a:cubicBezTo>
                  <a:cubicBezTo>
                    <a:pt x="11192" y="7697"/>
                    <a:pt x="10992" y="7172"/>
                    <a:pt x="10842" y="6622"/>
                  </a:cubicBezTo>
                  <a:cubicBezTo>
                    <a:pt x="10242" y="4461"/>
                    <a:pt x="10242" y="2162"/>
                    <a:pt x="10842" y="0"/>
                  </a:cubicBezTo>
                  <a:cubicBezTo>
                    <a:pt x="10792" y="463"/>
                    <a:pt x="10792" y="912"/>
                    <a:pt x="10842" y="1375"/>
                  </a:cubicBezTo>
                  <a:lnTo>
                    <a:pt x="96" y="202794"/>
                  </a:lnTo>
                  <a:lnTo>
                    <a:pt x="96" y="209292"/>
                  </a:lnTo>
                  <a:cubicBezTo>
                    <a:pt x="-653" y="214752"/>
                    <a:pt x="3045" y="219825"/>
                    <a:pt x="8468" y="220787"/>
                  </a:cubicBezTo>
                  <a:cubicBezTo>
                    <a:pt x="10429" y="220850"/>
                    <a:pt x="12341" y="220187"/>
                    <a:pt x="13841" y="218913"/>
                  </a:cubicBezTo>
                  <a:lnTo>
                    <a:pt x="13841" y="218913"/>
                  </a:lnTo>
                  <a:cubicBezTo>
                    <a:pt x="14753" y="218088"/>
                    <a:pt x="15515" y="217126"/>
                    <a:pt x="16090" y="216039"/>
                  </a:cubicBezTo>
                  <a:lnTo>
                    <a:pt x="16839" y="214540"/>
                  </a:lnTo>
                  <a:cubicBezTo>
                    <a:pt x="16952" y="213715"/>
                    <a:pt x="16989" y="212878"/>
                    <a:pt x="16964" y="212040"/>
                  </a:cubicBezTo>
                  <a:close/>
                </a:path>
              </a:pathLst>
            </a:custGeom>
            <a:solidFill>
              <a:srgbClr val="000000"/>
            </a:solidFill>
            <a:ln w="12483" cap="flat">
              <a:noFill/>
              <a:prstDash val="solid"/>
              <a:miter/>
            </a:ln>
          </p:spPr>
          <p:txBody>
            <a:bodyPr rtlCol="0" anchor="ctr"/>
            <a:lstStyle/>
            <a:p>
              <a:endParaRPr lang="en-US"/>
            </a:p>
          </p:txBody>
        </p:sp>
        <p:sp>
          <p:nvSpPr>
            <p:cNvPr id="1484" name="Freeform: Shape 1483">
              <a:extLst>
                <a:ext uri="{FF2B5EF4-FFF2-40B4-BE49-F238E27FC236}">
                  <a16:creationId xmlns:a16="http://schemas.microsoft.com/office/drawing/2014/main" id="{61CDD721-4DF1-4912-80C1-FA5D326D88FD}"/>
                </a:ext>
              </a:extLst>
            </p:cNvPr>
            <p:cNvSpPr/>
            <p:nvPr/>
          </p:nvSpPr>
          <p:spPr>
            <a:xfrm>
              <a:off x="10970915" y="4491591"/>
              <a:ext cx="417569" cy="244152"/>
            </a:xfrm>
            <a:custGeom>
              <a:avLst/>
              <a:gdLst>
                <a:gd name="connsiteX0" fmla="*/ 417570 w 417569"/>
                <a:gd name="connsiteY0" fmla="*/ 0 h 244152"/>
                <a:gd name="connsiteX1" fmla="*/ 250 w 417569"/>
                <a:gd name="connsiteY1" fmla="*/ 239779 h 244152"/>
                <a:gd name="connsiteX2" fmla="*/ 125 w 417569"/>
                <a:gd name="connsiteY2" fmla="*/ 242903 h 244152"/>
                <a:gd name="connsiteX3" fmla="*/ 125 w 417569"/>
                <a:gd name="connsiteY3" fmla="*/ 242903 h 244152"/>
                <a:gd name="connsiteX4" fmla="*/ 125 w 417569"/>
                <a:gd name="connsiteY4" fmla="*/ 243028 h 244152"/>
                <a:gd name="connsiteX5" fmla="*/ 0 w 417569"/>
                <a:gd name="connsiteY5" fmla="*/ 244153 h 244152"/>
                <a:gd name="connsiteX6" fmla="*/ 417195 w 417569"/>
                <a:gd name="connsiteY6" fmla="*/ 4498 h 244152"/>
                <a:gd name="connsiteX7" fmla="*/ 417570 w 417569"/>
                <a:gd name="connsiteY7" fmla="*/ 0 h 24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569" h="244152">
                  <a:moveTo>
                    <a:pt x="417570" y="0"/>
                  </a:moveTo>
                  <a:lnTo>
                    <a:pt x="250" y="239779"/>
                  </a:lnTo>
                  <a:lnTo>
                    <a:pt x="125" y="242903"/>
                  </a:lnTo>
                  <a:lnTo>
                    <a:pt x="125" y="242903"/>
                  </a:lnTo>
                  <a:lnTo>
                    <a:pt x="125" y="243028"/>
                  </a:lnTo>
                  <a:lnTo>
                    <a:pt x="0" y="244153"/>
                  </a:lnTo>
                  <a:lnTo>
                    <a:pt x="417195" y="4498"/>
                  </a:lnTo>
                  <a:lnTo>
                    <a:pt x="417570" y="0"/>
                  </a:lnTo>
                  <a:close/>
                </a:path>
              </a:pathLst>
            </a:custGeom>
            <a:solidFill>
              <a:srgbClr val="000000"/>
            </a:solidFill>
            <a:ln w="12483" cap="flat">
              <a:noFill/>
              <a:prstDash val="solid"/>
              <a:miter/>
            </a:ln>
          </p:spPr>
          <p:txBody>
            <a:bodyPr rtlCol="0" anchor="ctr"/>
            <a:lstStyle/>
            <a:p>
              <a:endParaRPr lang="en-US"/>
            </a:p>
          </p:txBody>
        </p:sp>
        <p:sp>
          <p:nvSpPr>
            <p:cNvPr id="1485" name="Freeform: Shape 1484">
              <a:extLst>
                <a:ext uri="{FF2B5EF4-FFF2-40B4-BE49-F238E27FC236}">
                  <a16:creationId xmlns:a16="http://schemas.microsoft.com/office/drawing/2014/main" id="{B77B9378-FFF2-4E3E-912C-E2272D22A15E}"/>
                </a:ext>
              </a:extLst>
            </p:cNvPr>
            <p:cNvSpPr/>
            <p:nvPr/>
          </p:nvSpPr>
          <p:spPr>
            <a:xfrm>
              <a:off x="10282462" y="2700430"/>
              <a:ext cx="162560" cy="187925"/>
            </a:xfrm>
            <a:custGeom>
              <a:avLst/>
              <a:gdLst>
                <a:gd name="connsiteX0" fmla="*/ 999 w 162560"/>
                <a:gd name="connsiteY0" fmla="*/ 2874 h 187925"/>
                <a:gd name="connsiteX1" fmla="*/ 999 w 162560"/>
                <a:gd name="connsiteY1" fmla="*/ 2874 h 187925"/>
                <a:gd name="connsiteX2" fmla="*/ 0 w 162560"/>
                <a:gd name="connsiteY2" fmla="*/ 2874 h 187925"/>
                <a:gd name="connsiteX3" fmla="*/ 162430 w 162560"/>
                <a:gd name="connsiteY3" fmla="*/ 187925 h 187925"/>
                <a:gd name="connsiteX4" fmla="*/ 162430 w 162560"/>
                <a:gd name="connsiteY4" fmla="*/ 187925 h 187925"/>
                <a:gd name="connsiteX5" fmla="*/ 162430 w 162560"/>
                <a:gd name="connsiteY5" fmla="*/ 187925 h 187925"/>
                <a:gd name="connsiteX6" fmla="*/ 162430 w 162560"/>
                <a:gd name="connsiteY6" fmla="*/ 187925 h 187925"/>
                <a:gd name="connsiteX7" fmla="*/ 162430 w 162560"/>
                <a:gd name="connsiteY7" fmla="*/ 187925 h 187925"/>
                <a:gd name="connsiteX8" fmla="*/ 162430 w 162560"/>
                <a:gd name="connsiteY8" fmla="*/ 187925 h 187925"/>
                <a:gd name="connsiteX9" fmla="*/ 162430 w 162560"/>
                <a:gd name="connsiteY9" fmla="*/ 187300 h 187925"/>
                <a:gd name="connsiteX10" fmla="*/ 162430 w 162560"/>
                <a:gd name="connsiteY10" fmla="*/ 186551 h 187925"/>
                <a:gd name="connsiteX11" fmla="*/ 162430 w 162560"/>
                <a:gd name="connsiteY11" fmla="*/ 186551 h 187925"/>
                <a:gd name="connsiteX12" fmla="*/ 162430 w 162560"/>
                <a:gd name="connsiteY12" fmla="*/ 185176 h 187925"/>
                <a:gd name="connsiteX13" fmla="*/ 159806 w 162560"/>
                <a:gd name="connsiteY13" fmla="*/ 182177 h 187925"/>
                <a:gd name="connsiteX14" fmla="*/ 125 w 162560"/>
                <a:gd name="connsiteY14" fmla="*/ 0 h 187925"/>
                <a:gd name="connsiteX15" fmla="*/ 125 w 162560"/>
                <a:gd name="connsiteY15" fmla="*/ 750 h 187925"/>
                <a:gd name="connsiteX16" fmla="*/ 125 w 162560"/>
                <a:gd name="connsiteY16" fmla="*/ 750 h 187925"/>
                <a:gd name="connsiteX17" fmla="*/ 125 w 162560"/>
                <a:gd name="connsiteY17" fmla="*/ 1374 h 18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2560" h="187925">
                  <a:moveTo>
                    <a:pt x="999" y="2874"/>
                  </a:moveTo>
                  <a:lnTo>
                    <a:pt x="999" y="2874"/>
                  </a:lnTo>
                  <a:lnTo>
                    <a:pt x="0" y="2874"/>
                  </a:lnTo>
                  <a:lnTo>
                    <a:pt x="162430" y="187925"/>
                  </a:lnTo>
                  <a:lnTo>
                    <a:pt x="162430" y="187925"/>
                  </a:lnTo>
                  <a:lnTo>
                    <a:pt x="162430" y="187925"/>
                  </a:lnTo>
                  <a:cubicBezTo>
                    <a:pt x="162430" y="187925"/>
                    <a:pt x="162430" y="187925"/>
                    <a:pt x="162430" y="187925"/>
                  </a:cubicBezTo>
                  <a:lnTo>
                    <a:pt x="162430" y="187925"/>
                  </a:lnTo>
                  <a:lnTo>
                    <a:pt x="162430" y="187925"/>
                  </a:lnTo>
                  <a:cubicBezTo>
                    <a:pt x="162505" y="187725"/>
                    <a:pt x="162505" y="187500"/>
                    <a:pt x="162430" y="187300"/>
                  </a:cubicBezTo>
                  <a:cubicBezTo>
                    <a:pt x="162480" y="187050"/>
                    <a:pt x="162480" y="186800"/>
                    <a:pt x="162430" y="186551"/>
                  </a:cubicBezTo>
                  <a:lnTo>
                    <a:pt x="162430" y="186551"/>
                  </a:lnTo>
                  <a:cubicBezTo>
                    <a:pt x="162604" y="186113"/>
                    <a:pt x="162604" y="185613"/>
                    <a:pt x="162430" y="185176"/>
                  </a:cubicBezTo>
                  <a:lnTo>
                    <a:pt x="159806" y="182177"/>
                  </a:lnTo>
                  <a:lnTo>
                    <a:pt x="125" y="0"/>
                  </a:lnTo>
                  <a:lnTo>
                    <a:pt x="125" y="750"/>
                  </a:lnTo>
                  <a:cubicBezTo>
                    <a:pt x="125" y="750"/>
                    <a:pt x="125" y="750"/>
                    <a:pt x="125" y="750"/>
                  </a:cubicBezTo>
                  <a:cubicBezTo>
                    <a:pt x="187" y="950"/>
                    <a:pt x="187" y="1174"/>
                    <a:pt x="125" y="1374"/>
                  </a:cubicBezTo>
                  <a:close/>
                </a:path>
              </a:pathLst>
            </a:custGeom>
            <a:solidFill>
              <a:srgbClr val="000000"/>
            </a:solidFill>
            <a:ln w="12483" cap="flat">
              <a:noFill/>
              <a:prstDash val="solid"/>
              <a:miter/>
            </a:ln>
          </p:spPr>
          <p:txBody>
            <a:bodyPr rtlCol="0" anchor="ctr"/>
            <a:lstStyle/>
            <a:p>
              <a:endParaRPr lang="en-US"/>
            </a:p>
          </p:txBody>
        </p:sp>
        <p:sp>
          <p:nvSpPr>
            <p:cNvPr id="1486" name="Freeform: Shape 1485">
              <a:extLst>
                <a:ext uri="{FF2B5EF4-FFF2-40B4-BE49-F238E27FC236}">
                  <a16:creationId xmlns:a16="http://schemas.microsoft.com/office/drawing/2014/main" id="{A60AB5E5-1EBB-4F38-BD1C-48FFB8C82432}"/>
                </a:ext>
              </a:extLst>
            </p:cNvPr>
            <p:cNvSpPr/>
            <p:nvPr/>
          </p:nvSpPr>
          <p:spPr>
            <a:xfrm>
              <a:off x="9376479" y="3172617"/>
              <a:ext cx="540891" cy="676854"/>
            </a:xfrm>
            <a:custGeom>
              <a:avLst/>
              <a:gdLst>
                <a:gd name="connsiteX0" fmla="*/ 539142 w 540891"/>
                <a:gd name="connsiteY0" fmla="*/ 676230 h 676854"/>
                <a:gd name="connsiteX1" fmla="*/ 539142 w 540891"/>
                <a:gd name="connsiteY1" fmla="*/ 676855 h 676854"/>
                <a:gd name="connsiteX2" fmla="*/ 539142 w 540891"/>
                <a:gd name="connsiteY2" fmla="*/ 676855 h 676854"/>
                <a:gd name="connsiteX3" fmla="*/ 539142 w 540891"/>
                <a:gd name="connsiteY3" fmla="*/ 676105 h 676854"/>
                <a:gd name="connsiteX4" fmla="*/ 539892 w 540891"/>
                <a:gd name="connsiteY4" fmla="*/ 673606 h 676854"/>
                <a:gd name="connsiteX5" fmla="*/ 540891 w 540891"/>
                <a:gd name="connsiteY5" fmla="*/ 673606 h 676854"/>
                <a:gd name="connsiteX6" fmla="*/ 0 w 540891"/>
                <a:gd name="connsiteY6" fmla="*/ 0 h 676854"/>
                <a:gd name="connsiteX7" fmla="*/ 0 w 540891"/>
                <a:gd name="connsiteY7" fmla="*/ 5872 h 67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891" h="676854">
                  <a:moveTo>
                    <a:pt x="539142" y="676230"/>
                  </a:moveTo>
                  <a:lnTo>
                    <a:pt x="539142" y="676855"/>
                  </a:lnTo>
                  <a:lnTo>
                    <a:pt x="539142" y="676855"/>
                  </a:lnTo>
                  <a:cubicBezTo>
                    <a:pt x="539142" y="676855"/>
                    <a:pt x="539142" y="676855"/>
                    <a:pt x="539142" y="676105"/>
                  </a:cubicBezTo>
                  <a:cubicBezTo>
                    <a:pt x="538742" y="675206"/>
                    <a:pt x="539055" y="674144"/>
                    <a:pt x="539892" y="673606"/>
                  </a:cubicBezTo>
                  <a:lnTo>
                    <a:pt x="540891" y="673606"/>
                  </a:lnTo>
                  <a:lnTo>
                    <a:pt x="0" y="0"/>
                  </a:lnTo>
                  <a:lnTo>
                    <a:pt x="0" y="5872"/>
                  </a:lnTo>
                  <a:close/>
                </a:path>
              </a:pathLst>
            </a:custGeom>
            <a:solidFill>
              <a:srgbClr val="000000"/>
            </a:solidFill>
            <a:ln w="12483" cap="flat">
              <a:noFill/>
              <a:prstDash val="solid"/>
              <a:miter/>
            </a:ln>
          </p:spPr>
          <p:txBody>
            <a:bodyPr rtlCol="0" anchor="ctr"/>
            <a:lstStyle/>
            <a:p>
              <a:endParaRPr lang="en-US"/>
            </a:p>
          </p:txBody>
        </p:sp>
        <p:sp>
          <p:nvSpPr>
            <p:cNvPr id="1487" name="Freeform: Shape 1486">
              <a:extLst>
                <a:ext uri="{FF2B5EF4-FFF2-40B4-BE49-F238E27FC236}">
                  <a16:creationId xmlns:a16="http://schemas.microsoft.com/office/drawing/2014/main" id="{B731DECC-B07D-41C1-B4F6-98F2BFA9134A}"/>
                </a:ext>
              </a:extLst>
            </p:cNvPr>
            <p:cNvSpPr/>
            <p:nvPr/>
          </p:nvSpPr>
          <p:spPr>
            <a:xfrm>
              <a:off x="9915351" y="3276700"/>
              <a:ext cx="1072930" cy="572896"/>
            </a:xfrm>
            <a:custGeom>
              <a:avLst/>
              <a:gdLst>
                <a:gd name="connsiteX0" fmla="*/ 394 w 1072930"/>
                <a:gd name="connsiteY0" fmla="*/ 572147 h 572896"/>
                <a:gd name="connsiteX1" fmla="*/ 394 w 1072930"/>
                <a:gd name="connsiteY1" fmla="*/ 572897 h 572896"/>
                <a:gd name="connsiteX2" fmla="*/ 394 w 1072930"/>
                <a:gd name="connsiteY2" fmla="*/ 572897 h 572896"/>
                <a:gd name="connsiteX3" fmla="*/ 1394 w 1072930"/>
                <a:gd name="connsiteY3" fmla="*/ 572897 h 572896"/>
                <a:gd name="connsiteX4" fmla="*/ 2268 w 1072930"/>
                <a:gd name="connsiteY4" fmla="*/ 572897 h 572896"/>
                <a:gd name="connsiteX5" fmla="*/ 1072931 w 1072930"/>
                <a:gd name="connsiteY5" fmla="*/ 3499 h 572896"/>
                <a:gd name="connsiteX6" fmla="*/ 1071557 w 1072930"/>
                <a:gd name="connsiteY6" fmla="*/ 0 h 572896"/>
                <a:gd name="connsiteX7" fmla="*/ 2143 w 1072930"/>
                <a:gd name="connsiteY7" fmla="*/ 569148 h 572896"/>
                <a:gd name="connsiteX8" fmla="*/ 1144 w 1072930"/>
                <a:gd name="connsiteY8" fmla="*/ 569148 h 572896"/>
                <a:gd name="connsiteX9" fmla="*/ 195 w 1072930"/>
                <a:gd name="connsiteY9" fmla="*/ 571810 h 572896"/>
                <a:gd name="connsiteX10" fmla="*/ 394 w 1072930"/>
                <a:gd name="connsiteY10" fmla="*/ 572147 h 57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2930" h="572896">
                  <a:moveTo>
                    <a:pt x="394" y="572147"/>
                  </a:moveTo>
                  <a:cubicBezTo>
                    <a:pt x="394" y="572147"/>
                    <a:pt x="394" y="572147"/>
                    <a:pt x="394" y="572897"/>
                  </a:cubicBezTo>
                  <a:lnTo>
                    <a:pt x="394" y="572897"/>
                  </a:lnTo>
                  <a:lnTo>
                    <a:pt x="1394" y="572897"/>
                  </a:lnTo>
                  <a:lnTo>
                    <a:pt x="2268" y="572897"/>
                  </a:lnTo>
                  <a:lnTo>
                    <a:pt x="1072931" y="3499"/>
                  </a:lnTo>
                  <a:cubicBezTo>
                    <a:pt x="1072256" y="2437"/>
                    <a:pt x="1071781" y="1250"/>
                    <a:pt x="1071557" y="0"/>
                  </a:cubicBezTo>
                  <a:lnTo>
                    <a:pt x="2143" y="569148"/>
                  </a:lnTo>
                  <a:lnTo>
                    <a:pt x="1144" y="569148"/>
                  </a:lnTo>
                  <a:cubicBezTo>
                    <a:pt x="145" y="569623"/>
                    <a:pt x="-281" y="570810"/>
                    <a:pt x="195" y="571810"/>
                  </a:cubicBezTo>
                  <a:cubicBezTo>
                    <a:pt x="244" y="571935"/>
                    <a:pt x="319" y="572047"/>
                    <a:pt x="394" y="572147"/>
                  </a:cubicBezTo>
                  <a:close/>
                </a:path>
              </a:pathLst>
            </a:custGeom>
            <a:solidFill>
              <a:srgbClr val="000000"/>
            </a:solidFill>
            <a:ln w="12483" cap="flat">
              <a:noFill/>
              <a:prstDash val="solid"/>
              <a:miter/>
            </a:ln>
          </p:spPr>
          <p:txBody>
            <a:bodyPr rtlCol="0" anchor="ctr"/>
            <a:lstStyle/>
            <a:p>
              <a:endParaRPr lang="en-US"/>
            </a:p>
          </p:txBody>
        </p:sp>
        <p:sp>
          <p:nvSpPr>
            <p:cNvPr id="1488" name="Freeform: Shape 1487">
              <a:extLst>
                <a:ext uri="{FF2B5EF4-FFF2-40B4-BE49-F238E27FC236}">
                  <a16:creationId xmlns:a16="http://schemas.microsoft.com/office/drawing/2014/main" id="{BA66ACB3-0316-4BFC-ABA2-69851CC7D343}"/>
                </a:ext>
              </a:extLst>
            </p:cNvPr>
            <p:cNvSpPr/>
            <p:nvPr/>
          </p:nvSpPr>
          <p:spPr>
            <a:xfrm>
              <a:off x="10990156" y="3284572"/>
              <a:ext cx="5872" cy="92338"/>
            </a:xfrm>
            <a:custGeom>
              <a:avLst/>
              <a:gdLst>
                <a:gd name="connsiteX0" fmla="*/ 3374 w 5872"/>
                <a:gd name="connsiteY0" fmla="*/ 0 h 92338"/>
                <a:gd name="connsiteX1" fmla="*/ 0 w 5872"/>
                <a:gd name="connsiteY1" fmla="*/ 92338 h 92338"/>
                <a:gd name="connsiteX2" fmla="*/ 1250 w 5872"/>
                <a:gd name="connsiteY2" fmla="*/ 92338 h 92338"/>
                <a:gd name="connsiteX3" fmla="*/ 1250 w 5872"/>
                <a:gd name="connsiteY3" fmla="*/ 92338 h 92338"/>
                <a:gd name="connsiteX4" fmla="*/ 2499 w 5872"/>
                <a:gd name="connsiteY4" fmla="*/ 92338 h 92338"/>
                <a:gd name="connsiteX5" fmla="*/ 2499 w 5872"/>
                <a:gd name="connsiteY5" fmla="*/ 92338 h 92338"/>
                <a:gd name="connsiteX6" fmla="*/ 5872 w 5872"/>
                <a:gd name="connsiteY6" fmla="*/ 0 h 92338"/>
                <a:gd name="connsiteX7" fmla="*/ 4373 w 5872"/>
                <a:gd name="connsiteY7" fmla="*/ 0 h 92338"/>
                <a:gd name="connsiteX8" fmla="*/ 3374 w 5872"/>
                <a:gd name="connsiteY8" fmla="*/ 0 h 9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2" h="92338">
                  <a:moveTo>
                    <a:pt x="3374" y="0"/>
                  </a:moveTo>
                  <a:lnTo>
                    <a:pt x="0" y="92338"/>
                  </a:lnTo>
                  <a:lnTo>
                    <a:pt x="1250" y="92338"/>
                  </a:lnTo>
                  <a:lnTo>
                    <a:pt x="1250" y="92338"/>
                  </a:lnTo>
                  <a:cubicBezTo>
                    <a:pt x="1662" y="92263"/>
                    <a:pt x="2087" y="92263"/>
                    <a:pt x="2499" y="92338"/>
                  </a:cubicBezTo>
                  <a:lnTo>
                    <a:pt x="2499" y="92338"/>
                  </a:lnTo>
                  <a:lnTo>
                    <a:pt x="5872" y="0"/>
                  </a:lnTo>
                  <a:lnTo>
                    <a:pt x="4373" y="0"/>
                  </a:lnTo>
                  <a:cubicBezTo>
                    <a:pt x="4036" y="50"/>
                    <a:pt x="3711" y="50"/>
                    <a:pt x="3374" y="0"/>
                  </a:cubicBezTo>
                  <a:close/>
                </a:path>
              </a:pathLst>
            </a:custGeom>
            <a:solidFill>
              <a:srgbClr val="000000"/>
            </a:solidFill>
            <a:ln w="12483" cap="flat">
              <a:noFill/>
              <a:prstDash val="solid"/>
              <a:miter/>
            </a:ln>
          </p:spPr>
          <p:txBody>
            <a:bodyPr rtlCol="0" anchor="ctr"/>
            <a:lstStyle/>
            <a:p>
              <a:endParaRPr lang="en-US"/>
            </a:p>
          </p:txBody>
        </p:sp>
        <p:sp>
          <p:nvSpPr>
            <p:cNvPr id="1489" name="Freeform: Shape 1488">
              <a:extLst>
                <a:ext uri="{FF2B5EF4-FFF2-40B4-BE49-F238E27FC236}">
                  <a16:creationId xmlns:a16="http://schemas.microsoft.com/office/drawing/2014/main" id="{1E22D5FE-9350-4BA2-9617-46E56A4B96C1}"/>
                </a:ext>
              </a:extLst>
            </p:cNvPr>
            <p:cNvSpPr/>
            <p:nvPr/>
          </p:nvSpPr>
          <p:spPr>
            <a:xfrm>
              <a:off x="9347741" y="2697931"/>
              <a:ext cx="21490" cy="452194"/>
            </a:xfrm>
            <a:custGeom>
              <a:avLst/>
              <a:gdLst>
                <a:gd name="connsiteX0" fmla="*/ 0 w 21490"/>
                <a:gd name="connsiteY0" fmla="*/ 0 h 452194"/>
                <a:gd name="connsiteX1" fmla="*/ 0 w 21490"/>
                <a:gd name="connsiteY1" fmla="*/ 0 h 452194"/>
                <a:gd name="connsiteX2" fmla="*/ 0 w 21490"/>
                <a:gd name="connsiteY2" fmla="*/ 0 h 452194"/>
                <a:gd name="connsiteX3" fmla="*/ 18117 w 21490"/>
                <a:gd name="connsiteY3" fmla="*/ 448071 h 452194"/>
                <a:gd name="connsiteX4" fmla="*/ 21491 w 21490"/>
                <a:gd name="connsiteY4" fmla="*/ 452195 h 452194"/>
                <a:gd name="connsiteX5" fmla="*/ 3248 w 21490"/>
                <a:gd name="connsiteY5" fmla="*/ 375 h 452194"/>
                <a:gd name="connsiteX6" fmla="*/ 2249 w 21490"/>
                <a:gd name="connsiteY6" fmla="*/ 375 h 452194"/>
                <a:gd name="connsiteX7" fmla="*/ 2249 w 21490"/>
                <a:gd name="connsiteY7" fmla="*/ 375 h 452194"/>
                <a:gd name="connsiteX8" fmla="*/ 1624 w 21490"/>
                <a:gd name="connsiteY8" fmla="*/ 375 h 45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90" h="452194">
                  <a:moveTo>
                    <a:pt x="0" y="0"/>
                  </a:moveTo>
                  <a:cubicBezTo>
                    <a:pt x="0" y="0"/>
                    <a:pt x="0" y="0"/>
                    <a:pt x="0" y="0"/>
                  </a:cubicBezTo>
                  <a:lnTo>
                    <a:pt x="0" y="0"/>
                  </a:lnTo>
                  <a:lnTo>
                    <a:pt x="18117" y="448071"/>
                  </a:lnTo>
                  <a:lnTo>
                    <a:pt x="21491" y="452195"/>
                  </a:lnTo>
                  <a:lnTo>
                    <a:pt x="3248" y="375"/>
                  </a:lnTo>
                  <a:lnTo>
                    <a:pt x="2249" y="375"/>
                  </a:lnTo>
                  <a:cubicBezTo>
                    <a:pt x="2249" y="375"/>
                    <a:pt x="2249" y="375"/>
                    <a:pt x="2249" y="375"/>
                  </a:cubicBezTo>
                  <a:lnTo>
                    <a:pt x="1624" y="375"/>
                  </a:lnTo>
                  <a:close/>
                </a:path>
              </a:pathLst>
            </a:custGeom>
            <a:solidFill>
              <a:srgbClr val="000000"/>
            </a:solidFill>
            <a:ln w="12483" cap="flat">
              <a:noFill/>
              <a:prstDash val="solid"/>
              <a:miter/>
            </a:ln>
          </p:spPr>
          <p:txBody>
            <a:bodyPr rtlCol="0" anchor="ctr"/>
            <a:lstStyle/>
            <a:p>
              <a:endParaRPr lang="en-US"/>
            </a:p>
          </p:txBody>
        </p:sp>
        <p:sp>
          <p:nvSpPr>
            <p:cNvPr id="1490" name="Freeform: Shape 1489">
              <a:extLst>
                <a:ext uri="{FF2B5EF4-FFF2-40B4-BE49-F238E27FC236}">
                  <a16:creationId xmlns:a16="http://schemas.microsoft.com/office/drawing/2014/main" id="{E20746C3-B423-489B-A122-14CBEB9BB2AF}"/>
                </a:ext>
              </a:extLst>
            </p:cNvPr>
            <p:cNvSpPr/>
            <p:nvPr/>
          </p:nvSpPr>
          <p:spPr>
            <a:xfrm>
              <a:off x="10280963" y="2237490"/>
              <a:ext cx="4554" cy="465189"/>
            </a:xfrm>
            <a:custGeom>
              <a:avLst/>
              <a:gdLst>
                <a:gd name="connsiteX0" fmla="*/ 3748 w 4554"/>
                <a:gd name="connsiteY0" fmla="*/ 1000 h 465189"/>
                <a:gd name="connsiteX1" fmla="*/ 1499 w 4554"/>
                <a:gd name="connsiteY1" fmla="*/ 1999 h 465189"/>
                <a:gd name="connsiteX2" fmla="*/ 0 w 4554"/>
                <a:gd name="connsiteY2" fmla="*/ 463065 h 465189"/>
                <a:gd name="connsiteX3" fmla="*/ 999 w 4554"/>
                <a:gd name="connsiteY3" fmla="*/ 463065 h 465189"/>
                <a:gd name="connsiteX4" fmla="*/ 3011 w 4554"/>
                <a:gd name="connsiteY4" fmla="*/ 463740 h 465189"/>
                <a:gd name="connsiteX5" fmla="*/ 3124 w 4554"/>
                <a:gd name="connsiteY5" fmla="*/ 464065 h 465189"/>
                <a:gd name="connsiteX6" fmla="*/ 3124 w 4554"/>
                <a:gd name="connsiteY6" fmla="*/ 465190 h 465189"/>
                <a:gd name="connsiteX7" fmla="*/ 3124 w 4554"/>
                <a:gd name="connsiteY7" fmla="*/ 465190 h 465189"/>
                <a:gd name="connsiteX8" fmla="*/ 3124 w 4554"/>
                <a:gd name="connsiteY8" fmla="*/ 464440 h 465189"/>
                <a:gd name="connsiteX9" fmla="*/ 4498 w 4554"/>
                <a:gd name="connsiteY9" fmla="*/ 4373 h 465189"/>
                <a:gd name="connsiteX10" fmla="*/ 4498 w 4554"/>
                <a:gd name="connsiteY10" fmla="*/ 0 h 465189"/>
                <a:gd name="connsiteX11" fmla="*/ 4498 w 4554"/>
                <a:gd name="connsiteY11" fmla="*/ 0 h 465189"/>
                <a:gd name="connsiteX12" fmla="*/ 4498 w 4554"/>
                <a:gd name="connsiteY12" fmla="*/ 625 h 465189"/>
                <a:gd name="connsiteX13" fmla="*/ 4498 w 4554"/>
                <a:gd name="connsiteY13" fmla="*/ 625 h 465189"/>
                <a:gd name="connsiteX14" fmla="*/ 4498 w 4554"/>
                <a:gd name="connsiteY14" fmla="*/ 625 h 465189"/>
                <a:gd name="connsiteX15" fmla="*/ 4498 w 4554"/>
                <a:gd name="connsiteY15" fmla="*/ 625 h 4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54" h="465189">
                  <a:moveTo>
                    <a:pt x="3748" y="1000"/>
                  </a:moveTo>
                  <a:lnTo>
                    <a:pt x="1499" y="1999"/>
                  </a:lnTo>
                  <a:lnTo>
                    <a:pt x="0" y="463065"/>
                  </a:lnTo>
                  <a:lnTo>
                    <a:pt x="999" y="463065"/>
                  </a:lnTo>
                  <a:cubicBezTo>
                    <a:pt x="1736" y="462703"/>
                    <a:pt x="2636" y="463003"/>
                    <a:pt x="3011" y="463740"/>
                  </a:cubicBezTo>
                  <a:cubicBezTo>
                    <a:pt x="3061" y="463853"/>
                    <a:pt x="3098" y="463952"/>
                    <a:pt x="3124" y="464065"/>
                  </a:cubicBezTo>
                  <a:cubicBezTo>
                    <a:pt x="3186" y="464440"/>
                    <a:pt x="3186" y="464815"/>
                    <a:pt x="3124" y="465190"/>
                  </a:cubicBezTo>
                  <a:cubicBezTo>
                    <a:pt x="3124" y="465190"/>
                    <a:pt x="3124" y="465190"/>
                    <a:pt x="3124" y="465190"/>
                  </a:cubicBezTo>
                  <a:lnTo>
                    <a:pt x="3124" y="464440"/>
                  </a:lnTo>
                  <a:lnTo>
                    <a:pt x="4498" y="4373"/>
                  </a:lnTo>
                  <a:lnTo>
                    <a:pt x="4498" y="0"/>
                  </a:lnTo>
                  <a:cubicBezTo>
                    <a:pt x="4498" y="0"/>
                    <a:pt x="4498" y="0"/>
                    <a:pt x="4498" y="0"/>
                  </a:cubicBezTo>
                  <a:cubicBezTo>
                    <a:pt x="4573" y="200"/>
                    <a:pt x="4573" y="425"/>
                    <a:pt x="4498" y="625"/>
                  </a:cubicBezTo>
                  <a:cubicBezTo>
                    <a:pt x="4498" y="625"/>
                    <a:pt x="4498" y="625"/>
                    <a:pt x="4498" y="625"/>
                  </a:cubicBezTo>
                  <a:lnTo>
                    <a:pt x="4498" y="625"/>
                  </a:lnTo>
                  <a:lnTo>
                    <a:pt x="4498" y="625"/>
                  </a:lnTo>
                  <a:close/>
                </a:path>
              </a:pathLst>
            </a:custGeom>
            <a:solidFill>
              <a:srgbClr val="000000"/>
            </a:solidFill>
            <a:ln w="12483" cap="flat">
              <a:noFill/>
              <a:prstDash val="solid"/>
              <a:miter/>
            </a:ln>
          </p:spPr>
          <p:txBody>
            <a:bodyPr rtlCol="0" anchor="ctr"/>
            <a:lstStyle/>
            <a:p>
              <a:endParaRPr lang="en-US"/>
            </a:p>
          </p:txBody>
        </p:sp>
        <p:sp>
          <p:nvSpPr>
            <p:cNvPr id="1491" name="Freeform: Shape 1490">
              <a:extLst>
                <a:ext uri="{FF2B5EF4-FFF2-40B4-BE49-F238E27FC236}">
                  <a16:creationId xmlns:a16="http://schemas.microsoft.com/office/drawing/2014/main" id="{30756459-255B-4746-BB66-F38AB55ED8FF}"/>
                </a:ext>
              </a:extLst>
            </p:cNvPr>
            <p:cNvSpPr/>
            <p:nvPr/>
          </p:nvSpPr>
          <p:spPr>
            <a:xfrm>
              <a:off x="7327114" y="2597346"/>
              <a:ext cx="195216" cy="1445923"/>
            </a:xfrm>
            <a:custGeom>
              <a:avLst/>
              <a:gdLst>
                <a:gd name="connsiteX0" fmla="*/ 193791 w 195216"/>
                <a:gd name="connsiteY0" fmla="*/ 1445924 h 1445923"/>
                <a:gd name="connsiteX1" fmla="*/ 195166 w 195216"/>
                <a:gd name="connsiteY1" fmla="*/ 1443674 h 1445923"/>
                <a:gd name="connsiteX2" fmla="*/ 195166 w 195216"/>
                <a:gd name="connsiteY2" fmla="*/ 1443674 h 1445923"/>
                <a:gd name="connsiteX3" fmla="*/ 195166 w 195216"/>
                <a:gd name="connsiteY3" fmla="*/ 1441800 h 1445923"/>
                <a:gd name="connsiteX4" fmla="*/ 1749 w 195216"/>
                <a:gd name="connsiteY4" fmla="*/ 0 h 1445923"/>
                <a:gd name="connsiteX5" fmla="*/ 625 w 195216"/>
                <a:gd name="connsiteY5" fmla="*/ 625 h 1445923"/>
                <a:gd name="connsiteX6" fmla="*/ 625 w 195216"/>
                <a:gd name="connsiteY6" fmla="*/ 625 h 1445923"/>
                <a:gd name="connsiteX7" fmla="*/ 0 w 195216"/>
                <a:gd name="connsiteY7" fmla="*/ 625 h 1445923"/>
                <a:gd name="connsiteX8" fmla="*/ 0 w 195216"/>
                <a:gd name="connsiteY8" fmla="*/ 625 h 1445923"/>
                <a:gd name="connsiteX9" fmla="*/ 0 w 195216"/>
                <a:gd name="connsiteY9" fmla="*/ 625 h 1445923"/>
                <a:gd name="connsiteX10" fmla="*/ 0 w 195216"/>
                <a:gd name="connsiteY10" fmla="*/ 625 h 1445923"/>
                <a:gd name="connsiteX11" fmla="*/ 193541 w 195216"/>
                <a:gd name="connsiteY11" fmla="*/ 1445299 h 1445923"/>
                <a:gd name="connsiteX12" fmla="*/ 193541 w 195216"/>
                <a:gd name="connsiteY12" fmla="*/ 1445299 h 1445923"/>
                <a:gd name="connsiteX13" fmla="*/ 193791 w 195216"/>
                <a:gd name="connsiteY13" fmla="*/ 1445924 h 14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216" h="1445923">
                  <a:moveTo>
                    <a:pt x="193791" y="1445924"/>
                  </a:moveTo>
                  <a:cubicBezTo>
                    <a:pt x="194791" y="1445674"/>
                    <a:pt x="195403" y="1444674"/>
                    <a:pt x="195166" y="1443674"/>
                  </a:cubicBezTo>
                  <a:lnTo>
                    <a:pt x="195166" y="1443674"/>
                  </a:lnTo>
                  <a:lnTo>
                    <a:pt x="195166" y="1441800"/>
                  </a:lnTo>
                  <a:lnTo>
                    <a:pt x="1749" y="0"/>
                  </a:lnTo>
                  <a:lnTo>
                    <a:pt x="625" y="625"/>
                  </a:lnTo>
                  <a:lnTo>
                    <a:pt x="625" y="625"/>
                  </a:lnTo>
                  <a:lnTo>
                    <a:pt x="0" y="625"/>
                  </a:lnTo>
                  <a:lnTo>
                    <a:pt x="0" y="625"/>
                  </a:lnTo>
                  <a:lnTo>
                    <a:pt x="0" y="625"/>
                  </a:lnTo>
                  <a:lnTo>
                    <a:pt x="0" y="625"/>
                  </a:lnTo>
                  <a:lnTo>
                    <a:pt x="193541" y="1445299"/>
                  </a:lnTo>
                  <a:cubicBezTo>
                    <a:pt x="193541" y="1445299"/>
                    <a:pt x="193541" y="1445299"/>
                    <a:pt x="193541" y="1445299"/>
                  </a:cubicBezTo>
                  <a:cubicBezTo>
                    <a:pt x="193579" y="1445524"/>
                    <a:pt x="193666" y="1445736"/>
                    <a:pt x="193791" y="1445924"/>
                  </a:cubicBezTo>
                  <a:close/>
                </a:path>
              </a:pathLst>
            </a:custGeom>
            <a:solidFill>
              <a:srgbClr val="000000"/>
            </a:solidFill>
            <a:ln w="12483" cap="flat">
              <a:noFill/>
              <a:prstDash val="solid"/>
              <a:miter/>
            </a:ln>
          </p:spPr>
          <p:txBody>
            <a:bodyPr rtlCol="0" anchor="ctr"/>
            <a:lstStyle/>
            <a:p>
              <a:endParaRPr lang="en-US"/>
            </a:p>
          </p:txBody>
        </p:sp>
        <p:sp>
          <p:nvSpPr>
            <p:cNvPr id="1492" name="Freeform: Shape 1491">
              <a:extLst>
                <a:ext uri="{FF2B5EF4-FFF2-40B4-BE49-F238E27FC236}">
                  <a16:creationId xmlns:a16="http://schemas.microsoft.com/office/drawing/2014/main" id="{2168E9EC-0551-47D7-92FF-E1FCBA39E17E}"/>
                </a:ext>
              </a:extLst>
            </p:cNvPr>
            <p:cNvSpPr/>
            <p:nvPr/>
          </p:nvSpPr>
          <p:spPr>
            <a:xfrm>
              <a:off x="7129825" y="2114789"/>
              <a:ext cx="442183" cy="216913"/>
            </a:xfrm>
            <a:custGeom>
              <a:avLst/>
              <a:gdLst>
                <a:gd name="connsiteX0" fmla="*/ 12745 w 442183"/>
                <a:gd name="connsiteY0" fmla="*/ 208167 h 216913"/>
                <a:gd name="connsiteX1" fmla="*/ 13994 w 442183"/>
                <a:gd name="connsiteY1" fmla="*/ 216914 h 216913"/>
                <a:gd name="connsiteX2" fmla="*/ 442184 w 442183"/>
                <a:gd name="connsiteY2" fmla="*/ 22991 h 216913"/>
                <a:gd name="connsiteX3" fmla="*/ 438061 w 442183"/>
                <a:gd name="connsiteY3" fmla="*/ 17493 h 216913"/>
                <a:gd name="connsiteX4" fmla="*/ 438685 w 442183"/>
                <a:gd name="connsiteY4" fmla="*/ 2124 h 216913"/>
                <a:gd name="connsiteX5" fmla="*/ 441684 w 442183"/>
                <a:gd name="connsiteY5" fmla="*/ 0 h 216913"/>
                <a:gd name="connsiteX6" fmla="*/ 441684 w 442183"/>
                <a:gd name="connsiteY6" fmla="*/ 0 h 216913"/>
                <a:gd name="connsiteX7" fmla="*/ 875 w 442183"/>
                <a:gd name="connsiteY7" fmla="*/ 199920 h 216913"/>
                <a:gd name="connsiteX8" fmla="*/ 0 w 442183"/>
                <a:gd name="connsiteY8" fmla="*/ 199920 h 216913"/>
                <a:gd name="connsiteX9" fmla="*/ 2499 w 442183"/>
                <a:gd name="connsiteY9" fmla="*/ 198796 h 216913"/>
                <a:gd name="connsiteX10" fmla="*/ 12694 w 442183"/>
                <a:gd name="connsiteY10" fmla="*/ 206992 h 216913"/>
                <a:gd name="connsiteX11" fmla="*/ 12745 w 442183"/>
                <a:gd name="connsiteY11" fmla="*/ 208167 h 21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183" h="216913">
                  <a:moveTo>
                    <a:pt x="12745" y="208167"/>
                  </a:moveTo>
                  <a:lnTo>
                    <a:pt x="13994" y="216914"/>
                  </a:lnTo>
                  <a:lnTo>
                    <a:pt x="442184" y="22991"/>
                  </a:lnTo>
                  <a:lnTo>
                    <a:pt x="438061" y="17493"/>
                  </a:lnTo>
                  <a:cubicBezTo>
                    <a:pt x="434712" y="12832"/>
                    <a:pt x="434975" y="6497"/>
                    <a:pt x="438685" y="2124"/>
                  </a:cubicBezTo>
                  <a:cubicBezTo>
                    <a:pt x="439535" y="1224"/>
                    <a:pt x="440560" y="512"/>
                    <a:pt x="441684" y="0"/>
                  </a:cubicBezTo>
                  <a:lnTo>
                    <a:pt x="441684" y="0"/>
                  </a:lnTo>
                  <a:lnTo>
                    <a:pt x="875" y="199920"/>
                  </a:lnTo>
                  <a:cubicBezTo>
                    <a:pt x="875" y="199920"/>
                    <a:pt x="875" y="199920"/>
                    <a:pt x="0" y="199920"/>
                  </a:cubicBezTo>
                  <a:cubicBezTo>
                    <a:pt x="750" y="199370"/>
                    <a:pt x="1599" y="198983"/>
                    <a:pt x="2499" y="198796"/>
                  </a:cubicBezTo>
                  <a:cubicBezTo>
                    <a:pt x="7572" y="198246"/>
                    <a:pt x="12145" y="201907"/>
                    <a:pt x="12694" y="206992"/>
                  </a:cubicBezTo>
                  <a:cubicBezTo>
                    <a:pt x="12732" y="207380"/>
                    <a:pt x="12757" y="207767"/>
                    <a:pt x="12745" y="208167"/>
                  </a:cubicBezTo>
                  <a:close/>
                </a:path>
              </a:pathLst>
            </a:custGeom>
            <a:solidFill>
              <a:srgbClr val="000000"/>
            </a:solidFill>
            <a:ln w="12483" cap="flat">
              <a:noFill/>
              <a:prstDash val="solid"/>
              <a:miter/>
            </a:ln>
          </p:spPr>
          <p:txBody>
            <a:bodyPr rtlCol="0" anchor="ctr"/>
            <a:lstStyle/>
            <a:p>
              <a:endParaRPr lang="en-US"/>
            </a:p>
          </p:txBody>
        </p:sp>
        <p:sp>
          <p:nvSpPr>
            <p:cNvPr id="1493" name="Freeform: Shape 1492">
              <a:extLst>
                <a:ext uri="{FF2B5EF4-FFF2-40B4-BE49-F238E27FC236}">
                  <a16:creationId xmlns:a16="http://schemas.microsoft.com/office/drawing/2014/main" id="{966F82A0-98C8-4E83-91DF-30A27456EC9B}"/>
                </a:ext>
              </a:extLst>
            </p:cNvPr>
            <p:cNvSpPr/>
            <p:nvPr/>
          </p:nvSpPr>
          <p:spPr>
            <a:xfrm>
              <a:off x="7565551" y="2114617"/>
              <a:ext cx="214145" cy="278060"/>
            </a:xfrm>
            <a:custGeom>
              <a:avLst/>
              <a:gdLst>
                <a:gd name="connsiteX0" fmla="*/ 2334 w 214145"/>
                <a:gd name="connsiteY0" fmla="*/ 17665 h 278060"/>
                <a:gd name="connsiteX1" fmla="*/ 6457 w 214145"/>
                <a:gd name="connsiteY1" fmla="*/ 23163 h 278060"/>
                <a:gd name="connsiteX2" fmla="*/ 196875 w 214145"/>
                <a:gd name="connsiteY2" fmla="*/ 278061 h 278060"/>
                <a:gd name="connsiteX3" fmla="*/ 198124 w 214145"/>
                <a:gd name="connsiteY3" fmla="*/ 277436 h 278060"/>
                <a:gd name="connsiteX4" fmla="*/ 198124 w 214145"/>
                <a:gd name="connsiteY4" fmla="*/ 277436 h 278060"/>
                <a:gd name="connsiteX5" fmla="*/ 205746 w 214145"/>
                <a:gd name="connsiteY5" fmla="*/ 264941 h 278060"/>
                <a:gd name="connsiteX6" fmla="*/ 214117 w 214145"/>
                <a:gd name="connsiteY6" fmla="*/ 269314 h 278060"/>
                <a:gd name="connsiteX7" fmla="*/ 214117 w 214145"/>
                <a:gd name="connsiteY7" fmla="*/ 268440 h 278060"/>
                <a:gd name="connsiteX8" fmla="*/ 15703 w 214145"/>
                <a:gd name="connsiteY8" fmla="*/ 3171 h 278060"/>
                <a:gd name="connsiteX9" fmla="*/ 15703 w 214145"/>
                <a:gd name="connsiteY9" fmla="*/ 3171 h 278060"/>
                <a:gd name="connsiteX10" fmla="*/ 13579 w 214145"/>
                <a:gd name="connsiteY10" fmla="*/ 1296 h 278060"/>
                <a:gd name="connsiteX11" fmla="*/ 12829 w 214145"/>
                <a:gd name="connsiteY11" fmla="*/ 672 h 278060"/>
                <a:gd name="connsiteX12" fmla="*/ 10705 w 214145"/>
                <a:gd name="connsiteY12" fmla="*/ 47 h 278060"/>
                <a:gd name="connsiteX13" fmla="*/ 9581 w 214145"/>
                <a:gd name="connsiteY13" fmla="*/ 47 h 278060"/>
                <a:gd name="connsiteX14" fmla="*/ 8082 w 214145"/>
                <a:gd name="connsiteY14" fmla="*/ 47 h 278060"/>
                <a:gd name="connsiteX15" fmla="*/ 6082 w 214145"/>
                <a:gd name="connsiteY15" fmla="*/ 47 h 278060"/>
                <a:gd name="connsiteX16" fmla="*/ 3084 w 214145"/>
                <a:gd name="connsiteY16" fmla="*/ 2171 h 278060"/>
                <a:gd name="connsiteX17" fmla="*/ 2334 w 214145"/>
                <a:gd name="connsiteY17" fmla="*/ 17665 h 27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145" h="278060">
                  <a:moveTo>
                    <a:pt x="2334" y="17665"/>
                  </a:moveTo>
                  <a:lnTo>
                    <a:pt x="6457" y="23163"/>
                  </a:lnTo>
                  <a:lnTo>
                    <a:pt x="196875" y="278061"/>
                  </a:lnTo>
                  <a:lnTo>
                    <a:pt x="198124" y="277436"/>
                  </a:lnTo>
                  <a:lnTo>
                    <a:pt x="198124" y="277436"/>
                  </a:lnTo>
                  <a:cubicBezTo>
                    <a:pt x="197000" y="271914"/>
                    <a:pt x="200323" y="266466"/>
                    <a:pt x="205746" y="264941"/>
                  </a:cubicBezTo>
                  <a:cubicBezTo>
                    <a:pt x="209170" y="264566"/>
                    <a:pt x="212468" y="266303"/>
                    <a:pt x="214117" y="269314"/>
                  </a:cubicBezTo>
                  <a:cubicBezTo>
                    <a:pt x="214155" y="269027"/>
                    <a:pt x="214155" y="268727"/>
                    <a:pt x="214117" y="268440"/>
                  </a:cubicBezTo>
                  <a:lnTo>
                    <a:pt x="15703" y="3171"/>
                  </a:lnTo>
                  <a:lnTo>
                    <a:pt x="15703" y="3171"/>
                  </a:lnTo>
                  <a:cubicBezTo>
                    <a:pt x="15091" y="2446"/>
                    <a:pt x="14379" y="1821"/>
                    <a:pt x="13579" y="1296"/>
                  </a:cubicBezTo>
                  <a:cubicBezTo>
                    <a:pt x="13579" y="1296"/>
                    <a:pt x="13579" y="1296"/>
                    <a:pt x="12829" y="672"/>
                  </a:cubicBezTo>
                  <a:cubicBezTo>
                    <a:pt x="12167" y="334"/>
                    <a:pt x="11443" y="122"/>
                    <a:pt x="10705" y="47"/>
                  </a:cubicBezTo>
                  <a:lnTo>
                    <a:pt x="9581" y="47"/>
                  </a:lnTo>
                  <a:lnTo>
                    <a:pt x="8082" y="47"/>
                  </a:lnTo>
                  <a:cubicBezTo>
                    <a:pt x="7419" y="-16"/>
                    <a:pt x="6745" y="-16"/>
                    <a:pt x="6082" y="47"/>
                  </a:cubicBezTo>
                  <a:cubicBezTo>
                    <a:pt x="4958" y="547"/>
                    <a:pt x="3933" y="1271"/>
                    <a:pt x="3084" y="2171"/>
                  </a:cubicBezTo>
                  <a:cubicBezTo>
                    <a:pt x="-727" y="6532"/>
                    <a:pt x="-1040" y="12954"/>
                    <a:pt x="2334" y="17665"/>
                  </a:cubicBezTo>
                  <a:close/>
                </a:path>
              </a:pathLst>
            </a:custGeom>
            <a:solidFill>
              <a:srgbClr val="000000"/>
            </a:solidFill>
            <a:ln w="12483" cap="flat">
              <a:noFill/>
              <a:prstDash val="solid"/>
              <a:miter/>
            </a:ln>
          </p:spPr>
          <p:txBody>
            <a:bodyPr rtlCol="0" anchor="ctr"/>
            <a:lstStyle/>
            <a:p>
              <a:endParaRPr lang="en-US"/>
            </a:p>
          </p:txBody>
        </p:sp>
        <p:sp>
          <p:nvSpPr>
            <p:cNvPr id="1494" name="Freeform: Shape 1493">
              <a:extLst>
                <a:ext uri="{FF2B5EF4-FFF2-40B4-BE49-F238E27FC236}">
                  <a16:creationId xmlns:a16="http://schemas.microsoft.com/office/drawing/2014/main" id="{2DF04B81-A238-4A97-AD9E-27E27F3DDA83}"/>
                </a:ext>
              </a:extLst>
            </p:cNvPr>
            <p:cNvSpPr/>
            <p:nvPr/>
          </p:nvSpPr>
          <p:spPr>
            <a:xfrm>
              <a:off x="7327364" y="2392053"/>
              <a:ext cx="437311" cy="205627"/>
            </a:xfrm>
            <a:custGeom>
              <a:avLst/>
              <a:gdLst>
                <a:gd name="connsiteX0" fmla="*/ 1000 w 437311"/>
                <a:gd name="connsiteY0" fmla="*/ 202794 h 205627"/>
                <a:gd name="connsiteX1" fmla="*/ 1000 w 437311"/>
                <a:gd name="connsiteY1" fmla="*/ 205543 h 205627"/>
                <a:gd name="connsiteX2" fmla="*/ 250 w 437311"/>
                <a:gd name="connsiteY2" fmla="*/ 205543 h 205627"/>
                <a:gd name="connsiteX3" fmla="*/ 250 w 437311"/>
                <a:gd name="connsiteY3" fmla="*/ 205543 h 205627"/>
                <a:gd name="connsiteX4" fmla="*/ 1374 w 437311"/>
                <a:gd name="connsiteY4" fmla="*/ 204918 h 205627"/>
                <a:gd name="connsiteX5" fmla="*/ 437311 w 437311"/>
                <a:gd name="connsiteY5" fmla="*/ 3998 h 205627"/>
                <a:gd name="connsiteX6" fmla="*/ 437311 w 437311"/>
                <a:gd name="connsiteY6" fmla="*/ 0 h 205627"/>
                <a:gd name="connsiteX7" fmla="*/ 436062 w 437311"/>
                <a:gd name="connsiteY7" fmla="*/ 625 h 205627"/>
                <a:gd name="connsiteX8" fmla="*/ 0 w 437311"/>
                <a:gd name="connsiteY8" fmla="*/ 201794 h 2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311" h="205627">
                  <a:moveTo>
                    <a:pt x="1000" y="202794"/>
                  </a:moveTo>
                  <a:cubicBezTo>
                    <a:pt x="1624" y="203606"/>
                    <a:pt x="1624" y="204731"/>
                    <a:pt x="1000" y="205543"/>
                  </a:cubicBezTo>
                  <a:cubicBezTo>
                    <a:pt x="762" y="205655"/>
                    <a:pt x="487" y="205655"/>
                    <a:pt x="250" y="205543"/>
                  </a:cubicBezTo>
                  <a:lnTo>
                    <a:pt x="250" y="205543"/>
                  </a:lnTo>
                  <a:lnTo>
                    <a:pt x="1374" y="204918"/>
                  </a:lnTo>
                  <a:lnTo>
                    <a:pt x="437311" y="3998"/>
                  </a:lnTo>
                  <a:lnTo>
                    <a:pt x="437311" y="0"/>
                  </a:lnTo>
                  <a:lnTo>
                    <a:pt x="436062" y="625"/>
                  </a:lnTo>
                  <a:lnTo>
                    <a:pt x="0" y="201794"/>
                  </a:lnTo>
                  <a:close/>
                </a:path>
              </a:pathLst>
            </a:custGeom>
            <a:solidFill>
              <a:srgbClr val="000000"/>
            </a:solidFill>
            <a:ln w="12483" cap="flat">
              <a:noFill/>
              <a:prstDash val="solid"/>
              <a:miter/>
            </a:ln>
          </p:spPr>
          <p:txBody>
            <a:bodyPr rtlCol="0" anchor="ctr"/>
            <a:lstStyle/>
            <a:p>
              <a:endParaRPr lang="en-US"/>
            </a:p>
          </p:txBody>
        </p:sp>
        <p:sp>
          <p:nvSpPr>
            <p:cNvPr id="1495" name="Freeform: Shape 1494">
              <a:extLst>
                <a:ext uri="{FF2B5EF4-FFF2-40B4-BE49-F238E27FC236}">
                  <a16:creationId xmlns:a16="http://schemas.microsoft.com/office/drawing/2014/main" id="{3F96E01B-A99F-4DF5-85F4-A5B48495F6E8}"/>
                </a:ext>
              </a:extLst>
            </p:cNvPr>
            <p:cNvSpPr/>
            <p:nvPr/>
          </p:nvSpPr>
          <p:spPr>
            <a:xfrm>
              <a:off x="7144318" y="2336950"/>
              <a:ext cx="183389" cy="260480"/>
            </a:xfrm>
            <a:custGeom>
              <a:avLst/>
              <a:gdLst>
                <a:gd name="connsiteX0" fmla="*/ 181547 w 183389"/>
                <a:gd name="connsiteY0" fmla="*/ 260396 h 260480"/>
                <a:gd name="connsiteX1" fmla="*/ 181547 w 183389"/>
                <a:gd name="connsiteY1" fmla="*/ 260396 h 260480"/>
                <a:gd name="connsiteX2" fmla="*/ 181547 w 183389"/>
                <a:gd name="connsiteY2" fmla="*/ 260396 h 260480"/>
                <a:gd name="connsiteX3" fmla="*/ 182171 w 183389"/>
                <a:gd name="connsiteY3" fmla="*/ 260396 h 260480"/>
                <a:gd name="connsiteX4" fmla="*/ 182921 w 183389"/>
                <a:gd name="connsiteY4" fmla="*/ 260396 h 260480"/>
                <a:gd name="connsiteX5" fmla="*/ 182921 w 183389"/>
                <a:gd name="connsiteY5" fmla="*/ 257647 h 260480"/>
                <a:gd name="connsiteX6" fmla="*/ 183046 w 183389"/>
                <a:gd name="connsiteY6" fmla="*/ 256898 h 260480"/>
                <a:gd name="connsiteX7" fmla="*/ 0 w 183389"/>
                <a:gd name="connsiteY7" fmla="*/ 0 h 260480"/>
                <a:gd name="connsiteX8" fmla="*/ 999 w 183389"/>
                <a:gd name="connsiteY8" fmla="*/ 7372 h 260480"/>
                <a:gd name="connsiteX9" fmla="*/ 181047 w 183389"/>
                <a:gd name="connsiteY9" fmla="*/ 260021 h 2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389" h="260480">
                  <a:moveTo>
                    <a:pt x="181547" y="260396"/>
                  </a:moveTo>
                  <a:lnTo>
                    <a:pt x="181547" y="260396"/>
                  </a:lnTo>
                  <a:lnTo>
                    <a:pt x="181547" y="260396"/>
                  </a:lnTo>
                  <a:lnTo>
                    <a:pt x="182171" y="260396"/>
                  </a:lnTo>
                  <a:cubicBezTo>
                    <a:pt x="182409" y="260509"/>
                    <a:pt x="182683" y="260509"/>
                    <a:pt x="182921" y="260396"/>
                  </a:cubicBezTo>
                  <a:cubicBezTo>
                    <a:pt x="183546" y="259584"/>
                    <a:pt x="183546" y="258459"/>
                    <a:pt x="182921" y="257647"/>
                  </a:cubicBezTo>
                  <a:lnTo>
                    <a:pt x="183046" y="256898"/>
                  </a:lnTo>
                  <a:lnTo>
                    <a:pt x="0" y="0"/>
                  </a:lnTo>
                  <a:lnTo>
                    <a:pt x="999" y="7372"/>
                  </a:lnTo>
                  <a:lnTo>
                    <a:pt x="181047" y="260021"/>
                  </a:lnTo>
                  <a:close/>
                </a:path>
              </a:pathLst>
            </a:custGeom>
            <a:solidFill>
              <a:srgbClr val="000000"/>
            </a:solidFill>
            <a:ln w="12483" cap="flat">
              <a:noFill/>
              <a:prstDash val="solid"/>
              <a:miter/>
            </a:ln>
          </p:spPr>
          <p:txBody>
            <a:bodyPr rtlCol="0" anchor="ctr"/>
            <a:lstStyle/>
            <a:p>
              <a:endParaRPr lang="en-US"/>
            </a:p>
          </p:txBody>
        </p:sp>
        <p:sp>
          <p:nvSpPr>
            <p:cNvPr id="1496" name="Freeform: Shape 1495">
              <a:extLst>
                <a:ext uri="{FF2B5EF4-FFF2-40B4-BE49-F238E27FC236}">
                  <a16:creationId xmlns:a16="http://schemas.microsoft.com/office/drawing/2014/main" id="{58CD2102-CEC5-48F5-B8B1-DAE9B8FCA281}"/>
                </a:ext>
              </a:extLst>
            </p:cNvPr>
            <p:cNvSpPr/>
            <p:nvPr/>
          </p:nvSpPr>
          <p:spPr>
            <a:xfrm>
              <a:off x="11599018" y="2780648"/>
              <a:ext cx="605988" cy="327994"/>
            </a:xfrm>
            <a:custGeom>
              <a:avLst/>
              <a:gdLst>
                <a:gd name="connsiteX0" fmla="*/ 750 w 605988"/>
                <a:gd name="connsiteY0" fmla="*/ 325995 h 327994"/>
                <a:gd name="connsiteX1" fmla="*/ 2624 w 605988"/>
                <a:gd name="connsiteY1" fmla="*/ 327994 h 327994"/>
                <a:gd name="connsiteX2" fmla="*/ 605988 w 605988"/>
                <a:gd name="connsiteY2" fmla="*/ 4123 h 327994"/>
                <a:gd name="connsiteX3" fmla="*/ 605988 w 605988"/>
                <a:gd name="connsiteY3" fmla="*/ 0 h 327994"/>
                <a:gd name="connsiteX4" fmla="*/ 0 w 605988"/>
                <a:gd name="connsiteY4" fmla="*/ 325245 h 327994"/>
                <a:gd name="connsiteX5" fmla="*/ 750 w 605988"/>
                <a:gd name="connsiteY5" fmla="*/ 325995 h 32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988" h="327994">
                  <a:moveTo>
                    <a:pt x="750" y="325995"/>
                  </a:moveTo>
                  <a:lnTo>
                    <a:pt x="2624" y="327994"/>
                  </a:lnTo>
                  <a:lnTo>
                    <a:pt x="605988" y="4123"/>
                  </a:lnTo>
                  <a:lnTo>
                    <a:pt x="605988" y="0"/>
                  </a:lnTo>
                  <a:lnTo>
                    <a:pt x="0" y="325245"/>
                  </a:lnTo>
                  <a:lnTo>
                    <a:pt x="750" y="325995"/>
                  </a:lnTo>
                  <a:close/>
                </a:path>
              </a:pathLst>
            </a:custGeom>
            <a:solidFill>
              <a:srgbClr val="000000"/>
            </a:solidFill>
            <a:ln w="12483" cap="flat">
              <a:noFill/>
              <a:prstDash val="solid"/>
              <a:miter/>
            </a:ln>
          </p:spPr>
          <p:txBody>
            <a:bodyPr rtlCol="0" anchor="ctr"/>
            <a:lstStyle/>
            <a:p>
              <a:endParaRPr lang="en-US"/>
            </a:p>
          </p:txBody>
        </p:sp>
        <p:sp>
          <p:nvSpPr>
            <p:cNvPr id="1497" name="Freeform: Shape 1496">
              <a:extLst>
                <a:ext uri="{FF2B5EF4-FFF2-40B4-BE49-F238E27FC236}">
                  <a16:creationId xmlns:a16="http://schemas.microsoft.com/office/drawing/2014/main" id="{91DA1E35-FC13-4657-B71C-5DF06C4BD2D8}"/>
                </a:ext>
              </a:extLst>
            </p:cNvPr>
            <p:cNvSpPr/>
            <p:nvPr/>
          </p:nvSpPr>
          <p:spPr>
            <a:xfrm>
              <a:off x="12062568" y="3538721"/>
              <a:ext cx="78965" cy="67972"/>
            </a:xfrm>
            <a:custGeom>
              <a:avLst/>
              <a:gdLst>
                <a:gd name="connsiteX0" fmla="*/ 625 w 78965"/>
                <a:gd name="connsiteY0" fmla="*/ 61975 h 67972"/>
                <a:gd name="connsiteX1" fmla="*/ 0 w 78965"/>
                <a:gd name="connsiteY1" fmla="*/ 67973 h 67972"/>
                <a:gd name="connsiteX2" fmla="*/ 76592 w 78965"/>
                <a:gd name="connsiteY2" fmla="*/ 25240 h 67972"/>
                <a:gd name="connsiteX3" fmla="*/ 78341 w 78965"/>
                <a:gd name="connsiteY3" fmla="*/ 5998 h 67972"/>
                <a:gd name="connsiteX4" fmla="*/ 78966 w 78965"/>
                <a:gd name="connsiteY4" fmla="*/ 0 h 67972"/>
                <a:gd name="connsiteX5" fmla="*/ 2249 w 78965"/>
                <a:gd name="connsiteY5" fmla="*/ 42858 h 67972"/>
                <a:gd name="connsiteX6" fmla="*/ 625 w 78965"/>
                <a:gd name="connsiteY6" fmla="*/ 61975 h 6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5" h="67972">
                  <a:moveTo>
                    <a:pt x="625" y="61975"/>
                  </a:moveTo>
                  <a:lnTo>
                    <a:pt x="0" y="67973"/>
                  </a:lnTo>
                  <a:lnTo>
                    <a:pt x="76592" y="25240"/>
                  </a:lnTo>
                  <a:lnTo>
                    <a:pt x="78341" y="5998"/>
                  </a:lnTo>
                  <a:lnTo>
                    <a:pt x="78966" y="0"/>
                  </a:lnTo>
                  <a:lnTo>
                    <a:pt x="2249" y="42858"/>
                  </a:lnTo>
                  <a:lnTo>
                    <a:pt x="625" y="61975"/>
                  </a:lnTo>
                  <a:close/>
                </a:path>
              </a:pathLst>
            </a:custGeom>
            <a:solidFill>
              <a:srgbClr val="000000"/>
            </a:solidFill>
            <a:ln w="12483" cap="flat">
              <a:noFill/>
              <a:prstDash val="solid"/>
              <a:miter/>
            </a:ln>
          </p:spPr>
          <p:txBody>
            <a:bodyPr rtlCol="0" anchor="ctr"/>
            <a:lstStyle/>
            <a:p>
              <a:endParaRPr lang="en-US"/>
            </a:p>
          </p:txBody>
        </p:sp>
        <p:sp>
          <p:nvSpPr>
            <p:cNvPr id="1498" name="Freeform: Shape 1497">
              <a:extLst>
                <a:ext uri="{FF2B5EF4-FFF2-40B4-BE49-F238E27FC236}">
                  <a16:creationId xmlns:a16="http://schemas.microsoft.com/office/drawing/2014/main" id="{C9225007-C3BA-4B70-8E92-F4430616173A}"/>
                </a:ext>
              </a:extLst>
            </p:cNvPr>
            <p:cNvSpPr/>
            <p:nvPr/>
          </p:nvSpPr>
          <p:spPr>
            <a:xfrm>
              <a:off x="11596769" y="3108892"/>
              <a:ext cx="3248" cy="8246"/>
            </a:xfrm>
            <a:custGeom>
              <a:avLst/>
              <a:gdLst>
                <a:gd name="connsiteX0" fmla="*/ 2999 w 3248"/>
                <a:gd name="connsiteY0" fmla="*/ 8247 h 8246"/>
                <a:gd name="connsiteX1" fmla="*/ 3248 w 3248"/>
                <a:gd name="connsiteY1" fmla="*/ 3249 h 8246"/>
                <a:gd name="connsiteX2" fmla="*/ 874 w 3248"/>
                <a:gd name="connsiteY2" fmla="*/ 625 h 8246"/>
                <a:gd name="connsiteX3" fmla="*/ 375 w 3248"/>
                <a:gd name="connsiteY3" fmla="*/ 0 h 8246"/>
                <a:gd name="connsiteX4" fmla="*/ 0 w 3248"/>
                <a:gd name="connsiteY4" fmla="*/ 5123 h 8246"/>
                <a:gd name="connsiteX5" fmla="*/ 2999 w 3248"/>
                <a:gd name="connsiteY5" fmla="*/ 8247 h 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8" h="8246">
                  <a:moveTo>
                    <a:pt x="2999" y="8247"/>
                  </a:moveTo>
                  <a:lnTo>
                    <a:pt x="3248" y="3249"/>
                  </a:lnTo>
                  <a:lnTo>
                    <a:pt x="874" y="625"/>
                  </a:lnTo>
                  <a:lnTo>
                    <a:pt x="375" y="0"/>
                  </a:lnTo>
                  <a:lnTo>
                    <a:pt x="0" y="5123"/>
                  </a:lnTo>
                  <a:lnTo>
                    <a:pt x="2999" y="8247"/>
                  </a:lnTo>
                  <a:close/>
                </a:path>
              </a:pathLst>
            </a:custGeom>
            <a:solidFill>
              <a:srgbClr val="000000"/>
            </a:solidFill>
            <a:ln w="12483" cap="flat">
              <a:noFill/>
              <a:prstDash val="solid"/>
              <a:miter/>
            </a:ln>
          </p:spPr>
          <p:txBody>
            <a:bodyPr rtlCol="0" anchor="ctr"/>
            <a:lstStyle/>
            <a:p>
              <a:endParaRPr lang="en-US"/>
            </a:p>
          </p:txBody>
        </p:sp>
        <p:sp>
          <p:nvSpPr>
            <p:cNvPr id="1499" name="Freeform: Shape 1498">
              <a:extLst>
                <a:ext uri="{FF2B5EF4-FFF2-40B4-BE49-F238E27FC236}">
                  <a16:creationId xmlns:a16="http://schemas.microsoft.com/office/drawing/2014/main" id="{9A0B2D06-C446-418D-B338-E14CE79C2718}"/>
                </a:ext>
              </a:extLst>
            </p:cNvPr>
            <p:cNvSpPr/>
            <p:nvPr/>
          </p:nvSpPr>
          <p:spPr>
            <a:xfrm>
              <a:off x="11523676" y="2661570"/>
              <a:ext cx="681330" cy="366104"/>
            </a:xfrm>
            <a:custGeom>
              <a:avLst/>
              <a:gdLst>
                <a:gd name="connsiteX0" fmla="*/ 750 w 681330"/>
                <a:gd name="connsiteY0" fmla="*/ 364105 h 366104"/>
                <a:gd name="connsiteX1" fmla="*/ 2624 w 681330"/>
                <a:gd name="connsiteY1" fmla="*/ 366104 h 366104"/>
                <a:gd name="connsiteX2" fmla="*/ 681331 w 681330"/>
                <a:gd name="connsiteY2" fmla="*/ 4123 h 366104"/>
                <a:gd name="connsiteX3" fmla="*/ 681331 w 681330"/>
                <a:gd name="connsiteY3" fmla="*/ 0 h 366104"/>
                <a:gd name="connsiteX4" fmla="*/ 0 w 681330"/>
                <a:gd name="connsiteY4" fmla="*/ 363230 h 366104"/>
                <a:gd name="connsiteX5" fmla="*/ 750 w 681330"/>
                <a:gd name="connsiteY5" fmla="*/ 364105 h 36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330" h="366104">
                  <a:moveTo>
                    <a:pt x="750" y="364105"/>
                  </a:moveTo>
                  <a:lnTo>
                    <a:pt x="2624" y="366104"/>
                  </a:lnTo>
                  <a:lnTo>
                    <a:pt x="681331" y="4123"/>
                  </a:lnTo>
                  <a:lnTo>
                    <a:pt x="681331" y="0"/>
                  </a:lnTo>
                  <a:lnTo>
                    <a:pt x="0" y="363230"/>
                  </a:lnTo>
                  <a:lnTo>
                    <a:pt x="750" y="364105"/>
                  </a:lnTo>
                  <a:close/>
                </a:path>
              </a:pathLst>
            </a:custGeom>
            <a:solidFill>
              <a:srgbClr val="000000"/>
            </a:solidFill>
            <a:ln w="12483" cap="flat">
              <a:noFill/>
              <a:prstDash val="solid"/>
              <a:miter/>
            </a:ln>
          </p:spPr>
          <p:txBody>
            <a:bodyPr rtlCol="0" anchor="ctr"/>
            <a:lstStyle/>
            <a:p>
              <a:endParaRPr lang="en-US"/>
            </a:p>
          </p:txBody>
        </p:sp>
        <p:sp>
          <p:nvSpPr>
            <p:cNvPr id="1500" name="Freeform: Shape 1499">
              <a:extLst>
                <a:ext uri="{FF2B5EF4-FFF2-40B4-BE49-F238E27FC236}">
                  <a16:creationId xmlns:a16="http://schemas.microsoft.com/office/drawing/2014/main" id="{C745F661-0D60-46CD-9D57-5C2926BD54CD}"/>
                </a:ext>
              </a:extLst>
            </p:cNvPr>
            <p:cNvSpPr/>
            <p:nvPr/>
          </p:nvSpPr>
          <p:spPr>
            <a:xfrm>
              <a:off x="11521427" y="3027924"/>
              <a:ext cx="3373" cy="8121"/>
            </a:xfrm>
            <a:custGeom>
              <a:avLst/>
              <a:gdLst>
                <a:gd name="connsiteX0" fmla="*/ 2999 w 3373"/>
                <a:gd name="connsiteY0" fmla="*/ 8122 h 8121"/>
                <a:gd name="connsiteX1" fmla="*/ 3373 w 3373"/>
                <a:gd name="connsiteY1" fmla="*/ 3124 h 8121"/>
                <a:gd name="connsiteX2" fmla="*/ 874 w 3373"/>
                <a:gd name="connsiteY2" fmla="*/ 625 h 8121"/>
                <a:gd name="connsiteX3" fmla="*/ 250 w 3373"/>
                <a:gd name="connsiteY3" fmla="*/ 0 h 8121"/>
                <a:gd name="connsiteX4" fmla="*/ 0 w 3373"/>
                <a:gd name="connsiteY4" fmla="*/ 4873 h 8121"/>
                <a:gd name="connsiteX5" fmla="*/ 2999 w 3373"/>
                <a:gd name="connsiteY5" fmla="*/ 8122 h 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3" h="8121">
                  <a:moveTo>
                    <a:pt x="2999" y="8122"/>
                  </a:moveTo>
                  <a:lnTo>
                    <a:pt x="3373" y="3124"/>
                  </a:lnTo>
                  <a:lnTo>
                    <a:pt x="874" y="625"/>
                  </a:lnTo>
                  <a:lnTo>
                    <a:pt x="250" y="0"/>
                  </a:lnTo>
                  <a:lnTo>
                    <a:pt x="0" y="4873"/>
                  </a:lnTo>
                  <a:lnTo>
                    <a:pt x="2999" y="8122"/>
                  </a:lnTo>
                  <a:close/>
                </a:path>
              </a:pathLst>
            </a:custGeom>
            <a:solidFill>
              <a:srgbClr val="000000"/>
            </a:solidFill>
            <a:ln w="12483" cap="flat">
              <a:noFill/>
              <a:prstDash val="solid"/>
              <a:miter/>
            </a:ln>
          </p:spPr>
          <p:txBody>
            <a:bodyPr rtlCol="0" anchor="ctr"/>
            <a:lstStyle/>
            <a:p>
              <a:endParaRPr lang="en-US"/>
            </a:p>
          </p:txBody>
        </p:sp>
        <p:sp>
          <p:nvSpPr>
            <p:cNvPr id="1501" name="Freeform: Shape 1500">
              <a:extLst>
                <a:ext uri="{FF2B5EF4-FFF2-40B4-BE49-F238E27FC236}">
                  <a16:creationId xmlns:a16="http://schemas.microsoft.com/office/drawing/2014/main" id="{D4FE0FC9-816E-4E6D-B8A7-A714A070F51D}"/>
                </a:ext>
              </a:extLst>
            </p:cNvPr>
            <p:cNvSpPr/>
            <p:nvPr/>
          </p:nvSpPr>
          <p:spPr>
            <a:xfrm>
              <a:off x="11598269" y="3105893"/>
              <a:ext cx="73093" cy="78718"/>
            </a:xfrm>
            <a:custGeom>
              <a:avLst/>
              <a:gdLst>
                <a:gd name="connsiteX0" fmla="*/ 2249 w 73093"/>
                <a:gd name="connsiteY0" fmla="*/ 3499 h 78718"/>
                <a:gd name="connsiteX1" fmla="*/ 337 w 73093"/>
                <a:gd name="connsiteY1" fmla="*/ 3836 h 78718"/>
                <a:gd name="connsiteX2" fmla="*/ 0 w 73093"/>
                <a:gd name="connsiteY2" fmla="*/ 3499 h 78718"/>
                <a:gd name="connsiteX3" fmla="*/ 2374 w 73093"/>
                <a:gd name="connsiteY3" fmla="*/ 6123 h 78718"/>
                <a:gd name="connsiteX4" fmla="*/ 69845 w 73093"/>
                <a:gd name="connsiteY4" fmla="*/ 78719 h 78718"/>
                <a:gd name="connsiteX5" fmla="*/ 73093 w 73093"/>
                <a:gd name="connsiteY5" fmla="*/ 76969 h 78718"/>
                <a:gd name="connsiteX6" fmla="*/ 3998 w 73093"/>
                <a:gd name="connsiteY6" fmla="*/ 1999 h 78718"/>
                <a:gd name="connsiteX7" fmla="*/ 2124 w 73093"/>
                <a:gd name="connsiteY7" fmla="*/ 0 h 78718"/>
                <a:gd name="connsiteX8" fmla="*/ 2774 w 73093"/>
                <a:gd name="connsiteY8" fmla="*/ 2936 h 78718"/>
                <a:gd name="connsiteX9" fmla="*/ 2249 w 73093"/>
                <a:gd name="connsiteY9" fmla="*/ 3499 h 7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93" h="78718">
                  <a:moveTo>
                    <a:pt x="2249" y="3499"/>
                  </a:moveTo>
                  <a:cubicBezTo>
                    <a:pt x="1812" y="4123"/>
                    <a:pt x="949" y="4273"/>
                    <a:pt x="337" y="3836"/>
                  </a:cubicBezTo>
                  <a:cubicBezTo>
                    <a:pt x="200" y="3736"/>
                    <a:pt x="87" y="3624"/>
                    <a:pt x="0" y="3499"/>
                  </a:cubicBezTo>
                  <a:lnTo>
                    <a:pt x="2374" y="6123"/>
                  </a:lnTo>
                  <a:lnTo>
                    <a:pt x="69845" y="78719"/>
                  </a:lnTo>
                  <a:lnTo>
                    <a:pt x="73093" y="76969"/>
                  </a:lnTo>
                  <a:lnTo>
                    <a:pt x="3998" y="1999"/>
                  </a:lnTo>
                  <a:lnTo>
                    <a:pt x="2124" y="0"/>
                  </a:lnTo>
                  <a:cubicBezTo>
                    <a:pt x="3111" y="625"/>
                    <a:pt x="3411" y="1937"/>
                    <a:pt x="2774" y="2936"/>
                  </a:cubicBezTo>
                  <a:cubicBezTo>
                    <a:pt x="2636" y="3149"/>
                    <a:pt x="2461" y="3349"/>
                    <a:pt x="2249" y="3499"/>
                  </a:cubicBezTo>
                  <a:close/>
                </a:path>
              </a:pathLst>
            </a:custGeom>
            <a:solidFill>
              <a:srgbClr val="000000"/>
            </a:solidFill>
            <a:ln w="12483" cap="flat">
              <a:noFill/>
              <a:prstDash val="solid"/>
              <a:miter/>
            </a:ln>
          </p:spPr>
          <p:txBody>
            <a:bodyPr rtlCol="0" anchor="ctr"/>
            <a:lstStyle/>
            <a:p>
              <a:endParaRPr lang="en-US"/>
            </a:p>
          </p:txBody>
        </p:sp>
        <p:sp>
          <p:nvSpPr>
            <p:cNvPr id="1502" name="Freeform: Shape 1501">
              <a:extLst>
                <a:ext uri="{FF2B5EF4-FFF2-40B4-BE49-F238E27FC236}">
                  <a16:creationId xmlns:a16="http://schemas.microsoft.com/office/drawing/2014/main" id="{C47215B8-235E-4026-880D-A233B94A1306}"/>
                </a:ext>
              </a:extLst>
            </p:cNvPr>
            <p:cNvSpPr/>
            <p:nvPr/>
          </p:nvSpPr>
          <p:spPr>
            <a:xfrm>
              <a:off x="10946800" y="2404423"/>
              <a:ext cx="577625" cy="623501"/>
            </a:xfrm>
            <a:custGeom>
              <a:avLst/>
              <a:gdLst>
                <a:gd name="connsiteX0" fmla="*/ 0 w 577625"/>
                <a:gd name="connsiteY0" fmla="*/ 5123 h 623501"/>
                <a:gd name="connsiteX1" fmla="*/ 574752 w 577625"/>
                <a:gd name="connsiteY1" fmla="*/ 623502 h 623501"/>
                <a:gd name="connsiteX2" fmla="*/ 575377 w 577625"/>
                <a:gd name="connsiteY2" fmla="*/ 623502 h 623501"/>
                <a:gd name="connsiteX3" fmla="*/ 575377 w 577625"/>
                <a:gd name="connsiteY3" fmla="*/ 620753 h 623501"/>
                <a:gd name="connsiteX4" fmla="*/ 577288 w 577625"/>
                <a:gd name="connsiteY4" fmla="*/ 620415 h 623501"/>
                <a:gd name="connsiteX5" fmla="*/ 577626 w 577625"/>
                <a:gd name="connsiteY5" fmla="*/ 620753 h 623501"/>
                <a:gd name="connsiteX6" fmla="*/ 576876 w 577625"/>
                <a:gd name="connsiteY6" fmla="*/ 619878 h 623501"/>
                <a:gd name="connsiteX7" fmla="*/ 500 w 577625"/>
                <a:gd name="connsiteY7" fmla="*/ 0 h 623501"/>
                <a:gd name="connsiteX8" fmla="*/ 500 w 577625"/>
                <a:gd name="connsiteY8" fmla="*/ 0 h 62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25" h="623501">
                  <a:moveTo>
                    <a:pt x="0" y="5123"/>
                  </a:moveTo>
                  <a:lnTo>
                    <a:pt x="574752" y="623502"/>
                  </a:lnTo>
                  <a:lnTo>
                    <a:pt x="575377" y="623502"/>
                  </a:lnTo>
                  <a:cubicBezTo>
                    <a:pt x="574752" y="622689"/>
                    <a:pt x="574752" y="621565"/>
                    <a:pt x="575377" y="620753"/>
                  </a:cubicBezTo>
                  <a:cubicBezTo>
                    <a:pt x="575814" y="620128"/>
                    <a:pt x="576676" y="619978"/>
                    <a:pt x="577288" y="620415"/>
                  </a:cubicBezTo>
                  <a:cubicBezTo>
                    <a:pt x="577426" y="620515"/>
                    <a:pt x="577538" y="620628"/>
                    <a:pt x="577626" y="620753"/>
                  </a:cubicBezTo>
                  <a:lnTo>
                    <a:pt x="576876" y="619878"/>
                  </a:lnTo>
                  <a:lnTo>
                    <a:pt x="500" y="0"/>
                  </a:lnTo>
                  <a:lnTo>
                    <a:pt x="500" y="0"/>
                  </a:lnTo>
                  <a:close/>
                </a:path>
              </a:pathLst>
            </a:custGeom>
            <a:solidFill>
              <a:srgbClr val="000000"/>
            </a:solidFill>
            <a:ln w="12483" cap="flat">
              <a:noFill/>
              <a:prstDash val="solid"/>
              <a:miter/>
            </a:ln>
          </p:spPr>
          <p:txBody>
            <a:bodyPr rtlCol="0" anchor="ctr"/>
            <a:lstStyle/>
            <a:p>
              <a:endParaRPr lang="en-US"/>
            </a:p>
          </p:txBody>
        </p:sp>
        <p:sp>
          <p:nvSpPr>
            <p:cNvPr id="1503" name="Freeform: Shape 1502">
              <a:extLst>
                <a:ext uri="{FF2B5EF4-FFF2-40B4-BE49-F238E27FC236}">
                  <a16:creationId xmlns:a16="http://schemas.microsoft.com/office/drawing/2014/main" id="{78607558-3FCF-4F12-81C7-01AC59FF0C46}"/>
                </a:ext>
              </a:extLst>
            </p:cNvPr>
            <p:cNvSpPr/>
            <p:nvPr/>
          </p:nvSpPr>
          <p:spPr>
            <a:xfrm>
              <a:off x="12109673" y="2208376"/>
              <a:ext cx="95333" cy="120577"/>
            </a:xfrm>
            <a:custGeom>
              <a:avLst/>
              <a:gdLst>
                <a:gd name="connsiteX0" fmla="*/ 1624 w 95333"/>
                <a:gd name="connsiteY0" fmla="*/ 5873 h 120577"/>
                <a:gd name="connsiteX1" fmla="*/ 0 w 95333"/>
                <a:gd name="connsiteY1" fmla="*/ 25865 h 120577"/>
                <a:gd name="connsiteX2" fmla="*/ 95334 w 95333"/>
                <a:gd name="connsiteY2" fmla="*/ 120577 h 120577"/>
                <a:gd name="connsiteX3" fmla="*/ 95334 w 95333"/>
                <a:gd name="connsiteY3" fmla="*/ 92463 h 120577"/>
                <a:gd name="connsiteX4" fmla="*/ 2124 w 95333"/>
                <a:gd name="connsiteY4" fmla="*/ 0 h 120577"/>
                <a:gd name="connsiteX5" fmla="*/ 1624 w 95333"/>
                <a:gd name="connsiteY5" fmla="*/ 5873 h 12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333" h="120577">
                  <a:moveTo>
                    <a:pt x="1624" y="5873"/>
                  </a:moveTo>
                  <a:lnTo>
                    <a:pt x="0" y="25865"/>
                  </a:lnTo>
                  <a:lnTo>
                    <a:pt x="95334" y="120577"/>
                  </a:lnTo>
                  <a:lnTo>
                    <a:pt x="95334" y="92463"/>
                  </a:lnTo>
                  <a:lnTo>
                    <a:pt x="2124" y="0"/>
                  </a:lnTo>
                  <a:lnTo>
                    <a:pt x="1624" y="5873"/>
                  </a:lnTo>
                  <a:close/>
                </a:path>
              </a:pathLst>
            </a:custGeom>
            <a:solidFill>
              <a:srgbClr val="000000"/>
            </a:solidFill>
            <a:ln w="12483" cap="flat">
              <a:noFill/>
              <a:prstDash val="solid"/>
              <a:miter/>
            </a:ln>
          </p:spPr>
          <p:txBody>
            <a:bodyPr rtlCol="0" anchor="ctr"/>
            <a:lstStyle/>
            <a:p>
              <a:endParaRPr lang="en-US"/>
            </a:p>
          </p:txBody>
        </p:sp>
        <p:sp>
          <p:nvSpPr>
            <p:cNvPr id="1504" name="Freeform: Shape 1503">
              <a:extLst>
                <a:ext uri="{FF2B5EF4-FFF2-40B4-BE49-F238E27FC236}">
                  <a16:creationId xmlns:a16="http://schemas.microsoft.com/office/drawing/2014/main" id="{56CCBE89-83BC-4563-83FC-96D0B4E70549}"/>
                </a:ext>
              </a:extLst>
            </p:cNvPr>
            <p:cNvSpPr/>
            <p:nvPr/>
          </p:nvSpPr>
          <p:spPr>
            <a:xfrm>
              <a:off x="11521708" y="3025482"/>
              <a:ext cx="78066" cy="84623"/>
            </a:xfrm>
            <a:custGeom>
              <a:avLst/>
              <a:gdLst>
                <a:gd name="connsiteX0" fmla="*/ 469 w 78066"/>
                <a:gd name="connsiteY0" fmla="*/ 319 h 84623"/>
                <a:gd name="connsiteX1" fmla="*/ 469 w 78066"/>
                <a:gd name="connsiteY1" fmla="*/ 3067 h 84623"/>
                <a:gd name="connsiteX2" fmla="*/ 2843 w 78066"/>
                <a:gd name="connsiteY2" fmla="*/ 5567 h 84623"/>
                <a:gd name="connsiteX3" fmla="*/ 75311 w 78066"/>
                <a:gd name="connsiteY3" fmla="*/ 83411 h 84623"/>
                <a:gd name="connsiteX4" fmla="*/ 75311 w 78066"/>
                <a:gd name="connsiteY4" fmla="*/ 84035 h 84623"/>
                <a:gd name="connsiteX5" fmla="*/ 77223 w 78066"/>
                <a:gd name="connsiteY5" fmla="*/ 84373 h 84623"/>
                <a:gd name="connsiteX6" fmla="*/ 77560 w 78066"/>
                <a:gd name="connsiteY6" fmla="*/ 84035 h 84623"/>
                <a:gd name="connsiteX7" fmla="*/ 77560 w 78066"/>
                <a:gd name="connsiteY7" fmla="*/ 81286 h 84623"/>
                <a:gd name="connsiteX8" fmla="*/ 76811 w 78066"/>
                <a:gd name="connsiteY8" fmla="*/ 80537 h 84623"/>
                <a:gd name="connsiteX9" fmla="*/ 4092 w 78066"/>
                <a:gd name="connsiteY9" fmla="*/ 2318 h 84623"/>
                <a:gd name="connsiteX10" fmla="*/ 2218 w 78066"/>
                <a:gd name="connsiteY10" fmla="*/ 319 h 84623"/>
                <a:gd name="connsiteX11" fmla="*/ 469 w 78066"/>
                <a:gd name="connsiteY11" fmla="*/ 319 h 8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066" h="84623">
                  <a:moveTo>
                    <a:pt x="469" y="319"/>
                  </a:moveTo>
                  <a:cubicBezTo>
                    <a:pt x="-156" y="1131"/>
                    <a:pt x="-156" y="2255"/>
                    <a:pt x="469" y="3067"/>
                  </a:cubicBezTo>
                  <a:lnTo>
                    <a:pt x="2843" y="5567"/>
                  </a:lnTo>
                  <a:lnTo>
                    <a:pt x="75311" y="83411"/>
                  </a:lnTo>
                  <a:lnTo>
                    <a:pt x="75311" y="84035"/>
                  </a:lnTo>
                  <a:cubicBezTo>
                    <a:pt x="75749" y="84660"/>
                    <a:pt x="76611" y="84810"/>
                    <a:pt x="77223" y="84373"/>
                  </a:cubicBezTo>
                  <a:cubicBezTo>
                    <a:pt x="77360" y="84273"/>
                    <a:pt x="77473" y="84160"/>
                    <a:pt x="77560" y="84035"/>
                  </a:cubicBezTo>
                  <a:cubicBezTo>
                    <a:pt x="78235" y="83248"/>
                    <a:pt x="78235" y="82074"/>
                    <a:pt x="77560" y="81286"/>
                  </a:cubicBezTo>
                  <a:lnTo>
                    <a:pt x="76811" y="80537"/>
                  </a:lnTo>
                  <a:lnTo>
                    <a:pt x="4092" y="2318"/>
                  </a:lnTo>
                  <a:lnTo>
                    <a:pt x="2218" y="319"/>
                  </a:lnTo>
                  <a:cubicBezTo>
                    <a:pt x="1706" y="-106"/>
                    <a:pt x="981" y="-106"/>
                    <a:pt x="469" y="319"/>
                  </a:cubicBezTo>
                  <a:close/>
                </a:path>
              </a:pathLst>
            </a:custGeom>
            <a:solidFill>
              <a:srgbClr val="000000"/>
            </a:solidFill>
            <a:ln w="12483" cap="flat">
              <a:noFill/>
              <a:prstDash val="solid"/>
              <a:miter/>
            </a:ln>
          </p:spPr>
          <p:txBody>
            <a:bodyPr rtlCol="0" anchor="ctr"/>
            <a:lstStyle/>
            <a:p>
              <a:endParaRPr lang="en-US"/>
            </a:p>
          </p:txBody>
        </p:sp>
        <p:sp>
          <p:nvSpPr>
            <p:cNvPr id="1505" name="Freeform: Shape 1504">
              <a:extLst>
                <a:ext uri="{FF2B5EF4-FFF2-40B4-BE49-F238E27FC236}">
                  <a16:creationId xmlns:a16="http://schemas.microsoft.com/office/drawing/2014/main" id="{F8390982-A4FB-4016-8C63-252F336989FE}"/>
                </a:ext>
              </a:extLst>
            </p:cNvPr>
            <p:cNvSpPr/>
            <p:nvPr/>
          </p:nvSpPr>
          <p:spPr>
            <a:xfrm>
              <a:off x="8604312" y="6606246"/>
              <a:ext cx="439508" cy="264271"/>
            </a:xfrm>
            <a:custGeom>
              <a:avLst/>
              <a:gdLst>
                <a:gd name="connsiteX0" fmla="*/ 439435 w 439508"/>
                <a:gd name="connsiteY0" fmla="*/ 1002 h 264271"/>
                <a:gd name="connsiteX1" fmla="*/ 437311 w 439508"/>
                <a:gd name="connsiteY1" fmla="*/ 127 h 264271"/>
                <a:gd name="connsiteX2" fmla="*/ 437311 w 439508"/>
                <a:gd name="connsiteY2" fmla="*/ 127 h 264271"/>
                <a:gd name="connsiteX3" fmla="*/ 0 w 439508"/>
                <a:gd name="connsiteY3" fmla="*/ 260273 h 264271"/>
                <a:gd name="connsiteX4" fmla="*/ 0 w 439508"/>
                <a:gd name="connsiteY4" fmla="*/ 264272 h 264271"/>
                <a:gd name="connsiteX5" fmla="*/ 437936 w 439508"/>
                <a:gd name="connsiteY5" fmla="*/ 3376 h 264271"/>
                <a:gd name="connsiteX6" fmla="*/ 437936 w 439508"/>
                <a:gd name="connsiteY6" fmla="*/ 3376 h 264271"/>
                <a:gd name="connsiteX7" fmla="*/ 439485 w 439508"/>
                <a:gd name="connsiteY7" fmla="*/ 1226 h 264271"/>
                <a:gd name="connsiteX8" fmla="*/ 439435 w 439508"/>
                <a:gd name="connsiteY8" fmla="*/ 1002 h 26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508" h="264271">
                  <a:moveTo>
                    <a:pt x="439435" y="1002"/>
                  </a:moveTo>
                  <a:cubicBezTo>
                    <a:pt x="439085" y="177"/>
                    <a:pt x="438136" y="-223"/>
                    <a:pt x="437311" y="127"/>
                  </a:cubicBezTo>
                  <a:lnTo>
                    <a:pt x="437311" y="127"/>
                  </a:lnTo>
                  <a:lnTo>
                    <a:pt x="0" y="260273"/>
                  </a:lnTo>
                  <a:lnTo>
                    <a:pt x="0" y="264272"/>
                  </a:lnTo>
                  <a:lnTo>
                    <a:pt x="437936" y="3376"/>
                  </a:lnTo>
                  <a:lnTo>
                    <a:pt x="437936" y="3376"/>
                  </a:lnTo>
                  <a:cubicBezTo>
                    <a:pt x="438960" y="3213"/>
                    <a:pt x="439647" y="2251"/>
                    <a:pt x="439485" y="1226"/>
                  </a:cubicBezTo>
                  <a:cubicBezTo>
                    <a:pt x="439472" y="1152"/>
                    <a:pt x="439460" y="1076"/>
                    <a:pt x="439435" y="1002"/>
                  </a:cubicBezTo>
                  <a:close/>
                </a:path>
              </a:pathLst>
            </a:custGeom>
            <a:solidFill>
              <a:srgbClr val="000000"/>
            </a:solidFill>
            <a:ln w="12483" cap="flat">
              <a:noFill/>
              <a:prstDash val="solid"/>
              <a:miter/>
            </a:ln>
          </p:spPr>
          <p:txBody>
            <a:bodyPr rtlCol="0" anchor="ctr"/>
            <a:lstStyle/>
            <a:p>
              <a:endParaRPr lang="en-US"/>
            </a:p>
          </p:txBody>
        </p:sp>
        <p:sp>
          <p:nvSpPr>
            <p:cNvPr id="1506" name="Freeform: Shape 1505">
              <a:extLst>
                <a:ext uri="{FF2B5EF4-FFF2-40B4-BE49-F238E27FC236}">
                  <a16:creationId xmlns:a16="http://schemas.microsoft.com/office/drawing/2014/main" id="{B67A06F9-B844-4D7B-B78F-AA56B58869D2}"/>
                </a:ext>
              </a:extLst>
            </p:cNvPr>
            <p:cNvSpPr/>
            <p:nvPr/>
          </p:nvSpPr>
          <p:spPr>
            <a:xfrm>
              <a:off x="9546031" y="5476073"/>
              <a:ext cx="1394272" cy="832917"/>
            </a:xfrm>
            <a:custGeom>
              <a:avLst/>
              <a:gdLst>
                <a:gd name="connsiteX0" fmla="*/ 1393023 w 1394272"/>
                <a:gd name="connsiteY0" fmla="*/ 0 h 832917"/>
                <a:gd name="connsiteX1" fmla="*/ 1391899 w 1394272"/>
                <a:gd name="connsiteY1" fmla="*/ 625 h 832917"/>
                <a:gd name="connsiteX2" fmla="*/ 0 w 1394272"/>
                <a:gd name="connsiteY2" fmla="*/ 829919 h 832917"/>
                <a:gd name="connsiteX3" fmla="*/ 1999 w 1394272"/>
                <a:gd name="connsiteY3" fmla="*/ 832918 h 832917"/>
                <a:gd name="connsiteX4" fmla="*/ 1394273 w 1394272"/>
                <a:gd name="connsiteY4" fmla="*/ 4123 h 832917"/>
                <a:gd name="connsiteX5" fmla="*/ 1393398 w 1394272"/>
                <a:gd name="connsiteY5" fmla="*/ 3124 h 832917"/>
                <a:gd name="connsiteX6" fmla="*/ 1393398 w 1394272"/>
                <a:gd name="connsiteY6" fmla="*/ 3124 h 832917"/>
                <a:gd name="connsiteX7" fmla="*/ 1393398 w 1394272"/>
                <a:gd name="connsiteY7" fmla="*/ 2499 h 832917"/>
                <a:gd name="connsiteX8" fmla="*/ 1393398 w 1394272"/>
                <a:gd name="connsiteY8" fmla="*/ 1749 h 832917"/>
                <a:gd name="connsiteX9" fmla="*/ 1393398 w 1394272"/>
                <a:gd name="connsiteY9" fmla="*/ 1749 h 83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4272" h="832917">
                  <a:moveTo>
                    <a:pt x="1393023" y="0"/>
                  </a:moveTo>
                  <a:lnTo>
                    <a:pt x="1391899" y="625"/>
                  </a:lnTo>
                  <a:lnTo>
                    <a:pt x="0" y="829919"/>
                  </a:lnTo>
                  <a:lnTo>
                    <a:pt x="1999" y="832918"/>
                  </a:lnTo>
                  <a:lnTo>
                    <a:pt x="1394273" y="4123"/>
                  </a:lnTo>
                  <a:lnTo>
                    <a:pt x="1393398" y="3124"/>
                  </a:lnTo>
                  <a:lnTo>
                    <a:pt x="1393398" y="3124"/>
                  </a:lnTo>
                  <a:cubicBezTo>
                    <a:pt x="1393398" y="3124"/>
                    <a:pt x="1393398" y="3124"/>
                    <a:pt x="1393398" y="2499"/>
                  </a:cubicBezTo>
                  <a:cubicBezTo>
                    <a:pt x="1393348" y="2249"/>
                    <a:pt x="1393348" y="1999"/>
                    <a:pt x="1393398" y="1749"/>
                  </a:cubicBezTo>
                  <a:lnTo>
                    <a:pt x="1393398" y="1749"/>
                  </a:lnTo>
                  <a:close/>
                </a:path>
              </a:pathLst>
            </a:custGeom>
            <a:solidFill>
              <a:srgbClr val="000000"/>
            </a:solidFill>
            <a:ln w="12483" cap="flat">
              <a:noFill/>
              <a:prstDash val="solid"/>
              <a:miter/>
            </a:ln>
          </p:spPr>
          <p:txBody>
            <a:bodyPr rtlCol="0" anchor="ctr"/>
            <a:lstStyle/>
            <a:p>
              <a:endParaRPr lang="en-US"/>
            </a:p>
          </p:txBody>
        </p:sp>
        <p:sp>
          <p:nvSpPr>
            <p:cNvPr id="1507" name="Freeform: Shape 1506">
              <a:extLst>
                <a:ext uri="{FF2B5EF4-FFF2-40B4-BE49-F238E27FC236}">
                  <a16:creationId xmlns:a16="http://schemas.microsoft.com/office/drawing/2014/main" id="{85C75C65-826E-4607-84C4-7531E5C945FF}"/>
                </a:ext>
              </a:extLst>
            </p:cNvPr>
            <p:cNvSpPr/>
            <p:nvPr/>
          </p:nvSpPr>
          <p:spPr>
            <a:xfrm>
              <a:off x="10940921" y="4734619"/>
              <a:ext cx="29993" cy="742454"/>
            </a:xfrm>
            <a:custGeom>
              <a:avLst/>
              <a:gdLst>
                <a:gd name="connsiteX0" fmla="*/ 29993 w 29993"/>
                <a:gd name="connsiteY0" fmla="*/ 1125 h 742454"/>
                <a:gd name="connsiteX1" fmla="*/ 29993 w 29993"/>
                <a:gd name="connsiteY1" fmla="*/ 0 h 742454"/>
                <a:gd name="connsiteX2" fmla="*/ 29993 w 29993"/>
                <a:gd name="connsiteY2" fmla="*/ 750 h 742454"/>
                <a:gd name="connsiteX3" fmla="*/ 29993 w 29993"/>
                <a:gd name="connsiteY3" fmla="*/ 750 h 742454"/>
                <a:gd name="connsiteX4" fmla="*/ 29993 w 29993"/>
                <a:gd name="connsiteY4" fmla="*/ 750 h 742454"/>
                <a:gd name="connsiteX5" fmla="*/ 29369 w 29993"/>
                <a:gd name="connsiteY5" fmla="*/ 750 h 742454"/>
                <a:gd name="connsiteX6" fmla="*/ 29369 w 29993"/>
                <a:gd name="connsiteY6" fmla="*/ 750 h 742454"/>
                <a:gd name="connsiteX7" fmla="*/ 29369 w 29993"/>
                <a:gd name="connsiteY7" fmla="*/ 750 h 742454"/>
                <a:gd name="connsiteX8" fmla="*/ 28744 w 29993"/>
                <a:gd name="connsiteY8" fmla="*/ 750 h 742454"/>
                <a:gd name="connsiteX9" fmla="*/ 28744 w 29993"/>
                <a:gd name="connsiteY9" fmla="*/ 750 h 742454"/>
                <a:gd name="connsiteX10" fmla="*/ 28744 w 29993"/>
                <a:gd name="connsiteY10" fmla="*/ 750 h 742454"/>
                <a:gd name="connsiteX11" fmla="*/ 131 w 29993"/>
                <a:gd name="connsiteY11" fmla="*/ 737956 h 742454"/>
                <a:gd name="connsiteX12" fmla="*/ 131 w 29993"/>
                <a:gd name="connsiteY12" fmla="*/ 742454 h 742454"/>
                <a:gd name="connsiteX13" fmla="*/ 131 w 29993"/>
                <a:gd name="connsiteY13" fmla="*/ 742454 h 742454"/>
                <a:gd name="connsiteX14" fmla="*/ 131 w 29993"/>
                <a:gd name="connsiteY14" fmla="*/ 741080 h 742454"/>
                <a:gd name="connsiteX15" fmla="*/ 2243 w 29993"/>
                <a:gd name="connsiteY15" fmla="*/ 740942 h 742454"/>
                <a:gd name="connsiteX16" fmla="*/ 2380 w 29993"/>
                <a:gd name="connsiteY16" fmla="*/ 741080 h 742454"/>
                <a:gd name="connsiteX17" fmla="*/ 2380 w 29993"/>
                <a:gd name="connsiteY17" fmla="*/ 741080 h 742454"/>
                <a:gd name="connsiteX18" fmla="*/ 2380 w 29993"/>
                <a:gd name="connsiteY18" fmla="*/ 738581 h 74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993" h="742454">
                  <a:moveTo>
                    <a:pt x="29993" y="1125"/>
                  </a:moveTo>
                  <a:lnTo>
                    <a:pt x="29993" y="0"/>
                  </a:lnTo>
                  <a:cubicBezTo>
                    <a:pt x="29993" y="0"/>
                    <a:pt x="29993" y="0"/>
                    <a:pt x="29993" y="750"/>
                  </a:cubicBezTo>
                  <a:cubicBezTo>
                    <a:pt x="29993" y="1500"/>
                    <a:pt x="29993" y="750"/>
                    <a:pt x="29993" y="750"/>
                  </a:cubicBezTo>
                  <a:lnTo>
                    <a:pt x="29993" y="750"/>
                  </a:lnTo>
                  <a:lnTo>
                    <a:pt x="29369" y="750"/>
                  </a:lnTo>
                  <a:lnTo>
                    <a:pt x="29369" y="750"/>
                  </a:lnTo>
                  <a:lnTo>
                    <a:pt x="29369" y="750"/>
                  </a:lnTo>
                  <a:lnTo>
                    <a:pt x="28744" y="750"/>
                  </a:lnTo>
                  <a:lnTo>
                    <a:pt x="28744" y="750"/>
                  </a:lnTo>
                  <a:lnTo>
                    <a:pt x="28744" y="750"/>
                  </a:lnTo>
                  <a:lnTo>
                    <a:pt x="131" y="737956"/>
                  </a:lnTo>
                  <a:lnTo>
                    <a:pt x="131" y="742454"/>
                  </a:lnTo>
                  <a:lnTo>
                    <a:pt x="131" y="742454"/>
                  </a:lnTo>
                  <a:cubicBezTo>
                    <a:pt x="-44" y="742017"/>
                    <a:pt x="-44" y="741517"/>
                    <a:pt x="131" y="741080"/>
                  </a:cubicBezTo>
                  <a:cubicBezTo>
                    <a:pt x="681" y="740455"/>
                    <a:pt x="1631" y="740405"/>
                    <a:pt x="2243" y="740942"/>
                  </a:cubicBezTo>
                  <a:cubicBezTo>
                    <a:pt x="2293" y="740992"/>
                    <a:pt x="2343" y="741030"/>
                    <a:pt x="2380" y="741080"/>
                  </a:cubicBezTo>
                  <a:lnTo>
                    <a:pt x="2380" y="741080"/>
                  </a:lnTo>
                  <a:lnTo>
                    <a:pt x="2380" y="738581"/>
                  </a:lnTo>
                  <a:close/>
                </a:path>
              </a:pathLst>
            </a:custGeom>
            <a:solidFill>
              <a:srgbClr val="000000"/>
            </a:solidFill>
            <a:ln w="12483" cap="flat">
              <a:noFill/>
              <a:prstDash val="solid"/>
              <a:miter/>
            </a:ln>
          </p:spPr>
          <p:txBody>
            <a:bodyPr rtlCol="0" anchor="ctr"/>
            <a:lstStyle/>
            <a:p>
              <a:endParaRPr lang="en-US"/>
            </a:p>
          </p:txBody>
        </p:sp>
        <p:sp>
          <p:nvSpPr>
            <p:cNvPr id="1508" name="Freeform: Shape 1507">
              <a:extLst>
                <a:ext uri="{FF2B5EF4-FFF2-40B4-BE49-F238E27FC236}">
                  <a16:creationId xmlns:a16="http://schemas.microsoft.com/office/drawing/2014/main" id="{DA8267FA-7091-4905-9F08-5959174574E9}"/>
                </a:ext>
              </a:extLst>
            </p:cNvPr>
            <p:cNvSpPr/>
            <p:nvPr/>
          </p:nvSpPr>
          <p:spPr>
            <a:xfrm>
              <a:off x="11388606" y="4361018"/>
              <a:ext cx="25617" cy="127949"/>
            </a:xfrm>
            <a:custGeom>
              <a:avLst/>
              <a:gdLst>
                <a:gd name="connsiteX0" fmla="*/ 10499 w 25617"/>
                <a:gd name="connsiteY0" fmla="*/ 7122 h 127949"/>
                <a:gd name="connsiteX1" fmla="*/ 9249 w 25617"/>
                <a:gd name="connsiteY1" fmla="*/ 5623 h 127949"/>
                <a:gd name="connsiteX2" fmla="*/ 7250 w 25617"/>
                <a:gd name="connsiteY2" fmla="*/ 6747 h 127949"/>
                <a:gd name="connsiteX3" fmla="*/ 3 w 25617"/>
                <a:gd name="connsiteY3" fmla="*/ 126325 h 127949"/>
                <a:gd name="connsiteX4" fmla="*/ 9499 w 25617"/>
                <a:gd name="connsiteY4" fmla="*/ 116329 h 127949"/>
                <a:gd name="connsiteX5" fmla="*/ 9624 w 25617"/>
                <a:gd name="connsiteY5" fmla="*/ 116329 h 127949"/>
                <a:gd name="connsiteX6" fmla="*/ 17996 w 25617"/>
                <a:gd name="connsiteY6" fmla="*/ 127949 h 127949"/>
                <a:gd name="connsiteX7" fmla="*/ 25617 w 25617"/>
                <a:gd name="connsiteY7" fmla="*/ 0 h 127949"/>
                <a:gd name="connsiteX8" fmla="*/ 25617 w 25617"/>
                <a:gd name="connsiteY8" fmla="*/ 0 h 127949"/>
                <a:gd name="connsiteX9" fmla="*/ 23118 w 25617"/>
                <a:gd name="connsiteY9" fmla="*/ 7247 h 127949"/>
                <a:gd name="connsiteX10" fmla="*/ 12085 w 25617"/>
                <a:gd name="connsiteY10" fmla="*/ 8747 h 127949"/>
                <a:gd name="connsiteX11" fmla="*/ 10499 w 25617"/>
                <a:gd name="connsiteY11" fmla="*/ 7122 h 12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17" h="127949">
                  <a:moveTo>
                    <a:pt x="10499" y="7122"/>
                  </a:moveTo>
                  <a:lnTo>
                    <a:pt x="9249" y="5623"/>
                  </a:lnTo>
                  <a:lnTo>
                    <a:pt x="7250" y="6747"/>
                  </a:lnTo>
                  <a:lnTo>
                    <a:pt x="3" y="126325"/>
                  </a:lnTo>
                  <a:cubicBezTo>
                    <a:pt x="-134" y="120939"/>
                    <a:pt x="4114" y="116466"/>
                    <a:pt x="9499" y="116329"/>
                  </a:cubicBezTo>
                  <a:cubicBezTo>
                    <a:pt x="9537" y="116329"/>
                    <a:pt x="9587" y="116329"/>
                    <a:pt x="9624" y="116329"/>
                  </a:cubicBezTo>
                  <a:cubicBezTo>
                    <a:pt x="15072" y="117341"/>
                    <a:pt x="18757" y="122464"/>
                    <a:pt x="17996" y="127949"/>
                  </a:cubicBezTo>
                  <a:lnTo>
                    <a:pt x="25617" y="0"/>
                  </a:lnTo>
                  <a:lnTo>
                    <a:pt x="25617" y="0"/>
                  </a:lnTo>
                  <a:cubicBezTo>
                    <a:pt x="25567" y="2612"/>
                    <a:pt x="24692" y="5148"/>
                    <a:pt x="23118" y="7247"/>
                  </a:cubicBezTo>
                  <a:cubicBezTo>
                    <a:pt x="20482" y="10708"/>
                    <a:pt x="15546" y="11371"/>
                    <a:pt x="12085" y="8747"/>
                  </a:cubicBezTo>
                  <a:cubicBezTo>
                    <a:pt x="11486" y="8284"/>
                    <a:pt x="10948" y="7735"/>
                    <a:pt x="10499" y="7122"/>
                  </a:cubicBezTo>
                  <a:close/>
                </a:path>
              </a:pathLst>
            </a:custGeom>
            <a:solidFill>
              <a:srgbClr val="000000"/>
            </a:solidFill>
            <a:ln w="12483" cap="flat">
              <a:noFill/>
              <a:prstDash val="solid"/>
              <a:miter/>
            </a:ln>
          </p:spPr>
          <p:txBody>
            <a:bodyPr rtlCol="0" anchor="ctr"/>
            <a:lstStyle/>
            <a:p>
              <a:endParaRPr lang="en-US"/>
            </a:p>
          </p:txBody>
        </p:sp>
        <p:sp>
          <p:nvSpPr>
            <p:cNvPr id="1509" name="Freeform: Shape 1508">
              <a:extLst>
                <a:ext uri="{FF2B5EF4-FFF2-40B4-BE49-F238E27FC236}">
                  <a16:creationId xmlns:a16="http://schemas.microsoft.com/office/drawing/2014/main" id="{504FFA4A-F6BD-44AC-A6C3-91CD0FD0C7CF}"/>
                </a:ext>
              </a:extLst>
            </p:cNvPr>
            <p:cNvSpPr/>
            <p:nvPr/>
          </p:nvSpPr>
          <p:spPr>
            <a:xfrm>
              <a:off x="10831275" y="4196084"/>
              <a:ext cx="443133" cy="260006"/>
            </a:xfrm>
            <a:custGeom>
              <a:avLst/>
              <a:gdLst>
                <a:gd name="connsiteX0" fmla="*/ 429764 w 443133"/>
                <a:gd name="connsiteY0" fmla="*/ 6372 h 260006"/>
                <a:gd name="connsiteX1" fmla="*/ 429764 w 443133"/>
                <a:gd name="connsiteY1" fmla="*/ 0 h 260006"/>
                <a:gd name="connsiteX2" fmla="*/ 4948 w 443133"/>
                <a:gd name="connsiteY2" fmla="*/ 239154 h 260006"/>
                <a:gd name="connsiteX3" fmla="*/ 3948 w 443133"/>
                <a:gd name="connsiteY3" fmla="*/ 240029 h 260006"/>
                <a:gd name="connsiteX4" fmla="*/ 2324 w 443133"/>
                <a:gd name="connsiteY4" fmla="*/ 241403 h 260006"/>
                <a:gd name="connsiteX5" fmla="*/ 1325 w 443133"/>
                <a:gd name="connsiteY5" fmla="*/ 243153 h 260006"/>
                <a:gd name="connsiteX6" fmla="*/ 450 w 443133"/>
                <a:gd name="connsiteY6" fmla="*/ 244902 h 260006"/>
                <a:gd name="connsiteX7" fmla="*/ 450 w 443133"/>
                <a:gd name="connsiteY7" fmla="*/ 247026 h 260006"/>
                <a:gd name="connsiteX8" fmla="*/ 450 w 443133"/>
                <a:gd name="connsiteY8" fmla="*/ 253649 h 260006"/>
                <a:gd name="connsiteX9" fmla="*/ 10596 w 443133"/>
                <a:gd name="connsiteY9" fmla="*/ 259759 h 260006"/>
                <a:gd name="connsiteX10" fmla="*/ 12944 w 443133"/>
                <a:gd name="connsiteY10" fmla="*/ 258772 h 260006"/>
                <a:gd name="connsiteX11" fmla="*/ 14319 w 443133"/>
                <a:gd name="connsiteY11" fmla="*/ 258022 h 260006"/>
                <a:gd name="connsiteX12" fmla="*/ 17318 w 443133"/>
                <a:gd name="connsiteY12" fmla="*/ 256273 h 260006"/>
                <a:gd name="connsiteX13" fmla="*/ 17318 w 443133"/>
                <a:gd name="connsiteY13" fmla="*/ 256273 h 260006"/>
                <a:gd name="connsiteX14" fmla="*/ 442134 w 443133"/>
                <a:gd name="connsiteY14" fmla="*/ 17118 h 260006"/>
                <a:gd name="connsiteX15" fmla="*/ 443133 w 443133"/>
                <a:gd name="connsiteY15" fmla="*/ 16243 h 260006"/>
                <a:gd name="connsiteX16" fmla="*/ 437761 w 443133"/>
                <a:gd name="connsiteY16" fmla="*/ 18118 h 260006"/>
                <a:gd name="connsiteX17" fmla="*/ 429764 w 443133"/>
                <a:gd name="connsiteY17" fmla="*/ 6372 h 26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133" h="260006">
                  <a:moveTo>
                    <a:pt x="429764" y="6372"/>
                  </a:moveTo>
                  <a:lnTo>
                    <a:pt x="429764" y="0"/>
                  </a:lnTo>
                  <a:lnTo>
                    <a:pt x="4948" y="239154"/>
                  </a:lnTo>
                  <a:lnTo>
                    <a:pt x="3948" y="240029"/>
                  </a:lnTo>
                  <a:lnTo>
                    <a:pt x="2324" y="241403"/>
                  </a:lnTo>
                  <a:cubicBezTo>
                    <a:pt x="2324" y="241403"/>
                    <a:pt x="1699" y="242528"/>
                    <a:pt x="1325" y="243153"/>
                  </a:cubicBezTo>
                  <a:cubicBezTo>
                    <a:pt x="950" y="243778"/>
                    <a:pt x="700" y="244277"/>
                    <a:pt x="450" y="244902"/>
                  </a:cubicBezTo>
                  <a:cubicBezTo>
                    <a:pt x="375" y="245614"/>
                    <a:pt x="375" y="246314"/>
                    <a:pt x="450" y="247026"/>
                  </a:cubicBezTo>
                  <a:cubicBezTo>
                    <a:pt x="-150" y="249188"/>
                    <a:pt x="-150" y="251487"/>
                    <a:pt x="450" y="253649"/>
                  </a:cubicBezTo>
                  <a:cubicBezTo>
                    <a:pt x="1562" y="258135"/>
                    <a:pt x="6110" y="260871"/>
                    <a:pt x="10596" y="259759"/>
                  </a:cubicBezTo>
                  <a:cubicBezTo>
                    <a:pt x="11420" y="259547"/>
                    <a:pt x="12220" y="259222"/>
                    <a:pt x="12944" y="258772"/>
                  </a:cubicBezTo>
                  <a:lnTo>
                    <a:pt x="14319" y="258022"/>
                  </a:lnTo>
                  <a:lnTo>
                    <a:pt x="17318" y="256273"/>
                  </a:lnTo>
                  <a:lnTo>
                    <a:pt x="17318" y="256273"/>
                  </a:lnTo>
                  <a:lnTo>
                    <a:pt x="442134" y="17118"/>
                  </a:lnTo>
                  <a:lnTo>
                    <a:pt x="443133" y="16243"/>
                  </a:lnTo>
                  <a:cubicBezTo>
                    <a:pt x="441634" y="17518"/>
                    <a:pt x="439723" y="18180"/>
                    <a:pt x="437761" y="18118"/>
                  </a:cubicBezTo>
                  <a:cubicBezTo>
                    <a:pt x="432376" y="16993"/>
                    <a:pt x="428840" y="11795"/>
                    <a:pt x="429764" y="6372"/>
                  </a:cubicBezTo>
                  <a:close/>
                </a:path>
              </a:pathLst>
            </a:custGeom>
            <a:solidFill>
              <a:srgbClr val="000000"/>
            </a:solidFill>
            <a:ln w="12483" cap="flat">
              <a:noFill/>
              <a:prstDash val="solid"/>
              <a:miter/>
            </a:ln>
          </p:spPr>
          <p:txBody>
            <a:bodyPr rtlCol="0" anchor="ctr"/>
            <a:lstStyle/>
            <a:p>
              <a:endParaRPr lang="en-US"/>
            </a:p>
          </p:txBody>
        </p:sp>
        <p:sp>
          <p:nvSpPr>
            <p:cNvPr id="1510" name="Freeform: Shape 1509">
              <a:extLst>
                <a:ext uri="{FF2B5EF4-FFF2-40B4-BE49-F238E27FC236}">
                  <a16:creationId xmlns:a16="http://schemas.microsoft.com/office/drawing/2014/main" id="{A07BD2F5-BF4C-4F90-AE86-55DFE96FBE75}"/>
                </a:ext>
              </a:extLst>
            </p:cNvPr>
            <p:cNvSpPr/>
            <p:nvPr/>
          </p:nvSpPr>
          <p:spPr>
            <a:xfrm>
              <a:off x="10974663" y="4364141"/>
              <a:ext cx="423192" cy="243403"/>
            </a:xfrm>
            <a:custGeom>
              <a:avLst/>
              <a:gdLst>
                <a:gd name="connsiteX0" fmla="*/ 1124 w 423192"/>
                <a:gd name="connsiteY0" fmla="*/ 241404 h 243403"/>
                <a:gd name="connsiteX1" fmla="*/ 1124 w 423192"/>
                <a:gd name="connsiteY1" fmla="*/ 241404 h 243403"/>
                <a:gd name="connsiteX2" fmla="*/ 1124 w 423192"/>
                <a:gd name="connsiteY2" fmla="*/ 242279 h 243403"/>
                <a:gd name="connsiteX3" fmla="*/ 1124 w 423192"/>
                <a:gd name="connsiteY3" fmla="*/ 242279 h 243403"/>
                <a:gd name="connsiteX4" fmla="*/ 1124 w 423192"/>
                <a:gd name="connsiteY4" fmla="*/ 243403 h 243403"/>
                <a:gd name="connsiteX5" fmla="*/ 421193 w 423192"/>
                <a:gd name="connsiteY5" fmla="*/ 3998 h 243403"/>
                <a:gd name="connsiteX6" fmla="*/ 423192 w 423192"/>
                <a:gd name="connsiteY6" fmla="*/ 2874 h 243403"/>
                <a:gd name="connsiteX7" fmla="*/ 421443 w 423192"/>
                <a:gd name="connsiteY7" fmla="*/ 875 h 243403"/>
                <a:gd name="connsiteX8" fmla="*/ 420693 w 423192"/>
                <a:gd name="connsiteY8" fmla="*/ 0 h 243403"/>
                <a:gd name="connsiteX9" fmla="*/ 0 w 423192"/>
                <a:gd name="connsiteY9" fmla="*/ 240154 h 24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192" h="243403">
                  <a:moveTo>
                    <a:pt x="1124" y="241404"/>
                  </a:moveTo>
                  <a:lnTo>
                    <a:pt x="1124" y="241404"/>
                  </a:lnTo>
                  <a:cubicBezTo>
                    <a:pt x="1162" y="241691"/>
                    <a:pt x="1162" y="241991"/>
                    <a:pt x="1124" y="242279"/>
                  </a:cubicBezTo>
                  <a:lnTo>
                    <a:pt x="1124" y="242279"/>
                  </a:lnTo>
                  <a:lnTo>
                    <a:pt x="1124" y="243403"/>
                  </a:lnTo>
                  <a:lnTo>
                    <a:pt x="421193" y="3998"/>
                  </a:lnTo>
                  <a:lnTo>
                    <a:pt x="423192" y="2874"/>
                  </a:lnTo>
                  <a:lnTo>
                    <a:pt x="421443" y="875"/>
                  </a:lnTo>
                  <a:lnTo>
                    <a:pt x="420693" y="0"/>
                  </a:lnTo>
                  <a:lnTo>
                    <a:pt x="0" y="240154"/>
                  </a:lnTo>
                  <a:close/>
                </a:path>
              </a:pathLst>
            </a:custGeom>
            <a:solidFill>
              <a:srgbClr val="000000"/>
            </a:solidFill>
            <a:ln w="12483" cap="flat">
              <a:noFill/>
              <a:prstDash val="solid"/>
              <a:miter/>
            </a:ln>
          </p:spPr>
          <p:txBody>
            <a:bodyPr rtlCol="0" anchor="ctr"/>
            <a:lstStyle/>
            <a:p>
              <a:endParaRPr lang="en-US"/>
            </a:p>
          </p:txBody>
        </p:sp>
        <p:sp>
          <p:nvSpPr>
            <p:cNvPr id="1511" name="Freeform: Shape 1510">
              <a:extLst>
                <a:ext uri="{FF2B5EF4-FFF2-40B4-BE49-F238E27FC236}">
                  <a16:creationId xmlns:a16="http://schemas.microsoft.com/office/drawing/2014/main" id="{0792EE96-AD64-4944-95E0-2BFE781F6FD7}"/>
                </a:ext>
              </a:extLst>
            </p:cNvPr>
            <p:cNvSpPr/>
            <p:nvPr/>
          </p:nvSpPr>
          <p:spPr>
            <a:xfrm>
              <a:off x="8128893" y="6192413"/>
              <a:ext cx="13244" cy="25115"/>
            </a:xfrm>
            <a:custGeom>
              <a:avLst/>
              <a:gdLst>
                <a:gd name="connsiteX0" fmla="*/ 13244 w 13244"/>
                <a:gd name="connsiteY0" fmla="*/ 18992 h 25115"/>
                <a:gd name="connsiteX1" fmla="*/ 750 w 13244"/>
                <a:gd name="connsiteY1" fmla="*/ 0 h 25115"/>
                <a:gd name="connsiteX2" fmla="*/ 0 w 13244"/>
                <a:gd name="connsiteY2" fmla="*/ 0 h 25115"/>
                <a:gd name="connsiteX3" fmla="*/ 0 w 13244"/>
                <a:gd name="connsiteY3" fmla="*/ 1250 h 25115"/>
                <a:gd name="connsiteX4" fmla="*/ 2749 w 13244"/>
                <a:gd name="connsiteY4" fmla="*/ 25115 h 25115"/>
                <a:gd name="connsiteX5" fmla="*/ 3873 w 13244"/>
                <a:gd name="connsiteY5" fmla="*/ 23991 h 25115"/>
                <a:gd name="connsiteX6" fmla="*/ 5373 w 13244"/>
                <a:gd name="connsiteY6" fmla="*/ 22616 h 25115"/>
                <a:gd name="connsiteX7" fmla="*/ 5373 w 13244"/>
                <a:gd name="connsiteY7" fmla="*/ 22616 h 2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44" h="25115">
                  <a:moveTo>
                    <a:pt x="13244" y="18992"/>
                  </a:moveTo>
                  <a:lnTo>
                    <a:pt x="750" y="0"/>
                  </a:lnTo>
                  <a:lnTo>
                    <a:pt x="0" y="0"/>
                  </a:lnTo>
                  <a:cubicBezTo>
                    <a:pt x="38" y="412"/>
                    <a:pt x="38" y="837"/>
                    <a:pt x="0" y="1250"/>
                  </a:cubicBezTo>
                  <a:lnTo>
                    <a:pt x="2749" y="25115"/>
                  </a:lnTo>
                  <a:lnTo>
                    <a:pt x="3873" y="23991"/>
                  </a:lnTo>
                  <a:cubicBezTo>
                    <a:pt x="4311" y="23466"/>
                    <a:pt x="4811" y="23003"/>
                    <a:pt x="5373" y="22616"/>
                  </a:cubicBezTo>
                  <a:lnTo>
                    <a:pt x="5373" y="22616"/>
                  </a:lnTo>
                  <a:close/>
                </a:path>
              </a:pathLst>
            </a:custGeom>
            <a:solidFill>
              <a:srgbClr val="000000"/>
            </a:solidFill>
            <a:ln w="12483" cap="flat">
              <a:noFill/>
              <a:prstDash val="solid"/>
              <a:miter/>
            </a:ln>
          </p:spPr>
          <p:txBody>
            <a:bodyPr rtlCol="0" anchor="ctr"/>
            <a:lstStyle/>
            <a:p>
              <a:endParaRPr lang="en-US"/>
            </a:p>
          </p:txBody>
        </p:sp>
        <p:sp>
          <p:nvSpPr>
            <p:cNvPr id="1512" name="Freeform: Shape 1511">
              <a:extLst>
                <a:ext uri="{FF2B5EF4-FFF2-40B4-BE49-F238E27FC236}">
                  <a16:creationId xmlns:a16="http://schemas.microsoft.com/office/drawing/2014/main" id="{D012D716-8EBA-40E5-B315-6FE45034A428}"/>
                </a:ext>
              </a:extLst>
            </p:cNvPr>
            <p:cNvSpPr/>
            <p:nvPr/>
          </p:nvSpPr>
          <p:spPr>
            <a:xfrm>
              <a:off x="8127019" y="6188039"/>
              <a:ext cx="874" cy="1249"/>
            </a:xfrm>
            <a:custGeom>
              <a:avLst/>
              <a:gdLst>
                <a:gd name="connsiteX0" fmla="*/ 0 w 874"/>
                <a:gd name="connsiteY0" fmla="*/ 0 h 1249"/>
                <a:gd name="connsiteX1" fmla="*/ 875 w 874"/>
                <a:gd name="connsiteY1" fmla="*/ 1250 h 1249"/>
                <a:gd name="connsiteX2" fmla="*/ 875 w 874"/>
                <a:gd name="connsiteY2" fmla="*/ 1250 h 1249"/>
                <a:gd name="connsiteX3" fmla="*/ 875 w 874"/>
                <a:gd name="connsiteY3" fmla="*/ 1250 h 1249"/>
              </a:gdLst>
              <a:ahLst/>
              <a:cxnLst>
                <a:cxn ang="0">
                  <a:pos x="connsiteX0" y="connsiteY0"/>
                </a:cxn>
                <a:cxn ang="0">
                  <a:pos x="connsiteX1" y="connsiteY1"/>
                </a:cxn>
                <a:cxn ang="0">
                  <a:pos x="connsiteX2" y="connsiteY2"/>
                </a:cxn>
                <a:cxn ang="0">
                  <a:pos x="connsiteX3" y="connsiteY3"/>
                </a:cxn>
              </a:cxnLst>
              <a:rect l="l" t="t" r="r" b="b"/>
              <a:pathLst>
                <a:path w="874" h="1249">
                  <a:moveTo>
                    <a:pt x="0" y="0"/>
                  </a:moveTo>
                  <a:lnTo>
                    <a:pt x="875" y="1250"/>
                  </a:lnTo>
                  <a:lnTo>
                    <a:pt x="875" y="1250"/>
                  </a:lnTo>
                  <a:lnTo>
                    <a:pt x="875" y="1250"/>
                  </a:lnTo>
                  <a:close/>
                </a:path>
              </a:pathLst>
            </a:custGeom>
            <a:solidFill>
              <a:srgbClr val="000000"/>
            </a:solidFill>
            <a:ln w="12483" cap="flat">
              <a:noFill/>
              <a:prstDash val="solid"/>
              <a:miter/>
            </a:ln>
          </p:spPr>
          <p:txBody>
            <a:bodyPr rtlCol="0" anchor="ctr"/>
            <a:lstStyle/>
            <a:p>
              <a:endParaRPr lang="en-US"/>
            </a:p>
          </p:txBody>
        </p:sp>
        <p:sp>
          <p:nvSpPr>
            <p:cNvPr id="1513" name="Freeform: Shape 1512">
              <a:extLst>
                <a:ext uri="{FF2B5EF4-FFF2-40B4-BE49-F238E27FC236}">
                  <a16:creationId xmlns:a16="http://schemas.microsoft.com/office/drawing/2014/main" id="{706C8A1E-650C-4F95-8740-81089161A67C}"/>
                </a:ext>
              </a:extLst>
            </p:cNvPr>
            <p:cNvSpPr/>
            <p:nvPr/>
          </p:nvSpPr>
          <p:spPr>
            <a:xfrm>
              <a:off x="10970790" y="4734619"/>
              <a:ext cx="12494" cy="750"/>
            </a:xfrm>
            <a:custGeom>
              <a:avLst/>
              <a:gdLst>
                <a:gd name="connsiteX0" fmla="*/ 0 w 12494"/>
                <a:gd name="connsiteY0" fmla="*/ 750 h 750"/>
                <a:gd name="connsiteX1" fmla="*/ 0 w 12494"/>
                <a:gd name="connsiteY1" fmla="*/ 0 h 750"/>
                <a:gd name="connsiteX2" fmla="*/ 0 w 12494"/>
                <a:gd name="connsiteY2" fmla="*/ 0 h 750"/>
                <a:gd name="connsiteX3" fmla="*/ 0 w 12494"/>
                <a:gd name="connsiteY3" fmla="*/ 750 h 750"/>
              </a:gdLst>
              <a:ahLst/>
              <a:cxnLst>
                <a:cxn ang="0">
                  <a:pos x="connsiteX0" y="connsiteY0"/>
                </a:cxn>
                <a:cxn ang="0">
                  <a:pos x="connsiteX1" y="connsiteY1"/>
                </a:cxn>
                <a:cxn ang="0">
                  <a:pos x="connsiteX2" y="connsiteY2"/>
                </a:cxn>
                <a:cxn ang="0">
                  <a:pos x="connsiteX3" y="connsiteY3"/>
                </a:cxn>
              </a:cxnLst>
              <a:rect l="l" t="t" r="r" b="b"/>
              <a:pathLst>
                <a:path w="12494" h="750">
                  <a:moveTo>
                    <a:pt x="0" y="750"/>
                  </a:moveTo>
                  <a:cubicBezTo>
                    <a:pt x="0" y="750"/>
                    <a:pt x="0" y="750"/>
                    <a:pt x="0" y="0"/>
                  </a:cubicBezTo>
                  <a:lnTo>
                    <a:pt x="0" y="0"/>
                  </a:lnTo>
                  <a:cubicBezTo>
                    <a:pt x="0" y="0"/>
                    <a:pt x="0" y="375"/>
                    <a:pt x="0" y="750"/>
                  </a:cubicBezTo>
                  <a:close/>
                </a:path>
              </a:pathLst>
            </a:custGeom>
            <a:solidFill>
              <a:srgbClr val="000000"/>
            </a:solidFill>
            <a:ln w="12483" cap="flat">
              <a:noFill/>
              <a:prstDash val="solid"/>
              <a:miter/>
            </a:ln>
          </p:spPr>
          <p:txBody>
            <a:bodyPr rtlCol="0" anchor="ctr"/>
            <a:lstStyle/>
            <a:p>
              <a:endParaRPr lang="en-US"/>
            </a:p>
          </p:txBody>
        </p:sp>
        <p:sp>
          <p:nvSpPr>
            <p:cNvPr id="1514" name="Freeform: Shape 1513">
              <a:extLst>
                <a:ext uri="{FF2B5EF4-FFF2-40B4-BE49-F238E27FC236}">
                  <a16:creationId xmlns:a16="http://schemas.microsoft.com/office/drawing/2014/main" id="{8CA19D02-0644-44EF-97D6-23ED219139E2}"/>
                </a:ext>
              </a:extLst>
            </p:cNvPr>
            <p:cNvSpPr/>
            <p:nvPr/>
          </p:nvSpPr>
          <p:spPr>
            <a:xfrm>
              <a:off x="10969291" y="473636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515" name="Freeform: Shape 1514">
              <a:extLst>
                <a:ext uri="{FF2B5EF4-FFF2-40B4-BE49-F238E27FC236}">
                  <a16:creationId xmlns:a16="http://schemas.microsoft.com/office/drawing/2014/main" id="{05928EC7-A2D0-4A19-80BA-AAD8E513640F}"/>
                </a:ext>
              </a:extLst>
            </p:cNvPr>
            <p:cNvSpPr/>
            <p:nvPr/>
          </p:nvSpPr>
          <p:spPr>
            <a:xfrm>
              <a:off x="10968791" y="4606795"/>
              <a:ext cx="7246" cy="127823"/>
            </a:xfrm>
            <a:custGeom>
              <a:avLst/>
              <a:gdLst>
                <a:gd name="connsiteX0" fmla="*/ 6997 w 7246"/>
                <a:gd name="connsiteY0" fmla="*/ 0 h 127823"/>
                <a:gd name="connsiteX1" fmla="*/ 6997 w 7246"/>
                <a:gd name="connsiteY1" fmla="*/ 0 h 127823"/>
                <a:gd name="connsiteX2" fmla="*/ 6997 w 7246"/>
                <a:gd name="connsiteY2" fmla="*/ 1374 h 127823"/>
                <a:gd name="connsiteX3" fmla="*/ 5085 w 7246"/>
                <a:gd name="connsiteY3" fmla="*/ 1712 h 127823"/>
                <a:gd name="connsiteX4" fmla="*/ 4748 w 7246"/>
                <a:gd name="connsiteY4" fmla="*/ 1374 h 127823"/>
                <a:gd name="connsiteX5" fmla="*/ 4748 w 7246"/>
                <a:gd name="connsiteY5" fmla="*/ 750 h 127823"/>
                <a:gd name="connsiteX6" fmla="*/ 0 w 7246"/>
                <a:gd name="connsiteY6" fmla="*/ 123326 h 127823"/>
                <a:gd name="connsiteX7" fmla="*/ 2499 w 7246"/>
                <a:gd name="connsiteY7" fmla="*/ 126450 h 127823"/>
                <a:gd name="connsiteX8" fmla="*/ 2499 w 7246"/>
                <a:gd name="connsiteY8" fmla="*/ 127824 h 127823"/>
                <a:gd name="connsiteX9" fmla="*/ 2499 w 7246"/>
                <a:gd name="connsiteY9" fmla="*/ 124700 h 127823"/>
                <a:gd name="connsiteX10" fmla="*/ 7247 w 7246"/>
                <a:gd name="connsiteY10" fmla="*/ 1250 h 12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46" h="127823">
                  <a:moveTo>
                    <a:pt x="6997" y="0"/>
                  </a:moveTo>
                  <a:lnTo>
                    <a:pt x="6997" y="0"/>
                  </a:lnTo>
                  <a:cubicBezTo>
                    <a:pt x="7122" y="450"/>
                    <a:pt x="7122" y="925"/>
                    <a:pt x="6997" y="1374"/>
                  </a:cubicBezTo>
                  <a:cubicBezTo>
                    <a:pt x="6560" y="1999"/>
                    <a:pt x="5697" y="2149"/>
                    <a:pt x="5085" y="1712"/>
                  </a:cubicBezTo>
                  <a:cubicBezTo>
                    <a:pt x="4948" y="1612"/>
                    <a:pt x="4835" y="1499"/>
                    <a:pt x="4748" y="1374"/>
                  </a:cubicBezTo>
                  <a:lnTo>
                    <a:pt x="4748" y="750"/>
                  </a:lnTo>
                  <a:lnTo>
                    <a:pt x="0" y="123326"/>
                  </a:lnTo>
                  <a:lnTo>
                    <a:pt x="2499" y="126450"/>
                  </a:lnTo>
                  <a:cubicBezTo>
                    <a:pt x="2624" y="126899"/>
                    <a:pt x="2624" y="127374"/>
                    <a:pt x="2499" y="127824"/>
                  </a:cubicBezTo>
                  <a:lnTo>
                    <a:pt x="2499" y="124700"/>
                  </a:lnTo>
                  <a:lnTo>
                    <a:pt x="7247" y="1250"/>
                  </a:lnTo>
                  <a:close/>
                </a:path>
              </a:pathLst>
            </a:custGeom>
            <a:solidFill>
              <a:srgbClr val="000000"/>
            </a:solidFill>
            <a:ln w="12483" cap="flat">
              <a:noFill/>
              <a:prstDash val="solid"/>
              <a:miter/>
            </a:ln>
          </p:spPr>
          <p:txBody>
            <a:bodyPr rtlCol="0" anchor="ctr"/>
            <a:lstStyle/>
            <a:p>
              <a:endParaRPr lang="en-US"/>
            </a:p>
          </p:txBody>
        </p:sp>
        <p:sp>
          <p:nvSpPr>
            <p:cNvPr id="1516" name="Freeform: Shape 1515">
              <a:extLst>
                <a:ext uri="{FF2B5EF4-FFF2-40B4-BE49-F238E27FC236}">
                  <a16:creationId xmlns:a16="http://schemas.microsoft.com/office/drawing/2014/main" id="{FFB07248-9EC1-4558-B467-4FBDB013FF00}"/>
                </a:ext>
              </a:extLst>
            </p:cNvPr>
            <p:cNvSpPr/>
            <p:nvPr/>
          </p:nvSpPr>
          <p:spPr>
            <a:xfrm>
              <a:off x="8436135" y="6012110"/>
              <a:ext cx="32236" cy="24739"/>
            </a:xfrm>
            <a:custGeom>
              <a:avLst/>
              <a:gdLst>
                <a:gd name="connsiteX0" fmla="*/ 12495 w 32236"/>
                <a:gd name="connsiteY0" fmla="*/ 8497 h 24739"/>
                <a:gd name="connsiteX1" fmla="*/ 1187 w 32236"/>
                <a:gd name="connsiteY1" fmla="*/ 8234 h 24739"/>
                <a:gd name="connsiteX2" fmla="*/ 0 w 32236"/>
                <a:gd name="connsiteY2" fmla="*/ 6622 h 24739"/>
                <a:gd name="connsiteX3" fmla="*/ 11745 w 32236"/>
                <a:gd name="connsiteY3" fmla="*/ 24740 h 24739"/>
                <a:gd name="connsiteX4" fmla="*/ 21990 w 32236"/>
                <a:gd name="connsiteY4" fmla="*/ 18992 h 24739"/>
                <a:gd name="connsiteX5" fmla="*/ 23490 w 32236"/>
                <a:gd name="connsiteY5" fmla="*/ 18992 h 24739"/>
                <a:gd name="connsiteX6" fmla="*/ 24739 w 32236"/>
                <a:gd name="connsiteY6" fmla="*/ 18992 h 24739"/>
                <a:gd name="connsiteX7" fmla="*/ 24739 w 32236"/>
                <a:gd name="connsiteY7" fmla="*/ 18992 h 24739"/>
                <a:gd name="connsiteX8" fmla="*/ 26738 w 32236"/>
                <a:gd name="connsiteY8" fmla="*/ 18992 h 24739"/>
                <a:gd name="connsiteX9" fmla="*/ 28113 w 32236"/>
                <a:gd name="connsiteY9" fmla="*/ 18992 h 24739"/>
                <a:gd name="connsiteX10" fmla="*/ 29737 w 32236"/>
                <a:gd name="connsiteY10" fmla="*/ 20117 h 24739"/>
                <a:gd name="connsiteX11" fmla="*/ 31111 w 32236"/>
                <a:gd name="connsiteY11" fmla="*/ 20992 h 24739"/>
                <a:gd name="connsiteX12" fmla="*/ 32236 w 32236"/>
                <a:gd name="connsiteY12" fmla="*/ 22616 h 24739"/>
                <a:gd name="connsiteX13" fmla="*/ 32236 w 32236"/>
                <a:gd name="connsiteY13" fmla="*/ 23366 h 24739"/>
                <a:gd name="connsiteX14" fmla="*/ 32236 w 32236"/>
                <a:gd name="connsiteY14" fmla="*/ 22616 h 24739"/>
                <a:gd name="connsiteX15" fmla="*/ 17492 w 32236"/>
                <a:gd name="connsiteY15" fmla="*/ 0 h 24739"/>
                <a:gd name="connsiteX16" fmla="*/ 15368 w 32236"/>
                <a:gd name="connsiteY16" fmla="*/ 1250 h 24739"/>
                <a:gd name="connsiteX17" fmla="*/ 12495 w 32236"/>
                <a:gd name="connsiteY17" fmla="*/ 8497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36" h="24739">
                  <a:moveTo>
                    <a:pt x="12495" y="8497"/>
                  </a:moveTo>
                  <a:cubicBezTo>
                    <a:pt x="9296" y="11545"/>
                    <a:pt x="4236" y="11420"/>
                    <a:pt x="1187" y="8234"/>
                  </a:cubicBezTo>
                  <a:cubicBezTo>
                    <a:pt x="725" y="7747"/>
                    <a:pt x="325" y="7210"/>
                    <a:pt x="0" y="6622"/>
                  </a:cubicBezTo>
                  <a:lnTo>
                    <a:pt x="11745" y="24740"/>
                  </a:lnTo>
                  <a:lnTo>
                    <a:pt x="21990" y="18992"/>
                  </a:lnTo>
                  <a:lnTo>
                    <a:pt x="23490" y="18992"/>
                  </a:lnTo>
                  <a:lnTo>
                    <a:pt x="24739" y="18992"/>
                  </a:lnTo>
                  <a:lnTo>
                    <a:pt x="24739" y="18992"/>
                  </a:lnTo>
                  <a:cubicBezTo>
                    <a:pt x="25401" y="18867"/>
                    <a:pt x="26076" y="18867"/>
                    <a:pt x="26738" y="18992"/>
                  </a:cubicBezTo>
                  <a:lnTo>
                    <a:pt x="28113" y="18992"/>
                  </a:lnTo>
                  <a:cubicBezTo>
                    <a:pt x="28700" y="19292"/>
                    <a:pt x="29250" y="19667"/>
                    <a:pt x="29737" y="20117"/>
                  </a:cubicBezTo>
                  <a:cubicBezTo>
                    <a:pt x="30237" y="20329"/>
                    <a:pt x="30699" y="20629"/>
                    <a:pt x="31111" y="20992"/>
                  </a:cubicBezTo>
                  <a:cubicBezTo>
                    <a:pt x="31561" y="21479"/>
                    <a:pt x="31936" y="22029"/>
                    <a:pt x="32236" y="22616"/>
                  </a:cubicBezTo>
                  <a:cubicBezTo>
                    <a:pt x="32236" y="22616"/>
                    <a:pt x="32236" y="22616"/>
                    <a:pt x="32236" y="23366"/>
                  </a:cubicBezTo>
                  <a:lnTo>
                    <a:pt x="32236" y="22616"/>
                  </a:lnTo>
                  <a:lnTo>
                    <a:pt x="17492" y="0"/>
                  </a:lnTo>
                  <a:lnTo>
                    <a:pt x="15368" y="1250"/>
                  </a:lnTo>
                  <a:cubicBezTo>
                    <a:pt x="15206" y="3911"/>
                    <a:pt x="14206" y="6447"/>
                    <a:pt x="12495" y="8497"/>
                  </a:cubicBezTo>
                  <a:close/>
                </a:path>
              </a:pathLst>
            </a:custGeom>
            <a:solidFill>
              <a:srgbClr val="000000"/>
            </a:solidFill>
            <a:ln w="12483" cap="flat">
              <a:noFill/>
              <a:prstDash val="solid"/>
              <a:miter/>
            </a:ln>
          </p:spPr>
          <p:txBody>
            <a:bodyPr rtlCol="0" anchor="ctr"/>
            <a:lstStyle/>
            <a:p>
              <a:endParaRPr lang="en-US"/>
            </a:p>
          </p:txBody>
        </p:sp>
        <p:sp>
          <p:nvSpPr>
            <p:cNvPr id="1517" name="Freeform: Shape 1516">
              <a:extLst>
                <a:ext uri="{FF2B5EF4-FFF2-40B4-BE49-F238E27FC236}">
                  <a16:creationId xmlns:a16="http://schemas.microsoft.com/office/drawing/2014/main" id="{3E21E2EB-A72E-489B-BE80-C6341A7314DB}"/>
                </a:ext>
              </a:extLst>
            </p:cNvPr>
            <p:cNvSpPr/>
            <p:nvPr/>
          </p:nvSpPr>
          <p:spPr>
            <a:xfrm>
              <a:off x="8470495" y="6037224"/>
              <a:ext cx="56" cy="1749"/>
            </a:xfrm>
            <a:custGeom>
              <a:avLst/>
              <a:gdLst>
                <a:gd name="connsiteX0" fmla="*/ 0 w 56"/>
                <a:gd name="connsiteY0" fmla="*/ 1749 h 1749"/>
                <a:gd name="connsiteX1" fmla="*/ 0 w 56"/>
                <a:gd name="connsiteY1" fmla="*/ 0 h 1749"/>
                <a:gd name="connsiteX2" fmla="*/ 0 w 56"/>
                <a:gd name="connsiteY2" fmla="*/ 875 h 1749"/>
                <a:gd name="connsiteX3" fmla="*/ 0 w 56"/>
                <a:gd name="connsiteY3" fmla="*/ 1749 h 1749"/>
              </a:gdLst>
              <a:ahLst/>
              <a:cxnLst>
                <a:cxn ang="0">
                  <a:pos x="connsiteX0" y="connsiteY0"/>
                </a:cxn>
                <a:cxn ang="0">
                  <a:pos x="connsiteX1" y="connsiteY1"/>
                </a:cxn>
                <a:cxn ang="0">
                  <a:pos x="connsiteX2" y="connsiteY2"/>
                </a:cxn>
                <a:cxn ang="0">
                  <a:pos x="connsiteX3" y="connsiteY3"/>
                </a:cxn>
              </a:cxnLst>
              <a:rect l="l" t="t" r="r" b="b"/>
              <a:pathLst>
                <a:path w="56" h="1749">
                  <a:moveTo>
                    <a:pt x="0" y="1749"/>
                  </a:moveTo>
                  <a:lnTo>
                    <a:pt x="0" y="0"/>
                  </a:lnTo>
                  <a:cubicBezTo>
                    <a:pt x="62" y="288"/>
                    <a:pt x="62" y="588"/>
                    <a:pt x="0" y="875"/>
                  </a:cubicBezTo>
                  <a:cubicBezTo>
                    <a:pt x="75" y="1162"/>
                    <a:pt x="75" y="1462"/>
                    <a:pt x="0" y="1749"/>
                  </a:cubicBezTo>
                  <a:close/>
                </a:path>
              </a:pathLst>
            </a:custGeom>
            <a:solidFill>
              <a:srgbClr val="000000"/>
            </a:solidFill>
            <a:ln w="12483" cap="flat">
              <a:noFill/>
              <a:prstDash val="solid"/>
              <a:miter/>
            </a:ln>
          </p:spPr>
          <p:txBody>
            <a:bodyPr rtlCol="0" anchor="ctr"/>
            <a:lstStyle/>
            <a:p>
              <a:endParaRPr lang="en-US"/>
            </a:p>
          </p:txBody>
        </p:sp>
        <p:sp>
          <p:nvSpPr>
            <p:cNvPr id="1518" name="Freeform: Shape 1517">
              <a:extLst>
                <a:ext uri="{FF2B5EF4-FFF2-40B4-BE49-F238E27FC236}">
                  <a16:creationId xmlns:a16="http://schemas.microsoft.com/office/drawing/2014/main" id="{768B1846-B89F-40B5-9981-F19878361E66}"/>
                </a:ext>
              </a:extLst>
            </p:cNvPr>
            <p:cNvSpPr/>
            <p:nvPr/>
          </p:nvSpPr>
          <p:spPr>
            <a:xfrm>
              <a:off x="10950424" y="4708754"/>
              <a:ext cx="21240" cy="26489"/>
            </a:xfrm>
            <a:custGeom>
              <a:avLst/>
              <a:gdLst>
                <a:gd name="connsiteX0" fmla="*/ 20616 w 21240"/>
                <a:gd name="connsiteY0" fmla="*/ 25740 h 26489"/>
                <a:gd name="connsiteX1" fmla="*/ 20616 w 21240"/>
                <a:gd name="connsiteY1" fmla="*/ 24365 h 26489"/>
                <a:gd name="connsiteX2" fmla="*/ 18117 w 21240"/>
                <a:gd name="connsiteY2" fmla="*/ 21241 h 26489"/>
                <a:gd name="connsiteX3" fmla="*/ 625 w 21240"/>
                <a:gd name="connsiteY3" fmla="*/ 0 h 26489"/>
                <a:gd name="connsiteX4" fmla="*/ 625 w 21240"/>
                <a:gd name="connsiteY4" fmla="*/ 750 h 26489"/>
                <a:gd name="connsiteX5" fmla="*/ 625 w 21240"/>
                <a:gd name="connsiteY5" fmla="*/ 750 h 26489"/>
                <a:gd name="connsiteX6" fmla="*/ 625 w 21240"/>
                <a:gd name="connsiteY6" fmla="*/ 1499 h 26489"/>
                <a:gd name="connsiteX7" fmla="*/ 625 w 21240"/>
                <a:gd name="connsiteY7" fmla="*/ 2124 h 26489"/>
                <a:gd name="connsiteX8" fmla="*/ 625 w 21240"/>
                <a:gd name="connsiteY8" fmla="*/ 2124 h 26489"/>
                <a:gd name="connsiteX9" fmla="*/ 0 w 21240"/>
                <a:gd name="connsiteY9" fmla="*/ 2124 h 26489"/>
                <a:gd name="connsiteX10" fmla="*/ 0 w 21240"/>
                <a:gd name="connsiteY10" fmla="*/ 2124 h 26489"/>
                <a:gd name="connsiteX11" fmla="*/ 0 w 21240"/>
                <a:gd name="connsiteY11" fmla="*/ 2124 h 26489"/>
                <a:gd name="connsiteX12" fmla="*/ 0 w 21240"/>
                <a:gd name="connsiteY12" fmla="*/ 2124 h 26489"/>
                <a:gd name="connsiteX13" fmla="*/ 19991 w 21240"/>
                <a:gd name="connsiteY13" fmla="*/ 26489 h 26489"/>
                <a:gd name="connsiteX14" fmla="*/ 19991 w 21240"/>
                <a:gd name="connsiteY14" fmla="*/ 26489 h 26489"/>
                <a:gd name="connsiteX15" fmla="*/ 19991 w 21240"/>
                <a:gd name="connsiteY15" fmla="*/ 26489 h 26489"/>
                <a:gd name="connsiteX16" fmla="*/ 20616 w 21240"/>
                <a:gd name="connsiteY16" fmla="*/ 26489 h 26489"/>
                <a:gd name="connsiteX17" fmla="*/ 20616 w 21240"/>
                <a:gd name="connsiteY17" fmla="*/ 26489 h 26489"/>
                <a:gd name="connsiteX18" fmla="*/ 20616 w 21240"/>
                <a:gd name="connsiteY18" fmla="*/ 26489 h 26489"/>
                <a:gd name="connsiteX19" fmla="*/ 21241 w 21240"/>
                <a:gd name="connsiteY19" fmla="*/ 26489 h 26489"/>
                <a:gd name="connsiteX20" fmla="*/ 21241 w 21240"/>
                <a:gd name="connsiteY20" fmla="*/ 26489 h 26489"/>
                <a:gd name="connsiteX21" fmla="*/ 21241 w 21240"/>
                <a:gd name="connsiteY21" fmla="*/ 26489 h 26489"/>
                <a:gd name="connsiteX22" fmla="*/ 21241 w 21240"/>
                <a:gd name="connsiteY22" fmla="*/ 25615 h 2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40" h="26489">
                  <a:moveTo>
                    <a:pt x="20616" y="25740"/>
                  </a:moveTo>
                  <a:cubicBezTo>
                    <a:pt x="20741" y="25290"/>
                    <a:pt x="20741" y="24815"/>
                    <a:pt x="20616" y="24365"/>
                  </a:cubicBezTo>
                  <a:lnTo>
                    <a:pt x="18117" y="21241"/>
                  </a:lnTo>
                  <a:lnTo>
                    <a:pt x="625" y="0"/>
                  </a:lnTo>
                  <a:lnTo>
                    <a:pt x="625" y="750"/>
                  </a:lnTo>
                  <a:lnTo>
                    <a:pt x="625" y="750"/>
                  </a:lnTo>
                  <a:cubicBezTo>
                    <a:pt x="700" y="999"/>
                    <a:pt x="700" y="1249"/>
                    <a:pt x="625" y="1499"/>
                  </a:cubicBezTo>
                  <a:cubicBezTo>
                    <a:pt x="675" y="1699"/>
                    <a:pt x="675" y="1924"/>
                    <a:pt x="625" y="2124"/>
                  </a:cubicBezTo>
                  <a:lnTo>
                    <a:pt x="625" y="2124"/>
                  </a:lnTo>
                  <a:lnTo>
                    <a:pt x="0" y="2124"/>
                  </a:lnTo>
                  <a:lnTo>
                    <a:pt x="0" y="2124"/>
                  </a:lnTo>
                  <a:lnTo>
                    <a:pt x="0" y="2124"/>
                  </a:lnTo>
                  <a:lnTo>
                    <a:pt x="0" y="2124"/>
                  </a:lnTo>
                  <a:lnTo>
                    <a:pt x="19991" y="26489"/>
                  </a:lnTo>
                  <a:lnTo>
                    <a:pt x="19991" y="26489"/>
                  </a:lnTo>
                  <a:lnTo>
                    <a:pt x="19991" y="26489"/>
                  </a:lnTo>
                  <a:lnTo>
                    <a:pt x="20616" y="26489"/>
                  </a:lnTo>
                  <a:lnTo>
                    <a:pt x="20616" y="26489"/>
                  </a:lnTo>
                  <a:lnTo>
                    <a:pt x="20616" y="26489"/>
                  </a:lnTo>
                  <a:lnTo>
                    <a:pt x="21241" y="26489"/>
                  </a:lnTo>
                  <a:lnTo>
                    <a:pt x="21241" y="26489"/>
                  </a:lnTo>
                  <a:cubicBezTo>
                    <a:pt x="21241" y="26489"/>
                    <a:pt x="21241" y="26489"/>
                    <a:pt x="21241" y="26489"/>
                  </a:cubicBezTo>
                  <a:cubicBezTo>
                    <a:pt x="21241" y="26489"/>
                    <a:pt x="21241" y="26489"/>
                    <a:pt x="21241" y="25615"/>
                  </a:cubicBezTo>
                  <a:close/>
                </a:path>
              </a:pathLst>
            </a:custGeom>
            <a:solidFill>
              <a:srgbClr val="000000"/>
            </a:solidFill>
            <a:ln w="12483" cap="flat">
              <a:noFill/>
              <a:prstDash val="solid"/>
              <a:miter/>
            </a:ln>
          </p:spPr>
          <p:txBody>
            <a:bodyPr rtlCol="0" anchor="ctr"/>
            <a:lstStyle/>
            <a:p>
              <a:endParaRPr lang="en-US"/>
            </a:p>
          </p:txBody>
        </p:sp>
        <p:sp>
          <p:nvSpPr>
            <p:cNvPr id="1519" name="Freeform: Shape 1518">
              <a:extLst>
                <a:ext uri="{FF2B5EF4-FFF2-40B4-BE49-F238E27FC236}">
                  <a16:creationId xmlns:a16="http://schemas.microsoft.com/office/drawing/2014/main" id="{2D933670-3468-4AA6-A245-FB9F10803232}"/>
                </a:ext>
              </a:extLst>
            </p:cNvPr>
            <p:cNvSpPr/>
            <p:nvPr/>
          </p:nvSpPr>
          <p:spPr>
            <a:xfrm>
              <a:off x="11121725" y="5704107"/>
              <a:ext cx="55" cy="812"/>
            </a:xfrm>
            <a:custGeom>
              <a:avLst/>
              <a:gdLst>
                <a:gd name="connsiteX0" fmla="*/ 0 w 55"/>
                <a:gd name="connsiteY0" fmla="*/ 0 h 812"/>
                <a:gd name="connsiteX1" fmla="*/ 0 w 55"/>
                <a:gd name="connsiteY1" fmla="*/ 0 h 812"/>
                <a:gd name="connsiteX2" fmla="*/ 0 w 55"/>
                <a:gd name="connsiteY2" fmla="*/ 625 h 812"/>
                <a:gd name="connsiteX3" fmla="*/ 0 w 55"/>
                <a:gd name="connsiteY3" fmla="*/ 0 h 812"/>
              </a:gdLst>
              <a:ahLst/>
              <a:cxnLst>
                <a:cxn ang="0">
                  <a:pos x="connsiteX0" y="connsiteY0"/>
                </a:cxn>
                <a:cxn ang="0">
                  <a:pos x="connsiteX1" y="connsiteY1"/>
                </a:cxn>
                <a:cxn ang="0">
                  <a:pos x="connsiteX2" y="connsiteY2"/>
                </a:cxn>
                <a:cxn ang="0">
                  <a:pos x="connsiteX3" y="connsiteY3"/>
                </a:cxn>
              </a:cxnLst>
              <a:rect l="l" t="t" r="r" b="b"/>
              <a:pathLst>
                <a:path w="55" h="812">
                  <a:moveTo>
                    <a:pt x="0" y="0"/>
                  </a:moveTo>
                  <a:cubicBezTo>
                    <a:pt x="0" y="0"/>
                    <a:pt x="0" y="0"/>
                    <a:pt x="0" y="0"/>
                  </a:cubicBezTo>
                  <a:cubicBezTo>
                    <a:pt x="0" y="0"/>
                    <a:pt x="0" y="0"/>
                    <a:pt x="0" y="625"/>
                  </a:cubicBezTo>
                  <a:cubicBezTo>
                    <a:pt x="0" y="1249"/>
                    <a:pt x="125" y="125"/>
                    <a:pt x="0" y="0"/>
                  </a:cubicBezTo>
                  <a:close/>
                </a:path>
              </a:pathLst>
            </a:custGeom>
            <a:solidFill>
              <a:srgbClr val="000000"/>
            </a:solidFill>
            <a:ln w="12483" cap="flat">
              <a:noFill/>
              <a:prstDash val="solid"/>
              <a:miter/>
            </a:ln>
          </p:spPr>
          <p:txBody>
            <a:bodyPr rtlCol="0" anchor="ctr"/>
            <a:lstStyle/>
            <a:p>
              <a:endParaRPr lang="en-US"/>
            </a:p>
          </p:txBody>
        </p:sp>
        <p:sp>
          <p:nvSpPr>
            <p:cNvPr id="1520" name="Freeform: Shape 1519">
              <a:extLst>
                <a:ext uri="{FF2B5EF4-FFF2-40B4-BE49-F238E27FC236}">
                  <a16:creationId xmlns:a16="http://schemas.microsoft.com/office/drawing/2014/main" id="{9DDCD250-62D9-40D2-879F-6D9F993DDA3B}"/>
                </a:ext>
              </a:extLst>
            </p:cNvPr>
            <p:cNvSpPr/>
            <p:nvPr/>
          </p:nvSpPr>
          <p:spPr>
            <a:xfrm>
              <a:off x="9698590" y="5704732"/>
              <a:ext cx="1422510" cy="863280"/>
            </a:xfrm>
            <a:custGeom>
              <a:avLst/>
              <a:gdLst>
                <a:gd name="connsiteX0" fmla="*/ 1422510 w 1422510"/>
                <a:gd name="connsiteY0" fmla="*/ 1874 h 863280"/>
                <a:gd name="connsiteX1" fmla="*/ 1422510 w 1422510"/>
                <a:gd name="connsiteY1" fmla="*/ 1874 h 863280"/>
                <a:gd name="connsiteX2" fmla="*/ 1420574 w 1422510"/>
                <a:gd name="connsiteY2" fmla="*/ 1937 h 863280"/>
                <a:gd name="connsiteX3" fmla="*/ 1420511 w 1422510"/>
                <a:gd name="connsiteY3" fmla="*/ 1874 h 863280"/>
                <a:gd name="connsiteX4" fmla="*/ 1419012 w 1422510"/>
                <a:gd name="connsiteY4" fmla="*/ 0 h 863280"/>
                <a:gd name="connsiteX5" fmla="*/ 0 w 1422510"/>
                <a:gd name="connsiteY5" fmla="*/ 859032 h 863280"/>
                <a:gd name="connsiteX6" fmla="*/ 0 w 1422510"/>
                <a:gd name="connsiteY6" fmla="*/ 863281 h 863280"/>
                <a:gd name="connsiteX7" fmla="*/ 1419887 w 1422510"/>
                <a:gd name="connsiteY7" fmla="*/ 3499 h 863280"/>
                <a:gd name="connsiteX8" fmla="*/ 1421261 w 1422510"/>
                <a:gd name="connsiteY8" fmla="*/ 2624 h 8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510" h="863280">
                  <a:moveTo>
                    <a:pt x="1422510" y="1874"/>
                  </a:moveTo>
                  <a:lnTo>
                    <a:pt x="1422510" y="1874"/>
                  </a:lnTo>
                  <a:cubicBezTo>
                    <a:pt x="1421986" y="2424"/>
                    <a:pt x="1421124" y="2449"/>
                    <a:pt x="1420574" y="1937"/>
                  </a:cubicBezTo>
                  <a:cubicBezTo>
                    <a:pt x="1420549" y="1912"/>
                    <a:pt x="1420524" y="1899"/>
                    <a:pt x="1420511" y="1874"/>
                  </a:cubicBezTo>
                  <a:lnTo>
                    <a:pt x="1419012" y="0"/>
                  </a:lnTo>
                  <a:lnTo>
                    <a:pt x="0" y="859032"/>
                  </a:lnTo>
                  <a:lnTo>
                    <a:pt x="0" y="863281"/>
                  </a:lnTo>
                  <a:lnTo>
                    <a:pt x="1419887" y="3499"/>
                  </a:lnTo>
                  <a:lnTo>
                    <a:pt x="1421261" y="2624"/>
                  </a:lnTo>
                  <a:close/>
                </a:path>
              </a:pathLst>
            </a:custGeom>
            <a:solidFill>
              <a:srgbClr val="000000"/>
            </a:solidFill>
            <a:ln w="12483" cap="flat">
              <a:noFill/>
              <a:prstDash val="solid"/>
              <a:miter/>
            </a:ln>
          </p:spPr>
          <p:txBody>
            <a:bodyPr rtlCol="0" anchor="ctr"/>
            <a:lstStyle/>
            <a:p>
              <a:endParaRPr lang="en-US"/>
            </a:p>
          </p:txBody>
        </p:sp>
        <p:sp>
          <p:nvSpPr>
            <p:cNvPr id="1521" name="Freeform: Shape 1520">
              <a:extLst>
                <a:ext uri="{FF2B5EF4-FFF2-40B4-BE49-F238E27FC236}">
                  <a16:creationId xmlns:a16="http://schemas.microsoft.com/office/drawing/2014/main" id="{A889A2EB-4579-4D4C-9536-8578289E9AF3}"/>
                </a:ext>
              </a:extLst>
            </p:cNvPr>
            <p:cNvSpPr/>
            <p:nvPr/>
          </p:nvSpPr>
          <p:spPr>
            <a:xfrm>
              <a:off x="9189310" y="6861230"/>
              <a:ext cx="21397" cy="12160"/>
            </a:xfrm>
            <a:custGeom>
              <a:avLst/>
              <a:gdLst>
                <a:gd name="connsiteX0" fmla="*/ 21116 w 21397"/>
                <a:gd name="connsiteY0" fmla="*/ 2415 h 12160"/>
                <a:gd name="connsiteX1" fmla="*/ 21116 w 21397"/>
                <a:gd name="connsiteY1" fmla="*/ 2415 h 12160"/>
                <a:gd name="connsiteX2" fmla="*/ 21116 w 21397"/>
                <a:gd name="connsiteY2" fmla="*/ 291 h 12160"/>
                <a:gd name="connsiteX3" fmla="*/ 19617 w 21397"/>
                <a:gd name="connsiteY3" fmla="*/ 291 h 12160"/>
                <a:gd name="connsiteX4" fmla="*/ 19617 w 21397"/>
                <a:gd name="connsiteY4" fmla="*/ 291 h 12160"/>
                <a:gd name="connsiteX5" fmla="*/ 0 w 21397"/>
                <a:gd name="connsiteY5" fmla="*/ 12161 h 12160"/>
                <a:gd name="connsiteX6" fmla="*/ 7122 w 21397"/>
                <a:gd name="connsiteY6" fmla="*/ 12161 h 12160"/>
                <a:gd name="connsiteX7" fmla="*/ 20741 w 21397"/>
                <a:gd name="connsiteY7" fmla="*/ 3915 h 1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97" h="12160">
                  <a:moveTo>
                    <a:pt x="21116" y="2415"/>
                  </a:moveTo>
                  <a:lnTo>
                    <a:pt x="21116" y="2415"/>
                  </a:lnTo>
                  <a:cubicBezTo>
                    <a:pt x="21491" y="1753"/>
                    <a:pt x="21491" y="953"/>
                    <a:pt x="21116" y="291"/>
                  </a:cubicBezTo>
                  <a:cubicBezTo>
                    <a:pt x="20691" y="-97"/>
                    <a:pt x="20041" y="-97"/>
                    <a:pt x="19617" y="291"/>
                  </a:cubicBezTo>
                  <a:lnTo>
                    <a:pt x="19617" y="291"/>
                  </a:lnTo>
                  <a:lnTo>
                    <a:pt x="0" y="12161"/>
                  </a:lnTo>
                  <a:lnTo>
                    <a:pt x="7122" y="12161"/>
                  </a:lnTo>
                  <a:lnTo>
                    <a:pt x="20741" y="3915"/>
                  </a:lnTo>
                  <a:close/>
                </a:path>
              </a:pathLst>
            </a:custGeom>
            <a:solidFill>
              <a:srgbClr val="000000"/>
            </a:solidFill>
            <a:ln w="12483" cap="flat">
              <a:noFill/>
              <a:prstDash val="solid"/>
              <a:miter/>
            </a:ln>
          </p:spPr>
          <p:txBody>
            <a:bodyPr rtlCol="0" anchor="ctr"/>
            <a:lstStyle/>
            <a:p>
              <a:endParaRPr lang="en-US"/>
            </a:p>
          </p:txBody>
        </p:sp>
        <p:sp>
          <p:nvSpPr>
            <p:cNvPr id="1522" name="Freeform: Shape 1521">
              <a:extLst>
                <a:ext uri="{FF2B5EF4-FFF2-40B4-BE49-F238E27FC236}">
                  <a16:creationId xmlns:a16="http://schemas.microsoft.com/office/drawing/2014/main" id="{2D44E45A-E625-42D0-8137-CDBC6C1EB46A}"/>
                </a:ext>
              </a:extLst>
            </p:cNvPr>
            <p:cNvSpPr/>
            <p:nvPr/>
          </p:nvSpPr>
          <p:spPr>
            <a:xfrm>
              <a:off x="10939922" y="5476066"/>
              <a:ext cx="70975" cy="89346"/>
            </a:xfrm>
            <a:custGeom>
              <a:avLst/>
              <a:gdLst>
                <a:gd name="connsiteX0" fmla="*/ 2380 w 70975"/>
                <a:gd name="connsiteY0" fmla="*/ 507 h 89346"/>
                <a:gd name="connsiteX1" fmla="*/ 2380 w 70975"/>
                <a:gd name="connsiteY1" fmla="*/ 507 h 89346"/>
                <a:gd name="connsiteX2" fmla="*/ 269 w 70975"/>
                <a:gd name="connsiteY2" fmla="*/ 370 h 89346"/>
                <a:gd name="connsiteX3" fmla="*/ 131 w 70975"/>
                <a:gd name="connsiteY3" fmla="*/ 507 h 89346"/>
                <a:gd name="connsiteX4" fmla="*/ 131 w 70975"/>
                <a:gd name="connsiteY4" fmla="*/ 1882 h 89346"/>
                <a:gd name="connsiteX5" fmla="*/ 131 w 70975"/>
                <a:gd name="connsiteY5" fmla="*/ 2631 h 89346"/>
                <a:gd name="connsiteX6" fmla="*/ 131 w 70975"/>
                <a:gd name="connsiteY6" fmla="*/ 3256 h 89346"/>
                <a:gd name="connsiteX7" fmla="*/ 131 w 70975"/>
                <a:gd name="connsiteY7" fmla="*/ 3256 h 89346"/>
                <a:gd name="connsiteX8" fmla="*/ 1006 w 70975"/>
                <a:gd name="connsiteY8" fmla="*/ 4256 h 89346"/>
                <a:gd name="connsiteX9" fmla="*/ 68102 w 70975"/>
                <a:gd name="connsiteY9" fmla="*/ 89347 h 89346"/>
                <a:gd name="connsiteX10" fmla="*/ 69976 w 70975"/>
                <a:gd name="connsiteY10" fmla="*/ 88222 h 89346"/>
                <a:gd name="connsiteX11" fmla="*/ 70975 w 70975"/>
                <a:gd name="connsiteY11" fmla="*/ 88222 h 89346"/>
                <a:gd name="connsiteX12" fmla="*/ 70975 w 70975"/>
                <a:gd name="connsiteY12" fmla="*/ 88222 h 89346"/>
                <a:gd name="connsiteX13" fmla="*/ 70975 w 70975"/>
                <a:gd name="connsiteY13" fmla="*/ 88222 h 89346"/>
                <a:gd name="connsiteX14" fmla="*/ 3130 w 70975"/>
                <a:gd name="connsiteY14" fmla="*/ 2132 h 8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975" h="89346">
                  <a:moveTo>
                    <a:pt x="2380" y="507"/>
                  </a:moveTo>
                  <a:lnTo>
                    <a:pt x="2380" y="507"/>
                  </a:lnTo>
                  <a:cubicBezTo>
                    <a:pt x="1830" y="-117"/>
                    <a:pt x="881" y="-167"/>
                    <a:pt x="269" y="370"/>
                  </a:cubicBezTo>
                  <a:cubicBezTo>
                    <a:pt x="219" y="420"/>
                    <a:pt x="169" y="457"/>
                    <a:pt x="131" y="507"/>
                  </a:cubicBezTo>
                  <a:cubicBezTo>
                    <a:pt x="-44" y="945"/>
                    <a:pt x="-44" y="1444"/>
                    <a:pt x="131" y="1882"/>
                  </a:cubicBezTo>
                  <a:cubicBezTo>
                    <a:pt x="81" y="2132"/>
                    <a:pt x="81" y="2381"/>
                    <a:pt x="131" y="2631"/>
                  </a:cubicBezTo>
                  <a:cubicBezTo>
                    <a:pt x="131" y="2631"/>
                    <a:pt x="131" y="2631"/>
                    <a:pt x="131" y="3256"/>
                  </a:cubicBezTo>
                  <a:lnTo>
                    <a:pt x="131" y="3256"/>
                  </a:lnTo>
                  <a:lnTo>
                    <a:pt x="1006" y="4256"/>
                  </a:lnTo>
                  <a:lnTo>
                    <a:pt x="68102" y="89347"/>
                  </a:lnTo>
                  <a:lnTo>
                    <a:pt x="69976" y="88222"/>
                  </a:lnTo>
                  <a:lnTo>
                    <a:pt x="70975" y="88222"/>
                  </a:lnTo>
                  <a:lnTo>
                    <a:pt x="70975" y="88222"/>
                  </a:lnTo>
                  <a:lnTo>
                    <a:pt x="70975" y="88222"/>
                  </a:lnTo>
                  <a:lnTo>
                    <a:pt x="3130" y="2132"/>
                  </a:lnTo>
                  <a:close/>
                </a:path>
              </a:pathLst>
            </a:custGeom>
            <a:solidFill>
              <a:srgbClr val="000000"/>
            </a:solidFill>
            <a:ln w="12483" cap="flat">
              <a:noFill/>
              <a:prstDash val="solid"/>
              <a:miter/>
            </a:ln>
          </p:spPr>
          <p:txBody>
            <a:bodyPr rtlCol="0" anchor="ctr"/>
            <a:lstStyle/>
            <a:p>
              <a:endParaRPr lang="en-US"/>
            </a:p>
          </p:txBody>
        </p:sp>
        <p:sp>
          <p:nvSpPr>
            <p:cNvPr id="1523" name="Freeform: Shape 1522">
              <a:extLst>
                <a:ext uri="{FF2B5EF4-FFF2-40B4-BE49-F238E27FC236}">
                  <a16:creationId xmlns:a16="http://schemas.microsoft.com/office/drawing/2014/main" id="{AF52E0B7-5726-47E6-A7DD-E4EECEA6C933}"/>
                </a:ext>
              </a:extLst>
            </p:cNvPr>
            <p:cNvSpPr/>
            <p:nvPr/>
          </p:nvSpPr>
          <p:spPr>
            <a:xfrm>
              <a:off x="8468121" y="6163799"/>
              <a:ext cx="80340" cy="108581"/>
            </a:xfrm>
            <a:custGeom>
              <a:avLst/>
              <a:gdLst>
                <a:gd name="connsiteX0" fmla="*/ 14619 w 80340"/>
                <a:gd name="connsiteY0" fmla="*/ 0 h 108581"/>
                <a:gd name="connsiteX1" fmla="*/ 14619 w 80340"/>
                <a:gd name="connsiteY1" fmla="*/ 2999 h 108581"/>
                <a:gd name="connsiteX2" fmla="*/ 14619 w 80340"/>
                <a:gd name="connsiteY2" fmla="*/ 4248 h 108581"/>
                <a:gd name="connsiteX3" fmla="*/ 14619 w 80340"/>
                <a:gd name="connsiteY3" fmla="*/ 6373 h 108581"/>
                <a:gd name="connsiteX4" fmla="*/ 14619 w 80340"/>
                <a:gd name="connsiteY4" fmla="*/ 8372 h 108581"/>
                <a:gd name="connsiteX5" fmla="*/ 13869 w 80340"/>
                <a:gd name="connsiteY5" fmla="*/ 10121 h 108581"/>
                <a:gd name="connsiteX6" fmla="*/ 12745 w 80340"/>
                <a:gd name="connsiteY6" fmla="*/ 11870 h 108581"/>
                <a:gd name="connsiteX7" fmla="*/ 11995 w 80340"/>
                <a:gd name="connsiteY7" fmla="*/ 12745 h 108581"/>
                <a:gd name="connsiteX8" fmla="*/ 11370 w 80340"/>
                <a:gd name="connsiteY8" fmla="*/ 12745 h 108581"/>
                <a:gd name="connsiteX9" fmla="*/ 9871 w 80340"/>
                <a:gd name="connsiteY9" fmla="*/ 13745 h 108581"/>
                <a:gd name="connsiteX10" fmla="*/ 8121 w 80340"/>
                <a:gd name="connsiteY10" fmla="*/ 14369 h 108581"/>
                <a:gd name="connsiteX11" fmla="*/ 8121 w 80340"/>
                <a:gd name="connsiteY11" fmla="*/ 14369 h 108581"/>
                <a:gd name="connsiteX12" fmla="*/ 5248 w 80340"/>
                <a:gd name="connsiteY12" fmla="*/ 14369 h 108581"/>
                <a:gd name="connsiteX13" fmla="*/ 3623 w 80340"/>
                <a:gd name="connsiteY13" fmla="*/ 13745 h 108581"/>
                <a:gd name="connsiteX14" fmla="*/ 2249 w 80340"/>
                <a:gd name="connsiteY14" fmla="*/ 12745 h 108581"/>
                <a:gd name="connsiteX15" fmla="*/ 750 w 80340"/>
                <a:gd name="connsiteY15" fmla="*/ 11371 h 108581"/>
                <a:gd name="connsiteX16" fmla="*/ 0 w 80340"/>
                <a:gd name="connsiteY16" fmla="*/ 10496 h 108581"/>
                <a:gd name="connsiteX17" fmla="*/ 63348 w 80340"/>
                <a:gd name="connsiteY17" fmla="*/ 108582 h 108581"/>
                <a:gd name="connsiteX18" fmla="*/ 63972 w 80340"/>
                <a:gd name="connsiteY18" fmla="*/ 108582 h 108581"/>
                <a:gd name="connsiteX19" fmla="*/ 63972 w 80340"/>
                <a:gd name="connsiteY19" fmla="*/ 106833 h 108581"/>
                <a:gd name="connsiteX20" fmla="*/ 71969 w 80340"/>
                <a:gd name="connsiteY20" fmla="*/ 94338 h 108581"/>
                <a:gd name="connsiteX21" fmla="*/ 80340 w 80340"/>
                <a:gd name="connsiteY21" fmla="*/ 99210 h 108581"/>
                <a:gd name="connsiteX22" fmla="*/ 80340 w 80340"/>
                <a:gd name="connsiteY22" fmla="*/ 98461 h 10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40" h="108581">
                  <a:moveTo>
                    <a:pt x="14619" y="0"/>
                  </a:moveTo>
                  <a:lnTo>
                    <a:pt x="14619" y="2999"/>
                  </a:lnTo>
                  <a:cubicBezTo>
                    <a:pt x="14681" y="3411"/>
                    <a:pt x="14681" y="3836"/>
                    <a:pt x="14619" y="4248"/>
                  </a:cubicBezTo>
                  <a:cubicBezTo>
                    <a:pt x="14681" y="4961"/>
                    <a:pt x="14681" y="5660"/>
                    <a:pt x="14619" y="6373"/>
                  </a:cubicBezTo>
                  <a:cubicBezTo>
                    <a:pt x="14694" y="7035"/>
                    <a:pt x="14694" y="7709"/>
                    <a:pt x="14619" y="8372"/>
                  </a:cubicBezTo>
                  <a:lnTo>
                    <a:pt x="13869" y="10121"/>
                  </a:lnTo>
                  <a:lnTo>
                    <a:pt x="12745" y="11870"/>
                  </a:lnTo>
                  <a:lnTo>
                    <a:pt x="11995" y="12745"/>
                  </a:lnTo>
                  <a:cubicBezTo>
                    <a:pt x="11995" y="12745"/>
                    <a:pt x="11995" y="12745"/>
                    <a:pt x="11370" y="12745"/>
                  </a:cubicBezTo>
                  <a:lnTo>
                    <a:pt x="9871" y="13745"/>
                  </a:lnTo>
                  <a:lnTo>
                    <a:pt x="8121" y="14369"/>
                  </a:lnTo>
                  <a:lnTo>
                    <a:pt x="8121" y="14369"/>
                  </a:lnTo>
                  <a:lnTo>
                    <a:pt x="5248" y="14369"/>
                  </a:lnTo>
                  <a:lnTo>
                    <a:pt x="3623" y="13745"/>
                  </a:lnTo>
                  <a:lnTo>
                    <a:pt x="2249" y="12745"/>
                  </a:lnTo>
                  <a:cubicBezTo>
                    <a:pt x="1687" y="12358"/>
                    <a:pt x="1187" y="11895"/>
                    <a:pt x="750" y="11371"/>
                  </a:cubicBezTo>
                  <a:lnTo>
                    <a:pt x="0" y="10496"/>
                  </a:lnTo>
                  <a:lnTo>
                    <a:pt x="63348" y="108582"/>
                  </a:lnTo>
                  <a:lnTo>
                    <a:pt x="63972" y="108582"/>
                  </a:lnTo>
                  <a:lnTo>
                    <a:pt x="63972" y="106833"/>
                  </a:lnTo>
                  <a:cubicBezTo>
                    <a:pt x="62810" y="101185"/>
                    <a:pt x="66359" y="95637"/>
                    <a:pt x="71969" y="94338"/>
                  </a:cubicBezTo>
                  <a:cubicBezTo>
                    <a:pt x="75492" y="94087"/>
                    <a:pt x="78816" y="96024"/>
                    <a:pt x="80340" y="99210"/>
                  </a:cubicBezTo>
                  <a:lnTo>
                    <a:pt x="80340" y="98461"/>
                  </a:lnTo>
                  <a:close/>
                </a:path>
              </a:pathLst>
            </a:custGeom>
            <a:solidFill>
              <a:srgbClr val="000000"/>
            </a:solidFill>
            <a:ln w="12483" cap="flat">
              <a:noFill/>
              <a:prstDash val="solid"/>
              <a:miter/>
            </a:ln>
          </p:spPr>
          <p:txBody>
            <a:bodyPr rtlCol="0" anchor="ctr"/>
            <a:lstStyle/>
            <a:p>
              <a:endParaRPr lang="en-US"/>
            </a:p>
          </p:txBody>
        </p:sp>
        <p:sp>
          <p:nvSpPr>
            <p:cNvPr id="1524" name="Freeform: Shape 1523">
              <a:extLst>
                <a:ext uri="{FF2B5EF4-FFF2-40B4-BE49-F238E27FC236}">
                  <a16:creationId xmlns:a16="http://schemas.microsoft.com/office/drawing/2014/main" id="{6555AC75-589F-4F26-A254-490601065BAC}"/>
                </a:ext>
              </a:extLst>
            </p:cNvPr>
            <p:cNvSpPr/>
            <p:nvPr/>
          </p:nvSpPr>
          <p:spPr>
            <a:xfrm>
              <a:off x="8139763" y="6329858"/>
              <a:ext cx="3748" cy="8246"/>
            </a:xfrm>
            <a:custGeom>
              <a:avLst/>
              <a:gdLst>
                <a:gd name="connsiteX0" fmla="*/ 2499 w 3748"/>
                <a:gd name="connsiteY0" fmla="*/ 0 h 8246"/>
                <a:gd name="connsiteX1" fmla="*/ 0 w 3748"/>
                <a:gd name="connsiteY1" fmla="*/ 2374 h 8246"/>
                <a:gd name="connsiteX2" fmla="*/ 3748 w 3748"/>
                <a:gd name="connsiteY2" fmla="*/ 8247 h 8246"/>
                <a:gd name="connsiteX3" fmla="*/ 2749 w 3748"/>
                <a:gd name="connsiteY3" fmla="*/ 500 h 8246"/>
              </a:gdLst>
              <a:ahLst/>
              <a:cxnLst>
                <a:cxn ang="0">
                  <a:pos x="connsiteX0" y="connsiteY0"/>
                </a:cxn>
                <a:cxn ang="0">
                  <a:pos x="connsiteX1" y="connsiteY1"/>
                </a:cxn>
                <a:cxn ang="0">
                  <a:pos x="connsiteX2" y="connsiteY2"/>
                </a:cxn>
                <a:cxn ang="0">
                  <a:pos x="connsiteX3" y="connsiteY3"/>
                </a:cxn>
              </a:cxnLst>
              <a:rect l="l" t="t" r="r" b="b"/>
              <a:pathLst>
                <a:path w="3748" h="8246">
                  <a:moveTo>
                    <a:pt x="2499" y="0"/>
                  </a:moveTo>
                  <a:cubicBezTo>
                    <a:pt x="1862" y="975"/>
                    <a:pt x="1000" y="1787"/>
                    <a:pt x="0" y="2374"/>
                  </a:cubicBezTo>
                  <a:lnTo>
                    <a:pt x="3748" y="8247"/>
                  </a:lnTo>
                  <a:lnTo>
                    <a:pt x="2749" y="500"/>
                  </a:lnTo>
                  <a:close/>
                </a:path>
              </a:pathLst>
            </a:custGeom>
            <a:solidFill>
              <a:srgbClr val="000000"/>
            </a:solidFill>
            <a:ln w="12483" cap="flat">
              <a:noFill/>
              <a:prstDash val="solid"/>
              <a:miter/>
            </a:ln>
          </p:spPr>
          <p:txBody>
            <a:bodyPr rtlCol="0" anchor="ctr"/>
            <a:lstStyle/>
            <a:p>
              <a:endParaRPr lang="en-US"/>
            </a:p>
          </p:txBody>
        </p:sp>
        <p:sp>
          <p:nvSpPr>
            <p:cNvPr id="1525" name="Freeform: Shape 1524">
              <a:extLst>
                <a:ext uri="{FF2B5EF4-FFF2-40B4-BE49-F238E27FC236}">
                  <a16:creationId xmlns:a16="http://schemas.microsoft.com/office/drawing/2014/main" id="{3C34EC84-E89D-4DA3-B1DD-1E339CDFFA7B}"/>
                </a:ext>
              </a:extLst>
            </p:cNvPr>
            <p:cNvSpPr/>
            <p:nvPr/>
          </p:nvSpPr>
          <p:spPr>
            <a:xfrm>
              <a:off x="8446843" y="6141683"/>
              <a:ext cx="37" cy="749"/>
            </a:xfrm>
            <a:custGeom>
              <a:avLst/>
              <a:gdLst>
                <a:gd name="connsiteX0" fmla="*/ 38 w 37"/>
                <a:gd name="connsiteY0" fmla="*/ 750 h 749"/>
                <a:gd name="connsiteX1" fmla="*/ 38 w 37"/>
                <a:gd name="connsiteY1" fmla="*/ 750 h 749"/>
                <a:gd name="connsiteX2" fmla="*/ 38 w 37"/>
                <a:gd name="connsiteY2" fmla="*/ 0 h 749"/>
                <a:gd name="connsiteX3" fmla="*/ 38 w 37"/>
                <a:gd name="connsiteY3" fmla="*/ 750 h 749"/>
              </a:gdLst>
              <a:ahLst/>
              <a:cxnLst>
                <a:cxn ang="0">
                  <a:pos x="connsiteX0" y="connsiteY0"/>
                </a:cxn>
                <a:cxn ang="0">
                  <a:pos x="connsiteX1" y="connsiteY1"/>
                </a:cxn>
                <a:cxn ang="0">
                  <a:pos x="connsiteX2" y="connsiteY2"/>
                </a:cxn>
                <a:cxn ang="0">
                  <a:pos x="connsiteX3" y="connsiteY3"/>
                </a:cxn>
              </a:cxnLst>
              <a:rect l="l" t="t" r="r" b="b"/>
              <a:pathLst>
                <a:path w="37" h="749">
                  <a:moveTo>
                    <a:pt x="38" y="750"/>
                  </a:moveTo>
                  <a:lnTo>
                    <a:pt x="38" y="750"/>
                  </a:lnTo>
                  <a:cubicBezTo>
                    <a:pt x="-13" y="500"/>
                    <a:pt x="-13" y="250"/>
                    <a:pt x="38" y="0"/>
                  </a:cubicBezTo>
                  <a:cubicBezTo>
                    <a:pt x="-13" y="250"/>
                    <a:pt x="-13" y="500"/>
                    <a:pt x="38" y="750"/>
                  </a:cubicBezTo>
                  <a:close/>
                </a:path>
              </a:pathLst>
            </a:custGeom>
            <a:solidFill>
              <a:srgbClr val="000000"/>
            </a:solidFill>
            <a:ln w="12483" cap="flat">
              <a:noFill/>
              <a:prstDash val="solid"/>
              <a:miter/>
            </a:ln>
          </p:spPr>
          <p:txBody>
            <a:bodyPr rtlCol="0" anchor="ctr"/>
            <a:lstStyle/>
            <a:p>
              <a:endParaRPr lang="en-US"/>
            </a:p>
          </p:txBody>
        </p:sp>
        <p:sp>
          <p:nvSpPr>
            <p:cNvPr id="1526" name="Freeform: Shape 1525">
              <a:extLst>
                <a:ext uri="{FF2B5EF4-FFF2-40B4-BE49-F238E27FC236}">
                  <a16:creationId xmlns:a16="http://schemas.microsoft.com/office/drawing/2014/main" id="{06B7DEE1-FCA2-44A7-8D10-81A6D76504D6}"/>
                </a:ext>
              </a:extLst>
            </p:cNvPr>
            <p:cNvSpPr/>
            <p:nvPr/>
          </p:nvSpPr>
          <p:spPr>
            <a:xfrm>
              <a:off x="8448255" y="6145181"/>
              <a:ext cx="17242" cy="25239"/>
            </a:xfrm>
            <a:custGeom>
              <a:avLst/>
              <a:gdLst>
                <a:gd name="connsiteX0" fmla="*/ 14619 w 17242"/>
                <a:gd name="connsiteY0" fmla="*/ 0 h 25239"/>
                <a:gd name="connsiteX1" fmla="*/ 8246 w 17242"/>
                <a:gd name="connsiteY1" fmla="*/ 4748 h 25239"/>
                <a:gd name="connsiteX2" fmla="*/ 0 w 17242"/>
                <a:gd name="connsiteY2" fmla="*/ 250 h 25239"/>
                <a:gd name="connsiteX3" fmla="*/ 0 w 17242"/>
                <a:gd name="connsiteY3" fmla="*/ 250 h 25239"/>
                <a:gd name="connsiteX4" fmla="*/ 0 w 17242"/>
                <a:gd name="connsiteY4" fmla="*/ 250 h 25239"/>
                <a:gd name="connsiteX5" fmla="*/ 16368 w 17242"/>
                <a:gd name="connsiteY5" fmla="*/ 25240 h 25239"/>
                <a:gd name="connsiteX6" fmla="*/ 17242 w 17242"/>
                <a:gd name="connsiteY6" fmla="*/ 25240 h 25239"/>
                <a:gd name="connsiteX7" fmla="*/ 17242 w 17242"/>
                <a:gd name="connsiteY7" fmla="*/ 23740 h 2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42" h="25239">
                  <a:moveTo>
                    <a:pt x="14619" y="0"/>
                  </a:moveTo>
                  <a:cubicBezTo>
                    <a:pt x="13344" y="2487"/>
                    <a:pt x="10995" y="4236"/>
                    <a:pt x="8246" y="4748"/>
                  </a:cubicBezTo>
                  <a:cubicBezTo>
                    <a:pt x="4823" y="5110"/>
                    <a:pt x="1537" y="3324"/>
                    <a:pt x="0" y="250"/>
                  </a:cubicBezTo>
                  <a:lnTo>
                    <a:pt x="0" y="250"/>
                  </a:lnTo>
                  <a:lnTo>
                    <a:pt x="0" y="250"/>
                  </a:lnTo>
                  <a:lnTo>
                    <a:pt x="16368" y="25240"/>
                  </a:lnTo>
                  <a:lnTo>
                    <a:pt x="17242" y="25240"/>
                  </a:lnTo>
                  <a:cubicBezTo>
                    <a:pt x="17242" y="25240"/>
                    <a:pt x="17242" y="24240"/>
                    <a:pt x="17242" y="23740"/>
                  </a:cubicBezTo>
                  <a:close/>
                </a:path>
              </a:pathLst>
            </a:custGeom>
            <a:solidFill>
              <a:srgbClr val="000000"/>
            </a:solidFill>
            <a:ln w="12483" cap="flat">
              <a:noFill/>
              <a:prstDash val="solid"/>
              <a:miter/>
            </a:ln>
          </p:spPr>
          <p:txBody>
            <a:bodyPr rtlCol="0" anchor="ctr"/>
            <a:lstStyle/>
            <a:p>
              <a:endParaRPr lang="en-US"/>
            </a:p>
          </p:txBody>
        </p:sp>
        <p:sp>
          <p:nvSpPr>
            <p:cNvPr id="1527" name="Freeform: Shape 1526">
              <a:extLst>
                <a:ext uri="{FF2B5EF4-FFF2-40B4-BE49-F238E27FC236}">
                  <a16:creationId xmlns:a16="http://schemas.microsoft.com/office/drawing/2014/main" id="{EA28CFD6-11C4-4898-8EDC-4A08B3CE3DF0}"/>
                </a:ext>
              </a:extLst>
            </p:cNvPr>
            <p:cNvSpPr/>
            <p:nvPr/>
          </p:nvSpPr>
          <p:spPr>
            <a:xfrm>
              <a:off x="8466872" y="6174295"/>
              <a:ext cx="749" cy="874"/>
            </a:xfrm>
            <a:custGeom>
              <a:avLst/>
              <a:gdLst>
                <a:gd name="connsiteX0" fmla="*/ 0 w 749"/>
                <a:gd name="connsiteY0" fmla="*/ 0 h 874"/>
                <a:gd name="connsiteX1" fmla="*/ 0 w 749"/>
                <a:gd name="connsiteY1" fmla="*/ 0 h 874"/>
                <a:gd name="connsiteX2" fmla="*/ 0 w 749"/>
                <a:gd name="connsiteY2" fmla="*/ 0 h 874"/>
                <a:gd name="connsiteX3" fmla="*/ 750 w 749"/>
                <a:gd name="connsiteY3" fmla="*/ 875 h 874"/>
                <a:gd name="connsiteX4" fmla="*/ 0 w 749"/>
                <a:gd name="connsiteY4" fmla="*/ 0 h 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 h="874">
                  <a:moveTo>
                    <a:pt x="0" y="0"/>
                  </a:moveTo>
                  <a:lnTo>
                    <a:pt x="0" y="0"/>
                  </a:lnTo>
                  <a:lnTo>
                    <a:pt x="0" y="0"/>
                  </a:lnTo>
                  <a:lnTo>
                    <a:pt x="750" y="875"/>
                  </a:lnTo>
                  <a:cubicBezTo>
                    <a:pt x="525" y="562"/>
                    <a:pt x="275" y="275"/>
                    <a:pt x="0" y="0"/>
                  </a:cubicBezTo>
                  <a:close/>
                </a:path>
              </a:pathLst>
            </a:custGeom>
            <a:solidFill>
              <a:srgbClr val="000000"/>
            </a:solidFill>
            <a:ln w="12483" cap="flat">
              <a:noFill/>
              <a:prstDash val="solid"/>
              <a:miter/>
            </a:ln>
          </p:spPr>
          <p:txBody>
            <a:bodyPr rtlCol="0" anchor="ctr"/>
            <a:lstStyle/>
            <a:p>
              <a:endParaRPr lang="en-US"/>
            </a:p>
          </p:txBody>
        </p:sp>
        <p:sp>
          <p:nvSpPr>
            <p:cNvPr id="1528" name="Freeform: Shape 1527">
              <a:extLst>
                <a:ext uri="{FF2B5EF4-FFF2-40B4-BE49-F238E27FC236}">
                  <a16:creationId xmlns:a16="http://schemas.microsoft.com/office/drawing/2014/main" id="{90A6FB24-3957-45BB-BE9A-79601A6A5F9A}"/>
                </a:ext>
              </a:extLst>
            </p:cNvPr>
            <p:cNvSpPr/>
            <p:nvPr/>
          </p:nvSpPr>
          <p:spPr>
            <a:xfrm>
              <a:off x="8478992" y="6175669"/>
              <a:ext cx="1374" cy="1249"/>
            </a:xfrm>
            <a:custGeom>
              <a:avLst/>
              <a:gdLst>
                <a:gd name="connsiteX0" fmla="*/ 625 w 1374"/>
                <a:gd name="connsiteY0" fmla="*/ 875 h 1249"/>
                <a:gd name="connsiteX1" fmla="*/ 1374 w 1374"/>
                <a:gd name="connsiteY1" fmla="*/ 0 h 1249"/>
                <a:gd name="connsiteX2" fmla="*/ 0 w 1374"/>
                <a:gd name="connsiteY2" fmla="*/ 1250 h 1249"/>
                <a:gd name="connsiteX3" fmla="*/ 625 w 1374"/>
                <a:gd name="connsiteY3" fmla="*/ 875 h 1249"/>
              </a:gdLst>
              <a:ahLst/>
              <a:cxnLst>
                <a:cxn ang="0">
                  <a:pos x="connsiteX0" y="connsiteY0"/>
                </a:cxn>
                <a:cxn ang="0">
                  <a:pos x="connsiteX1" y="connsiteY1"/>
                </a:cxn>
                <a:cxn ang="0">
                  <a:pos x="connsiteX2" y="connsiteY2"/>
                </a:cxn>
                <a:cxn ang="0">
                  <a:pos x="connsiteX3" y="connsiteY3"/>
                </a:cxn>
              </a:cxnLst>
              <a:rect l="l" t="t" r="r" b="b"/>
              <a:pathLst>
                <a:path w="1374" h="1249">
                  <a:moveTo>
                    <a:pt x="625" y="875"/>
                  </a:moveTo>
                  <a:lnTo>
                    <a:pt x="1374" y="0"/>
                  </a:lnTo>
                  <a:lnTo>
                    <a:pt x="0" y="1250"/>
                  </a:lnTo>
                  <a:cubicBezTo>
                    <a:pt x="0" y="1250"/>
                    <a:pt x="500" y="1125"/>
                    <a:pt x="625" y="875"/>
                  </a:cubicBezTo>
                  <a:close/>
                </a:path>
              </a:pathLst>
            </a:custGeom>
            <a:solidFill>
              <a:srgbClr val="000000"/>
            </a:solidFill>
            <a:ln w="12483" cap="flat">
              <a:noFill/>
              <a:prstDash val="solid"/>
              <a:miter/>
            </a:ln>
          </p:spPr>
          <p:txBody>
            <a:bodyPr rtlCol="0" anchor="ctr"/>
            <a:lstStyle/>
            <a:p>
              <a:endParaRPr lang="en-US"/>
            </a:p>
          </p:txBody>
        </p:sp>
        <p:sp>
          <p:nvSpPr>
            <p:cNvPr id="1529" name="Freeform: Shape 1528">
              <a:extLst>
                <a:ext uri="{FF2B5EF4-FFF2-40B4-BE49-F238E27FC236}">
                  <a16:creationId xmlns:a16="http://schemas.microsoft.com/office/drawing/2014/main" id="{3742A20B-F6B7-4DD1-92E6-57F748517247}"/>
                </a:ext>
              </a:extLst>
            </p:cNvPr>
            <p:cNvSpPr/>
            <p:nvPr/>
          </p:nvSpPr>
          <p:spPr>
            <a:xfrm>
              <a:off x="8125269" y="6308616"/>
              <a:ext cx="10245" cy="24490"/>
            </a:xfrm>
            <a:custGeom>
              <a:avLst/>
              <a:gdLst>
                <a:gd name="connsiteX0" fmla="*/ 1749 w 10245"/>
                <a:gd name="connsiteY0" fmla="*/ 15369 h 24490"/>
                <a:gd name="connsiteX1" fmla="*/ 10245 w 10245"/>
                <a:gd name="connsiteY1" fmla="*/ 24491 h 24490"/>
                <a:gd name="connsiteX2" fmla="*/ 9121 w 10245"/>
                <a:gd name="connsiteY2" fmla="*/ 14619 h 24490"/>
                <a:gd name="connsiteX3" fmla="*/ 0 w 10245"/>
                <a:gd name="connsiteY3" fmla="*/ 0 h 24490"/>
              </a:gdLst>
              <a:ahLst/>
              <a:cxnLst>
                <a:cxn ang="0">
                  <a:pos x="connsiteX0" y="connsiteY0"/>
                </a:cxn>
                <a:cxn ang="0">
                  <a:pos x="connsiteX1" y="connsiteY1"/>
                </a:cxn>
                <a:cxn ang="0">
                  <a:pos x="connsiteX2" y="connsiteY2"/>
                </a:cxn>
                <a:cxn ang="0">
                  <a:pos x="connsiteX3" y="connsiteY3"/>
                </a:cxn>
              </a:cxnLst>
              <a:rect l="l" t="t" r="r" b="b"/>
              <a:pathLst>
                <a:path w="10245" h="24490">
                  <a:moveTo>
                    <a:pt x="1749" y="15369"/>
                  </a:moveTo>
                  <a:cubicBezTo>
                    <a:pt x="1912" y="20105"/>
                    <a:pt x="5535" y="23991"/>
                    <a:pt x="10245" y="24491"/>
                  </a:cubicBezTo>
                  <a:lnTo>
                    <a:pt x="9121" y="14619"/>
                  </a:lnTo>
                  <a:lnTo>
                    <a:pt x="0" y="0"/>
                  </a:lnTo>
                  <a:close/>
                </a:path>
              </a:pathLst>
            </a:custGeom>
            <a:solidFill>
              <a:srgbClr val="000000"/>
            </a:solidFill>
            <a:ln w="12483" cap="flat">
              <a:noFill/>
              <a:prstDash val="solid"/>
              <a:miter/>
            </a:ln>
          </p:spPr>
          <p:txBody>
            <a:bodyPr rtlCol="0" anchor="ctr"/>
            <a:lstStyle/>
            <a:p>
              <a:endParaRPr lang="en-US"/>
            </a:p>
          </p:txBody>
        </p:sp>
        <p:sp>
          <p:nvSpPr>
            <p:cNvPr id="1530" name="Freeform: Shape 1529">
              <a:extLst>
                <a:ext uri="{FF2B5EF4-FFF2-40B4-BE49-F238E27FC236}">
                  <a16:creationId xmlns:a16="http://schemas.microsoft.com/office/drawing/2014/main" id="{B166AD7C-51A6-4275-9751-F423FE26B293}"/>
                </a:ext>
              </a:extLst>
            </p:cNvPr>
            <p:cNvSpPr/>
            <p:nvPr/>
          </p:nvSpPr>
          <p:spPr>
            <a:xfrm>
              <a:off x="8117523" y="6185665"/>
              <a:ext cx="11120" cy="7122"/>
            </a:xfrm>
            <a:custGeom>
              <a:avLst/>
              <a:gdLst>
                <a:gd name="connsiteX0" fmla="*/ 8371 w 11120"/>
                <a:gd name="connsiteY0" fmla="*/ 1000 h 7122"/>
                <a:gd name="connsiteX1" fmla="*/ 6747 w 11120"/>
                <a:gd name="connsiteY1" fmla="*/ 0 h 7122"/>
                <a:gd name="connsiteX2" fmla="*/ 5248 w 11120"/>
                <a:gd name="connsiteY2" fmla="*/ 0 h 7122"/>
                <a:gd name="connsiteX3" fmla="*/ 2249 w 11120"/>
                <a:gd name="connsiteY3" fmla="*/ 0 h 7122"/>
                <a:gd name="connsiteX4" fmla="*/ 2249 w 11120"/>
                <a:gd name="connsiteY4" fmla="*/ 0 h 7122"/>
                <a:gd name="connsiteX5" fmla="*/ 625 w 11120"/>
                <a:gd name="connsiteY5" fmla="*/ 0 h 7122"/>
                <a:gd name="connsiteX6" fmla="*/ 0 w 11120"/>
                <a:gd name="connsiteY6" fmla="*/ 0 h 7122"/>
                <a:gd name="connsiteX7" fmla="*/ 4498 w 11120"/>
                <a:gd name="connsiteY7" fmla="*/ 7122 h 7122"/>
                <a:gd name="connsiteX8" fmla="*/ 11120 w 11120"/>
                <a:gd name="connsiteY8" fmla="*/ 3249 h 7122"/>
                <a:gd name="connsiteX9" fmla="*/ 10245 w 11120"/>
                <a:gd name="connsiteY9" fmla="*/ 1999 h 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0" h="7122">
                  <a:moveTo>
                    <a:pt x="8371" y="1000"/>
                  </a:moveTo>
                  <a:cubicBezTo>
                    <a:pt x="7909" y="550"/>
                    <a:pt x="7359" y="212"/>
                    <a:pt x="6747" y="0"/>
                  </a:cubicBezTo>
                  <a:lnTo>
                    <a:pt x="5248" y="0"/>
                  </a:lnTo>
                  <a:lnTo>
                    <a:pt x="2249" y="0"/>
                  </a:lnTo>
                  <a:lnTo>
                    <a:pt x="2249" y="0"/>
                  </a:lnTo>
                  <a:lnTo>
                    <a:pt x="625" y="0"/>
                  </a:lnTo>
                  <a:lnTo>
                    <a:pt x="0" y="0"/>
                  </a:lnTo>
                  <a:lnTo>
                    <a:pt x="4498" y="7122"/>
                  </a:lnTo>
                  <a:lnTo>
                    <a:pt x="11120" y="3249"/>
                  </a:lnTo>
                  <a:lnTo>
                    <a:pt x="10245" y="1999"/>
                  </a:lnTo>
                  <a:close/>
                </a:path>
              </a:pathLst>
            </a:custGeom>
            <a:solidFill>
              <a:srgbClr val="000000"/>
            </a:solidFill>
            <a:ln w="12483" cap="flat">
              <a:noFill/>
              <a:prstDash val="solid"/>
              <a:miter/>
            </a:ln>
          </p:spPr>
          <p:txBody>
            <a:bodyPr rtlCol="0" anchor="ctr"/>
            <a:lstStyle/>
            <a:p>
              <a:endParaRPr lang="en-US"/>
            </a:p>
          </p:txBody>
        </p:sp>
        <p:sp>
          <p:nvSpPr>
            <p:cNvPr id="1531" name="Freeform: Shape 1530">
              <a:extLst>
                <a:ext uri="{FF2B5EF4-FFF2-40B4-BE49-F238E27FC236}">
                  <a16:creationId xmlns:a16="http://schemas.microsoft.com/office/drawing/2014/main" id="{2AED30AA-9600-48D7-BF10-3DCDE10D7F5D}"/>
                </a:ext>
              </a:extLst>
            </p:cNvPr>
            <p:cNvSpPr/>
            <p:nvPr/>
          </p:nvSpPr>
          <p:spPr>
            <a:xfrm>
              <a:off x="8113353" y="6188914"/>
              <a:ext cx="29908" cy="131822"/>
            </a:xfrm>
            <a:custGeom>
              <a:avLst/>
              <a:gdLst>
                <a:gd name="connsiteX0" fmla="*/ 16540 w 29908"/>
                <a:gd name="connsiteY0" fmla="*/ 5123 h 131822"/>
                <a:gd name="connsiteX1" fmla="*/ 16540 w 29908"/>
                <a:gd name="connsiteY1" fmla="*/ 3873 h 131822"/>
                <a:gd name="connsiteX2" fmla="*/ 8668 w 29908"/>
                <a:gd name="connsiteY2" fmla="*/ 8372 h 131822"/>
                <a:gd name="connsiteX3" fmla="*/ 7669 w 29908"/>
                <a:gd name="connsiteY3" fmla="*/ 8372 h 131822"/>
                <a:gd name="connsiteX4" fmla="*/ 7044 w 29908"/>
                <a:gd name="connsiteY4" fmla="*/ 8372 h 131822"/>
                <a:gd name="connsiteX5" fmla="*/ 7044 w 29908"/>
                <a:gd name="connsiteY5" fmla="*/ 8372 h 131822"/>
                <a:gd name="connsiteX6" fmla="*/ 1671 w 29908"/>
                <a:gd name="connsiteY6" fmla="*/ 0 h 131822"/>
                <a:gd name="connsiteX7" fmla="*/ 797 w 29908"/>
                <a:gd name="connsiteY7" fmla="*/ 1374 h 131822"/>
                <a:gd name="connsiteX8" fmla="*/ 47 w 29908"/>
                <a:gd name="connsiteY8" fmla="*/ 3124 h 131822"/>
                <a:gd name="connsiteX9" fmla="*/ 47 w 29908"/>
                <a:gd name="connsiteY9" fmla="*/ 5123 h 131822"/>
                <a:gd name="connsiteX10" fmla="*/ 47 w 29908"/>
                <a:gd name="connsiteY10" fmla="*/ 7372 h 131822"/>
                <a:gd name="connsiteX11" fmla="*/ 47 w 29908"/>
                <a:gd name="connsiteY11" fmla="*/ 8747 h 131822"/>
                <a:gd name="connsiteX12" fmla="*/ 12542 w 29908"/>
                <a:gd name="connsiteY12" fmla="*/ 112455 h 131822"/>
                <a:gd name="connsiteX13" fmla="*/ 25036 w 29908"/>
                <a:gd name="connsiteY13" fmla="*/ 131822 h 131822"/>
                <a:gd name="connsiteX14" fmla="*/ 29909 w 29908"/>
                <a:gd name="connsiteY14" fmla="*/ 129073 h 131822"/>
                <a:gd name="connsiteX15" fmla="*/ 19289 w 29908"/>
                <a:gd name="connsiteY15" fmla="*/ 38110 h 131822"/>
                <a:gd name="connsiteX16" fmla="*/ 19289 w 29908"/>
                <a:gd name="connsiteY16" fmla="*/ 38110 h 131822"/>
                <a:gd name="connsiteX17" fmla="*/ 19289 w 29908"/>
                <a:gd name="connsiteY17" fmla="*/ 35861 h 131822"/>
                <a:gd name="connsiteX18" fmla="*/ 19289 w 29908"/>
                <a:gd name="connsiteY18" fmla="*/ 33986 h 131822"/>
                <a:gd name="connsiteX19" fmla="*/ 20163 w 29908"/>
                <a:gd name="connsiteY19" fmla="*/ 31987 h 131822"/>
                <a:gd name="connsiteX20" fmla="*/ 20913 w 29908"/>
                <a:gd name="connsiteY20" fmla="*/ 30363 h 131822"/>
                <a:gd name="connsiteX21" fmla="*/ 20913 w 29908"/>
                <a:gd name="connsiteY21" fmla="*/ 30363 h 13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908" h="131822">
                  <a:moveTo>
                    <a:pt x="16540" y="5123"/>
                  </a:moveTo>
                  <a:cubicBezTo>
                    <a:pt x="16577" y="4710"/>
                    <a:pt x="16577" y="4286"/>
                    <a:pt x="16540" y="3873"/>
                  </a:cubicBezTo>
                  <a:lnTo>
                    <a:pt x="8668" y="8372"/>
                  </a:lnTo>
                  <a:lnTo>
                    <a:pt x="7669" y="8372"/>
                  </a:lnTo>
                  <a:lnTo>
                    <a:pt x="7044" y="8372"/>
                  </a:lnTo>
                  <a:lnTo>
                    <a:pt x="7044" y="8372"/>
                  </a:lnTo>
                  <a:lnTo>
                    <a:pt x="1671" y="0"/>
                  </a:lnTo>
                  <a:lnTo>
                    <a:pt x="797" y="1374"/>
                  </a:lnTo>
                  <a:lnTo>
                    <a:pt x="47" y="3124"/>
                  </a:lnTo>
                  <a:cubicBezTo>
                    <a:pt x="47" y="3873"/>
                    <a:pt x="47" y="4498"/>
                    <a:pt x="47" y="5123"/>
                  </a:cubicBezTo>
                  <a:cubicBezTo>
                    <a:pt x="-16" y="5873"/>
                    <a:pt x="-16" y="6622"/>
                    <a:pt x="47" y="7372"/>
                  </a:cubicBezTo>
                  <a:cubicBezTo>
                    <a:pt x="-16" y="7822"/>
                    <a:pt x="-16" y="8284"/>
                    <a:pt x="47" y="8747"/>
                  </a:cubicBezTo>
                  <a:lnTo>
                    <a:pt x="12542" y="112455"/>
                  </a:lnTo>
                  <a:lnTo>
                    <a:pt x="25036" y="131822"/>
                  </a:lnTo>
                  <a:lnTo>
                    <a:pt x="29909" y="129073"/>
                  </a:lnTo>
                  <a:lnTo>
                    <a:pt x="19289" y="38110"/>
                  </a:lnTo>
                  <a:cubicBezTo>
                    <a:pt x="19289" y="38110"/>
                    <a:pt x="19289" y="38110"/>
                    <a:pt x="19289" y="38110"/>
                  </a:cubicBezTo>
                  <a:cubicBezTo>
                    <a:pt x="19289" y="38110"/>
                    <a:pt x="19289" y="36610"/>
                    <a:pt x="19289" y="35861"/>
                  </a:cubicBezTo>
                  <a:cubicBezTo>
                    <a:pt x="19289" y="35111"/>
                    <a:pt x="19289" y="34486"/>
                    <a:pt x="19289" y="33986"/>
                  </a:cubicBezTo>
                  <a:cubicBezTo>
                    <a:pt x="19501" y="33287"/>
                    <a:pt x="19801" y="32624"/>
                    <a:pt x="20163" y="31987"/>
                  </a:cubicBezTo>
                  <a:cubicBezTo>
                    <a:pt x="20338" y="31413"/>
                    <a:pt x="20588" y="30863"/>
                    <a:pt x="20913" y="30363"/>
                  </a:cubicBezTo>
                  <a:lnTo>
                    <a:pt x="20913" y="30363"/>
                  </a:lnTo>
                  <a:close/>
                </a:path>
              </a:pathLst>
            </a:custGeom>
            <a:solidFill>
              <a:srgbClr val="000000"/>
            </a:solidFill>
            <a:ln w="12483" cap="flat">
              <a:noFill/>
              <a:prstDash val="solid"/>
              <a:miter/>
            </a:ln>
          </p:spPr>
          <p:txBody>
            <a:bodyPr rtlCol="0" anchor="ctr"/>
            <a:lstStyle/>
            <a:p>
              <a:endParaRPr lang="en-US"/>
            </a:p>
          </p:txBody>
        </p:sp>
        <p:sp>
          <p:nvSpPr>
            <p:cNvPr id="1532" name="Freeform: Shape 1531">
              <a:extLst>
                <a:ext uri="{FF2B5EF4-FFF2-40B4-BE49-F238E27FC236}">
                  <a16:creationId xmlns:a16="http://schemas.microsoft.com/office/drawing/2014/main" id="{3F336CBF-8D01-4B3C-A928-3EA0CD07C72E}"/>
                </a:ext>
              </a:extLst>
            </p:cNvPr>
            <p:cNvSpPr/>
            <p:nvPr/>
          </p:nvSpPr>
          <p:spPr>
            <a:xfrm>
              <a:off x="8137514" y="6321611"/>
              <a:ext cx="4997" cy="11245"/>
            </a:xfrm>
            <a:custGeom>
              <a:avLst/>
              <a:gdLst>
                <a:gd name="connsiteX0" fmla="*/ 4998 w 4997"/>
                <a:gd name="connsiteY0" fmla="*/ 8247 h 11245"/>
                <a:gd name="connsiteX1" fmla="*/ 3998 w 4997"/>
                <a:gd name="connsiteY1" fmla="*/ 0 h 11245"/>
                <a:gd name="connsiteX2" fmla="*/ 0 w 4997"/>
                <a:gd name="connsiteY2" fmla="*/ 2249 h 11245"/>
                <a:gd name="connsiteX3" fmla="*/ 1000 w 4997"/>
                <a:gd name="connsiteY3" fmla="*/ 11245 h 11245"/>
                <a:gd name="connsiteX4" fmla="*/ 2249 w 4997"/>
                <a:gd name="connsiteY4" fmla="*/ 11245 h 11245"/>
                <a:gd name="connsiteX5" fmla="*/ 4748 w 4997"/>
                <a:gd name="connsiteY5" fmla="*/ 8871 h 1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7" h="11245">
                  <a:moveTo>
                    <a:pt x="4998" y="8247"/>
                  </a:moveTo>
                  <a:lnTo>
                    <a:pt x="3998" y="0"/>
                  </a:lnTo>
                  <a:lnTo>
                    <a:pt x="0" y="2249"/>
                  </a:lnTo>
                  <a:lnTo>
                    <a:pt x="1000" y="11245"/>
                  </a:lnTo>
                  <a:lnTo>
                    <a:pt x="2249" y="11245"/>
                  </a:lnTo>
                  <a:cubicBezTo>
                    <a:pt x="3249" y="10658"/>
                    <a:pt x="4111" y="9846"/>
                    <a:pt x="4748" y="8871"/>
                  </a:cubicBezTo>
                  <a:close/>
                </a:path>
              </a:pathLst>
            </a:custGeom>
            <a:solidFill>
              <a:srgbClr val="000000"/>
            </a:solidFill>
            <a:ln w="12483" cap="flat">
              <a:noFill/>
              <a:prstDash val="solid"/>
              <a:miter/>
            </a:ln>
          </p:spPr>
          <p:txBody>
            <a:bodyPr rtlCol="0" anchor="ctr"/>
            <a:lstStyle/>
            <a:p>
              <a:endParaRPr lang="en-US"/>
            </a:p>
          </p:txBody>
        </p:sp>
        <p:sp>
          <p:nvSpPr>
            <p:cNvPr id="1533" name="Freeform: Shape 1532">
              <a:extLst>
                <a:ext uri="{FF2B5EF4-FFF2-40B4-BE49-F238E27FC236}">
                  <a16:creationId xmlns:a16="http://schemas.microsoft.com/office/drawing/2014/main" id="{D8C597AE-264E-4F57-8664-0893809F4978}"/>
                </a:ext>
              </a:extLst>
            </p:cNvPr>
            <p:cNvSpPr/>
            <p:nvPr/>
          </p:nvSpPr>
          <p:spPr>
            <a:xfrm>
              <a:off x="8158255" y="6141933"/>
              <a:ext cx="289999" cy="169557"/>
            </a:xfrm>
            <a:custGeom>
              <a:avLst/>
              <a:gdLst>
                <a:gd name="connsiteX0" fmla="*/ 290000 w 289999"/>
                <a:gd name="connsiteY0" fmla="*/ 3499 h 169557"/>
                <a:gd name="connsiteX1" fmla="*/ 288750 w 289999"/>
                <a:gd name="connsiteY1" fmla="*/ 0 h 169557"/>
                <a:gd name="connsiteX2" fmla="*/ 288750 w 289999"/>
                <a:gd name="connsiteY2" fmla="*/ 0 h 169557"/>
                <a:gd name="connsiteX3" fmla="*/ 0 w 289999"/>
                <a:gd name="connsiteY3" fmla="*/ 165559 h 169557"/>
                <a:gd name="connsiteX4" fmla="*/ 0 w 289999"/>
                <a:gd name="connsiteY4" fmla="*/ 169557 h 169557"/>
                <a:gd name="connsiteX5" fmla="*/ 289750 w 289999"/>
                <a:gd name="connsiteY5" fmla="*/ 3499 h 1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99" h="169557">
                  <a:moveTo>
                    <a:pt x="290000" y="3499"/>
                  </a:moveTo>
                  <a:cubicBezTo>
                    <a:pt x="289362" y="2424"/>
                    <a:pt x="288938" y="1237"/>
                    <a:pt x="288750" y="0"/>
                  </a:cubicBezTo>
                  <a:lnTo>
                    <a:pt x="288750" y="0"/>
                  </a:lnTo>
                  <a:lnTo>
                    <a:pt x="0" y="165559"/>
                  </a:lnTo>
                  <a:lnTo>
                    <a:pt x="0" y="169557"/>
                  </a:lnTo>
                  <a:lnTo>
                    <a:pt x="289750" y="3499"/>
                  </a:lnTo>
                  <a:close/>
                </a:path>
              </a:pathLst>
            </a:custGeom>
            <a:solidFill>
              <a:srgbClr val="000000"/>
            </a:solidFill>
            <a:ln w="12483" cap="flat">
              <a:noFill/>
              <a:prstDash val="solid"/>
              <a:miter/>
            </a:ln>
          </p:spPr>
          <p:txBody>
            <a:bodyPr rtlCol="0" anchor="ctr"/>
            <a:lstStyle/>
            <a:p>
              <a:endParaRPr lang="en-US"/>
            </a:p>
          </p:txBody>
        </p:sp>
        <p:sp>
          <p:nvSpPr>
            <p:cNvPr id="1534" name="Freeform: Shape 1533">
              <a:extLst>
                <a:ext uri="{FF2B5EF4-FFF2-40B4-BE49-F238E27FC236}">
                  <a16:creationId xmlns:a16="http://schemas.microsoft.com/office/drawing/2014/main" id="{FD6949C9-3D5A-41CB-B7D3-F4A4E19D2B9F}"/>
                </a:ext>
              </a:extLst>
            </p:cNvPr>
            <p:cNvSpPr/>
            <p:nvPr/>
          </p:nvSpPr>
          <p:spPr>
            <a:xfrm>
              <a:off x="8136265" y="6317363"/>
              <a:ext cx="4872" cy="5372"/>
            </a:xfrm>
            <a:custGeom>
              <a:avLst/>
              <a:gdLst>
                <a:gd name="connsiteX0" fmla="*/ 4873 w 4872"/>
                <a:gd name="connsiteY0" fmla="*/ 0 h 5372"/>
                <a:gd name="connsiteX1" fmla="*/ 0 w 4872"/>
                <a:gd name="connsiteY1" fmla="*/ 2749 h 5372"/>
                <a:gd name="connsiteX2" fmla="*/ 750 w 4872"/>
                <a:gd name="connsiteY2" fmla="*/ 3998 h 5372"/>
                <a:gd name="connsiteX3" fmla="*/ 750 w 4872"/>
                <a:gd name="connsiteY3" fmla="*/ 3998 h 5372"/>
                <a:gd name="connsiteX4" fmla="*/ 750 w 4872"/>
                <a:gd name="connsiteY4" fmla="*/ 5373 h 5372"/>
                <a:gd name="connsiteX5" fmla="*/ 4748 w 4872"/>
                <a:gd name="connsiteY5" fmla="*/ 3124 h 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72" h="5372">
                  <a:moveTo>
                    <a:pt x="4873" y="0"/>
                  </a:moveTo>
                  <a:lnTo>
                    <a:pt x="0" y="2749"/>
                  </a:lnTo>
                  <a:lnTo>
                    <a:pt x="750" y="3998"/>
                  </a:lnTo>
                  <a:lnTo>
                    <a:pt x="750" y="3998"/>
                  </a:lnTo>
                  <a:lnTo>
                    <a:pt x="750" y="5373"/>
                  </a:lnTo>
                  <a:lnTo>
                    <a:pt x="4748" y="3124"/>
                  </a:lnTo>
                  <a:close/>
                </a:path>
              </a:pathLst>
            </a:custGeom>
            <a:solidFill>
              <a:srgbClr val="000000"/>
            </a:solidFill>
            <a:ln w="12483" cap="flat">
              <a:noFill/>
              <a:prstDash val="solid"/>
              <a:miter/>
            </a:ln>
          </p:spPr>
          <p:txBody>
            <a:bodyPr rtlCol="0" anchor="ctr"/>
            <a:lstStyle/>
            <a:p>
              <a:endParaRPr lang="en-US"/>
            </a:p>
          </p:txBody>
        </p:sp>
        <p:sp>
          <p:nvSpPr>
            <p:cNvPr id="1535" name="Freeform: Shape 1534">
              <a:extLst>
                <a:ext uri="{FF2B5EF4-FFF2-40B4-BE49-F238E27FC236}">
                  <a16:creationId xmlns:a16="http://schemas.microsoft.com/office/drawing/2014/main" id="{FEE6E77C-3D52-4B41-9113-AF5CA554F322}"/>
                </a:ext>
              </a:extLst>
            </p:cNvPr>
            <p:cNvSpPr/>
            <p:nvPr/>
          </p:nvSpPr>
          <p:spPr>
            <a:xfrm>
              <a:off x="8046179" y="6176669"/>
              <a:ext cx="90585" cy="146566"/>
            </a:xfrm>
            <a:custGeom>
              <a:avLst/>
              <a:gdLst>
                <a:gd name="connsiteX0" fmla="*/ 90086 w 90585"/>
                <a:gd name="connsiteY0" fmla="*/ 143443 h 146566"/>
                <a:gd name="connsiteX1" fmla="*/ 77592 w 90585"/>
                <a:gd name="connsiteY1" fmla="*/ 124076 h 146566"/>
                <a:gd name="connsiteX2" fmla="*/ 0 w 90585"/>
                <a:gd name="connsiteY2" fmla="*/ 0 h 146566"/>
                <a:gd name="connsiteX3" fmla="*/ 1000 w 90585"/>
                <a:gd name="connsiteY3" fmla="*/ 7997 h 146566"/>
                <a:gd name="connsiteX4" fmla="*/ 78591 w 90585"/>
                <a:gd name="connsiteY4" fmla="*/ 131947 h 146566"/>
                <a:gd name="connsiteX5" fmla="*/ 87712 w 90585"/>
                <a:gd name="connsiteY5" fmla="*/ 146567 h 146566"/>
                <a:gd name="connsiteX6" fmla="*/ 87712 w 90585"/>
                <a:gd name="connsiteY6" fmla="*/ 146567 h 146566"/>
                <a:gd name="connsiteX7" fmla="*/ 88962 w 90585"/>
                <a:gd name="connsiteY7" fmla="*/ 144318 h 146566"/>
                <a:gd name="connsiteX8" fmla="*/ 90586 w 90585"/>
                <a:gd name="connsiteY8" fmla="*/ 145567 h 1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5" h="146566">
                  <a:moveTo>
                    <a:pt x="90086" y="143443"/>
                  </a:moveTo>
                  <a:lnTo>
                    <a:pt x="77592" y="124076"/>
                  </a:lnTo>
                  <a:lnTo>
                    <a:pt x="0" y="0"/>
                  </a:lnTo>
                  <a:lnTo>
                    <a:pt x="1000" y="7997"/>
                  </a:lnTo>
                  <a:lnTo>
                    <a:pt x="78591" y="131947"/>
                  </a:lnTo>
                  <a:lnTo>
                    <a:pt x="87712" y="146567"/>
                  </a:lnTo>
                  <a:lnTo>
                    <a:pt x="87712" y="146567"/>
                  </a:lnTo>
                  <a:cubicBezTo>
                    <a:pt x="87712" y="145442"/>
                    <a:pt x="87712" y="144442"/>
                    <a:pt x="88962" y="144318"/>
                  </a:cubicBezTo>
                  <a:cubicBezTo>
                    <a:pt x="89736" y="144293"/>
                    <a:pt x="90411" y="144817"/>
                    <a:pt x="90586" y="145567"/>
                  </a:cubicBezTo>
                  <a:close/>
                </a:path>
              </a:pathLst>
            </a:custGeom>
            <a:solidFill>
              <a:srgbClr val="000000"/>
            </a:solidFill>
            <a:ln w="12483" cap="flat">
              <a:noFill/>
              <a:prstDash val="solid"/>
              <a:miter/>
            </a:ln>
          </p:spPr>
          <p:txBody>
            <a:bodyPr rtlCol="0" anchor="ctr"/>
            <a:lstStyle/>
            <a:p>
              <a:endParaRPr lang="en-US"/>
            </a:p>
          </p:txBody>
        </p:sp>
        <p:sp>
          <p:nvSpPr>
            <p:cNvPr id="1536" name="Freeform: Shape 1535">
              <a:extLst>
                <a:ext uri="{FF2B5EF4-FFF2-40B4-BE49-F238E27FC236}">
                  <a16:creationId xmlns:a16="http://schemas.microsoft.com/office/drawing/2014/main" id="{C0DAA1D4-D7AE-4D4B-BFAF-9CC33BB67903}"/>
                </a:ext>
              </a:extLst>
            </p:cNvPr>
            <p:cNvSpPr/>
            <p:nvPr/>
          </p:nvSpPr>
          <p:spPr>
            <a:xfrm>
              <a:off x="8414894" y="6077958"/>
              <a:ext cx="30361" cy="48480"/>
            </a:xfrm>
            <a:custGeom>
              <a:avLst/>
              <a:gdLst>
                <a:gd name="connsiteX0" fmla="*/ 2999 w 30361"/>
                <a:gd name="connsiteY0" fmla="*/ 0 h 48480"/>
                <a:gd name="connsiteX1" fmla="*/ 0 w 30361"/>
                <a:gd name="connsiteY1" fmla="*/ 1624 h 48480"/>
                <a:gd name="connsiteX2" fmla="*/ 30362 w 30361"/>
                <a:gd name="connsiteY2" fmla="*/ 48481 h 48480"/>
                <a:gd name="connsiteX3" fmla="*/ 29612 w 30361"/>
                <a:gd name="connsiteY3" fmla="*/ 41109 h 48480"/>
                <a:gd name="connsiteX4" fmla="*/ 2999 w 30361"/>
                <a:gd name="connsiteY4" fmla="*/ 0 h 4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1" h="48480">
                  <a:moveTo>
                    <a:pt x="2999" y="0"/>
                  </a:moveTo>
                  <a:lnTo>
                    <a:pt x="0" y="1624"/>
                  </a:lnTo>
                  <a:lnTo>
                    <a:pt x="30362" y="48481"/>
                  </a:lnTo>
                  <a:lnTo>
                    <a:pt x="29612" y="41109"/>
                  </a:lnTo>
                  <a:lnTo>
                    <a:pt x="2999" y="0"/>
                  </a:lnTo>
                  <a:close/>
                </a:path>
              </a:pathLst>
            </a:custGeom>
            <a:solidFill>
              <a:srgbClr val="000000"/>
            </a:solidFill>
            <a:ln w="12483" cap="flat">
              <a:noFill/>
              <a:prstDash val="solid"/>
              <a:miter/>
            </a:ln>
          </p:spPr>
          <p:txBody>
            <a:bodyPr rtlCol="0" anchor="ctr"/>
            <a:lstStyle/>
            <a:p>
              <a:endParaRPr lang="en-US"/>
            </a:p>
          </p:txBody>
        </p:sp>
        <p:sp>
          <p:nvSpPr>
            <p:cNvPr id="1537" name="Freeform: Shape 1536">
              <a:extLst>
                <a:ext uri="{FF2B5EF4-FFF2-40B4-BE49-F238E27FC236}">
                  <a16:creationId xmlns:a16="http://schemas.microsoft.com/office/drawing/2014/main" id="{A2AFF3F8-822C-4AA2-96AB-77A67888A8B1}"/>
                </a:ext>
              </a:extLst>
            </p:cNvPr>
            <p:cNvSpPr/>
            <p:nvPr/>
          </p:nvSpPr>
          <p:spPr>
            <a:xfrm>
              <a:off x="8439259" y="6057716"/>
              <a:ext cx="23614" cy="92370"/>
            </a:xfrm>
            <a:custGeom>
              <a:avLst/>
              <a:gdLst>
                <a:gd name="connsiteX0" fmla="*/ 17242 w 23614"/>
                <a:gd name="connsiteY0" fmla="*/ 92213 h 92370"/>
                <a:gd name="connsiteX1" fmla="*/ 23615 w 23614"/>
                <a:gd name="connsiteY1" fmla="*/ 87465 h 92370"/>
                <a:gd name="connsiteX2" fmla="*/ 15118 w 23614"/>
                <a:gd name="connsiteY2" fmla="*/ 0 h 92370"/>
                <a:gd name="connsiteX3" fmla="*/ 11245 w 23614"/>
                <a:gd name="connsiteY3" fmla="*/ 2124 h 92370"/>
                <a:gd name="connsiteX4" fmla="*/ 0 w 23614"/>
                <a:gd name="connsiteY4" fmla="*/ 8497 h 92370"/>
                <a:gd name="connsiteX5" fmla="*/ 5248 w 23614"/>
                <a:gd name="connsiteY5" fmla="*/ 61850 h 92370"/>
                <a:gd name="connsiteX6" fmla="*/ 5872 w 23614"/>
                <a:gd name="connsiteY6" fmla="*/ 69223 h 92370"/>
                <a:gd name="connsiteX7" fmla="*/ 7247 w 23614"/>
                <a:gd name="connsiteY7" fmla="*/ 83217 h 92370"/>
                <a:gd name="connsiteX8" fmla="*/ 7247 w 23614"/>
                <a:gd name="connsiteY8" fmla="*/ 83967 h 92370"/>
                <a:gd name="connsiteX9" fmla="*/ 7247 w 23614"/>
                <a:gd name="connsiteY9" fmla="*/ 84716 h 92370"/>
                <a:gd name="connsiteX10" fmla="*/ 8496 w 23614"/>
                <a:gd name="connsiteY10" fmla="*/ 88215 h 92370"/>
                <a:gd name="connsiteX11" fmla="*/ 17242 w 23614"/>
                <a:gd name="connsiteY11" fmla="*/ 92213 h 9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4" h="92370">
                  <a:moveTo>
                    <a:pt x="17242" y="92213"/>
                  </a:moveTo>
                  <a:cubicBezTo>
                    <a:pt x="19991" y="91701"/>
                    <a:pt x="22340" y="89952"/>
                    <a:pt x="23615" y="87465"/>
                  </a:cubicBezTo>
                  <a:lnTo>
                    <a:pt x="15118" y="0"/>
                  </a:lnTo>
                  <a:lnTo>
                    <a:pt x="11245" y="2124"/>
                  </a:lnTo>
                  <a:lnTo>
                    <a:pt x="0" y="8497"/>
                  </a:lnTo>
                  <a:lnTo>
                    <a:pt x="5248" y="61850"/>
                  </a:lnTo>
                  <a:lnTo>
                    <a:pt x="5872" y="69223"/>
                  </a:lnTo>
                  <a:lnTo>
                    <a:pt x="7247" y="83217"/>
                  </a:lnTo>
                  <a:cubicBezTo>
                    <a:pt x="7297" y="83467"/>
                    <a:pt x="7297" y="83717"/>
                    <a:pt x="7247" y="83967"/>
                  </a:cubicBezTo>
                  <a:cubicBezTo>
                    <a:pt x="7197" y="84216"/>
                    <a:pt x="7197" y="84466"/>
                    <a:pt x="7247" y="84716"/>
                  </a:cubicBezTo>
                  <a:cubicBezTo>
                    <a:pt x="7434" y="85953"/>
                    <a:pt x="7859" y="87140"/>
                    <a:pt x="8496" y="88215"/>
                  </a:cubicBezTo>
                  <a:cubicBezTo>
                    <a:pt x="10258" y="91289"/>
                    <a:pt x="13769" y="92900"/>
                    <a:pt x="17242" y="92213"/>
                  </a:cubicBezTo>
                  <a:close/>
                </a:path>
              </a:pathLst>
            </a:custGeom>
            <a:solidFill>
              <a:srgbClr val="000000"/>
            </a:solidFill>
            <a:ln w="12483" cap="flat">
              <a:noFill/>
              <a:prstDash val="solid"/>
              <a:miter/>
            </a:ln>
          </p:spPr>
          <p:txBody>
            <a:bodyPr rtlCol="0" anchor="ctr"/>
            <a:lstStyle/>
            <a:p>
              <a:endParaRPr lang="en-US"/>
            </a:p>
          </p:txBody>
        </p:sp>
        <p:sp>
          <p:nvSpPr>
            <p:cNvPr id="1538" name="Freeform: Shape 1537">
              <a:extLst>
                <a:ext uri="{FF2B5EF4-FFF2-40B4-BE49-F238E27FC236}">
                  <a16:creationId xmlns:a16="http://schemas.microsoft.com/office/drawing/2014/main" id="{67ABFA1A-DFE7-45D7-91A4-5265A619D645}"/>
                </a:ext>
              </a:extLst>
            </p:cNvPr>
            <p:cNvSpPr/>
            <p:nvPr/>
          </p:nvSpPr>
          <p:spPr>
            <a:xfrm>
              <a:off x="8121646" y="6015233"/>
              <a:ext cx="314114" cy="181802"/>
            </a:xfrm>
            <a:custGeom>
              <a:avLst/>
              <a:gdLst>
                <a:gd name="connsiteX0" fmla="*/ 312115 w 314114"/>
                <a:gd name="connsiteY0" fmla="*/ 0 h 181802"/>
                <a:gd name="connsiteX1" fmla="*/ 6622 w 314114"/>
                <a:gd name="connsiteY1" fmla="*/ 174056 h 181802"/>
                <a:gd name="connsiteX2" fmla="*/ 6622 w 314114"/>
                <a:gd name="connsiteY2" fmla="*/ 174056 h 181802"/>
                <a:gd name="connsiteX3" fmla="*/ 0 w 314114"/>
                <a:gd name="connsiteY3" fmla="*/ 177929 h 181802"/>
                <a:gd name="connsiteX4" fmla="*/ 750 w 314114"/>
                <a:gd name="connsiteY4" fmla="*/ 179179 h 181802"/>
                <a:gd name="connsiteX5" fmla="*/ 750 w 314114"/>
                <a:gd name="connsiteY5" fmla="*/ 181802 h 181802"/>
                <a:gd name="connsiteX6" fmla="*/ 0 w 314114"/>
                <a:gd name="connsiteY6" fmla="*/ 181802 h 181802"/>
                <a:gd name="connsiteX7" fmla="*/ 0 w 314114"/>
                <a:gd name="connsiteY7" fmla="*/ 181802 h 181802"/>
                <a:gd name="connsiteX8" fmla="*/ 7871 w 314114"/>
                <a:gd name="connsiteY8" fmla="*/ 177304 h 181802"/>
                <a:gd name="connsiteX9" fmla="*/ 8621 w 314114"/>
                <a:gd name="connsiteY9" fmla="*/ 177304 h 181802"/>
                <a:gd name="connsiteX10" fmla="*/ 314114 w 314114"/>
                <a:gd name="connsiteY10" fmla="*/ 3248 h 18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114" h="181802">
                  <a:moveTo>
                    <a:pt x="312115" y="0"/>
                  </a:moveTo>
                  <a:lnTo>
                    <a:pt x="6622" y="174056"/>
                  </a:lnTo>
                  <a:lnTo>
                    <a:pt x="6622" y="174056"/>
                  </a:lnTo>
                  <a:lnTo>
                    <a:pt x="0" y="177929"/>
                  </a:lnTo>
                  <a:lnTo>
                    <a:pt x="750" y="179179"/>
                  </a:lnTo>
                  <a:cubicBezTo>
                    <a:pt x="1349" y="179953"/>
                    <a:pt x="1349" y="181028"/>
                    <a:pt x="750" y="181802"/>
                  </a:cubicBezTo>
                  <a:cubicBezTo>
                    <a:pt x="750" y="181802"/>
                    <a:pt x="750" y="181802"/>
                    <a:pt x="0" y="181802"/>
                  </a:cubicBezTo>
                  <a:lnTo>
                    <a:pt x="0" y="181802"/>
                  </a:lnTo>
                  <a:lnTo>
                    <a:pt x="7871" y="177304"/>
                  </a:lnTo>
                  <a:lnTo>
                    <a:pt x="8621" y="177304"/>
                  </a:lnTo>
                  <a:lnTo>
                    <a:pt x="314114" y="3248"/>
                  </a:lnTo>
                  <a:close/>
                </a:path>
              </a:pathLst>
            </a:custGeom>
            <a:solidFill>
              <a:srgbClr val="000000"/>
            </a:solidFill>
            <a:ln w="12483" cap="flat">
              <a:noFill/>
              <a:prstDash val="solid"/>
              <a:miter/>
            </a:ln>
          </p:spPr>
          <p:txBody>
            <a:bodyPr rtlCol="0" anchor="ctr"/>
            <a:lstStyle/>
            <a:p>
              <a:endParaRPr lang="en-US"/>
            </a:p>
          </p:txBody>
        </p:sp>
        <p:sp>
          <p:nvSpPr>
            <p:cNvPr id="1539" name="Freeform: Shape 1538">
              <a:extLst>
                <a:ext uri="{FF2B5EF4-FFF2-40B4-BE49-F238E27FC236}">
                  <a16:creationId xmlns:a16="http://schemas.microsoft.com/office/drawing/2014/main" id="{4EB7C9CF-0EFE-47BC-8CD5-8964E79D84E9}"/>
                </a:ext>
              </a:extLst>
            </p:cNvPr>
            <p:cNvSpPr/>
            <p:nvPr/>
          </p:nvSpPr>
          <p:spPr>
            <a:xfrm>
              <a:off x="10953047" y="4339651"/>
              <a:ext cx="424066" cy="242153"/>
            </a:xfrm>
            <a:custGeom>
              <a:avLst/>
              <a:gdLst>
                <a:gd name="connsiteX0" fmla="*/ 1000 w 424066"/>
                <a:gd name="connsiteY0" fmla="*/ 239654 h 242153"/>
                <a:gd name="connsiteX1" fmla="*/ 0 w 424066"/>
                <a:gd name="connsiteY1" fmla="*/ 240279 h 242153"/>
                <a:gd name="connsiteX2" fmla="*/ 0 w 424066"/>
                <a:gd name="connsiteY2" fmla="*/ 240279 h 242153"/>
                <a:gd name="connsiteX3" fmla="*/ 0 w 424066"/>
                <a:gd name="connsiteY3" fmla="*/ 240279 h 242153"/>
                <a:gd name="connsiteX4" fmla="*/ 0 w 424066"/>
                <a:gd name="connsiteY4" fmla="*/ 240279 h 242153"/>
                <a:gd name="connsiteX5" fmla="*/ 0 w 424066"/>
                <a:gd name="connsiteY5" fmla="*/ 240279 h 242153"/>
                <a:gd name="connsiteX6" fmla="*/ 0 w 424066"/>
                <a:gd name="connsiteY6" fmla="*/ 240279 h 242153"/>
                <a:gd name="connsiteX7" fmla="*/ 0 w 424066"/>
                <a:gd name="connsiteY7" fmla="*/ 240279 h 242153"/>
                <a:gd name="connsiteX8" fmla="*/ 0 w 424066"/>
                <a:gd name="connsiteY8" fmla="*/ 240279 h 242153"/>
                <a:gd name="connsiteX9" fmla="*/ 1499 w 424066"/>
                <a:gd name="connsiteY9" fmla="*/ 242154 h 242153"/>
                <a:gd name="connsiteX10" fmla="*/ 424067 w 424066"/>
                <a:gd name="connsiteY10" fmla="*/ 3499 h 242153"/>
                <a:gd name="connsiteX11" fmla="*/ 424067 w 424066"/>
                <a:gd name="connsiteY11" fmla="*/ 2749 h 242153"/>
                <a:gd name="connsiteX12" fmla="*/ 423317 w 424066"/>
                <a:gd name="connsiteY12" fmla="*/ 1125 h 242153"/>
                <a:gd name="connsiteX13" fmla="*/ 423317 w 424066"/>
                <a:gd name="connsiteY13" fmla="*/ 0 h 24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066" h="242153">
                  <a:moveTo>
                    <a:pt x="1000" y="239654"/>
                  </a:moveTo>
                  <a:lnTo>
                    <a:pt x="0" y="240279"/>
                  </a:lnTo>
                  <a:cubicBezTo>
                    <a:pt x="0" y="240279"/>
                    <a:pt x="0" y="240279"/>
                    <a:pt x="0" y="240279"/>
                  </a:cubicBezTo>
                  <a:lnTo>
                    <a:pt x="0" y="240279"/>
                  </a:lnTo>
                  <a:lnTo>
                    <a:pt x="0" y="240279"/>
                  </a:lnTo>
                  <a:lnTo>
                    <a:pt x="0" y="240279"/>
                  </a:lnTo>
                  <a:lnTo>
                    <a:pt x="0" y="240279"/>
                  </a:lnTo>
                  <a:lnTo>
                    <a:pt x="0" y="240279"/>
                  </a:lnTo>
                  <a:lnTo>
                    <a:pt x="0" y="240279"/>
                  </a:lnTo>
                  <a:lnTo>
                    <a:pt x="1499" y="242154"/>
                  </a:lnTo>
                  <a:lnTo>
                    <a:pt x="424067" y="3499"/>
                  </a:lnTo>
                  <a:lnTo>
                    <a:pt x="424067" y="2749"/>
                  </a:lnTo>
                  <a:lnTo>
                    <a:pt x="423317" y="1125"/>
                  </a:lnTo>
                  <a:cubicBezTo>
                    <a:pt x="423317" y="1125"/>
                    <a:pt x="423317" y="375"/>
                    <a:pt x="423317" y="0"/>
                  </a:cubicBezTo>
                  <a:close/>
                </a:path>
              </a:pathLst>
            </a:custGeom>
            <a:solidFill>
              <a:srgbClr val="000000"/>
            </a:solidFill>
            <a:ln w="12483" cap="flat">
              <a:noFill/>
              <a:prstDash val="solid"/>
              <a:miter/>
            </a:ln>
          </p:spPr>
          <p:txBody>
            <a:bodyPr rtlCol="0" anchor="ctr"/>
            <a:lstStyle/>
            <a:p>
              <a:endParaRPr lang="en-US"/>
            </a:p>
          </p:txBody>
        </p:sp>
        <p:sp>
          <p:nvSpPr>
            <p:cNvPr id="1540" name="Freeform: Shape 1539">
              <a:extLst>
                <a:ext uri="{FF2B5EF4-FFF2-40B4-BE49-F238E27FC236}">
                  <a16:creationId xmlns:a16="http://schemas.microsoft.com/office/drawing/2014/main" id="{9B959568-E9A8-4DBB-AE60-7FDB11D57BD8}"/>
                </a:ext>
              </a:extLst>
            </p:cNvPr>
            <p:cNvSpPr/>
            <p:nvPr/>
          </p:nvSpPr>
          <p:spPr>
            <a:xfrm>
              <a:off x="10952423" y="4580555"/>
              <a:ext cx="0" cy="902"/>
            </a:xfrm>
            <a:custGeom>
              <a:avLst/>
              <a:gdLst>
                <a:gd name="connsiteX0" fmla="*/ 0 w 0"/>
                <a:gd name="connsiteY0" fmla="*/ 0 h 902"/>
                <a:gd name="connsiteX1" fmla="*/ 0 w 0"/>
                <a:gd name="connsiteY1" fmla="*/ 625 h 902"/>
                <a:gd name="connsiteX2" fmla="*/ 0 w 0"/>
                <a:gd name="connsiteY2" fmla="*/ 625 h 902"/>
              </a:gdLst>
              <a:ahLst/>
              <a:cxnLst>
                <a:cxn ang="0">
                  <a:pos x="connsiteX0" y="connsiteY0"/>
                </a:cxn>
                <a:cxn ang="0">
                  <a:pos x="connsiteX1" y="connsiteY1"/>
                </a:cxn>
                <a:cxn ang="0">
                  <a:pos x="connsiteX2" y="connsiteY2"/>
                </a:cxn>
              </a:cxnLst>
              <a:rect l="l" t="t" r="r" b="b"/>
              <a:pathLst>
                <a:path h="902">
                  <a:moveTo>
                    <a:pt x="0" y="0"/>
                  </a:moveTo>
                  <a:cubicBezTo>
                    <a:pt x="0" y="0"/>
                    <a:pt x="0" y="0"/>
                    <a:pt x="0" y="625"/>
                  </a:cubicBezTo>
                  <a:cubicBezTo>
                    <a:pt x="0" y="1250"/>
                    <a:pt x="0" y="625"/>
                    <a:pt x="0" y="625"/>
                  </a:cubicBezTo>
                  <a:close/>
                </a:path>
              </a:pathLst>
            </a:custGeom>
            <a:solidFill>
              <a:srgbClr val="000000"/>
            </a:solidFill>
            <a:ln w="12483" cap="flat">
              <a:noFill/>
              <a:prstDash val="solid"/>
              <a:miter/>
            </a:ln>
          </p:spPr>
          <p:txBody>
            <a:bodyPr rtlCol="0" anchor="ctr"/>
            <a:lstStyle/>
            <a:p>
              <a:endParaRPr lang="en-US"/>
            </a:p>
          </p:txBody>
        </p:sp>
        <p:sp>
          <p:nvSpPr>
            <p:cNvPr id="1541" name="Freeform: Shape 1540">
              <a:extLst>
                <a:ext uri="{FF2B5EF4-FFF2-40B4-BE49-F238E27FC236}">
                  <a16:creationId xmlns:a16="http://schemas.microsoft.com/office/drawing/2014/main" id="{6078115D-1148-4934-80C8-4A668F2CE1E1}"/>
                </a:ext>
              </a:extLst>
            </p:cNvPr>
            <p:cNvSpPr/>
            <p:nvPr/>
          </p:nvSpPr>
          <p:spPr>
            <a:xfrm>
              <a:off x="10947925" y="4581680"/>
              <a:ext cx="7247" cy="127824"/>
            </a:xfrm>
            <a:custGeom>
              <a:avLst/>
              <a:gdLst>
                <a:gd name="connsiteX0" fmla="*/ 4623 w 7247"/>
                <a:gd name="connsiteY0" fmla="*/ 1250 h 127824"/>
                <a:gd name="connsiteX1" fmla="*/ 4623 w 7247"/>
                <a:gd name="connsiteY1" fmla="*/ 0 h 127824"/>
                <a:gd name="connsiteX2" fmla="*/ 4623 w 7247"/>
                <a:gd name="connsiteY2" fmla="*/ 750 h 127824"/>
                <a:gd name="connsiteX3" fmla="*/ 0 w 7247"/>
                <a:gd name="connsiteY3" fmla="*/ 123326 h 127824"/>
                <a:gd name="connsiteX4" fmla="*/ 2624 w 7247"/>
                <a:gd name="connsiteY4" fmla="*/ 126450 h 127824"/>
                <a:gd name="connsiteX5" fmla="*/ 2624 w 7247"/>
                <a:gd name="connsiteY5" fmla="*/ 127824 h 127824"/>
                <a:gd name="connsiteX6" fmla="*/ 2624 w 7247"/>
                <a:gd name="connsiteY6" fmla="*/ 127075 h 127824"/>
                <a:gd name="connsiteX7" fmla="*/ 7247 w 7247"/>
                <a:gd name="connsiteY7" fmla="*/ 4373 h 127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47" h="127824">
                  <a:moveTo>
                    <a:pt x="4623" y="1250"/>
                  </a:moveTo>
                  <a:cubicBezTo>
                    <a:pt x="4523" y="837"/>
                    <a:pt x="4523" y="412"/>
                    <a:pt x="4623" y="0"/>
                  </a:cubicBezTo>
                  <a:lnTo>
                    <a:pt x="4623" y="750"/>
                  </a:lnTo>
                  <a:lnTo>
                    <a:pt x="0" y="123326"/>
                  </a:lnTo>
                  <a:lnTo>
                    <a:pt x="2624" y="126450"/>
                  </a:lnTo>
                  <a:cubicBezTo>
                    <a:pt x="2749" y="126899"/>
                    <a:pt x="2749" y="127374"/>
                    <a:pt x="2624" y="127824"/>
                  </a:cubicBezTo>
                  <a:lnTo>
                    <a:pt x="2624" y="127075"/>
                  </a:lnTo>
                  <a:lnTo>
                    <a:pt x="7247" y="4373"/>
                  </a:lnTo>
                  <a:close/>
                </a:path>
              </a:pathLst>
            </a:custGeom>
            <a:solidFill>
              <a:srgbClr val="000000"/>
            </a:solidFill>
            <a:ln w="12483" cap="flat">
              <a:noFill/>
              <a:prstDash val="solid"/>
              <a:miter/>
            </a:ln>
          </p:spPr>
          <p:txBody>
            <a:bodyPr rtlCol="0" anchor="ctr"/>
            <a:lstStyle/>
            <a:p>
              <a:endParaRPr lang="en-US"/>
            </a:p>
          </p:txBody>
        </p:sp>
        <p:sp>
          <p:nvSpPr>
            <p:cNvPr id="1542" name="Freeform: Shape 1541">
              <a:extLst>
                <a:ext uri="{FF2B5EF4-FFF2-40B4-BE49-F238E27FC236}">
                  <a16:creationId xmlns:a16="http://schemas.microsoft.com/office/drawing/2014/main" id="{17E6621B-958F-4211-8225-4C8F2B0AC839}"/>
                </a:ext>
              </a:extLst>
            </p:cNvPr>
            <p:cNvSpPr/>
            <p:nvPr/>
          </p:nvSpPr>
          <p:spPr>
            <a:xfrm>
              <a:off x="10953172" y="458055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543" name="Freeform: Shape 1542">
              <a:extLst>
                <a:ext uri="{FF2B5EF4-FFF2-40B4-BE49-F238E27FC236}">
                  <a16:creationId xmlns:a16="http://schemas.microsoft.com/office/drawing/2014/main" id="{1795795A-BFBA-45C7-818B-26EA5764EF47}"/>
                </a:ext>
              </a:extLst>
            </p:cNvPr>
            <p:cNvSpPr/>
            <p:nvPr/>
          </p:nvSpPr>
          <p:spPr>
            <a:xfrm>
              <a:off x="10948799" y="471137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544" name="Freeform: Shape 1543">
              <a:extLst>
                <a:ext uri="{FF2B5EF4-FFF2-40B4-BE49-F238E27FC236}">
                  <a16:creationId xmlns:a16="http://schemas.microsoft.com/office/drawing/2014/main" id="{40548534-D082-45EB-84E1-5876D5418B85}"/>
                </a:ext>
              </a:extLst>
            </p:cNvPr>
            <p:cNvSpPr/>
            <p:nvPr/>
          </p:nvSpPr>
          <p:spPr>
            <a:xfrm>
              <a:off x="10950798" y="4709504"/>
              <a:ext cx="56" cy="749"/>
            </a:xfrm>
            <a:custGeom>
              <a:avLst/>
              <a:gdLst>
                <a:gd name="connsiteX0" fmla="*/ 0 w 56"/>
                <a:gd name="connsiteY0" fmla="*/ 0 h 749"/>
                <a:gd name="connsiteX1" fmla="*/ 0 w 56"/>
                <a:gd name="connsiteY1" fmla="*/ 0 h 749"/>
                <a:gd name="connsiteX2" fmla="*/ 0 w 56"/>
                <a:gd name="connsiteY2" fmla="*/ 750 h 749"/>
                <a:gd name="connsiteX3" fmla="*/ 0 w 56"/>
                <a:gd name="connsiteY3" fmla="*/ 0 h 749"/>
              </a:gdLst>
              <a:ahLst/>
              <a:cxnLst>
                <a:cxn ang="0">
                  <a:pos x="connsiteX0" y="connsiteY0"/>
                </a:cxn>
                <a:cxn ang="0">
                  <a:pos x="connsiteX1" y="connsiteY1"/>
                </a:cxn>
                <a:cxn ang="0">
                  <a:pos x="connsiteX2" y="connsiteY2"/>
                </a:cxn>
                <a:cxn ang="0">
                  <a:pos x="connsiteX3" y="connsiteY3"/>
                </a:cxn>
              </a:cxnLst>
              <a:rect l="l" t="t" r="r" b="b"/>
              <a:pathLst>
                <a:path w="56" h="749">
                  <a:moveTo>
                    <a:pt x="0" y="0"/>
                  </a:moveTo>
                  <a:lnTo>
                    <a:pt x="0" y="0"/>
                  </a:lnTo>
                  <a:cubicBezTo>
                    <a:pt x="50" y="250"/>
                    <a:pt x="50" y="500"/>
                    <a:pt x="0" y="750"/>
                  </a:cubicBezTo>
                  <a:cubicBezTo>
                    <a:pt x="75" y="500"/>
                    <a:pt x="75" y="250"/>
                    <a:pt x="0" y="0"/>
                  </a:cubicBezTo>
                  <a:close/>
                </a:path>
              </a:pathLst>
            </a:custGeom>
            <a:solidFill>
              <a:srgbClr val="000000"/>
            </a:solidFill>
            <a:ln w="12483" cap="flat">
              <a:noFill/>
              <a:prstDash val="solid"/>
              <a:miter/>
            </a:ln>
          </p:spPr>
          <p:txBody>
            <a:bodyPr rtlCol="0" anchor="ctr"/>
            <a:lstStyle/>
            <a:p>
              <a:endParaRPr lang="en-US"/>
            </a:p>
          </p:txBody>
        </p:sp>
        <p:sp>
          <p:nvSpPr>
            <p:cNvPr id="1545" name="Freeform: Shape 1544">
              <a:extLst>
                <a:ext uri="{FF2B5EF4-FFF2-40B4-BE49-F238E27FC236}">
                  <a16:creationId xmlns:a16="http://schemas.microsoft.com/office/drawing/2014/main" id="{A0263EBD-4E6C-404F-9A6E-3997A4D15FFF}"/>
                </a:ext>
              </a:extLst>
            </p:cNvPr>
            <p:cNvSpPr/>
            <p:nvPr/>
          </p:nvSpPr>
          <p:spPr>
            <a:xfrm>
              <a:off x="10952173" y="4580493"/>
              <a:ext cx="12494" cy="812"/>
            </a:xfrm>
            <a:custGeom>
              <a:avLst/>
              <a:gdLst>
                <a:gd name="connsiteX0" fmla="*/ 0 w 12494"/>
                <a:gd name="connsiteY0" fmla="*/ 812 h 812"/>
                <a:gd name="connsiteX1" fmla="*/ 0 w 12494"/>
                <a:gd name="connsiteY1" fmla="*/ 812 h 812"/>
                <a:gd name="connsiteX2" fmla="*/ 0 w 12494"/>
                <a:gd name="connsiteY2" fmla="*/ 812 h 812"/>
                <a:gd name="connsiteX3" fmla="*/ 0 w 12494"/>
                <a:gd name="connsiteY3" fmla="*/ 188 h 812"/>
                <a:gd name="connsiteX4" fmla="*/ 0 w 12494"/>
                <a:gd name="connsiteY4" fmla="*/ 812 h 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4" h="812">
                  <a:moveTo>
                    <a:pt x="0" y="812"/>
                  </a:moveTo>
                  <a:lnTo>
                    <a:pt x="0" y="812"/>
                  </a:lnTo>
                  <a:lnTo>
                    <a:pt x="0" y="812"/>
                  </a:lnTo>
                  <a:cubicBezTo>
                    <a:pt x="0" y="812"/>
                    <a:pt x="0" y="812"/>
                    <a:pt x="0" y="188"/>
                  </a:cubicBezTo>
                  <a:cubicBezTo>
                    <a:pt x="0" y="-437"/>
                    <a:pt x="0" y="687"/>
                    <a:pt x="0" y="812"/>
                  </a:cubicBezTo>
                  <a:close/>
                </a:path>
              </a:pathLst>
            </a:custGeom>
            <a:solidFill>
              <a:srgbClr val="000000"/>
            </a:solidFill>
            <a:ln w="12483" cap="flat">
              <a:noFill/>
              <a:prstDash val="solid"/>
              <a:miter/>
            </a:ln>
          </p:spPr>
          <p:txBody>
            <a:bodyPr rtlCol="0" anchor="ctr"/>
            <a:lstStyle/>
            <a:p>
              <a:endParaRPr lang="en-US"/>
            </a:p>
          </p:txBody>
        </p:sp>
        <p:sp>
          <p:nvSpPr>
            <p:cNvPr id="1546" name="Freeform: Shape 1545">
              <a:extLst>
                <a:ext uri="{FF2B5EF4-FFF2-40B4-BE49-F238E27FC236}">
                  <a16:creationId xmlns:a16="http://schemas.microsoft.com/office/drawing/2014/main" id="{CB2A2566-6933-46DE-A427-0A6B5E488484}"/>
                </a:ext>
              </a:extLst>
            </p:cNvPr>
            <p:cNvSpPr/>
            <p:nvPr/>
          </p:nvSpPr>
          <p:spPr>
            <a:xfrm>
              <a:off x="10953797" y="4579681"/>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cubicBezTo>
                    <a:pt x="0" y="0"/>
                    <a:pt x="0" y="0"/>
                    <a:pt x="0" y="0"/>
                  </a:cubicBezTo>
                  <a:close/>
                </a:path>
              </a:pathLst>
            </a:custGeom>
            <a:solidFill>
              <a:srgbClr val="000000"/>
            </a:solidFill>
            <a:ln w="12483" cap="flat">
              <a:noFill/>
              <a:prstDash val="solid"/>
              <a:miter/>
            </a:ln>
          </p:spPr>
          <p:txBody>
            <a:bodyPr rtlCol="0" anchor="ctr"/>
            <a:lstStyle/>
            <a:p>
              <a:endParaRPr lang="en-US"/>
            </a:p>
          </p:txBody>
        </p:sp>
        <p:sp>
          <p:nvSpPr>
            <p:cNvPr id="1547" name="Freeform: Shape 1546">
              <a:extLst>
                <a:ext uri="{FF2B5EF4-FFF2-40B4-BE49-F238E27FC236}">
                  <a16:creationId xmlns:a16="http://schemas.microsoft.com/office/drawing/2014/main" id="{92F1D1AB-57BF-44FA-9CC7-7E21D7673EC2}"/>
                </a:ext>
              </a:extLst>
            </p:cNvPr>
            <p:cNvSpPr/>
            <p:nvPr/>
          </p:nvSpPr>
          <p:spPr>
            <a:xfrm>
              <a:off x="10845594" y="4580555"/>
              <a:ext cx="103174" cy="130198"/>
            </a:xfrm>
            <a:custGeom>
              <a:avLst/>
              <a:gdLst>
                <a:gd name="connsiteX0" fmla="*/ 101831 w 103174"/>
                <a:gd name="connsiteY0" fmla="*/ 124950 h 130198"/>
                <a:gd name="connsiteX1" fmla="*/ 0 w 103174"/>
                <a:gd name="connsiteY1" fmla="*/ 0 h 130198"/>
                <a:gd name="connsiteX2" fmla="*/ 0 w 103174"/>
                <a:gd name="connsiteY2" fmla="*/ 5248 h 130198"/>
                <a:gd name="connsiteX3" fmla="*/ 102456 w 103174"/>
                <a:gd name="connsiteY3" fmla="*/ 130198 h 130198"/>
                <a:gd name="connsiteX4" fmla="*/ 102456 w 103174"/>
                <a:gd name="connsiteY4" fmla="*/ 130198 h 130198"/>
                <a:gd name="connsiteX5" fmla="*/ 102456 w 103174"/>
                <a:gd name="connsiteY5" fmla="*/ 130198 h 130198"/>
                <a:gd name="connsiteX6" fmla="*/ 103080 w 103174"/>
                <a:gd name="connsiteY6" fmla="*/ 130198 h 130198"/>
                <a:gd name="connsiteX7" fmla="*/ 103080 w 103174"/>
                <a:gd name="connsiteY7" fmla="*/ 130198 h 130198"/>
                <a:gd name="connsiteX8" fmla="*/ 103080 w 103174"/>
                <a:gd name="connsiteY8" fmla="*/ 129573 h 130198"/>
                <a:gd name="connsiteX9" fmla="*/ 103080 w 103174"/>
                <a:gd name="connsiteY9" fmla="*/ 128824 h 130198"/>
                <a:gd name="connsiteX10" fmla="*/ 103080 w 103174"/>
                <a:gd name="connsiteY10" fmla="*/ 128824 h 130198"/>
                <a:gd name="connsiteX11" fmla="*/ 103080 w 103174"/>
                <a:gd name="connsiteY11" fmla="*/ 127449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174" h="130198">
                  <a:moveTo>
                    <a:pt x="101831" y="124950"/>
                  </a:moveTo>
                  <a:lnTo>
                    <a:pt x="0" y="0"/>
                  </a:lnTo>
                  <a:lnTo>
                    <a:pt x="0" y="5248"/>
                  </a:lnTo>
                  <a:lnTo>
                    <a:pt x="102456" y="130198"/>
                  </a:lnTo>
                  <a:lnTo>
                    <a:pt x="102456" y="130198"/>
                  </a:lnTo>
                  <a:lnTo>
                    <a:pt x="102456" y="130198"/>
                  </a:lnTo>
                  <a:lnTo>
                    <a:pt x="103080" y="130198"/>
                  </a:lnTo>
                  <a:lnTo>
                    <a:pt x="103080" y="130198"/>
                  </a:lnTo>
                  <a:cubicBezTo>
                    <a:pt x="103131" y="129998"/>
                    <a:pt x="103131" y="129773"/>
                    <a:pt x="103080" y="129573"/>
                  </a:cubicBezTo>
                  <a:cubicBezTo>
                    <a:pt x="103131" y="129324"/>
                    <a:pt x="103131" y="129073"/>
                    <a:pt x="103080" y="128824"/>
                  </a:cubicBezTo>
                  <a:lnTo>
                    <a:pt x="103080" y="128824"/>
                  </a:lnTo>
                  <a:cubicBezTo>
                    <a:pt x="103206" y="128374"/>
                    <a:pt x="103206" y="127899"/>
                    <a:pt x="103080" y="127449"/>
                  </a:cubicBezTo>
                  <a:close/>
                </a:path>
              </a:pathLst>
            </a:custGeom>
            <a:solidFill>
              <a:srgbClr val="000000"/>
            </a:solidFill>
            <a:ln w="12483" cap="flat">
              <a:noFill/>
              <a:prstDash val="solid"/>
              <a:miter/>
            </a:ln>
          </p:spPr>
          <p:txBody>
            <a:bodyPr rtlCol="0" anchor="ctr"/>
            <a:lstStyle/>
            <a:p>
              <a:endParaRPr lang="en-US"/>
            </a:p>
          </p:txBody>
        </p:sp>
        <p:sp>
          <p:nvSpPr>
            <p:cNvPr id="1548" name="Freeform: Shape 1547">
              <a:extLst>
                <a:ext uri="{FF2B5EF4-FFF2-40B4-BE49-F238E27FC236}">
                  <a16:creationId xmlns:a16="http://schemas.microsoft.com/office/drawing/2014/main" id="{EC2E8A49-98FD-467A-ABB1-52A99AAFAC4C}"/>
                </a:ext>
              </a:extLst>
            </p:cNvPr>
            <p:cNvSpPr/>
            <p:nvPr/>
          </p:nvSpPr>
          <p:spPr>
            <a:xfrm>
              <a:off x="8031185" y="6049470"/>
              <a:ext cx="91126" cy="147191"/>
            </a:xfrm>
            <a:custGeom>
              <a:avLst/>
              <a:gdLst>
                <a:gd name="connsiteX0" fmla="*/ 91086 w 91126"/>
                <a:gd name="connsiteY0" fmla="*/ 144942 h 147191"/>
                <a:gd name="connsiteX1" fmla="*/ 90336 w 91126"/>
                <a:gd name="connsiteY1" fmla="*/ 143693 h 147191"/>
                <a:gd name="connsiteX2" fmla="*/ 85838 w 91126"/>
                <a:gd name="connsiteY2" fmla="*/ 136570 h 147191"/>
                <a:gd name="connsiteX3" fmla="*/ 0 w 91126"/>
                <a:gd name="connsiteY3" fmla="*/ 0 h 147191"/>
                <a:gd name="connsiteX4" fmla="*/ 875 w 91126"/>
                <a:gd name="connsiteY4" fmla="*/ 7872 h 147191"/>
                <a:gd name="connsiteX5" fmla="*/ 83339 w 91126"/>
                <a:gd name="connsiteY5" fmla="*/ 138820 h 147191"/>
                <a:gd name="connsiteX6" fmla="*/ 88712 w 91126"/>
                <a:gd name="connsiteY6" fmla="*/ 147191 h 147191"/>
                <a:gd name="connsiteX7" fmla="*/ 88712 w 91126"/>
                <a:gd name="connsiteY7" fmla="*/ 147191 h 147191"/>
                <a:gd name="connsiteX8" fmla="*/ 89336 w 91126"/>
                <a:gd name="connsiteY8" fmla="*/ 147191 h 147191"/>
                <a:gd name="connsiteX9" fmla="*/ 89336 w 91126"/>
                <a:gd name="connsiteY9" fmla="*/ 147191 h 147191"/>
                <a:gd name="connsiteX10" fmla="*/ 90086 w 91126"/>
                <a:gd name="connsiteY10" fmla="*/ 147191 h 147191"/>
                <a:gd name="connsiteX11" fmla="*/ 91086 w 91126"/>
                <a:gd name="connsiteY11" fmla="*/ 144942 h 14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26" h="147191">
                  <a:moveTo>
                    <a:pt x="91086" y="144942"/>
                  </a:moveTo>
                  <a:lnTo>
                    <a:pt x="90336" y="143693"/>
                  </a:lnTo>
                  <a:lnTo>
                    <a:pt x="85838" y="136570"/>
                  </a:lnTo>
                  <a:lnTo>
                    <a:pt x="0" y="0"/>
                  </a:lnTo>
                  <a:lnTo>
                    <a:pt x="875" y="7872"/>
                  </a:lnTo>
                  <a:lnTo>
                    <a:pt x="83339" y="138820"/>
                  </a:lnTo>
                  <a:lnTo>
                    <a:pt x="88712" y="147191"/>
                  </a:lnTo>
                  <a:lnTo>
                    <a:pt x="88712" y="147191"/>
                  </a:lnTo>
                  <a:lnTo>
                    <a:pt x="89336" y="147191"/>
                  </a:lnTo>
                  <a:lnTo>
                    <a:pt x="89336" y="147191"/>
                  </a:lnTo>
                  <a:cubicBezTo>
                    <a:pt x="89336" y="147191"/>
                    <a:pt x="89961" y="147191"/>
                    <a:pt x="90086" y="147191"/>
                  </a:cubicBezTo>
                  <a:cubicBezTo>
                    <a:pt x="90861" y="146729"/>
                    <a:pt x="91261" y="145829"/>
                    <a:pt x="91086" y="144942"/>
                  </a:cubicBezTo>
                  <a:close/>
                </a:path>
              </a:pathLst>
            </a:custGeom>
            <a:solidFill>
              <a:srgbClr val="000000"/>
            </a:solidFill>
            <a:ln w="12483" cap="flat">
              <a:noFill/>
              <a:prstDash val="solid"/>
              <a:miter/>
            </a:ln>
          </p:spPr>
          <p:txBody>
            <a:bodyPr rtlCol="0" anchor="ctr"/>
            <a:lstStyle/>
            <a:p>
              <a:endParaRPr lang="en-US"/>
            </a:p>
          </p:txBody>
        </p:sp>
        <p:sp>
          <p:nvSpPr>
            <p:cNvPr id="1549" name="Freeform: Shape 1548">
              <a:extLst>
                <a:ext uri="{FF2B5EF4-FFF2-40B4-BE49-F238E27FC236}">
                  <a16:creationId xmlns:a16="http://schemas.microsoft.com/office/drawing/2014/main" id="{76BD95EA-4F30-41FC-963F-53BBE5B3C5A1}"/>
                </a:ext>
              </a:extLst>
            </p:cNvPr>
            <p:cNvSpPr/>
            <p:nvPr/>
          </p:nvSpPr>
          <p:spPr>
            <a:xfrm>
              <a:off x="10952473" y="4580306"/>
              <a:ext cx="22659" cy="27826"/>
            </a:xfrm>
            <a:custGeom>
              <a:avLst/>
              <a:gdLst>
                <a:gd name="connsiteX0" fmla="*/ 75 w 22659"/>
                <a:gd name="connsiteY0" fmla="*/ 250 h 27826"/>
                <a:gd name="connsiteX1" fmla="*/ 75 w 22659"/>
                <a:gd name="connsiteY1" fmla="*/ 250 h 27826"/>
                <a:gd name="connsiteX2" fmla="*/ 75 w 22659"/>
                <a:gd name="connsiteY2" fmla="*/ 250 h 27826"/>
                <a:gd name="connsiteX3" fmla="*/ 75 w 22659"/>
                <a:gd name="connsiteY3" fmla="*/ 874 h 27826"/>
                <a:gd name="connsiteX4" fmla="*/ 75 w 22659"/>
                <a:gd name="connsiteY4" fmla="*/ 874 h 27826"/>
                <a:gd name="connsiteX5" fmla="*/ 75 w 22659"/>
                <a:gd name="connsiteY5" fmla="*/ 2124 h 27826"/>
                <a:gd name="connsiteX6" fmla="*/ 2699 w 22659"/>
                <a:gd name="connsiteY6" fmla="*/ 5248 h 27826"/>
                <a:gd name="connsiteX7" fmla="*/ 20316 w 22659"/>
                <a:gd name="connsiteY7" fmla="*/ 26614 h 27826"/>
                <a:gd name="connsiteX8" fmla="*/ 20316 w 22659"/>
                <a:gd name="connsiteY8" fmla="*/ 27239 h 27826"/>
                <a:gd name="connsiteX9" fmla="*/ 22228 w 22659"/>
                <a:gd name="connsiteY9" fmla="*/ 27577 h 27826"/>
                <a:gd name="connsiteX10" fmla="*/ 22565 w 22659"/>
                <a:gd name="connsiteY10" fmla="*/ 27239 h 27826"/>
                <a:gd name="connsiteX11" fmla="*/ 22565 w 22659"/>
                <a:gd name="connsiteY11" fmla="*/ 25864 h 27826"/>
                <a:gd name="connsiteX12" fmla="*/ 22565 w 22659"/>
                <a:gd name="connsiteY12" fmla="*/ 24990 h 27826"/>
                <a:gd name="connsiteX13" fmla="*/ 22565 w 22659"/>
                <a:gd name="connsiteY13" fmla="*/ 24990 h 27826"/>
                <a:gd name="connsiteX14" fmla="*/ 21691 w 22659"/>
                <a:gd name="connsiteY14" fmla="*/ 23990 h 27826"/>
                <a:gd name="connsiteX15" fmla="*/ 3449 w 22659"/>
                <a:gd name="connsiteY15" fmla="*/ 1874 h 27826"/>
                <a:gd name="connsiteX16" fmla="*/ 1949 w 22659"/>
                <a:gd name="connsiteY16" fmla="*/ 0 h 27826"/>
                <a:gd name="connsiteX17" fmla="*/ 1949 w 22659"/>
                <a:gd name="connsiteY17" fmla="*/ 0 h 27826"/>
                <a:gd name="connsiteX18" fmla="*/ 1949 w 22659"/>
                <a:gd name="connsiteY18" fmla="*/ 0 h 27826"/>
                <a:gd name="connsiteX19" fmla="*/ 1949 w 22659"/>
                <a:gd name="connsiteY19" fmla="*/ 0 h 27826"/>
                <a:gd name="connsiteX20" fmla="*/ 1949 w 22659"/>
                <a:gd name="connsiteY20" fmla="*/ 0 h 27826"/>
                <a:gd name="connsiteX21" fmla="*/ 1324 w 22659"/>
                <a:gd name="connsiteY21" fmla="*/ 0 h 2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659" h="27826">
                  <a:moveTo>
                    <a:pt x="75" y="250"/>
                  </a:moveTo>
                  <a:cubicBezTo>
                    <a:pt x="75" y="250"/>
                    <a:pt x="75" y="250"/>
                    <a:pt x="75" y="250"/>
                  </a:cubicBezTo>
                  <a:lnTo>
                    <a:pt x="75" y="250"/>
                  </a:lnTo>
                  <a:cubicBezTo>
                    <a:pt x="75" y="250"/>
                    <a:pt x="75" y="250"/>
                    <a:pt x="75" y="874"/>
                  </a:cubicBezTo>
                  <a:lnTo>
                    <a:pt x="75" y="874"/>
                  </a:lnTo>
                  <a:cubicBezTo>
                    <a:pt x="-25" y="1287"/>
                    <a:pt x="-25" y="1712"/>
                    <a:pt x="75" y="2124"/>
                  </a:cubicBezTo>
                  <a:lnTo>
                    <a:pt x="2699" y="5248"/>
                  </a:lnTo>
                  <a:lnTo>
                    <a:pt x="20316" y="26614"/>
                  </a:lnTo>
                  <a:lnTo>
                    <a:pt x="20316" y="27239"/>
                  </a:lnTo>
                  <a:cubicBezTo>
                    <a:pt x="20754" y="27864"/>
                    <a:pt x="21616" y="28014"/>
                    <a:pt x="22228" y="27577"/>
                  </a:cubicBezTo>
                  <a:cubicBezTo>
                    <a:pt x="22366" y="27476"/>
                    <a:pt x="22478" y="27364"/>
                    <a:pt x="22565" y="27239"/>
                  </a:cubicBezTo>
                  <a:cubicBezTo>
                    <a:pt x="22690" y="26789"/>
                    <a:pt x="22690" y="26314"/>
                    <a:pt x="22565" y="25864"/>
                  </a:cubicBezTo>
                  <a:cubicBezTo>
                    <a:pt x="22603" y="25577"/>
                    <a:pt x="22603" y="25277"/>
                    <a:pt x="22565" y="24990"/>
                  </a:cubicBezTo>
                  <a:lnTo>
                    <a:pt x="22565" y="24990"/>
                  </a:lnTo>
                  <a:lnTo>
                    <a:pt x="21691" y="23990"/>
                  </a:lnTo>
                  <a:lnTo>
                    <a:pt x="3449" y="1874"/>
                  </a:lnTo>
                  <a:lnTo>
                    <a:pt x="1949" y="0"/>
                  </a:lnTo>
                  <a:lnTo>
                    <a:pt x="1949" y="0"/>
                  </a:lnTo>
                  <a:lnTo>
                    <a:pt x="1949" y="0"/>
                  </a:lnTo>
                  <a:cubicBezTo>
                    <a:pt x="1949" y="0"/>
                    <a:pt x="1949" y="0"/>
                    <a:pt x="1949" y="0"/>
                  </a:cubicBezTo>
                  <a:lnTo>
                    <a:pt x="1949" y="0"/>
                  </a:lnTo>
                  <a:lnTo>
                    <a:pt x="1324" y="0"/>
                  </a:lnTo>
                  <a:close/>
                </a:path>
              </a:pathLst>
            </a:custGeom>
            <a:solidFill>
              <a:srgbClr val="000000"/>
            </a:solidFill>
            <a:ln w="12483" cap="flat">
              <a:noFill/>
              <a:prstDash val="solid"/>
              <a:miter/>
            </a:ln>
          </p:spPr>
          <p:txBody>
            <a:bodyPr rtlCol="0" anchor="ctr"/>
            <a:lstStyle/>
            <a:p>
              <a:endParaRPr lang="en-US"/>
            </a:p>
          </p:txBody>
        </p:sp>
        <p:sp>
          <p:nvSpPr>
            <p:cNvPr id="1550" name="Freeform: Shape 1549">
              <a:extLst>
                <a:ext uri="{FF2B5EF4-FFF2-40B4-BE49-F238E27FC236}">
                  <a16:creationId xmlns:a16="http://schemas.microsoft.com/office/drawing/2014/main" id="{46DBE22B-6899-4023-858F-D60C0EAB4BE3}"/>
                </a:ext>
              </a:extLst>
            </p:cNvPr>
            <p:cNvSpPr/>
            <p:nvPr/>
          </p:nvSpPr>
          <p:spPr>
            <a:xfrm>
              <a:off x="9611877" y="5563913"/>
              <a:ext cx="1397896" cy="840914"/>
            </a:xfrm>
            <a:custGeom>
              <a:avLst/>
              <a:gdLst>
                <a:gd name="connsiteX0" fmla="*/ 1395522 w 1397896"/>
                <a:gd name="connsiteY0" fmla="*/ 750 h 840914"/>
                <a:gd name="connsiteX1" fmla="*/ 0 w 1397896"/>
                <a:gd name="connsiteY1" fmla="*/ 837916 h 840914"/>
                <a:gd name="connsiteX2" fmla="*/ 2124 w 1397896"/>
                <a:gd name="connsiteY2" fmla="*/ 840915 h 840914"/>
                <a:gd name="connsiteX3" fmla="*/ 1397771 w 1397896"/>
                <a:gd name="connsiteY3" fmla="*/ 3748 h 840914"/>
                <a:gd name="connsiteX4" fmla="*/ 1397021 w 1397896"/>
                <a:gd name="connsiteY4" fmla="*/ 2749 h 840914"/>
                <a:gd name="connsiteX5" fmla="*/ 1397021 w 1397896"/>
                <a:gd name="connsiteY5" fmla="*/ 0 h 840914"/>
                <a:gd name="connsiteX6" fmla="*/ 1397896 w 1397896"/>
                <a:gd name="connsiteY6" fmla="*/ 0 h 840914"/>
                <a:gd name="connsiteX7" fmla="*/ 1397896 w 1397896"/>
                <a:gd name="connsiteY7" fmla="*/ 0 h 84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896" h="840914">
                  <a:moveTo>
                    <a:pt x="1395522" y="750"/>
                  </a:moveTo>
                  <a:lnTo>
                    <a:pt x="0" y="837916"/>
                  </a:lnTo>
                  <a:lnTo>
                    <a:pt x="2124" y="840915"/>
                  </a:lnTo>
                  <a:lnTo>
                    <a:pt x="1397771" y="3748"/>
                  </a:lnTo>
                  <a:lnTo>
                    <a:pt x="1397021" y="2749"/>
                  </a:lnTo>
                  <a:cubicBezTo>
                    <a:pt x="1396397" y="1937"/>
                    <a:pt x="1396397" y="812"/>
                    <a:pt x="1397021" y="0"/>
                  </a:cubicBezTo>
                  <a:cubicBezTo>
                    <a:pt x="1397021" y="0"/>
                    <a:pt x="1397021" y="0"/>
                    <a:pt x="1397896" y="0"/>
                  </a:cubicBezTo>
                  <a:lnTo>
                    <a:pt x="1397896" y="0"/>
                  </a:lnTo>
                  <a:close/>
                </a:path>
              </a:pathLst>
            </a:custGeom>
            <a:solidFill>
              <a:srgbClr val="000000"/>
            </a:solidFill>
            <a:ln w="12483" cap="flat">
              <a:noFill/>
              <a:prstDash val="solid"/>
              <a:miter/>
            </a:ln>
          </p:spPr>
          <p:txBody>
            <a:bodyPr rtlCol="0" anchor="ctr"/>
            <a:lstStyle/>
            <a:p>
              <a:endParaRPr lang="en-US"/>
            </a:p>
          </p:txBody>
        </p:sp>
        <p:sp>
          <p:nvSpPr>
            <p:cNvPr id="1551" name="Freeform: Shape 1550">
              <a:extLst>
                <a:ext uri="{FF2B5EF4-FFF2-40B4-BE49-F238E27FC236}">
                  <a16:creationId xmlns:a16="http://schemas.microsoft.com/office/drawing/2014/main" id="{C55ABFA7-E38A-47A2-BDD6-5B5F907C5F06}"/>
                </a:ext>
              </a:extLst>
            </p:cNvPr>
            <p:cNvSpPr/>
            <p:nvPr/>
          </p:nvSpPr>
          <p:spPr>
            <a:xfrm>
              <a:off x="8826716" y="6704228"/>
              <a:ext cx="282003" cy="168038"/>
            </a:xfrm>
            <a:custGeom>
              <a:avLst/>
              <a:gdLst>
                <a:gd name="connsiteX0" fmla="*/ 281254 w 282003"/>
                <a:gd name="connsiteY0" fmla="*/ 3355 h 168038"/>
                <a:gd name="connsiteX1" fmla="*/ 281254 w 282003"/>
                <a:gd name="connsiteY1" fmla="*/ 1105 h 168038"/>
                <a:gd name="connsiteX2" fmla="*/ 279417 w 282003"/>
                <a:gd name="connsiteY2" fmla="*/ 56 h 168038"/>
                <a:gd name="connsiteX3" fmla="*/ 279004 w 282003"/>
                <a:gd name="connsiteY3" fmla="*/ 231 h 168038"/>
                <a:gd name="connsiteX4" fmla="*/ 279004 w 282003"/>
                <a:gd name="connsiteY4" fmla="*/ 231 h 168038"/>
                <a:gd name="connsiteX5" fmla="*/ 0 w 282003"/>
                <a:gd name="connsiteY5" fmla="*/ 168039 h 168038"/>
                <a:gd name="connsiteX6" fmla="*/ 7122 w 282003"/>
                <a:gd name="connsiteY6" fmla="*/ 168039 h 168038"/>
                <a:gd name="connsiteX7" fmla="*/ 282003 w 282003"/>
                <a:gd name="connsiteY7" fmla="*/ 3604 h 16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003" h="168038">
                  <a:moveTo>
                    <a:pt x="281254" y="3355"/>
                  </a:moveTo>
                  <a:cubicBezTo>
                    <a:pt x="281616" y="2642"/>
                    <a:pt x="281616" y="1818"/>
                    <a:pt x="281254" y="1105"/>
                  </a:cubicBezTo>
                  <a:cubicBezTo>
                    <a:pt x="281041" y="306"/>
                    <a:pt x="280216" y="-169"/>
                    <a:pt x="279417" y="56"/>
                  </a:cubicBezTo>
                  <a:cubicBezTo>
                    <a:pt x="279267" y="93"/>
                    <a:pt x="279129" y="156"/>
                    <a:pt x="279004" y="231"/>
                  </a:cubicBezTo>
                  <a:lnTo>
                    <a:pt x="279004" y="231"/>
                  </a:lnTo>
                  <a:lnTo>
                    <a:pt x="0" y="168039"/>
                  </a:lnTo>
                  <a:lnTo>
                    <a:pt x="7122" y="168039"/>
                  </a:lnTo>
                  <a:lnTo>
                    <a:pt x="282003" y="3604"/>
                  </a:lnTo>
                  <a:close/>
                </a:path>
              </a:pathLst>
            </a:custGeom>
            <a:solidFill>
              <a:srgbClr val="000000"/>
            </a:solidFill>
            <a:ln w="12483" cap="flat">
              <a:noFill/>
              <a:prstDash val="solid"/>
              <a:miter/>
            </a:ln>
          </p:spPr>
          <p:txBody>
            <a:bodyPr rtlCol="0" anchor="ctr"/>
            <a:lstStyle/>
            <a:p>
              <a:endParaRPr lang="en-US"/>
            </a:p>
          </p:txBody>
        </p:sp>
        <p:sp>
          <p:nvSpPr>
            <p:cNvPr id="1552" name="Freeform: Shape 1551">
              <a:extLst>
                <a:ext uri="{FF2B5EF4-FFF2-40B4-BE49-F238E27FC236}">
                  <a16:creationId xmlns:a16="http://schemas.microsoft.com/office/drawing/2014/main" id="{73F24290-8643-4759-A51E-0D8DA75B7A9F}"/>
                </a:ext>
              </a:extLst>
            </p:cNvPr>
            <p:cNvSpPr/>
            <p:nvPr/>
          </p:nvSpPr>
          <p:spPr>
            <a:xfrm>
              <a:off x="11009929" y="5564788"/>
              <a:ext cx="112795" cy="142873"/>
            </a:xfrm>
            <a:custGeom>
              <a:avLst/>
              <a:gdLst>
                <a:gd name="connsiteX0" fmla="*/ 111671 w 112795"/>
                <a:gd name="connsiteY0" fmla="*/ 141194 h 142873"/>
                <a:gd name="connsiteX1" fmla="*/ 111671 w 112795"/>
                <a:gd name="connsiteY1" fmla="*/ 140444 h 142873"/>
                <a:gd name="connsiteX2" fmla="*/ 111671 w 112795"/>
                <a:gd name="connsiteY2" fmla="*/ 140319 h 142873"/>
                <a:gd name="connsiteX3" fmla="*/ 111671 w 112795"/>
                <a:gd name="connsiteY3" fmla="*/ 139695 h 142873"/>
                <a:gd name="connsiteX4" fmla="*/ 111671 w 112795"/>
                <a:gd name="connsiteY4" fmla="*/ 139695 h 142873"/>
                <a:gd name="connsiteX5" fmla="*/ 1343 w 112795"/>
                <a:gd name="connsiteY5" fmla="*/ 0 h 142873"/>
                <a:gd name="connsiteX6" fmla="*/ 1343 w 112795"/>
                <a:gd name="connsiteY6" fmla="*/ 0 h 142873"/>
                <a:gd name="connsiteX7" fmla="*/ 1343 w 112795"/>
                <a:gd name="connsiteY7" fmla="*/ 0 h 142873"/>
                <a:gd name="connsiteX8" fmla="*/ 1343 w 112795"/>
                <a:gd name="connsiteY8" fmla="*/ 0 h 142873"/>
                <a:gd name="connsiteX9" fmla="*/ 468 w 112795"/>
                <a:gd name="connsiteY9" fmla="*/ 0 h 142873"/>
                <a:gd name="connsiteX10" fmla="*/ 468 w 112795"/>
                <a:gd name="connsiteY10" fmla="*/ 2749 h 142873"/>
                <a:gd name="connsiteX11" fmla="*/ 1218 w 112795"/>
                <a:gd name="connsiteY11" fmla="*/ 3749 h 142873"/>
                <a:gd name="connsiteX12" fmla="*/ 109297 w 112795"/>
                <a:gd name="connsiteY12" fmla="*/ 140569 h 142873"/>
                <a:gd name="connsiteX13" fmla="*/ 110796 w 112795"/>
                <a:gd name="connsiteY13" fmla="*/ 142444 h 142873"/>
                <a:gd name="connsiteX14" fmla="*/ 112733 w 112795"/>
                <a:gd name="connsiteY14" fmla="*/ 142506 h 142873"/>
                <a:gd name="connsiteX15" fmla="*/ 112795 w 112795"/>
                <a:gd name="connsiteY15" fmla="*/ 142444 h 142873"/>
                <a:gd name="connsiteX16" fmla="*/ 112795 w 112795"/>
                <a:gd name="connsiteY16" fmla="*/ 142444 h 142873"/>
                <a:gd name="connsiteX17" fmla="*/ 111671 w 112795"/>
                <a:gd name="connsiteY17" fmla="*/ 141194 h 1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795" h="142873">
                  <a:moveTo>
                    <a:pt x="111671" y="141194"/>
                  </a:moveTo>
                  <a:cubicBezTo>
                    <a:pt x="111721" y="140944"/>
                    <a:pt x="111721" y="140694"/>
                    <a:pt x="111671" y="140444"/>
                  </a:cubicBezTo>
                  <a:lnTo>
                    <a:pt x="111671" y="140319"/>
                  </a:lnTo>
                  <a:cubicBezTo>
                    <a:pt x="111671" y="140319"/>
                    <a:pt x="111671" y="140319"/>
                    <a:pt x="111671" y="139695"/>
                  </a:cubicBezTo>
                  <a:lnTo>
                    <a:pt x="111671" y="139695"/>
                  </a:lnTo>
                  <a:lnTo>
                    <a:pt x="1343" y="0"/>
                  </a:lnTo>
                  <a:lnTo>
                    <a:pt x="1343" y="0"/>
                  </a:lnTo>
                  <a:lnTo>
                    <a:pt x="1343" y="0"/>
                  </a:lnTo>
                  <a:lnTo>
                    <a:pt x="1343" y="0"/>
                  </a:lnTo>
                  <a:cubicBezTo>
                    <a:pt x="1343" y="0"/>
                    <a:pt x="719" y="0"/>
                    <a:pt x="468" y="0"/>
                  </a:cubicBezTo>
                  <a:cubicBezTo>
                    <a:pt x="-156" y="812"/>
                    <a:pt x="-156" y="1937"/>
                    <a:pt x="468" y="2749"/>
                  </a:cubicBezTo>
                  <a:lnTo>
                    <a:pt x="1218" y="3749"/>
                  </a:lnTo>
                  <a:lnTo>
                    <a:pt x="109297" y="140569"/>
                  </a:lnTo>
                  <a:lnTo>
                    <a:pt x="110796" y="142444"/>
                  </a:lnTo>
                  <a:cubicBezTo>
                    <a:pt x="111321" y="142993"/>
                    <a:pt x="112183" y="143018"/>
                    <a:pt x="112733" y="142506"/>
                  </a:cubicBezTo>
                  <a:cubicBezTo>
                    <a:pt x="112757" y="142481"/>
                    <a:pt x="112783" y="142468"/>
                    <a:pt x="112795" y="142444"/>
                  </a:cubicBezTo>
                  <a:lnTo>
                    <a:pt x="112795" y="142444"/>
                  </a:lnTo>
                  <a:lnTo>
                    <a:pt x="111671" y="141194"/>
                  </a:lnTo>
                  <a:close/>
                </a:path>
              </a:pathLst>
            </a:custGeom>
            <a:solidFill>
              <a:srgbClr val="000000"/>
            </a:solidFill>
            <a:ln w="12483" cap="flat">
              <a:noFill/>
              <a:prstDash val="solid"/>
              <a:miter/>
            </a:ln>
          </p:spPr>
          <p:txBody>
            <a:bodyPr rtlCol="0" anchor="ctr"/>
            <a:lstStyle/>
            <a:p>
              <a:endParaRPr lang="en-US"/>
            </a:p>
          </p:txBody>
        </p:sp>
        <p:sp>
          <p:nvSpPr>
            <p:cNvPr id="1553" name="Freeform: Shape 1552">
              <a:extLst>
                <a:ext uri="{FF2B5EF4-FFF2-40B4-BE49-F238E27FC236}">
                  <a16:creationId xmlns:a16="http://schemas.microsoft.com/office/drawing/2014/main" id="{6BF15FEC-D920-4567-8BBE-1D69B8BE86DE}"/>
                </a:ext>
              </a:extLst>
            </p:cNvPr>
            <p:cNvSpPr/>
            <p:nvPr/>
          </p:nvSpPr>
          <p:spPr>
            <a:xfrm>
              <a:off x="10509442" y="1681711"/>
              <a:ext cx="46" cy="1874"/>
            </a:xfrm>
            <a:custGeom>
              <a:avLst/>
              <a:gdLst>
                <a:gd name="connsiteX0" fmla="*/ 47 w 46"/>
                <a:gd name="connsiteY0" fmla="*/ 0 h 1874"/>
                <a:gd name="connsiteX1" fmla="*/ 47 w 46"/>
                <a:gd name="connsiteY1" fmla="*/ 1874 h 1874"/>
                <a:gd name="connsiteX2" fmla="*/ 47 w 46"/>
                <a:gd name="connsiteY2" fmla="*/ 1874 h 1874"/>
                <a:gd name="connsiteX3" fmla="*/ 47 w 46"/>
                <a:gd name="connsiteY3" fmla="*/ 0 h 1874"/>
              </a:gdLst>
              <a:ahLst/>
              <a:cxnLst>
                <a:cxn ang="0">
                  <a:pos x="connsiteX0" y="connsiteY0"/>
                </a:cxn>
                <a:cxn ang="0">
                  <a:pos x="connsiteX1" y="connsiteY1"/>
                </a:cxn>
                <a:cxn ang="0">
                  <a:pos x="connsiteX2" y="connsiteY2"/>
                </a:cxn>
                <a:cxn ang="0">
                  <a:pos x="connsiteX3" y="connsiteY3"/>
                </a:cxn>
              </a:cxnLst>
              <a:rect l="l" t="t" r="r" b="b"/>
              <a:pathLst>
                <a:path w="46" h="1874">
                  <a:moveTo>
                    <a:pt x="47" y="0"/>
                  </a:moveTo>
                  <a:cubicBezTo>
                    <a:pt x="-16" y="623"/>
                    <a:pt x="-16" y="1251"/>
                    <a:pt x="47" y="1874"/>
                  </a:cubicBezTo>
                  <a:lnTo>
                    <a:pt x="47" y="1874"/>
                  </a:lnTo>
                  <a:cubicBezTo>
                    <a:pt x="47" y="1874"/>
                    <a:pt x="47" y="0"/>
                    <a:pt x="47" y="0"/>
                  </a:cubicBezTo>
                  <a:close/>
                </a:path>
              </a:pathLst>
            </a:custGeom>
            <a:solidFill>
              <a:srgbClr val="000000"/>
            </a:solidFill>
            <a:ln w="12483" cap="flat">
              <a:noFill/>
              <a:prstDash val="solid"/>
              <a:miter/>
            </a:ln>
          </p:spPr>
          <p:txBody>
            <a:bodyPr rtlCol="0" anchor="ctr"/>
            <a:lstStyle/>
            <a:p>
              <a:endParaRPr lang="en-US"/>
            </a:p>
          </p:txBody>
        </p:sp>
        <p:sp>
          <p:nvSpPr>
            <p:cNvPr id="1554" name="Freeform: Shape 1553">
              <a:extLst>
                <a:ext uri="{FF2B5EF4-FFF2-40B4-BE49-F238E27FC236}">
                  <a16:creationId xmlns:a16="http://schemas.microsoft.com/office/drawing/2014/main" id="{59B60AA0-B324-4E83-BB79-F82D48B8D915}"/>
                </a:ext>
              </a:extLst>
            </p:cNvPr>
            <p:cNvSpPr/>
            <p:nvPr/>
          </p:nvSpPr>
          <p:spPr>
            <a:xfrm>
              <a:off x="10512363" y="1675964"/>
              <a:ext cx="183420" cy="189299"/>
            </a:xfrm>
            <a:custGeom>
              <a:avLst/>
              <a:gdLst>
                <a:gd name="connsiteX0" fmla="*/ 166678 w 183420"/>
                <a:gd name="connsiteY0" fmla="*/ 189300 h 189299"/>
                <a:gd name="connsiteX1" fmla="*/ 168302 w 183420"/>
                <a:gd name="connsiteY1" fmla="*/ 188425 h 189299"/>
                <a:gd name="connsiteX2" fmla="*/ 168302 w 183420"/>
                <a:gd name="connsiteY2" fmla="*/ 185926 h 189299"/>
                <a:gd name="connsiteX3" fmla="*/ 177423 w 183420"/>
                <a:gd name="connsiteY3" fmla="*/ 175305 h 189299"/>
                <a:gd name="connsiteX4" fmla="*/ 183421 w 183420"/>
                <a:gd name="connsiteY4" fmla="*/ 178429 h 189299"/>
                <a:gd name="connsiteX5" fmla="*/ 183421 w 183420"/>
                <a:gd name="connsiteY5" fmla="*/ 178429 h 189299"/>
                <a:gd name="connsiteX6" fmla="*/ 15118 w 183420"/>
                <a:gd name="connsiteY6" fmla="*/ 0 h 189299"/>
                <a:gd name="connsiteX7" fmla="*/ 15118 w 183420"/>
                <a:gd name="connsiteY7" fmla="*/ 4998 h 189299"/>
                <a:gd name="connsiteX8" fmla="*/ 5998 w 183420"/>
                <a:gd name="connsiteY8" fmla="*/ 15744 h 189299"/>
                <a:gd name="connsiteX9" fmla="*/ 0 w 183420"/>
                <a:gd name="connsiteY9" fmla="*/ 12620 h 189299"/>
                <a:gd name="connsiteX10" fmla="*/ 0 w 183420"/>
                <a:gd name="connsiteY10" fmla="*/ 12620 h 189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420" h="189299">
                  <a:moveTo>
                    <a:pt x="166678" y="189300"/>
                  </a:moveTo>
                  <a:lnTo>
                    <a:pt x="168302" y="188425"/>
                  </a:lnTo>
                  <a:lnTo>
                    <a:pt x="168302" y="185926"/>
                  </a:lnTo>
                  <a:cubicBezTo>
                    <a:pt x="167940" y="180491"/>
                    <a:pt x="172001" y="175767"/>
                    <a:pt x="177423" y="175305"/>
                  </a:cubicBezTo>
                  <a:cubicBezTo>
                    <a:pt x="179772" y="175455"/>
                    <a:pt x="181946" y="176592"/>
                    <a:pt x="183421" y="178429"/>
                  </a:cubicBezTo>
                  <a:lnTo>
                    <a:pt x="183421" y="178429"/>
                  </a:lnTo>
                  <a:lnTo>
                    <a:pt x="15118" y="0"/>
                  </a:lnTo>
                  <a:lnTo>
                    <a:pt x="15118" y="4998"/>
                  </a:lnTo>
                  <a:cubicBezTo>
                    <a:pt x="15556" y="10478"/>
                    <a:pt x="11470" y="15280"/>
                    <a:pt x="5998" y="15744"/>
                  </a:cubicBezTo>
                  <a:cubicBezTo>
                    <a:pt x="3661" y="15563"/>
                    <a:pt x="1487" y="14434"/>
                    <a:pt x="0" y="12620"/>
                  </a:cubicBezTo>
                  <a:lnTo>
                    <a:pt x="0" y="12620"/>
                  </a:lnTo>
                  <a:close/>
                </a:path>
              </a:pathLst>
            </a:custGeom>
            <a:solidFill>
              <a:srgbClr val="000000"/>
            </a:solidFill>
            <a:ln w="12483" cap="flat">
              <a:noFill/>
              <a:prstDash val="solid"/>
              <a:miter/>
            </a:ln>
          </p:spPr>
          <p:txBody>
            <a:bodyPr rtlCol="0" anchor="ctr"/>
            <a:lstStyle/>
            <a:p>
              <a:endParaRPr lang="en-US"/>
            </a:p>
          </p:txBody>
        </p:sp>
        <p:sp>
          <p:nvSpPr>
            <p:cNvPr id="1555" name="Freeform: Shape 1554">
              <a:extLst>
                <a:ext uri="{FF2B5EF4-FFF2-40B4-BE49-F238E27FC236}">
                  <a16:creationId xmlns:a16="http://schemas.microsoft.com/office/drawing/2014/main" id="{5A0A8E00-32CC-4571-93F2-A78ED354008B}"/>
                </a:ext>
              </a:extLst>
            </p:cNvPr>
            <p:cNvSpPr/>
            <p:nvPr/>
          </p:nvSpPr>
          <p:spPr>
            <a:xfrm>
              <a:off x="10510988" y="1686459"/>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556" name="Freeform: Shape 1555">
              <a:extLst>
                <a:ext uri="{FF2B5EF4-FFF2-40B4-BE49-F238E27FC236}">
                  <a16:creationId xmlns:a16="http://schemas.microsoft.com/office/drawing/2014/main" id="{EE69E421-DF36-41DC-9015-C7AC5C6287C2}"/>
                </a:ext>
              </a:extLst>
            </p:cNvPr>
            <p:cNvSpPr/>
            <p:nvPr/>
          </p:nvSpPr>
          <p:spPr>
            <a:xfrm>
              <a:off x="10287085" y="1682961"/>
              <a:ext cx="224028" cy="110081"/>
            </a:xfrm>
            <a:custGeom>
              <a:avLst/>
              <a:gdLst>
                <a:gd name="connsiteX0" fmla="*/ 1499 w 224028"/>
                <a:gd name="connsiteY0" fmla="*/ 110081 h 110081"/>
                <a:gd name="connsiteX1" fmla="*/ 224028 w 224028"/>
                <a:gd name="connsiteY1" fmla="*/ 3499 h 110081"/>
                <a:gd name="connsiteX2" fmla="*/ 224028 w 224028"/>
                <a:gd name="connsiteY2" fmla="*/ 3499 h 110081"/>
                <a:gd name="connsiteX3" fmla="*/ 222779 w 224028"/>
                <a:gd name="connsiteY3" fmla="*/ 0 h 110081"/>
                <a:gd name="connsiteX4" fmla="*/ 222779 w 224028"/>
                <a:gd name="connsiteY4" fmla="*/ 0 h 110081"/>
                <a:gd name="connsiteX5" fmla="*/ 0 w 224028"/>
                <a:gd name="connsiteY5" fmla="*/ 106582 h 110081"/>
                <a:gd name="connsiteX6" fmla="*/ 0 w 224028"/>
                <a:gd name="connsiteY6" fmla="*/ 108582 h 11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28" h="110081">
                  <a:moveTo>
                    <a:pt x="1499" y="110081"/>
                  </a:moveTo>
                  <a:lnTo>
                    <a:pt x="224028" y="3499"/>
                  </a:lnTo>
                  <a:lnTo>
                    <a:pt x="224028" y="3499"/>
                  </a:lnTo>
                  <a:cubicBezTo>
                    <a:pt x="223428" y="2407"/>
                    <a:pt x="223004" y="1225"/>
                    <a:pt x="222779" y="0"/>
                  </a:cubicBezTo>
                  <a:lnTo>
                    <a:pt x="222779" y="0"/>
                  </a:lnTo>
                  <a:lnTo>
                    <a:pt x="0" y="106582"/>
                  </a:lnTo>
                  <a:lnTo>
                    <a:pt x="0" y="108582"/>
                  </a:lnTo>
                  <a:close/>
                </a:path>
              </a:pathLst>
            </a:custGeom>
            <a:solidFill>
              <a:srgbClr val="000000"/>
            </a:solidFill>
            <a:ln w="12483" cap="flat">
              <a:noFill/>
              <a:prstDash val="solid"/>
              <a:miter/>
            </a:ln>
          </p:spPr>
          <p:txBody>
            <a:bodyPr rtlCol="0" anchor="ctr"/>
            <a:lstStyle/>
            <a:p>
              <a:endParaRPr lang="en-US"/>
            </a:p>
          </p:txBody>
        </p:sp>
        <p:sp>
          <p:nvSpPr>
            <p:cNvPr id="1557" name="Freeform: Shape 1556">
              <a:extLst>
                <a:ext uri="{FF2B5EF4-FFF2-40B4-BE49-F238E27FC236}">
                  <a16:creationId xmlns:a16="http://schemas.microsoft.com/office/drawing/2014/main" id="{BD1447DA-8E0E-4A79-B792-F47FA6B43DE1}"/>
                </a:ext>
              </a:extLst>
            </p:cNvPr>
            <p:cNvSpPr/>
            <p:nvPr/>
          </p:nvSpPr>
          <p:spPr>
            <a:xfrm>
              <a:off x="10287085" y="1791542"/>
              <a:ext cx="168302" cy="186050"/>
            </a:xfrm>
            <a:custGeom>
              <a:avLst/>
              <a:gdLst>
                <a:gd name="connsiteX0" fmla="*/ 167178 w 168302"/>
                <a:gd name="connsiteY0" fmla="*/ 186051 h 186050"/>
                <a:gd name="connsiteX1" fmla="*/ 167178 w 168302"/>
                <a:gd name="connsiteY1" fmla="*/ 186051 h 186050"/>
                <a:gd name="connsiteX2" fmla="*/ 166428 w 168302"/>
                <a:gd name="connsiteY2" fmla="*/ 185176 h 186050"/>
                <a:gd name="connsiteX3" fmla="*/ 167303 w 168302"/>
                <a:gd name="connsiteY3" fmla="*/ 182677 h 186050"/>
                <a:gd name="connsiteX4" fmla="*/ 168302 w 168302"/>
                <a:gd name="connsiteY4" fmla="*/ 182677 h 186050"/>
                <a:gd name="connsiteX5" fmla="*/ 1499 w 168302"/>
                <a:gd name="connsiteY5" fmla="*/ 1499 h 186050"/>
                <a:gd name="connsiteX6" fmla="*/ 0 w 168302"/>
                <a:gd name="connsiteY6" fmla="*/ 0 h 186050"/>
                <a:gd name="connsiteX7" fmla="*/ 0 w 168302"/>
                <a:gd name="connsiteY7" fmla="*/ 5123 h 186050"/>
                <a:gd name="connsiteX8" fmla="*/ 166678 w 168302"/>
                <a:gd name="connsiteY8" fmla="*/ 185426 h 18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302" h="186050">
                  <a:moveTo>
                    <a:pt x="167178" y="186051"/>
                  </a:moveTo>
                  <a:lnTo>
                    <a:pt x="167178" y="186051"/>
                  </a:lnTo>
                  <a:cubicBezTo>
                    <a:pt x="167178" y="186051"/>
                    <a:pt x="167178" y="186051"/>
                    <a:pt x="166428" y="185176"/>
                  </a:cubicBezTo>
                  <a:cubicBezTo>
                    <a:pt x="166141" y="184239"/>
                    <a:pt x="166503" y="183227"/>
                    <a:pt x="167303" y="182677"/>
                  </a:cubicBezTo>
                  <a:lnTo>
                    <a:pt x="168302" y="182677"/>
                  </a:lnTo>
                  <a:lnTo>
                    <a:pt x="1499" y="1499"/>
                  </a:lnTo>
                  <a:lnTo>
                    <a:pt x="0" y="0"/>
                  </a:lnTo>
                  <a:lnTo>
                    <a:pt x="0" y="5123"/>
                  </a:lnTo>
                  <a:lnTo>
                    <a:pt x="166678" y="185426"/>
                  </a:lnTo>
                  <a:close/>
                </a:path>
              </a:pathLst>
            </a:custGeom>
            <a:solidFill>
              <a:srgbClr val="000000"/>
            </a:solidFill>
            <a:ln w="12483" cap="flat">
              <a:noFill/>
              <a:prstDash val="solid"/>
              <a:miter/>
            </a:ln>
          </p:spPr>
          <p:txBody>
            <a:bodyPr rtlCol="0" anchor="ctr"/>
            <a:lstStyle/>
            <a:p>
              <a:endParaRPr lang="en-US"/>
            </a:p>
          </p:txBody>
        </p:sp>
        <p:sp>
          <p:nvSpPr>
            <p:cNvPr id="1558" name="Freeform: Shape 1557">
              <a:extLst>
                <a:ext uri="{FF2B5EF4-FFF2-40B4-BE49-F238E27FC236}">
                  <a16:creationId xmlns:a16="http://schemas.microsoft.com/office/drawing/2014/main" id="{421E7C7A-A6C0-4051-B2A1-7AE6FE21CCDD}"/>
                </a:ext>
              </a:extLst>
            </p:cNvPr>
            <p:cNvSpPr/>
            <p:nvPr/>
          </p:nvSpPr>
          <p:spPr>
            <a:xfrm>
              <a:off x="10453291" y="1864888"/>
              <a:ext cx="226999" cy="113079"/>
            </a:xfrm>
            <a:custGeom>
              <a:avLst/>
              <a:gdLst>
                <a:gd name="connsiteX0" fmla="*/ 2347 w 226999"/>
                <a:gd name="connsiteY0" fmla="*/ 113080 h 113079"/>
                <a:gd name="connsiteX1" fmla="*/ 2347 w 226999"/>
                <a:gd name="connsiteY1" fmla="*/ 113080 h 113079"/>
                <a:gd name="connsiteX2" fmla="*/ 3347 w 226999"/>
                <a:gd name="connsiteY2" fmla="*/ 113080 h 113079"/>
                <a:gd name="connsiteX3" fmla="*/ 227000 w 226999"/>
                <a:gd name="connsiteY3" fmla="*/ 4248 h 113079"/>
                <a:gd name="connsiteX4" fmla="*/ 227000 w 226999"/>
                <a:gd name="connsiteY4" fmla="*/ 0 h 113079"/>
                <a:gd name="connsiteX5" fmla="*/ 225375 w 226999"/>
                <a:gd name="connsiteY5" fmla="*/ 875 h 113079"/>
                <a:gd name="connsiteX6" fmla="*/ 1972 w 226999"/>
                <a:gd name="connsiteY6" fmla="*/ 109581 h 113079"/>
                <a:gd name="connsiteX7" fmla="*/ 973 w 226999"/>
                <a:gd name="connsiteY7" fmla="*/ 109581 h 113079"/>
                <a:gd name="connsiteX8" fmla="*/ 98 w 226999"/>
                <a:gd name="connsiteY8" fmla="*/ 112080 h 113079"/>
                <a:gd name="connsiteX9" fmla="*/ 847 w 226999"/>
                <a:gd name="connsiteY9" fmla="*/ 112955 h 113079"/>
                <a:gd name="connsiteX10" fmla="*/ 847 w 226999"/>
                <a:gd name="connsiteY10" fmla="*/ 112955 h 11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999" h="113079">
                  <a:moveTo>
                    <a:pt x="2347" y="113080"/>
                  </a:moveTo>
                  <a:lnTo>
                    <a:pt x="2347" y="113080"/>
                  </a:lnTo>
                  <a:lnTo>
                    <a:pt x="3347" y="113080"/>
                  </a:lnTo>
                  <a:lnTo>
                    <a:pt x="227000" y="4248"/>
                  </a:lnTo>
                  <a:lnTo>
                    <a:pt x="227000" y="0"/>
                  </a:lnTo>
                  <a:lnTo>
                    <a:pt x="225375" y="875"/>
                  </a:lnTo>
                  <a:lnTo>
                    <a:pt x="1972" y="109581"/>
                  </a:lnTo>
                  <a:lnTo>
                    <a:pt x="973" y="109581"/>
                  </a:lnTo>
                  <a:cubicBezTo>
                    <a:pt x="173" y="110131"/>
                    <a:pt x="-190" y="111143"/>
                    <a:pt x="98" y="112080"/>
                  </a:cubicBezTo>
                  <a:cubicBezTo>
                    <a:pt x="98" y="112080"/>
                    <a:pt x="98" y="112080"/>
                    <a:pt x="847" y="112955"/>
                  </a:cubicBezTo>
                  <a:lnTo>
                    <a:pt x="847" y="112955"/>
                  </a:lnTo>
                  <a:close/>
                </a:path>
              </a:pathLst>
            </a:custGeom>
            <a:solidFill>
              <a:srgbClr val="000000"/>
            </a:solidFill>
            <a:ln w="12483" cap="flat">
              <a:noFill/>
              <a:prstDash val="solid"/>
              <a:miter/>
            </a:ln>
          </p:spPr>
          <p:txBody>
            <a:bodyPr rtlCol="0" anchor="ctr"/>
            <a:lstStyle/>
            <a:p>
              <a:endParaRPr lang="en-US"/>
            </a:p>
          </p:txBody>
        </p:sp>
        <p:sp>
          <p:nvSpPr>
            <p:cNvPr id="1559" name="Freeform: Shape 1558">
              <a:extLst>
                <a:ext uri="{FF2B5EF4-FFF2-40B4-BE49-F238E27FC236}">
                  <a16:creationId xmlns:a16="http://schemas.microsoft.com/office/drawing/2014/main" id="{582795FA-4493-4F5E-8AC4-41EEB751906D}"/>
                </a:ext>
              </a:extLst>
            </p:cNvPr>
            <p:cNvSpPr/>
            <p:nvPr/>
          </p:nvSpPr>
          <p:spPr>
            <a:xfrm>
              <a:off x="7974585" y="3434887"/>
              <a:ext cx="851756" cy="431827"/>
            </a:xfrm>
            <a:custGeom>
              <a:avLst/>
              <a:gdLst>
                <a:gd name="connsiteX0" fmla="*/ 851757 w 851756"/>
                <a:gd name="connsiteY0" fmla="*/ 2999 h 431827"/>
                <a:gd name="connsiteX1" fmla="*/ 849383 w 851756"/>
                <a:gd name="connsiteY1" fmla="*/ 0 h 431827"/>
                <a:gd name="connsiteX2" fmla="*/ 0 w 851756"/>
                <a:gd name="connsiteY2" fmla="*/ 428829 h 431827"/>
                <a:gd name="connsiteX3" fmla="*/ 2124 w 851756"/>
                <a:gd name="connsiteY3" fmla="*/ 431828 h 431827"/>
                <a:gd name="connsiteX4" fmla="*/ 851757 w 851756"/>
                <a:gd name="connsiteY4" fmla="*/ 2999 h 431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756" h="431827">
                  <a:moveTo>
                    <a:pt x="851757" y="2999"/>
                  </a:moveTo>
                  <a:lnTo>
                    <a:pt x="849383" y="0"/>
                  </a:lnTo>
                  <a:lnTo>
                    <a:pt x="0" y="428829"/>
                  </a:lnTo>
                  <a:lnTo>
                    <a:pt x="2124" y="431828"/>
                  </a:lnTo>
                  <a:lnTo>
                    <a:pt x="851757" y="2999"/>
                  </a:lnTo>
                  <a:close/>
                </a:path>
              </a:pathLst>
            </a:custGeom>
            <a:solidFill>
              <a:srgbClr val="000000"/>
            </a:solidFill>
            <a:ln w="12483" cap="flat">
              <a:noFill/>
              <a:prstDash val="solid"/>
              <a:miter/>
            </a:ln>
          </p:spPr>
          <p:txBody>
            <a:bodyPr rtlCol="0" anchor="ctr"/>
            <a:lstStyle/>
            <a:p>
              <a:endParaRPr lang="en-US"/>
            </a:p>
          </p:txBody>
        </p:sp>
        <p:sp>
          <p:nvSpPr>
            <p:cNvPr id="1560" name="Freeform: Shape 1559">
              <a:extLst>
                <a:ext uri="{FF2B5EF4-FFF2-40B4-BE49-F238E27FC236}">
                  <a16:creationId xmlns:a16="http://schemas.microsoft.com/office/drawing/2014/main" id="{6D652CF6-BD5D-4574-B39D-CDF8AE40DDB5}"/>
                </a:ext>
              </a:extLst>
            </p:cNvPr>
            <p:cNvSpPr/>
            <p:nvPr/>
          </p:nvSpPr>
          <p:spPr>
            <a:xfrm>
              <a:off x="6216969" y="4317410"/>
              <a:ext cx="859378" cy="437325"/>
            </a:xfrm>
            <a:custGeom>
              <a:avLst/>
              <a:gdLst>
                <a:gd name="connsiteX0" fmla="*/ 0 w 859378"/>
                <a:gd name="connsiteY0" fmla="*/ 433452 h 437325"/>
                <a:gd name="connsiteX1" fmla="*/ 750 w 859378"/>
                <a:gd name="connsiteY1" fmla="*/ 436951 h 437325"/>
                <a:gd name="connsiteX2" fmla="*/ 750 w 859378"/>
                <a:gd name="connsiteY2" fmla="*/ 437326 h 437325"/>
                <a:gd name="connsiteX3" fmla="*/ 859379 w 859378"/>
                <a:gd name="connsiteY3" fmla="*/ 3873 h 437325"/>
                <a:gd name="connsiteX4" fmla="*/ 858879 w 859378"/>
                <a:gd name="connsiteY4" fmla="*/ 0 h 437325"/>
                <a:gd name="connsiteX5" fmla="*/ 0 w 859378"/>
                <a:gd name="connsiteY5" fmla="*/ 433452 h 43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378" h="437325">
                  <a:moveTo>
                    <a:pt x="0" y="433452"/>
                  </a:moveTo>
                  <a:lnTo>
                    <a:pt x="750" y="436951"/>
                  </a:lnTo>
                  <a:lnTo>
                    <a:pt x="750" y="437326"/>
                  </a:lnTo>
                  <a:lnTo>
                    <a:pt x="859379" y="3873"/>
                  </a:lnTo>
                  <a:lnTo>
                    <a:pt x="858879" y="0"/>
                  </a:lnTo>
                  <a:lnTo>
                    <a:pt x="0" y="433452"/>
                  </a:lnTo>
                  <a:close/>
                </a:path>
              </a:pathLst>
            </a:custGeom>
            <a:solidFill>
              <a:srgbClr val="000000"/>
            </a:solidFill>
            <a:ln w="12483" cap="flat">
              <a:noFill/>
              <a:prstDash val="solid"/>
              <a:miter/>
            </a:ln>
          </p:spPr>
          <p:txBody>
            <a:bodyPr rtlCol="0" anchor="ctr"/>
            <a:lstStyle/>
            <a:p>
              <a:endParaRPr lang="en-US"/>
            </a:p>
          </p:txBody>
        </p:sp>
        <p:sp>
          <p:nvSpPr>
            <p:cNvPr id="1561" name="Freeform: Shape 1560">
              <a:extLst>
                <a:ext uri="{FF2B5EF4-FFF2-40B4-BE49-F238E27FC236}">
                  <a16:creationId xmlns:a16="http://schemas.microsoft.com/office/drawing/2014/main" id="{C3C29967-1819-49AB-A60F-A11AA311D4E7}"/>
                </a:ext>
              </a:extLst>
            </p:cNvPr>
            <p:cNvSpPr/>
            <p:nvPr/>
          </p:nvSpPr>
          <p:spPr>
            <a:xfrm>
              <a:off x="5869994" y="4133359"/>
              <a:ext cx="202037" cy="100334"/>
            </a:xfrm>
            <a:custGeom>
              <a:avLst/>
              <a:gdLst>
                <a:gd name="connsiteX0" fmla="*/ 2124 w 202037"/>
                <a:gd name="connsiteY0" fmla="*/ 98711 h 100334"/>
                <a:gd name="connsiteX1" fmla="*/ 2124 w 202037"/>
                <a:gd name="connsiteY1" fmla="*/ 100335 h 100334"/>
                <a:gd name="connsiteX2" fmla="*/ 202038 w 202037"/>
                <a:gd name="connsiteY2" fmla="*/ 3374 h 100334"/>
                <a:gd name="connsiteX3" fmla="*/ 202038 w 202037"/>
                <a:gd name="connsiteY3" fmla="*/ 0 h 100334"/>
                <a:gd name="connsiteX4" fmla="*/ 202038 w 202037"/>
                <a:gd name="connsiteY4" fmla="*/ 0 h 100334"/>
                <a:gd name="connsiteX5" fmla="*/ 201288 w 202037"/>
                <a:gd name="connsiteY5" fmla="*/ 0 h 100334"/>
                <a:gd name="connsiteX6" fmla="*/ 1125 w 202037"/>
                <a:gd name="connsiteY6" fmla="*/ 97336 h 100334"/>
                <a:gd name="connsiteX7" fmla="*/ 0 w 202037"/>
                <a:gd name="connsiteY7" fmla="*/ 97961 h 100334"/>
                <a:gd name="connsiteX8" fmla="*/ 0 w 202037"/>
                <a:gd name="connsiteY8" fmla="*/ 97961 h 100334"/>
                <a:gd name="connsiteX9" fmla="*/ 0 w 202037"/>
                <a:gd name="connsiteY9" fmla="*/ 97961 h 100334"/>
                <a:gd name="connsiteX10" fmla="*/ 2124 w 202037"/>
                <a:gd name="connsiteY10" fmla="*/ 98711 h 10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037" h="100334">
                  <a:moveTo>
                    <a:pt x="2124" y="98711"/>
                  </a:moveTo>
                  <a:lnTo>
                    <a:pt x="2124" y="100335"/>
                  </a:lnTo>
                  <a:lnTo>
                    <a:pt x="202038" y="3374"/>
                  </a:lnTo>
                  <a:lnTo>
                    <a:pt x="202038" y="0"/>
                  </a:lnTo>
                  <a:cubicBezTo>
                    <a:pt x="202038" y="0"/>
                    <a:pt x="202038" y="0"/>
                    <a:pt x="202038" y="0"/>
                  </a:cubicBezTo>
                  <a:lnTo>
                    <a:pt x="201288" y="0"/>
                  </a:lnTo>
                  <a:lnTo>
                    <a:pt x="1125" y="97336"/>
                  </a:lnTo>
                  <a:lnTo>
                    <a:pt x="0" y="97961"/>
                  </a:lnTo>
                  <a:cubicBezTo>
                    <a:pt x="0" y="97961"/>
                    <a:pt x="0" y="97961"/>
                    <a:pt x="0" y="97961"/>
                  </a:cubicBezTo>
                  <a:lnTo>
                    <a:pt x="0" y="97961"/>
                  </a:lnTo>
                  <a:cubicBezTo>
                    <a:pt x="795" y="97599"/>
                    <a:pt x="1733" y="97936"/>
                    <a:pt x="2124" y="98711"/>
                  </a:cubicBezTo>
                  <a:close/>
                </a:path>
              </a:pathLst>
            </a:custGeom>
            <a:solidFill>
              <a:srgbClr val="000000"/>
            </a:solidFill>
            <a:ln w="12483" cap="flat">
              <a:noFill/>
              <a:prstDash val="solid"/>
              <a:miter/>
            </a:ln>
          </p:spPr>
          <p:txBody>
            <a:bodyPr rtlCol="0" anchor="ctr"/>
            <a:lstStyle/>
            <a:p>
              <a:endParaRPr lang="en-US"/>
            </a:p>
          </p:txBody>
        </p:sp>
        <p:sp>
          <p:nvSpPr>
            <p:cNvPr id="1562" name="Freeform: Shape 1561">
              <a:extLst>
                <a:ext uri="{FF2B5EF4-FFF2-40B4-BE49-F238E27FC236}">
                  <a16:creationId xmlns:a16="http://schemas.microsoft.com/office/drawing/2014/main" id="{5881B9B3-233C-43E4-891A-BA0A67E88369}"/>
                </a:ext>
              </a:extLst>
            </p:cNvPr>
            <p:cNvSpPr/>
            <p:nvPr/>
          </p:nvSpPr>
          <p:spPr>
            <a:xfrm>
              <a:off x="11825768" y="532170"/>
              <a:ext cx="379238" cy="359856"/>
            </a:xfrm>
            <a:custGeom>
              <a:avLst/>
              <a:gdLst>
                <a:gd name="connsiteX0" fmla="*/ 1777 w 379238"/>
                <a:gd name="connsiteY0" fmla="*/ 3124 h 359856"/>
                <a:gd name="connsiteX1" fmla="*/ 3526 w 379238"/>
                <a:gd name="connsiteY1" fmla="*/ 18243 h 359856"/>
                <a:gd name="connsiteX2" fmla="*/ 7524 w 379238"/>
                <a:gd name="connsiteY2" fmla="*/ 21866 h 359856"/>
                <a:gd name="connsiteX3" fmla="*/ 379238 w 379238"/>
                <a:gd name="connsiteY3" fmla="*/ 359857 h 359856"/>
                <a:gd name="connsiteX4" fmla="*/ 379238 w 379238"/>
                <a:gd name="connsiteY4" fmla="*/ 332742 h 359856"/>
                <a:gd name="connsiteX5" fmla="*/ 14271 w 379238"/>
                <a:gd name="connsiteY5" fmla="*/ 1000 h 359856"/>
                <a:gd name="connsiteX6" fmla="*/ 13396 w 379238"/>
                <a:gd name="connsiteY6" fmla="*/ 1000 h 359856"/>
                <a:gd name="connsiteX7" fmla="*/ 12147 w 379238"/>
                <a:gd name="connsiteY7" fmla="*/ 0 h 359856"/>
                <a:gd name="connsiteX8" fmla="*/ 10523 w 379238"/>
                <a:gd name="connsiteY8" fmla="*/ 0 h 359856"/>
                <a:gd name="connsiteX9" fmla="*/ 8898 w 379238"/>
                <a:gd name="connsiteY9" fmla="*/ 0 h 359856"/>
                <a:gd name="connsiteX10" fmla="*/ 7024 w 379238"/>
                <a:gd name="connsiteY10" fmla="*/ 0 h 359856"/>
                <a:gd name="connsiteX11" fmla="*/ 1777 w 379238"/>
                <a:gd name="connsiteY11" fmla="*/ 3124 h 3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9238" h="359856">
                  <a:moveTo>
                    <a:pt x="1777" y="3124"/>
                  </a:moveTo>
                  <a:cubicBezTo>
                    <a:pt x="-1135" y="7978"/>
                    <a:pt x="-410" y="14181"/>
                    <a:pt x="3526" y="18243"/>
                  </a:cubicBezTo>
                  <a:lnTo>
                    <a:pt x="7524" y="21866"/>
                  </a:lnTo>
                  <a:lnTo>
                    <a:pt x="379238" y="359857"/>
                  </a:lnTo>
                  <a:lnTo>
                    <a:pt x="379238" y="332742"/>
                  </a:lnTo>
                  <a:lnTo>
                    <a:pt x="14271" y="1000"/>
                  </a:lnTo>
                  <a:lnTo>
                    <a:pt x="13396" y="1000"/>
                  </a:lnTo>
                  <a:cubicBezTo>
                    <a:pt x="13047" y="592"/>
                    <a:pt x="12622" y="254"/>
                    <a:pt x="12147" y="0"/>
                  </a:cubicBezTo>
                  <a:lnTo>
                    <a:pt x="10523" y="0"/>
                  </a:lnTo>
                  <a:lnTo>
                    <a:pt x="8898" y="0"/>
                  </a:lnTo>
                  <a:lnTo>
                    <a:pt x="7024" y="0"/>
                  </a:lnTo>
                  <a:cubicBezTo>
                    <a:pt x="4962" y="407"/>
                    <a:pt x="3113" y="1510"/>
                    <a:pt x="1777" y="3124"/>
                  </a:cubicBezTo>
                  <a:close/>
                </a:path>
              </a:pathLst>
            </a:custGeom>
            <a:solidFill>
              <a:srgbClr val="000000"/>
            </a:solidFill>
            <a:ln w="12483" cap="flat">
              <a:noFill/>
              <a:prstDash val="solid"/>
              <a:miter/>
            </a:ln>
          </p:spPr>
          <p:txBody>
            <a:bodyPr rtlCol="0" anchor="ctr"/>
            <a:lstStyle/>
            <a:p>
              <a:endParaRPr lang="en-US"/>
            </a:p>
          </p:txBody>
        </p:sp>
        <p:sp>
          <p:nvSpPr>
            <p:cNvPr id="1563" name="Freeform: Shape 1562">
              <a:extLst>
                <a:ext uri="{FF2B5EF4-FFF2-40B4-BE49-F238E27FC236}">
                  <a16:creationId xmlns:a16="http://schemas.microsoft.com/office/drawing/2014/main" id="{C354B5D6-2298-46AA-8805-286BEB5AD894}"/>
                </a:ext>
              </a:extLst>
            </p:cNvPr>
            <p:cNvSpPr/>
            <p:nvPr/>
          </p:nvSpPr>
          <p:spPr>
            <a:xfrm>
              <a:off x="11790186" y="689482"/>
              <a:ext cx="415320" cy="386595"/>
            </a:xfrm>
            <a:custGeom>
              <a:avLst/>
              <a:gdLst>
                <a:gd name="connsiteX0" fmla="*/ 0 w 415320"/>
                <a:gd name="connsiteY0" fmla="*/ 0 h 386595"/>
                <a:gd name="connsiteX1" fmla="*/ 0 w 415320"/>
                <a:gd name="connsiteY1" fmla="*/ 0 h 386595"/>
                <a:gd name="connsiteX2" fmla="*/ 1124 w 415320"/>
                <a:gd name="connsiteY2" fmla="*/ 1874 h 386595"/>
                <a:gd name="connsiteX3" fmla="*/ 1124 w 415320"/>
                <a:gd name="connsiteY3" fmla="*/ 5373 h 386595"/>
                <a:gd name="connsiteX4" fmla="*/ 415320 w 415320"/>
                <a:gd name="connsiteY4" fmla="*/ 386596 h 386595"/>
                <a:gd name="connsiteX5" fmla="*/ 415320 w 415320"/>
                <a:gd name="connsiteY5" fmla="*/ 381848 h 386595"/>
                <a:gd name="connsiteX6" fmla="*/ 250 w 415320"/>
                <a:gd name="connsiteY6" fmla="*/ 0 h 3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320" h="386595">
                  <a:moveTo>
                    <a:pt x="0" y="0"/>
                  </a:moveTo>
                  <a:cubicBezTo>
                    <a:pt x="0" y="0"/>
                    <a:pt x="0" y="0"/>
                    <a:pt x="0" y="0"/>
                  </a:cubicBezTo>
                  <a:cubicBezTo>
                    <a:pt x="712" y="346"/>
                    <a:pt x="1150" y="1082"/>
                    <a:pt x="1124" y="1874"/>
                  </a:cubicBezTo>
                  <a:lnTo>
                    <a:pt x="1124" y="5373"/>
                  </a:lnTo>
                  <a:lnTo>
                    <a:pt x="415320" y="386596"/>
                  </a:lnTo>
                  <a:lnTo>
                    <a:pt x="415320" y="381848"/>
                  </a:lnTo>
                  <a:lnTo>
                    <a:pt x="250" y="0"/>
                  </a:lnTo>
                  <a:close/>
                </a:path>
              </a:pathLst>
            </a:custGeom>
            <a:solidFill>
              <a:srgbClr val="000000"/>
            </a:solidFill>
            <a:ln w="12483" cap="flat">
              <a:noFill/>
              <a:prstDash val="solid"/>
              <a:miter/>
            </a:ln>
          </p:spPr>
          <p:txBody>
            <a:bodyPr rtlCol="0" anchor="ctr"/>
            <a:lstStyle/>
            <a:p>
              <a:endParaRPr lang="en-US"/>
            </a:p>
          </p:txBody>
        </p:sp>
        <p:sp>
          <p:nvSpPr>
            <p:cNvPr id="1564" name="Freeform: Shape 1563">
              <a:extLst>
                <a:ext uri="{FF2B5EF4-FFF2-40B4-BE49-F238E27FC236}">
                  <a16:creationId xmlns:a16="http://schemas.microsoft.com/office/drawing/2014/main" id="{1F35001D-8AFA-415E-9229-7403818AABC9}"/>
                </a:ext>
              </a:extLst>
            </p:cNvPr>
            <p:cNvSpPr/>
            <p:nvPr/>
          </p:nvSpPr>
          <p:spPr>
            <a:xfrm>
              <a:off x="11789436" y="689232"/>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565" name="Freeform: Shape 1564">
              <a:extLst>
                <a:ext uri="{FF2B5EF4-FFF2-40B4-BE49-F238E27FC236}">
                  <a16:creationId xmlns:a16="http://schemas.microsoft.com/office/drawing/2014/main" id="{67696184-136E-4063-9C18-63EC388233B0}"/>
                </a:ext>
              </a:extLst>
            </p:cNvPr>
            <p:cNvSpPr/>
            <p:nvPr/>
          </p:nvSpPr>
          <p:spPr>
            <a:xfrm>
              <a:off x="11787890" y="689732"/>
              <a:ext cx="46" cy="749"/>
            </a:xfrm>
            <a:custGeom>
              <a:avLst/>
              <a:gdLst>
                <a:gd name="connsiteX0" fmla="*/ 47 w 46"/>
                <a:gd name="connsiteY0" fmla="*/ 125 h 749"/>
                <a:gd name="connsiteX1" fmla="*/ 47 w 46"/>
                <a:gd name="connsiteY1" fmla="*/ 750 h 749"/>
                <a:gd name="connsiteX2" fmla="*/ 47 w 46"/>
                <a:gd name="connsiteY2" fmla="*/ 0 h 749"/>
                <a:gd name="connsiteX3" fmla="*/ 47 w 46"/>
                <a:gd name="connsiteY3" fmla="*/ 125 h 749"/>
              </a:gdLst>
              <a:ahLst/>
              <a:cxnLst>
                <a:cxn ang="0">
                  <a:pos x="connsiteX0" y="connsiteY0"/>
                </a:cxn>
                <a:cxn ang="0">
                  <a:pos x="connsiteX1" y="connsiteY1"/>
                </a:cxn>
                <a:cxn ang="0">
                  <a:pos x="connsiteX2" y="connsiteY2"/>
                </a:cxn>
                <a:cxn ang="0">
                  <a:pos x="connsiteX3" y="connsiteY3"/>
                </a:cxn>
              </a:cxnLst>
              <a:rect l="l" t="t" r="r" b="b"/>
              <a:pathLst>
                <a:path w="46" h="749">
                  <a:moveTo>
                    <a:pt x="47" y="125"/>
                  </a:moveTo>
                  <a:cubicBezTo>
                    <a:pt x="-16" y="329"/>
                    <a:pt x="-16" y="546"/>
                    <a:pt x="47" y="750"/>
                  </a:cubicBezTo>
                  <a:cubicBezTo>
                    <a:pt x="-3" y="502"/>
                    <a:pt x="-3" y="247"/>
                    <a:pt x="47" y="0"/>
                  </a:cubicBezTo>
                  <a:lnTo>
                    <a:pt x="47" y="125"/>
                  </a:lnTo>
                  <a:close/>
                </a:path>
              </a:pathLst>
            </a:custGeom>
            <a:solidFill>
              <a:srgbClr val="000000"/>
            </a:solidFill>
            <a:ln w="12483" cap="flat">
              <a:noFill/>
              <a:prstDash val="solid"/>
              <a:miter/>
            </a:ln>
          </p:spPr>
          <p:txBody>
            <a:bodyPr rtlCol="0" anchor="ctr"/>
            <a:lstStyle/>
            <a:p>
              <a:endParaRPr lang="en-US"/>
            </a:p>
          </p:txBody>
        </p:sp>
        <p:sp>
          <p:nvSpPr>
            <p:cNvPr id="1566" name="Freeform: Shape 1565">
              <a:extLst>
                <a:ext uri="{FF2B5EF4-FFF2-40B4-BE49-F238E27FC236}">
                  <a16:creationId xmlns:a16="http://schemas.microsoft.com/office/drawing/2014/main" id="{E2753DE3-46E5-4F60-BE7C-54AA74CB2F26}"/>
                </a:ext>
              </a:extLst>
            </p:cNvPr>
            <p:cNvSpPr/>
            <p:nvPr/>
          </p:nvSpPr>
          <p:spPr>
            <a:xfrm>
              <a:off x="6161529" y="5600494"/>
              <a:ext cx="716029" cy="1272272"/>
            </a:xfrm>
            <a:custGeom>
              <a:avLst/>
              <a:gdLst>
                <a:gd name="connsiteX0" fmla="*/ 16332 w 716029"/>
                <a:gd name="connsiteY0" fmla="*/ 4653 h 1272272"/>
                <a:gd name="connsiteX1" fmla="*/ 8210 w 716029"/>
                <a:gd name="connsiteY1" fmla="*/ 29 h 1272272"/>
                <a:gd name="connsiteX2" fmla="*/ 10459 w 716029"/>
                <a:gd name="connsiteY2" fmla="*/ 10150 h 1272272"/>
                <a:gd name="connsiteX3" fmla="*/ 9335 w 716029"/>
                <a:gd name="connsiteY3" fmla="*/ 12524 h 1272272"/>
                <a:gd name="connsiteX4" fmla="*/ 7370 w 716029"/>
                <a:gd name="connsiteY4" fmla="*/ 11337 h 1272272"/>
                <a:gd name="connsiteX5" fmla="*/ 7336 w 716029"/>
                <a:gd name="connsiteY5" fmla="*/ 11150 h 1272272"/>
                <a:gd name="connsiteX6" fmla="*/ 5087 w 716029"/>
                <a:gd name="connsiteY6" fmla="*/ 1029 h 1272272"/>
                <a:gd name="connsiteX7" fmla="*/ 3962 w 716029"/>
                <a:gd name="connsiteY7" fmla="*/ 1654 h 1272272"/>
                <a:gd name="connsiteX8" fmla="*/ 1463 w 716029"/>
                <a:gd name="connsiteY8" fmla="*/ 16648 h 1272272"/>
                <a:gd name="connsiteX9" fmla="*/ 693914 w 716029"/>
                <a:gd name="connsiteY9" fmla="*/ 1272272 h 1272272"/>
                <a:gd name="connsiteX10" fmla="*/ 716030 w 716029"/>
                <a:gd name="connsiteY10" fmla="*/ 1272272 h 127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029" h="1272272">
                  <a:moveTo>
                    <a:pt x="16332" y="4653"/>
                  </a:moveTo>
                  <a:cubicBezTo>
                    <a:pt x="14844" y="1579"/>
                    <a:pt x="11614" y="-258"/>
                    <a:pt x="8210" y="29"/>
                  </a:cubicBezTo>
                  <a:lnTo>
                    <a:pt x="10459" y="10150"/>
                  </a:lnTo>
                  <a:cubicBezTo>
                    <a:pt x="10597" y="11100"/>
                    <a:pt x="10153" y="12037"/>
                    <a:pt x="9335" y="12524"/>
                  </a:cubicBezTo>
                  <a:cubicBezTo>
                    <a:pt x="8464" y="12737"/>
                    <a:pt x="7584" y="12200"/>
                    <a:pt x="7370" y="11337"/>
                  </a:cubicBezTo>
                  <a:cubicBezTo>
                    <a:pt x="7355" y="11275"/>
                    <a:pt x="7343" y="11212"/>
                    <a:pt x="7336" y="11150"/>
                  </a:cubicBezTo>
                  <a:lnTo>
                    <a:pt x="5087" y="1029"/>
                  </a:lnTo>
                  <a:cubicBezTo>
                    <a:pt x="4664" y="1141"/>
                    <a:pt x="4276" y="1354"/>
                    <a:pt x="3962" y="1654"/>
                  </a:cubicBezTo>
                  <a:cubicBezTo>
                    <a:pt x="-165" y="5515"/>
                    <a:pt x="-1189" y="11662"/>
                    <a:pt x="1463" y="16648"/>
                  </a:cubicBezTo>
                  <a:lnTo>
                    <a:pt x="693914" y="1272272"/>
                  </a:lnTo>
                  <a:lnTo>
                    <a:pt x="716030" y="1272272"/>
                  </a:lnTo>
                  <a:close/>
                </a:path>
              </a:pathLst>
            </a:custGeom>
            <a:solidFill>
              <a:srgbClr val="000000"/>
            </a:solidFill>
            <a:ln w="12483" cap="flat">
              <a:noFill/>
              <a:prstDash val="solid"/>
              <a:miter/>
            </a:ln>
          </p:spPr>
          <p:txBody>
            <a:bodyPr rtlCol="0" anchor="ctr"/>
            <a:lstStyle/>
            <a:p>
              <a:endParaRPr lang="en-US"/>
            </a:p>
          </p:txBody>
        </p:sp>
        <p:sp>
          <p:nvSpPr>
            <p:cNvPr id="1567" name="Freeform: Shape 1566">
              <a:extLst>
                <a:ext uri="{FF2B5EF4-FFF2-40B4-BE49-F238E27FC236}">
                  <a16:creationId xmlns:a16="http://schemas.microsoft.com/office/drawing/2014/main" id="{525B74CE-FB4D-4D70-81A2-A2A6657067DD}"/>
                </a:ext>
              </a:extLst>
            </p:cNvPr>
            <p:cNvSpPr/>
            <p:nvPr/>
          </p:nvSpPr>
          <p:spPr>
            <a:xfrm>
              <a:off x="6074905" y="5177067"/>
              <a:ext cx="97857" cy="436001"/>
            </a:xfrm>
            <a:custGeom>
              <a:avLst/>
              <a:gdLst>
                <a:gd name="connsiteX0" fmla="*/ 5248 w 97857"/>
                <a:gd name="connsiteY0" fmla="*/ 9371 h 436001"/>
                <a:gd name="connsiteX1" fmla="*/ 0 w 97857"/>
                <a:gd name="connsiteY1" fmla="*/ 0 h 436001"/>
                <a:gd name="connsiteX2" fmla="*/ 0 w 97857"/>
                <a:gd name="connsiteY2" fmla="*/ 0 h 436001"/>
                <a:gd name="connsiteX3" fmla="*/ 86463 w 97857"/>
                <a:gd name="connsiteY3" fmla="*/ 396717 h 436001"/>
                <a:gd name="connsiteX4" fmla="*/ 92460 w 97857"/>
                <a:gd name="connsiteY4" fmla="*/ 424456 h 436001"/>
                <a:gd name="connsiteX5" fmla="*/ 94709 w 97857"/>
                <a:gd name="connsiteY5" fmla="*/ 434577 h 436001"/>
                <a:gd name="connsiteX6" fmla="*/ 96523 w 97857"/>
                <a:gd name="connsiteY6" fmla="*/ 435989 h 436001"/>
                <a:gd name="connsiteX7" fmla="*/ 96708 w 97857"/>
                <a:gd name="connsiteY7" fmla="*/ 435951 h 436001"/>
                <a:gd name="connsiteX8" fmla="*/ 97833 w 97857"/>
                <a:gd name="connsiteY8" fmla="*/ 433577 h 436001"/>
                <a:gd name="connsiteX9" fmla="*/ 95584 w 97857"/>
                <a:gd name="connsiteY9" fmla="*/ 423456 h 436001"/>
                <a:gd name="connsiteX10" fmla="*/ 91960 w 97857"/>
                <a:gd name="connsiteY10" fmla="*/ 406588 h 43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857" h="436001">
                  <a:moveTo>
                    <a:pt x="5248" y="9371"/>
                  </a:moveTo>
                  <a:lnTo>
                    <a:pt x="0" y="0"/>
                  </a:lnTo>
                  <a:lnTo>
                    <a:pt x="0" y="0"/>
                  </a:lnTo>
                  <a:lnTo>
                    <a:pt x="86463" y="396717"/>
                  </a:lnTo>
                  <a:lnTo>
                    <a:pt x="92460" y="424456"/>
                  </a:lnTo>
                  <a:lnTo>
                    <a:pt x="94709" y="434577"/>
                  </a:lnTo>
                  <a:cubicBezTo>
                    <a:pt x="94822" y="435464"/>
                    <a:pt x="95634" y="436101"/>
                    <a:pt x="96523" y="435989"/>
                  </a:cubicBezTo>
                  <a:cubicBezTo>
                    <a:pt x="96586" y="435976"/>
                    <a:pt x="96647" y="435964"/>
                    <a:pt x="96708" y="435951"/>
                  </a:cubicBezTo>
                  <a:cubicBezTo>
                    <a:pt x="97527" y="435464"/>
                    <a:pt x="97970" y="434527"/>
                    <a:pt x="97833" y="433577"/>
                  </a:cubicBezTo>
                  <a:lnTo>
                    <a:pt x="95584" y="423456"/>
                  </a:lnTo>
                  <a:lnTo>
                    <a:pt x="91960" y="406588"/>
                  </a:lnTo>
                  <a:close/>
                </a:path>
              </a:pathLst>
            </a:custGeom>
            <a:solidFill>
              <a:srgbClr val="000000"/>
            </a:solidFill>
            <a:ln w="12483" cap="flat">
              <a:noFill/>
              <a:prstDash val="solid"/>
              <a:miter/>
            </a:ln>
          </p:spPr>
          <p:txBody>
            <a:bodyPr rtlCol="0" anchor="ctr"/>
            <a:lstStyle/>
            <a:p>
              <a:endParaRPr lang="en-US"/>
            </a:p>
          </p:txBody>
        </p:sp>
        <p:sp>
          <p:nvSpPr>
            <p:cNvPr id="1568" name="Freeform: Shape 1567">
              <a:extLst>
                <a:ext uri="{FF2B5EF4-FFF2-40B4-BE49-F238E27FC236}">
                  <a16:creationId xmlns:a16="http://schemas.microsoft.com/office/drawing/2014/main" id="{6B87FC3D-30D4-4EB6-8891-E794B38B8388}"/>
                </a:ext>
              </a:extLst>
            </p:cNvPr>
            <p:cNvSpPr/>
            <p:nvPr/>
          </p:nvSpPr>
          <p:spPr>
            <a:xfrm>
              <a:off x="5870949" y="4230645"/>
              <a:ext cx="206954" cy="945923"/>
            </a:xfrm>
            <a:custGeom>
              <a:avLst/>
              <a:gdLst>
                <a:gd name="connsiteX0" fmla="*/ 206955 w 206954"/>
                <a:gd name="connsiteY0" fmla="*/ 942800 h 945923"/>
                <a:gd name="connsiteX1" fmla="*/ 2043 w 206954"/>
                <a:gd name="connsiteY1" fmla="*/ 3049 h 945923"/>
                <a:gd name="connsiteX2" fmla="*/ 2043 w 206954"/>
                <a:gd name="connsiteY2" fmla="*/ 1425 h 945923"/>
                <a:gd name="connsiteX3" fmla="*/ 229 w 206954"/>
                <a:gd name="connsiteY3" fmla="*/ 13 h 945923"/>
                <a:gd name="connsiteX4" fmla="*/ 44 w 206954"/>
                <a:gd name="connsiteY4" fmla="*/ 50 h 945923"/>
                <a:gd name="connsiteX5" fmla="*/ 44 w 206954"/>
                <a:gd name="connsiteY5" fmla="*/ 50 h 945923"/>
                <a:gd name="connsiteX6" fmla="*/ 44 w 206954"/>
                <a:gd name="connsiteY6" fmla="*/ 50 h 945923"/>
                <a:gd name="connsiteX7" fmla="*/ 44 w 206954"/>
                <a:gd name="connsiteY7" fmla="*/ 800 h 945923"/>
                <a:gd name="connsiteX8" fmla="*/ 44 w 206954"/>
                <a:gd name="connsiteY8" fmla="*/ 1425 h 945923"/>
                <a:gd name="connsiteX9" fmla="*/ 44 w 206954"/>
                <a:gd name="connsiteY9" fmla="*/ 1425 h 945923"/>
                <a:gd name="connsiteX10" fmla="*/ 203706 w 206954"/>
                <a:gd name="connsiteY10" fmla="*/ 945923 h 945923"/>
                <a:gd name="connsiteX11" fmla="*/ 203706 w 206954"/>
                <a:gd name="connsiteY11" fmla="*/ 945923 h 945923"/>
                <a:gd name="connsiteX12" fmla="*/ 203706 w 206954"/>
                <a:gd name="connsiteY12" fmla="*/ 945923 h 945923"/>
                <a:gd name="connsiteX13" fmla="*/ 203706 w 206954"/>
                <a:gd name="connsiteY13" fmla="*/ 945174 h 945923"/>
                <a:gd name="connsiteX14" fmla="*/ 203706 w 206954"/>
                <a:gd name="connsiteY14" fmla="*/ 945174 h 945923"/>
                <a:gd name="connsiteX15" fmla="*/ 203706 w 206954"/>
                <a:gd name="connsiteY15" fmla="*/ 945174 h 945923"/>
                <a:gd name="connsiteX16" fmla="*/ 203706 w 206954"/>
                <a:gd name="connsiteY16" fmla="*/ 945174 h 9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954" h="945923">
                  <a:moveTo>
                    <a:pt x="206955" y="942800"/>
                  </a:moveTo>
                  <a:lnTo>
                    <a:pt x="2043" y="3049"/>
                  </a:lnTo>
                  <a:lnTo>
                    <a:pt x="2043" y="1425"/>
                  </a:lnTo>
                  <a:cubicBezTo>
                    <a:pt x="1931" y="538"/>
                    <a:pt x="1119" y="-100"/>
                    <a:pt x="229" y="13"/>
                  </a:cubicBezTo>
                  <a:cubicBezTo>
                    <a:pt x="166" y="25"/>
                    <a:pt x="105" y="38"/>
                    <a:pt x="44" y="50"/>
                  </a:cubicBezTo>
                  <a:lnTo>
                    <a:pt x="44" y="50"/>
                  </a:lnTo>
                  <a:lnTo>
                    <a:pt x="44" y="50"/>
                  </a:lnTo>
                  <a:cubicBezTo>
                    <a:pt x="44" y="50"/>
                    <a:pt x="44" y="50"/>
                    <a:pt x="44" y="800"/>
                  </a:cubicBezTo>
                  <a:cubicBezTo>
                    <a:pt x="-15" y="1000"/>
                    <a:pt x="-15" y="1225"/>
                    <a:pt x="44" y="1425"/>
                  </a:cubicBezTo>
                  <a:lnTo>
                    <a:pt x="44" y="1425"/>
                  </a:lnTo>
                  <a:lnTo>
                    <a:pt x="203706" y="945923"/>
                  </a:lnTo>
                  <a:lnTo>
                    <a:pt x="203706" y="945923"/>
                  </a:lnTo>
                  <a:cubicBezTo>
                    <a:pt x="203706" y="945923"/>
                    <a:pt x="203706" y="945923"/>
                    <a:pt x="203706" y="945923"/>
                  </a:cubicBezTo>
                  <a:lnTo>
                    <a:pt x="203706" y="945174"/>
                  </a:lnTo>
                  <a:lnTo>
                    <a:pt x="203706" y="945174"/>
                  </a:lnTo>
                  <a:lnTo>
                    <a:pt x="203706" y="945174"/>
                  </a:lnTo>
                  <a:lnTo>
                    <a:pt x="203706" y="945174"/>
                  </a:lnTo>
                  <a:close/>
                </a:path>
              </a:pathLst>
            </a:custGeom>
            <a:solidFill>
              <a:srgbClr val="000000"/>
            </a:solidFill>
            <a:ln w="12483" cap="flat">
              <a:noFill/>
              <a:prstDash val="solid"/>
              <a:miter/>
            </a:ln>
          </p:spPr>
          <p:txBody>
            <a:bodyPr rtlCol="0" anchor="ctr"/>
            <a:lstStyle/>
            <a:p>
              <a:endParaRPr lang="en-US"/>
            </a:p>
          </p:txBody>
        </p:sp>
        <p:sp>
          <p:nvSpPr>
            <p:cNvPr id="1569" name="Freeform: Shape 1568">
              <a:extLst>
                <a:ext uri="{FF2B5EF4-FFF2-40B4-BE49-F238E27FC236}">
                  <a16:creationId xmlns:a16="http://schemas.microsoft.com/office/drawing/2014/main" id="{7DB1DDB0-6231-49A4-8436-6A034F1901D5}"/>
                </a:ext>
              </a:extLst>
            </p:cNvPr>
            <p:cNvSpPr/>
            <p:nvPr/>
          </p:nvSpPr>
          <p:spPr>
            <a:xfrm>
              <a:off x="6267072" y="5069610"/>
              <a:ext cx="1046422" cy="1802406"/>
            </a:xfrm>
            <a:custGeom>
              <a:avLst/>
              <a:gdLst>
                <a:gd name="connsiteX0" fmla="*/ 16118 w 1046422"/>
                <a:gd name="connsiteY0" fmla="*/ 1874 h 1802406"/>
                <a:gd name="connsiteX1" fmla="*/ 9496 w 1046422"/>
                <a:gd name="connsiteY1" fmla="*/ 15119 h 1802406"/>
                <a:gd name="connsiteX2" fmla="*/ 0 w 1046422"/>
                <a:gd name="connsiteY2" fmla="*/ 10496 h 1802406"/>
                <a:gd name="connsiteX3" fmla="*/ 0 w 1046422"/>
                <a:gd name="connsiteY3" fmla="*/ 10496 h 1802406"/>
                <a:gd name="connsiteX4" fmla="*/ 0 w 1046422"/>
                <a:gd name="connsiteY4" fmla="*/ 10496 h 1802406"/>
                <a:gd name="connsiteX5" fmla="*/ 1024557 w 1046422"/>
                <a:gd name="connsiteY5" fmla="*/ 1802406 h 1802406"/>
                <a:gd name="connsiteX6" fmla="*/ 1046423 w 1046422"/>
                <a:gd name="connsiteY6" fmla="*/ 1802406 h 1802406"/>
                <a:gd name="connsiteX7" fmla="*/ 15743 w 1046422"/>
                <a:gd name="connsiteY7" fmla="*/ 0 h 180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422" h="1802406">
                  <a:moveTo>
                    <a:pt x="16118" y="1874"/>
                  </a:moveTo>
                  <a:cubicBezTo>
                    <a:pt x="17482" y="7322"/>
                    <a:pt x="14670" y="12945"/>
                    <a:pt x="9496" y="15119"/>
                  </a:cubicBezTo>
                  <a:cubicBezTo>
                    <a:pt x="5624" y="16131"/>
                    <a:pt x="1594" y="14169"/>
                    <a:pt x="0" y="10496"/>
                  </a:cubicBezTo>
                  <a:lnTo>
                    <a:pt x="0" y="10496"/>
                  </a:lnTo>
                  <a:cubicBezTo>
                    <a:pt x="0" y="10496"/>
                    <a:pt x="0" y="10496"/>
                    <a:pt x="0" y="10496"/>
                  </a:cubicBezTo>
                  <a:lnTo>
                    <a:pt x="1024557" y="1802406"/>
                  </a:lnTo>
                  <a:lnTo>
                    <a:pt x="1046423" y="1802406"/>
                  </a:lnTo>
                  <a:lnTo>
                    <a:pt x="15743" y="0"/>
                  </a:lnTo>
                  <a:close/>
                </a:path>
              </a:pathLst>
            </a:custGeom>
            <a:solidFill>
              <a:srgbClr val="000000"/>
            </a:solidFill>
            <a:ln w="12483" cap="flat">
              <a:noFill/>
              <a:prstDash val="solid"/>
              <a:miter/>
            </a:ln>
          </p:spPr>
          <p:txBody>
            <a:bodyPr rtlCol="0" anchor="ctr"/>
            <a:lstStyle/>
            <a:p>
              <a:endParaRPr lang="en-US"/>
            </a:p>
          </p:txBody>
        </p:sp>
        <p:sp>
          <p:nvSpPr>
            <p:cNvPr id="1570" name="Freeform: Shape 1569">
              <a:extLst>
                <a:ext uri="{FF2B5EF4-FFF2-40B4-BE49-F238E27FC236}">
                  <a16:creationId xmlns:a16="http://schemas.microsoft.com/office/drawing/2014/main" id="{3411739C-F3A8-4D83-BDBD-58A6F8A08A40}"/>
                </a:ext>
              </a:extLst>
            </p:cNvPr>
            <p:cNvSpPr/>
            <p:nvPr/>
          </p:nvSpPr>
          <p:spPr>
            <a:xfrm>
              <a:off x="6076155" y="5076608"/>
              <a:ext cx="190792" cy="99709"/>
            </a:xfrm>
            <a:custGeom>
              <a:avLst/>
              <a:gdLst>
                <a:gd name="connsiteX0" fmla="*/ 189168 w 190792"/>
                <a:gd name="connsiteY0" fmla="*/ 0 h 99709"/>
                <a:gd name="connsiteX1" fmla="*/ 1749 w 190792"/>
                <a:gd name="connsiteY1" fmla="*/ 96836 h 99709"/>
                <a:gd name="connsiteX2" fmla="*/ 0 w 190792"/>
                <a:gd name="connsiteY2" fmla="*/ 97711 h 99709"/>
                <a:gd name="connsiteX3" fmla="*/ 0 w 190792"/>
                <a:gd name="connsiteY3" fmla="*/ 97711 h 99709"/>
                <a:gd name="connsiteX4" fmla="*/ 2120 w 190792"/>
                <a:gd name="connsiteY4" fmla="*/ 97711 h 99709"/>
                <a:gd name="connsiteX5" fmla="*/ 2124 w 190792"/>
                <a:gd name="connsiteY5" fmla="*/ 97711 h 99709"/>
                <a:gd name="connsiteX6" fmla="*/ 3124 w 190792"/>
                <a:gd name="connsiteY6" fmla="*/ 99710 h 99709"/>
                <a:gd name="connsiteX7" fmla="*/ 190793 w 190792"/>
                <a:gd name="connsiteY7" fmla="*/ 3748 h 99709"/>
                <a:gd name="connsiteX8" fmla="*/ 190793 w 190792"/>
                <a:gd name="connsiteY8" fmla="*/ 3748 h 99709"/>
                <a:gd name="connsiteX9" fmla="*/ 189418 w 190792"/>
                <a:gd name="connsiteY9" fmla="*/ 375 h 9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792" h="99709">
                  <a:moveTo>
                    <a:pt x="189168" y="0"/>
                  </a:moveTo>
                  <a:lnTo>
                    <a:pt x="1749" y="96836"/>
                  </a:lnTo>
                  <a:lnTo>
                    <a:pt x="0" y="97711"/>
                  </a:lnTo>
                  <a:lnTo>
                    <a:pt x="0" y="97711"/>
                  </a:lnTo>
                  <a:cubicBezTo>
                    <a:pt x="585" y="97124"/>
                    <a:pt x="1534" y="97124"/>
                    <a:pt x="2120" y="97711"/>
                  </a:cubicBezTo>
                  <a:cubicBezTo>
                    <a:pt x="2122" y="97711"/>
                    <a:pt x="2123" y="97711"/>
                    <a:pt x="2124" y="97711"/>
                  </a:cubicBezTo>
                  <a:lnTo>
                    <a:pt x="3124" y="99710"/>
                  </a:lnTo>
                  <a:lnTo>
                    <a:pt x="190793" y="3748"/>
                  </a:lnTo>
                  <a:lnTo>
                    <a:pt x="190793" y="3748"/>
                  </a:lnTo>
                  <a:cubicBezTo>
                    <a:pt x="190134" y="2711"/>
                    <a:pt x="189668" y="1574"/>
                    <a:pt x="189418" y="375"/>
                  </a:cubicBezTo>
                  <a:close/>
                </a:path>
              </a:pathLst>
            </a:custGeom>
            <a:solidFill>
              <a:srgbClr val="000000"/>
            </a:solidFill>
            <a:ln w="12483" cap="flat">
              <a:noFill/>
              <a:prstDash val="solid"/>
              <a:miter/>
            </a:ln>
          </p:spPr>
          <p:txBody>
            <a:bodyPr rtlCol="0" anchor="ctr"/>
            <a:lstStyle/>
            <a:p>
              <a:endParaRPr lang="en-US"/>
            </a:p>
          </p:txBody>
        </p:sp>
        <p:sp>
          <p:nvSpPr>
            <p:cNvPr id="1571" name="Freeform: Shape 1570">
              <a:extLst>
                <a:ext uri="{FF2B5EF4-FFF2-40B4-BE49-F238E27FC236}">
                  <a16:creationId xmlns:a16="http://schemas.microsoft.com/office/drawing/2014/main" id="{BD2D3006-C5A7-411E-9EF7-5C50EE4A8150}"/>
                </a:ext>
              </a:extLst>
            </p:cNvPr>
            <p:cNvSpPr/>
            <p:nvPr/>
          </p:nvSpPr>
          <p:spPr>
            <a:xfrm>
              <a:off x="6074656" y="5176068"/>
              <a:ext cx="44" cy="749"/>
            </a:xfrm>
            <a:custGeom>
              <a:avLst/>
              <a:gdLst>
                <a:gd name="connsiteX0" fmla="*/ 0 w 44"/>
                <a:gd name="connsiteY0" fmla="*/ 750 h 749"/>
                <a:gd name="connsiteX1" fmla="*/ 0 w 44"/>
                <a:gd name="connsiteY1" fmla="*/ 750 h 749"/>
                <a:gd name="connsiteX2" fmla="*/ 0 w 44"/>
                <a:gd name="connsiteY2" fmla="*/ 0 h 749"/>
                <a:gd name="connsiteX3" fmla="*/ 0 w 44"/>
                <a:gd name="connsiteY3" fmla="*/ 0 h 749"/>
              </a:gdLst>
              <a:ahLst/>
              <a:cxnLst>
                <a:cxn ang="0">
                  <a:pos x="connsiteX0" y="connsiteY0"/>
                </a:cxn>
                <a:cxn ang="0">
                  <a:pos x="connsiteX1" y="connsiteY1"/>
                </a:cxn>
                <a:cxn ang="0">
                  <a:pos x="connsiteX2" y="connsiteY2"/>
                </a:cxn>
                <a:cxn ang="0">
                  <a:pos x="connsiteX3" y="connsiteY3"/>
                </a:cxn>
              </a:cxnLst>
              <a:rect l="l" t="t" r="r" b="b"/>
              <a:pathLst>
                <a:path w="44" h="749">
                  <a:moveTo>
                    <a:pt x="0" y="750"/>
                  </a:moveTo>
                  <a:lnTo>
                    <a:pt x="0" y="750"/>
                  </a:lnTo>
                  <a:cubicBezTo>
                    <a:pt x="59" y="500"/>
                    <a:pt x="59" y="250"/>
                    <a:pt x="0" y="0"/>
                  </a:cubicBezTo>
                  <a:cubicBezTo>
                    <a:pt x="0" y="0"/>
                    <a:pt x="0" y="0"/>
                    <a:pt x="0" y="0"/>
                  </a:cubicBezTo>
                  <a:close/>
                </a:path>
              </a:pathLst>
            </a:custGeom>
            <a:solidFill>
              <a:srgbClr val="000000"/>
            </a:solidFill>
            <a:ln w="12483" cap="flat">
              <a:noFill/>
              <a:prstDash val="solid"/>
              <a:miter/>
            </a:ln>
          </p:spPr>
          <p:txBody>
            <a:bodyPr rtlCol="0" anchor="ctr"/>
            <a:lstStyle/>
            <a:p>
              <a:endParaRPr lang="en-US"/>
            </a:p>
          </p:txBody>
        </p:sp>
        <p:sp>
          <p:nvSpPr>
            <p:cNvPr id="1572" name="Freeform: Shape 1571">
              <a:extLst>
                <a:ext uri="{FF2B5EF4-FFF2-40B4-BE49-F238E27FC236}">
                  <a16:creationId xmlns:a16="http://schemas.microsoft.com/office/drawing/2014/main" id="{3BF29FCC-7A8F-4479-9115-E4213B4E4FD1}"/>
                </a:ext>
              </a:extLst>
            </p:cNvPr>
            <p:cNvSpPr/>
            <p:nvPr/>
          </p:nvSpPr>
          <p:spPr>
            <a:xfrm>
              <a:off x="6075780" y="5174503"/>
              <a:ext cx="950964" cy="1697138"/>
            </a:xfrm>
            <a:custGeom>
              <a:avLst/>
              <a:gdLst>
                <a:gd name="connsiteX0" fmla="*/ 2124 w 950964"/>
                <a:gd name="connsiteY0" fmla="*/ 440 h 1697138"/>
                <a:gd name="connsiteX1" fmla="*/ 4 w 950964"/>
                <a:gd name="connsiteY1" fmla="*/ 440 h 1697138"/>
                <a:gd name="connsiteX2" fmla="*/ 0 w 950964"/>
                <a:gd name="connsiteY2" fmla="*/ 440 h 1697138"/>
                <a:gd name="connsiteX3" fmla="*/ 0 w 950964"/>
                <a:gd name="connsiteY3" fmla="*/ 440 h 1697138"/>
                <a:gd name="connsiteX4" fmla="*/ 0 w 950964"/>
                <a:gd name="connsiteY4" fmla="*/ 440 h 1697138"/>
                <a:gd name="connsiteX5" fmla="*/ 0 w 950964"/>
                <a:gd name="connsiteY5" fmla="*/ 440 h 1697138"/>
                <a:gd name="connsiteX6" fmla="*/ 0 w 950964"/>
                <a:gd name="connsiteY6" fmla="*/ 1190 h 1697138"/>
                <a:gd name="connsiteX7" fmla="*/ 0 w 950964"/>
                <a:gd name="connsiteY7" fmla="*/ 1940 h 1697138"/>
                <a:gd name="connsiteX8" fmla="*/ 0 w 950964"/>
                <a:gd name="connsiteY8" fmla="*/ 1940 h 1697138"/>
                <a:gd name="connsiteX9" fmla="*/ 5248 w 950964"/>
                <a:gd name="connsiteY9" fmla="*/ 11311 h 1697138"/>
                <a:gd name="connsiteX10" fmla="*/ 947091 w 950964"/>
                <a:gd name="connsiteY10" fmla="*/ 1697139 h 1697138"/>
                <a:gd name="connsiteX11" fmla="*/ 950964 w 950964"/>
                <a:gd name="connsiteY11" fmla="*/ 1697139 h 1697138"/>
                <a:gd name="connsiteX12" fmla="*/ 2749 w 950964"/>
                <a:gd name="connsiteY12" fmla="*/ 2440 h 169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0964" h="1697138">
                  <a:moveTo>
                    <a:pt x="2124" y="440"/>
                  </a:moveTo>
                  <a:cubicBezTo>
                    <a:pt x="1539" y="-147"/>
                    <a:pt x="590" y="-147"/>
                    <a:pt x="4" y="440"/>
                  </a:cubicBezTo>
                  <a:cubicBezTo>
                    <a:pt x="2" y="440"/>
                    <a:pt x="1" y="440"/>
                    <a:pt x="0" y="440"/>
                  </a:cubicBezTo>
                  <a:lnTo>
                    <a:pt x="0" y="440"/>
                  </a:lnTo>
                  <a:lnTo>
                    <a:pt x="0" y="440"/>
                  </a:lnTo>
                  <a:lnTo>
                    <a:pt x="0" y="440"/>
                  </a:lnTo>
                  <a:lnTo>
                    <a:pt x="0" y="1190"/>
                  </a:lnTo>
                  <a:cubicBezTo>
                    <a:pt x="59" y="1440"/>
                    <a:pt x="59" y="1690"/>
                    <a:pt x="0" y="1940"/>
                  </a:cubicBezTo>
                  <a:lnTo>
                    <a:pt x="0" y="1940"/>
                  </a:lnTo>
                  <a:lnTo>
                    <a:pt x="5248" y="11311"/>
                  </a:lnTo>
                  <a:lnTo>
                    <a:pt x="947091" y="1697139"/>
                  </a:lnTo>
                  <a:lnTo>
                    <a:pt x="950964" y="1697139"/>
                  </a:lnTo>
                  <a:lnTo>
                    <a:pt x="2749" y="2440"/>
                  </a:lnTo>
                  <a:close/>
                </a:path>
              </a:pathLst>
            </a:custGeom>
            <a:solidFill>
              <a:srgbClr val="000000"/>
            </a:solidFill>
            <a:ln w="12483" cap="flat">
              <a:noFill/>
              <a:prstDash val="solid"/>
              <a:miter/>
            </a:ln>
          </p:spPr>
          <p:txBody>
            <a:bodyPr rtlCol="0" anchor="ctr"/>
            <a:lstStyle/>
            <a:p>
              <a:endParaRPr lang="en-US"/>
            </a:p>
          </p:txBody>
        </p:sp>
        <p:sp>
          <p:nvSpPr>
            <p:cNvPr id="1573" name="Freeform: Shape 1572">
              <a:extLst>
                <a:ext uri="{FF2B5EF4-FFF2-40B4-BE49-F238E27FC236}">
                  <a16:creationId xmlns:a16="http://schemas.microsoft.com/office/drawing/2014/main" id="{1D6F5886-EEA5-4B35-B4D1-50A3A99D6623}"/>
                </a:ext>
              </a:extLst>
            </p:cNvPr>
            <p:cNvSpPr/>
            <p:nvPr/>
          </p:nvSpPr>
          <p:spPr>
            <a:xfrm>
              <a:off x="11701724" y="689232"/>
              <a:ext cx="89087" cy="1286237"/>
            </a:xfrm>
            <a:custGeom>
              <a:avLst/>
              <a:gdLst>
                <a:gd name="connsiteX0" fmla="*/ 86213 w 89087"/>
                <a:gd name="connsiteY0" fmla="*/ 500 h 1286237"/>
                <a:gd name="connsiteX1" fmla="*/ 86213 w 89087"/>
                <a:gd name="connsiteY1" fmla="*/ 1250 h 1286237"/>
                <a:gd name="connsiteX2" fmla="*/ 86213 w 89087"/>
                <a:gd name="connsiteY2" fmla="*/ 1250 h 1286237"/>
                <a:gd name="connsiteX3" fmla="*/ 86213 w 89087"/>
                <a:gd name="connsiteY3" fmla="*/ 5373 h 1286237"/>
                <a:gd name="connsiteX4" fmla="*/ 0 w 89087"/>
                <a:gd name="connsiteY4" fmla="*/ 1286237 h 1286237"/>
                <a:gd name="connsiteX5" fmla="*/ 3373 w 89087"/>
                <a:gd name="connsiteY5" fmla="*/ 1284488 h 1286237"/>
                <a:gd name="connsiteX6" fmla="*/ 89087 w 89087"/>
                <a:gd name="connsiteY6" fmla="*/ 5373 h 1286237"/>
                <a:gd name="connsiteX7" fmla="*/ 89087 w 89087"/>
                <a:gd name="connsiteY7" fmla="*/ 1874 h 1286237"/>
                <a:gd name="connsiteX8" fmla="*/ 87962 w 89087"/>
                <a:gd name="connsiteY8" fmla="*/ 0 h 1286237"/>
                <a:gd name="connsiteX9" fmla="*/ 87962 w 89087"/>
                <a:gd name="connsiteY9" fmla="*/ 0 h 1286237"/>
                <a:gd name="connsiteX10" fmla="*/ 87337 w 89087"/>
                <a:gd name="connsiteY10" fmla="*/ 0 h 128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87" h="1286237">
                  <a:moveTo>
                    <a:pt x="86213" y="500"/>
                  </a:moveTo>
                  <a:cubicBezTo>
                    <a:pt x="86163" y="747"/>
                    <a:pt x="86163" y="1002"/>
                    <a:pt x="86213" y="1250"/>
                  </a:cubicBezTo>
                  <a:lnTo>
                    <a:pt x="86213" y="1250"/>
                  </a:lnTo>
                  <a:lnTo>
                    <a:pt x="86213" y="5373"/>
                  </a:lnTo>
                  <a:lnTo>
                    <a:pt x="0" y="1286237"/>
                  </a:lnTo>
                  <a:lnTo>
                    <a:pt x="3373" y="1284488"/>
                  </a:lnTo>
                  <a:lnTo>
                    <a:pt x="89087" y="5373"/>
                  </a:lnTo>
                  <a:lnTo>
                    <a:pt x="89087" y="1874"/>
                  </a:lnTo>
                  <a:cubicBezTo>
                    <a:pt x="89111" y="1082"/>
                    <a:pt x="88674" y="346"/>
                    <a:pt x="87962" y="0"/>
                  </a:cubicBezTo>
                  <a:lnTo>
                    <a:pt x="87962" y="0"/>
                  </a:lnTo>
                  <a:lnTo>
                    <a:pt x="87337" y="0"/>
                  </a:lnTo>
                  <a:close/>
                </a:path>
              </a:pathLst>
            </a:custGeom>
            <a:solidFill>
              <a:srgbClr val="000000"/>
            </a:solidFill>
            <a:ln w="12483" cap="flat">
              <a:noFill/>
              <a:prstDash val="solid"/>
              <a:miter/>
            </a:ln>
          </p:spPr>
          <p:txBody>
            <a:bodyPr rtlCol="0" anchor="ctr"/>
            <a:lstStyle/>
            <a:p>
              <a:endParaRPr lang="en-US"/>
            </a:p>
          </p:txBody>
        </p:sp>
        <p:sp>
          <p:nvSpPr>
            <p:cNvPr id="1574" name="Freeform: Shape 1573">
              <a:extLst>
                <a:ext uri="{FF2B5EF4-FFF2-40B4-BE49-F238E27FC236}">
                  <a16:creationId xmlns:a16="http://schemas.microsoft.com/office/drawing/2014/main" id="{7DF375CF-8F62-4FD3-94EB-56EB576A7E08}"/>
                </a:ext>
              </a:extLst>
            </p:cNvPr>
            <p:cNvSpPr/>
            <p:nvPr/>
          </p:nvSpPr>
          <p:spPr>
            <a:xfrm>
              <a:off x="9211300" y="2597846"/>
              <a:ext cx="55350" cy="29863"/>
            </a:xfrm>
            <a:custGeom>
              <a:avLst/>
              <a:gdLst>
                <a:gd name="connsiteX0" fmla="*/ 55226 w 55350"/>
                <a:gd name="connsiteY0" fmla="*/ 1624 h 29863"/>
                <a:gd name="connsiteX1" fmla="*/ 53852 w 55350"/>
                <a:gd name="connsiteY1" fmla="*/ 0 h 29863"/>
                <a:gd name="connsiteX2" fmla="*/ 0 w 55350"/>
                <a:gd name="connsiteY2" fmla="*/ 26364 h 29863"/>
                <a:gd name="connsiteX3" fmla="*/ 0 w 55350"/>
                <a:gd name="connsiteY3" fmla="*/ 26364 h 29863"/>
                <a:gd name="connsiteX4" fmla="*/ 1250 w 55350"/>
                <a:gd name="connsiteY4" fmla="*/ 29863 h 29863"/>
                <a:gd name="connsiteX5" fmla="*/ 55351 w 55350"/>
                <a:gd name="connsiteY5" fmla="*/ 3499 h 2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50" h="29863">
                  <a:moveTo>
                    <a:pt x="55226" y="1624"/>
                  </a:moveTo>
                  <a:lnTo>
                    <a:pt x="53852" y="0"/>
                  </a:lnTo>
                  <a:lnTo>
                    <a:pt x="0" y="26364"/>
                  </a:lnTo>
                  <a:lnTo>
                    <a:pt x="0" y="26364"/>
                  </a:lnTo>
                  <a:cubicBezTo>
                    <a:pt x="600" y="27451"/>
                    <a:pt x="1025" y="28638"/>
                    <a:pt x="1250" y="29863"/>
                  </a:cubicBezTo>
                  <a:lnTo>
                    <a:pt x="55351" y="3499"/>
                  </a:lnTo>
                  <a:close/>
                </a:path>
              </a:pathLst>
            </a:custGeom>
            <a:solidFill>
              <a:srgbClr val="000000"/>
            </a:solidFill>
            <a:ln w="12483" cap="flat">
              <a:noFill/>
              <a:prstDash val="solid"/>
              <a:miter/>
            </a:ln>
          </p:spPr>
          <p:txBody>
            <a:bodyPr rtlCol="0" anchor="ctr"/>
            <a:lstStyle/>
            <a:p>
              <a:endParaRPr lang="en-US"/>
            </a:p>
          </p:txBody>
        </p:sp>
        <p:sp>
          <p:nvSpPr>
            <p:cNvPr id="1575" name="Freeform: Shape 1574">
              <a:extLst>
                <a:ext uri="{FF2B5EF4-FFF2-40B4-BE49-F238E27FC236}">
                  <a16:creationId xmlns:a16="http://schemas.microsoft.com/office/drawing/2014/main" id="{958A1779-526D-480A-B10A-B84FC24D8852}"/>
                </a:ext>
              </a:extLst>
            </p:cNvPr>
            <p:cNvSpPr/>
            <p:nvPr/>
          </p:nvSpPr>
          <p:spPr>
            <a:xfrm>
              <a:off x="9373605" y="2701153"/>
              <a:ext cx="909279" cy="460343"/>
            </a:xfrm>
            <a:custGeom>
              <a:avLst/>
              <a:gdLst>
                <a:gd name="connsiteX0" fmla="*/ 2124 w 909279"/>
                <a:gd name="connsiteY0" fmla="*/ 458344 h 460343"/>
                <a:gd name="connsiteX1" fmla="*/ 2124 w 909279"/>
                <a:gd name="connsiteY1" fmla="*/ 460343 h 460343"/>
                <a:gd name="connsiteX2" fmla="*/ 908233 w 909279"/>
                <a:gd name="connsiteY2" fmla="*/ 2901 h 460343"/>
                <a:gd name="connsiteX3" fmla="*/ 909232 w 909279"/>
                <a:gd name="connsiteY3" fmla="*/ 2901 h 460343"/>
                <a:gd name="connsiteX4" fmla="*/ 909232 w 909279"/>
                <a:gd name="connsiteY4" fmla="*/ 2901 h 460343"/>
                <a:gd name="connsiteX5" fmla="*/ 909232 w 909279"/>
                <a:gd name="connsiteY5" fmla="*/ 2901 h 460343"/>
                <a:gd name="connsiteX6" fmla="*/ 909232 w 909279"/>
                <a:gd name="connsiteY6" fmla="*/ 2276 h 460343"/>
                <a:gd name="connsiteX7" fmla="*/ 909232 w 909279"/>
                <a:gd name="connsiteY7" fmla="*/ 1151 h 460343"/>
                <a:gd name="connsiteX8" fmla="*/ 907433 w 909279"/>
                <a:gd name="connsiteY8" fmla="*/ 39 h 460343"/>
                <a:gd name="connsiteX9" fmla="*/ 907108 w 909279"/>
                <a:gd name="connsiteY9" fmla="*/ 152 h 460343"/>
                <a:gd name="connsiteX10" fmla="*/ 906109 w 909279"/>
                <a:gd name="connsiteY10" fmla="*/ 152 h 460343"/>
                <a:gd name="connsiteX11" fmla="*/ 0 w 909279"/>
                <a:gd name="connsiteY11" fmla="*/ 457594 h 46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9279" h="460343">
                  <a:moveTo>
                    <a:pt x="2124" y="458344"/>
                  </a:moveTo>
                  <a:lnTo>
                    <a:pt x="2124" y="460343"/>
                  </a:lnTo>
                  <a:lnTo>
                    <a:pt x="908233" y="2901"/>
                  </a:lnTo>
                  <a:lnTo>
                    <a:pt x="909232" y="2901"/>
                  </a:lnTo>
                  <a:lnTo>
                    <a:pt x="909232" y="2901"/>
                  </a:lnTo>
                  <a:lnTo>
                    <a:pt x="909232" y="2901"/>
                  </a:lnTo>
                  <a:cubicBezTo>
                    <a:pt x="909295" y="2701"/>
                    <a:pt x="909295" y="2476"/>
                    <a:pt x="909232" y="2276"/>
                  </a:cubicBezTo>
                  <a:cubicBezTo>
                    <a:pt x="909295" y="1901"/>
                    <a:pt x="909295" y="1526"/>
                    <a:pt x="909232" y="1151"/>
                  </a:cubicBezTo>
                  <a:cubicBezTo>
                    <a:pt x="909045" y="352"/>
                    <a:pt x="908233" y="-148"/>
                    <a:pt x="907433" y="39"/>
                  </a:cubicBezTo>
                  <a:cubicBezTo>
                    <a:pt x="907321" y="64"/>
                    <a:pt x="907208" y="102"/>
                    <a:pt x="907108" y="152"/>
                  </a:cubicBezTo>
                  <a:lnTo>
                    <a:pt x="906109" y="152"/>
                  </a:lnTo>
                  <a:lnTo>
                    <a:pt x="0" y="457594"/>
                  </a:lnTo>
                  <a:close/>
                </a:path>
              </a:pathLst>
            </a:custGeom>
            <a:solidFill>
              <a:srgbClr val="000000"/>
            </a:solidFill>
            <a:ln w="12483" cap="flat">
              <a:noFill/>
              <a:prstDash val="solid"/>
              <a:miter/>
            </a:ln>
          </p:spPr>
          <p:txBody>
            <a:bodyPr rtlCol="0" anchor="ctr"/>
            <a:lstStyle/>
            <a:p>
              <a:endParaRPr lang="en-US"/>
            </a:p>
          </p:txBody>
        </p:sp>
        <p:sp>
          <p:nvSpPr>
            <p:cNvPr id="1576" name="Freeform: Shape 1575">
              <a:extLst>
                <a:ext uri="{FF2B5EF4-FFF2-40B4-BE49-F238E27FC236}">
                  <a16:creationId xmlns:a16="http://schemas.microsoft.com/office/drawing/2014/main" id="{0B02066A-6E95-434A-A871-447BFF3509A0}"/>
                </a:ext>
              </a:extLst>
            </p:cNvPr>
            <p:cNvSpPr/>
            <p:nvPr/>
          </p:nvSpPr>
          <p:spPr>
            <a:xfrm>
              <a:off x="9266901" y="2599720"/>
              <a:ext cx="22739" cy="455693"/>
            </a:xfrm>
            <a:custGeom>
              <a:avLst/>
              <a:gdLst>
                <a:gd name="connsiteX0" fmla="*/ 21116 w 22739"/>
                <a:gd name="connsiteY0" fmla="*/ 454944 h 455693"/>
                <a:gd name="connsiteX1" fmla="*/ 22740 w 22739"/>
                <a:gd name="connsiteY1" fmla="*/ 454944 h 455693"/>
                <a:gd name="connsiteX2" fmla="*/ 2874 w 22739"/>
                <a:gd name="connsiteY2" fmla="*/ 3499 h 455693"/>
                <a:gd name="connsiteX3" fmla="*/ 0 w 22739"/>
                <a:gd name="connsiteY3" fmla="*/ 0 h 455693"/>
                <a:gd name="connsiteX4" fmla="*/ 0 w 22739"/>
                <a:gd name="connsiteY4" fmla="*/ 0 h 455693"/>
                <a:gd name="connsiteX5" fmla="*/ 0 w 22739"/>
                <a:gd name="connsiteY5" fmla="*/ 1874 h 455693"/>
                <a:gd name="connsiteX6" fmla="*/ 19991 w 22739"/>
                <a:gd name="connsiteY6" fmla="*/ 455693 h 455693"/>
                <a:gd name="connsiteX7" fmla="*/ 19991 w 22739"/>
                <a:gd name="connsiteY7" fmla="*/ 455693 h 455693"/>
                <a:gd name="connsiteX8" fmla="*/ 21116 w 22739"/>
                <a:gd name="connsiteY8" fmla="*/ 454944 h 45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39" h="455693">
                  <a:moveTo>
                    <a:pt x="21116" y="454944"/>
                  </a:moveTo>
                  <a:lnTo>
                    <a:pt x="22740" y="454944"/>
                  </a:lnTo>
                  <a:lnTo>
                    <a:pt x="2874" y="3499"/>
                  </a:lnTo>
                  <a:lnTo>
                    <a:pt x="0" y="0"/>
                  </a:lnTo>
                  <a:lnTo>
                    <a:pt x="0" y="0"/>
                  </a:lnTo>
                  <a:lnTo>
                    <a:pt x="0" y="1874"/>
                  </a:lnTo>
                  <a:lnTo>
                    <a:pt x="19991" y="455693"/>
                  </a:lnTo>
                  <a:lnTo>
                    <a:pt x="19991" y="455693"/>
                  </a:lnTo>
                  <a:cubicBezTo>
                    <a:pt x="20404" y="455506"/>
                    <a:pt x="20791" y="455256"/>
                    <a:pt x="21116" y="454944"/>
                  </a:cubicBezTo>
                  <a:close/>
                </a:path>
              </a:pathLst>
            </a:custGeom>
            <a:solidFill>
              <a:srgbClr val="000000"/>
            </a:solidFill>
            <a:ln w="12483" cap="flat">
              <a:noFill/>
              <a:prstDash val="solid"/>
              <a:miter/>
            </a:ln>
          </p:spPr>
          <p:txBody>
            <a:bodyPr rtlCol="0" anchor="ctr"/>
            <a:lstStyle/>
            <a:p>
              <a:endParaRPr lang="en-US"/>
            </a:p>
          </p:txBody>
        </p:sp>
        <p:sp>
          <p:nvSpPr>
            <p:cNvPr id="1577" name="Freeform: Shape 1576">
              <a:extLst>
                <a:ext uri="{FF2B5EF4-FFF2-40B4-BE49-F238E27FC236}">
                  <a16:creationId xmlns:a16="http://schemas.microsoft.com/office/drawing/2014/main" id="{B374FF7F-4F45-4D47-90D5-7F3AAFD60C27}"/>
                </a:ext>
              </a:extLst>
            </p:cNvPr>
            <p:cNvSpPr/>
            <p:nvPr/>
          </p:nvSpPr>
          <p:spPr>
            <a:xfrm>
              <a:off x="9751317" y="1733441"/>
              <a:ext cx="439934" cy="226659"/>
            </a:xfrm>
            <a:custGeom>
              <a:avLst/>
              <a:gdLst>
                <a:gd name="connsiteX0" fmla="*/ 12495 w 439934"/>
                <a:gd name="connsiteY0" fmla="*/ 219163 h 226659"/>
                <a:gd name="connsiteX1" fmla="*/ 12495 w 439934"/>
                <a:gd name="connsiteY1" fmla="*/ 226660 h 226659"/>
                <a:gd name="connsiteX2" fmla="*/ 439935 w 439934"/>
                <a:gd name="connsiteY2" fmla="*/ 23241 h 226659"/>
                <a:gd name="connsiteX3" fmla="*/ 439935 w 439934"/>
                <a:gd name="connsiteY3" fmla="*/ 0 h 226659"/>
                <a:gd name="connsiteX4" fmla="*/ 0 w 439934"/>
                <a:gd name="connsiteY4" fmla="*/ 209292 h 226659"/>
                <a:gd name="connsiteX5" fmla="*/ 0 w 439934"/>
                <a:gd name="connsiteY5" fmla="*/ 209292 h 226659"/>
                <a:gd name="connsiteX6" fmla="*/ 3249 w 439934"/>
                <a:gd name="connsiteY6" fmla="*/ 208417 h 226659"/>
                <a:gd name="connsiteX7" fmla="*/ 12495 w 439934"/>
                <a:gd name="connsiteY7" fmla="*/ 219113 h 226659"/>
                <a:gd name="connsiteX8" fmla="*/ 12495 w 439934"/>
                <a:gd name="connsiteY8" fmla="*/ 219163 h 22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226659">
                  <a:moveTo>
                    <a:pt x="12495" y="219163"/>
                  </a:moveTo>
                  <a:lnTo>
                    <a:pt x="12495" y="226660"/>
                  </a:lnTo>
                  <a:lnTo>
                    <a:pt x="439935" y="23241"/>
                  </a:lnTo>
                  <a:lnTo>
                    <a:pt x="439935" y="0"/>
                  </a:lnTo>
                  <a:lnTo>
                    <a:pt x="0" y="209292"/>
                  </a:lnTo>
                  <a:lnTo>
                    <a:pt x="0" y="209292"/>
                  </a:lnTo>
                  <a:cubicBezTo>
                    <a:pt x="999" y="208754"/>
                    <a:pt x="2112" y="208454"/>
                    <a:pt x="3249" y="208417"/>
                  </a:cubicBezTo>
                  <a:cubicBezTo>
                    <a:pt x="8759" y="208817"/>
                    <a:pt x="12895" y="213602"/>
                    <a:pt x="12495" y="219113"/>
                  </a:cubicBezTo>
                  <a:cubicBezTo>
                    <a:pt x="12495" y="219125"/>
                    <a:pt x="12495" y="219150"/>
                    <a:pt x="12495" y="219163"/>
                  </a:cubicBezTo>
                  <a:close/>
                </a:path>
              </a:pathLst>
            </a:custGeom>
            <a:solidFill>
              <a:srgbClr val="000000"/>
            </a:solidFill>
            <a:ln w="12483" cap="flat">
              <a:noFill/>
              <a:prstDash val="solid"/>
              <a:miter/>
            </a:ln>
          </p:spPr>
          <p:txBody>
            <a:bodyPr rtlCol="0" anchor="ctr"/>
            <a:lstStyle/>
            <a:p>
              <a:endParaRPr lang="en-US"/>
            </a:p>
          </p:txBody>
        </p:sp>
        <p:sp>
          <p:nvSpPr>
            <p:cNvPr id="1578" name="Freeform: Shape 1577">
              <a:extLst>
                <a:ext uri="{FF2B5EF4-FFF2-40B4-BE49-F238E27FC236}">
                  <a16:creationId xmlns:a16="http://schemas.microsoft.com/office/drawing/2014/main" id="{CFBDE58E-A0EF-42C7-8BC5-711F87DC93E0}"/>
                </a:ext>
              </a:extLst>
            </p:cNvPr>
            <p:cNvSpPr/>
            <p:nvPr/>
          </p:nvSpPr>
          <p:spPr>
            <a:xfrm>
              <a:off x="9763811" y="1960600"/>
              <a:ext cx="41357" cy="51354"/>
            </a:xfrm>
            <a:custGeom>
              <a:avLst/>
              <a:gdLst>
                <a:gd name="connsiteX0" fmla="*/ 40482 w 41357"/>
                <a:gd name="connsiteY0" fmla="*/ 50605 h 51354"/>
                <a:gd name="connsiteX1" fmla="*/ 40482 w 41357"/>
                <a:gd name="connsiteY1" fmla="*/ 50605 h 51354"/>
                <a:gd name="connsiteX2" fmla="*/ 41357 w 41357"/>
                <a:gd name="connsiteY2" fmla="*/ 50605 h 51354"/>
                <a:gd name="connsiteX3" fmla="*/ 0 w 41357"/>
                <a:gd name="connsiteY3" fmla="*/ 0 h 51354"/>
                <a:gd name="connsiteX4" fmla="*/ 0 w 41357"/>
                <a:gd name="connsiteY4" fmla="*/ 5373 h 51354"/>
                <a:gd name="connsiteX5" fmla="*/ 40733 w 41357"/>
                <a:gd name="connsiteY5" fmla="*/ 51355 h 5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57" h="51354">
                  <a:moveTo>
                    <a:pt x="40482" y="50605"/>
                  </a:moveTo>
                  <a:lnTo>
                    <a:pt x="40482" y="50605"/>
                  </a:lnTo>
                  <a:lnTo>
                    <a:pt x="41357" y="50605"/>
                  </a:lnTo>
                  <a:lnTo>
                    <a:pt x="0" y="0"/>
                  </a:lnTo>
                  <a:lnTo>
                    <a:pt x="0" y="5373"/>
                  </a:lnTo>
                  <a:lnTo>
                    <a:pt x="40733" y="51355"/>
                  </a:lnTo>
                  <a:close/>
                </a:path>
              </a:pathLst>
            </a:custGeom>
            <a:solidFill>
              <a:srgbClr val="000000"/>
            </a:solidFill>
            <a:ln w="12483" cap="flat">
              <a:noFill/>
              <a:prstDash val="solid"/>
              <a:miter/>
            </a:ln>
          </p:spPr>
          <p:txBody>
            <a:bodyPr rtlCol="0" anchor="ctr"/>
            <a:lstStyle/>
            <a:p>
              <a:endParaRPr lang="en-US"/>
            </a:p>
          </p:txBody>
        </p:sp>
        <p:sp>
          <p:nvSpPr>
            <p:cNvPr id="1579" name="Freeform: Shape 1578">
              <a:extLst>
                <a:ext uri="{FF2B5EF4-FFF2-40B4-BE49-F238E27FC236}">
                  <a16:creationId xmlns:a16="http://schemas.microsoft.com/office/drawing/2014/main" id="{7FAA7D6A-BF54-4FD4-A463-70540EC0CA76}"/>
                </a:ext>
              </a:extLst>
            </p:cNvPr>
            <p:cNvSpPr/>
            <p:nvPr/>
          </p:nvSpPr>
          <p:spPr>
            <a:xfrm>
              <a:off x="9359861" y="3161746"/>
              <a:ext cx="20990" cy="110580"/>
            </a:xfrm>
            <a:custGeom>
              <a:avLst/>
              <a:gdLst>
                <a:gd name="connsiteX0" fmla="*/ 18617 w 20990"/>
                <a:gd name="connsiteY0" fmla="*/ 107707 h 110580"/>
                <a:gd name="connsiteX1" fmla="*/ 20991 w 20990"/>
                <a:gd name="connsiteY1" fmla="*/ 110581 h 110580"/>
                <a:gd name="connsiteX2" fmla="*/ 17242 w 20990"/>
                <a:gd name="connsiteY2" fmla="*/ 16743 h 110580"/>
                <a:gd name="connsiteX3" fmla="*/ 17242 w 20990"/>
                <a:gd name="connsiteY3" fmla="*/ 10871 h 110580"/>
                <a:gd name="connsiteX4" fmla="*/ 17242 w 20990"/>
                <a:gd name="connsiteY4" fmla="*/ 1500 h 110580"/>
                <a:gd name="connsiteX5" fmla="*/ 17242 w 20990"/>
                <a:gd name="connsiteY5" fmla="*/ 0 h 110580"/>
                <a:gd name="connsiteX6" fmla="*/ 14868 w 20990"/>
                <a:gd name="connsiteY6" fmla="*/ 9871 h 110580"/>
                <a:gd name="connsiteX7" fmla="*/ 3836 w 20990"/>
                <a:gd name="connsiteY7" fmla="*/ 11333 h 110580"/>
                <a:gd name="connsiteX8" fmla="*/ 2374 w 20990"/>
                <a:gd name="connsiteY8" fmla="*/ 9871 h 110580"/>
                <a:gd name="connsiteX9" fmla="*/ 0 w 20990"/>
                <a:gd name="connsiteY9" fmla="*/ 6872 h 110580"/>
                <a:gd name="connsiteX10" fmla="*/ 3248 w 20990"/>
                <a:gd name="connsiteY10" fmla="*/ 87090 h 1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90" h="110580">
                  <a:moveTo>
                    <a:pt x="18617" y="107707"/>
                  </a:moveTo>
                  <a:lnTo>
                    <a:pt x="20991" y="110581"/>
                  </a:lnTo>
                  <a:lnTo>
                    <a:pt x="17242" y="16743"/>
                  </a:lnTo>
                  <a:lnTo>
                    <a:pt x="17242" y="10871"/>
                  </a:lnTo>
                  <a:lnTo>
                    <a:pt x="17242" y="1500"/>
                  </a:lnTo>
                  <a:cubicBezTo>
                    <a:pt x="17305" y="1000"/>
                    <a:pt x="17305" y="500"/>
                    <a:pt x="17242" y="0"/>
                  </a:cubicBezTo>
                  <a:cubicBezTo>
                    <a:pt x="17880" y="3474"/>
                    <a:pt x="17018" y="7060"/>
                    <a:pt x="14868" y="9871"/>
                  </a:cubicBezTo>
                  <a:cubicBezTo>
                    <a:pt x="12220" y="13320"/>
                    <a:pt x="7284" y="13969"/>
                    <a:pt x="3836" y="11333"/>
                  </a:cubicBezTo>
                  <a:cubicBezTo>
                    <a:pt x="3286" y="10908"/>
                    <a:pt x="2799" y="10421"/>
                    <a:pt x="2374" y="9871"/>
                  </a:cubicBezTo>
                  <a:lnTo>
                    <a:pt x="0" y="6872"/>
                  </a:lnTo>
                  <a:lnTo>
                    <a:pt x="3248" y="87090"/>
                  </a:lnTo>
                  <a:close/>
                </a:path>
              </a:pathLst>
            </a:custGeom>
            <a:solidFill>
              <a:srgbClr val="000000"/>
            </a:solidFill>
            <a:ln w="12483" cap="flat">
              <a:noFill/>
              <a:prstDash val="solid"/>
              <a:miter/>
            </a:ln>
          </p:spPr>
          <p:txBody>
            <a:bodyPr rtlCol="0" anchor="ctr"/>
            <a:lstStyle/>
            <a:p>
              <a:endParaRPr lang="en-US"/>
            </a:p>
          </p:txBody>
        </p:sp>
        <p:sp>
          <p:nvSpPr>
            <p:cNvPr id="1580" name="Freeform: Shape 1579">
              <a:extLst>
                <a:ext uri="{FF2B5EF4-FFF2-40B4-BE49-F238E27FC236}">
                  <a16:creationId xmlns:a16="http://schemas.microsoft.com/office/drawing/2014/main" id="{79D78BDC-AF8F-4091-856F-B4982DB6777A}"/>
                </a:ext>
              </a:extLst>
            </p:cNvPr>
            <p:cNvSpPr/>
            <p:nvPr/>
          </p:nvSpPr>
          <p:spPr>
            <a:xfrm>
              <a:off x="9374854" y="3157997"/>
              <a:ext cx="1124" cy="1999"/>
            </a:xfrm>
            <a:custGeom>
              <a:avLst/>
              <a:gdLst>
                <a:gd name="connsiteX0" fmla="*/ 0 w 1124"/>
                <a:gd name="connsiteY0" fmla="*/ 0 h 1999"/>
                <a:gd name="connsiteX1" fmla="*/ 0 w 1124"/>
                <a:gd name="connsiteY1" fmla="*/ 0 h 1999"/>
                <a:gd name="connsiteX2" fmla="*/ 1124 w 1124"/>
                <a:gd name="connsiteY2" fmla="*/ 1999 h 1999"/>
              </a:gdLst>
              <a:ahLst/>
              <a:cxnLst>
                <a:cxn ang="0">
                  <a:pos x="connsiteX0" y="connsiteY0"/>
                </a:cxn>
                <a:cxn ang="0">
                  <a:pos x="connsiteX1" y="connsiteY1"/>
                </a:cxn>
                <a:cxn ang="0">
                  <a:pos x="connsiteX2" y="connsiteY2"/>
                </a:cxn>
              </a:cxnLst>
              <a:rect l="l" t="t" r="r" b="b"/>
              <a:pathLst>
                <a:path w="1124" h="1999">
                  <a:moveTo>
                    <a:pt x="0" y="0"/>
                  </a:moveTo>
                  <a:cubicBezTo>
                    <a:pt x="0" y="0"/>
                    <a:pt x="0" y="0"/>
                    <a:pt x="0" y="0"/>
                  </a:cubicBezTo>
                  <a:lnTo>
                    <a:pt x="1124" y="1999"/>
                  </a:lnTo>
                  <a:close/>
                </a:path>
              </a:pathLst>
            </a:custGeom>
            <a:solidFill>
              <a:srgbClr val="000000"/>
            </a:solidFill>
            <a:ln w="12483" cap="flat">
              <a:noFill/>
              <a:prstDash val="solid"/>
              <a:miter/>
            </a:ln>
          </p:spPr>
          <p:txBody>
            <a:bodyPr rtlCol="0" anchor="ctr"/>
            <a:lstStyle/>
            <a:p>
              <a:endParaRPr lang="en-US"/>
            </a:p>
          </p:txBody>
        </p:sp>
        <p:sp>
          <p:nvSpPr>
            <p:cNvPr id="1581" name="Freeform: Shape 1580">
              <a:extLst>
                <a:ext uri="{FF2B5EF4-FFF2-40B4-BE49-F238E27FC236}">
                  <a16:creationId xmlns:a16="http://schemas.microsoft.com/office/drawing/2014/main" id="{EBFB8BDA-ED80-409D-987E-061B9394771D}"/>
                </a:ext>
              </a:extLst>
            </p:cNvPr>
            <p:cNvSpPr/>
            <p:nvPr/>
          </p:nvSpPr>
          <p:spPr>
            <a:xfrm>
              <a:off x="9295139" y="3173117"/>
              <a:ext cx="83214" cy="110705"/>
            </a:xfrm>
            <a:custGeom>
              <a:avLst/>
              <a:gdLst>
                <a:gd name="connsiteX0" fmla="*/ 70719 w 83214"/>
                <a:gd name="connsiteY0" fmla="*/ 95462 h 110705"/>
                <a:gd name="connsiteX1" fmla="*/ 81752 w 83214"/>
                <a:gd name="connsiteY1" fmla="*/ 94000 h 110705"/>
                <a:gd name="connsiteX2" fmla="*/ 83214 w 83214"/>
                <a:gd name="connsiteY2" fmla="*/ 95462 h 110705"/>
                <a:gd name="connsiteX3" fmla="*/ 66721 w 83214"/>
                <a:gd name="connsiteY3" fmla="*/ 74595 h 110705"/>
                <a:gd name="connsiteX4" fmla="*/ 13869 w 83214"/>
                <a:gd name="connsiteY4" fmla="*/ 8497 h 110705"/>
                <a:gd name="connsiteX5" fmla="*/ 6997 w 83214"/>
                <a:gd name="connsiteY5" fmla="*/ 0 h 110705"/>
                <a:gd name="connsiteX6" fmla="*/ 6997 w 83214"/>
                <a:gd name="connsiteY6" fmla="*/ 3998 h 110705"/>
                <a:gd name="connsiteX7" fmla="*/ 0 w 83214"/>
                <a:gd name="connsiteY7" fmla="*/ 14869 h 110705"/>
                <a:gd name="connsiteX8" fmla="*/ 0 w 83214"/>
                <a:gd name="connsiteY8" fmla="*/ 23241 h 110705"/>
                <a:gd name="connsiteX9" fmla="*/ 69720 w 83214"/>
                <a:gd name="connsiteY9" fmla="*/ 110706 h 110705"/>
                <a:gd name="connsiteX10" fmla="*/ 70719 w 83214"/>
                <a:gd name="connsiteY10" fmla="*/ 95462 h 11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14" h="110705">
                  <a:moveTo>
                    <a:pt x="70719" y="95462"/>
                  </a:moveTo>
                  <a:cubicBezTo>
                    <a:pt x="73368" y="92013"/>
                    <a:pt x="78304" y="91364"/>
                    <a:pt x="81752" y="94000"/>
                  </a:cubicBezTo>
                  <a:cubicBezTo>
                    <a:pt x="82302" y="94425"/>
                    <a:pt x="82789" y="94912"/>
                    <a:pt x="83214" y="95462"/>
                  </a:cubicBezTo>
                  <a:lnTo>
                    <a:pt x="66721" y="74595"/>
                  </a:lnTo>
                  <a:lnTo>
                    <a:pt x="13869" y="8497"/>
                  </a:lnTo>
                  <a:lnTo>
                    <a:pt x="6997" y="0"/>
                  </a:lnTo>
                  <a:lnTo>
                    <a:pt x="6997" y="3998"/>
                  </a:lnTo>
                  <a:cubicBezTo>
                    <a:pt x="7434" y="8796"/>
                    <a:pt x="4548" y="13282"/>
                    <a:pt x="0" y="14869"/>
                  </a:cubicBezTo>
                  <a:lnTo>
                    <a:pt x="0" y="23241"/>
                  </a:lnTo>
                  <a:lnTo>
                    <a:pt x="69720" y="110706"/>
                  </a:lnTo>
                  <a:cubicBezTo>
                    <a:pt x="66546" y="105983"/>
                    <a:pt x="66959" y="99723"/>
                    <a:pt x="70719" y="95462"/>
                  </a:cubicBezTo>
                  <a:close/>
                </a:path>
              </a:pathLst>
            </a:custGeom>
            <a:solidFill>
              <a:srgbClr val="000000"/>
            </a:solidFill>
            <a:ln w="12483" cap="flat">
              <a:noFill/>
              <a:prstDash val="solid"/>
              <a:miter/>
            </a:ln>
          </p:spPr>
          <p:txBody>
            <a:bodyPr rtlCol="0" anchor="ctr"/>
            <a:lstStyle/>
            <a:p>
              <a:endParaRPr lang="en-US"/>
            </a:p>
          </p:txBody>
        </p:sp>
        <p:sp>
          <p:nvSpPr>
            <p:cNvPr id="1582" name="Freeform: Shape 1581">
              <a:extLst>
                <a:ext uri="{FF2B5EF4-FFF2-40B4-BE49-F238E27FC236}">
                  <a16:creationId xmlns:a16="http://schemas.microsoft.com/office/drawing/2014/main" id="{BC0B913E-3CB2-4487-83D8-6EFAA96A285E}"/>
                </a:ext>
              </a:extLst>
            </p:cNvPr>
            <p:cNvSpPr/>
            <p:nvPr/>
          </p:nvSpPr>
          <p:spPr>
            <a:xfrm>
              <a:off x="9286393" y="3184862"/>
              <a:ext cx="5247" cy="7871"/>
            </a:xfrm>
            <a:custGeom>
              <a:avLst/>
              <a:gdLst>
                <a:gd name="connsiteX0" fmla="*/ 0 w 5247"/>
                <a:gd name="connsiteY0" fmla="*/ 0 h 7871"/>
                <a:gd name="connsiteX1" fmla="*/ 0 w 5247"/>
                <a:gd name="connsiteY1" fmla="*/ 1249 h 7871"/>
                <a:gd name="connsiteX2" fmla="*/ 0 w 5247"/>
                <a:gd name="connsiteY2" fmla="*/ 1249 h 7871"/>
                <a:gd name="connsiteX3" fmla="*/ 5248 w 5247"/>
                <a:gd name="connsiteY3" fmla="*/ 7872 h 7871"/>
                <a:gd name="connsiteX4" fmla="*/ 5248 w 5247"/>
                <a:gd name="connsiteY4" fmla="*/ 3998 h 7871"/>
                <a:gd name="connsiteX5" fmla="*/ 0 w 5247"/>
                <a:gd name="connsiteY5" fmla="*/ 0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7" h="7871">
                  <a:moveTo>
                    <a:pt x="0" y="0"/>
                  </a:moveTo>
                  <a:lnTo>
                    <a:pt x="0" y="1249"/>
                  </a:lnTo>
                  <a:lnTo>
                    <a:pt x="0" y="1249"/>
                  </a:lnTo>
                  <a:lnTo>
                    <a:pt x="5248" y="7872"/>
                  </a:lnTo>
                  <a:lnTo>
                    <a:pt x="5248" y="3998"/>
                  </a:lnTo>
                  <a:cubicBezTo>
                    <a:pt x="3036" y="3424"/>
                    <a:pt x="1137" y="1987"/>
                    <a:pt x="0" y="0"/>
                  </a:cubicBezTo>
                  <a:close/>
                </a:path>
              </a:pathLst>
            </a:custGeom>
            <a:solidFill>
              <a:srgbClr val="000000"/>
            </a:solidFill>
            <a:ln w="12483" cap="flat">
              <a:noFill/>
              <a:prstDash val="solid"/>
              <a:miter/>
            </a:ln>
          </p:spPr>
          <p:txBody>
            <a:bodyPr rtlCol="0" anchor="ctr"/>
            <a:lstStyle/>
            <a:p>
              <a:endParaRPr lang="en-US"/>
            </a:p>
          </p:txBody>
        </p:sp>
        <p:sp>
          <p:nvSpPr>
            <p:cNvPr id="1583" name="Freeform: Shape 1582">
              <a:extLst>
                <a:ext uri="{FF2B5EF4-FFF2-40B4-BE49-F238E27FC236}">
                  <a16:creationId xmlns:a16="http://schemas.microsoft.com/office/drawing/2014/main" id="{84ECD4E5-0BC7-4D93-BBAA-D0A317999BBC}"/>
                </a:ext>
              </a:extLst>
            </p:cNvPr>
            <p:cNvSpPr/>
            <p:nvPr/>
          </p:nvSpPr>
          <p:spPr>
            <a:xfrm>
              <a:off x="9284856" y="3181113"/>
              <a:ext cx="37" cy="1874"/>
            </a:xfrm>
            <a:custGeom>
              <a:avLst/>
              <a:gdLst>
                <a:gd name="connsiteX0" fmla="*/ 38 w 37"/>
                <a:gd name="connsiteY0" fmla="*/ 0 h 1874"/>
                <a:gd name="connsiteX1" fmla="*/ 38 w 37"/>
                <a:gd name="connsiteY1" fmla="*/ 1874 h 1874"/>
                <a:gd name="connsiteX2" fmla="*/ 38 w 37"/>
                <a:gd name="connsiteY2" fmla="*/ 1874 h 1874"/>
                <a:gd name="connsiteX3" fmla="*/ 38 w 37"/>
                <a:gd name="connsiteY3" fmla="*/ 0 h 1874"/>
              </a:gdLst>
              <a:ahLst/>
              <a:cxnLst>
                <a:cxn ang="0">
                  <a:pos x="connsiteX0" y="connsiteY0"/>
                </a:cxn>
                <a:cxn ang="0">
                  <a:pos x="connsiteX1" y="connsiteY1"/>
                </a:cxn>
                <a:cxn ang="0">
                  <a:pos x="connsiteX2" y="connsiteY2"/>
                </a:cxn>
                <a:cxn ang="0">
                  <a:pos x="connsiteX3" y="connsiteY3"/>
                </a:cxn>
              </a:cxnLst>
              <a:rect l="l" t="t" r="r" b="b"/>
              <a:pathLst>
                <a:path w="37" h="1874">
                  <a:moveTo>
                    <a:pt x="38" y="0"/>
                  </a:moveTo>
                  <a:cubicBezTo>
                    <a:pt x="38" y="625"/>
                    <a:pt x="38" y="1250"/>
                    <a:pt x="38" y="1874"/>
                  </a:cubicBezTo>
                  <a:lnTo>
                    <a:pt x="38" y="1874"/>
                  </a:lnTo>
                  <a:cubicBezTo>
                    <a:pt x="-13" y="1250"/>
                    <a:pt x="-13" y="625"/>
                    <a:pt x="38" y="0"/>
                  </a:cubicBezTo>
                  <a:close/>
                </a:path>
              </a:pathLst>
            </a:custGeom>
            <a:solidFill>
              <a:srgbClr val="000000"/>
            </a:solidFill>
            <a:ln w="12483" cap="flat">
              <a:noFill/>
              <a:prstDash val="solid"/>
              <a:miter/>
            </a:ln>
          </p:spPr>
          <p:txBody>
            <a:bodyPr rtlCol="0" anchor="ctr"/>
            <a:lstStyle/>
            <a:p>
              <a:endParaRPr lang="en-US"/>
            </a:p>
          </p:txBody>
        </p:sp>
        <p:sp>
          <p:nvSpPr>
            <p:cNvPr id="1584" name="Freeform: Shape 1583">
              <a:extLst>
                <a:ext uri="{FF2B5EF4-FFF2-40B4-BE49-F238E27FC236}">
                  <a16:creationId xmlns:a16="http://schemas.microsoft.com/office/drawing/2014/main" id="{0D465C75-D8C7-4D85-B1B9-9A1737DAA8C5}"/>
                </a:ext>
              </a:extLst>
            </p:cNvPr>
            <p:cNvSpPr/>
            <p:nvPr/>
          </p:nvSpPr>
          <p:spPr>
            <a:xfrm>
              <a:off x="9292890" y="3188860"/>
              <a:ext cx="8871" cy="140694"/>
            </a:xfrm>
            <a:custGeom>
              <a:avLst/>
              <a:gdLst>
                <a:gd name="connsiteX0" fmla="*/ 7122 w 8871"/>
                <a:gd name="connsiteY0" fmla="*/ 138070 h 140694"/>
                <a:gd name="connsiteX1" fmla="*/ 8871 w 8871"/>
                <a:gd name="connsiteY1" fmla="*/ 139944 h 140694"/>
                <a:gd name="connsiteX2" fmla="*/ 8871 w 8871"/>
                <a:gd name="connsiteY2" fmla="*/ 137195 h 140694"/>
                <a:gd name="connsiteX3" fmla="*/ 3124 w 8871"/>
                <a:gd name="connsiteY3" fmla="*/ 8372 h 140694"/>
                <a:gd name="connsiteX4" fmla="*/ 3124 w 8871"/>
                <a:gd name="connsiteY4" fmla="*/ 0 h 140694"/>
                <a:gd name="connsiteX5" fmla="*/ 1624 w 8871"/>
                <a:gd name="connsiteY5" fmla="*/ 0 h 140694"/>
                <a:gd name="connsiteX6" fmla="*/ 0 w 8871"/>
                <a:gd name="connsiteY6" fmla="*/ 0 h 140694"/>
                <a:gd name="connsiteX7" fmla="*/ 0 w 8871"/>
                <a:gd name="connsiteY7" fmla="*/ 4748 h 140694"/>
                <a:gd name="connsiteX8" fmla="*/ 5998 w 8871"/>
                <a:gd name="connsiteY8" fmla="*/ 140694 h 140694"/>
                <a:gd name="connsiteX9" fmla="*/ 6847 w 8871"/>
                <a:gd name="connsiteY9" fmla="*/ 138182 h 140694"/>
                <a:gd name="connsiteX10" fmla="*/ 7122 w 8871"/>
                <a:gd name="connsiteY10" fmla="*/ 138070 h 14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1" h="140694">
                  <a:moveTo>
                    <a:pt x="7122" y="138070"/>
                  </a:moveTo>
                  <a:cubicBezTo>
                    <a:pt x="8109" y="138133"/>
                    <a:pt x="8871" y="138957"/>
                    <a:pt x="8871" y="139944"/>
                  </a:cubicBezTo>
                  <a:lnTo>
                    <a:pt x="8871" y="137195"/>
                  </a:lnTo>
                  <a:lnTo>
                    <a:pt x="3124" y="8372"/>
                  </a:lnTo>
                  <a:lnTo>
                    <a:pt x="3124" y="0"/>
                  </a:lnTo>
                  <a:cubicBezTo>
                    <a:pt x="2624" y="112"/>
                    <a:pt x="2124" y="112"/>
                    <a:pt x="1624" y="0"/>
                  </a:cubicBezTo>
                  <a:cubicBezTo>
                    <a:pt x="1087" y="137"/>
                    <a:pt x="537" y="137"/>
                    <a:pt x="0" y="0"/>
                  </a:cubicBezTo>
                  <a:lnTo>
                    <a:pt x="0" y="4748"/>
                  </a:lnTo>
                  <a:lnTo>
                    <a:pt x="5998" y="140694"/>
                  </a:lnTo>
                  <a:cubicBezTo>
                    <a:pt x="5535" y="139769"/>
                    <a:pt x="5910" y="138645"/>
                    <a:pt x="6847" y="138182"/>
                  </a:cubicBezTo>
                  <a:cubicBezTo>
                    <a:pt x="6934" y="138133"/>
                    <a:pt x="7022" y="138095"/>
                    <a:pt x="7122" y="138070"/>
                  </a:cubicBezTo>
                  <a:close/>
                </a:path>
              </a:pathLst>
            </a:custGeom>
            <a:solidFill>
              <a:srgbClr val="000000"/>
            </a:solidFill>
            <a:ln w="12483" cap="flat">
              <a:noFill/>
              <a:prstDash val="solid"/>
              <a:miter/>
            </a:ln>
          </p:spPr>
          <p:txBody>
            <a:bodyPr rtlCol="0" anchor="ctr"/>
            <a:lstStyle/>
            <a:p>
              <a:endParaRPr lang="en-US"/>
            </a:p>
          </p:txBody>
        </p:sp>
        <p:sp>
          <p:nvSpPr>
            <p:cNvPr id="1585" name="Freeform: Shape 1584">
              <a:extLst>
                <a:ext uri="{FF2B5EF4-FFF2-40B4-BE49-F238E27FC236}">
                  <a16:creationId xmlns:a16="http://schemas.microsoft.com/office/drawing/2014/main" id="{1A10B0CE-8B5C-4996-8029-509C833428D1}"/>
                </a:ext>
              </a:extLst>
            </p:cNvPr>
            <p:cNvSpPr/>
            <p:nvPr/>
          </p:nvSpPr>
          <p:spPr>
            <a:xfrm>
              <a:off x="9298255" y="3326930"/>
              <a:ext cx="10886" cy="173680"/>
            </a:xfrm>
            <a:custGeom>
              <a:avLst/>
              <a:gdLst>
                <a:gd name="connsiteX0" fmla="*/ 8005 w 10886"/>
                <a:gd name="connsiteY0" fmla="*/ 172431 h 173680"/>
                <a:gd name="connsiteX1" fmla="*/ 9379 w 10886"/>
                <a:gd name="connsiteY1" fmla="*/ 173681 h 173680"/>
                <a:gd name="connsiteX2" fmla="*/ 10878 w 10886"/>
                <a:gd name="connsiteY2" fmla="*/ 171682 h 173680"/>
                <a:gd name="connsiteX3" fmla="*/ 10878 w 10886"/>
                <a:gd name="connsiteY3" fmla="*/ 170932 h 173680"/>
                <a:gd name="connsiteX4" fmla="*/ 3257 w 10886"/>
                <a:gd name="connsiteY4" fmla="*/ 6997 h 173680"/>
                <a:gd name="connsiteX5" fmla="*/ 3257 w 10886"/>
                <a:gd name="connsiteY5" fmla="*/ 1874 h 173680"/>
                <a:gd name="connsiteX6" fmla="*/ 1507 w 10886"/>
                <a:gd name="connsiteY6" fmla="*/ 0 h 173680"/>
                <a:gd name="connsiteX7" fmla="*/ 8 w 10886"/>
                <a:gd name="connsiteY7" fmla="*/ 1999 h 173680"/>
                <a:gd name="connsiteX8" fmla="*/ 7380 w 10886"/>
                <a:gd name="connsiteY8" fmla="*/ 170557 h 173680"/>
                <a:gd name="connsiteX9" fmla="*/ 7380 w 10886"/>
                <a:gd name="connsiteY9" fmla="*/ 171806 h 173680"/>
                <a:gd name="connsiteX10" fmla="*/ 8005 w 10886"/>
                <a:gd name="connsiteY10" fmla="*/ 172431 h 17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6" h="173680">
                  <a:moveTo>
                    <a:pt x="8005" y="172431"/>
                  </a:moveTo>
                  <a:cubicBezTo>
                    <a:pt x="8154" y="173093"/>
                    <a:pt x="8704" y="173593"/>
                    <a:pt x="9379" y="173681"/>
                  </a:cubicBezTo>
                  <a:cubicBezTo>
                    <a:pt x="10316" y="173493"/>
                    <a:pt x="10966" y="172631"/>
                    <a:pt x="10878" y="171682"/>
                  </a:cubicBezTo>
                  <a:lnTo>
                    <a:pt x="10878" y="170932"/>
                  </a:lnTo>
                  <a:lnTo>
                    <a:pt x="3257" y="6997"/>
                  </a:lnTo>
                  <a:lnTo>
                    <a:pt x="3257" y="1874"/>
                  </a:lnTo>
                  <a:cubicBezTo>
                    <a:pt x="3257" y="887"/>
                    <a:pt x="2494" y="63"/>
                    <a:pt x="1507" y="0"/>
                  </a:cubicBezTo>
                  <a:cubicBezTo>
                    <a:pt x="570" y="187"/>
                    <a:pt x="-79" y="1050"/>
                    <a:pt x="8" y="1999"/>
                  </a:cubicBezTo>
                  <a:lnTo>
                    <a:pt x="7380" y="170557"/>
                  </a:lnTo>
                  <a:lnTo>
                    <a:pt x="7380" y="171806"/>
                  </a:lnTo>
                  <a:cubicBezTo>
                    <a:pt x="7380" y="171806"/>
                    <a:pt x="7880" y="172181"/>
                    <a:pt x="8005" y="172431"/>
                  </a:cubicBezTo>
                  <a:close/>
                </a:path>
              </a:pathLst>
            </a:custGeom>
            <a:solidFill>
              <a:srgbClr val="000000"/>
            </a:solidFill>
            <a:ln w="12483" cap="flat">
              <a:noFill/>
              <a:prstDash val="solid"/>
              <a:miter/>
            </a:ln>
          </p:spPr>
          <p:txBody>
            <a:bodyPr rtlCol="0" anchor="ctr"/>
            <a:lstStyle/>
            <a:p>
              <a:endParaRPr lang="en-US"/>
            </a:p>
          </p:txBody>
        </p:sp>
        <p:sp>
          <p:nvSpPr>
            <p:cNvPr id="1586" name="Freeform: Shape 1585">
              <a:extLst>
                <a:ext uri="{FF2B5EF4-FFF2-40B4-BE49-F238E27FC236}">
                  <a16:creationId xmlns:a16="http://schemas.microsoft.com/office/drawing/2014/main" id="{5CB20836-FC3F-4585-ADCF-77488ABEE195}"/>
                </a:ext>
              </a:extLst>
            </p:cNvPr>
            <p:cNvSpPr/>
            <p:nvPr/>
          </p:nvSpPr>
          <p:spPr>
            <a:xfrm>
              <a:off x="8161254" y="6367718"/>
              <a:ext cx="54351" cy="90214"/>
            </a:xfrm>
            <a:custGeom>
              <a:avLst/>
              <a:gdLst>
                <a:gd name="connsiteX0" fmla="*/ 53227 w 54351"/>
                <a:gd name="connsiteY0" fmla="*/ 88090 h 90214"/>
                <a:gd name="connsiteX1" fmla="*/ 53227 w 54351"/>
                <a:gd name="connsiteY1" fmla="*/ 88090 h 90214"/>
                <a:gd name="connsiteX2" fmla="*/ 54351 w 54351"/>
                <a:gd name="connsiteY2" fmla="*/ 87465 h 90214"/>
                <a:gd name="connsiteX3" fmla="*/ 0 w 54351"/>
                <a:gd name="connsiteY3" fmla="*/ 0 h 90214"/>
                <a:gd name="connsiteX4" fmla="*/ 875 w 54351"/>
                <a:gd name="connsiteY4" fmla="*/ 7872 h 90214"/>
                <a:gd name="connsiteX5" fmla="*/ 52352 w 54351"/>
                <a:gd name="connsiteY5" fmla="*/ 90214 h 90214"/>
                <a:gd name="connsiteX6" fmla="*/ 52352 w 54351"/>
                <a:gd name="connsiteY6" fmla="*/ 90214 h 90214"/>
                <a:gd name="connsiteX7" fmla="*/ 52352 w 54351"/>
                <a:gd name="connsiteY7" fmla="*/ 90214 h 90214"/>
                <a:gd name="connsiteX8" fmla="*/ 52352 w 54351"/>
                <a:gd name="connsiteY8" fmla="*/ 89589 h 90214"/>
                <a:gd name="connsiteX9" fmla="*/ 52040 w 54351"/>
                <a:gd name="connsiteY9" fmla="*/ 88402 h 90214"/>
                <a:gd name="connsiteX10" fmla="*/ 53227 w 54351"/>
                <a:gd name="connsiteY10" fmla="*/ 88090 h 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51" h="90214">
                  <a:moveTo>
                    <a:pt x="53227" y="88090"/>
                  </a:moveTo>
                  <a:lnTo>
                    <a:pt x="53227" y="88090"/>
                  </a:lnTo>
                  <a:lnTo>
                    <a:pt x="54351" y="87465"/>
                  </a:lnTo>
                  <a:lnTo>
                    <a:pt x="0" y="0"/>
                  </a:lnTo>
                  <a:lnTo>
                    <a:pt x="875" y="7872"/>
                  </a:lnTo>
                  <a:lnTo>
                    <a:pt x="52352" y="90214"/>
                  </a:lnTo>
                  <a:lnTo>
                    <a:pt x="52352" y="90214"/>
                  </a:lnTo>
                  <a:cubicBezTo>
                    <a:pt x="52352" y="90214"/>
                    <a:pt x="52352" y="90214"/>
                    <a:pt x="52352" y="90214"/>
                  </a:cubicBezTo>
                  <a:cubicBezTo>
                    <a:pt x="52352" y="90214"/>
                    <a:pt x="52352" y="90214"/>
                    <a:pt x="52352" y="89589"/>
                  </a:cubicBezTo>
                  <a:cubicBezTo>
                    <a:pt x="51940" y="89352"/>
                    <a:pt x="51803" y="88815"/>
                    <a:pt x="52040" y="88402"/>
                  </a:cubicBezTo>
                  <a:cubicBezTo>
                    <a:pt x="52277" y="87990"/>
                    <a:pt x="52815" y="87853"/>
                    <a:pt x="53227" y="88090"/>
                  </a:cubicBezTo>
                  <a:close/>
                </a:path>
              </a:pathLst>
            </a:custGeom>
            <a:solidFill>
              <a:srgbClr val="000000"/>
            </a:solidFill>
            <a:ln w="12483" cap="flat">
              <a:noFill/>
              <a:prstDash val="solid"/>
              <a:miter/>
            </a:ln>
          </p:spPr>
          <p:txBody>
            <a:bodyPr rtlCol="0" anchor="ctr"/>
            <a:lstStyle/>
            <a:p>
              <a:endParaRPr lang="en-US"/>
            </a:p>
          </p:txBody>
        </p:sp>
        <p:sp>
          <p:nvSpPr>
            <p:cNvPr id="1587" name="Freeform: Shape 1586">
              <a:extLst>
                <a:ext uri="{FF2B5EF4-FFF2-40B4-BE49-F238E27FC236}">
                  <a16:creationId xmlns:a16="http://schemas.microsoft.com/office/drawing/2014/main" id="{7EA38149-AC43-41C9-ACDA-6DF3C6242577}"/>
                </a:ext>
              </a:extLst>
            </p:cNvPr>
            <p:cNvSpPr/>
            <p:nvPr/>
          </p:nvSpPr>
          <p:spPr>
            <a:xfrm>
              <a:off x="8142137" y="6353598"/>
              <a:ext cx="78091" cy="516919"/>
            </a:xfrm>
            <a:custGeom>
              <a:avLst/>
              <a:gdLst>
                <a:gd name="connsiteX0" fmla="*/ 19242 w 78091"/>
                <a:gd name="connsiteY0" fmla="*/ 13745 h 516919"/>
                <a:gd name="connsiteX1" fmla="*/ 18242 w 78091"/>
                <a:gd name="connsiteY1" fmla="*/ 5498 h 516919"/>
                <a:gd name="connsiteX2" fmla="*/ 18242 w 78091"/>
                <a:gd name="connsiteY2" fmla="*/ 5498 h 516919"/>
                <a:gd name="connsiteX3" fmla="*/ 16743 w 78091"/>
                <a:gd name="connsiteY3" fmla="*/ 6872 h 516919"/>
                <a:gd name="connsiteX4" fmla="*/ 16743 w 78091"/>
                <a:gd name="connsiteY4" fmla="*/ 6872 h 516919"/>
                <a:gd name="connsiteX5" fmla="*/ 13244 w 78091"/>
                <a:gd name="connsiteY5" fmla="*/ 8747 h 516919"/>
                <a:gd name="connsiteX6" fmla="*/ 1737 w 78091"/>
                <a:gd name="connsiteY6" fmla="*/ 5973 h 516919"/>
                <a:gd name="connsiteX7" fmla="*/ 750 w 78091"/>
                <a:gd name="connsiteY7" fmla="*/ 3624 h 516919"/>
                <a:gd name="connsiteX8" fmla="*/ 0 w 78091"/>
                <a:gd name="connsiteY8" fmla="*/ 0 h 516919"/>
                <a:gd name="connsiteX9" fmla="*/ 0 w 78091"/>
                <a:gd name="connsiteY9" fmla="*/ 0 h 516919"/>
                <a:gd name="connsiteX10" fmla="*/ 59974 w 78091"/>
                <a:gd name="connsiteY10" fmla="*/ 516919 h 516919"/>
                <a:gd name="connsiteX11" fmla="*/ 78091 w 78091"/>
                <a:gd name="connsiteY11" fmla="*/ 516919 h 516919"/>
                <a:gd name="connsiteX12" fmla="*/ 20491 w 78091"/>
                <a:gd name="connsiteY12" fmla="*/ 20242 h 51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091" h="516919">
                  <a:moveTo>
                    <a:pt x="19242" y="13745"/>
                  </a:moveTo>
                  <a:lnTo>
                    <a:pt x="18242" y="5498"/>
                  </a:lnTo>
                  <a:lnTo>
                    <a:pt x="18242" y="5498"/>
                  </a:lnTo>
                  <a:lnTo>
                    <a:pt x="16743" y="6872"/>
                  </a:lnTo>
                  <a:lnTo>
                    <a:pt x="16743" y="6872"/>
                  </a:lnTo>
                  <a:lnTo>
                    <a:pt x="13244" y="8747"/>
                  </a:lnTo>
                  <a:cubicBezTo>
                    <a:pt x="9296" y="11158"/>
                    <a:pt x="4148" y="9921"/>
                    <a:pt x="1737" y="5973"/>
                  </a:cubicBezTo>
                  <a:cubicBezTo>
                    <a:pt x="1287" y="5248"/>
                    <a:pt x="949" y="4448"/>
                    <a:pt x="750" y="3624"/>
                  </a:cubicBezTo>
                  <a:cubicBezTo>
                    <a:pt x="312" y="2461"/>
                    <a:pt x="62" y="1237"/>
                    <a:pt x="0" y="0"/>
                  </a:cubicBezTo>
                  <a:lnTo>
                    <a:pt x="0" y="0"/>
                  </a:lnTo>
                  <a:lnTo>
                    <a:pt x="59974" y="516919"/>
                  </a:lnTo>
                  <a:lnTo>
                    <a:pt x="78091" y="516919"/>
                  </a:lnTo>
                  <a:lnTo>
                    <a:pt x="20491" y="20242"/>
                  </a:lnTo>
                  <a:close/>
                </a:path>
              </a:pathLst>
            </a:custGeom>
            <a:solidFill>
              <a:srgbClr val="000000"/>
            </a:solidFill>
            <a:ln w="12483" cap="flat">
              <a:noFill/>
              <a:prstDash val="solid"/>
              <a:miter/>
            </a:ln>
          </p:spPr>
          <p:txBody>
            <a:bodyPr rtlCol="0" anchor="ctr"/>
            <a:lstStyle/>
            <a:p>
              <a:endParaRPr lang="en-US"/>
            </a:p>
          </p:txBody>
        </p:sp>
        <p:sp>
          <p:nvSpPr>
            <p:cNvPr id="1588" name="Freeform: Shape 1587">
              <a:extLst>
                <a:ext uri="{FF2B5EF4-FFF2-40B4-BE49-F238E27FC236}">
                  <a16:creationId xmlns:a16="http://schemas.microsoft.com/office/drawing/2014/main" id="{0BFFA9D6-66C2-4C46-A7B1-3216E6B35271}"/>
                </a:ext>
              </a:extLst>
            </p:cNvPr>
            <p:cNvSpPr/>
            <p:nvPr/>
          </p:nvSpPr>
          <p:spPr>
            <a:xfrm>
              <a:off x="8213809" y="6456932"/>
              <a:ext cx="50025" cy="414334"/>
            </a:xfrm>
            <a:custGeom>
              <a:avLst/>
              <a:gdLst>
                <a:gd name="connsiteX0" fmla="*/ 2171 w 50025"/>
                <a:gd name="connsiteY0" fmla="*/ 1999 h 414334"/>
                <a:gd name="connsiteX1" fmla="*/ 147 w 50025"/>
                <a:gd name="connsiteY1" fmla="*/ 1362 h 414334"/>
                <a:gd name="connsiteX2" fmla="*/ 47 w 50025"/>
                <a:gd name="connsiteY2" fmla="*/ 1125 h 414334"/>
                <a:gd name="connsiteX3" fmla="*/ 47 w 50025"/>
                <a:gd name="connsiteY3" fmla="*/ 0 h 414334"/>
                <a:gd name="connsiteX4" fmla="*/ 47 w 50025"/>
                <a:gd name="connsiteY4" fmla="*/ 0 h 414334"/>
                <a:gd name="connsiteX5" fmla="*/ 47 w 50025"/>
                <a:gd name="connsiteY5" fmla="*/ 0 h 414334"/>
                <a:gd name="connsiteX6" fmla="*/ 46902 w 50025"/>
                <a:gd name="connsiteY6" fmla="*/ 414335 h 414334"/>
                <a:gd name="connsiteX7" fmla="*/ 50025 w 50025"/>
                <a:gd name="connsiteY7" fmla="*/ 414335 h 414334"/>
                <a:gd name="connsiteX8" fmla="*/ 3295 w 50025"/>
                <a:gd name="connsiteY8" fmla="*/ 375 h 41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25" h="414334">
                  <a:moveTo>
                    <a:pt x="2171" y="1999"/>
                  </a:moveTo>
                  <a:cubicBezTo>
                    <a:pt x="1434" y="2386"/>
                    <a:pt x="534" y="2099"/>
                    <a:pt x="147" y="1362"/>
                  </a:cubicBezTo>
                  <a:cubicBezTo>
                    <a:pt x="109" y="1287"/>
                    <a:pt x="72" y="1212"/>
                    <a:pt x="47" y="1125"/>
                  </a:cubicBezTo>
                  <a:cubicBezTo>
                    <a:pt x="-16" y="750"/>
                    <a:pt x="-16" y="375"/>
                    <a:pt x="47" y="0"/>
                  </a:cubicBezTo>
                  <a:cubicBezTo>
                    <a:pt x="47" y="0"/>
                    <a:pt x="47" y="0"/>
                    <a:pt x="47" y="0"/>
                  </a:cubicBezTo>
                  <a:lnTo>
                    <a:pt x="47" y="0"/>
                  </a:lnTo>
                  <a:lnTo>
                    <a:pt x="46902" y="414335"/>
                  </a:lnTo>
                  <a:lnTo>
                    <a:pt x="50025" y="414335"/>
                  </a:lnTo>
                  <a:lnTo>
                    <a:pt x="3295" y="375"/>
                  </a:lnTo>
                  <a:close/>
                </a:path>
              </a:pathLst>
            </a:custGeom>
            <a:solidFill>
              <a:srgbClr val="000000"/>
            </a:solidFill>
            <a:ln w="12483" cap="flat">
              <a:noFill/>
              <a:prstDash val="solid"/>
              <a:miter/>
            </a:ln>
          </p:spPr>
          <p:txBody>
            <a:bodyPr rtlCol="0" anchor="ctr"/>
            <a:lstStyle/>
            <a:p>
              <a:endParaRPr lang="en-US"/>
            </a:p>
          </p:txBody>
        </p:sp>
        <p:sp>
          <p:nvSpPr>
            <p:cNvPr id="1589" name="Freeform: Shape 1588">
              <a:extLst>
                <a:ext uri="{FF2B5EF4-FFF2-40B4-BE49-F238E27FC236}">
                  <a16:creationId xmlns:a16="http://schemas.microsoft.com/office/drawing/2014/main" id="{2B30E498-E454-4C2B-A91F-8E905293AEDE}"/>
                </a:ext>
              </a:extLst>
            </p:cNvPr>
            <p:cNvSpPr/>
            <p:nvPr/>
          </p:nvSpPr>
          <p:spPr>
            <a:xfrm>
              <a:off x="8162378" y="6170796"/>
              <a:ext cx="303868" cy="177679"/>
            </a:xfrm>
            <a:custGeom>
              <a:avLst/>
              <a:gdLst>
                <a:gd name="connsiteX0" fmla="*/ 303244 w 303868"/>
                <a:gd name="connsiteY0" fmla="*/ 0 h 177679"/>
                <a:gd name="connsiteX1" fmla="*/ 302369 w 303868"/>
                <a:gd name="connsiteY1" fmla="*/ 0 h 177679"/>
                <a:gd name="connsiteX2" fmla="*/ 0 w 303868"/>
                <a:gd name="connsiteY2" fmla="*/ 173681 h 177679"/>
                <a:gd name="connsiteX3" fmla="*/ 0 w 303868"/>
                <a:gd name="connsiteY3" fmla="*/ 177679 h 177679"/>
                <a:gd name="connsiteX4" fmla="*/ 303869 w 303868"/>
                <a:gd name="connsiteY4" fmla="*/ 2749 h 177679"/>
                <a:gd name="connsiteX5" fmla="*/ 303869 w 303868"/>
                <a:gd name="connsiteY5" fmla="*/ 2749 h 177679"/>
                <a:gd name="connsiteX6" fmla="*/ 303244 w 303868"/>
                <a:gd name="connsiteY6" fmla="*/ 0 h 17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868" h="177679">
                  <a:moveTo>
                    <a:pt x="303244" y="0"/>
                  </a:moveTo>
                  <a:lnTo>
                    <a:pt x="302369" y="0"/>
                  </a:lnTo>
                  <a:lnTo>
                    <a:pt x="0" y="173681"/>
                  </a:lnTo>
                  <a:lnTo>
                    <a:pt x="0" y="177679"/>
                  </a:lnTo>
                  <a:lnTo>
                    <a:pt x="303869" y="2749"/>
                  </a:lnTo>
                  <a:lnTo>
                    <a:pt x="303869" y="2749"/>
                  </a:lnTo>
                  <a:cubicBezTo>
                    <a:pt x="303544" y="1862"/>
                    <a:pt x="303331" y="937"/>
                    <a:pt x="303244" y="0"/>
                  </a:cubicBezTo>
                  <a:close/>
                </a:path>
              </a:pathLst>
            </a:custGeom>
            <a:solidFill>
              <a:srgbClr val="000000"/>
            </a:solidFill>
            <a:ln w="12483" cap="flat">
              <a:noFill/>
              <a:prstDash val="solid"/>
              <a:miter/>
            </a:ln>
          </p:spPr>
          <p:txBody>
            <a:bodyPr rtlCol="0" anchor="ctr"/>
            <a:lstStyle/>
            <a:p>
              <a:endParaRPr lang="en-US"/>
            </a:p>
          </p:txBody>
        </p:sp>
        <p:sp>
          <p:nvSpPr>
            <p:cNvPr id="1590" name="Freeform: Shape 1589">
              <a:extLst>
                <a:ext uri="{FF2B5EF4-FFF2-40B4-BE49-F238E27FC236}">
                  <a16:creationId xmlns:a16="http://schemas.microsoft.com/office/drawing/2014/main" id="{87319E99-9C08-43A8-840A-71B4FD5BDA83}"/>
                </a:ext>
              </a:extLst>
            </p:cNvPr>
            <p:cNvSpPr/>
            <p:nvPr/>
          </p:nvSpPr>
          <p:spPr>
            <a:xfrm>
              <a:off x="8214559" y="6271631"/>
              <a:ext cx="317534" cy="186595"/>
            </a:xfrm>
            <a:custGeom>
              <a:avLst/>
              <a:gdLst>
                <a:gd name="connsiteX0" fmla="*/ 315785 w 317534"/>
                <a:gd name="connsiteY0" fmla="*/ 1125 h 186595"/>
                <a:gd name="connsiteX1" fmla="*/ 1171 w 317534"/>
                <a:gd name="connsiteY1" fmla="*/ 183177 h 186595"/>
                <a:gd name="connsiteX2" fmla="*/ 47 w 317534"/>
                <a:gd name="connsiteY2" fmla="*/ 183802 h 186595"/>
                <a:gd name="connsiteX3" fmla="*/ 47 w 317534"/>
                <a:gd name="connsiteY3" fmla="*/ 183802 h 186595"/>
                <a:gd name="connsiteX4" fmla="*/ 47 w 317534"/>
                <a:gd name="connsiteY4" fmla="*/ 184427 h 186595"/>
                <a:gd name="connsiteX5" fmla="*/ 47 w 317534"/>
                <a:gd name="connsiteY5" fmla="*/ 185551 h 186595"/>
                <a:gd name="connsiteX6" fmla="*/ 1933 w 317534"/>
                <a:gd name="connsiteY6" fmla="*/ 186526 h 186595"/>
                <a:gd name="connsiteX7" fmla="*/ 2171 w 317534"/>
                <a:gd name="connsiteY7" fmla="*/ 186426 h 186595"/>
                <a:gd name="connsiteX8" fmla="*/ 3170 w 317534"/>
                <a:gd name="connsiteY8" fmla="*/ 185801 h 186595"/>
                <a:gd name="connsiteX9" fmla="*/ 317535 w 317534"/>
                <a:gd name="connsiteY9" fmla="*/ 3998 h 186595"/>
                <a:gd name="connsiteX10" fmla="*/ 317535 w 317534"/>
                <a:gd name="connsiteY10" fmla="*/ 0 h 1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34" h="186595">
                  <a:moveTo>
                    <a:pt x="315785" y="1125"/>
                  </a:moveTo>
                  <a:lnTo>
                    <a:pt x="1171" y="183177"/>
                  </a:lnTo>
                  <a:lnTo>
                    <a:pt x="47" y="183802"/>
                  </a:lnTo>
                  <a:lnTo>
                    <a:pt x="47" y="183802"/>
                  </a:lnTo>
                  <a:cubicBezTo>
                    <a:pt x="47" y="183802"/>
                    <a:pt x="47" y="183802"/>
                    <a:pt x="47" y="184427"/>
                  </a:cubicBezTo>
                  <a:cubicBezTo>
                    <a:pt x="-16" y="184801"/>
                    <a:pt x="-16" y="185176"/>
                    <a:pt x="47" y="185551"/>
                  </a:cubicBezTo>
                  <a:cubicBezTo>
                    <a:pt x="297" y="186338"/>
                    <a:pt x="1146" y="186776"/>
                    <a:pt x="1933" y="186526"/>
                  </a:cubicBezTo>
                  <a:cubicBezTo>
                    <a:pt x="2009" y="186501"/>
                    <a:pt x="2096" y="186463"/>
                    <a:pt x="2171" y="186426"/>
                  </a:cubicBezTo>
                  <a:lnTo>
                    <a:pt x="3170" y="185801"/>
                  </a:lnTo>
                  <a:lnTo>
                    <a:pt x="317535" y="3998"/>
                  </a:lnTo>
                  <a:lnTo>
                    <a:pt x="317535" y="0"/>
                  </a:lnTo>
                  <a:close/>
                </a:path>
              </a:pathLst>
            </a:custGeom>
            <a:solidFill>
              <a:srgbClr val="000000"/>
            </a:solidFill>
            <a:ln w="12483" cap="flat">
              <a:noFill/>
              <a:prstDash val="solid"/>
              <a:miter/>
            </a:ln>
          </p:spPr>
          <p:txBody>
            <a:bodyPr rtlCol="0" anchor="ctr"/>
            <a:lstStyle/>
            <a:p>
              <a:endParaRPr lang="en-US"/>
            </a:p>
          </p:txBody>
        </p:sp>
        <p:sp>
          <p:nvSpPr>
            <p:cNvPr id="1591" name="Freeform: Shape 1590">
              <a:extLst>
                <a:ext uri="{FF2B5EF4-FFF2-40B4-BE49-F238E27FC236}">
                  <a16:creationId xmlns:a16="http://schemas.microsoft.com/office/drawing/2014/main" id="{268FD9CE-0498-4000-ABFE-651D753B1E23}"/>
                </a:ext>
              </a:extLst>
            </p:cNvPr>
            <p:cNvSpPr/>
            <p:nvPr/>
          </p:nvSpPr>
          <p:spPr>
            <a:xfrm>
              <a:off x="8159880" y="6359221"/>
              <a:ext cx="624" cy="749"/>
            </a:xfrm>
            <a:custGeom>
              <a:avLst/>
              <a:gdLst>
                <a:gd name="connsiteX0" fmla="*/ 0 w 624"/>
                <a:gd name="connsiteY0" fmla="*/ 750 h 749"/>
                <a:gd name="connsiteX1" fmla="*/ 0 w 624"/>
                <a:gd name="connsiteY1" fmla="*/ 750 h 749"/>
                <a:gd name="connsiteX2" fmla="*/ 625 w 624"/>
                <a:gd name="connsiteY2" fmla="*/ 0 h 749"/>
                <a:gd name="connsiteX3" fmla="*/ 0 w 624"/>
                <a:gd name="connsiteY3" fmla="*/ 750 h 749"/>
              </a:gdLst>
              <a:ahLst/>
              <a:cxnLst>
                <a:cxn ang="0">
                  <a:pos x="connsiteX0" y="connsiteY0"/>
                </a:cxn>
                <a:cxn ang="0">
                  <a:pos x="connsiteX1" y="connsiteY1"/>
                </a:cxn>
                <a:cxn ang="0">
                  <a:pos x="connsiteX2" y="connsiteY2"/>
                </a:cxn>
                <a:cxn ang="0">
                  <a:pos x="connsiteX3" y="connsiteY3"/>
                </a:cxn>
              </a:cxnLst>
              <a:rect l="l" t="t" r="r" b="b"/>
              <a:pathLst>
                <a:path w="624" h="749">
                  <a:moveTo>
                    <a:pt x="0" y="750"/>
                  </a:moveTo>
                  <a:lnTo>
                    <a:pt x="0" y="750"/>
                  </a:lnTo>
                  <a:lnTo>
                    <a:pt x="625" y="0"/>
                  </a:lnTo>
                  <a:cubicBezTo>
                    <a:pt x="437" y="262"/>
                    <a:pt x="225" y="525"/>
                    <a:pt x="0" y="750"/>
                  </a:cubicBezTo>
                  <a:close/>
                </a:path>
              </a:pathLst>
            </a:custGeom>
            <a:solidFill>
              <a:srgbClr val="000000"/>
            </a:solidFill>
            <a:ln w="12483" cap="flat">
              <a:noFill/>
              <a:prstDash val="solid"/>
              <a:miter/>
            </a:ln>
          </p:spPr>
          <p:txBody>
            <a:bodyPr rtlCol="0" anchor="ctr"/>
            <a:lstStyle/>
            <a:p>
              <a:endParaRPr lang="en-US"/>
            </a:p>
          </p:txBody>
        </p:sp>
        <p:sp>
          <p:nvSpPr>
            <p:cNvPr id="1592" name="Freeform: Shape 1591">
              <a:extLst>
                <a:ext uri="{FF2B5EF4-FFF2-40B4-BE49-F238E27FC236}">
                  <a16:creationId xmlns:a16="http://schemas.microsoft.com/office/drawing/2014/main" id="{52F8DDC9-8646-45BB-A317-6612E41A8AB5}"/>
                </a:ext>
              </a:extLst>
            </p:cNvPr>
            <p:cNvSpPr/>
            <p:nvPr/>
          </p:nvSpPr>
          <p:spPr>
            <a:xfrm>
              <a:off x="8142715" y="6346226"/>
              <a:ext cx="16789" cy="18602"/>
            </a:xfrm>
            <a:custGeom>
              <a:avLst/>
              <a:gdLst>
                <a:gd name="connsiteX0" fmla="*/ 2546 w 16789"/>
                <a:gd name="connsiteY0" fmla="*/ 7122 h 18602"/>
                <a:gd name="connsiteX1" fmla="*/ 1671 w 16789"/>
                <a:gd name="connsiteY1" fmla="*/ 0 h 18602"/>
                <a:gd name="connsiteX2" fmla="*/ 1671 w 16789"/>
                <a:gd name="connsiteY2" fmla="*/ 875 h 18602"/>
                <a:gd name="connsiteX3" fmla="*/ 797 w 16789"/>
                <a:gd name="connsiteY3" fmla="*/ 2624 h 18602"/>
                <a:gd name="connsiteX4" fmla="*/ 47 w 16789"/>
                <a:gd name="connsiteY4" fmla="*/ 4498 h 18602"/>
                <a:gd name="connsiteX5" fmla="*/ 47 w 16789"/>
                <a:gd name="connsiteY5" fmla="*/ 6373 h 18602"/>
                <a:gd name="connsiteX6" fmla="*/ 47 w 16789"/>
                <a:gd name="connsiteY6" fmla="*/ 8622 h 18602"/>
                <a:gd name="connsiteX7" fmla="*/ 797 w 16789"/>
                <a:gd name="connsiteY7" fmla="*/ 12245 h 18602"/>
                <a:gd name="connsiteX8" fmla="*/ 10942 w 16789"/>
                <a:gd name="connsiteY8" fmla="*/ 18355 h 18602"/>
                <a:gd name="connsiteX9" fmla="*/ 13291 w 16789"/>
                <a:gd name="connsiteY9" fmla="*/ 17368 h 18602"/>
                <a:gd name="connsiteX10" fmla="*/ 16790 w 16789"/>
                <a:gd name="connsiteY10" fmla="*/ 15494 h 18602"/>
                <a:gd name="connsiteX11" fmla="*/ 16790 w 16789"/>
                <a:gd name="connsiteY11" fmla="*/ 15494 h 18602"/>
                <a:gd name="connsiteX12" fmla="*/ 13791 w 16789"/>
                <a:gd name="connsiteY12" fmla="*/ 16743 h 18602"/>
                <a:gd name="connsiteX13" fmla="*/ 2721 w 16789"/>
                <a:gd name="connsiteY13" fmla="*/ 9446 h 18602"/>
                <a:gd name="connsiteX14" fmla="*/ 2546 w 16789"/>
                <a:gd name="connsiteY14" fmla="*/ 7122 h 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89" h="18602">
                  <a:moveTo>
                    <a:pt x="2546" y="7122"/>
                  </a:moveTo>
                  <a:lnTo>
                    <a:pt x="1671" y="0"/>
                  </a:lnTo>
                  <a:lnTo>
                    <a:pt x="1671" y="875"/>
                  </a:lnTo>
                  <a:cubicBezTo>
                    <a:pt x="1309" y="1412"/>
                    <a:pt x="1009" y="2012"/>
                    <a:pt x="797" y="2624"/>
                  </a:cubicBezTo>
                  <a:cubicBezTo>
                    <a:pt x="447" y="3211"/>
                    <a:pt x="197" y="3836"/>
                    <a:pt x="47" y="4498"/>
                  </a:cubicBezTo>
                  <a:cubicBezTo>
                    <a:pt x="47" y="5123"/>
                    <a:pt x="47" y="5748"/>
                    <a:pt x="47" y="6373"/>
                  </a:cubicBezTo>
                  <a:cubicBezTo>
                    <a:pt x="-16" y="7122"/>
                    <a:pt x="-16" y="7872"/>
                    <a:pt x="47" y="8622"/>
                  </a:cubicBezTo>
                  <a:cubicBezTo>
                    <a:pt x="109" y="9859"/>
                    <a:pt x="359" y="11083"/>
                    <a:pt x="797" y="12245"/>
                  </a:cubicBezTo>
                  <a:cubicBezTo>
                    <a:pt x="1908" y="16731"/>
                    <a:pt x="6456" y="19467"/>
                    <a:pt x="10942" y="18355"/>
                  </a:cubicBezTo>
                  <a:cubicBezTo>
                    <a:pt x="11767" y="18143"/>
                    <a:pt x="12566" y="17818"/>
                    <a:pt x="13291" y="17368"/>
                  </a:cubicBezTo>
                  <a:lnTo>
                    <a:pt x="16790" y="15494"/>
                  </a:lnTo>
                  <a:lnTo>
                    <a:pt x="16790" y="15494"/>
                  </a:lnTo>
                  <a:cubicBezTo>
                    <a:pt x="15903" y="16143"/>
                    <a:pt x="14878" y="16568"/>
                    <a:pt x="13791" y="16743"/>
                  </a:cubicBezTo>
                  <a:cubicBezTo>
                    <a:pt x="8718" y="17780"/>
                    <a:pt x="3770" y="14519"/>
                    <a:pt x="2721" y="9446"/>
                  </a:cubicBezTo>
                  <a:cubicBezTo>
                    <a:pt x="2571" y="8684"/>
                    <a:pt x="2508" y="7897"/>
                    <a:pt x="2546" y="7122"/>
                  </a:cubicBezTo>
                  <a:close/>
                </a:path>
              </a:pathLst>
            </a:custGeom>
            <a:solidFill>
              <a:srgbClr val="000000"/>
            </a:solidFill>
            <a:ln w="12483" cap="flat">
              <a:noFill/>
              <a:prstDash val="solid"/>
              <a:miter/>
            </a:ln>
          </p:spPr>
          <p:txBody>
            <a:bodyPr rtlCol="0" anchor="ctr"/>
            <a:lstStyle/>
            <a:p>
              <a:endParaRPr lang="en-US"/>
            </a:p>
          </p:txBody>
        </p:sp>
        <p:sp>
          <p:nvSpPr>
            <p:cNvPr id="1593" name="Freeform: Shape 1592">
              <a:extLst>
                <a:ext uri="{FF2B5EF4-FFF2-40B4-BE49-F238E27FC236}">
                  <a16:creationId xmlns:a16="http://schemas.microsoft.com/office/drawing/2014/main" id="{63F4BE48-649B-465E-AA23-2FD504CD2E10}"/>
                </a:ext>
              </a:extLst>
            </p:cNvPr>
            <p:cNvSpPr/>
            <p:nvPr/>
          </p:nvSpPr>
          <p:spPr>
            <a:xfrm>
              <a:off x="10208369" y="581900"/>
              <a:ext cx="81589" cy="84716"/>
            </a:xfrm>
            <a:custGeom>
              <a:avLst/>
              <a:gdLst>
                <a:gd name="connsiteX0" fmla="*/ 78966 w 81589"/>
                <a:gd name="connsiteY0" fmla="*/ 84216 h 84716"/>
                <a:gd name="connsiteX1" fmla="*/ 80578 w 81589"/>
                <a:gd name="connsiteY1" fmla="*/ 82342 h 84716"/>
                <a:gd name="connsiteX2" fmla="*/ 80590 w 81589"/>
                <a:gd name="connsiteY2" fmla="*/ 82342 h 84716"/>
                <a:gd name="connsiteX3" fmla="*/ 81590 w 81589"/>
                <a:gd name="connsiteY3" fmla="*/ 82342 h 84716"/>
                <a:gd name="connsiteX4" fmla="*/ 81590 w 81589"/>
                <a:gd name="connsiteY4" fmla="*/ 82342 h 84716"/>
                <a:gd name="connsiteX5" fmla="*/ 80840 w 81589"/>
                <a:gd name="connsiteY5" fmla="*/ 81592 h 84716"/>
                <a:gd name="connsiteX6" fmla="*/ 625 w 81589"/>
                <a:gd name="connsiteY6" fmla="*/ 750 h 84716"/>
                <a:gd name="connsiteX7" fmla="*/ 0 w 81589"/>
                <a:gd name="connsiteY7" fmla="*/ 0 h 84716"/>
                <a:gd name="connsiteX8" fmla="*/ 0 w 81589"/>
                <a:gd name="connsiteY8" fmla="*/ 4998 h 84716"/>
                <a:gd name="connsiteX9" fmla="*/ 78966 w 81589"/>
                <a:gd name="connsiteY9" fmla="*/ 84716 h 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589" h="84716">
                  <a:moveTo>
                    <a:pt x="78966" y="84216"/>
                  </a:moveTo>
                  <a:cubicBezTo>
                    <a:pt x="78891" y="83253"/>
                    <a:pt x="79616" y="82415"/>
                    <a:pt x="80578" y="82342"/>
                  </a:cubicBezTo>
                  <a:cubicBezTo>
                    <a:pt x="80590" y="82342"/>
                    <a:pt x="80590" y="82342"/>
                    <a:pt x="80590" y="82342"/>
                  </a:cubicBezTo>
                  <a:cubicBezTo>
                    <a:pt x="80915" y="82227"/>
                    <a:pt x="81265" y="82227"/>
                    <a:pt x="81590" y="82342"/>
                  </a:cubicBezTo>
                  <a:lnTo>
                    <a:pt x="81590" y="82342"/>
                  </a:lnTo>
                  <a:lnTo>
                    <a:pt x="80840" y="81592"/>
                  </a:lnTo>
                  <a:lnTo>
                    <a:pt x="625" y="750"/>
                  </a:lnTo>
                  <a:lnTo>
                    <a:pt x="0" y="0"/>
                  </a:lnTo>
                  <a:lnTo>
                    <a:pt x="0" y="4998"/>
                  </a:lnTo>
                  <a:lnTo>
                    <a:pt x="78966" y="84716"/>
                  </a:lnTo>
                  <a:close/>
                </a:path>
              </a:pathLst>
            </a:custGeom>
            <a:solidFill>
              <a:srgbClr val="000000"/>
            </a:solidFill>
            <a:ln w="12483" cap="flat">
              <a:noFill/>
              <a:prstDash val="solid"/>
              <a:miter/>
            </a:ln>
          </p:spPr>
          <p:txBody>
            <a:bodyPr rtlCol="0" anchor="ctr"/>
            <a:lstStyle/>
            <a:p>
              <a:endParaRPr lang="en-US"/>
            </a:p>
          </p:txBody>
        </p:sp>
        <p:sp>
          <p:nvSpPr>
            <p:cNvPr id="1594" name="Freeform: Shape 1593">
              <a:extLst>
                <a:ext uri="{FF2B5EF4-FFF2-40B4-BE49-F238E27FC236}">
                  <a16:creationId xmlns:a16="http://schemas.microsoft.com/office/drawing/2014/main" id="{F095B91B-5A72-48C5-829C-4863CCE3FEC5}"/>
                </a:ext>
              </a:extLst>
            </p:cNvPr>
            <p:cNvSpPr/>
            <p:nvPr/>
          </p:nvSpPr>
          <p:spPr>
            <a:xfrm>
              <a:off x="10284176" y="665405"/>
              <a:ext cx="6282" cy="1128261"/>
            </a:xfrm>
            <a:custGeom>
              <a:avLst/>
              <a:gdLst>
                <a:gd name="connsiteX0" fmla="*/ 1285 w 6282"/>
                <a:gd name="connsiteY0" fmla="*/ 1125138 h 1128261"/>
                <a:gd name="connsiteX1" fmla="*/ 2784 w 6282"/>
                <a:gd name="connsiteY1" fmla="*/ 1127012 h 1128261"/>
                <a:gd name="connsiteX2" fmla="*/ 2784 w 6282"/>
                <a:gd name="connsiteY2" fmla="*/ 1124138 h 1128261"/>
                <a:gd name="connsiteX3" fmla="*/ 6283 w 6282"/>
                <a:gd name="connsiteY3" fmla="*/ 2085 h 1128261"/>
                <a:gd name="connsiteX4" fmla="*/ 6283 w 6282"/>
                <a:gd name="connsiteY4" fmla="*/ 836 h 1128261"/>
                <a:gd name="connsiteX5" fmla="*/ 6283 w 6282"/>
                <a:gd name="connsiteY5" fmla="*/ 836 h 1128261"/>
                <a:gd name="connsiteX6" fmla="*/ 6283 w 6282"/>
                <a:gd name="connsiteY6" fmla="*/ 836 h 1128261"/>
                <a:gd name="connsiteX7" fmla="*/ 6283 w 6282"/>
                <a:gd name="connsiteY7" fmla="*/ 86 h 1128261"/>
                <a:gd name="connsiteX8" fmla="*/ 5283 w 6282"/>
                <a:gd name="connsiteY8" fmla="*/ 86 h 1128261"/>
                <a:gd name="connsiteX9" fmla="*/ 3659 w 6282"/>
                <a:gd name="connsiteY9" fmla="*/ 1952 h 1128261"/>
                <a:gd name="connsiteX10" fmla="*/ 3659 w 6282"/>
                <a:gd name="connsiteY10" fmla="*/ 1960 h 1128261"/>
                <a:gd name="connsiteX11" fmla="*/ 3659 w 6282"/>
                <a:gd name="connsiteY11" fmla="*/ 2960 h 1128261"/>
                <a:gd name="connsiteX12" fmla="*/ 160 w 6282"/>
                <a:gd name="connsiteY12" fmla="*/ 1128261 h 1128261"/>
                <a:gd name="connsiteX13" fmla="*/ 1285 w 6282"/>
                <a:gd name="connsiteY13" fmla="*/ 1125138 h 112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2" h="1128261">
                  <a:moveTo>
                    <a:pt x="1285" y="1125138"/>
                  </a:moveTo>
                  <a:cubicBezTo>
                    <a:pt x="2160" y="1125138"/>
                    <a:pt x="2784" y="1125887"/>
                    <a:pt x="2784" y="1127012"/>
                  </a:cubicBezTo>
                  <a:lnTo>
                    <a:pt x="2784" y="1124138"/>
                  </a:lnTo>
                  <a:lnTo>
                    <a:pt x="6283" y="2085"/>
                  </a:lnTo>
                  <a:lnTo>
                    <a:pt x="6283" y="836"/>
                  </a:lnTo>
                  <a:lnTo>
                    <a:pt x="6283" y="836"/>
                  </a:lnTo>
                  <a:cubicBezTo>
                    <a:pt x="6283" y="836"/>
                    <a:pt x="6283" y="836"/>
                    <a:pt x="6283" y="836"/>
                  </a:cubicBezTo>
                  <a:lnTo>
                    <a:pt x="6283" y="86"/>
                  </a:lnTo>
                  <a:cubicBezTo>
                    <a:pt x="5958" y="-29"/>
                    <a:pt x="5608" y="-29"/>
                    <a:pt x="5283" y="86"/>
                  </a:cubicBezTo>
                  <a:cubicBezTo>
                    <a:pt x="4321" y="152"/>
                    <a:pt x="3596" y="988"/>
                    <a:pt x="3659" y="1952"/>
                  </a:cubicBezTo>
                  <a:cubicBezTo>
                    <a:pt x="3659" y="1954"/>
                    <a:pt x="3659" y="1958"/>
                    <a:pt x="3659" y="1960"/>
                  </a:cubicBezTo>
                  <a:lnTo>
                    <a:pt x="3659" y="2960"/>
                  </a:lnTo>
                  <a:lnTo>
                    <a:pt x="160" y="1128261"/>
                  </a:lnTo>
                  <a:cubicBezTo>
                    <a:pt x="-339" y="1125887"/>
                    <a:pt x="410" y="1125013"/>
                    <a:pt x="1285" y="1125138"/>
                  </a:cubicBezTo>
                  <a:close/>
                </a:path>
              </a:pathLst>
            </a:custGeom>
            <a:solidFill>
              <a:srgbClr val="000000"/>
            </a:solidFill>
            <a:ln w="12483" cap="flat">
              <a:noFill/>
              <a:prstDash val="solid"/>
              <a:miter/>
            </a:ln>
          </p:spPr>
          <p:txBody>
            <a:bodyPr rtlCol="0" anchor="ctr"/>
            <a:lstStyle/>
            <a:p>
              <a:endParaRPr lang="en-US"/>
            </a:p>
          </p:txBody>
        </p:sp>
        <p:sp>
          <p:nvSpPr>
            <p:cNvPr id="1595" name="Freeform: Shape 1594">
              <a:extLst>
                <a:ext uri="{FF2B5EF4-FFF2-40B4-BE49-F238E27FC236}">
                  <a16:creationId xmlns:a16="http://schemas.microsoft.com/office/drawing/2014/main" id="{1D73E453-359A-4471-B52A-7397D21692C7}"/>
                </a:ext>
              </a:extLst>
            </p:cNvPr>
            <p:cNvSpPr/>
            <p:nvPr/>
          </p:nvSpPr>
          <p:spPr>
            <a:xfrm>
              <a:off x="9805294" y="1824529"/>
              <a:ext cx="387707" cy="187925"/>
            </a:xfrm>
            <a:custGeom>
              <a:avLst/>
              <a:gdLst>
                <a:gd name="connsiteX0" fmla="*/ 0 w 387707"/>
                <a:gd name="connsiteY0" fmla="*/ 184801 h 187925"/>
                <a:gd name="connsiteX1" fmla="*/ 0 w 387707"/>
                <a:gd name="connsiteY1" fmla="*/ 184801 h 187925"/>
                <a:gd name="connsiteX2" fmla="*/ 750 w 387707"/>
                <a:gd name="connsiteY2" fmla="*/ 184801 h 187925"/>
                <a:gd name="connsiteX3" fmla="*/ 2374 w 387707"/>
                <a:gd name="connsiteY3" fmla="*/ 186663 h 187925"/>
                <a:gd name="connsiteX4" fmla="*/ 2374 w 387707"/>
                <a:gd name="connsiteY4" fmla="*/ 186676 h 187925"/>
                <a:gd name="connsiteX5" fmla="*/ 2374 w 387707"/>
                <a:gd name="connsiteY5" fmla="*/ 187925 h 187925"/>
                <a:gd name="connsiteX6" fmla="*/ 387707 w 387707"/>
                <a:gd name="connsiteY6" fmla="*/ 3624 h 187925"/>
                <a:gd name="connsiteX7" fmla="*/ 386583 w 387707"/>
                <a:gd name="connsiteY7" fmla="*/ 0 h 187925"/>
                <a:gd name="connsiteX8" fmla="*/ 1124 w 387707"/>
                <a:gd name="connsiteY8" fmla="*/ 184426 h 18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707" h="187925">
                  <a:moveTo>
                    <a:pt x="0" y="184801"/>
                  </a:moveTo>
                  <a:lnTo>
                    <a:pt x="0" y="184801"/>
                  </a:lnTo>
                  <a:cubicBezTo>
                    <a:pt x="0" y="184801"/>
                    <a:pt x="0" y="184801"/>
                    <a:pt x="750" y="184801"/>
                  </a:cubicBezTo>
                  <a:cubicBezTo>
                    <a:pt x="1712" y="184864"/>
                    <a:pt x="2437" y="185701"/>
                    <a:pt x="2374" y="186663"/>
                  </a:cubicBezTo>
                  <a:cubicBezTo>
                    <a:pt x="2374" y="186676"/>
                    <a:pt x="2374" y="186676"/>
                    <a:pt x="2374" y="186676"/>
                  </a:cubicBezTo>
                  <a:lnTo>
                    <a:pt x="2374" y="187925"/>
                  </a:lnTo>
                  <a:lnTo>
                    <a:pt x="387707" y="3624"/>
                  </a:lnTo>
                  <a:cubicBezTo>
                    <a:pt x="387183" y="2462"/>
                    <a:pt x="386808" y="1249"/>
                    <a:pt x="386583" y="0"/>
                  </a:cubicBezTo>
                  <a:lnTo>
                    <a:pt x="1124" y="184426"/>
                  </a:lnTo>
                  <a:close/>
                </a:path>
              </a:pathLst>
            </a:custGeom>
            <a:solidFill>
              <a:srgbClr val="000000"/>
            </a:solidFill>
            <a:ln w="12483" cap="flat">
              <a:noFill/>
              <a:prstDash val="solid"/>
              <a:miter/>
            </a:ln>
          </p:spPr>
          <p:txBody>
            <a:bodyPr rtlCol="0" anchor="ctr"/>
            <a:lstStyle/>
            <a:p>
              <a:endParaRPr lang="en-US"/>
            </a:p>
          </p:txBody>
        </p:sp>
        <p:sp>
          <p:nvSpPr>
            <p:cNvPr id="1596" name="Freeform: Shape 1595">
              <a:extLst>
                <a:ext uri="{FF2B5EF4-FFF2-40B4-BE49-F238E27FC236}">
                  <a16:creationId xmlns:a16="http://schemas.microsoft.com/office/drawing/2014/main" id="{591975EC-F9E6-4AC0-A421-29B4F63D48CA}"/>
                </a:ext>
              </a:extLst>
            </p:cNvPr>
            <p:cNvSpPr/>
            <p:nvPr/>
          </p:nvSpPr>
          <p:spPr>
            <a:xfrm>
              <a:off x="10282088" y="1790293"/>
              <a:ext cx="4497" cy="446072"/>
            </a:xfrm>
            <a:custGeom>
              <a:avLst/>
              <a:gdLst>
                <a:gd name="connsiteX0" fmla="*/ 3124 w 4497"/>
                <a:gd name="connsiteY0" fmla="*/ 445322 h 446072"/>
                <a:gd name="connsiteX1" fmla="*/ 3124 w 4497"/>
                <a:gd name="connsiteY1" fmla="*/ 445322 h 446072"/>
                <a:gd name="connsiteX2" fmla="*/ 3124 w 4497"/>
                <a:gd name="connsiteY2" fmla="*/ 445322 h 446072"/>
                <a:gd name="connsiteX3" fmla="*/ 3124 w 4497"/>
                <a:gd name="connsiteY3" fmla="*/ 446072 h 446072"/>
                <a:gd name="connsiteX4" fmla="*/ 3124 w 4497"/>
                <a:gd name="connsiteY4" fmla="*/ 446072 h 446072"/>
                <a:gd name="connsiteX5" fmla="*/ 3124 w 4497"/>
                <a:gd name="connsiteY5" fmla="*/ 446072 h 446072"/>
                <a:gd name="connsiteX6" fmla="*/ 3124 w 4497"/>
                <a:gd name="connsiteY6" fmla="*/ 445322 h 446072"/>
                <a:gd name="connsiteX7" fmla="*/ 4498 w 4497"/>
                <a:gd name="connsiteY7" fmla="*/ 6123 h 446072"/>
                <a:gd name="connsiteX8" fmla="*/ 4498 w 4497"/>
                <a:gd name="connsiteY8" fmla="*/ 1874 h 446072"/>
                <a:gd name="connsiteX9" fmla="*/ 2999 w 4497"/>
                <a:gd name="connsiteY9" fmla="*/ 0 h 446072"/>
                <a:gd name="connsiteX10" fmla="*/ 1374 w 4497"/>
                <a:gd name="connsiteY10" fmla="*/ 1874 h 446072"/>
                <a:gd name="connsiteX11" fmla="*/ 0 w 4497"/>
                <a:gd name="connsiteY11" fmla="*/ 441699 h 446072"/>
                <a:gd name="connsiteX12" fmla="*/ 2624 w 4497"/>
                <a:gd name="connsiteY12" fmla="*/ 444698 h 446072"/>
                <a:gd name="connsiteX13" fmla="*/ 3124 w 4497"/>
                <a:gd name="connsiteY13" fmla="*/ 445322 h 4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97" h="446072">
                  <a:moveTo>
                    <a:pt x="3124" y="445322"/>
                  </a:moveTo>
                  <a:cubicBezTo>
                    <a:pt x="3124" y="445322"/>
                    <a:pt x="3124" y="445322"/>
                    <a:pt x="3124" y="445322"/>
                  </a:cubicBezTo>
                  <a:cubicBezTo>
                    <a:pt x="3124" y="445322"/>
                    <a:pt x="3124" y="445322"/>
                    <a:pt x="3124" y="445322"/>
                  </a:cubicBezTo>
                  <a:cubicBezTo>
                    <a:pt x="3261" y="445560"/>
                    <a:pt x="3261" y="445835"/>
                    <a:pt x="3124" y="446072"/>
                  </a:cubicBezTo>
                  <a:lnTo>
                    <a:pt x="3124" y="446072"/>
                  </a:lnTo>
                  <a:cubicBezTo>
                    <a:pt x="3124" y="446072"/>
                    <a:pt x="3124" y="446072"/>
                    <a:pt x="3124" y="446072"/>
                  </a:cubicBezTo>
                  <a:lnTo>
                    <a:pt x="3124" y="445322"/>
                  </a:lnTo>
                  <a:lnTo>
                    <a:pt x="4498" y="6123"/>
                  </a:lnTo>
                  <a:lnTo>
                    <a:pt x="4498" y="1874"/>
                  </a:lnTo>
                  <a:cubicBezTo>
                    <a:pt x="4498" y="750"/>
                    <a:pt x="3873" y="0"/>
                    <a:pt x="2999" y="0"/>
                  </a:cubicBezTo>
                  <a:cubicBezTo>
                    <a:pt x="2124" y="0"/>
                    <a:pt x="1374" y="750"/>
                    <a:pt x="1374" y="1874"/>
                  </a:cubicBezTo>
                  <a:lnTo>
                    <a:pt x="0" y="441699"/>
                  </a:lnTo>
                  <a:lnTo>
                    <a:pt x="2624" y="444698"/>
                  </a:lnTo>
                  <a:lnTo>
                    <a:pt x="3124" y="445322"/>
                  </a:lnTo>
                  <a:close/>
                </a:path>
              </a:pathLst>
            </a:custGeom>
            <a:solidFill>
              <a:srgbClr val="000000"/>
            </a:solidFill>
            <a:ln w="12483" cap="flat">
              <a:noFill/>
              <a:prstDash val="solid"/>
              <a:miter/>
            </a:ln>
          </p:spPr>
          <p:txBody>
            <a:bodyPr rtlCol="0" anchor="ctr"/>
            <a:lstStyle/>
            <a:p>
              <a:endParaRPr lang="en-US"/>
            </a:p>
          </p:txBody>
        </p:sp>
        <p:sp>
          <p:nvSpPr>
            <p:cNvPr id="1597" name="Freeform: Shape 1596">
              <a:extLst>
                <a:ext uri="{FF2B5EF4-FFF2-40B4-BE49-F238E27FC236}">
                  <a16:creationId xmlns:a16="http://schemas.microsoft.com/office/drawing/2014/main" id="{846DCB70-6004-4F75-B514-88126CB4D0FD}"/>
                </a:ext>
              </a:extLst>
            </p:cNvPr>
            <p:cNvSpPr/>
            <p:nvPr/>
          </p:nvSpPr>
          <p:spPr>
            <a:xfrm>
              <a:off x="10285211" y="2237989"/>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endParaRPr lang="en-US"/>
            </a:p>
          </p:txBody>
        </p:sp>
        <p:sp>
          <p:nvSpPr>
            <p:cNvPr id="1598" name="Freeform: Shape 1597">
              <a:extLst>
                <a:ext uri="{FF2B5EF4-FFF2-40B4-BE49-F238E27FC236}">
                  <a16:creationId xmlns:a16="http://schemas.microsoft.com/office/drawing/2014/main" id="{4F80443A-A9E2-4B98-BA76-5E6615BADB32}"/>
                </a:ext>
              </a:extLst>
            </p:cNvPr>
            <p:cNvSpPr/>
            <p:nvPr/>
          </p:nvSpPr>
          <p:spPr>
            <a:xfrm>
              <a:off x="9226544" y="2278348"/>
              <a:ext cx="526647" cy="257772"/>
            </a:xfrm>
            <a:custGeom>
              <a:avLst/>
              <a:gdLst>
                <a:gd name="connsiteX0" fmla="*/ 0 w 526647"/>
                <a:gd name="connsiteY0" fmla="*/ 257772 h 257772"/>
                <a:gd name="connsiteX1" fmla="*/ 526647 w 526647"/>
                <a:gd name="connsiteY1" fmla="*/ 2249 h 257772"/>
                <a:gd name="connsiteX2" fmla="*/ 525773 w 526647"/>
                <a:gd name="connsiteY2" fmla="*/ 0 h 257772"/>
                <a:gd name="connsiteX3" fmla="*/ 0 w 526647"/>
                <a:gd name="connsiteY3" fmla="*/ 255148 h 257772"/>
                <a:gd name="connsiteX4" fmla="*/ 0 w 526647"/>
                <a:gd name="connsiteY4" fmla="*/ 255898 h 257772"/>
                <a:gd name="connsiteX5" fmla="*/ 0 w 526647"/>
                <a:gd name="connsiteY5" fmla="*/ 257772 h 25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647" h="257772">
                  <a:moveTo>
                    <a:pt x="0" y="257772"/>
                  </a:moveTo>
                  <a:lnTo>
                    <a:pt x="526647" y="2249"/>
                  </a:lnTo>
                  <a:cubicBezTo>
                    <a:pt x="526248" y="1549"/>
                    <a:pt x="525960" y="787"/>
                    <a:pt x="525773" y="0"/>
                  </a:cubicBezTo>
                  <a:lnTo>
                    <a:pt x="0" y="255148"/>
                  </a:lnTo>
                  <a:lnTo>
                    <a:pt x="0" y="255898"/>
                  </a:lnTo>
                  <a:cubicBezTo>
                    <a:pt x="125" y="256523"/>
                    <a:pt x="125" y="257147"/>
                    <a:pt x="0" y="257772"/>
                  </a:cubicBezTo>
                  <a:close/>
                </a:path>
              </a:pathLst>
            </a:custGeom>
            <a:solidFill>
              <a:srgbClr val="000000"/>
            </a:solidFill>
            <a:ln w="12483" cap="flat">
              <a:noFill/>
              <a:prstDash val="solid"/>
              <a:miter/>
            </a:ln>
          </p:spPr>
          <p:txBody>
            <a:bodyPr rtlCol="0" anchor="ctr"/>
            <a:lstStyle/>
            <a:p>
              <a:endParaRPr lang="en-US"/>
            </a:p>
          </p:txBody>
        </p:sp>
        <p:sp>
          <p:nvSpPr>
            <p:cNvPr id="1599" name="Freeform: Shape 1598">
              <a:extLst>
                <a:ext uri="{FF2B5EF4-FFF2-40B4-BE49-F238E27FC236}">
                  <a16:creationId xmlns:a16="http://schemas.microsoft.com/office/drawing/2014/main" id="{7B12D4F6-C09D-4B0B-8306-0E0EC8FEF67A}"/>
                </a:ext>
              </a:extLst>
            </p:cNvPr>
            <p:cNvSpPr/>
            <p:nvPr/>
          </p:nvSpPr>
          <p:spPr>
            <a:xfrm>
              <a:off x="9766310" y="2281347"/>
              <a:ext cx="44480" cy="54103"/>
            </a:xfrm>
            <a:custGeom>
              <a:avLst/>
              <a:gdLst>
                <a:gd name="connsiteX0" fmla="*/ 43981 w 44480"/>
                <a:gd name="connsiteY0" fmla="*/ 52729 h 54103"/>
                <a:gd name="connsiteX1" fmla="*/ 43981 w 44480"/>
                <a:gd name="connsiteY1" fmla="*/ 52729 h 54103"/>
                <a:gd name="connsiteX2" fmla="*/ 43981 w 44480"/>
                <a:gd name="connsiteY2" fmla="*/ 52729 h 54103"/>
                <a:gd name="connsiteX3" fmla="*/ 43981 w 44480"/>
                <a:gd name="connsiteY3" fmla="*/ 48106 h 54103"/>
                <a:gd name="connsiteX4" fmla="*/ 2249 w 44480"/>
                <a:gd name="connsiteY4" fmla="*/ 0 h 54103"/>
                <a:gd name="connsiteX5" fmla="*/ 0 w 44480"/>
                <a:gd name="connsiteY5" fmla="*/ 2749 h 54103"/>
                <a:gd name="connsiteX6" fmla="*/ 44481 w 44480"/>
                <a:gd name="connsiteY6" fmla="*/ 54103 h 54103"/>
                <a:gd name="connsiteX7" fmla="*/ 44481 w 44480"/>
                <a:gd name="connsiteY7" fmla="*/ 54103 h 54103"/>
                <a:gd name="connsiteX8" fmla="*/ 43981 w 44480"/>
                <a:gd name="connsiteY8" fmla="*/ 52729 h 5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0" h="54103">
                  <a:moveTo>
                    <a:pt x="43981" y="52729"/>
                  </a:moveTo>
                  <a:lnTo>
                    <a:pt x="43981" y="52729"/>
                  </a:lnTo>
                  <a:cubicBezTo>
                    <a:pt x="43981" y="52729"/>
                    <a:pt x="43981" y="52729"/>
                    <a:pt x="43981" y="52729"/>
                  </a:cubicBezTo>
                  <a:lnTo>
                    <a:pt x="43981" y="48106"/>
                  </a:lnTo>
                  <a:lnTo>
                    <a:pt x="2249" y="0"/>
                  </a:lnTo>
                  <a:cubicBezTo>
                    <a:pt x="1674" y="1050"/>
                    <a:pt x="912" y="1974"/>
                    <a:pt x="0" y="2749"/>
                  </a:cubicBezTo>
                  <a:lnTo>
                    <a:pt x="44481" y="54103"/>
                  </a:lnTo>
                  <a:lnTo>
                    <a:pt x="44481" y="54103"/>
                  </a:lnTo>
                  <a:cubicBezTo>
                    <a:pt x="44481" y="54103"/>
                    <a:pt x="44106" y="52854"/>
                    <a:pt x="43981" y="52729"/>
                  </a:cubicBezTo>
                  <a:close/>
                </a:path>
              </a:pathLst>
            </a:custGeom>
            <a:solidFill>
              <a:srgbClr val="000000"/>
            </a:solidFill>
            <a:ln w="12483" cap="flat">
              <a:noFill/>
              <a:prstDash val="solid"/>
              <a:miter/>
            </a:ln>
          </p:spPr>
          <p:txBody>
            <a:bodyPr rtlCol="0" anchor="ctr"/>
            <a:lstStyle/>
            <a:p>
              <a:endParaRPr lang="en-US"/>
            </a:p>
          </p:txBody>
        </p:sp>
        <p:sp>
          <p:nvSpPr>
            <p:cNvPr id="1600" name="Freeform: Shape 1599">
              <a:extLst>
                <a:ext uri="{FF2B5EF4-FFF2-40B4-BE49-F238E27FC236}">
                  <a16:creationId xmlns:a16="http://schemas.microsoft.com/office/drawing/2014/main" id="{5FF8A9EC-99AD-4B13-98A0-CE55839DB714}"/>
                </a:ext>
              </a:extLst>
            </p:cNvPr>
            <p:cNvSpPr/>
            <p:nvPr/>
          </p:nvSpPr>
          <p:spPr>
            <a:xfrm>
              <a:off x="9812540" y="2143027"/>
              <a:ext cx="387332" cy="192173"/>
            </a:xfrm>
            <a:custGeom>
              <a:avLst/>
              <a:gdLst>
                <a:gd name="connsiteX0" fmla="*/ 1250 w 387332"/>
                <a:gd name="connsiteY0" fmla="*/ 190299 h 192173"/>
                <a:gd name="connsiteX1" fmla="*/ 0 w 387332"/>
                <a:gd name="connsiteY1" fmla="*/ 192173 h 192173"/>
                <a:gd name="connsiteX2" fmla="*/ 0 w 387332"/>
                <a:gd name="connsiteY2" fmla="*/ 192173 h 192173"/>
                <a:gd name="connsiteX3" fmla="*/ 387333 w 387332"/>
                <a:gd name="connsiteY3" fmla="*/ 3124 h 192173"/>
                <a:gd name="connsiteX4" fmla="*/ 386583 w 387332"/>
                <a:gd name="connsiteY4" fmla="*/ 2249 h 192173"/>
                <a:gd name="connsiteX5" fmla="*/ 386583 w 387332"/>
                <a:gd name="connsiteY5" fmla="*/ 2249 h 192173"/>
                <a:gd name="connsiteX6" fmla="*/ 386583 w 387332"/>
                <a:gd name="connsiteY6" fmla="*/ 1374 h 192173"/>
                <a:gd name="connsiteX7" fmla="*/ 386583 w 387332"/>
                <a:gd name="connsiteY7" fmla="*/ 1374 h 192173"/>
                <a:gd name="connsiteX8" fmla="*/ 386583 w 387332"/>
                <a:gd name="connsiteY8" fmla="*/ 0 h 192173"/>
                <a:gd name="connsiteX9" fmla="*/ 1250 w 387332"/>
                <a:gd name="connsiteY9" fmla="*/ 187550 h 1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332" h="192173">
                  <a:moveTo>
                    <a:pt x="1250" y="190299"/>
                  </a:moveTo>
                  <a:cubicBezTo>
                    <a:pt x="1262" y="191124"/>
                    <a:pt x="762" y="191861"/>
                    <a:pt x="0" y="192173"/>
                  </a:cubicBezTo>
                  <a:lnTo>
                    <a:pt x="0" y="192173"/>
                  </a:lnTo>
                  <a:lnTo>
                    <a:pt x="387333" y="3124"/>
                  </a:lnTo>
                  <a:lnTo>
                    <a:pt x="386583" y="2249"/>
                  </a:lnTo>
                  <a:lnTo>
                    <a:pt x="386583" y="2249"/>
                  </a:lnTo>
                  <a:cubicBezTo>
                    <a:pt x="386508" y="1962"/>
                    <a:pt x="386508" y="1662"/>
                    <a:pt x="386583" y="1374"/>
                  </a:cubicBezTo>
                  <a:lnTo>
                    <a:pt x="386583" y="1374"/>
                  </a:lnTo>
                  <a:lnTo>
                    <a:pt x="386583" y="0"/>
                  </a:lnTo>
                  <a:lnTo>
                    <a:pt x="1250" y="187550"/>
                  </a:lnTo>
                  <a:close/>
                </a:path>
              </a:pathLst>
            </a:custGeom>
            <a:solidFill>
              <a:srgbClr val="000000"/>
            </a:solidFill>
            <a:ln w="12483" cap="flat">
              <a:noFill/>
              <a:prstDash val="solid"/>
              <a:miter/>
            </a:ln>
          </p:spPr>
          <p:txBody>
            <a:bodyPr rtlCol="0" anchor="ctr"/>
            <a:lstStyle/>
            <a:p>
              <a:endParaRPr lang="en-US"/>
            </a:p>
          </p:txBody>
        </p:sp>
        <p:sp>
          <p:nvSpPr>
            <p:cNvPr id="1601" name="Freeform: Shape 1600">
              <a:extLst>
                <a:ext uri="{FF2B5EF4-FFF2-40B4-BE49-F238E27FC236}">
                  <a16:creationId xmlns:a16="http://schemas.microsoft.com/office/drawing/2014/main" id="{828ABF4A-B9D9-4D3F-8DE9-C9C6E3F79F7B}"/>
                </a:ext>
              </a:extLst>
            </p:cNvPr>
            <p:cNvSpPr/>
            <p:nvPr/>
          </p:nvSpPr>
          <p:spPr>
            <a:xfrm>
              <a:off x="9810541" y="2333701"/>
              <a:ext cx="12494" cy="749"/>
            </a:xfrm>
            <a:custGeom>
              <a:avLst/>
              <a:gdLst>
                <a:gd name="connsiteX0" fmla="*/ 0 w 12494"/>
                <a:gd name="connsiteY0" fmla="*/ 750 h 749"/>
                <a:gd name="connsiteX1" fmla="*/ 0 w 12494"/>
                <a:gd name="connsiteY1" fmla="*/ 0 h 749"/>
                <a:gd name="connsiteX2" fmla="*/ 0 w 12494"/>
                <a:gd name="connsiteY2" fmla="*/ 0 h 749"/>
                <a:gd name="connsiteX3" fmla="*/ 0 w 12494"/>
                <a:gd name="connsiteY3" fmla="*/ 750 h 749"/>
              </a:gdLst>
              <a:ahLst/>
              <a:cxnLst>
                <a:cxn ang="0">
                  <a:pos x="connsiteX0" y="connsiteY0"/>
                </a:cxn>
                <a:cxn ang="0">
                  <a:pos x="connsiteX1" y="connsiteY1"/>
                </a:cxn>
                <a:cxn ang="0">
                  <a:pos x="connsiteX2" y="connsiteY2"/>
                </a:cxn>
                <a:cxn ang="0">
                  <a:pos x="connsiteX3" y="connsiteY3"/>
                </a:cxn>
              </a:cxnLst>
              <a:rect l="l" t="t" r="r" b="b"/>
              <a:pathLst>
                <a:path w="12494" h="749">
                  <a:moveTo>
                    <a:pt x="0" y="750"/>
                  </a:moveTo>
                  <a:cubicBezTo>
                    <a:pt x="0" y="750"/>
                    <a:pt x="0" y="750"/>
                    <a:pt x="0" y="0"/>
                  </a:cubicBezTo>
                  <a:lnTo>
                    <a:pt x="0" y="0"/>
                  </a:lnTo>
                  <a:cubicBezTo>
                    <a:pt x="0" y="0"/>
                    <a:pt x="0" y="625"/>
                    <a:pt x="0" y="750"/>
                  </a:cubicBezTo>
                  <a:close/>
                </a:path>
              </a:pathLst>
            </a:custGeom>
            <a:solidFill>
              <a:srgbClr val="000000"/>
            </a:solidFill>
            <a:ln w="12483" cap="flat">
              <a:noFill/>
              <a:prstDash val="solid"/>
              <a:miter/>
            </a:ln>
          </p:spPr>
          <p:txBody>
            <a:bodyPr rtlCol="0" anchor="ctr"/>
            <a:lstStyle/>
            <a:p>
              <a:endParaRPr lang="en-US"/>
            </a:p>
          </p:txBody>
        </p:sp>
        <p:sp>
          <p:nvSpPr>
            <p:cNvPr id="1602" name="Freeform: Shape 1601">
              <a:extLst>
                <a:ext uri="{FF2B5EF4-FFF2-40B4-BE49-F238E27FC236}">
                  <a16:creationId xmlns:a16="http://schemas.microsoft.com/office/drawing/2014/main" id="{8960EF15-692E-47B0-A781-02BD9D4E32ED}"/>
                </a:ext>
              </a:extLst>
            </p:cNvPr>
            <p:cNvSpPr/>
            <p:nvPr/>
          </p:nvSpPr>
          <p:spPr>
            <a:xfrm>
              <a:off x="9348866" y="2236490"/>
              <a:ext cx="935470" cy="461400"/>
            </a:xfrm>
            <a:custGeom>
              <a:avLst/>
              <a:gdLst>
                <a:gd name="connsiteX0" fmla="*/ 874 w 935470"/>
                <a:gd name="connsiteY0" fmla="*/ 458567 h 461400"/>
                <a:gd name="connsiteX1" fmla="*/ 874 w 935470"/>
                <a:gd name="connsiteY1" fmla="*/ 461316 h 461400"/>
                <a:gd name="connsiteX2" fmla="*/ 0 w 935470"/>
                <a:gd name="connsiteY2" fmla="*/ 461316 h 461400"/>
                <a:gd name="connsiteX3" fmla="*/ 0 w 935470"/>
                <a:gd name="connsiteY3" fmla="*/ 461316 h 461400"/>
                <a:gd name="connsiteX4" fmla="*/ 999 w 935470"/>
                <a:gd name="connsiteY4" fmla="*/ 461316 h 461400"/>
                <a:gd name="connsiteX5" fmla="*/ 933222 w 935470"/>
                <a:gd name="connsiteY5" fmla="*/ 3124 h 461400"/>
                <a:gd name="connsiteX6" fmla="*/ 935471 w 935470"/>
                <a:gd name="connsiteY6" fmla="*/ 2124 h 461400"/>
                <a:gd name="connsiteX7" fmla="*/ 935471 w 935470"/>
                <a:gd name="connsiteY7" fmla="*/ 2124 h 461400"/>
                <a:gd name="connsiteX8" fmla="*/ 935471 w 935470"/>
                <a:gd name="connsiteY8" fmla="*/ 2124 h 461400"/>
                <a:gd name="connsiteX9" fmla="*/ 933709 w 935470"/>
                <a:gd name="connsiteY9" fmla="*/ 2237 h 461400"/>
                <a:gd name="connsiteX10" fmla="*/ 933597 w 935470"/>
                <a:gd name="connsiteY10" fmla="*/ 2124 h 461400"/>
                <a:gd name="connsiteX11" fmla="*/ 931722 w 935470"/>
                <a:gd name="connsiteY11" fmla="*/ 0 h 461400"/>
                <a:gd name="connsiteX12" fmla="*/ 125 w 935470"/>
                <a:gd name="connsiteY12" fmla="*/ 457318 h 46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470" h="461400">
                  <a:moveTo>
                    <a:pt x="874" y="458567"/>
                  </a:moveTo>
                  <a:cubicBezTo>
                    <a:pt x="1499" y="459379"/>
                    <a:pt x="1499" y="460504"/>
                    <a:pt x="874" y="461316"/>
                  </a:cubicBezTo>
                  <a:cubicBezTo>
                    <a:pt x="600" y="461429"/>
                    <a:pt x="275" y="461429"/>
                    <a:pt x="0" y="461316"/>
                  </a:cubicBezTo>
                  <a:cubicBezTo>
                    <a:pt x="0" y="461316"/>
                    <a:pt x="0" y="461316"/>
                    <a:pt x="0" y="461316"/>
                  </a:cubicBezTo>
                  <a:lnTo>
                    <a:pt x="999" y="461316"/>
                  </a:lnTo>
                  <a:lnTo>
                    <a:pt x="933222" y="3124"/>
                  </a:lnTo>
                  <a:lnTo>
                    <a:pt x="935471" y="2124"/>
                  </a:lnTo>
                  <a:lnTo>
                    <a:pt x="935471" y="2124"/>
                  </a:lnTo>
                  <a:lnTo>
                    <a:pt x="935471" y="2124"/>
                  </a:lnTo>
                  <a:cubicBezTo>
                    <a:pt x="935008" y="2636"/>
                    <a:pt x="934221" y="2687"/>
                    <a:pt x="933709" y="2237"/>
                  </a:cubicBezTo>
                  <a:cubicBezTo>
                    <a:pt x="933671" y="2199"/>
                    <a:pt x="933634" y="2162"/>
                    <a:pt x="933597" y="2124"/>
                  </a:cubicBezTo>
                  <a:lnTo>
                    <a:pt x="931722" y="0"/>
                  </a:lnTo>
                  <a:lnTo>
                    <a:pt x="125" y="457318"/>
                  </a:lnTo>
                  <a:close/>
                </a:path>
              </a:pathLst>
            </a:custGeom>
            <a:solidFill>
              <a:srgbClr val="000000"/>
            </a:solidFill>
            <a:ln w="12483" cap="flat">
              <a:noFill/>
              <a:prstDash val="solid"/>
              <a:miter/>
            </a:ln>
          </p:spPr>
          <p:txBody>
            <a:bodyPr rtlCol="0" anchor="ctr"/>
            <a:lstStyle/>
            <a:p>
              <a:endParaRPr lang="en-US"/>
            </a:p>
          </p:txBody>
        </p:sp>
        <p:sp>
          <p:nvSpPr>
            <p:cNvPr id="1603" name="Freeform: Shape 1602">
              <a:extLst>
                <a:ext uri="{FF2B5EF4-FFF2-40B4-BE49-F238E27FC236}">
                  <a16:creationId xmlns:a16="http://schemas.microsoft.com/office/drawing/2014/main" id="{DB97B63A-4249-44C2-959F-A8D1F7F1AA99}"/>
                </a:ext>
              </a:extLst>
            </p:cNvPr>
            <p:cNvSpPr/>
            <p:nvPr/>
          </p:nvSpPr>
          <p:spPr>
            <a:xfrm>
              <a:off x="10285211" y="2235615"/>
              <a:ext cx="55" cy="55"/>
            </a:xfrm>
            <a:custGeom>
              <a:avLst/>
              <a:gdLst>
                <a:gd name="connsiteX0" fmla="*/ 0 w 55"/>
                <a:gd name="connsiteY0" fmla="*/ 0 h 55"/>
                <a:gd name="connsiteX1" fmla="*/ 0 w 55"/>
                <a:gd name="connsiteY1" fmla="*/ 0 h 55"/>
                <a:gd name="connsiteX2" fmla="*/ 0 w 55"/>
                <a:gd name="connsiteY2" fmla="*/ 0 h 55"/>
                <a:gd name="connsiteX3" fmla="*/ 0 w 55"/>
                <a:gd name="connsiteY3" fmla="*/ 0 h 55"/>
              </a:gdLst>
              <a:ahLst/>
              <a:cxnLst>
                <a:cxn ang="0">
                  <a:pos x="connsiteX0" y="connsiteY0"/>
                </a:cxn>
                <a:cxn ang="0">
                  <a:pos x="connsiteX1" y="connsiteY1"/>
                </a:cxn>
                <a:cxn ang="0">
                  <a:pos x="connsiteX2" y="connsiteY2"/>
                </a:cxn>
                <a:cxn ang="0">
                  <a:pos x="connsiteX3" y="connsiteY3"/>
                </a:cxn>
              </a:cxnLst>
              <a:rect l="l" t="t" r="r" b="b"/>
              <a:pathLst>
                <a:path w="55" h="55">
                  <a:moveTo>
                    <a:pt x="0" y="0"/>
                  </a:moveTo>
                  <a:cubicBezTo>
                    <a:pt x="0" y="0"/>
                    <a:pt x="0" y="0"/>
                    <a:pt x="0" y="0"/>
                  </a:cubicBezTo>
                  <a:cubicBezTo>
                    <a:pt x="0" y="0"/>
                    <a:pt x="0" y="0"/>
                    <a:pt x="0" y="0"/>
                  </a:cubicBezTo>
                  <a:cubicBezTo>
                    <a:pt x="0" y="0"/>
                    <a:pt x="125" y="125"/>
                    <a:pt x="0" y="0"/>
                  </a:cubicBezTo>
                  <a:close/>
                </a:path>
              </a:pathLst>
            </a:custGeom>
            <a:solidFill>
              <a:srgbClr val="000000"/>
            </a:solidFill>
            <a:ln w="12483" cap="flat">
              <a:noFill/>
              <a:prstDash val="solid"/>
              <a:miter/>
            </a:ln>
          </p:spPr>
          <p:txBody>
            <a:bodyPr rtlCol="0" anchor="ctr"/>
            <a:lstStyle/>
            <a:p>
              <a:endParaRPr lang="en-US"/>
            </a:p>
          </p:txBody>
        </p:sp>
        <p:sp>
          <p:nvSpPr>
            <p:cNvPr id="1604" name="Freeform: Shape 1603">
              <a:extLst>
                <a:ext uri="{FF2B5EF4-FFF2-40B4-BE49-F238E27FC236}">
                  <a16:creationId xmlns:a16="http://schemas.microsoft.com/office/drawing/2014/main" id="{50FFE7CB-0123-4986-B81C-FD098EEB6284}"/>
                </a:ext>
              </a:extLst>
            </p:cNvPr>
            <p:cNvSpPr/>
            <p:nvPr/>
          </p:nvSpPr>
          <p:spPr>
            <a:xfrm>
              <a:off x="10285461" y="2236990"/>
              <a:ext cx="56" cy="624"/>
            </a:xfrm>
            <a:custGeom>
              <a:avLst/>
              <a:gdLst>
                <a:gd name="connsiteX0" fmla="*/ 0 w 56"/>
                <a:gd name="connsiteY0" fmla="*/ 0 h 624"/>
                <a:gd name="connsiteX1" fmla="*/ 0 w 56"/>
                <a:gd name="connsiteY1" fmla="*/ 625 h 624"/>
                <a:gd name="connsiteX2" fmla="*/ 0 w 56"/>
                <a:gd name="connsiteY2" fmla="*/ 0 h 624"/>
              </a:gdLst>
              <a:ahLst/>
              <a:cxnLst>
                <a:cxn ang="0">
                  <a:pos x="connsiteX0" y="connsiteY0"/>
                </a:cxn>
                <a:cxn ang="0">
                  <a:pos x="connsiteX1" y="connsiteY1"/>
                </a:cxn>
                <a:cxn ang="0">
                  <a:pos x="connsiteX2" y="connsiteY2"/>
                </a:cxn>
              </a:cxnLst>
              <a:rect l="l" t="t" r="r" b="b"/>
              <a:pathLst>
                <a:path w="56" h="624">
                  <a:moveTo>
                    <a:pt x="0" y="0"/>
                  </a:moveTo>
                  <a:cubicBezTo>
                    <a:pt x="75" y="200"/>
                    <a:pt x="75" y="425"/>
                    <a:pt x="0" y="625"/>
                  </a:cubicBezTo>
                  <a:cubicBezTo>
                    <a:pt x="75" y="425"/>
                    <a:pt x="75" y="200"/>
                    <a:pt x="0" y="0"/>
                  </a:cubicBezTo>
                  <a:close/>
                </a:path>
              </a:pathLst>
            </a:custGeom>
            <a:solidFill>
              <a:srgbClr val="000000"/>
            </a:solidFill>
            <a:ln w="12483" cap="flat">
              <a:noFill/>
              <a:prstDash val="solid"/>
              <a:miter/>
            </a:ln>
          </p:spPr>
          <p:txBody>
            <a:bodyPr rtlCol="0" anchor="ctr"/>
            <a:lstStyle/>
            <a:p>
              <a:endParaRPr lang="en-US"/>
            </a:p>
          </p:txBody>
        </p:sp>
        <p:sp>
          <p:nvSpPr>
            <p:cNvPr id="1605" name="Freeform: Shape 1604">
              <a:extLst>
                <a:ext uri="{FF2B5EF4-FFF2-40B4-BE49-F238E27FC236}">
                  <a16:creationId xmlns:a16="http://schemas.microsoft.com/office/drawing/2014/main" id="{C8A2A75C-B70E-4412-8D1F-B537A57E007B}"/>
                </a:ext>
              </a:extLst>
            </p:cNvPr>
            <p:cNvSpPr/>
            <p:nvPr/>
          </p:nvSpPr>
          <p:spPr>
            <a:xfrm>
              <a:off x="9802649" y="2007706"/>
              <a:ext cx="9516" cy="325994"/>
            </a:xfrm>
            <a:custGeom>
              <a:avLst/>
              <a:gdLst>
                <a:gd name="connsiteX0" fmla="*/ 1770 w 9516"/>
                <a:gd name="connsiteY0" fmla="*/ 2999 h 325994"/>
                <a:gd name="connsiteX1" fmla="*/ 1770 w 9516"/>
                <a:gd name="connsiteY1" fmla="*/ 3749 h 325994"/>
                <a:gd name="connsiteX2" fmla="*/ 7643 w 9516"/>
                <a:gd name="connsiteY2" fmla="*/ 320622 h 325994"/>
                <a:gd name="connsiteX3" fmla="*/ 7643 w 9516"/>
                <a:gd name="connsiteY3" fmla="*/ 325245 h 325994"/>
                <a:gd name="connsiteX4" fmla="*/ 7643 w 9516"/>
                <a:gd name="connsiteY4" fmla="*/ 325245 h 325994"/>
                <a:gd name="connsiteX5" fmla="*/ 7643 w 9516"/>
                <a:gd name="connsiteY5" fmla="*/ 325995 h 325994"/>
                <a:gd name="connsiteX6" fmla="*/ 7643 w 9516"/>
                <a:gd name="connsiteY6" fmla="*/ 325995 h 325994"/>
                <a:gd name="connsiteX7" fmla="*/ 7643 w 9516"/>
                <a:gd name="connsiteY7" fmla="*/ 325995 h 325994"/>
                <a:gd name="connsiteX8" fmla="*/ 7643 w 9516"/>
                <a:gd name="connsiteY8" fmla="*/ 325995 h 325994"/>
                <a:gd name="connsiteX9" fmla="*/ 8267 w 9516"/>
                <a:gd name="connsiteY9" fmla="*/ 325995 h 325994"/>
                <a:gd name="connsiteX10" fmla="*/ 9517 w 9516"/>
                <a:gd name="connsiteY10" fmla="*/ 324121 h 325994"/>
                <a:gd name="connsiteX11" fmla="*/ 9517 w 9516"/>
                <a:gd name="connsiteY11" fmla="*/ 321372 h 325994"/>
                <a:gd name="connsiteX12" fmla="*/ 3644 w 9516"/>
                <a:gd name="connsiteY12" fmla="*/ 3124 h 325994"/>
                <a:gd name="connsiteX13" fmla="*/ 3644 w 9516"/>
                <a:gd name="connsiteY13" fmla="*/ 1874 h 325994"/>
                <a:gd name="connsiteX14" fmla="*/ 2032 w 9516"/>
                <a:gd name="connsiteY14" fmla="*/ 0 h 325994"/>
                <a:gd name="connsiteX15" fmla="*/ 2020 w 9516"/>
                <a:gd name="connsiteY15" fmla="*/ 0 h 325994"/>
                <a:gd name="connsiteX16" fmla="*/ 1270 w 9516"/>
                <a:gd name="connsiteY16" fmla="*/ 0 h 325994"/>
                <a:gd name="connsiteX17" fmla="*/ 21 w 9516"/>
                <a:gd name="connsiteY17" fmla="*/ 1749 h 325994"/>
                <a:gd name="connsiteX18" fmla="*/ 1770 w 9516"/>
                <a:gd name="connsiteY18" fmla="*/ 2999 h 32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16" h="325994">
                  <a:moveTo>
                    <a:pt x="1770" y="2999"/>
                  </a:moveTo>
                  <a:lnTo>
                    <a:pt x="1770" y="3749"/>
                  </a:lnTo>
                  <a:lnTo>
                    <a:pt x="7643" y="320622"/>
                  </a:lnTo>
                  <a:lnTo>
                    <a:pt x="7643" y="325245"/>
                  </a:lnTo>
                  <a:cubicBezTo>
                    <a:pt x="7643" y="325245"/>
                    <a:pt x="7643" y="325245"/>
                    <a:pt x="7643" y="325245"/>
                  </a:cubicBezTo>
                  <a:cubicBezTo>
                    <a:pt x="7643" y="325245"/>
                    <a:pt x="7643" y="325245"/>
                    <a:pt x="7643" y="325995"/>
                  </a:cubicBezTo>
                  <a:lnTo>
                    <a:pt x="7643" y="325995"/>
                  </a:lnTo>
                  <a:lnTo>
                    <a:pt x="7643" y="325995"/>
                  </a:lnTo>
                  <a:lnTo>
                    <a:pt x="7643" y="325995"/>
                  </a:lnTo>
                  <a:lnTo>
                    <a:pt x="8267" y="325995"/>
                  </a:lnTo>
                  <a:cubicBezTo>
                    <a:pt x="9029" y="325683"/>
                    <a:pt x="9529" y="324945"/>
                    <a:pt x="9517" y="324121"/>
                  </a:cubicBezTo>
                  <a:lnTo>
                    <a:pt x="9517" y="321372"/>
                  </a:lnTo>
                  <a:lnTo>
                    <a:pt x="3644" y="3124"/>
                  </a:lnTo>
                  <a:lnTo>
                    <a:pt x="3644" y="1874"/>
                  </a:lnTo>
                  <a:cubicBezTo>
                    <a:pt x="3719" y="912"/>
                    <a:pt x="2994" y="75"/>
                    <a:pt x="2032" y="0"/>
                  </a:cubicBezTo>
                  <a:cubicBezTo>
                    <a:pt x="2020" y="0"/>
                    <a:pt x="2020" y="0"/>
                    <a:pt x="2020" y="0"/>
                  </a:cubicBezTo>
                  <a:cubicBezTo>
                    <a:pt x="2020" y="0"/>
                    <a:pt x="2020" y="0"/>
                    <a:pt x="1270" y="0"/>
                  </a:cubicBezTo>
                  <a:cubicBezTo>
                    <a:pt x="446" y="137"/>
                    <a:pt x="-117" y="925"/>
                    <a:pt x="21" y="1749"/>
                  </a:cubicBezTo>
                  <a:cubicBezTo>
                    <a:pt x="158" y="2574"/>
                    <a:pt x="945" y="3136"/>
                    <a:pt x="1770" y="2999"/>
                  </a:cubicBezTo>
                  <a:close/>
                </a:path>
              </a:pathLst>
            </a:custGeom>
            <a:solidFill>
              <a:srgbClr val="000000"/>
            </a:solidFill>
            <a:ln w="12483" cap="flat">
              <a:noFill/>
              <a:prstDash val="solid"/>
              <a:miter/>
            </a:ln>
          </p:spPr>
          <p:txBody>
            <a:bodyPr rtlCol="0" anchor="ctr"/>
            <a:lstStyle/>
            <a:p>
              <a:endParaRPr lang="en-US"/>
            </a:p>
          </p:txBody>
        </p:sp>
        <p:sp>
          <p:nvSpPr>
            <p:cNvPr id="1606" name="Freeform: Shape 1605">
              <a:extLst>
                <a:ext uri="{FF2B5EF4-FFF2-40B4-BE49-F238E27FC236}">
                  <a16:creationId xmlns:a16="http://schemas.microsoft.com/office/drawing/2014/main" id="{929D811D-5489-486F-BD49-CEEF632F77EF}"/>
                </a:ext>
              </a:extLst>
            </p:cNvPr>
            <p:cNvSpPr/>
            <p:nvPr/>
          </p:nvSpPr>
          <p:spPr>
            <a:xfrm>
              <a:off x="9147952" y="2560111"/>
              <a:ext cx="1874" cy="1499"/>
            </a:xfrm>
            <a:custGeom>
              <a:avLst/>
              <a:gdLst>
                <a:gd name="connsiteX0" fmla="*/ 0 w 1874"/>
                <a:gd name="connsiteY0" fmla="*/ 1499 h 1499"/>
                <a:gd name="connsiteX1" fmla="*/ 0 w 1874"/>
                <a:gd name="connsiteY1" fmla="*/ 1499 h 1499"/>
                <a:gd name="connsiteX2" fmla="*/ 1874 w 1874"/>
                <a:gd name="connsiteY2" fmla="*/ 0 h 1499"/>
                <a:gd name="connsiteX3" fmla="*/ 0 w 1874"/>
                <a:gd name="connsiteY3" fmla="*/ 1499 h 1499"/>
              </a:gdLst>
              <a:ahLst/>
              <a:cxnLst>
                <a:cxn ang="0">
                  <a:pos x="connsiteX0" y="connsiteY0"/>
                </a:cxn>
                <a:cxn ang="0">
                  <a:pos x="connsiteX1" y="connsiteY1"/>
                </a:cxn>
                <a:cxn ang="0">
                  <a:pos x="connsiteX2" y="connsiteY2"/>
                </a:cxn>
                <a:cxn ang="0">
                  <a:pos x="connsiteX3" y="connsiteY3"/>
                </a:cxn>
              </a:cxnLst>
              <a:rect l="l" t="t" r="r" b="b"/>
              <a:pathLst>
                <a:path w="1874" h="1499">
                  <a:moveTo>
                    <a:pt x="0" y="1499"/>
                  </a:moveTo>
                  <a:lnTo>
                    <a:pt x="0" y="1499"/>
                  </a:lnTo>
                  <a:cubicBezTo>
                    <a:pt x="562" y="937"/>
                    <a:pt x="1200" y="425"/>
                    <a:pt x="1874" y="0"/>
                  </a:cubicBezTo>
                  <a:cubicBezTo>
                    <a:pt x="1200" y="425"/>
                    <a:pt x="562" y="937"/>
                    <a:pt x="0" y="1499"/>
                  </a:cubicBezTo>
                  <a:close/>
                </a:path>
              </a:pathLst>
            </a:custGeom>
            <a:solidFill>
              <a:srgbClr val="000000"/>
            </a:solidFill>
            <a:ln w="12483" cap="flat">
              <a:noFill/>
              <a:prstDash val="solid"/>
              <a:miter/>
            </a:ln>
          </p:spPr>
          <p:txBody>
            <a:bodyPr rtlCol="0" anchor="ctr"/>
            <a:lstStyle/>
            <a:p>
              <a:endParaRPr lang="en-US"/>
            </a:p>
          </p:txBody>
        </p:sp>
        <p:sp>
          <p:nvSpPr>
            <p:cNvPr id="1607" name="Freeform: Shape 1606">
              <a:extLst>
                <a:ext uri="{FF2B5EF4-FFF2-40B4-BE49-F238E27FC236}">
                  <a16:creationId xmlns:a16="http://schemas.microsoft.com/office/drawing/2014/main" id="{A3A10D2C-0278-4B9C-813C-5561E6FC6FDD}"/>
                </a:ext>
              </a:extLst>
            </p:cNvPr>
            <p:cNvSpPr/>
            <p:nvPr/>
          </p:nvSpPr>
          <p:spPr>
            <a:xfrm>
              <a:off x="9145829" y="2574230"/>
              <a:ext cx="65777" cy="66984"/>
            </a:xfrm>
            <a:custGeom>
              <a:avLst/>
              <a:gdLst>
                <a:gd name="connsiteX0" fmla="*/ 61349 w 65777"/>
                <a:gd name="connsiteY0" fmla="*/ 65724 h 66984"/>
                <a:gd name="connsiteX1" fmla="*/ 61349 w 65777"/>
                <a:gd name="connsiteY1" fmla="*/ 65724 h 66984"/>
                <a:gd name="connsiteX2" fmla="*/ 63847 w 65777"/>
                <a:gd name="connsiteY2" fmla="*/ 63725 h 66984"/>
                <a:gd name="connsiteX3" fmla="*/ 63847 w 65777"/>
                <a:gd name="connsiteY3" fmla="*/ 63725 h 66984"/>
                <a:gd name="connsiteX4" fmla="*/ 63847 w 65777"/>
                <a:gd name="connsiteY4" fmla="*/ 63725 h 66984"/>
                <a:gd name="connsiteX5" fmla="*/ 65721 w 65777"/>
                <a:gd name="connsiteY5" fmla="*/ 60226 h 66984"/>
                <a:gd name="connsiteX6" fmla="*/ 65721 w 65777"/>
                <a:gd name="connsiteY6" fmla="*/ 58477 h 66984"/>
                <a:gd name="connsiteX7" fmla="*/ 65721 w 65777"/>
                <a:gd name="connsiteY7" fmla="*/ 56103 h 66984"/>
                <a:gd name="connsiteX8" fmla="*/ 65721 w 65777"/>
                <a:gd name="connsiteY8" fmla="*/ 53854 h 66984"/>
                <a:gd name="connsiteX9" fmla="*/ 64472 w 65777"/>
                <a:gd name="connsiteY9" fmla="*/ 50355 h 66984"/>
                <a:gd name="connsiteX10" fmla="*/ 64472 w 65777"/>
                <a:gd name="connsiteY10" fmla="*/ 50355 h 66984"/>
                <a:gd name="connsiteX11" fmla="*/ 63597 w 65777"/>
                <a:gd name="connsiteY11" fmla="*/ 48856 h 66984"/>
                <a:gd name="connsiteX12" fmla="*/ 63597 w 65777"/>
                <a:gd name="connsiteY12" fmla="*/ 48856 h 66984"/>
                <a:gd name="connsiteX13" fmla="*/ 23615 w 65777"/>
                <a:gd name="connsiteY13" fmla="*/ 0 h 66984"/>
                <a:gd name="connsiteX14" fmla="*/ 11120 w 65777"/>
                <a:gd name="connsiteY14" fmla="*/ 6123 h 66984"/>
                <a:gd name="connsiteX15" fmla="*/ 225 w 65777"/>
                <a:gd name="connsiteY15" fmla="*/ 1500 h 66984"/>
                <a:gd name="connsiteX16" fmla="*/ 0 w 65777"/>
                <a:gd name="connsiteY16" fmla="*/ 875 h 66984"/>
                <a:gd name="connsiteX17" fmla="*/ 1374 w 65777"/>
                <a:gd name="connsiteY17" fmla="*/ 3624 h 66984"/>
                <a:gd name="connsiteX18" fmla="*/ 41482 w 65777"/>
                <a:gd name="connsiteY18" fmla="*/ 52604 h 66984"/>
                <a:gd name="connsiteX19" fmla="*/ 50978 w 65777"/>
                <a:gd name="connsiteY19" fmla="*/ 64100 h 66984"/>
                <a:gd name="connsiteX20" fmla="*/ 61349 w 65777"/>
                <a:gd name="connsiteY20" fmla="*/ 65724 h 6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777" h="66984">
                  <a:moveTo>
                    <a:pt x="61349" y="65724"/>
                  </a:moveTo>
                  <a:lnTo>
                    <a:pt x="61349" y="65724"/>
                  </a:lnTo>
                  <a:cubicBezTo>
                    <a:pt x="62298" y="65212"/>
                    <a:pt x="63148" y="64537"/>
                    <a:pt x="63847" y="63725"/>
                  </a:cubicBezTo>
                  <a:lnTo>
                    <a:pt x="63847" y="63725"/>
                  </a:lnTo>
                  <a:lnTo>
                    <a:pt x="63847" y="63725"/>
                  </a:lnTo>
                  <a:cubicBezTo>
                    <a:pt x="64672" y="62675"/>
                    <a:pt x="65297" y="61488"/>
                    <a:pt x="65721" y="60226"/>
                  </a:cubicBezTo>
                  <a:cubicBezTo>
                    <a:pt x="65796" y="59651"/>
                    <a:pt x="65796" y="59052"/>
                    <a:pt x="65721" y="58477"/>
                  </a:cubicBezTo>
                  <a:cubicBezTo>
                    <a:pt x="65796" y="57690"/>
                    <a:pt x="65796" y="56890"/>
                    <a:pt x="65721" y="56103"/>
                  </a:cubicBezTo>
                  <a:cubicBezTo>
                    <a:pt x="65784" y="55353"/>
                    <a:pt x="65784" y="54603"/>
                    <a:pt x="65721" y="53854"/>
                  </a:cubicBezTo>
                  <a:cubicBezTo>
                    <a:pt x="65497" y="52629"/>
                    <a:pt x="65072" y="51442"/>
                    <a:pt x="64472" y="50355"/>
                  </a:cubicBezTo>
                  <a:cubicBezTo>
                    <a:pt x="64472" y="50355"/>
                    <a:pt x="64472" y="50355"/>
                    <a:pt x="64472" y="50355"/>
                  </a:cubicBezTo>
                  <a:cubicBezTo>
                    <a:pt x="64260" y="49818"/>
                    <a:pt x="63960" y="49306"/>
                    <a:pt x="63597" y="48856"/>
                  </a:cubicBezTo>
                  <a:lnTo>
                    <a:pt x="63597" y="48856"/>
                  </a:lnTo>
                  <a:lnTo>
                    <a:pt x="23615" y="0"/>
                  </a:lnTo>
                  <a:lnTo>
                    <a:pt x="11120" y="6123"/>
                  </a:lnTo>
                  <a:cubicBezTo>
                    <a:pt x="6835" y="7860"/>
                    <a:pt x="1949" y="5785"/>
                    <a:pt x="225" y="1500"/>
                  </a:cubicBezTo>
                  <a:cubicBezTo>
                    <a:pt x="137" y="1287"/>
                    <a:pt x="63" y="1087"/>
                    <a:pt x="0" y="875"/>
                  </a:cubicBezTo>
                  <a:cubicBezTo>
                    <a:pt x="300" y="1862"/>
                    <a:pt x="774" y="2786"/>
                    <a:pt x="1374" y="3624"/>
                  </a:cubicBezTo>
                  <a:lnTo>
                    <a:pt x="41482" y="52604"/>
                  </a:lnTo>
                  <a:lnTo>
                    <a:pt x="50978" y="64100"/>
                  </a:lnTo>
                  <a:cubicBezTo>
                    <a:pt x="53514" y="67198"/>
                    <a:pt x="57987" y="67898"/>
                    <a:pt x="61349" y="65724"/>
                  </a:cubicBezTo>
                  <a:close/>
                </a:path>
              </a:pathLst>
            </a:custGeom>
            <a:solidFill>
              <a:srgbClr val="000000"/>
            </a:solidFill>
            <a:ln w="12483" cap="flat">
              <a:noFill/>
              <a:prstDash val="solid"/>
              <a:miter/>
            </a:ln>
          </p:spPr>
          <p:txBody>
            <a:bodyPr rtlCol="0" anchor="ctr"/>
            <a:lstStyle/>
            <a:p>
              <a:endParaRPr lang="en-US"/>
            </a:p>
          </p:txBody>
        </p:sp>
        <p:sp>
          <p:nvSpPr>
            <p:cNvPr id="1608" name="Freeform: Shape 1607">
              <a:extLst>
                <a:ext uri="{FF2B5EF4-FFF2-40B4-BE49-F238E27FC236}">
                  <a16:creationId xmlns:a16="http://schemas.microsoft.com/office/drawing/2014/main" id="{10DAFC4C-0E6C-4175-88A3-F15AAE07BA6F}"/>
                </a:ext>
              </a:extLst>
            </p:cNvPr>
            <p:cNvSpPr/>
            <p:nvPr/>
          </p:nvSpPr>
          <p:spPr>
            <a:xfrm>
              <a:off x="9202501" y="2529498"/>
              <a:ext cx="1052" cy="4873"/>
            </a:xfrm>
            <a:custGeom>
              <a:avLst/>
              <a:gdLst>
                <a:gd name="connsiteX0" fmla="*/ 178 w 1052"/>
                <a:gd name="connsiteY0" fmla="*/ 3873 h 4873"/>
                <a:gd name="connsiteX1" fmla="*/ 178 w 1052"/>
                <a:gd name="connsiteY1" fmla="*/ 0 h 4873"/>
                <a:gd name="connsiteX2" fmla="*/ 178 w 1052"/>
                <a:gd name="connsiteY2" fmla="*/ 4873 h 4873"/>
                <a:gd name="connsiteX3" fmla="*/ 1053 w 1052"/>
                <a:gd name="connsiteY3" fmla="*/ 4873 h 4873"/>
                <a:gd name="connsiteX4" fmla="*/ 178 w 1052"/>
                <a:gd name="connsiteY4" fmla="*/ 3873 h 4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 h="4873">
                  <a:moveTo>
                    <a:pt x="178" y="3873"/>
                  </a:moveTo>
                  <a:cubicBezTo>
                    <a:pt x="-59" y="2599"/>
                    <a:pt x="-59" y="1274"/>
                    <a:pt x="178" y="0"/>
                  </a:cubicBezTo>
                  <a:lnTo>
                    <a:pt x="178" y="4873"/>
                  </a:lnTo>
                  <a:lnTo>
                    <a:pt x="1053" y="4873"/>
                  </a:lnTo>
                  <a:cubicBezTo>
                    <a:pt x="1053" y="4873"/>
                    <a:pt x="178" y="4123"/>
                    <a:pt x="178" y="3873"/>
                  </a:cubicBezTo>
                  <a:close/>
                </a:path>
              </a:pathLst>
            </a:custGeom>
            <a:solidFill>
              <a:srgbClr val="000000"/>
            </a:solidFill>
            <a:ln w="12483" cap="flat">
              <a:noFill/>
              <a:prstDash val="solid"/>
              <a:miter/>
            </a:ln>
          </p:spPr>
          <p:txBody>
            <a:bodyPr rtlCol="0" anchor="ctr"/>
            <a:lstStyle/>
            <a:p>
              <a:endParaRPr lang="en-US"/>
            </a:p>
          </p:txBody>
        </p:sp>
        <p:sp>
          <p:nvSpPr>
            <p:cNvPr id="1609" name="Freeform: Shape 1608">
              <a:extLst>
                <a:ext uri="{FF2B5EF4-FFF2-40B4-BE49-F238E27FC236}">
                  <a16:creationId xmlns:a16="http://schemas.microsoft.com/office/drawing/2014/main" id="{AD8EDB2F-F713-46F8-BA3A-B47DA884BE7D}"/>
                </a:ext>
              </a:extLst>
            </p:cNvPr>
            <p:cNvSpPr/>
            <p:nvPr/>
          </p:nvSpPr>
          <p:spPr>
            <a:xfrm>
              <a:off x="9202751" y="2255232"/>
              <a:ext cx="549940" cy="278764"/>
            </a:xfrm>
            <a:custGeom>
              <a:avLst/>
              <a:gdLst>
                <a:gd name="connsiteX0" fmla="*/ 303 w 549940"/>
                <a:gd name="connsiteY0" fmla="*/ 278764 h 278764"/>
                <a:gd name="connsiteX1" fmla="*/ 5426 w 549940"/>
                <a:gd name="connsiteY1" fmla="*/ 276265 h 278764"/>
                <a:gd name="connsiteX2" fmla="*/ 7050 w 549940"/>
                <a:gd name="connsiteY2" fmla="*/ 275515 h 278764"/>
                <a:gd name="connsiteX3" fmla="*/ 7050 w 549940"/>
                <a:gd name="connsiteY3" fmla="*/ 275515 h 278764"/>
                <a:gd name="connsiteX4" fmla="*/ 7050 w 549940"/>
                <a:gd name="connsiteY4" fmla="*/ 272891 h 278764"/>
                <a:gd name="connsiteX5" fmla="*/ 8962 w 549940"/>
                <a:gd name="connsiteY5" fmla="*/ 272554 h 278764"/>
                <a:gd name="connsiteX6" fmla="*/ 9299 w 549940"/>
                <a:gd name="connsiteY6" fmla="*/ 272891 h 278764"/>
                <a:gd name="connsiteX7" fmla="*/ 10299 w 549940"/>
                <a:gd name="connsiteY7" fmla="*/ 274016 h 278764"/>
                <a:gd name="connsiteX8" fmla="*/ 12298 w 549940"/>
                <a:gd name="connsiteY8" fmla="*/ 273141 h 278764"/>
                <a:gd name="connsiteX9" fmla="*/ 23168 w 549940"/>
                <a:gd name="connsiteY9" fmla="*/ 277365 h 278764"/>
                <a:gd name="connsiteX10" fmla="*/ 23543 w 549940"/>
                <a:gd name="connsiteY10" fmla="*/ 278389 h 278764"/>
                <a:gd name="connsiteX11" fmla="*/ 549940 w 549940"/>
                <a:gd name="connsiteY11" fmla="*/ 23241 h 278764"/>
                <a:gd name="connsiteX12" fmla="*/ 549316 w 549940"/>
                <a:gd name="connsiteY12" fmla="*/ 19992 h 278764"/>
                <a:gd name="connsiteX13" fmla="*/ 549316 w 549940"/>
                <a:gd name="connsiteY13" fmla="*/ 7497 h 278764"/>
                <a:gd name="connsiteX14" fmla="*/ 549316 w 549940"/>
                <a:gd name="connsiteY14" fmla="*/ 0 h 278764"/>
                <a:gd name="connsiteX15" fmla="*/ 4926 w 549940"/>
                <a:gd name="connsiteY15" fmla="*/ 263645 h 278764"/>
                <a:gd name="connsiteX16" fmla="*/ 4926 w 549940"/>
                <a:gd name="connsiteY16" fmla="*/ 263645 h 278764"/>
                <a:gd name="connsiteX17" fmla="*/ 3177 w 549940"/>
                <a:gd name="connsiteY17" fmla="*/ 264895 h 278764"/>
                <a:gd name="connsiteX18" fmla="*/ 2052 w 549940"/>
                <a:gd name="connsiteY18" fmla="*/ 266019 h 278764"/>
                <a:gd name="connsiteX19" fmla="*/ 1053 w 549940"/>
                <a:gd name="connsiteY19" fmla="*/ 267768 h 278764"/>
                <a:gd name="connsiteX20" fmla="*/ 178 w 549940"/>
                <a:gd name="connsiteY20" fmla="*/ 269518 h 278764"/>
                <a:gd name="connsiteX21" fmla="*/ 178 w 549940"/>
                <a:gd name="connsiteY21" fmla="*/ 271392 h 278764"/>
                <a:gd name="connsiteX22" fmla="*/ 178 w 549940"/>
                <a:gd name="connsiteY22" fmla="*/ 273641 h 278764"/>
                <a:gd name="connsiteX23" fmla="*/ 178 w 549940"/>
                <a:gd name="connsiteY23" fmla="*/ 277514 h 278764"/>
                <a:gd name="connsiteX24" fmla="*/ 303 w 549940"/>
                <a:gd name="connsiteY24" fmla="*/ 278764 h 27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9940" h="278764">
                  <a:moveTo>
                    <a:pt x="303" y="278764"/>
                  </a:moveTo>
                  <a:lnTo>
                    <a:pt x="5426" y="276265"/>
                  </a:lnTo>
                  <a:lnTo>
                    <a:pt x="7050" y="275515"/>
                  </a:lnTo>
                  <a:lnTo>
                    <a:pt x="7050" y="275515"/>
                  </a:lnTo>
                  <a:cubicBezTo>
                    <a:pt x="6450" y="274741"/>
                    <a:pt x="6450" y="273666"/>
                    <a:pt x="7050" y="272891"/>
                  </a:cubicBezTo>
                  <a:cubicBezTo>
                    <a:pt x="7487" y="272267"/>
                    <a:pt x="8350" y="272117"/>
                    <a:pt x="8962" y="272554"/>
                  </a:cubicBezTo>
                  <a:cubicBezTo>
                    <a:pt x="9099" y="272654"/>
                    <a:pt x="9212" y="272766"/>
                    <a:pt x="9299" y="272891"/>
                  </a:cubicBezTo>
                  <a:lnTo>
                    <a:pt x="10299" y="274016"/>
                  </a:lnTo>
                  <a:lnTo>
                    <a:pt x="12298" y="273141"/>
                  </a:lnTo>
                  <a:cubicBezTo>
                    <a:pt x="16471" y="271304"/>
                    <a:pt x="21332" y="273191"/>
                    <a:pt x="23168" y="277365"/>
                  </a:cubicBezTo>
                  <a:cubicBezTo>
                    <a:pt x="23318" y="277689"/>
                    <a:pt x="23443" y="278039"/>
                    <a:pt x="23543" y="278389"/>
                  </a:cubicBezTo>
                  <a:lnTo>
                    <a:pt x="549940" y="23241"/>
                  </a:lnTo>
                  <a:cubicBezTo>
                    <a:pt x="549541" y="22204"/>
                    <a:pt x="549328" y="21104"/>
                    <a:pt x="549316" y="19992"/>
                  </a:cubicBezTo>
                  <a:lnTo>
                    <a:pt x="549316" y="7497"/>
                  </a:lnTo>
                  <a:lnTo>
                    <a:pt x="549316" y="0"/>
                  </a:lnTo>
                  <a:lnTo>
                    <a:pt x="4926" y="263645"/>
                  </a:lnTo>
                  <a:lnTo>
                    <a:pt x="4926" y="263645"/>
                  </a:lnTo>
                  <a:cubicBezTo>
                    <a:pt x="4251" y="263920"/>
                    <a:pt x="3652" y="264345"/>
                    <a:pt x="3177" y="264895"/>
                  </a:cubicBezTo>
                  <a:cubicBezTo>
                    <a:pt x="2777" y="265232"/>
                    <a:pt x="2389" y="265619"/>
                    <a:pt x="2052" y="266019"/>
                  </a:cubicBezTo>
                  <a:cubicBezTo>
                    <a:pt x="1602" y="266531"/>
                    <a:pt x="1265" y="267119"/>
                    <a:pt x="1053" y="267768"/>
                  </a:cubicBezTo>
                  <a:cubicBezTo>
                    <a:pt x="665" y="268293"/>
                    <a:pt x="365" y="268893"/>
                    <a:pt x="178" y="269518"/>
                  </a:cubicBezTo>
                  <a:cubicBezTo>
                    <a:pt x="116" y="270142"/>
                    <a:pt x="116" y="270767"/>
                    <a:pt x="178" y="271392"/>
                  </a:cubicBezTo>
                  <a:cubicBezTo>
                    <a:pt x="116" y="272141"/>
                    <a:pt x="116" y="272891"/>
                    <a:pt x="178" y="273641"/>
                  </a:cubicBezTo>
                  <a:cubicBezTo>
                    <a:pt x="-59" y="274915"/>
                    <a:pt x="-59" y="276240"/>
                    <a:pt x="178" y="277514"/>
                  </a:cubicBezTo>
                  <a:cubicBezTo>
                    <a:pt x="178" y="277514"/>
                    <a:pt x="178" y="278514"/>
                    <a:pt x="303" y="278764"/>
                  </a:cubicBezTo>
                  <a:close/>
                </a:path>
              </a:pathLst>
            </a:custGeom>
            <a:solidFill>
              <a:srgbClr val="000000"/>
            </a:solidFill>
            <a:ln w="12483" cap="flat">
              <a:noFill/>
              <a:prstDash val="solid"/>
              <a:miter/>
            </a:ln>
          </p:spPr>
          <p:txBody>
            <a:bodyPr rtlCol="0" anchor="ctr"/>
            <a:lstStyle/>
            <a:p>
              <a:endParaRPr lang="en-US"/>
            </a:p>
          </p:txBody>
        </p:sp>
        <p:sp>
          <p:nvSpPr>
            <p:cNvPr id="1610" name="Freeform: Shape 1609">
              <a:extLst>
                <a:ext uri="{FF2B5EF4-FFF2-40B4-BE49-F238E27FC236}">
                  <a16:creationId xmlns:a16="http://schemas.microsoft.com/office/drawing/2014/main" id="{0DA1288E-7E7E-470F-BFDE-724069C51B51}"/>
                </a:ext>
              </a:extLst>
            </p:cNvPr>
            <p:cNvSpPr/>
            <p:nvPr/>
          </p:nvSpPr>
          <p:spPr>
            <a:xfrm>
              <a:off x="9266901" y="2596721"/>
              <a:ext cx="82058" cy="100669"/>
            </a:xfrm>
            <a:custGeom>
              <a:avLst/>
              <a:gdLst>
                <a:gd name="connsiteX0" fmla="*/ 2249 w 82058"/>
                <a:gd name="connsiteY0" fmla="*/ 3249 h 100669"/>
                <a:gd name="connsiteX1" fmla="*/ 337 w 82058"/>
                <a:gd name="connsiteY1" fmla="*/ 3586 h 100669"/>
                <a:gd name="connsiteX2" fmla="*/ 0 w 82058"/>
                <a:gd name="connsiteY2" fmla="*/ 3249 h 100669"/>
                <a:gd name="connsiteX3" fmla="*/ 2874 w 82058"/>
                <a:gd name="connsiteY3" fmla="*/ 6747 h 100669"/>
                <a:gd name="connsiteX4" fmla="*/ 80090 w 82058"/>
                <a:gd name="connsiteY4" fmla="*/ 100585 h 100669"/>
                <a:gd name="connsiteX5" fmla="*/ 80090 w 82058"/>
                <a:gd name="connsiteY5" fmla="*/ 100585 h 100669"/>
                <a:gd name="connsiteX6" fmla="*/ 80090 w 82058"/>
                <a:gd name="connsiteY6" fmla="*/ 100585 h 100669"/>
                <a:gd name="connsiteX7" fmla="*/ 80090 w 82058"/>
                <a:gd name="connsiteY7" fmla="*/ 100585 h 100669"/>
                <a:gd name="connsiteX8" fmla="*/ 80715 w 82058"/>
                <a:gd name="connsiteY8" fmla="*/ 100585 h 100669"/>
                <a:gd name="connsiteX9" fmla="*/ 81590 w 82058"/>
                <a:gd name="connsiteY9" fmla="*/ 100585 h 100669"/>
                <a:gd name="connsiteX10" fmla="*/ 81590 w 82058"/>
                <a:gd name="connsiteY10" fmla="*/ 97836 h 100669"/>
                <a:gd name="connsiteX11" fmla="*/ 80840 w 82058"/>
                <a:gd name="connsiteY11" fmla="*/ 96961 h 100669"/>
                <a:gd name="connsiteX12" fmla="*/ 999 w 82058"/>
                <a:gd name="connsiteY12" fmla="*/ 0 h 100669"/>
                <a:gd name="connsiteX13" fmla="*/ 2424 w 82058"/>
                <a:gd name="connsiteY13" fmla="*/ 2836 h 100669"/>
                <a:gd name="connsiteX14" fmla="*/ 2249 w 82058"/>
                <a:gd name="connsiteY14" fmla="*/ 3249 h 10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058" h="100669">
                  <a:moveTo>
                    <a:pt x="2249" y="3249"/>
                  </a:moveTo>
                  <a:cubicBezTo>
                    <a:pt x="1812" y="3873"/>
                    <a:pt x="949" y="4023"/>
                    <a:pt x="337" y="3586"/>
                  </a:cubicBezTo>
                  <a:cubicBezTo>
                    <a:pt x="200" y="3486"/>
                    <a:pt x="87" y="3374"/>
                    <a:pt x="0" y="3249"/>
                  </a:cubicBezTo>
                  <a:lnTo>
                    <a:pt x="2874" y="6747"/>
                  </a:lnTo>
                  <a:lnTo>
                    <a:pt x="80090" y="100585"/>
                  </a:lnTo>
                  <a:lnTo>
                    <a:pt x="80090" y="100585"/>
                  </a:lnTo>
                  <a:cubicBezTo>
                    <a:pt x="80090" y="100585"/>
                    <a:pt x="80090" y="100585"/>
                    <a:pt x="80090" y="100585"/>
                  </a:cubicBezTo>
                  <a:lnTo>
                    <a:pt x="80090" y="100585"/>
                  </a:lnTo>
                  <a:lnTo>
                    <a:pt x="80715" y="100585"/>
                  </a:lnTo>
                  <a:cubicBezTo>
                    <a:pt x="80990" y="100697"/>
                    <a:pt x="81315" y="100697"/>
                    <a:pt x="81590" y="100585"/>
                  </a:cubicBezTo>
                  <a:cubicBezTo>
                    <a:pt x="82214" y="99773"/>
                    <a:pt x="82214" y="98648"/>
                    <a:pt x="81590" y="97836"/>
                  </a:cubicBezTo>
                  <a:lnTo>
                    <a:pt x="80840" y="96961"/>
                  </a:lnTo>
                  <a:lnTo>
                    <a:pt x="999" y="0"/>
                  </a:lnTo>
                  <a:cubicBezTo>
                    <a:pt x="2174" y="387"/>
                    <a:pt x="2824" y="1662"/>
                    <a:pt x="2424" y="2836"/>
                  </a:cubicBezTo>
                  <a:cubicBezTo>
                    <a:pt x="2386" y="2986"/>
                    <a:pt x="2324" y="3124"/>
                    <a:pt x="2249" y="3249"/>
                  </a:cubicBezTo>
                  <a:close/>
                </a:path>
              </a:pathLst>
            </a:custGeom>
            <a:solidFill>
              <a:srgbClr val="000000"/>
            </a:solidFill>
            <a:ln w="12483" cap="flat">
              <a:noFill/>
              <a:prstDash val="solid"/>
              <a:miter/>
            </a:ln>
          </p:spPr>
          <p:txBody>
            <a:bodyPr rtlCol="0" anchor="ctr"/>
            <a:lstStyle/>
            <a:p>
              <a:endParaRPr lang="en-US"/>
            </a:p>
          </p:txBody>
        </p:sp>
        <p:sp>
          <p:nvSpPr>
            <p:cNvPr id="1611" name="Freeform: Shape 1610">
              <a:extLst>
                <a:ext uri="{FF2B5EF4-FFF2-40B4-BE49-F238E27FC236}">
                  <a16:creationId xmlns:a16="http://schemas.microsoft.com/office/drawing/2014/main" id="{DBCF72BE-F357-4E01-A6E4-FBE4582388BE}"/>
                </a:ext>
              </a:extLst>
            </p:cNvPr>
            <p:cNvSpPr/>
            <p:nvPr/>
          </p:nvSpPr>
          <p:spPr>
            <a:xfrm>
              <a:off x="10199998" y="2144027"/>
              <a:ext cx="85565" cy="95006"/>
            </a:xfrm>
            <a:custGeom>
              <a:avLst/>
              <a:gdLst>
                <a:gd name="connsiteX0" fmla="*/ 1124 w 85565"/>
                <a:gd name="connsiteY0" fmla="*/ 1749 h 95006"/>
                <a:gd name="connsiteX1" fmla="*/ 0 w 85565"/>
                <a:gd name="connsiteY1" fmla="*/ 1749 h 95006"/>
                <a:gd name="connsiteX2" fmla="*/ 0 w 85565"/>
                <a:gd name="connsiteY2" fmla="*/ 1749 h 95006"/>
                <a:gd name="connsiteX3" fmla="*/ 750 w 85565"/>
                <a:gd name="connsiteY3" fmla="*/ 2624 h 95006"/>
                <a:gd name="connsiteX4" fmla="*/ 81715 w 85565"/>
                <a:gd name="connsiteY4" fmla="*/ 92463 h 95006"/>
                <a:gd name="connsiteX5" fmla="*/ 83589 w 85565"/>
                <a:gd name="connsiteY5" fmla="*/ 94587 h 95006"/>
                <a:gd name="connsiteX6" fmla="*/ 85351 w 85565"/>
                <a:gd name="connsiteY6" fmla="*/ 94700 h 95006"/>
                <a:gd name="connsiteX7" fmla="*/ 85463 w 85565"/>
                <a:gd name="connsiteY7" fmla="*/ 94587 h 95006"/>
                <a:gd name="connsiteX8" fmla="*/ 85463 w 85565"/>
                <a:gd name="connsiteY8" fmla="*/ 94587 h 95006"/>
                <a:gd name="connsiteX9" fmla="*/ 85463 w 85565"/>
                <a:gd name="connsiteY9" fmla="*/ 94587 h 95006"/>
                <a:gd name="connsiteX10" fmla="*/ 85463 w 85565"/>
                <a:gd name="connsiteY10" fmla="*/ 93963 h 95006"/>
                <a:gd name="connsiteX11" fmla="*/ 85463 w 85565"/>
                <a:gd name="connsiteY11" fmla="*/ 93213 h 95006"/>
                <a:gd name="connsiteX12" fmla="*/ 85463 w 85565"/>
                <a:gd name="connsiteY12" fmla="*/ 93213 h 95006"/>
                <a:gd name="connsiteX13" fmla="*/ 85463 w 85565"/>
                <a:gd name="connsiteY13" fmla="*/ 93213 h 95006"/>
                <a:gd name="connsiteX14" fmla="*/ 82839 w 85565"/>
                <a:gd name="connsiteY14" fmla="*/ 90214 h 95006"/>
                <a:gd name="connsiteX15" fmla="*/ 2499 w 85565"/>
                <a:gd name="connsiteY15" fmla="*/ 1000 h 95006"/>
                <a:gd name="connsiteX16" fmla="*/ 2499 w 85565"/>
                <a:gd name="connsiteY16" fmla="*/ 0 h 95006"/>
                <a:gd name="connsiteX17" fmla="*/ 1124 w 85565"/>
                <a:gd name="connsiteY17" fmla="*/ 1749 h 9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565" h="95006">
                  <a:moveTo>
                    <a:pt x="1124" y="1749"/>
                  </a:moveTo>
                  <a:cubicBezTo>
                    <a:pt x="762" y="1887"/>
                    <a:pt x="362" y="1887"/>
                    <a:pt x="0" y="1749"/>
                  </a:cubicBezTo>
                  <a:lnTo>
                    <a:pt x="0" y="1749"/>
                  </a:lnTo>
                  <a:lnTo>
                    <a:pt x="750" y="2624"/>
                  </a:lnTo>
                  <a:lnTo>
                    <a:pt x="81715" y="92463"/>
                  </a:lnTo>
                  <a:lnTo>
                    <a:pt x="83589" y="94587"/>
                  </a:lnTo>
                  <a:cubicBezTo>
                    <a:pt x="84051" y="95099"/>
                    <a:pt x="84838" y="95150"/>
                    <a:pt x="85351" y="94700"/>
                  </a:cubicBezTo>
                  <a:cubicBezTo>
                    <a:pt x="85388" y="94662"/>
                    <a:pt x="85426" y="94625"/>
                    <a:pt x="85463" y="94587"/>
                  </a:cubicBezTo>
                  <a:lnTo>
                    <a:pt x="85463" y="94587"/>
                  </a:lnTo>
                  <a:cubicBezTo>
                    <a:pt x="85463" y="94587"/>
                    <a:pt x="85463" y="94587"/>
                    <a:pt x="85463" y="94587"/>
                  </a:cubicBezTo>
                  <a:cubicBezTo>
                    <a:pt x="85538" y="94387"/>
                    <a:pt x="85538" y="94162"/>
                    <a:pt x="85463" y="93963"/>
                  </a:cubicBezTo>
                  <a:cubicBezTo>
                    <a:pt x="85600" y="93725"/>
                    <a:pt x="85600" y="93450"/>
                    <a:pt x="85463" y="93213"/>
                  </a:cubicBezTo>
                  <a:cubicBezTo>
                    <a:pt x="85463" y="93213"/>
                    <a:pt x="85463" y="93213"/>
                    <a:pt x="85463" y="93213"/>
                  </a:cubicBezTo>
                  <a:lnTo>
                    <a:pt x="85463" y="93213"/>
                  </a:lnTo>
                  <a:lnTo>
                    <a:pt x="82839" y="90214"/>
                  </a:lnTo>
                  <a:lnTo>
                    <a:pt x="2499" y="1000"/>
                  </a:lnTo>
                  <a:lnTo>
                    <a:pt x="2499" y="0"/>
                  </a:lnTo>
                  <a:cubicBezTo>
                    <a:pt x="2524" y="837"/>
                    <a:pt x="1937" y="1574"/>
                    <a:pt x="1124" y="1749"/>
                  </a:cubicBezTo>
                  <a:close/>
                </a:path>
              </a:pathLst>
            </a:custGeom>
            <a:solidFill>
              <a:srgbClr val="000000"/>
            </a:solidFill>
            <a:ln w="12483" cap="flat">
              <a:noFill/>
              <a:prstDash val="solid"/>
              <a:miter/>
            </a:ln>
          </p:spPr>
          <p:txBody>
            <a:bodyPr rtlCol="0" anchor="ctr"/>
            <a:lstStyle/>
            <a:p>
              <a:endParaRPr lang="en-US"/>
            </a:p>
          </p:txBody>
        </p:sp>
        <p:sp>
          <p:nvSpPr>
            <p:cNvPr id="1612" name="Freeform: Shape 1611">
              <a:extLst>
                <a:ext uri="{FF2B5EF4-FFF2-40B4-BE49-F238E27FC236}">
                  <a16:creationId xmlns:a16="http://schemas.microsoft.com/office/drawing/2014/main" id="{935F41D8-CFF0-4450-9789-F625393296D9}"/>
                </a:ext>
              </a:extLst>
            </p:cNvPr>
            <p:cNvSpPr/>
            <p:nvPr/>
          </p:nvSpPr>
          <p:spPr>
            <a:xfrm>
              <a:off x="9286892" y="3055039"/>
              <a:ext cx="1499" cy="74"/>
            </a:xfrm>
            <a:custGeom>
              <a:avLst/>
              <a:gdLst>
                <a:gd name="connsiteX0" fmla="*/ 0 w 1499"/>
                <a:gd name="connsiteY0" fmla="*/ 0 h 74"/>
                <a:gd name="connsiteX1" fmla="*/ 1500 w 1499"/>
                <a:gd name="connsiteY1" fmla="*/ 0 h 74"/>
                <a:gd name="connsiteX2" fmla="*/ 1500 w 1499"/>
                <a:gd name="connsiteY2" fmla="*/ 0 h 74"/>
                <a:gd name="connsiteX3" fmla="*/ 0 w 1499"/>
                <a:gd name="connsiteY3" fmla="*/ 0 h 74"/>
              </a:gdLst>
              <a:ahLst/>
              <a:cxnLst>
                <a:cxn ang="0">
                  <a:pos x="connsiteX0" y="connsiteY0"/>
                </a:cxn>
                <a:cxn ang="0">
                  <a:pos x="connsiteX1" y="connsiteY1"/>
                </a:cxn>
                <a:cxn ang="0">
                  <a:pos x="connsiteX2" y="connsiteY2"/>
                </a:cxn>
                <a:cxn ang="0">
                  <a:pos x="connsiteX3" y="connsiteY3"/>
                </a:cxn>
              </a:cxnLst>
              <a:rect l="l" t="t" r="r" b="b"/>
              <a:pathLst>
                <a:path w="1499" h="74">
                  <a:moveTo>
                    <a:pt x="0" y="0"/>
                  </a:moveTo>
                  <a:lnTo>
                    <a:pt x="1500" y="0"/>
                  </a:lnTo>
                  <a:lnTo>
                    <a:pt x="1500" y="0"/>
                  </a:lnTo>
                  <a:cubicBezTo>
                    <a:pt x="1000" y="100"/>
                    <a:pt x="500" y="100"/>
                    <a:pt x="0" y="0"/>
                  </a:cubicBezTo>
                  <a:close/>
                </a:path>
              </a:pathLst>
            </a:custGeom>
            <a:solidFill>
              <a:srgbClr val="000000"/>
            </a:solidFill>
            <a:ln w="12483" cap="flat">
              <a:noFill/>
              <a:prstDash val="solid"/>
              <a:miter/>
            </a:ln>
          </p:spPr>
          <p:txBody>
            <a:bodyPr rtlCol="0" anchor="ctr"/>
            <a:lstStyle/>
            <a:p>
              <a:endParaRPr lang="en-US"/>
            </a:p>
          </p:txBody>
        </p:sp>
        <p:sp>
          <p:nvSpPr>
            <p:cNvPr id="1613" name="Freeform: Shape 1612">
              <a:extLst>
                <a:ext uri="{FF2B5EF4-FFF2-40B4-BE49-F238E27FC236}">
                  <a16:creationId xmlns:a16="http://schemas.microsoft.com/office/drawing/2014/main" id="{E58AD18C-DD59-48EC-8428-68FC64D7F07A}"/>
                </a:ext>
              </a:extLst>
            </p:cNvPr>
            <p:cNvSpPr/>
            <p:nvPr/>
          </p:nvSpPr>
          <p:spPr>
            <a:xfrm>
              <a:off x="9280391" y="3066034"/>
              <a:ext cx="22163" cy="123179"/>
            </a:xfrm>
            <a:custGeom>
              <a:avLst/>
              <a:gdLst>
                <a:gd name="connsiteX0" fmla="*/ 11999 w 22163"/>
                <a:gd name="connsiteY0" fmla="*/ 123076 h 123179"/>
                <a:gd name="connsiteX1" fmla="*/ 13623 w 22163"/>
                <a:gd name="connsiteY1" fmla="*/ 123076 h 123179"/>
                <a:gd name="connsiteX2" fmla="*/ 15123 w 22163"/>
                <a:gd name="connsiteY2" fmla="*/ 123076 h 123179"/>
                <a:gd name="connsiteX3" fmla="*/ 22120 w 22163"/>
                <a:gd name="connsiteY3" fmla="*/ 112205 h 123179"/>
                <a:gd name="connsiteX4" fmla="*/ 22120 w 22163"/>
                <a:gd name="connsiteY4" fmla="*/ 108207 h 123179"/>
                <a:gd name="connsiteX5" fmla="*/ 22120 w 22163"/>
                <a:gd name="connsiteY5" fmla="*/ 96836 h 123179"/>
                <a:gd name="connsiteX6" fmla="*/ 19121 w 22163"/>
                <a:gd name="connsiteY6" fmla="*/ 27989 h 123179"/>
                <a:gd name="connsiteX7" fmla="*/ 2503 w 22163"/>
                <a:gd name="connsiteY7" fmla="*/ 7247 h 123179"/>
                <a:gd name="connsiteX8" fmla="*/ 4 w 22163"/>
                <a:gd name="connsiteY8" fmla="*/ 0 h 123179"/>
                <a:gd name="connsiteX9" fmla="*/ 4 w 22163"/>
                <a:gd name="connsiteY9" fmla="*/ 0 h 123179"/>
                <a:gd name="connsiteX10" fmla="*/ 5002 w 22163"/>
                <a:gd name="connsiteY10" fmla="*/ 112455 h 123179"/>
                <a:gd name="connsiteX11" fmla="*/ 5002 w 22163"/>
                <a:gd name="connsiteY11" fmla="*/ 114080 h 123179"/>
                <a:gd name="connsiteX12" fmla="*/ 5002 w 22163"/>
                <a:gd name="connsiteY12" fmla="*/ 116204 h 123179"/>
                <a:gd name="connsiteX13" fmla="*/ 5002 w 22163"/>
                <a:gd name="connsiteY13" fmla="*/ 116204 h 123179"/>
                <a:gd name="connsiteX14" fmla="*/ 6002 w 22163"/>
                <a:gd name="connsiteY14" fmla="*/ 118078 h 123179"/>
                <a:gd name="connsiteX15" fmla="*/ 11999 w 22163"/>
                <a:gd name="connsiteY15" fmla="*/ 123076 h 1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3" h="123179">
                  <a:moveTo>
                    <a:pt x="11999" y="123076"/>
                  </a:moveTo>
                  <a:cubicBezTo>
                    <a:pt x="12536" y="123213"/>
                    <a:pt x="13086" y="123213"/>
                    <a:pt x="13623" y="123076"/>
                  </a:cubicBezTo>
                  <a:cubicBezTo>
                    <a:pt x="14123" y="123188"/>
                    <a:pt x="14623" y="123188"/>
                    <a:pt x="15123" y="123076"/>
                  </a:cubicBezTo>
                  <a:cubicBezTo>
                    <a:pt x="19671" y="121489"/>
                    <a:pt x="22557" y="117004"/>
                    <a:pt x="22120" y="112205"/>
                  </a:cubicBezTo>
                  <a:lnTo>
                    <a:pt x="22120" y="108207"/>
                  </a:lnTo>
                  <a:lnTo>
                    <a:pt x="22120" y="96836"/>
                  </a:lnTo>
                  <a:lnTo>
                    <a:pt x="19121" y="27989"/>
                  </a:lnTo>
                  <a:lnTo>
                    <a:pt x="2503" y="7247"/>
                  </a:lnTo>
                  <a:cubicBezTo>
                    <a:pt x="817" y="5211"/>
                    <a:pt x="-71" y="2637"/>
                    <a:pt x="4" y="0"/>
                  </a:cubicBezTo>
                  <a:cubicBezTo>
                    <a:pt x="4" y="0"/>
                    <a:pt x="4" y="0"/>
                    <a:pt x="4" y="0"/>
                  </a:cubicBezTo>
                  <a:lnTo>
                    <a:pt x="5002" y="112455"/>
                  </a:lnTo>
                  <a:cubicBezTo>
                    <a:pt x="4927" y="112992"/>
                    <a:pt x="4927" y="113542"/>
                    <a:pt x="5002" y="114080"/>
                  </a:cubicBezTo>
                  <a:cubicBezTo>
                    <a:pt x="4927" y="114792"/>
                    <a:pt x="4927" y="115492"/>
                    <a:pt x="5002" y="116204"/>
                  </a:cubicBezTo>
                  <a:lnTo>
                    <a:pt x="5002" y="116204"/>
                  </a:lnTo>
                  <a:cubicBezTo>
                    <a:pt x="5265" y="116866"/>
                    <a:pt x="5589" y="117491"/>
                    <a:pt x="6002" y="118078"/>
                  </a:cubicBezTo>
                  <a:cubicBezTo>
                    <a:pt x="7076" y="120614"/>
                    <a:pt x="9313" y="122476"/>
                    <a:pt x="11999" y="123076"/>
                  </a:cubicBezTo>
                  <a:close/>
                </a:path>
              </a:pathLst>
            </a:custGeom>
            <a:solidFill>
              <a:srgbClr val="000000"/>
            </a:solidFill>
            <a:ln w="12483" cap="flat">
              <a:noFill/>
              <a:prstDash val="solid"/>
              <a:miter/>
            </a:ln>
          </p:spPr>
          <p:txBody>
            <a:bodyPr rtlCol="0" anchor="ctr"/>
            <a:lstStyle/>
            <a:p>
              <a:endParaRPr lang="en-US"/>
            </a:p>
          </p:txBody>
        </p:sp>
        <p:sp>
          <p:nvSpPr>
            <p:cNvPr id="1614" name="Freeform: Shape 1613">
              <a:extLst>
                <a:ext uri="{FF2B5EF4-FFF2-40B4-BE49-F238E27FC236}">
                  <a16:creationId xmlns:a16="http://schemas.microsoft.com/office/drawing/2014/main" id="{941E4F8C-3260-4A5B-AB21-9ED10149F778}"/>
                </a:ext>
              </a:extLst>
            </p:cNvPr>
            <p:cNvSpPr/>
            <p:nvPr/>
          </p:nvSpPr>
          <p:spPr>
            <a:xfrm>
              <a:off x="9223295" y="2543867"/>
              <a:ext cx="45948" cy="56190"/>
            </a:xfrm>
            <a:custGeom>
              <a:avLst/>
              <a:gdLst>
                <a:gd name="connsiteX0" fmla="*/ 41857 w 45948"/>
                <a:gd name="connsiteY0" fmla="*/ 53979 h 56190"/>
                <a:gd name="connsiteX1" fmla="*/ 43232 w 45948"/>
                <a:gd name="connsiteY1" fmla="*/ 55603 h 56190"/>
                <a:gd name="connsiteX2" fmla="*/ 43232 w 45948"/>
                <a:gd name="connsiteY2" fmla="*/ 55603 h 56190"/>
                <a:gd name="connsiteX3" fmla="*/ 45143 w 45948"/>
                <a:gd name="connsiteY3" fmla="*/ 55940 h 56190"/>
                <a:gd name="connsiteX4" fmla="*/ 45481 w 45948"/>
                <a:gd name="connsiteY4" fmla="*/ 55603 h 56190"/>
                <a:gd name="connsiteX5" fmla="*/ 45481 w 45948"/>
                <a:gd name="connsiteY5" fmla="*/ 52854 h 56190"/>
                <a:gd name="connsiteX6" fmla="*/ 2249 w 45948"/>
                <a:gd name="connsiteY6" fmla="*/ 0 h 56190"/>
                <a:gd name="connsiteX7" fmla="*/ 0 w 45948"/>
                <a:gd name="connsiteY7" fmla="*/ 2624 h 56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48" h="56190">
                  <a:moveTo>
                    <a:pt x="41857" y="53979"/>
                  </a:moveTo>
                  <a:lnTo>
                    <a:pt x="43232" y="55603"/>
                  </a:lnTo>
                  <a:lnTo>
                    <a:pt x="43232" y="55603"/>
                  </a:lnTo>
                  <a:cubicBezTo>
                    <a:pt x="43669" y="56228"/>
                    <a:pt x="44531" y="56377"/>
                    <a:pt x="45143" y="55940"/>
                  </a:cubicBezTo>
                  <a:cubicBezTo>
                    <a:pt x="45281" y="55840"/>
                    <a:pt x="45393" y="55728"/>
                    <a:pt x="45481" y="55603"/>
                  </a:cubicBezTo>
                  <a:cubicBezTo>
                    <a:pt x="46105" y="54791"/>
                    <a:pt x="46105" y="53666"/>
                    <a:pt x="45481" y="52854"/>
                  </a:cubicBezTo>
                  <a:lnTo>
                    <a:pt x="2249" y="0"/>
                  </a:lnTo>
                  <a:cubicBezTo>
                    <a:pt x="1637" y="987"/>
                    <a:pt x="875" y="1874"/>
                    <a:pt x="0" y="2624"/>
                  </a:cubicBezTo>
                  <a:close/>
                </a:path>
              </a:pathLst>
            </a:custGeom>
            <a:solidFill>
              <a:srgbClr val="000000"/>
            </a:solidFill>
            <a:ln w="12483" cap="flat">
              <a:noFill/>
              <a:prstDash val="solid"/>
              <a:miter/>
            </a:ln>
          </p:spPr>
          <p:txBody>
            <a:bodyPr rtlCol="0" anchor="ctr"/>
            <a:lstStyle/>
            <a:p>
              <a:endParaRPr lang="en-US"/>
            </a:p>
          </p:txBody>
        </p:sp>
        <p:sp>
          <p:nvSpPr>
            <p:cNvPr id="1615" name="Freeform: Shape 1614">
              <a:extLst>
                <a:ext uri="{FF2B5EF4-FFF2-40B4-BE49-F238E27FC236}">
                  <a16:creationId xmlns:a16="http://schemas.microsoft.com/office/drawing/2014/main" id="{90D53A64-1CA1-4497-9376-5B910EE1DFCB}"/>
                </a:ext>
              </a:extLst>
            </p:cNvPr>
            <p:cNvSpPr/>
            <p:nvPr/>
          </p:nvSpPr>
          <p:spPr>
            <a:xfrm>
              <a:off x="9209351" y="2527411"/>
              <a:ext cx="3698" cy="3211"/>
            </a:xfrm>
            <a:custGeom>
              <a:avLst/>
              <a:gdLst>
                <a:gd name="connsiteX0" fmla="*/ 2699 w 3698"/>
                <a:gd name="connsiteY0" fmla="*/ 588 h 3211"/>
                <a:gd name="connsiteX1" fmla="*/ 787 w 3698"/>
                <a:gd name="connsiteY1" fmla="*/ 250 h 3211"/>
                <a:gd name="connsiteX2" fmla="*/ 450 w 3698"/>
                <a:gd name="connsiteY2" fmla="*/ 588 h 3211"/>
                <a:gd name="connsiteX3" fmla="*/ 450 w 3698"/>
                <a:gd name="connsiteY3" fmla="*/ 3212 h 3211"/>
                <a:gd name="connsiteX4" fmla="*/ 450 w 3698"/>
                <a:gd name="connsiteY4" fmla="*/ 3212 h 3211"/>
                <a:gd name="connsiteX5" fmla="*/ 3699 w 3698"/>
                <a:gd name="connsiteY5" fmla="*/ 1587 h 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 h="3211">
                  <a:moveTo>
                    <a:pt x="2699" y="588"/>
                  </a:moveTo>
                  <a:cubicBezTo>
                    <a:pt x="2261" y="-37"/>
                    <a:pt x="1399" y="-187"/>
                    <a:pt x="787" y="250"/>
                  </a:cubicBezTo>
                  <a:cubicBezTo>
                    <a:pt x="650" y="350"/>
                    <a:pt x="537" y="463"/>
                    <a:pt x="450" y="588"/>
                  </a:cubicBezTo>
                  <a:cubicBezTo>
                    <a:pt x="-150" y="1363"/>
                    <a:pt x="-150" y="2437"/>
                    <a:pt x="450" y="3212"/>
                  </a:cubicBezTo>
                  <a:lnTo>
                    <a:pt x="450" y="3212"/>
                  </a:lnTo>
                  <a:lnTo>
                    <a:pt x="3699" y="1587"/>
                  </a:lnTo>
                  <a:close/>
                </a:path>
              </a:pathLst>
            </a:custGeom>
            <a:solidFill>
              <a:srgbClr val="000000"/>
            </a:solidFill>
            <a:ln w="12483" cap="flat">
              <a:noFill/>
              <a:prstDash val="solid"/>
              <a:miter/>
            </a:ln>
          </p:spPr>
          <p:txBody>
            <a:bodyPr rtlCol="0" anchor="ctr"/>
            <a:lstStyle/>
            <a:p>
              <a:endParaRPr lang="en-US"/>
            </a:p>
          </p:txBody>
        </p:sp>
        <p:sp>
          <p:nvSpPr>
            <p:cNvPr id="1616" name="Freeform: Shape 1615">
              <a:extLst>
                <a:ext uri="{FF2B5EF4-FFF2-40B4-BE49-F238E27FC236}">
                  <a16:creationId xmlns:a16="http://schemas.microsoft.com/office/drawing/2014/main" id="{F4A1EBAC-14DA-41A3-A80A-294644EDCF36}"/>
                </a:ext>
              </a:extLst>
            </p:cNvPr>
            <p:cNvSpPr/>
            <p:nvPr/>
          </p:nvSpPr>
          <p:spPr>
            <a:xfrm>
              <a:off x="11497949" y="2024699"/>
              <a:ext cx="43219" cy="40858"/>
            </a:xfrm>
            <a:custGeom>
              <a:avLst/>
              <a:gdLst>
                <a:gd name="connsiteX0" fmla="*/ 2612 w 43219"/>
                <a:gd name="connsiteY0" fmla="*/ 18493 h 40858"/>
                <a:gd name="connsiteX1" fmla="*/ 6735 w 43219"/>
                <a:gd name="connsiteY1" fmla="*/ 22741 h 40858"/>
                <a:gd name="connsiteX2" fmla="*/ 24602 w 43219"/>
                <a:gd name="connsiteY2" fmla="*/ 40859 h 40858"/>
                <a:gd name="connsiteX3" fmla="*/ 31974 w 43219"/>
                <a:gd name="connsiteY3" fmla="*/ 37235 h 40858"/>
                <a:gd name="connsiteX4" fmla="*/ 32974 w 43219"/>
                <a:gd name="connsiteY4" fmla="*/ 35111 h 40858"/>
                <a:gd name="connsiteX5" fmla="*/ 42595 w 43219"/>
                <a:gd name="connsiteY5" fmla="*/ 31862 h 40858"/>
                <a:gd name="connsiteX6" fmla="*/ 43219 w 43219"/>
                <a:gd name="connsiteY6" fmla="*/ 31862 h 40858"/>
                <a:gd name="connsiteX7" fmla="*/ 15106 w 43219"/>
                <a:gd name="connsiteY7" fmla="*/ 1874 h 40858"/>
                <a:gd name="connsiteX8" fmla="*/ 13982 w 43219"/>
                <a:gd name="connsiteY8" fmla="*/ 1125 h 40858"/>
                <a:gd name="connsiteX9" fmla="*/ 12358 w 43219"/>
                <a:gd name="connsiteY9" fmla="*/ 0 h 40858"/>
                <a:gd name="connsiteX10" fmla="*/ 10733 w 43219"/>
                <a:gd name="connsiteY10" fmla="*/ 0 h 40858"/>
                <a:gd name="connsiteX11" fmla="*/ 8984 w 43219"/>
                <a:gd name="connsiteY11" fmla="*/ 0 h 40858"/>
                <a:gd name="connsiteX12" fmla="*/ 7235 w 43219"/>
                <a:gd name="connsiteY12" fmla="*/ 0 h 40858"/>
                <a:gd name="connsiteX13" fmla="*/ 2487 w 43219"/>
                <a:gd name="connsiteY13" fmla="*/ 3374 h 40858"/>
                <a:gd name="connsiteX14" fmla="*/ 2612 w 43219"/>
                <a:gd name="connsiteY14" fmla="*/ 18493 h 4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219" h="40858">
                  <a:moveTo>
                    <a:pt x="2612" y="18493"/>
                  </a:moveTo>
                  <a:lnTo>
                    <a:pt x="6735" y="22741"/>
                  </a:lnTo>
                  <a:lnTo>
                    <a:pt x="24602" y="40859"/>
                  </a:lnTo>
                  <a:lnTo>
                    <a:pt x="31974" y="37235"/>
                  </a:lnTo>
                  <a:cubicBezTo>
                    <a:pt x="32236" y="36498"/>
                    <a:pt x="32561" y="35786"/>
                    <a:pt x="32974" y="35111"/>
                  </a:cubicBezTo>
                  <a:cubicBezTo>
                    <a:pt x="34960" y="31825"/>
                    <a:pt x="39021" y="30450"/>
                    <a:pt x="42595" y="31862"/>
                  </a:cubicBezTo>
                  <a:lnTo>
                    <a:pt x="43219" y="31862"/>
                  </a:lnTo>
                  <a:lnTo>
                    <a:pt x="15106" y="1874"/>
                  </a:lnTo>
                  <a:cubicBezTo>
                    <a:pt x="14756" y="1587"/>
                    <a:pt x="14381" y="1325"/>
                    <a:pt x="13982" y="1125"/>
                  </a:cubicBezTo>
                  <a:cubicBezTo>
                    <a:pt x="13495" y="675"/>
                    <a:pt x="12945" y="300"/>
                    <a:pt x="12358" y="0"/>
                  </a:cubicBezTo>
                  <a:lnTo>
                    <a:pt x="10733" y="0"/>
                  </a:lnTo>
                  <a:lnTo>
                    <a:pt x="8984" y="0"/>
                  </a:lnTo>
                  <a:lnTo>
                    <a:pt x="7235" y="0"/>
                  </a:lnTo>
                  <a:cubicBezTo>
                    <a:pt x="5298" y="512"/>
                    <a:pt x="3611" y="1712"/>
                    <a:pt x="2487" y="3374"/>
                  </a:cubicBezTo>
                  <a:cubicBezTo>
                    <a:pt x="-874" y="7872"/>
                    <a:pt x="-824" y="14057"/>
                    <a:pt x="2612" y="18493"/>
                  </a:cubicBezTo>
                  <a:close/>
                </a:path>
              </a:pathLst>
            </a:custGeom>
            <a:solidFill>
              <a:srgbClr val="000000"/>
            </a:solidFill>
            <a:ln w="12483" cap="flat">
              <a:noFill/>
              <a:prstDash val="solid"/>
              <a:miter/>
            </a:ln>
          </p:spPr>
          <p:txBody>
            <a:bodyPr rtlCol="0" anchor="ctr"/>
            <a:lstStyle/>
            <a:p>
              <a:endParaRPr lang="en-US"/>
            </a:p>
          </p:txBody>
        </p:sp>
        <p:sp>
          <p:nvSpPr>
            <p:cNvPr id="1617" name="Freeform: Shape 1616">
              <a:extLst>
                <a:ext uri="{FF2B5EF4-FFF2-40B4-BE49-F238E27FC236}">
                  <a16:creationId xmlns:a16="http://schemas.microsoft.com/office/drawing/2014/main" id="{CBBFDEFA-8BBF-4A26-BD1C-FE7DF5CCAA8D}"/>
                </a:ext>
              </a:extLst>
            </p:cNvPr>
            <p:cNvSpPr/>
            <p:nvPr/>
          </p:nvSpPr>
          <p:spPr>
            <a:xfrm>
              <a:off x="11530423" y="2056010"/>
              <a:ext cx="10620" cy="5924"/>
            </a:xfrm>
            <a:custGeom>
              <a:avLst/>
              <a:gdLst>
                <a:gd name="connsiteX0" fmla="*/ 999 w 10620"/>
                <a:gd name="connsiteY0" fmla="*/ 3800 h 5924"/>
                <a:gd name="connsiteX1" fmla="*/ 0 w 10620"/>
                <a:gd name="connsiteY1" fmla="*/ 5925 h 5924"/>
                <a:gd name="connsiteX2" fmla="*/ 6247 w 10620"/>
                <a:gd name="connsiteY2" fmla="*/ 2801 h 5924"/>
                <a:gd name="connsiteX3" fmla="*/ 10620 w 10620"/>
                <a:gd name="connsiteY3" fmla="*/ 552 h 5924"/>
                <a:gd name="connsiteX4" fmla="*/ 999 w 10620"/>
                <a:gd name="connsiteY4" fmla="*/ 3800 h 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0" h="5924">
                  <a:moveTo>
                    <a:pt x="999" y="3800"/>
                  </a:moveTo>
                  <a:cubicBezTo>
                    <a:pt x="587" y="4475"/>
                    <a:pt x="262" y="5187"/>
                    <a:pt x="0" y="5925"/>
                  </a:cubicBezTo>
                  <a:lnTo>
                    <a:pt x="6247" y="2801"/>
                  </a:lnTo>
                  <a:lnTo>
                    <a:pt x="10620" y="552"/>
                  </a:lnTo>
                  <a:cubicBezTo>
                    <a:pt x="7047" y="-860"/>
                    <a:pt x="2986" y="514"/>
                    <a:pt x="999" y="3800"/>
                  </a:cubicBezTo>
                  <a:close/>
                </a:path>
              </a:pathLst>
            </a:custGeom>
            <a:solidFill>
              <a:srgbClr val="000000"/>
            </a:solidFill>
            <a:ln w="12483" cap="flat">
              <a:noFill/>
              <a:prstDash val="solid"/>
              <a:miter/>
            </a:ln>
          </p:spPr>
          <p:txBody>
            <a:bodyPr rtlCol="0" anchor="ctr"/>
            <a:lstStyle/>
            <a:p>
              <a:endParaRPr lang="en-US"/>
            </a:p>
          </p:txBody>
        </p:sp>
        <p:sp>
          <p:nvSpPr>
            <p:cNvPr id="1618" name="Freeform: Shape 1617">
              <a:extLst>
                <a:ext uri="{FF2B5EF4-FFF2-40B4-BE49-F238E27FC236}">
                  <a16:creationId xmlns:a16="http://schemas.microsoft.com/office/drawing/2014/main" id="{EA08A7FF-A01D-4E48-945B-3C9482E9969E}"/>
                </a:ext>
              </a:extLst>
            </p:cNvPr>
            <p:cNvSpPr/>
            <p:nvPr/>
          </p:nvSpPr>
          <p:spPr>
            <a:xfrm>
              <a:off x="8519849" y="5540547"/>
              <a:ext cx="749" cy="1499"/>
            </a:xfrm>
            <a:custGeom>
              <a:avLst/>
              <a:gdLst>
                <a:gd name="connsiteX0" fmla="*/ 750 w 749"/>
                <a:gd name="connsiteY0" fmla="*/ 0 h 1499"/>
                <a:gd name="connsiteX1" fmla="*/ 0 w 749"/>
                <a:gd name="connsiteY1" fmla="*/ 1500 h 1499"/>
                <a:gd name="connsiteX2" fmla="*/ 0 w 749"/>
                <a:gd name="connsiteY2" fmla="*/ 625 h 1499"/>
              </a:gdLst>
              <a:ahLst/>
              <a:cxnLst>
                <a:cxn ang="0">
                  <a:pos x="connsiteX0" y="connsiteY0"/>
                </a:cxn>
                <a:cxn ang="0">
                  <a:pos x="connsiteX1" y="connsiteY1"/>
                </a:cxn>
                <a:cxn ang="0">
                  <a:pos x="connsiteX2" y="connsiteY2"/>
                </a:cxn>
              </a:cxnLst>
              <a:rect l="l" t="t" r="r" b="b"/>
              <a:pathLst>
                <a:path w="749" h="1499">
                  <a:moveTo>
                    <a:pt x="750" y="0"/>
                  </a:moveTo>
                  <a:lnTo>
                    <a:pt x="0" y="1500"/>
                  </a:lnTo>
                  <a:cubicBezTo>
                    <a:pt x="25" y="1212"/>
                    <a:pt x="25" y="912"/>
                    <a:pt x="0" y="625"/>
                  </a:cubicBezTo>
                  <a:close/>
                </a:path>
              </a:pathLst>
            </a:custGeom>
            <a:solidFill>
              <a:srgbClr val="000000"/>
            </a:solidFill>
            <a:ln w="12483" cap="flat">
              <a:noFill/>
              <a:prstDash val="solid"/>
              <a:miter/>
            </a:ln>
          </p:spPr>
          <p:txBody>
            <a:bodyPr rtlCol="0" anchor="ctr"/>
            <a:lstStyle/>
            <a:p>
              <a:endParaRPr lang="en-US"/>
            </a:p>
          </p:txBody>
        </p:sp>
        <p:sp>
          <p:nvSpPr>
            <p:cNvPr id="1619" name="Freeform: Shape 1618">
              <a:extLst>
                <a:ext uri="{FF2B5EF4-FFF2-40B4-BE49-F238E27FC236}">
                  <a16:creationId xmlns:a16="http://schemas.microsoft.com/office/drawing/2014/main" id="{0EF63F58-6BFD-46E8-859B-95848E932D2A}"/>
                </a:ext>
              </a:extLst>
            </p:cNvPr>
            <p:cNvSpPr/>
            <p:nvPr/>
          </p:nvSpPr>
          <p:spPr>
            <a:xfrm>
              <a:off x="8519294" y="5544296"/>
              <a:ext cx="55" cy="1749"/>
            </a:xfrm>
            <a:custGeom>
              <a:avLst/>
              <a:gdLst>
                <a:gd name="connsiteX0" fmla="*/ 56 w 55"/>
                <a:gd name="connsiteY0" fmla="*/ 0 h 1749"/>
                <a:gd name="connsiteX1" fmla="*/ 56 w 55"/>
                <a:gd name="connsiteY1" fmla="*/ 1749 h 1749"/>
                <a:gd name="connsiteX2" fmla="*/ 56 w 55"/>
                <a:gd name="connsiteY2" fmla="*/ 625 h 1749"/>
                <a:gd name="connsiteX3" fmla="*/ 56 w 55"/>
                <a:gd name="connsiteY3" fmla="*/ 0 h 1749"/>
              </a:gdLst>
              <a:ahLst/>
              <a:cxnLst>
                <a:cxn ang="0">
                  <a:pos x="connsiteX0" y="connsiteY0"/>
                </a:cxn>
                <a:cxn ang="0">
                  <a:pos x="connsiteX1" y="connsiteY1"/>
                </a:cxn>
                <a:cxn ang="0">
                  <a:pos x="connsiteX2" y="connsiteY2"/>
                </a:cxn>
                <a:cxn ang="0">
                  <a:pos x="connsiteX3" y="connsiteY3"/>
                </a:cxn>
              </a:cxnLst>
              <a:rect l="l" t="t" r="r" b="b"/>
              <a:pathLst>
                <a:path w="55" h="1749">
                  <a:moveTo>
                    <a:pt x="56" y="0"/>
                  </a:moveTo>
                  <a:cubicBezTo>
                    <a:pt x="-7" y="587"/>
                    <a:pt x="-7" y="1162"/>
                    <a:pt x="56" y="1749"/>
                  </a:cubicBezTo>
                  <a:cubicBezTo>
                    <a:pt x="56" y="1749"/>
                    <a:pt x="56" y="999"/>
                    <a:pt x="56" y="625"/>
                  </a:cubicBezTo>
                  <a:cubicBezTo>
                    <a:pt x="56" y="250"/>
                    <a:pt x="-69" y="250"/>
                    <a:pt x="56" y="0"/>
                  </a:cubicBezTo>
                  <a:close/>
                </a:path>
              </a:pathLst>
            </a:custGeom>
            <a:solidFill>
              <a:srgbClr val="000000"/>
            </a:solidFill>
            <a:ln w="12483" cap="flat">
              <a:noFill/>
              <a:prstDash val="solid"/>
              <a:miter/>
            </a:ln>
          </p:spPr>
          <p:txBody>
            <a:bodyPr rtlCol="0" anchor="ctr"/>
            <a:lstStyle/>
            <a:p>
              <a:endParaRPr lang="en-US"/>
            </a:p>
          </p:txBody>
        </p:sp>
        <p:sp>
          <p:nvSpPr>
            <p:cNvPr id="1620" name="Freeform: Shape 1619">
              <a:extLst>
                <a:ext uri="{FF2B5EF4-FFF2-40B4-BE49-F238E27FC236}">
                  <a16:creationId xmlns:a16="http://schemas.microsoft.com/office/drawing/2014/main" id="{BF49E07F-AF4E-4BEF-9C89-28AA5D9597C6}"/>
                </a:ext>
              </a:extLst>
            </p:cNvPr>
            <p:cNvSpPr/>
            <p:nvPr/>
          </p:nvSpPr>
          <p:spPr>
            <a:xfrm>
              <a:off x="8522473" y="5537549"/>
              <a:ext cx="624" cy="1082"/>
            </a:xfrm>
            <a:custGeom>
              <a:avLst/>
              <a:gdLst>
                <a:gd name="connsiteX0" fmla="*/ 625 w 624"/>
                <a:gd name="connsiteY0" fmla="*/ 0 h 1082"/>
                <a:gd name="connsiteX1" fmla="*/ 625 w 624"/>
                <a:gd name="connsiteY1" fmla="*/ 0 h 1082"/>
                <a:gd name="connsiteX2" fmla="*/ 0 w 624"/>
                <a:gd name="connsiteY2" fmla="*/ 0 h 1082"/>
                <a:gd name="connsiteX3" fmla="*/ 0 w 624"/>
                <a:gd name="connsiteY3" fmla="*/ 750 h 1082"/>
                <a:gd name="connsiteX4" fmla="*/ 0 w 624"/>
                <a:gd name="connsiteY4" fmla="*/ 750 h 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 h="1082">
                  <a:moveTo>
                    <a:pt x="625" y="0"/>
                  </a:moveTo>
                  <a:lnTo>
                    <a:pt x="625" y="0"/>
                  </a:lnTo>
                  <a:lnTo>
                    <a:pt x="0" y="0"/>
                  </a:lnTo>
                  <a:cubicBezTo>
                    <a:pt x="0" y="0"/>
                    <a:pt x="0" y="0"/>
                    <a:pt x="0" y="750"/>
                  </a:cubicBezTo>
                  <a:cubicBezTo>
                    <a:pt x="0" y="1499"/>
                    <a:pt x="0" y="750"/>
                    <a:pt x="0" y="750"/>
                  </a:cubicBezTo>
                  <a:close/>
                </a:path>
              </a:pathLst>
            </a:custGeom>
            <a:solidFill>
              <a:srgbClr val="000000"/>
            </a:solidFill>
            <a:ln w="12483" cap="flat">
              <a:noFill/>
              <a:prstDash val="solid"/>
              <a:miter/>
            </a:ln>
          </p:spPr>
          <p:txBody>
            <a:bodyPr rtlCol="0" anchor="ctr"/>
            <a:lstStyle/>
            <a:p>
              <a:endParaRPr lang="en-US"/>
            </a:p>
          </p:txBody>
        </p:sp>
        <p:sp>
          <p:nvSpPr>
            <p:cNvPr id="1621" name="Freeform: Shape 1620">
              <a:extLst>
                <a:ext uri="{FF2B5EF4-FFF2-40B4-BE49-F238E27FC236}">
                  <a16:creationId xmlns:a16="http://schemas.microsoft.com/office/drawing/2014/main" id="{D3A19DF8-5DCB-4D23-8BE5-736548907FB9}"/>
                </a:ext>
              </a:extLst>
            </p:cNvPr>
            <p:cNvSpPr/>
            <p:nvPr/>
          </p:nvSpPr>
          <p:spPr>
            <a:xfrm>
              <a:off x="8537966" y="5550044"/>
              <a:ext cx="30986" cy="50605"/>
            </a:xfrm>
            <a:custGeom>
              <a:avLst/>
              <a:gdLst>
                <a:gd name="connsiteX0" fmla="*/ 14744 w 30986"/>
                <a:gd name="connsiteY0" fmla="*/ 47856 h 50605"/>
                <a:gd name="connsiteX1" fmla="*/ 22740 w 30986"/>
                <a:gd name="connsiteY1" fmla="*/ 35361 h 50605"/>
                <a:gd name="connsiteX2" fmla="*/ 30987 w 30986"/>
                <a:gd name="connsiteY2" fmla="*/ 40109 h 50605"/>
                <a:gd name="connsiteX3" fmla="*/ 30987 w 30986"/>
                <a:gd name="connsiteY3" fmla="*/ 40109 h 50605"/>
                <a:gd name="connsiteX4" fmla="*/ 30987 w 30986"/>
                <a:gd name="connsiteY4" fmla="*/ 39484 h 50605"/>
                <a:gd name="connsiteX5" fmla="*/ 4623 w 30986"/>
                <a:gd name="connsiteY5" fmla="*/ 0 h 50605"/>
                <a:gd name="connsiteX6" fmla="*/ 0 w 30986"/>
                <a:gd name="connsiteY6" fmla="*/ 2624 h 50605"/>
                <a:gd name="connsiteX7" fmla="*/ 2624 w 30986"/>
                <a:gd name="connsiteY7" fmla="*/ 31612 h 50605"/>
                <a:gd name="connsiteX8" fmla="*/ 15119 w 30986"/>
                <a:gd name="connsiteY8" fmla="*/ 50605 h 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86" h="50605">
                  <a:moveTo>
                    <a:pt x="14744" y="47856"/>
                  </a:moveTo>
                  <a:cubicBezTo>
                    <a:pt x="13507" y="42196"/>
                    <a:pt x="17080" y="36610"/>
                    <a:pt x="22740" y="35361"/>
                  </a:cubicBezTo>
                  <a:cubicBezTo>
                    <a:pt x="26214" y="35036"/>
                    <a:pt x="29525" y="36935"/>
                    <a:pt x="30987" y="40109"/>
                  </a:cubicBezTo>
                  <a:lnTo>
                    <a:pt x="30987" y="40109"/>
                  </a:lnTo>
                  <a:cubicBezTo>
                    <a:pt x="30987" y="40109"/>
                    <a:pt x="30987" y="40109"/>
                    <a:pt x="30987" y="39484"/>
                  </a:cubicBezTo>
                  <a:lnTo>
                    <a:pt x="4623" y="0"/>
                  </a:lnTo>
                  <a:lnTo>
                    <a:pt x="0" y="2624"/>
                  </a:lnTo>
                  <a:lnTo>
                    <a:pt x="2624" y="31612"/>
                  </a:lnTo>
                  <a:lnTo>
                    <a:pt x="15119" y="50605"/>
                  </a:lnTo>
                  <a:close/>
                </a:path>
              </a:pathLst>
            </a:custGeom>
            <a:solidFill>
              <a:srgbClr val="000000"/>
            </a:solidFill>
            <a:ln w="12483" cap="flat">
              <a:noFill/>
              <a:prstDash val="solid"/>
              <a:miter/>
            </a:ln>
          </p:spPr>
          <p:txBody>
            <a:bodyPr rtlCol="0" anchor="ctr"/>
            <a:lstStyle/>
            <a:p>
              <a:endParaRPr lang="en-US"/>
            </a:p>
          </p:txBody>
        </p:sp>
        <p:sp>
          <p:nvSpPr>
            <p:cNvPr id="1622" name="Freeform: Shape 1621">
              <a:extLst>
                <a:ext uri="{FF2B5EF4-FFF2-40B4-BE49-F238E27FC236}">
                  <a16:creationId xmlns:a16="http://schemas.microsoft.com/office/drawing/2014/main" id="{7843FE60-5C3E-47F4-BD77-989215A84131}"/>
                </a:ext>
              </a:extLst>
            </p:cNvPr>
            <p:cNvSpPr/>
            <p:nvPr/>
          </p:nvSpPr>
          <p:spPr>
            <a:xfrm>
              <a:off x="8570129" y="5592652"/>
              <a:ext cx="244" cy="1999"/>
            </a:xfrm>
            <a:custGeom>
              <a:avLst/>
              <a:gdLst>
                <a:gd name="connsiteX0" fmla="*/ 198 w 244"/>
                <a:gd name="connsiteY0" fmla="*/ 1999 h 1999"/>
                <a:gd name="connsiteX1" fmla="*/ 198 w 244"/>
                <a:gd name="connsiteY1" fmla="*/ 1250 h 1999"/>
                <a:gd name="connsiteX2" fmla="*/ 198 w 244"/>
                <a:gd name="connsiteY2" fmla="*/ 0 h 1999"/>
                <a:gd name="connsiteX3" fmla="*/ 198 w 244"/>
                <a:gd name="connsiteY3" fmla="*/ 1999 h 1999"/>
              </a:gdLst>
              <a:ahLst/>
              <a:cxnLst>
                <a:cxn ang="0">
                  <a:pos x="connsiteX0" y="connsiteY0"/>
                </a:cxn>
                <a:cxn ang="0">
                  <a:pos x="connsiteX1" y="connsiteY1"/>
                </a:cxn>
                <a:cxn ang="0">
                  <a:pos x="connsiteX2" y="connsiteY2"/>
                </a:cxn>
                <a:cxn ang="0">
                  <a:pos x="connsiteX3" y="connsiteY3"/>
                </a:cxn>
              </a:cxnLst>
              <a:rect l="l" t="t" r="r" b="b"/>
              <a:pathLst>
                <a:path w="244" h="1999">
                  <a:moveTo>
                    <a:pt x="198" y="1999"/>
                  </a:moveTo>
                  <a:cubicBezTo>
                    <a:pt x="260" y="1749"/>
                    <a:pt x="260" y="1499"/>
                    <a:pt x="198" y="1250"/>
                  </a:cubicBezTo>
                  <a:cubicBezTo>
                    <a:pt x="248" y="837"/>
                    <a:pt x="248" y="412"/>
                    <a:pt x="198" y="0"/>
                  </a:cubicBezTo>
                  <a:cubicBezTo>
                    <a:pt x="-177" y="625"/>
                    <a:pt x="73" y="1250"/>
                    <a:pt x="198" y="1999"/>
                  </a:cubicBezTo>
                  <a:close/>
                </a:path>
              </a:pathLst>
            </a:custGeom>
            <a:solidFill>
              <a:srgbClr val="000000"/>
            </a:solidFill>
            <a:ln w="12483" cap="flat">
              <a:noFill/>
              <a:prstDash val="solid"/>
              <a:miter/>
            </a:ln>
          </p:spPr>
          <p:txBody>
            <a:bodyPr rtlCol="0" anchor="ctr"/>
            <a:lstStyle/>
            <a:p>
              <a:endParaRPr lang="en-US"/>
            </a:p>
          </p:txBody>
        </p:sp>
        <p:sp>
          <p:nvSpPr>
            <p:cNvPr id="1623" name="Freeform: Shape 1622">
              <a:extLst>
                <a:ext uri="{FF2B5EF4-FFF2-40B4-BE49-F238E27FC236}">
                  <a16:creationId xmlns:a16="http://schemas.microsoft.com/office/drawing/2014/main" id="{9FAF2132-5054-4BFA-8247-6E01A31C2CD7}"/>
                </a:ext>
              </a:extLst>
            </p:cNvPr>
            <p:cNvSpPr/>
            <p:nvPr/>
          </p:nvSpPr>
          <p:spPr>
            <a:xfrm>
              <a:off x="8945993" y="5894781"/>
              <a:ext cx="246190" cy="155627"/>
            </a:xfrm>
            <a:custGeom>
              <a:avLst/>
              <a:gdLst>
                <a:gd name="connsiteX0" fmla="*/ 12291 w 246190"/>
                <a:gd name="connsiteY0" fmla="*/ 154938 h 155627"/>
                <a:gd name="connsiteX1" fmla="*/ 12291 w 246190"/>
                <a:gd name="connsiteY1" fmla="*/ 154938 h 155627"/>
                <a:gd name="connsiteX2" fmla="*/ 15290 w 246190"/>
                <a:gd name="connsiteY2" fmla="*/ 153189 h 155627"/>
                <a:gd name="connsiteX3" fmla="*/ 17414 w 246190"/>
                <a:gd name="connsiteY3" fmla="*/ 151939 h 155627"/>
                <a:gd name="connsiteX4" fmla="*/ 246190 w 246190"/>
                <a:gd name="connsiteY4" fmla="*/ 19617 h 155627"/>
                <a:gd name="connsiteX5" fmla="*/ 234683 w 246190"/>
                <a:gd name="connsiteY5" fmla="*/ 16844 h 155627"/>
                <a:gd name="connsiteX6" fmla="*/ 233696 w 246190"/>
                <a:gd name="connsiteY6" fmla="*/ 14494 h 155627"/>
                <a:gd name="connsiteX7" fmla="*/ 237819 w 246190"/>
                <a:gd name="connsiteY7" fmla="*/ 0 h 155627"/>
                <a:gd name="connsiteX8" fmla="*/ 235820 w 246190"/>
                <a:gd name="connsiteY8" fmla="*/ 1125 h 155627"/>
                <a:gd name="connsiteX9" fmla="*/ 4545 w 246190"/>
                <a:gd name="connsiteY9" fmla="*/ 135196 h 155627"/>
                <a:gd name="connsiteX10" fmla="*/ 4545 w 246190"/>
                <a:gd name="connsiteY10" fmla="*/ 135196 h 155627"/>
                <a:gd name="connsiteX11" fmla="*/ 2795 w 246190"/>
                <a:gd name="connsiteY11" fmla="*/ 136821 h 155627"/>
                <a:gd name="connsiteX12" fmla="*/ 1796 w 246190"/>
                <a:gd name="connsiteY12" fmla="*/ 137820 h 155627"/>
                <a:gd name="connsiteX13" fmla="*/ 1046 w 246190"/>
                <a:gd name="connsiteY13" fmla="*/ 139444 h 155627"/>
                <a:gd name="connsiteX14" fmla="*/ 47 w 246190"/>
                <a:gd name="connsiteY14" fmla="*/ 141444 h 155627"/>
                <a:gd name="connsiteX15" fmla="*/ 47 w 246190"/>
                <a:gd name="connsiteY15" fmla="*/ 142818 h 155627"/>
                <a:gd name="connsiteX16" fmla="*/ 47 w 246190"/>
                <a:gd name="connsiteY16" fmla="*/ 145567 h 155627"/>
                <a:gd name="connsiteX17" fmla="*/ 921 w 246190"/>
                <a:gd name="connsiteY17" fmla="*/ 149565 h 155627"/>
                <a:gd name="connsiteX18" fmla="*/ 11279 w 246190"/>
                <a:gd name="connsiteY18" fmla="*/ 155301 h 155627"/>
                <a:gd name="connsiteX19" fmla="*/ 12291 w 246190"/>
                <a:gd name="connsiteY19" fmla="*/ 154938 h 15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6190" h="155627">
                  <a:moveTo>
                    <a:pt x="12291" y="154938"/>
                  </a:moveTo>
                  <a:lnTo>
                    <a:pt x="12291" y="154938"/>
                  </a:lnTo>
                  <a:lnTo>
                    <a:pt x="15290" y="153189"/>
                  </a:lnTo>
                  <a:lnTo>
                    <a:pt x="17414" y="151939"/>
                  </a:lnTo>
                  <a:lnTo>
                    <a:pt x="246190" y="19617"/>
                  </a:lnTo>
                  <a:cubicBezTo>
                    <a:pt x="242242" y="22029"/>
                    <a:pt x="237094" y="20792"/>
                    <a:pt x="234683" y="16844"/>
                  </a:cubicBezTo>
                  <a:cubicBezTo>
                    <a:pt x="234233" y="16119"/>
                    <a:pt x="233908" y="15319"/>
                    <a:pt x="233696" y="14494"/>
                  </a:cubicBezTo>
                  <a:cubicBezTo>
                    <a:pt x="231384" y="9297"/>
                    <a:pt x="233121" y="3199"/>
                    <a:pt x="237819" y="0"/>
                  </a:cubicBezTo>
                  <a:lnTo>
                    <a:pt x="235820" y="1125"/>
                  </a:lnTo>
                  <a:lnTo>
                    <a:pt x="4545" y="135196"/>
                  </a:lnTo>
                  <a:lnTo>
                    <a:pt x="4545" y="135196"/>
                  </a:lnTo>
                  <a:cubicBezTo>
                    <a:pt x="3895" y="135671"/>
                    <a:pt x="3320" y="136208"/>
                    <a:pt x="2795" y="136821"/>
                  </a:cubicBezTo>
                  <a:cubicBezTo>
                    <a:pt x="2795" y="136821"/>
                    <a:pt x="2046" y="137445"/>
                    <a:pt x="1796" y="137820"/>
                  </a:cubicBezTo>
                  <a:cubicBezTo>
                    <a:pt x="1496" y="138333"/>
                    <a:pt x="1246" y="138882"/>
                    <a:pt x="1046" y="139444"/>
                  </a:cubicBezTo>
                  <a:cubicBezTo>
                    <a:pt x="634" y="140069"/>
                    <a:pt x="309" y="140744"/>
                    <a:pt x="47" y="141444"/>
                  </a:cubicBezTo>
                  <a:cubicBezTo>
                    <a:pt x="47" y="141444"/>
                    <a:pt x="47" y="142318"/>
                    <a:pt x="47" y="142818"/>
                  </a:cubicBezTo>
                  <a:cubicBezTo>
                    <a:pt x="-16" y="143730"/>
                    <a:pt x="-16" y="144655"/>
                    <a:pt x="47" y="145567"/>
                  </a:cubicBezTo>
                  <a:cubicBezTo>
                    <a:pt x="84" y="146942"/>
                    <a:pt x="384" y="148304"/>
                    <a:pt x="921" y="149565"/>
                  </a:cubicBezTo>
                  <a:cubicBezTo>
                    <a:pt x="2196" y="154014"/>
                    <a:pt x="6831" y="156575"/>
                    <a:pt x="11279" y="155301"/>
                  </a:cubicBezTo>
                  <a:cubicBezTo>
                    <a:pt x="11629" y="155201"/>
                    <a:pt x="11967" y="155076"/>
                    <a:pt x="12291" y="154938"/>
                  </a:cubicBezTo>
                  <a:close/>
                </a:path>
              </a:pathLst>
            </a:custGeom>
            <a:solidFill>
              <a:srgbClr val="000000"/>
            </a:solidFill>
            <a:ln w="12483" cap="flat">
              <a:noFill/>
              <a:prstDash val="solid"/>
              <a:miter/>
            </a:ln>
          </p:spPr>
          <p:txBody>
            <a:bodyPr rtlCol="0" anchor="ctr"/>
            <a:lstStyle/>
            <a:p>
              <a:endParaRPr lang="en-US"/>
            </a:p>
          </p:txBody>
        </p:sp>
        <p:sp>
          <p:nvSpPr>
            <p:cNvPr id="1624" name="Freeform: Shape 1623">
              <a:extLst>
                <a:ext uri="{FF2B5EF4-FFF2-40B4-BE49-F238E27FC236}">
                  <a16:creationId xmlns:a16="http://schemas.microsoft.com/office/drawing/2014/main" id="{61346E5F-BC62-4FB5-BE1A-55722A2179B9}"/>
                </a:ext>
              </a:extLst>
            </p:cNvPr>
            <p:cNvSpPr/>
            <p:nvPr/>
          </p:nvSpPr>
          <p:spPr>
            <a:xfrm>
              <a:off x="11044258" y="2145901"/>
              <a:ext cx="218655" cy="126324"/>
            </a:xfrm>
            <a:custGeom>
              <a:avLst/>
              <a:gdLst>
                <a:gd name="connsiteX0" fmla="*/ 0 w 218655"/>
                <a:gd name="connsiteY0" fmla="*/ 126325 h 126324"/>
                <a:gd name="connsiteX1" fmla="*/ 215657 w 218655"/>
                <a:gd name="connsiteY1" fmla="*/ 17618 h 126324"/>
                <a:gd name="connsiteX2" fmla="*/ 213782 w 218655"/>
                <a:gd name="connsiteY2" fmla="*/ 14244 h 126324"/>
                <a:gd name="connsiteX3" fmla="*/ 218656 w 218655"/>
                <a:gd name="connsiteY3" fmla="*/ 0 h 126324"/>
                <a:gd name="connsiteX4" fmla="*/ 205161 w 218655"/>
                <a:gd name="connsiteY4" fmla="*/ 6747 h 126324"/>
                <a:gd name="connsiteX5" fmla="*/ 625 w 218655"/>
                <a:gd name="connsiteY5" fmla="*/ 109706 h 1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655" h="126324">
                  <a:moveTo>
                    <a:pt x="0" y="126325"/>
                  </a:moveTo>
                  <a:lnTo>
                    <a:pt x="215657" y="17618"/>
                  </a:lnTo>
                  <a:cubicBezTo>
                    <a:pt x="214882" y="16581"/>
                    <a:pt x="214257" y="15444"/>
                    <a:pt x="213782" y="14244"/>
                  </a:cubicBezTo>
                  <a:cubicBezTo>
                    <a:pt x="212046" y="8946"/>
                    <a:pt x="214032" y="3124"/>
                    <a:pt x="218656" y="0"/>
                  </a:cubicBezTo>
                  <a:lnTo>
                    <a:pt x="205161" y="6747"/>
                  </a:lnTo>
                  <a:lnTo>
                    <a:pt x="625" y="109706"/>
                  </a:lnTo>
                  <a:close/>
                </a:path>
              </a:pathLst>
            </a:custGeom>
            <a:solidFill>
              <a:srgbClr val="000000"/>
            </a:solidFill>
            <a:ln w="12483" cap="flat">
              <a:noFill/>
              <a:prstDash val="solid"/>
              <a:miter/>
            </a:ln>
          </p:spPr>
          <p:txBody>
            <a:bodyPr rtlCol="0" anchor="ctr"/>
            <a:lstStyle/>
            <a:p>
              <a:endParaRPr lang="en-US"/>
            </a:p>
          </p:txBody>
        </p:sp>
        <p:sp>
          <p:nvSpPr>
            <p:cNvPr id="1625" name="Freeform: Shape 1624">
              <a:extLst>
                <a:ext uri="{FF2B5EF4-FFF2-40B4-BE49-F238E27FC236}">
                  <a16:creationId xmlns:a16="http://schemas.microsoft.com/office/drawing/2014/main" id="{DF5E6327-11C7-463D-A9CF-0788A8F5736E}"/>
                </a:ext>
              </a:extLst>
            </p:cNvPr>
            <p:cNvSpPr/>
            <p:nvPr/>
          </p:nvSpPr>
          <p:spPr>
            <a:xfrm>
              <a:off x="11257418" y="2135966"/>
              <a:ext cx="36106" cy="27553"/>
            </a:xfrm>
            <a:custGeom>
              <a:avLst/>
              <a:gdLst>
                <a:gd name="connsiteX0" fmla="*/ 622 w 36106"/>
                <a:gd name="connsiteY0" fmla="*/ 24179 h 27553"/>
                <a:gd name="connsiteX1" fmla="*/ 2496 w 36106"/>
                <a:gd name="connsiteY1" fmla="*/ 27553 h 27553"/>
                <a:gd name="connsiteX2" fmla="*/ 22863 w 36106"/>
                <a:gd name="connsiteY2" fmla="*/ 17307 h 27553"/>
                <a:gd name="connsiteX3" fmla="*/ 34233 w 36106"/>
                <a:gd name="connsiteY3" fmla="*/ 11684 h 27553"/>
                <a:gd name="connsiteX4" fmla="*/ 36107 w 36106"/>
                <a:gd name="connsiteY4" fmla="*/ 10685 h 27553"/>
                <a:gd name="connsiteX5" fmla="*/ 35482 w 36106"/>
                <a:gd name="connsiteY5" fmla="*/ 6562 h 27553"/>
                <a:gd name="connsiteX6" fmla="*/ 25049 w 36106"/>
                <a:gd name="connsiteY6" fmla="*/ 252 h 27553"/>
                <a:gd name="connsiteX7" fmla="*/ 23737 w 36106"/>
                <a:gd name="connsiteY7" fmla="*/ 689 h 27553"/>
                <a:gd name="connsiteX8" fmla="*/ 10493 w 36106"/>
                <a:gd name="connsiteY8" fmla="*/ 7436 h 27553"/>
                <a:gd name="connsiteX9" fmla="*/ 5495 w 36106"/>
                <a:gd name="connsiteY9" fmla="*/ 9935 h 27553"/>
                <a:gd name="connsiteX10" fmla="*/ 622 w 36106"/>
                <a:gd name="connsiteY10" fmla="*/ 24179 h 2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06" h="27553">
                  <a:moveTo>
                    <a:pt x="622" y="24179"/>
                  </a:moveTo>
                  <a:cubicBezTo>
                    <a:pt x="1097" y="25379"/>
                    <a:pt x="1722" y="26516"/>
                    <a:pt x="2496" y="27553"/>
                  </a:cubicBezTo>
                  <a:lnTo>
                    <a:pt x="22863" y="17307"/>
                  </a:lnTo>
                  <a:lnTo>
                    <a:pt x="34233" y="11684"/>
                  </a:lnTo>
                  <a:lnTo>
                    <a:pt x="36107" y="10685"/>
                  </a:lnTo>
                  <a:cubicBezTo>
                    <a:pt x="36082" y="9286"/>
                    <a:pt x="35870" y="7899"/>
                    <a:pt x="35482" y="6562"/>
                  </a:cubicBezTo>
                  <a:cubicBezTo>
                    <a:pt x="34345" y="1938"/>
                    <a:pt x="29672" y="-885"/>
                    <a:pt x="25049" y="252"/>
                  </a:cubicBezTo>
                  <a:cubicBezTo>
                    <a:pt x="24599" y="364"/>
                    <a:pt x="24162" y="514"/>
                    <a:pt x="23737" y="689"/>
                  </a:cubicBezTo>
                  <a:lnTo>
                    <a:pt x="10493" y="7436"/>
                  </a:lnTo>
                  <a:lnTo>
                    <a:pt x="5495" y="9935"/>
                  </a:lnTo>
                  <a:cubicBezTo>
                    <a:pt x="872" y="13059"/>
                    <a:pt x="-1115" y="18882"/>
                    <a:pt x="622" y="24179"/>
                  </a:cubicBezTo>
                  <a:close/>
                </a:path>
              </a:pathLst>
            </a:custGeom>
            <a:solidFill>
              <a:srgbClr val="000000"/>
            </a:solidFill>
            <a:ln w="12483" cap="flat">
              <a:noFill/>
              <a:prstDash val="solid"/>
              <a:miter/>
            </a:ln>
          </p:spPr>
          <p:txBody>
            <a:bodyPr rtlCol="0" anchor="ctr"/>
            <a:lstStyle/>
            <a:p>
              <a:endParaRPr lang="en-US"/>
            </a:p>
          </p:txBody>
        </p:sp>
        <p:sp>
          <p:nvSpPr>
            <p:cNvPr id="1626" name="Freeform: Shape 1625">
              <a:extLst>
                <a:ext uri="{FF2B5EF4-FFF2-40B4-BE49-F238E27FC236}">
                  <a16:creationId xmlns:a16="http://schemas.microsoft.com/office/drawing/2014/main" id="{DA49CB71-2DCA-47EC-B5B5-99DA170FA9B1}"/>
                </a:ext>
              </a:extLst>
            </p:cNvPr>
            <p:cNvSpPr/>
            <p:nvPr/>
          </p:nvSpPr>
          <p:spPr>
            <a:xfrm>
              <a:off x="11024314" y="2283221"/>
              <a:ext cx="14571" cy="18369"/>
            </a:xfrm>
            <a:custGeom>
              <a:avLst/>
              <a:gdLst>
                <a:gd name="connsiteX0" fmla="*/ 11948 w 14571"/>
                <a:gd name="connsiteY0" fmla="*/ 15994 h 18369"/>
                <a:gd name="connsiteX1" fmla="*/ 10074 w 14571"/>
                <a:gd name="connsiteY1" fmla="*/ 15994 h 18369"/>
                <a:gd name="connsiteX2" fmla="*/ 10074 w 14571"/>
                <a:gd name="connsiteY2" fmla="*/ 15994 h 18369"/>
                <a:gd name="connsiteX3" fmla="*/ 8824 w 14571"/>
                <a:gd name="connsiteY3" fmla="*/ 15994 h 18369"/>
                <a:gd name="connsiteX4" fmla="*/ 6825 w 14571"/>
                <a:gd name="connsiteY4" fmla="*/ 15994 h 18369"/>
                <a:gd name="connsiteX5" fmla="*/ 5451 w 14571"/>
                <a:gd name="connsiteY5" fmla="*/ 14869 h 18369"/>
                <a:gd name="connsiteX6" fmla="*/ 4076 w 14571"/>
                <a:gd name="connsiteY6" fmla="*/ 13620 h 18369"/>
                <a:gd name="connsiteX7" fmla="*/ 2952 w 14571"/>
                <a:gd name="connsiteY7" fmla="*/ 11495 h 18369"/>
                <a:gd name="connsiteX8" fmla="*/ 2202 w 14571"/>
                <a:gd name="connsiteY8" fmla="*/ 10246 h 18369"/>
                <a:gd name="connsiteX9" fmla="*/ 2202 w 14571"/>
                <a:gd name="connsiteY9" fmla="*/ 10246 h 18369"/>
                <a:gd name="connsiteX10" fmla="*/ 2202 w 14571"/>
                <a:gd name="connsiteY10" fmla="*/ 8247 h 18369"/>
                <a:gd name="connsiteX11" fmla="*/ 2202 w 14571"/>
                <a:gd name="connsiteY11" fmla="*/ 5998 h 18369"/>
                <a:gd name="connsiteX12" fmla="*/ 2202 w 14571"/>
                <a:gd name="connsiteY12" fmla="*/ 5998 h 18369"/>
                <a:gd name="connsiteX13" fmla="*/ 2202 w 14571"/>
                <a:gd name="connsiteY13" fmla="*/ 0 h 18369"/>
                <a:gd name="connsiteX14" fmla="*/ 1327 w 14571"/>
                <a:gd name="connsiteY14" fmla="*/ 1499 h 18369"/>
                <a:gd name="connsiteX15" fmla="*/ 328 w 14571"/>
                <a:gd name="connsiteY15" fmla="*/ 3249 h 18369"/>
                <a:gd name="connsiteX16" fmla="*/ 328 w 14571"/>
                <a:gd name="connsiteY16" fmla="*/ 5623 h 18369"/>
                <a:gd name="connsiteX17" fmla="*/ 328 w 14571"/>
                <a:gd name="connsiteY17" fmla="*/ 11870 h 18369"/>
                <a:gd name="connsiteX18" fmla="*/ 10586 w 14571"/>
                <a:gd name="connsiteY18" fmla="*/ 18130 h 18369"/>
                <a:gd name="connsiteX19" fmla="*/ 12073 w 14571"/>
                <a:gd name="connsiteY19" fmla="*/ 17618 h 18369"/>
                <a:gd name="connsiteX20" fmla="*/ 14572 w 14571"/>
                <a:gd name="connsiteY20" fmla="*/ 16494 h 18369"/>
                <a:gd name="connsiteX21" fmla="*/ 14572 w 14571"/>
                <a:gd name="connsiteY21" fmla="*/ 16494 h 18369"/>
                <a:gd name="connsiteX22" fmla="*/ 11948 w 14571"/>
                <a:gd name="connsiteY22" fmla="*/ 15994 h 1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1" h="18369">
                  <a:moveTo>
                    <a:pt x="11948" y="15994"/>
                  </a:moveTo>
                  <a:lnTo>
                    <a:pt x="10074" y="15994"/>
                  </a:lnTo>
                  <a:lnTo>
                    <a:pt x="10074" y="15994"/>
                  </a:lnTo>
                  <a:lnTo>
                    <a:pt x="8824" y="15994"/>
                  </a:lnTo>
                  <a:lnTo>
                    <a:pt x="6825" y="15994"/>
                  </a:lnTo>
                  <a:lnTo>
                    <a:pt x="5451" y="14869"/>
                  </a:lnTo>
                  <a:cubicBezTo>
                    <a:pt x="4964" y="14482"/>
                    <a:pt x="4501" y="14069"/>
                    <a:pt x="4076" y="13620"/>
                  </a:cubicBezTo>
                  <a:cubicBezTo>
                    <a:pt x="3577" y="12982"/>
                    <a:pt x="3202" y="12258"/>
                    <a:pt x="2952" y="11495"/>
                  </a:cubicBezTo>
                  <a:cubicBezTo>
                    <a:pt x="2627" y="11121"/>
                    <a:pt x="2377" y="10708"/>
                    <a:pt x="2202" y="10246"/>
                  </a:cubicBezTo>
                  <a:lnTo>
                    <a:pt x="2202" y="10246"/>
                  </a:lnTo>
                  <a:cubicBezTo>
                    <a:pt x="2140" y="9584"/>
                    <a:pt x="2140" y="8909"/>
                    <a:pt x="2202" y="8247"/>
                  </a:cubicBezTo>
                  <a:cubicBezTo>
                    <a:pt x="2077" y="7497"/>
                    <a:pt x="2077" y="6747"/>
                    <a:pt x="2202" y="5998"/>
                  </a:cubicBezTo>
                  <a:lnTo>
                    <a:pt x="2202" y="5998"/>
                  </a:lnTo>
                  <a:lnTo>
                    <a:pt x="2202" y="0"/>
                  </a:lnTo>
                  <a:cubicBezTo>
                    <a:pt x="2202" y="0"/>
                    <a:pt x="2202" y="1000"/>
                    <a:pt x="1327" y="1499"/>
                  </a:cubicBezTo>
                  <a:cubicBezTo>
                    <a:pt x="953" y="2049"/>
                    <a:pt x="616" y="2636"/>
                    <a:pt x="328" y="3249"/>
                  </a:cubicBezTo>
                  <a:cubicBezTo>
                    <a:pt x="265" y="4036"/>
                    <a:pt x="265" y="4835"/>
                    <a:pt x="328" y="5623"/>
                  </a:cubicBezTo>
                  <a:cubicBezTo>
                    <a:pt x="-109" y="7685"/>
                    <a:pt x="-109" y="9809"/>
                    <a:pt x="328" y="11870"/>
                  </a:cubicBezTo>
                  <a:cubicBezTo>
                    <a:pt x="1427" y="16431"/>
                    <a:pt x="6025" y="19230"/>
                    <a:pt x="10586" y="18130"/>
                  </a:cubicBezTo>
                  <a:cubicBezTo>
                    <a:pt x="11098" y="18005"/>
                    <a:pt x="11598" y="17830"/>
                    <a:pt x="12073" y="17618"/>
                  </a:cubicBezTo>
                  <a:lnTo>
                    <a:pt x="14572" y="16494"/>
                  </a:lnTo>
                  <a:lnTo>
                    <a:pt x="14572" y="16494"/>
                  </a:lnTo>
                  <a:cubicBezTo>
                    <a:pt x="13672" y="16481"/>
                    <a:pt x="12785" y="16318"/>
                    <a:pt x="11948" y="15994"/>
                  </a:cubicBezTo>
                  <a:close/>
                </a:path>
              </a:pathLst>
            </a:custGeom>
            <a:solidFill>
              <a:srgbClr val="000000"/>
            </a:solidFill>
            <a:ln w="12483" cap="flat">
              <a:noFill/>
              <a:prstDash val="solid"/>
              <a:miter/>
            </a:ln>
          </p:spPr>
          <p:txBody>
            <a:bodyPr rtlCol="0" anchor="ctr"/>
            <a:lstStyle/>
            <a:p>
              <a:endParaRPr lang="en-US"/>
            </a:p>
          </p:txBody>
        </p:sp>
        <p:sp>
          <p:nvSpPr>
            <p:cNvPr id="1627" name="Freeform: Shape 1626">
              <a:extLst>
                <a:ext uri="{FF2B5EF4-FFF2-40B4-BE49-F238E27FC236}">
                  <a16:creationId xmlns:a16="http://schemas.microsoft.com/office/drawing/2014/main" id="{73FB9A83-596F-45C6-A007-8494430A67E0}"/>
                </a:ext>
              </a:extLst>
            </p:cNvPr>
            <p:cNvSpPr/>
            <p:nvPr/>
          </p:nvSpPr>
          <p:spPr>
            <a:xfrm>
              <a:off x="11368368" y="2148525"/>
              <a:ext cx="17242" cy="27614"/>
            </a:xfrm>
            <a:custGeom>
              <a:avLst/>
              <a:gdLst>
                <a:gd name="connsiteX0" fmla="*/ 12744 w 17242"/>
                <a:gd name="connsiteY0" fmla="*/ 12245 h 27614"/>
                <a:gd name="connsiteX1" fmla="*/ 1599 w 17242"/>
                <a:gd name="connsiteY1" fmla="*/ 8247 h 27614"/>
                <a:gd name="connsiteX2" fmla="*/ 999 w 17242"/>
                <a:gd name="connsiteY2" fmla="*/ 6497 h 27614"/>
                <a:gd name="connsiteX3" fmla="*/ 999 w 17242"/>
                <a:gd name="connsiteY3" fmla="*/ 0 h 27614"/>
                <a:gd name="connsiteX4" fmla="*/ 999 w 17242"/>
                <a:gd name="connsiteY4" fmla="*/ 1624 h 27614"/>
                <a:gd name="connsiteX5" fmla="*/ 0 w 17242"/>
                <a:gd name="connsiteY5" fmla="*/ 20367 h 27614"/>
                <a:gd name="connsiteX6" fmla="*/ 5122 w 17242"/>
                <a:gd name="connsiteY6" fmla="*/ 17743 h 27614"/>
                <a:gd name="connsiteX7" fmla="*/ 5122 w 17242"/>
                <a:gd name="connsiteY7" fmla="*/ 17743 h 27614"/>
                <a:gd name="connsiteX8" fmla="*/ 6997 w 17242"/>
                <a:gd name="connsiteY8" fmla="*/ 17743 h 27614"/>
                <a:gd name="connsiteX9" fmla="*/ 8621 w 17242"/>
                <a:gd name="connsiteY9" fmla="*/ 17743 h 27614"/>
                <a:gd name="connsiteX10" fmla="*/ 8621 w 17242"/>
                <a:gd name="connsiteY10" fmla="*/ 17743 h 27614"/>
                <a:gd name="connsiteX11" fmla="*/ 9870 w 17242"/>
                <a:gd name="connsiteY11" fmla="*/ 17743 h 27614"/>
                <a:gd name="connsiteX12" fmla="*/ 11745 w 17242"/>
                <a:gd name="connsiteY12" fmla="*/ 17743 h 27614"/>
                <a:gd name="connsiteX13" fmla="*/ 13244 w 17242"/>
                <a:gd name="connsiteY13" fmla="*/ 18992 h 27614"/>
                <a:gd name="connsiteX14" fmla="*/ 14493 w 17242"/>
                <a:gd name="connsiteY14" fmla="*/ 20242 h 27614"/>
                <a:gd name="connsiteX15" fmla="*/ 15618 w 17242"/>
                <a:gd name="connsiteY15" fmla="*/ 22116 h 27614"/>
                <a:gd name="connsiteX16" fmla="*/ 16368 w 17242"/>
                <a:gd name="connsiteY16" fmla="*/ 23366 h 27614"/>
                <a:gd name="connsiteX17" fmla="*/ 16368 w 17242"/>
                <a:gd name="connsiteY17" fmla="*/ 23366 h 27614"/>
                <a:gd name="connsiteX18" fmla="*/ 16368 w 17242"/>
                <a:gd name="connsiteY18" fmla="*/ 25615 h 27614"/>
                <a:gd name="connsiteX19" fmla="*/ 16368 w 17242"/>
                <a:gd name="connsiteY19" fmla="*/ 27614 h 27614"/>
                <a:gd name="connsiteX20" fmla="*/ 16368 w 17242"/>
                <a:gd name="connsiteY20" fmla="*/ 27614 h 27614"/>
                <a:gd name="connsiteX21" fmla="*/ 17242 w 17242"/>
                <a:gd name="connsiteY21" fmla="*/ 12745 h 27614"/>
                <a:gd name="connsiteX22" fmla="*/ 17242 w 17242"/>
                <a:gd name="connsiteY22" fmla="*/ 8872 h 2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2" h="27614">
                  <a:moveTo>
                    <a:pt x="12744" y="12245"/>
                  </a:moveTo>
                  <a:cubicBezTo>
                    <a:pt x="8559" y="14219"/>
                    <a:pt x="3573" y="12432"/>
                    <a:pt x="1599" y="8247"/>
                  </a:cubicBezTo>
                  <a:cubicBezTo>
                    <a:pt x="1337" y="7685"/>
                    <a:pt x="1137" y="7097"/>
                    <a:pt x="999" y="6497"/>
                  </a:cubicBezTo>
                  <a:cubicBezTo>
                    <a:pt x="425" y="4373"/>
                    <a:pt x="425" y="2124"/>
                    <a:pt x="999" y="0"/>
                  </a:cubicBezTo>
                  <a:cubicBezTo>
                    <a:pt x="999" y="0"/>
                    <a:pt x="999" y="1000"/>
                    <a:pt x="999" y="1624"/>
                  </a:cubicBezTo>
                  <a:lnTo>
                    <a:pt x="0" y="20367"/>
                  </a:lnTo>
                  <a:lnTo>
                    <a:pt x="5122" y="17743"/>
                  </a:lnTo>
                  <a:lnTo>
                    <a:pt x="5122" y="17743"/>
                  </a:lnTo>
                  <a:cubicBezTo>
                    <a:pt x="5735" y="17618"/>
                    <a:pt x="6385" y="17618"/>
                    <a:pt x="6997" y="17743"/>
                  </a:cubicBezTo>
                  <a:lnTo>
                    <a:pt x="8621" y="17743"/>
                  </a:lnTo>
                  <a:lnTo>
                    <a:pt x="8621" y="17743"/>
                  </a:lnTo>
                  <a:lnTo>
                    <a:pt x="9870" y="17743"/>
                  </a:lnTo>
                  <a:lnTo>
                    <a:pt x="11745" y="17743"/>
                  </a:lnTo>
                  <a:lnTo>
                    <a:pt x="13244" y="18992"/>
                  </a:lnTo>
                  <a:cubicBezTo>
                    <a:pt x="13694" y="19380"/>
                    <a:pt x="14106" y="19792"/>
                    <a:pt x="14493" y="20242"/>
                  </a:cubicBezTo>
                  <a:cubicBezTo>
                    <a:pt x="14943" y="20817"/>
                    <a:pt x="15318" y="21454"/>
                    <a:pt x="15618" y="22116"/>
                  </a:cubicBezTo>
                  <a:lnTo>
                    <a:pt x="16368" y="23366"/>
                  </a:lnTo>
                  <a:lnTo>
                    <a:pt x="16368" y="23366"/>
                  </a:lnTo>
                  <a:cubicBezTo>
                    <a:pt x="16443" y="24115"/>
                    <a:pt x="16443" y="24865"/>
                    <a:pt x="16368" y="25615"/>
                  </a:cubicBezTo>
                  <a:cubicBezTo>
                    <a:pt x="16443" y="26277"/>
                    <a:pt x="16443" y="26952"/>
                    <a:pt x="16368" y="27614"/>
                  </a:cubicBezTo>
                  <a:lnTo>
                    <a:pt x="16368" y="27614"/>
                  </a:lnTo>
                  <a:lnTo>
                    <a:pt x="17242" y="12745"/>
                  </a:lnTo>
                  <a:lnTo>
                    <a:pt x="17242" y="8872"/>
                  </a:lnTo>
                  <a:close/>
                </a:path>
              </a:pathLst>
            </a:custGeom>
            <a:solidFill>
              <a:srgbClr val="000000"/>
            </a:solidFill>
            <a:ln w="12483" cap="flat">
              <a:noFill/>
              <a:prstDash val="solid"/>
              <a:miter/>
            </a:ln>
          </p:spPr>
          <p:txBody>
            <a:bodyPr rtlCol="0" anchor="ctr"/>
            <a:lstStyle/>
            <a:p>
              <a:endParaRPr lang="en-US"/>
            </a:p>
          </p:txBody>
        </p:sp>
        <p:sp>
          <p:nvSpPr>
            <p:cNvPr id="1628" name="Freeform: Shape 1627">
              <a:extLst>
                <a:ext uri="{FF2B5EF4-FFF2-40B4-BE49-F238E27FC236}">
                  <a16:creationId xmlns:a16="http://schemas.microsoft.com/office/drawing/2014/main" id="{9EC98367-0418-45B0-8823-8AC71D71185B}"/>
                </a:ext>
              </a:extLst>
            </p:cNvPr>
            <p:cNvSpPr/>
            <p:nvPr/>
          </p:nvSpPr>
          <p:spPr>
            <a:xfrm>
              <a:off x="11356566" y="2176889"/>
              <a:ext cx="28670" cy="213418"/>
            </a:xfrm>
            <a:custGeom>
              <a:avLst/>
              <a:gdLst>
                <a:gd name="connsiteX0" fmla="*/ 28670 w 28670"/>
                <a:gd name="connsiteY0" fmla="*/ 0 h 213418"/>
                <a:gd name="connsiteX1" fmla="*/ 28670 w 28670"/>
                <a:gd name="connsiteY1" fmla="*/ 0 h 213418"/>
                <a:gd name="connsiteX2" fmla="*/ 23172 w 28670"/>
                <a:gd name="connsiteY2" fmla="*/ 9621 h 213418"/>
                <a:gd name="connsiteX3" fmla="*/ 9928 w 28670"/>
                <a:gd name="connsiteY3" fmla="*/ 16368 h 213418"/>
                <a:gd name="connsiteX4" fmla="*/ 58 w 28670"/>
                <a:gd name="connsiteY4" fmla="*/ 201919 h 213418"/>
                <a:gd name="connsiteX5" fmla="*/ 8429 w 28670"/>
                <a:gd name="connsiteY5" fmla="*/ 213415 h 213418"/>
                <a:gd name="connsiteX6" fmla="*/ 15676 w 28670"/>
                <a:gd name="connsiteY6" fmla="*/ 209541 h 213418"/>
                <a:gd name="connsiteX7" fmla="*/ 18050 w 28670"/>
                <a:gd name="connsiteY7" fmla="*/ 203169 h 21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 h="213418">
                  <a:moveTo>
                    <a:pt x="28670" y="0"/>
                  </a:moveTo>
                  <a:lnTo>
                    <a:pt x="28670" y="0"/>
                  </a:lnTo>
                  <a:cubicBezTo>
                    <a:pt x="28708" y="3961"/>
                    <a:pt x="26609" y="7634"/>
                    <a:pt x="23172" y="9621"/>
                  </a:cubicBezTo>
                  <a:lnTo>
                    <a:pt x="9928" y="16368"/>
                  </a:lnTo>
                  <a:lnTo>
                    <a:pt x="58" y="201919"/>
                  </a:lnTo>
                  <a:cubicBezTo>
                    <a:pt x="-505" y="207330"/>
                    <a:pt x="3106" y="212290"/>
                    <a:pt x="8429" y="213415"/>
                  </a:cubicBezTo>
                  <a:cubicBezTo>
                    <a:pt x="11365" y="213502"/>
                    <a:pt x="14126" y="212028"/>
                    <a:pt x="15676" y="209541"/>
                  </a:cubicBezTo>
                  <a:cubicBezTo>
                    <a:pt x="17038" y="207680"/>
                    <a:pt x="17862" y="205468"/>
                    <a:pt x="18050" y="203169"/>
                  </a:cubicBezTo>
                  <a:close/>
                </a:path>
              </a:pathLst>
            </a:custGeom>
            <a:solidFill>
              <a:srgbClr val="000000"/>
            </a:solidFill>
            <a:ln w="12483" cap="flat">
              <a:noFill/>
              <a:prstDash val="solid"/>
              <a:miter/>
            </a:ln>
          </p:spPr>
          <p:txBody>
            <a:bodyPr rtlCol="0" anchor="ctr"/>
            <a:lstStyle/>
            <a:p>
              <a:endParaRPr lang="en-US"/>
            </a:p>
          </p:txBody>
        </p:sp>
        <p:sp>
          <p:nvSpPr>
            <p:cNvPr id="1629" name="Freeform: Shape 1628">
              <a:extLst>
                <a:ext uri="{FF2B5EF4-FFF2-40B4-BE49-F238E27FC236}">
                  <a16:creationId xmlns:a16="http://schemas.microsoft.com/office/drawing/2014/main" id="{9B782174-2687-4C5E-B976-BFD330F529B7}"/>
                </a:ext>
              </a:extLst>
            </p:cNvPr>
            <p:cNvSpPr/>
            <p:nvPr/>
          </p:nvSpPr>
          <p:spPr>
            <a:xfrm>
              <a:off x="11376614" y="2165471"/>
              <a:ext cx="1499" cy="46"/>
            </a:xfrm>
            <a:custGeom>
              <a:avLst/>
              <a:gdLst>
                <a:gd name="connsiteX0" fmla="*/ 0 w 1499"/>
                <a:gd name="connsiteY0" fmla="*/ 47 h 46"/>
                <a:gd name="connsiteX1" fmla="*/ 1500 w 1499"/>
                <a:gd name="connsiteY1" fmla="*/ 47 h 46"/>
                <a:gd name="connsiteX2" fmla="*/ 250 w 1499"/>
                <a:gd name="connsiteY2" fmla="*/ 47 h 46"/>
              </a:gdLst>
              <a:ahLst/>
              <a:cxnLst>
                <a:cxn ang="0">
                  <a:pos x="connsiteX0" y="connsiteY0"/>
                </a:cxn>
                <a:cxn ang="0">
                  <a:pos x="connsiteX1" y="connsiteY1"/>
                </a:cxn>
                <a:cxn ang="0">
                  <a:pos x="connsiteX2" y="connsiteY2"/>
                </a:cxn>
              </a:cxnLst>
              <a:rect l="l" t="t" r="r" b="b"/>
              <a:pathLst>
                <a:path w="1499" h="46">
                  <a:moveTo>
                    <a:pt x="0" y="47"/>
                  </a:moveTo>
                  <a:cubicBezTo>
                    <a:pt x="500" y="-16"/>
                    <a:pt x="1000" y="-16"/>
                    <a:pt x="1500" y="47"/>
                  </a:cubicBezTo>
                  <a:lnTo>
                    <a:pt x="250" y="47"/>
                  </a:lnTo>
                  <a:close/>
                </a:path>
              </a:pathLst>
            </a:custGeom>
            <a:solidFill>
              <a:srgbClr val="000000"/>
            </a:solidFill>
            <a:ln w="12483" cap="flat">
              <a:noFill/>
              <a:prstDash val="solid"/>
              <a:miter/>
            </a:ln>
          </p:spPr>
          <p:txBody>
            <a:bodyPr rtlCol="0" anchor="ctr"/>
            <a:lstStyle/>
            <a:p>
              <a:endParaRPr lang="en-US"/>
            </a:p>
          </p:txBody>
        </p:sp>
        <p:sp>
          <p:nvSpPr>
            <p:cNvPr id="1630" name="Freeform: Shape 1629">
              <a:extLst>
                <a:ext uri="{FF2B5EF4-FFF2-40B4-BE49-F238E27FC236}">
                  <a16:creationId xmlns:a16="http://schemas.microsoft.com/office/drawing/2014/main" id="{C37E6BD4-1C9C-47F7-88DC-EC55493F540C}"/>
                </a:ext>
              </a:extLst>
            </p:cNvPr>
            <p:cNvSpPr/>
            <p:nvPr/>
          </p:nvSpPr>
          <p:spPr>
            <a:xfrm>
              <a:off x="8946414" y="4430740"/>
              <a:ext cx="3123" cy="1124"/>
            </a:xfrm>
            <a:custGeom>
              <a:avLst/>
              <a:gdLst>
                <a:gd name="connsiteX0" fmla="*/ 0 w 3123"/>
                <a:gd name="connsiteY0" fmla="*/ 1125 h 1124"/>
                <a:gd name="connsiteX1" fmla="*/ 0 w 3123"/>
                <a:gd name="connsiteY1" fmla="*/ 1125 h 1124"/>
                <a:gd name="connsiteX2" fmla="*/ 3124 w 3123"/>
                <a:gd name="connsiteY2" fmla="*/ 0 h 1124"/>
                <a:gd name="connsiteX3" fmla="*/ 3124 w 3123"/>
                <a:gd name="connsiteY3" fmla="*/ 0 h 1124"/>
              </a:gdLst>
              <a:ahLst/>
              <a:cxnLst>
                <a:cxn ang="0">
                  <a:pos x="connsiteX0" y="connsiteY0"/>
                </a:cxn>
                <a:cxn ang="0">
                  <a:pos x="connsiteX1" y="connsiteY1"/>
                </a:cxn>
                <a:cxn ang="0">
                  <a:pos x="connsiteX2" y="connsiteY2"/>
                </a:cxn>
                <a:cxn ang="0">
                  <a:pos x="connsiteX3" y="connsiteY3"/>
                </a:cxn>
              </a:cxnLst>
              <a:rect l="l" t="t" r="r" b="b"/>
              <a:pathLst>
                <a:path w="3123" h="1124">
                  <a:moveTo>
                    <a:pt x="0" y="1125"/>
                  </a:moveTo>
                  <a:lnTo>
                    <a:pt x="0" y="1125"/>
                  </a:lnTo>
                  <a:cubicBezTo>
                    <a:pt x="937" y="512"/>
                    <a:pt x="2012" y="125"/>
                    <a:pt x="3124" y="0"/>
                  </a:cubicBezTo>
                  <a:lnTo>
                    <a:pt x="3124" y="0"/>
                  </a:lnTo>
                  <a:close/>
                </a:path>
              </a:pathLst>
            </a:custGeom>
            <a:solidFill>
              <a:srgbClr val="000000"/>
            </a:solidFill>
            <a:ln w="12483" cap="flat">
              <a:noFill/>
              <a:prstDash val="solid"/>
              <a:miter/>
            </a:ln>
          </p:spPr>
          <p:txBody>
            <a:bodyPr rtlCol="0" anchor="ctr"/>
            <a:lstStyle/>
            <a:p>
              <a:endParaRPr lang="en-US"/>
            </a:p>
          </p:txBody>
        </p:sp>
        <p:sp>
          <p:nvSpPr>
            <p:cNvPr id="1631" name="Freeform: Shape 1630">
              <a:extLst>
                <a:ext uri="{FF2B5EF4-FFF2-40B4-BE49-F238E27FC236}">
                  <a16:creationId xmlns:a16="http://schemas.microsoft.com/office/drawing/2014/main" id="{99763302-7E7B-4307-8238-D07FCEF43CFD}"/>
                </a:ext>
              </a:extLst>
            </p:cNvPr>
            <p:cNvSpPr/>
            <p:nvPr/>
          </p:nvSpPr>
          <p:spPr>
            <a:xfrm>
              <a:off x="8959284" y="4445484"/>
              <a:ext cx="5872" cy="3123"/>
            </a:xfrm>
            <a:custGeom>
              <a:avLst/>
              <a:gdLst>
                <a:gd name="connsiteX0" fmla="*/ 0 w 5872"/>
                <a:gd name="connsiteY0" fmla="*/ 375 h 3123"/>
                <a:gd name="connsiteX1" fmla="*/ 0 w 5872"/>
                <a:gd name="connsiteY1" fmla="*/ 3124 h 3123"/>
                <a:gd name="connsiteX2" fmla="*/ 5872 w 5872"/>
                <a:gd name="connsiteY2" fmla="*/ 0 h 3123"/>
                <a:gd name="connsiteX3" fmla="*/ 0 w 5872"/>
                <a:gd name="connsiteY3" fmla="*/ 375 h 3123"/>
              </a:gdLst>
              <a:ahLst/>
              <a:cxnLst>
                <a:cxn ang="0">
                  <a:pos x="connsiteX0" y="connsiteY0"/>
                </a:cxn>
                <a:cxn ang="0">
                  <a:pos x="connsiteX1" y="connsiteY1"/>
                </a:cxn>
                <a:cxn ang="0">
                  <a:pos x="connsiteX2" y="connsiteY2"/>
                </a:cxn>
                <a:cxn ang="0">
                  <a:pos x="connsiteX3" y="connsiteY3"/>
                </a:cxn>
              </a:cxnLst>
              <a:rect l="l" t="t" r="r" b="b"/>
              <a:pathLst>
                <a:path w="5872" h="3123">
                  <a:moveTo>
                    <a:pt x="0" y="375"/>
                  </a:moveTo>
                  <a:lnTo>
                    <a:pt x="0" y="3124"/>
                  </a:lnTo>
                  <a:lnTo>
                    <a:pt x="5872" y="0"/>
                  </a:lnTo>
                  <a:cubicBezTo>
                    <a:pt x="4036" y="862"/>
                    <a:pt x="1937" y="999"/>
                    <a:pt x="0" y="375"/>
                  </a:cubicBezTo>
                  <a:close/>
                </a:path>
              </a:pathLst>
            </a:custGeom>
            <a:solidFill>
              <a:srgbClr val="000000"/>
            </a:solidFill>
            <a:ln w="12483" cap="flat">
              <a:noFill/>
              <a:prstDash val="solid"/>
              <a:miter/>
            </a:ln>
          </p:spPr>
          <p:txBody>
            <a:bodyPr rtlCol="0" anchor="ctr"/>
            <a:lstStyle/>
            <a:p>
              <a:endParaRPr lang="en-US"/>
            </a:p>
          </p:txBody>
        </p:sp>
        <p:sp>
          <p:nvSpPr>
            <p:cNvPr id="1632" name="Freeform: Shape 1631">
              <a:extLst>
                <a:ext uri="{FF2B5EF4-FFF2-40B4-BE49-F238E27FC236}">
                  <a16:creationId xmlns:a16="http://schemas.microsoft.com/office/drawing/2014/main" id="{EC456807-4FE0-4298-B02D-29D016BB12C9}"/>
                </a:ext>
              </a:extLst>
            </p:cNvPr>
            <p:cNvSpPr/>
            <p:nvPr/>
          </p:nvSpPr>
          <p:spPr>
            <a:xfrm>
              <a:off x="9629730" y="5359120"/>
              <a:ext cx="19630" cy="62600"/>
            </a:xfrm>
            <a:custGeom>
              <a:avLst/>
              <a:gdLst>
                <a:gd name="connsiteX0" fmla="*/ 19631 w 19630"/>
                <a:gd name="connsiteY0" fmla="*/ 51355 h 62600"/>
                <a:gd name="connsiteX1" fmla="*/ 18881 w 19630"/>
                <a:gd name="connsiteY1" fmla="*/ 30363 h 62600"/>
                <a:gd name="connsiteX2" fmla="*/ 18006 w 19630"/>
                <a:gd name="connsiteY2" fmla="*/ 0 h 62600"/>
                <a:gd name="connsiteX3" fmla="*/ 9385 w 19630"/>
                <a:gd name="connsiteY3" fmla="*/ 11245 h 62600"/>
                <a:gd name="connsiteX4" fmla="*/ 14 w 19630"/>
                <a:gd name="connsiteY4" fmla="*/ 750 h 62600"/>
                <a:gd name="connsiteX5" fmla="*/ 1638 w 19630"/>
                <a:gd name="connsiteY5" fmla="*/ 52229 h 62600"/>
                <a:gd name="connsiteX6" fmla="*/ 1638 w 19630"/>
                <a:gd name="connsiteY6" fmla="*/ 54478 h 62600"/>
                <a:gd name="connsiteX7" fmla="*/ 3013 w 19630"/>
                <a:gd name="connsiteY7" fmla="*/ 57977 h 62600"/>
                <a:gd name="connsiteX8" fmla="*/ 10385 w 19630"/>
                <a:gd name="connsiteY8" fmla="*/ 62600 h 62600"/>
                <a:gd name="connsiteX9" fmla="*/ 14633 w 19630"/>
                <a:gd name="connsiteY9" fmla="*/ 60976 h 62600"/>
                <a:gd name="connsiteX10" fmla="*/ 17007 w 19630"/>
                <a:gd name="connsiteY10" fmla="*/ 58477 h 62600"/>
                <a:gd name="connsiteX11" fmla="*/ 19631 w 19630"/>
                <a:gd name="connsiteY11" fmla="*/ 51355 h 6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30" h="62600">
                  <a:moveTo>
                    <a:pt x="19631" y="51355"/>
                  </a:moveTo>
                  <a:lnTo>
                    <a:pt x="18881" y="30363"/>
                  </a:lnTo>
                  <a:lnTo>
                    <a:pt x="18006" y="0"/>
                  </a:lnTo>
                  <a:cubicBezTo>
                    <a:pt x="18606" y="5448"/>
                    <a:pt x="14808" y="10408"/>
                    <a:pt x="9385" y="11245"/>
                  </a:cubicBezTo>
                  <a:cubicBezTo>
                    <a:pt x="3912" y="10908"/>
                    <a:pt x="-273" y="6223"/>
                    <a:pt x="14" y="750"/>
                  </a:cubicBezTo>
                  <a:lnTo>
                    <a:pt x="1638" y="52229"/>
                  </a:lnTo>
                  <a:cubicBezTo>
                    <a:pt x="1526" y="52979"/>
                    <a:pt x="1526" y="53728"/>
                    <a:pt x="1638" y="54478"/>
                  </a:cubicBezTo>
                  <a:cubicBezTo>
                    <a:pt x="1813" y="55740"/>
                    <a:pt x="2275" y="56940"/>
                    <a:pt x="3013" y="57977"/>
                  </a:cubicBezTo>
                  <a:cubicBezTo>
                    <a:pt x="4412" y="60776"/>
                    <a:pt x="7261" y="62562"/>
                    <a:pt x="10385" y="62600"/>
                  </a:cubicBezTo>
                  <a:cubicBezTo>
                    <a:pt x="11934" y="62525"/>
                    <a:pt x="13421" y="61950"/>
                    <a:pt x="14633" y="60976"/>
                  </a:cubicBezTo>
                  <a:cubicBezTo>
                    <a:pt x="15582" y="60301"/>
                    <a:pt x="16382" y="59451"/>
                    <a:pt x="17007" y="58477"/>
                  </a:cubicBezTo>
                  <a:cubicBezTo>
                    <a:pt x="18593" y="56427"/>
                    <a:pt x="19518" y="53941"/>
                    <a:pt x="19631" y="51355"/>
                  </a:cubicBezTo>
                  <a:close/>
                </a:path>
              </a:pathLst>
            </a:custGeom>
            <a:solidFill>
              <a:srgbClr val="000000"/>
            </a:solidFill>
            <a:ln w="12483" cap="flat">
              <a:noFill/>
              <a:prstDash val="solid"/>
              <a:miter/>
            </a:ln>
          </p:spPr>
          <p:txBody>
            <a:bodyPr rtlCol="0" anchor="ctr"/>
            <a:lstStyle/>
            <a:p>
              <a:endParaRPr lang="en-US"/>
            </a:p>
          </p:txBody>
        </p:sp>
        <p:sp>
          <p:nvSpPr>
            <p:cNvPr id="1633" name="Freeform: Shape 1632">
              <a:extLst>
                <a:ext uri="{FF2B5EF4-FFF2-40B4-BE49-F238E27FC236}">
                  <a16:creationId xmlns:a16="http://schemas.microsoft.com/office/drawing/2014/main" id="{0D94F633-5DDC-46D3-8014-83E49EDA3EC6}"/>
                </a:ext>
              </a:extLst>
            </p:cNvPr>
            <p:cNvSpPr/>
            <p:nvPr/>
          </p:nvSpPr>
          <p:spPr>
            <a:xfrm>
              <a:off x="8921925" y="6425695"/>
              <a:ext cx="14048" cy="17518"/>
            </a:xfrm>
            <a:custGeom>
              <a:avLst/>
              <a:gdLst>
                <a:gd name="connsiteX0" fmla="*/ 12994 w 14048"/>
                <a:gd name="connsiteY0" fmla="*/ 4123 h 17518"/>
                <a:gd name="connsiteX1" fmla="*/ 12120 w 14048"/>
                <a:gd name="connsiteY1" fmla="*/ 6122 h 17518"/>
                <a:gd name="connsiteX2" fmla="*/ 11370 w 14048"/>
                <a:gd name="connsiteY2" fmla="*/ 7747 h 17518"/>
                <a:gd name="connsiteX3" fmla="*/ 10246 w 14048"/>
                <a:gd name="connsiteY3" fmla="*/ 8871 h 17518"/>
                <a:gd name="connsiteX4" fmla="*/ 8621 w 14048"/>
                <a:gd name="connsiteY4" fmla="*/ 10371 h 17518"/>
                <a:gd name="connsiteX5" fmla="*/ 8621 w 14048"/>
                <a:gd name="connsiteY5" fmla="*/ 10371 h 17518"/>
                <a:gd name="connsiteX6" fmla="*/ 0 w 14048"/>
                <a:gd name="connsiteY6" fmla="*/ 15494 h 17518"/>
                <a:gd name="connsiteX7" fmla="*/ 5872 w 14048"/>
                <a:gd name="connsiteY7" fmla="*/ 17493 h 17518"/>
                <a:gd name="connsiteX8" fmla="*/ 10620 w 14048"/>
                <a:gd name="connsiteY8" fmla="*/ 15119 h 17518"/>
                <a:gd name="connsiteX9" fmla="*/ 13994 w 14048"/>
                <a:gd name="connsiteY9" fmla="*/ 5748 h 17518"/>
                <a:gd name="connsiteX10" fmla="*/ 13994 w 14048"/>
                <a:gd name="connsiteY10" fmla="*/ 0 h 17518"/>
                <a:gd name="connsiteX11" fmla="*/ 13994 w 14048"/>
                <a:gd name="connsiteY11" fmla="*/ 2624 h 17518"/>
                <a:gd name="connsiteX12" fmla="*/ 12994 w 14048"/>
                <a:gd name="connsiteY12" fmla="*/ 4123 h 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8" h="17518">
                  <a:moveTo>
                    <a:pt x="12994" y="4123"/>
                  </a:moveTo>
                  <a:cubicBezTo>
                    <a:pt x="12807" y="4835"/>
                    <a:pt x="12520" y="5510"/>
                    <a:pt x="12120" y="6122"/>
                  </a:cubicBezTo>
                  <a:cubicBezTo>
                    <a:pt x="11920" y="6684"/>
                    <a:pt x="11670" y="7234"/>
                    <a:pt x="11370" y="7747"/>
                  </a:cubicBezTo>
                  <a:cubicBezTo>
                    <a:pt x="11033" y="8146"/>
                    <a:pt x="10645" y="8534"/>
                    <a:pt x="10246" y="8871"/>
                  </a:cubicBezTo>
                  <a:cubicBezTo>
                    <a:pt x="9771" y="9433"/>
                    <a:pt x="9221" y="9933"/>
                    <a:pt x="8621" y="10371"/>
                  </a:cubicBezTo>
                  <a:lnTo>
                    <a:pt x="8621" y="10371"/>
                  </a:lnTo>
                  <a:lnTo>
                    <a:pt x="0" y="15494"/>
                  </a:lnTo>
                  <a:cubicBezTo>
                    <a:pt x="1599" y="16943"/>
                    <a:pt x="3723" y="17668"/>
                    <a:pt x="5872" y="17493"/>
                  </a:cubicBezTo>
                  <a:cubicBezTo>
                    <a:pt x="7684" y="17281"/>
                    <a:pt x="9358" y="16431"/>
                    <a:pt x="10620" y="15119"/>
                  </a:cubicBezTo>
                  <a:cubicBezTo>
                    <a:pt x="13094" y="12657"/>
                    <a:pt x="14331" y="9221"/>
                    <a:pt x="13994" y="5748"/>
                  </a:cubicBezTo>
                  <a:lnTo>
                    <a:pt x="13994" y="0"/>
                  </a:lnTo>
                  <a:cubicBezTo>
                    <a:pt x="14056" y="874"/>
                    <a:pt x="14056" y="1749"/>
                    <a:pt x="13994" y="2624"/>
                  </a:cubicBezTo>
                  <a:cubicBezTo>
                    <a:pt x="13994" y="2624"/>
                    <a:pt x="13120" y="4123"/>
                    <a:pt x="12994" y="4123"/>
                  </a:cubicBezTo>
                  <a:close/>
                </a:path>
              </a:pathLst>
            </a:custGeom>
            <a:solidFill>
              <a:srgbClr val="000000"/>
            </a:solidFill>
            <a:ln w="12483" cap="flat">
              <a:noFill/>
              <a:prstDash val="solid"/>
              <a:miter/>
            </a:ln>
          </p:spPr>
          <p:txBody>
            <a:bodyPr rtlCol="0" anchor="ctr"/>
            <a:lstStyle/>
            <a:p>
              <a:endParaRPr lang="en-US"/>
            </a:p>
          </p:txBody>
        </p:sp>
        <p:sp>
          <p:nvSpPr>
            <p:cNvPr id="1634" name="Freeform: Shape 1633">
              <a:extLst>
                <a:ext uri="{FF2B5EF4-FFF2-40B4-BE49-F238E27FC236}">
                  <a16:creationId xmlns:a16="http://schemas.microsoft.com/office/drawing/2014/main" id="{D9FDAB8E-B9C3-483A-BE8A-FFC9F7391D13}"/>
                </a:ext>
              </a:extLst>
            </p:cNvPr>
            <p:cNvSpPr/>
            <p:nvPr/>
          </p:nvSpPr>
          <p:spPr>
            <a:xfrm>
              <a:off x="8935420" y="6426319"/>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endParaRPr lang="en-US"/>
            </a:p>
          </p:txBody>
        </p:sp>
        <p:sp>
          <p:nvSpPr>
            <p:cNvPr id="1635" name="Freeform: Shape 1634">
              <a:extLst>
                <a:ext uri="{FF2B5EF4-FFF2-40B4-BE49-F238E27FC236}">
                  <a16:creationId xmlns:a16="http://schemas.microsoft.com/office/drawing/2014/main" id="{BF12E429-D753-45BA-9BC8-9F4543A8B491}"/>
                </a:ext>
              </a:extLst>
            </p:cNvPr>
            <p:cNvSpPr/>
            <p:nvPr/>
          </p:nvSpPr>
          <p:spPr>
            <a:xfrm>
              <a:off x="8913929" y="6385836"/>
              <a:ext cx="21490" cy="40233"/>
            </a:xfrm>
            <a:custGeom>
              <a:avLst/>
              <a:gdLst>
                <a:gd name="connsiteX0" fmla="*/ 13369 w 21490"/>
                <a:gd name="connsiteY0" fmla="*/ 8996 h 40233"/>
                <a:gd name="connsiteX1" fmla="*/ 1849 w 21490"/>
                <a:gd name="connsiteY1" fmla="*/ 6272 h 40233"/>
                <a:gd name="connsiteX2" fmla="*/ 874 w 21490"/>
                <a:gd name="connsiteY2" fmla="*/ 3998 h 40233"/>
                <a:gd name="connsiteX3" fmla="*/ 0 w 21490"/>
                <a:gd name="connsiteY3" fmla="*/ 0 h 40233"/>
                <a:gd name="connsiteX4" fmla="*/ 0 w 21490"/>
                <a:gd name="connsiteY4" fmla="*/ 0 h 40233"/>
                <a:gd name="connsiteX5" fmla="*/ 2499 w 21490"/>
                <a:gd name="connsiteY5" fmla="*/ 34486 h 40233"/>
                <a:gd name="connsiteX6" fmla="*/ 8121 w 21490"/>
                <a:gd name="connsiteY6" fmla="*/ 31238 h 40233"/>
                <a:gd name="connsiteX7" fmla="*/ 19641 w 21490"/>
                <a:gd name="connsiteY7" fmla="*/ 33961 h 40233"/>
                <a:gd name="connsiteX8" fmla="*/ 20616 w 21490"/>
                <a:gd name="connsiteY8" fmla="*/ 36235 h 40233"/>
                <a:gd name="connsiteX9" fmla="*/ 21491 w 21490"/>
                <a:gd name="connsiteY9" fmla="*/ 40234 h 40233"/>
                <a:gd name="connsiteX10" fmla="*/ 21491 w 21490"/>
                <a:gd name="connsiteY10" fmla="*/ 40234 h 40233"/>
                <a:gd name="connsiteX11" fmla="*/ 19866 w 21490"/>
                <a:gd name="connsiteY11" fmla="*/ 17993 h 40233"/>
                <a:gd name="connsiteX12" fmla="*/ 19866 w 21490"/>
                <a:gd name="connsiteY12" fmla="*/ 11120 h 40233"/>
                <a:gd name="connsiteX13" fmla="*/ 19866 w 21490"/>
                <a:gd name="connsiteY13" fmla="*/ 5748 h 4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90" h="40233">
                  <a:moveTo>
                    <a:pt x="13369" y="8996"/>
                  </a:moveTo>
                  <a:cubicBezTo>
                    <a:pt x="9433" y="11420"/>
                    <a:pt x="4273" y="10208"/>
                    <a:pt x="1849" y="6272"/>
                  </a:cubicBezTo>
                  <a:cubicBezTo>
                    <a:pt x="1412" y="5560"/>
                    <a:pt x="1087" y="4798"/>
                    <a:pt x="874" y="3998"/>
                  </a:cubicBezTo>
                  <a:cubicBezTo>
                    <a:pt x="387" y="2711"/>
                    <a:pt x="100" y="1362"/>
                    <a:pt x="0" y="0"/>
                  </a:cubicBezTo>
                  <a:lnTo>
                    <a:pt x="0" y="0"/>
                  </a:lnTo>
                  <a:lnTo>
                    <a:pt x="2499" y="34486"/>
                  </a:lnTo>
                  <a:lnTo>
                    <a:pt x="8121" y="31238"/>
                  </a:lnTo>
                  <a:cubicBezTo>
                    <a:pt x="12057" y="28814"/>
                    <a:pt x="17217" y="30025"/>
                    <a:pt x="19641" y="33961"/>
                  </a:cubicBezTo>
                  <a:cubicBezTo>
                    <a:pt x="20079" y="34674"/>
                    <a:pt x="20404" y="35436"/>
                    <a:pt x="20616" y="36235"/>
                  </a:cubicBezTo>
                  <a:cubicBezTo>
                    <a:pt x="21103" y="37522"/>
                    <a:pt x="21390" y="38872"/>
                    <a:pt x="21491" y="40234"/>
                  </a:cubicBezTo>
                  <a:lnTo>
                    <a:pt x="21491" y="40234"/>
                  </a:lnTo>
                  <a:lnTo>
                    <a:pt x="19866" y="17993"/>
                  </a:lnTo>
                  <a:lnTo>
                    <a:pt x="19866" y="11120"/>
                  </a:lnTo>
                  <a:lnTo>
                    <a:pt x="19866" y="5748"/>
                  </a:lnTo>
                  <a:close/>
                </a:path>
              </a:pathLst>
            </a:custGeom>
            <a:solidFill>
              <a:srgbClr val="000000"/>
            </a:solidFill>
            <a:ln w="12483" cap="flat">
              <a:noFill/>
              <a:prstDash val="solid"/>
              <a:miter/>
            </a:ln>
          </p:spPr>
          <p:txBody>
            <a:bodyPr rtlCol="0" anchor="ctr"/>
            <a:lstStyle/>
            <a:p>
              <a:endParaRPr lang="en-US"/>
            </a:p>
          </p:txBody>
        </p:sp>
        <p:sp>
          <p:nvSpPr>
            <p:cNvPr id="1636" name="Freeform: Shape 1635">
              <a:extLst>
                <a:ext uri="{FF2B5EF4-FFF2-40B4-BE49-F238E27FC236}">
                  <a16:creationId xmlns:a16="http://schemas.microsoft.com/office/drawing/2014/main" id="{F6677188-D795-4AA8-9BEE-11BAAB839996}"/>
                </a:ext>
              </a:extLst>
            </p:cNvPr>
            <p:cNvSpPr/>
            <p:nvPr/>
          </p:nvSpPr>
          <p:spPr>
            <a:xfrm>
              <a:off x="9394471" y="6100074"/>
              <a:ext cx="25489" cy="44982"/>
            </a:xfrm>
            <a:custGeom>
              <a:avLst/>
              <a:gdLst>
                <a:gd name="connsiteX0" fmla="*/ 15243 w 25489"/>
                <a:gd name="connsiteY0" fmla="*/ 42358 h 44982"/>
                <a:gd name="connsiteX1" fmla="*/ 15243 w 25489"/>
                <a:gd name="connsiteY1" fmla="*/ 41484 h 44982"/>
                <a:gd name="connsiteX2" fmla="*/ 15243 w 25489"/>
                <a:gd name="connsiteY2" fmla="*/ 39484 h 44982"/>
                <a:gd name="connsiteX3" fmla="*/ 15243 w 25489"/>
                <a:gd name="connsiteY3" fmla="*/ 37360 h 44982"/>
                <a:gd name="connsiteX4" fmla="*/ 15243 w 25489"/>
                <a:gd name="connsiteY4" fmla="*/ 35361 h 44982"/>
                <a:gd name="connsiteX5" fmla="*/ 15243 w 25489"/>
                <a:gd name="connsiteY5" fmla="*/ 33362 h 44982"/>
                <a:gd name="connsiteX6" fmla="*/ 16118 w 25489"/>
                <a:gd name="connsiteY6" fmla="*/ 31613 h 44982"/>
                <a:gd name="connsiteX7" fmla="*/ 17243 w 25489"/>
                <a:gd name="connsiteY7" fmla="*/ 29988 h 44982"/>
                <a:gd name="connsiteX8" fmla="*/ 17243 w 25489"/>
                <a:gd name="connsiteY8" fmla="*/ 29239 h 44982"/>
                <a:gd name="connsiteX9" fmla="*/ 18367 w 25489"/>
                <a:gd name="connsiteY9" fmla="*/ 28614 h 44982"/>
                <a:gd name="connsiteX10" fmla="*/ 19117 w 25489"/>
                <a:gd name="connsiteY10" fmla="*/ 27864 h 44982"/>
                <a:gd name="connsiteX11" fmla="*/ 25489 w 25489"/>
                <a:gd name="connsiteY11" fmla="*/ 24116 h 44982"/>
                <a:gd name="connsiteX12" fmla="*/ 8746 w 25489"/>
                <a:gd name="connsiteY12" fmla="*/ 0 h 44982"/>
                <a:gd name="connsiteX13" fmla="*/ 8746 w 25489"/>
                <a:gd name="connsiteY13" fmla="*/ 0 h 44982"/>
                <a:gd name="connsiteX14" fmla="*/ 10370 w 25489"/>
                <a:gd name="connsiteY14" fmla="*/ 2749 h 44982"/>
                <a:gd name="connsiteX15" fmla="*/ 6247 w 25489"/>
                <a:gd name="connsiteY15" fmla="*/ 17243 h 44982"/>
                <a:gd name="connsiteX16" fmla="*/ 0 w 25489"/>
                <a:gd name="connsiteY16" fmla="*/ 20867 h 44982"/>
                <a:gd name="connsiteX17" fmla="*/ 16618 w 25489"/>
                <a:gd name="connsiteY17" fmla="*/ 44982 h 44982"/>
                <a:gd name="connsiteX18" fmla="*/ 16618 w 25489"/>
                <a:gd name="connsiteY18" fmla="*/ 43858 h 44982"/>
                <a:gd name="connsiteX19" fmla="*/ 15243 w 25489"/>
                <a:gd name="connsiteY19" fmla="*/ 42358 h 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89" h="44982">
                  <a:moveTo>
                    <a:pt x="15243" y="42358"/>
                  </a:moveTo>
                  <a:cubicBezTo>
                    <a:pt x="15243" y="42358"/>
                    <a:pt x="15243" y="41734"/>
                    <a:pt x="15243" y="41484"/>
                  </a:cubicBezTo>
                  <a:lnTo>
                    <a:pt x="15243" y="39484"/>
                  </a:lnTo>
                  <a:cubicBezTo>
                    <a:pt x="15181" y="38772"/>
                    <a:pt x="15181" y="38073"/>
                    <a:pt x="15243" y="37360"/>
                  </a:cubicBezTo>
                  <a:cubicBezTo>
                    <a:pt x="15181" y="36698"/>
                    <a:pt x="15181" y="36023"/>
                    <a:pt x="15243" y="35361"/>
                  </a:cubicBezTo>
                  <a:cubicBezTo>
                    <a:pt x="15181" y="34699"/>
                    <a:pt x="15181" y="34024"/>
                    <a:pt x="15243" y="33362"/>
                  </a:cubicBezTo>
                  <a:lnTo>
                    <a:pt x="16118" y="31613"/>
                  </a:lnTo>
                  <a:cubicBezTo>
                    <a:pt x="16380" y="31000"/>
                    <a:pt x="16755" y="30451"/>
                    <a:pt x="17243" y="29988"/>
                  </a:cubicBezTo>
                  <a:lnTo>
                    <a:pt x="17243" y="29239"/>
                  </a:lnTo>
                  <a:lnTo>
                    <a:pt x="18367" y="28614"/>
                  </a:lnTo>
                  <a:cubicBezTo>
                    <a:pt x="18367" y="28614"/>
                    <a:pt x="18367" y="28614"/>
                    <a:pt x="19117" y="27864"/>
                  </a:cubicBezTo>
                  <a:lnTo>
                    <a:pt x="25489" y="24116"/>
                  </a:lnTo>
                  <a:lnTo>
                    <a:pt x="8746" y="0"/>
                  </a:lnTo>
                  <a:lnTo>
                    <a:pt x="8746" y="0"/>
                  </a:lnTo>
                  <a:cubicBezTo>
                    <a:pt x="9458" y="800"/>
                    <a:pt x="10008" y="1737"/>
                    <a:pt x="10370" y="2749"/>
                  </a:cubicBezTo>
                  <a:cubicBezTo>
                    <a:pt x="12682" y="7947"/>
                    <a:pt x="10945" y="14045"/>
                    <a:pt x="6247" y="17243"/>
                  </a:cubicBezTo>
                  <a:lnTo>
                    <a:pt x="0" y="20867"/>
                  </a:lnTo>
                  <a:lnTo>
                    <a:pt x="16618" y="44982"/>
                  </a:lnTo>
                  <a:cubicBezTo>
                    <a:pt x="16618" y="44982"/>
                    <a:pt x="16618" y="44232"/>
                    <a:pt x="16618" y="43858"/>
                  </a:cubicBezTo>
                  <a:cubicBezTo>
                    <a:pt x="16618" y="43483"/>
                    <a:pt x="15368" y="42358"/>
                    <a:pt x="15243" y="42358"/>
                  </a:cubicBezTo>
                  <a:close/>
                </a:path>
              </a:pathLst>
            </a:custGeom>
            <a:solidFill>
              <a:srgbClr val="000000"/>
            </a:solidFill>
            <a:ln w="12483" cap="flat">
              <a:noFill/>
              <a:prstDash val="solid"/>
              <a:miter/>
            </a:ln>
          </p:spPr>
          <p:txBody>
            <a:bodyPr rtlCol="0" anchor="ctr"/>
            <a:lstStyle/>
            <a:p>
              <a:endParaRPr lang="en-US"/>
            </a:p>
          </p:txBody>
        </p:sp>
        <p:sp>
          <p:nvSpPr>
            <p:cNvPr id="1637" name="Freeform: Shape 1636">
              <a:extLst>
                <a:ext uri="{FF2B5EF4-FFF2-40B4-BE49-F238E27FC236}">
                  <a16:creationId xmlns:a16="http://schemas.microsoft.com/office/drawing/2014/main" id="{51071BB4-FAED-4237-B0A6-D6498D362ED3}"/>
                </a:ext>
              </a:extLst>
            </p:cNvPr>
            <p:cNvSpPr/>
            <p:nvPr/>
          </p:nvSpPr>
          <p:spPr>
            <a:xfrm>
              <a:off x="8915334" y="6316738"/>
              <a:ext cx="113294" cy="79094"/>
            </a:xfrm>
            <a:custGeom>
              <a:avLst/>
              <a:gdLst>
                <a:gd name="connsiteX0" fmla="*/ 99800 w 113294"/>
                <a:gd name="connsiteY0" fmla="*/ 14494 h 79094"/>
                <a:gd name="connsiteX1" fmla="*/ 103924 w 113294"/>
                <a:gd name="connsiteY1" fmla="*/ 0 h 79094"/>
                <a:gd name="connsiteX2" fmla="*/ 103924 w 113294"/>
                <a:gd name="connsiteY2" fmla="*/ 0 h 79094"/>
                <a:gd name="connsiteX3" fmla="*/ 100925 w 113294"/>
                <a:gd name="connsiteY3" fmla="*/ 1749 h 79094"/>
                <a:gd name="connsiteX4" fmla="*/ 4467 w 113294"/>
                <a:gd name="connsiteY4" fmla="*/ 58477 h 79094"/>
                <a:gd name="connsiteX5" fmla="*/ 4467 w 113294"/>
                <a:gd name="connsiteY5" fmla="*/ 58477 h 79094"/>
                <a:gd name="connsiteX6" fmla="*/ 2967 w 113294"/>
                <a:gd name="connsiteY6" fmla="*/ 59851 h 79094"/>
                <a:gd name="connsiteX7" fmla="*/ 1718 w 113294"/>
                <a:gd name="connsiteY7" fmla="*/ 61100 h 79094"/>
                <a:gd name="connsiteX8" fmla="*/ 1093 w 113294"/>
                <a:gd name="connsiteY8" fmla="*/ 62475 h 79094"/>
                <a:gd name="connsiteX9" fmla="*/ 94 w 113294"/>
                <a:gd name="connsiteY9" fmla="*/ 64724 h 79094"/>
                <a:gd name="connsiteX10" fmla="*/ 94 w 113294"/>
                <a:gd name="connsiteY10" fmla="*/ 65849 h 79094"/>
                <a:gd name="connsiteX11" fmla="*/ 94 w 113294"/>
                <a:gd name="connsiteY11" fmla="*/ 68847 h 79094"/>
                <a:gd name="connsiteX12" fmla="*/ 969 w 113294"/>
                <a:gd name="connsiteY12" fmla="*/ 72846 h 79094"/>
                <a:gd name="connsiteX13" fmla="*/ 11189 w 113294"/>
                <a:gd name="connsiteY13" fmla="*/ 78818 h 79094"/>
                <a:gd name="connsiteX14" fmla="*/ 13463 w 113294"/>
                <a:gd name="connsiteY14" fmla="*/ 77844 h 79094"/>
                <a:gd name="connsiteX15" fmla="*/ 19085 w 113294"/>
                <a:gd name="connsiteY15" fmla="*/ 74595 h 79094"/>
                <a:gd name="connsiteX16" fmla="*/ 113295 w 113294"/>
                <a:gd name="connsiteY16" fmla="*/ 19242 h 79094"/>
                <a:gd name="connsiteX17" fmla="*/ 101513 w 113294"/>
                <a:gd name="connsiteY17" fmla="*/ 18068 h 79094"/>
                <a:gd name="connsiteX18" fmla="*/ 99800 w 113294"/>
                <a:gd name="connsiteY18" fmla="*/ 14494 h 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294" h="79094">
                  <a:moveTo>
                    <a:pt x="99800" y="14494"/>
                  </a:moveTo>
                  <a:cubicBezTo>
                    <a:pt x="97489" y="9296"/>
                    <a:pt x="99226" y="3198"/>
                    <a:pt x="103924" y="0"/>
                  </a:cubicBezTo>
                  <a:lnTo>
                    <a:pt x="103924" y="0"/>
                  </a:lnTo>
                  <a:lnTo>
                    <a:pt x="100925" y="1749"/>
                  </a:lnTo>
                  <a:lnTo>
                    <a:pt x="4467" y="58477"/>
                  </a:lnTo>
                  <a:lnTo>
                    <a:pt x="4467" y="58477"/>
                  </a:lnTo>
                  <a:cubicBezTo>
                    <a:pt x="3905" y="58864"/>
                    <a:pt x="3405" y="59326"/>
                    <a:pt x="2967" y="59851"/>
                  </a:cubicBezTo>
                  <a:lnTo>
                    <a:pt x="1718" y="61100"/>
                  </a:lnTo>
                  <a:cubicBezTo>
                    <a:pt x="1481" y="61550"/>
                    <a:pt x="1281" y="62013"/>
                    <a:pt x="1093" y="62475"/>
                  </a:cubicBezTo>
                  <a:cubicBezTo>
                    <a:pt x="631" y="63162"/>
                    <a:pt x="294" y="63924"/>
                    <a:pt x="94" y="64724"/>
                  </a:cubicBezTo>
                  <a:cubicBezTo>
                    <a:pt x="31" y="65099"/>
                    <a:pt x="31" y="65474"/>
                    <a:pt x="94" y="65849"/>
                  </a:cubicBezTo>
                  <a:cubicBezTo>
                    <a:pt x="-31" y="66848"/>
                    <a:pt x="-31" y="67848"/>
                    <a:pt x="94" y="68847"/>
                  </a:cubicBezTo>
                  <a:cubicBezTo>
                    <a:pt x="194" y="70209"/>
                    <a:pt x="481" y="71559"/>
                    <a:pt x="969" y="72846"/>
                  </a:cubicBezTo>
                  <a:cubicBezTo>
                    <a:pt x="2143" y="77319"/>
                    <a:pt x="6716" y="79993"/>
                    <a:pt x="11189" y="78818"/>
                  </a:cubicBezTo>
                  <a:cubicBezTo>
                    <a:pt x="11989" y="78606"/>
                    <a:pt x="12763" y="78281"/>
                    <a:pt x="13463" y="77844"/>
                  </a:cubicBezTo>
                  <a:lnTo>
                    <a:pt x="19085" y="74595"/>
                  </a:lnTo>
                  <a:lnTo>
                    <a:pt x="113295" y="19242"/>
                  </a:lnTo>
                  <a:cubicBezTo>
                    <a:pt x="109721" y="22166"/>
                    <a:pt x="104449" y="21641"/>
                    <a:pt x="101513" y="18068"/>
                  </a:cubicBezTo>
                  <a:cubicBezTo>
                    <a:pt x="100663" y="17030"/>
                    <a:pt x="100075" y="15806"/>
                    <a:pt x="99800" y="14494"/>
                  </a:cubicBezTo>
                  <a:close/>
                </a:path>
              </a:pathLst>
            </a:custGeom>
            <a:solidFill>
              <a:srgbClr val="000000"/>
            </a:solidFill>
            <a:ln w="12483" cap="flat">
              <a:noFill/>
              <a:prstDash val="solid"/>
              <a:miter/>
            </a:ln>
          </p:spPr>
          <p:txBody>
            <a:bodyPr rtlCol="0" anchor="ctr"/>
            <a:lstStyle/>
            <a:p>
              <a:endParaRPr lang="en-US"/>
            </a:p>
          </p:txBody>
        </p:sp>
        <p:sp>
          <p:nvSpPr>
            <p:cNvPr id="1638" name="Freeform: Shape 1637">
              <a:extLst>
                <a:ext uri="{FF2B5EF4-FFF2-40B4-BE49-F238E27FC236}">
                  <a16:creationId xmlns:a16="http://schemas.microsoft.com/office/drawing/2014/main" id="{DD8C8A98-AA32-4182-AF1D-030E032AD463}"/>
                </a:ext>
              </a:extLst>
            </p:cNvPr>
            <p:cNvSpPr/>
            <p:nvPr/>
          </p:nvSpPr>
          <p:spPr>
            <a:xfrm>
              <a:off x="10671294" y="2038694"/>
              <a:ext cx="23512" cy="278888"/>
            </a:xfrm>
            <a:custGeom>
              <a:avLst/>
              <a:gdLst>
                <a:gd name="connsiteX0" fmla="*/ 5623 w 23512"/>
                <a:gd name="connsiteY0" fmla="*/ 250 h 278888"/>
                <a:gd name="connsiteX1" fmla="*/ 0 w 23512"/>
                <a:gd name="connsiteY1" fmla="*/ 267768 h 278888"/>
                <a:gd name="connsiteX2" fmla="*/ 750 w 23512"/>
                <a:gd name="connsiteY2" fmla="*/ 272142 h 278888"/>
                <a:gd name="connsiteX3" fmla="*/ 8746 w 23512"/>
                <a:gd name="connsiteY3" fmla="*/ 278889 h 278888"/>
                <a:gd name="connsiteX4" fmla="*/ 17993 w 23512"/>
                <a:gd name="connsiteY4" fmla="*/ 268268 h 278888"/>
                <a:gd name="connsiteX5" fmla="*/ 23490 w 23512"/>
                <a:gd name="connsiteY5" fmla="*/ 7622 h 278888"/>
                <a:gd name="connsiteX6" fmla="*/ 23490 w 23512"/>
                <a:gd name="connsiteY6" fmla="*/ 625 h 278888"/>
                <a:gd name="connsiteX7" fmla="*/ 14369 w 23512"/>
                <a:gd name="connsiteY7" fmla="*/ 11121 h 278888"/>
                <a:gd name="connsiteX8" fmla="*/ 5498 w 23512"/>
                <a:gd name="connsiteY8" fmla="*/ 0 h 278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2" h="278888">
                  <a:moveTo>
                    <a:pt x="5623" y="250"/>
                  </a:moveTo>
                  <a:lnTo>
                    <a:pt x="0" y="267768"/>
                  </a:lnTo>
                  <a:cubicBezTo>
                    <a:pt x="-12" y="269255"/>
                    <a:pt x="238" y="270742"/>
                    <a:pt x="750" y="272142"/>
                  </a:cubicBezTo>
                  <a:cubicBezTo>
                    <a:pt x="1737" y="275853"/>
                    <a:pt x="4923" y="278539"/>
                    <a:pt x="8746" y="278889"/>
                  </a:cubicBezTo>
                  <a:cubicBezTo>
                    <a:pt x="14219" y="278489"/>
                    <a:pt x="18355" y="273741"/>
                    <a:pt x="17993" y="268268"/>
                  </a:cubicBezTo>
                  <a:lnTo>
                    <a:pt x="23490" y="7622"/>
                  </a:lnTo>
                  <a:lnTo>
                    <a:pt x="23490" y="625"/>
                  </a:lnTo>
                  <a:cubicBezTo>
                    <a:pt x="23853" y="6035"/>
                    <a:pt x="19780" y="10721"/>
                    <a:pt x="14369" y="11121"/>
                  </a:cubicBezTo>
                  <a:cubicBezTo>
                    <a:pt x="8897" y="10408"/>
                    <a:pt x="4986" y="5485"/>
                    <a:pt x="5498" y="0"/>
                  </a:cubicBezTo>
                  <a:close/>
                </a:path>
              </a:pathLst>
            </a:custGeom>
            <a:solidFill>
              <a:srgbClr val="000000"/>
            </a:solidFill>
            <a:ln w="12483" cap="flat">
              <a:noFill/>
              <a:prstDash val="solid"/>
              <a:miter/>
            </a:ln>
          </p:spPr>
          <p:txBody>
            <a:bodyPr rtlCol="0" anchor="ctr"/>
            <a:lstStyle/>
            <a:p>
              <a:endParaRPr lang="en-US"/>
            </a:p>
          </p:txBody>
        </p:sp>
        <p:sp>
          <p:nvSpPr>
            <p:cNvPr id="1639" name="Freeform: Shape 1638">
              <a:extLst>
                <a:ext uri="{FF2B5EF4-FFF2-40B4-BE49-F238E27FC236}">
                  <a16:creationId xmlns:a16="http://schemas.microsoft.com/office/drawing/2014/main" id="{C72A1C63-30B4-4174-84B8-C49240954B1F}"/>
                </a:ext>
              </a:extLst>
            </p:cNvPr>
            <p:cNvSpPr/>
            <p:nvPr/>
          </p:nvSpPr>
          <p:spPr>
            <a:xfrm>
              <a:off x="10677122" y="1852143"/>
              <a:ext cx="21457" cy="198295"/>
            </a:xfrm>
            <a:custGeom>
              <a:avLst/>
              <a:gdLst>
                <a:gd name="connsiteX0" fmla="*/ 3669 w 21457"/>
                <a:gd name="connsiteY0" fmla="*/ 9746 h 198295"/>
                <a:gd name="connsiteX1" fmla="*/ 3669 w 21457"/>
                <a:gd name="connsiteY1" fmla="*/ 16993 h 198295"/>
                <a:gd name="connsiteX2" fmla="*/ 45 w 21457"/>
                <a:gd name="connsiteY2" fmla="*/ 187175 h 198295"/>
                <a:gd name="connsiteX3" fmla="*/ 8916 w 21457"/>
                <a:gd name="connsiteY3" fmla="*/ 198296 h 198295"/>
                <a:gd name="connsiteX4" fmla="*/ 18037 w 21457"/>
                <a:gd name="connsiteY4" fmla="*/ 187800 h 198295"/>
                <a:gd name="connsiteX5" fmla="*/ 18037 w 21457"/>
                <a:gd name="connsiteY5" fmla="*/ 171182 h 198295"/>
                <a:gd name="connsiteX6" fmla="*/ 21411 w 21457"/>
                <a:gd name="connsiteY6" fmla="*/ 10746 h 198295"/>
                <a:gd name="connsiteX7" fmla="*/ 21411 w 21457"/>
                <a:gd name="connsiteY7" fmla="*/ 10746 h 198295"/>
                <a:gd name="connsiteX8" fmla="*/ 21411 w 21457"/>
                <a:gd name="connsiteY8" fmla="*/ 8247 h 198295"/>
                <a:gd name="connsiteX9" fmla="*/ 21411 w 21457"/>
                <a:gd name="connsiteY9" fmla="*/ 6622 h 198295"/>
                <a:gd name="connsiteX10" fmla="*/ 20536 w 21457"/>
                <a:gd name="connsiteY10" fmla="*/ 4873 h 198295"/>
                <a:gd name="connsiteX11" fmla="*/ 19412 w 21457"/>
                <a:gd name="connsiteY11" fmla="*/ 3124 h 198295"/>
                <a:gd name="connsiteX12" fmla="*/ 13414 w 21457"/>
                <a:gd name="connsiteY12" fmla="*/ 0 h 198295"/>
                <a:gd name="connsiteX13" fmla="*/ 3669 w 21457"/>
                <a:gd name="connsiteY13" fmla="*/ 9746 h 19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57" h="198295">
                  <a:moveTo>
                    <a:pt x="3669" y="9746"/>
                  </a:moveTo>
                  <a:lnTo>
                    <a:pt x="3669" y="16993"/>
                  </a:lnTo>
                  <a:lnTo>
                    <a:pt x="45" y="187175"/>
                  </a:lnTo>
                  <a:cubicBezTo>
                    <a:pt x="-467" y="192661"/>
                    <a:pt x="3444" y="197584"/>
                    <a:pt x="8916" y="198296"/>
                  </a:cubicBezTo>
                  <a:cubicBezTo>
                    <a:pt x="14326" y="197896"/>
                    <a:pt x="18400" y="193210"/>
                    <a:pt x="18037" y="187800"/>
                  </a:cubicBezTo>
                  <a:lnTo>
                    <a:pt x="18037" y="171182"/>
                  </a:lnTo>
                  <a:lnTo>
                    <a:pt x="21411" y="10746"/>
                  </a:lnTo>
                  <a:lnTo>
                    <a:pt x="21411" y="10746"/>
                  </a:lnTo>
                  <a:cubicBezTo>
                    <a:pt x="21473" y="9909"/>
                    <a:pt x="21473" y="9084"/>
                    <a:pt x="21411" y="8247"/>
                  </a:cubicBezTo>
                  <a:lnTo>
                    <a:pt x="21411" y="6622"/>
                  </a:lnTo>
                  <a:cubicBezTo>
                    <a:pt x="21411" y="6622"/>
                    <a:pt x="20786" y="5373"/>
                    <a:pt x="20536" y="4873"/>
                  </a:cubicBezTo>
                  <a:lnTo>
                    <a:pt x="19412" y="3124"/>
                  </a:lnTo>
                  <a:cubicBezTo>
                    <a:pt x="17937" y="1287"/>
                    <a:pt x="15763" y="150"/>
                    <a:pt x="13414" y="0"/>
                  </a:cubicBezTo>
                  <a:cubicBezTo>
                    <a:pt x="8091" y="137"/>
                    <a:pt x="3806" y="4423"/>
                    <a:pt x="3669" y="9746"/>
                  </a:cubicBezTo>
                  <a:close/>
                </a:path>
              </a:pathLst>
            </a:custGeom>
            <a:solidFill>
              <a:srgbClr val="000000"/>
            </a:solidFill>
            <a:ln w="12483" cap="flat">
              <a:noFill/>
              <a:prstDash val="solid"/>
              <a:miter/>
            </a:ln>
          </p:spPr>
          <p:txBody>
            <a:bodyPr rtlCol="0" anchor="ctr"/>
            <a:lstStyle/>
            <a:p>
              <a:endParaRPr lang="en-US"/>
            </a:p>
          </p:txBody>
        </p:sp>
        <p:sp>
          <p:nvSpPr>
            <p:cNvPr id="1640" name="Freeform: Shape 1639">
              <a:extLst>
                <a:ext uri="{FF2B5EF4-FFF2-40B4-BE49-F238E27FC236}">
                  <a16:creationId xmlns:a16="http://schemas.microsoft.com/office/drawing/2014/main" id="{97A001F6-3BD0-432C-9EEB-43ED7700FA4C}"/>
                </a:ext>
              </a:extLst>
            </p:cNvPr>
            <p:cNvSpPr/>
            <p:nvPr/>
          </p:nvSpPr>
          <p:spPr>
            <a:xfrm>
              <a:off x="8591568" y="3968299"/>
              <a:ext cx="26988" cy="13369"/>
            </a:xfrm>
            <a:custGeom>
              <a:avLst/>
              <a:gdLst>
                <a:gd name="connsiteX0" fmla="*/ 26988 w 26988"/>
                <a:gd name="connsiteY0" fmla="*/ 0 h 13369"/>
                <a:gd name="connsiteX1" fmla="*/ 25864 w 26988"/>
                <a:gd name="connsiteY1" fmla="*/ 0 h 13369"/>
                <a:gd name="connsiteX2" fmla="*/ 25864 w 26988"/>
                <a:gd name="connsiteY2" fmla="*/ 0 h 13369"/>
                <a:gd name="connsiteX3" fmla="*/ 0 w 26988"/>
                <a:gd name="connsiteY3" fmla="*/ 13370 h 13369"/>
                <a:gd name="connsiteX4" fmla="*/ 4498 w 26988"/>
                <a:gd name="connsiteY4" fmla="*/ 13370 h 13369"/>
                <a:gd name="connsiteX5" fmla="*/ 26739 w 26988"/>
                <a:gd name="connsiteY5" fmla="*/ 1874 h 13369"/>
                <a:gd name="connsiteX6" fmla="*/ 26739 w 26988"/>
                <a:gd name="connsiteY6" fmla="*/ 1874 h 13369"/>
                <a:gd name="connsiteX7" fmla="*/ 26988 w 26988"/>
                <a:gd name="connsiteY7" fmla="*/ 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88" h="13369">
                  <a:moveTo>
                    <a:pt x="26988" y="0"/>
                  </a:moveTo>
                  <a:lnTo>
                    <a:pt x="25864" y="0"/>
                  </a:lnTo>
                  <a:lnTo>
                    <a:pt x="25864" y="0"/>
                  </a:lnTo>
                  <a:lnTo>
                    <a:pt x="0" y="13370"/>
                  </a:lnTo>
                  <a:cubicBezTo>
                    <a:pt x="1462" y="12882"/>
                    <a:pt x="3036" y="12882"/>
                    <a:pt x="4498" y="13370"/>
                  </a:cubicBezTo>
                  <a:lnTo>
                    <a:pt x="26739" y="1874"/>
                  </a:lnTo>
                  <a:lnTo>
                    <a:pt x="26739" y="1874"/>
                  </a:lnTo>
                  <a:cubicBezTo>
                    <a:pt x="26739" y="1874"/>
                    <a:pt x="26864" y="0"/>
                    <a:pt x="26988" y="0"/>
                  </a:cubicBezTo>
                  <a:close/>
                </a:path>
              </a:pathLst>
            </a:custGeom>
            <a:solidFill>
              <a:srgbClr val="000000"/>
            </a:solidFill>
            <a:ln w="12483" cap="flat">
              <a:noFill/>
              <a:prstDash val="solid"/>
              <a:miter/>
            </a:ln>
          </p:spPr>
          <p:txBody>
            <a:bodyPr rtlCol="0" anchor="ctr"/>
            <a:lstStyle/>
            <a:p>
              <a:endParaRPr lang="en-US"/>
            </a:p>
          </p:txBody>
        </p:sp>
        <p:sp>
          <p:nvSpPr>
            <p:cNvPr id="1641" name="Freeform: Shape 1640">
              <a:extLst>
                <a:ext uri="{FF2B5EF4-FFF2-40B4-BE49-F238E27FC236}">
                  <a16:creationId xmlns:a16="http://schemas.microsoft.com/office/drawing/2014/main" id="{28A12FFD-D161-48BC-9AC2-BFB858D62771}"/>
                </a:ext>
              </a:extLst>
            </p:cNvPr>
            <p:cNvSpPr/>
            <p:nvPr/>
          </p:nvSpPr>
          <p:spPr>
            <a:xfrm>
              <a:off x="8629302" y="3977671"/>
              <a:ext cx="336854" cy="453943"/>
            </a:xfrm>
            <a:custGeom>
              <a:avLst/>
              <a:gdLst>
                <a:gd name="connsiteX0" fmla="*/ 328858 w 336854"/>
                <a:gd name="connsiteY0" fmla="*/ 447946 h 453943"/>
                <a:gd name="connsiteX1" fmla="*/ 330857 w 336854"/>
                <a:gd name="connsiteY1" fmla="*/ 446822 h 453943"/>
                <a:gd name="connsiteX2" fmla="*/ 336855 w 336854"/>
                <a:gd name="connsiteY2" fmla="*/ 443573 h 453943"/>
                <a:gd name="connsiteX3" fmla="*/ 21366 w 336854"/>
                <a:gd name="connsiteY3" fmla="*/ 11121 h 453943"/>
                <a:gd name="connsiteX4" fmla="*/ 21366 w 336854"/>
                <a:gd name="connsiteY4" fmla="*/ 11121 h 453943"/>
                <a:gd name="connsiteX5" fmla="*/ 13369 w 336854"/>
                <a:gd name="connsiteY5" fmla="*/ 0 h 453943"/>
                <a:gd name="connsiteX6" fmla="*/ 12495 w 336854"/>
                <a:gd name="connsiteY6" fmla="*/ 15369 h 453943"/>
                <a:gd name="connsiteX7" fmla="*/ 1187 w 336854"/>
                <a:gd name="connsiteY7" fmla="*/ 15769 h 453943"/>
                <a:gd name="connsiteX8" fmla="*/ 0 w 336854"/>
                <a:gd name="connsiteY8" fmla="*/ 14369 h 453943"/>
                <a:gd name="connsiteX9" fmla="*/ 1000 w 336854"/>
                <a:gd name="connsiteY9" fmla="*/ 15744 h 453943"/>
                <a:gd name="connsiteX10" fmla="*/ 319987 w 336854"/>
                <a:gd name="connsiteY10" fmla="*/ 453069 h 453943"/>
                <a:gd name="connsiteX11" fmla="*/ 319987 w 336854"/>
                <a:gd name="connsiteY11" fmla="*/ 453069 h 453943"/>
                <a:gd name="connsiteX12" fmla="*/ 319987 w 336854"/>
                <a:gd name="connsiteY12" fmla="*/ 453069 h 453943"/>
                <a:gd name="connsiteX13" fmla="*/ 323985 w 336854"/>
                <a:gd name="connsiteY13" fmla="*/ 453944 h 453943"/>
                <a:gd name="connsiteX14" fmla="*/ 328858 w 336854"/>
                <a:gd name="connsiteY14" fmla="*/ 447946 h 45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854" h="453943">
                  <a:moveTo>
                    <a:pt x="328858" y="447946"/>
                  </a:moveTo>
                  <a:lnTo>
                    <a:pt x="330857" y="446822"/>
                  </a:lnTo>
                  <a:lnTo>
                    <a:pt x="336855" y="443573"/>
                  </a:lnTo>
                  <a:lnTo>
                    <a:pt x="21366" y="11121"/>
                  </a:lnTo>
                  <a:lnTo>
                    <a:pt x="21366" y="11121"/>
                  </a:lnTo>
                  <a:lnTo>
                    <a:pt x="13369" y="0"/>
                  </a:lnTo>
                  <a:cubicBezTo>
                    <a:pt x="16643" y="4711"/>
                    <a:pt x="16280" y="11058"/>
                    <a:pt x="12495" y="15369"/>
                  </a:cubicBezTo>
                  <a:cubicBezTo>
                    <a:pt x="9483" y="18605"/>
                    <a:pt x="4423" y="18780"/>
                    <a:pt x="1187" y="15769"/>
                  </a:cubicBezTo>
                  <a:cubicBezTo>
                    <a:pt x="737" y="15356"/>
                    <a:pt x="337" y="14882"/>
                    <a:pt x="0" y="14369"/>
                  </a:cubicBezTo>
                  <a:lnTo>
                    <a:pt x="1000" y="15744"/>
                  </a:lnTo>
                  <a:lnTo>
                    <a:pt x="319987" y="453069"/>
                  </a:lnTo>
                  <a:lnTo>
                    <a:pt x="319987" y="453069"/>
                  </a:lnTo>
                  <a:lnTo>
                    <a:pt x="319987" y="453069"/>
                  </a:lnTo>
                  <a:cubicBezTo>
                    <a:pt x="321374" y="452970"/>
                    <a:pt x="322761" y="453269"/>
                    <a:pt x="323985" y="453944"/>
                  </a:cubicBezTo>
                  <a:cubicBezTo>
                    <a:pt x="324772" y="451395"/>
                    <a:pt x="326522" y="449246"/>
                    <a:pt x="328858" y="447946"/>
                  </a:cubicBezTo>
                  <a:close/>
                </a:path>
              </a:pathLst>
            </a:custGeom>
            <a:solidFill>
              <a:schemeClr val="tx2"/>
            </a:solidFill>
            <a:ln w="12483" cap="flat">
              <a:noFill/>
              <a:prstDash val="solid"/>
              <a:miter/>
            </a:ln>
          </p:spPr>
          <p:txBody>
            <a:bodyPr rtlCol="0" anchor="ctr"/>
            <a:lstStyle/>
            <a:p>
              <a:endParaRPr lang="en-US"/>
            </a:p>
          </p:txBody>
        </p:sp>
        <p:sp>
          <p:nvSpPr>
            <p:cNvPr id="1642" name="Freeform: Shape 1641">
              <a:extLst>
                <a:ext uri="{FF2B5EF4-FFF2-40B4-BE49-F238E27FC236}">
                  <a16:creationId xmlns:a16="http://schemas.microsoft.com/office/drawing/2014/main" id="{CABB6A5F-3EB5-42A9-8DB2-246E641696EE}"/>
                </a:ext>
              </a:extLst>
            </p:cNvPr>
            <p:cNvSpPr/>
            <p:nvPr/>
          </p:nvSpPr>
          <p:spPr>
            <a:xfrm>
              <a:off x="8618931" y="3966550"/>
              <a:ext cx="624" cy="1374"/>
            </a:xfrm>
            <a:custGeom>
              <a:avLst/>
              <a:gdLst>
                <a:gd name="connsiteX0" fmla="*/ 625 w 624"/>
                <a:gd name="connsiteY0" fmla="*/ 0 h 1374"/>
                <a:gd name="connsiteX1" fmla="*/ 625 w 624"/>
                <a:gd name="connsiteY1" fmla="*/ 0 h 1374"/>
                <a:gd name="connsiteX2" fmla="*/ 0 w 624"/>
                <a:gd name="connsiteY2" fmla="*/ 1375 h 1374"/>
                <a:gd name="connsiteX3" fmla="*/ 0 w 624"/>
                <a:gd name="connsiteY3" fmla="*/ 1375 h 1374"/>
                <a:gd name="connsiteX4" fmla="*/ 625 w 624"/>
                <a:gd name="connsiteY4" fmla="*/ 0 h 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 h="1374">
                  <a:moveTo>
                    <a:pt x="625" y="0"/>
                  </a:moveTo>
                  <a:lnTo>
                    <a:pt x="625" y="0"/>
                  </a:lnTo>
                  <a:cubicBezTo>
                    <a:pt x="337" y="425"/>
                    <a:pt x="137" y="887"/>
                    <a:pt x="0" y="1375"/>
                  </a:cubicBezTo>
                  <a:lnTo>
                    <a:pt x="0" y="1375"/>
                  </a:lnTo>
                  <a:cubicBezTo>
                    <a:pt x="162" y="900"/>
                    <a:pt x="362" y="437"/>
                    <a:pt x="625" y="0"/>
                  </a:cubicBezTo>
                  <a:close/>
                </a:path>
              </a:pathLst>
            </a:custGeom>
            <a:solidFill>
              <a:srgbClr val="000000"/>
            </a:solidFill>
            <a:ln w="12483" cap="flat">
              <a:noFill/>
              <a:prstDash val="solid"/>
              <a:miter/>
            </a:ln>
          </p:spPr>
          <p:txBody>
            <a:bodyPr rtlCol="0" anchor="ctr"/>
            <a:lstStyle/>
            <a:p>
              <a:endParaRPr lang="en-US"/>
            </a:p>
          </p:txBody>
        </p:sp>
        <p:sp>
          <p:nvSpPr>
            <p:cNvPr id="1643" name="Freeform: Shape 1642">
              <a:extLst>
                <a:ext uri="{FF2B5EF4-FFF2-40B4-BE49-F238E27FC236}">
                  <a16:creationId xmlns:a16="http://schemas.microsoft.com/office/drawing/2014/main" id="{AC51AA57-74CE-456F-8B15-012502685684}"/>
                </a:ext>
              </a:extLst>
            </p:cNvPr>
            <p:cNvSpPr/>
            <p:nvPr/>
          </p:nvSpPr>
          <p:spPr>
            <a:xfrm>
              <a:off x="8620805" y="3963051"/>
              <a:ext cx="1499" cy="1249"/>
            </a:xfrm>
            <a:custGeom>
              <a:avLst/>
              <a:gdLst>
                <a:gd name="connsiteX0" fmla="*/ 875 w 1499"/>
                <a:gd name="connsiteY0" fmla="*/ 625 h 1249"/>
                <a:gd name="connsiteX1" fmla="*/ 0 w 1499"/>
                <a:gd name="connsiteY1" fmla="*/ 1250 h 1249"/>
                <a:gd name="connsiteX2" fmla="*/ 0 w 1499"/>
                <a:gd name="connsiteY2" fmla="*/ 1250 h 1249"/>
                <a:gd name="connsiteX3" fmla="*/ 1499 w 1499"/>
                <a:gd name="connsiteY3" fmla="*/ 0 h 1249"/>
              </a:gdLst>
              <a:ahLst/>
              <a:cxnLst>
                <a:cxn ang="0">
                  <a:pos x="connsiteX0" y="connsiteY0"/>
                </a:cxn>
                <a:cxn ang="0">
                  <a:pos x="connsiteX1" y="connsiteY1"/>
                </a:cxn>
                <a:cxn ang="0">
                  <a:pos x="connsiteX2" y="connsiteY2"/>
                </a:cxn>
                <a:cxn ang="0">
                  <a:pos x="connsiteX3" y="connsiteY3"/>
                </a:cxn>
              </a:cxnLst>
              <a:rect l="l" t="t" r="r" b="b"/>
              <a:pathLst>
                <a:path w="1499" h="1249">
                  <a:moveTo>
                    <a:pt x="875" y="625"/>
                  </a:moveTo>
                  <a:lnTo>
                    <a:pt x="0" y="1250"/>
                  </a:lnTo>
                  <a:lnTo>
                    <a:pt x="0" y="1250"/>
                  </a:lnTo>
                  <a:cubicBezTo>
                    <a:pt x="412" y="737"/>
                    <a:pt x="924" y="313"/>
                    <a:pt x="1499" y="0"/>
                  </a:cubicBezTo>
                  <a:close/>
                </a:path>
              </a:pathLst>
            </a:custGeom>
            <a:solidFill>
              <a:srgbClr val="000000"/>
            </a:solidFill>
            <a:ln w="12483" cap="flat">
              <a:noFill/>
              <a:prstDash val="solid"/>
              <a:miter/>
            </a:ln>
          </p:spPr>
          <p:txBody>
            <a:bodyPr rtlCol="0" anchor="ctr"/>
            <a:lstStyle/>
            <a:p>
              <a:endParaRPr lang="en-US"/>
            </a:p>
          </p:txBody>
        </p:sp>
        <p:sp>
          <p:nvSpPr>
            <p:cNvPr id="1644" name="Freeform: Shape 1643">
              <a:extLst>
                <a:ext uri="{FF2B5EF4-FFF2-40B4-BE49-F238E27FC236}">
                  <a16:creationId xmlns:a16="http://schemas.microsoft.com/office/drawing/2014/main" id="{6C7C2030-7262-4C4D-BAD1-A4A7577CCD9C}"/>
                </a:ext>
              </a:extLst>
            </p:cNvPr>
            <p:cNvSpPr/>
            <p:nvPr/>
          </p:nvSpPr>
          <p:spPr>
            <a:xfrm>
              <a:off x="8626803" y="3976546"/>
              <a:ext cx="17848" cy="18913"/>
            </a:xfrm>
            <a:custGeom>
              <a:avLst/>
              <a:gdLst>
                <a:gd name="connsiteX0" fmla="*/ 8871 w 17848"/>
                <a:gd name="connsiteY0" fmla="*/ 3124 h 18913"/>
                <a:gd name="connsiteX1" fmla="*/ 3873 w 17848"/>
                <a:gd name="connsiteY1" fmla="*/ 10246 h 18913"/>
                <a:gd name="connsiteX2" fmla="*/ 0 w 17848"/>
                <a:gd name="connsiteY2" fmla="*/ 12245 h 18913"/>
                <a:gd name="connsiteX3" fmla="*/ 2249 w 17848"/>
                <a:gd name="connsiteY3" fmla="*/ 15369 h 18913"/>
                <a:gd name="connsiteX4" fmla="*/ 13344 w 17848"/>
                <a:gd name="connsiteY4" fmla="*/ 17555 h 18913"/>
                <a:gd name="connsiteX5" fmla="*/ 14744 w 17848"/>
                <a:gd name="connsiteY5" fmla="*/ 16368 h 18913"/>
                <a:gd name="connsiteX6" fmla="*/ 15618 w 17848"/>
                <a:gd name="connsiteY6" fmla="*/ 999 h 18913"/>
                <a:gd name="connsiteX7" fmla="*/ 14744 w 17848"/>
                <a:gd name="connsiteY7" fmla="*/ 0 h 1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48" h="18913">
                  <a:moveTo>
                    <a:pt x="8871" y="3124"/>
                  </a:moveTo>
                  <a:cubicBezTo>
                    <a:pt x="8334" y="6110"/>
                    <a:pt x="6497" y="8721"/>
                    <a:pt x="3873" y="10246"/>
                  </a:cubicBezTo>
                  <a:lnTo>
                    <a:pt x="0" y="12245"/>
                  </a:lnTo>
                  <a:lnTo>
                    <a:pt x="2249" y="15369"/>
                  </a:lnTo>
                  <a:cubicBezTo>
                    <a:pt x="4710" y="19042"/>
                    <a:pt x="9671" y="20017"/>
                    <a:pt x="13344" y="17555"/>
                  </a:cubicBezTo>
                  <a:cubicBezTo>
                    <a:pt x="13857" y="17218"/>
                    <a:pt x="14319" y="16818"/>
                    <a:pt x="14744" y="16368"/>
                  </a:cubicBezTo>
                  <a:cubicBezTo>
                    <a:pt x="18530" y="12058"/>
                    <a:pt x="18892" y="5710"/>
                    <a:pt x="15618" y="999"/>
                  </a:cubicBezTo>
                  <a:lnTo>
                    <a:pt x="14744" y="0"/>
                  </a:lnTo>
                  <a:close/>
                </a:path>
              </a:pathLst>
            </a:custGeom>
            <a:solidFill>
              <a:srgbClr val="000000"/>
            </a:solidFill>
            <a:ln w="12483" cap="flat">
              <a:noFill/>
              <a:prstDash val="solid"/>
              <a:miter/>
            </a:ln>
          </p:spPr>
          <p:txBody>
            <a:bodyPr rtlCol="0" anchor="ctr"/>
            <a:lstStyle/>
            <a:p>
              <a:endParaRPr lang="en-US"/>
            </a:p>
          </p:txBody>
        </p:sp>
        <p:sp>
          <p:nvSpPr>
            <p:cNvPr id="1645" name="Freeform: Shape 1644">
              <a:extLst>
                <a:ext uri="{FF2B5EF4-FFF2-40B4-BE49-F238E27FC236}">
                  <a16:creationId xmlns:a16="http://schemas.microsoft.com/office/drawing/2014/main" id="{6B9544FF-7E43-4F17-925A-0280C8A3DC58}"/>
                </a:ext>
              </a:extLst>
            </p:cNvPr>
            <p:cNvSpPr/>
            <p:nvPr/>
          </p:nvSpPr>
          <p:spPr>
            <a:xfrm>
              <a:off x="8625303" y="3979670"/>
              <a:ext cx="10370" cy="9871"/>
            </a:xfrm>
            <a:custGeom>
              <a:avLst/>
              <a:gdLst>
                <a:gd name="connsiteX0" fmla="*/ 5373 w 10370"/>
                <a:gd name="connsiteY0" fmla="*/ 7122 h 9871"/>
                <a:gd name="connsiteX1" fmla="*/ 10371 w 10370"/>
                <a:gd name="connsiteY1" fmla="*/ 0 h 9871"/>
                <a:gd name="connsiteX2" fmla="*/ 4998 w 10370"/>
                <a:gd name="connsiteY2" fmla="*/ 2749 h 9871"/>
                <a:gd name="connsiteX3" fmla="*/ 4998 w 10370"/>
                <a:gd name="connsiteY3" fmla="*/ 2749 h 9871"/>
                <a:gd name="connsiteX4" fmla="*/ 0 w 10370"/>
                <a:gd name="connsiteY4" fmla="*/ 9871 h 9871"/>
                <a:gd name="connsiteX5" fmla="*/ 1374 w 10370"/>
                <a:gd name="connsiteY5" fmla="*/ 9122 h 9871"/>
                <a:gd name="connsiteX6" fmla="*/ 1374 w 10370"/>
                <a:gd name="connsiteY6" fmla="*/ 9122 h 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0" h="9871">
                  <a:moveTo>
                    <a:pt x="5373" y="7122"/>
                  </a:moveTo>
                  <a:cubicBezTo>
                    <a:pt x="7997" y="5598"/>
                    <a:pt x="9833" y="2986"/>
                    <a:pt x="10371" y="0"/>
                  </a:cubicBezTo>
                  <a:lnTo>
                    <a:pt x="4998" y="2749"/>
                  </a:lnTo>
                  <a:lnTo>
                    <a:pt x="4998" y="2749"/>
                  </a:lnTo>
                  <a:cubicBezTo>
                    <a:pt x="4411" y="5723"/>
                    <a:pt x="2599" y="8309"/>
                    <a:pt x="0" y="9871"/>
                  </a:cubicBezTo>
                  <a:lnTo>
                    <a:pt x="1374" y="9122"/>
                  </a:lnTo>
                  <a:lnTo>
                    <a:pt x="1374" y="9122"/>
                  </a:lnTo>
                  <a:close/>
                </a:path>
              </a:pathLst>
            </a:custGeom>
            <a:solidFill>
              <a:srgbClr val="000000"/>
            </a:solidFill>
            <a:ln w="12483" cap="flat">
              <a:noFill/>
              <a:prstDash val="solid"/>
              <a:miter/>
            </a:ln>
          </p:spPr>
          <p:txBody>
            <a:bodyPr rtlCol="0" anchor="ctr"/>
            <a:lstStyle/>
            <a:p>
              <a:endParaRPr lang="en-US"/>
            </a:p>
          </p:txBody>
        </p:sp>
        <p:sp>
          <p:nvSpPr>
            <p:cNvPr id="1646" name="Freeform: Shape 1645">
              <a:extLst>
                <a:ext uri="{FF2B5EF4-FFF2-40B4-BE49-F238E27FC236}">
                  <a16:creationId xmlns:a16="http://schemas.microsoft.com/office/drawing/2014/main" id="{3FAEC069-34F7-4286-AD6B-FDB51C04471B}"/>
                </a:ext>
              </a:extLst>
            </p:cNvPr>
            <p:cNvSpPr/>
            <p:nvPr/>
          </p:nvSpPr>
          <p:spPr>
            <a:xfrm>
              <a:off x="8617931" y="3969799"/>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endParaRPr lang="en-US"/>
            </a:p>
          </p:txBody>
        </p:sp>
        <p:sp>
          <p:nvSpPr>
            <p:cNvPr id="1647" name="Freeform: Shape 1646">
              <a:extLst>
                <a:ext uri="{FF2B5EF4-FFF2-40B4-BE49-F238E27FC236}">
                  <a16:creationId xmlns:a16="http://schemas.microsoft.com/office/drawing/2014/main" id="{4505B9EE-42D8-4F97-AB93-FBED68917174}"/>
                </a:ext>
              </a:extLst>
            </p:cNvPr>
            <p:cNvSpPr/>
            <p:nvPr/>
          </p:nvSpPr>
          <p:spPr>
            <a:xfrm>
              <a:off x="8211482" y="3969674"/>
              <a:ext cx="418569" cy="233282"/>
            </a:xfrm>
            <a:custGeom>
              <a:avLst/>
              <a:gdLst>
                <a:gd name="connsiteX0" fmla="*/ 418569 w 418569"/>
                <a:gd name="connsiteY0" fmla="*/ 12870 h 233282"/>
                <a:gd name="connsiteX1" fmla="*/ 407462 w 418569"/>
                <a:gd name="connsiteY1" fmla="*/ 8285 h 233282"/>
                <a:gd name="connsiteX2" fmla="*/ 407074 w 418569"/>
                <a:gd name="connsiteY2" fmla="*/ 7122 h 233282"/>
                <a:gd name="connsiteX3" fmla="*/ 407074 w 418569"/>
                <a:gd name="connsiteY3" fmla="*/ 0 h 233282"/>
                <a:gd name="connsiteX4" fmla="*/ 407074 w 418569"/>
                <a:gd name="connsiteY4" fmla="*/ 0 h 233282"/>
                <a:gd name="connsiteX5" fmla="*/ 384834 w 418569"/>
                <a:gd name="connsiteY5" fmla="*/ 11496 h 233282"/>
                <a:gd name="connsiteX6" fmla="*/ 392206 w 418569"/>
                <a:gd name="connsiteY6" fmla="*/ 17868 h 233282"/>
                <a:gd name="connsiteX7" fmla="*/ 387458 w 418569"/>
                <a:gd name="connsiteY7" fmla="*/ 32112 h 233282"/>
                <a:gd name="connsiteX8" fmla="*/ 218031 w 418569"/>
                <a:gd name="connsiteY8" fmla="*/ 119577 h 233282"/>
                <a:gd name="connsiteX9" fmla="*/ 0 w 418569"/>
                <a:gd name="connsiteY9" fmla="*/ 232033 h 233282"/>
                <a:gd name="connsiteX10" fmla="*/ 875 w 418569"/>
                <a:gd name="connsiteY10" fmla="*/ 233282 h 233282"/>
                <a:gd name="connsiteX11" fmla="*/ 414196 w 418569"/>
                <a:gd name="connsiteY11" fmla="*/ 19617 h 233282"/>
                <a:gd name="connsiteX12" fmla="*/ 418569 w 418569"/>
                <a:gd name="connsiteY12" fmla="*/ 12870 h 2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9" h="233282">
                  <a:moveTo>
                    <a:pt x="418569" y="12870"/>
                  </a:moveTo>
                  <a:cubicBezTo>
                    <a:pt x="414234" y="14669"/>
                    <a:pt x="409261" y="12620"/>
                    <a:pt x="407462" y="8285"/>
                  </a:cubicBezTo>
                  <a:cubicBezTo>
                    <a:pt x="407299" y="7910"/>
                    <a:pt x="407174" y="7522"/>
                    <a:pt x="407074" y="7122"/>
                  </a:cubicBezTo>
                  <a:cubicBezTo>
                    <a:pt x="406387" y="4798"/>
                    <a:pt x="406387" y="2324"/>
                    <a:pt x="407074" y="0"/>
                  </a:cubicBezTo>
                  <a:lnTo>
                    <a:pt x="407074" y="0"/>
                  </a:lnTo>
                  <a:lnTo>
                    <a:pt x="384834" y="11496"/>
                  </a:lnTo>
                  <a:cubicBezTo>
                    <a:pt x="388307" y="12045"/>
                    <a:pt x="391156" y="14519"/>
                    <a:pt x="392206" y="17868"/>
                  </a:cubicBezTo>
                  <a:cubicBezTo>
                    <a:pt x="393967" y="23141"/>
                    <a:pt x="392031" y="28951"/>
                    <a:pt x="387458" y="32112"/>
                  </a:cubicBezTo>
                  <a:lnTo>
                    <a:pt x="218031" y="119577"/>
                  </a:lnTo>
                  <a:lnTo>
                    <a:pt x="0" y="232033"/>
                  </a:lnTo>
                  <a:lnTo>
                    <a:pt x="875" y="233282"/>
                  </a:lnTo>
                  <a:lnTo>
                    <a:pt x="414196" y="19617"/>
                  </a:lnTo>
                  <a:cubicBezTo>
                    <a:pt x="416470" y="18018"/>
                    <a:pt x="418044" y="15594"/>
                    <a:pt x="418569" y="12870"/>
                  </a:cubicBezTo>
                  <a:close/>
                </a:path>
              </a:pathLst>
            </a:custGeom>
            <a:solidFill>
              <a:srgbClr val="000000"/>
            </a:solidFill>
            <a:ln w="12483" cap="flat">
              <a:noFill/>
              <a:prstDash val="solid"/>
              <a:miter/>
            </a:ln>
          </p:spPr>
          <p:txBody>
            <a:bodyPr rtlCol="0" anchor="ctr"/>
            <a:lstStyle/>
            <a:p>
              <a:endParaRPr lang="en-US"/>
            </a:p>
          </p:txBody>
        </p:sp>
        <p:sp>
          <p:nvSpPr>
            <p:cNvPr id="1648" name="Freeform: Shape 1647">
              <a:extLst>
                <a:ext uri="{FF2B5EF4-FFF2-40B4-BE49-F238E27FC236}">
                  <a16:creationId xmlns:a16="http://schemas.microsoft.com/office/drawing/2014/main" id="{E9F272EF-5517-4680-8C14-58C7F1F382BE}"/>
                </a:ext>
              </a:extLst>
            </p:cNvPr>
            <p:cNvSpPr/>
            <p:nvPr/>
          </p:nvSpPr>
          <p:spPr>
            <a:xfrm>
              <a:off x="7076098" y="4313162"/>
              <a:ext cx="66845" cy="325316"/>
            </a:xfrm>
            <a:custGeom>
              <a:avLst/>
              <a:gdLst>
                <a:gd name="connsiteX0" fmla="*/ 59474 w 66845"/>
                <a:gd name="connsiteY0" fmla="*/ 325120 h 325316"/>
                <a:gd name="connsiteX1" fmla="*/ 66596 w 66845"/>
                <a:gd name="connsiteY1" fmla="*/ 312625 h 325316"/>
                <a:gd name="connsiteX2" fmla="*/ 66596 w 66845"/>
                <a:gd name="connsiteY2" fmla="*/ 310126 h 325316"/>
                <a:gd name="connsiteX3" fmla="*/ 17617 w 66845"/>
                <a:gd name="connsiteY3" fmla="*/ 0 h 325316"/>
                <a:gd name="connsiteX4" fmla="*/ 10495 w 66845"/>
                <a:gd name="connsiteY4" fmla="*/ 12495 h 325316"/>
                <a:gd name="connsiteX5" fmla="*/ 75 w 66845"/>
                <a:gd name="connsiteY5" fmla="*/ 4598 h 325316"/>
                <a:gd name="connsiteX6" fmla="*/ 0 w 66845"/>
                <a:gd name="connsiteY6" fmla="*/ 3873 h 325316"/>
                <a:gd name="connsiteX7" fmla="*/ 0 w 66845"/>
                <a:gd name="connsiteY7" fmla="*/ 3873 h 325316"/>
                <a:gd name="connsiteX8" fmla="*/ 0 w 66845"/>
                <a:gd name="connsiteY8" fmla="*/ 7747 h 325316"/>
                <a:gd name="connsiteX9" fmla="*/ 48604 w 66845"/>
                <a:gd name="connsiteY9" fmla="*/ 316124 h 325316"/>
                <a:gd name="connsiteX10" fmla="*/ 48604 w 66845"/>
                <a:gd name="connsiteY10" fmla="*/ 316124 h 325316"/>
                <a:gd name="connsiteX11" fmla="*/ 49229 w 66845"/>
                <a:gd name="connsiteY11" fmla="*/ 317998 h 325316"/>
                <a:gd name="connsiteX12" fmla="*/ 49978 w 66845"/>
                <a:gd name="connsiteY12" fmla="*/ 319997 h 325316"/>
                <a:gd name="connsiteX13" fmla="*/ 59474 w 66845"/>
                <a:gd name="connsiteY13" fmla="*/ 325120 h 32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45" h="325316">
                  <a:moveTo>
                    <a:pt x="59474" y="325120"/>
                  </a:moveTo>
                  <a:cubicBezTo>
                    <a:pt x="64697" y="323396"/>
                    <a:pt x="67771" y="317998"/>
                    <a:pt x="66596" y="312625"/>
                  </a:cubicBezTo>
                  <a:lnTo>
                    <a:pt x="66596" y="310126"/>
                  </a:lnTo>
                  <a:lnTo>
                    <a:pt x="17617" y="0"/>
                  </a:lnTo>
                  <a:cubicBezTo>
                    <a:pt x="18792" y="5373"/>
                    <a:pt x="15718" y="10771"/>
                    <a:pt x="10495" y="12495"/>
                  </a:cubicBezTo>
                  <a:cubicBezTo>
                    <a:pt x="5435" y="13195"/>
                    <a:pt x="775" y="9658"/>
                    <a:pt x="75" y="4598"/>
                  </a:cubicBezTo>
                  <a:cubicBezTo>
                    <a:pt x="38" y="4361"/>
                    <a:pt x="13" y="4123"/>
                    <a:pt x="0" y="3873"/>
                  </a:cubicBezTo>
                  <a:lnTo>
                    <a:pt x="0" y="3873"/>
                  </a:lnTo>
                  <a:lnTo>
                    <a:pt x="0" y="7747"/>
                  </a:lnTo>
                  <a:lnTo>
                    <a:pt x="48604" y="316124"/>
                  </a:lnTo>
                  <a:lnTo>
                    <a:pt x="48604" y="316124"/>
                  </a:lnTo>
                  <a:cubicBezTo>
                    <a:pt x="48754" y="316761"/>
                    <a:pt x="48966" y="317399"/>
                    <a:pt x="49229" y="317998"/>
                  </a:cubicBezTo>
                  <a:lnTo>
                    <a:pt x="49978" y="319997"/>
                  </a:lnTo>
                  <a:cubicBezTo>
                    <a:pt x="51428" y="323821"/>
                    <a:pt x="55476" y="326008"/>
                    <a:pt x="59474" y="325120"/>
                  </a:cubicBezTo>
                  <a:close/>
                </a:path>
              </a:pathLst>
            </a:custGeom>
            <a:solidFill>
              <a:srgbClr val="000000"/>
            </a:solidFill>
            <a:ln w="12483" cap="flat">
              <a:noFill/>
              <a:prstDash val="solid"/>
              <a:miter/>
            </a:ln>
          </p:spPr>
          <p:txBody>
            <a:bodyPr rtlCol="0" anchor="ctr"/>
            <a:lstStyle/>
            <a:p>
              <a:endParaRPr lang="en-US"/>
            </a:p>
          </p:txBody>
        </p:sp>
        <p:sp>
          <p:nvSpPr>
            <p:cNvPr id="1649" name="Freeform: Shape 1648">
              <a:extLst>
                <a:ext uri="{FF2B5EF4-FFF2-40B4-BE49-F238E27FC236}">
                  <a16:creationId xmlns:a16="http://schemas.microsoft.com/office/drawing/2014/main" id="{F0831699-6368-4DA9-B516-7E0D2DBE3474}"/>
                </a:ext>
              </a:extLst>
            </p:cNvPr>
            <p:cNvSpPr/>
            <p:nvPr/>
          </p:nvSpPr>
          <p:spPr>
            <a:xfrm>
              <a:off x="6990260" y="3773627"/>
              <a:ext cx="103329" cy="552119"/>
            </a:xfrm>
            <a:custGeom>
              <a:avLst/>
              <a:gdLst>
                <a:gd name="connsiteX0" fmla="*/ 1749 w 103329"/>
                <a:gd name="connsiteY0" fmla="*/ 6248 h 552119"/>
                <a:gd name="connsiteX1" fmla="*/ 0 w 103329"/>
                <a:gd name="connsiteY1" fmla="*/ 0 h 552119"/>
                <a:gd name="connsiteX2" fmla="*/ 0 w 103329"/>
                <a:gd name="connsiteY2" fmla="*/ 1499 h 552119"/>
                <a:gd name="connsiteX3" fmla="*/ 85463 w 103329"/>
                <a:gd name="connsiteY3" fmla="*/ 543408 h 552119"/>
                <a:gd name="connsiteX4" fmla="*/ 95234 w 103329"/>
                <a:gd name="connsiteY4" fmla="*/ 552105 h 552119"/>
                <a:gd name="connsiteX5" fmla="*/ 95959 w 103329"/>
                <a:gd name="connsiteY5" fmla="*/ 552030 h 552119"/>
                <a:gd name="connsiteX6" fmla="*/ 103081 w 103329"/>
                <a:gd name="connsiteY6" fmla="*/ 539535 h 552119"/>
                <a:gd name="connsiteX7" fmla="*/ 24739 w 103329"/>
                <a:gd name="connsiteY7" fmla="*/ 41233 h 55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329" h="552119">
                  <a:moveTo>
                    <a:pt x="1749" y="6248"/>
                  </a:moveTo>
                  <a:cubicBezTo>
                    <a:pt x="662" y="4336"/>
                    <a:pt x="63" y="2199"/>
                    <a:pt x="0" y="0"/>
                  </a:cubicBezTo>
                  <a:lnTo>
                    <a:pt x="0" y="1499"/>
                  </a:lnTo>
                  <a:lnTo>
                    <a:pt x="85463" y="543408"/>
                  </a:lnTo>
                  <a:cubicBezTo>
                    <a:pt x="85763" y="548506"/>
                    <a:pt x="90136" y="552392"/>
                    <a:pt x="95234" y="552105"/>
                  </a:cubicBezTo>
                  <a:cubicBezTo>
                    <a:pt x="95471" y="552092"/>
                    <a:pt x="95721" y="552067"/>
                    <a:pt x="95959" y="552030"/>
                  </a:cubicBezTo>
                  <a:cubicBezTo>
                    <a:pt x="101181" y="550305"/>
                    <a:pt x="104255" y="544908"/>
                    <a:pt x="103081" y="539535"/>
                  </a:cubicBezTo>
                  <a:lnTo>
                    <a:pt x="24739" y="41233"/>
                  </a:lnTo>
                  <a:close/>
                </a:path>
              </a:pathLst>
            </a:custGeom>
            <a:solidFill>
              <a:srgbClr val="000000"/>
            </a:solidFill>
            <a:ln w="12483" cap="flat">
              <a:noFill/>
              <a:prstDash val="solid"/>
              <a:miter/>
            </a:ln>
          </p:spPr>
          <p:txBody>
            <a:bodyPr rtlCol="0" anchor="ctr"/>
            <a:lstStyle/>
            <a:p>
              <a:endParaRPr lang="en-US"/>
            </a:p>
          </p:txBody>
        </p:sp>
        <p:sp>
          <p:nvSpPr>
            <p:cNvPr id="1650" name="Freeform: Shape 1649">
              <a:extLst>
                <a:ext uri="{FF2B5EF4-FFF2-40B4-BE49-F238E27FC236}">
                  <a16:creationId xmlns:a16="http://schemas.microsoft.com/office/drawing/2014/main" id="{EBEA1D52-5A90-491E-97A7-B022A284DC58}"/>
                </a:ext>
              </a:extLst>
            </p:cNvPr>
            <p:cNvSpPr/>
            <p:nvPr/>
          </p:nvSpPr>
          <p:spPr>
            <a:xfrm>
              <a:off x="6991509" y="3765755"/>
              <a:ext cx="1249" cy="1749"/>
            </a:xfrm>
            <a:custGeom>
              <a:avLst/>
              <a:gdLst>
                <a:gd name="connsiteX0" fmla="*/ 750 w 1249"/>
                <a:gd name="connsiteY0" fmla="*/ 625 h 1749"/>
                <a:gd name="connsiteX1" fmla="*/ 0 w 1249"/>
                <a:gd name="connsiteY1" fmla="*/ 1749 h 1749"/>
                <a:gd name="connsiteX2" fmla="*/ 1249 w 1249"/>
                <a:gd name="connsiteY2" fmla="*/ 0 h 1749"/>
              </a:gdLst>
              <a:ahLst/>
              <a:cxnLst>
                <a:cxn ang="0">
                  <a:pos x="connsiteX0" y="connsiteY0"/>
                </a:cxn>
                <a:cxn ang="0">
                  <a:pos x="connsiteX1" y="connsiteY1"/>
                </a:cxn>
                <a:cxn ang="0">
                  <a:pos x="connsiteX2" y="connsiteY2"/>
                </a:cxn>
              </a:cxnLst>
              <a:rect l="l" t="t" r="r" b="b"/>
              <a:pathLst>
                <a:path w="1249" h="1749">
                  <a:moveTo>
                    <a:pt x="750" y="625"/>
                  </a:moveTo>
                  <a:lnTo>
                    <a:pt x="0" y="1749"/>
                  </a:lnTo>
                  <a:lnTo>
                    <a:pt x="1249" y="0"/>
                  </a:lnTo>
                  <a:close/>
                </a:path>
              </a:pathLst>
            </a:custGeom>
            <a:solidFill>
              <a:srgbClr val="000000"/>
            </a:solidFill>
            <a:ln w="12483" cap="flat">
              <a:noFill/>
              <a:prstDash val="solid"/>
              <a:miter/>
            </a:ln>
          </p:spPr>
          <p:txBody>
            <a:bodyPr rtlCol="0" anchor="ctr"/>
            <a:lstStyle/>
            <a:p>
              <a:endParaRPr lang="en-US"/>
            </a:p>
          </p:txBody>
        </p:sp>
        <p:sp>
          <p:nvSpPr>
            <p:cNvPr id="1651" name="Freeform: Shape 1650">
              <a:extLst>
                <a:ext uri="{FF2B5EF4-FFF2-40B4-BE49-F238E27FC236}">
                  <a16:creationId xmlns:a16="http://schemas.microsoft.com/office/drawing/2014/main" id="{2B37337C-E592-474B-95B5-1EF694B5B80E}"/>
                </a:ext>
              </a:extLst>
            </p:cNvPr>
            <p:cNvSpPr/>
            <p:nvPr/>
          </p:nvSpPr>
          <p:spPr>
            <a:xfrm>
              <a:off x="6993883" y="3763506"/>
              <a:ext cx="1499" cy="874"/>
            </a:xfrm>
            <a:custGeom>
              <a:avLst/>
              <a:gdLst>
                <a:gd name="connsiteX0" fmla="*/ 1000 w 1499"/>
                <a:gd name="connsiteY0" fmla="*/ 250 h 874"/>
                <a:gd name="connsiteX1" fmla="*/ 0 w 1499"/>
                <a:gd name="connsiteY1" fmla="*/ 875 h 874"/>
                <a:gd name="connsiteX2" fmla="*/ 1499 w 1499"/>
                <a:gd name="connsiteY2" fmla="*/ 0 h 874"/>
              </a:gdLst>
              <a:ahLst/>
              <a:cxnLst>
                <a:cxn ang="0">
                  <a:pos x="connsiteX0" y="connsiteY0"/>
                </a:cxn>
                <a:cxn ang="0">
                  <a:pos x="connsiteX1" y="connsiteY1"/>
                </a:cxn>
                <a:cxn ang="0">
                  <a:pos x="connsiteX2" y="connsiteY2"/>
                </a:cxn>
              </a:cxnLst>
              <a:rect l="l" t="t" r="r" b="b"/>
              <a:pathLst>
                <a:path w="1499" h="874">
                  <a:moveTo>
                    <a:pt x="1000" y="250"/>
                  </a:moveTo>
                  <a:lnTo>
                    <a:pt x="0" y="875"/>
                  </a:lnTo>
                  <a:lnTo>
                    <a:pt x="1499" y="0"/>
                  </a:lnTo>
                  <a:close/>
                </a:path>
              </a:pathLst>
            </a:custGeom>
            <a:solidFill>
              <a:srgbClr val="000000"/>
            </a:solidFill>
            <a:ln w="12483" cap="flat">
              <a:noFill/>
              <a:prstDash val="solid"/>
              <a:miter/>
            </a:ln>
          </p:spPr>
          <p:txBody>
            <a:bodyPr rtlCol="0" anchor="ctr"/>
            <a:lstStyle/>
            <a:p>
              <a:endParaRPr lang="en-US"/>
            </a:p>
          </p:txBody>
        </p:sp>
        <p:sp>
          <p:nvSpPr>
            <p:cNvPr id="1652" name="Freeform: Shape 1651">
              <a:extLst>
                <a:ext uri="{FF2B5EF4-FFF2-40B4-BE49-F238E27FC236}">
                  <a16:creationId xmlns:a16="http://schemas.microsoft.com/office/drawing/2014/main" id="{5378A0FC-2895-45AD-A061-994E45127B9C}"/>
                </a:ext>
              </a:extLst>
            </p:cNvPr>
            <p:cNvSpPr/>
            <p:nvPr/>
          </p:nvSpPr>
          <p:spPr>
            <a:xfrm>
              <a:off x="6990579" y="3769379"/>
              <a:ext cx="111" cy="1999"/>
            </a:xfrm>
            <a:custGeom>
              <a:avLst/>
              <a:gdLst>
                <a:gd name="connsiteX0" fmla="*/ 56 w 111"/>
                <a:gd name="connsiteY0" fmla="*/ 500 h 1999"/>
                <a:gd name="connsiteX1" fmla="*/ 56 w 111"/>
                <a:gd name="connsiteY1" fmla="*/ 1999 h 1999"/>
                <a:gd name="connsiteX2" fmla="*/ 56 w 111"/>
                <a:gd name="connsiteY2" fmla="*/ 0 h 1999"/>
                <a:gd name="connsiteX3" fmla="*/ 56 w 111"/>
                <a:gd name="connsiteY3" fmla="*/ 500 h 1999"/>
              </a:gdLst>
              <a:ahLst/>
              <a:cxnLst>
                <a:cxn ang="0">
                  <a:pos x="connsiteX0" y="connsiteY0"/>
                </a:cxn>
                <a:cxn ang="0">
                  <a:pos x="connsiteX1" y="connsiteY1"/>
                </a:cxn>
                <a:cxn ang="0">
                  <a:pos x="connsiteX2" y="connsiteY2"/>
                </a:cxn>
                <a:cxn ang="0">
                  <a:pos x="connsiteX3" y="connsiteY3"/>
                </a:cxn>
              </a:cxnLst>
              <a:rect l="l" t="t" r="r" b="b"/>
              <a:pathLst>
                <a:path w="111" h="1999">
                  <a:moveTo>
                    <a:pt x="56" y="500"/>
                  </a:moveTo>
                  <a:lnTo>
                    <a:pt x="56" y="1999"/>
                  </a:lnTo>
                  <a:cubicBezTo>
                    <a:pt x="-19" y="1337"/>
                    <a:pt x="-19" y="662"/>
                    <a:pt x="56" y="0"/>
                  </a:cubicBezTo>
                  <a:cubicBezTo>
                    <a:pt x="56" y="0"/>
                    <a:pt x="181" y="375"/>
                    <a:pt x="56" y="500"/>
                  </a:cubicBezTo>
                  <a:close/>
                </a:path>
              </a:pathLst>
            </a:custGeom>
            <a:solidFill>
              <a:srgbClr val="000000"/>
            </a:solidFill>
            <a:ln w="12483" cap="flat">
              <a:noFill/>
              <a:prstDash val="solid"/>
              <a:miter/>
            </a:ln>
          </p:spPr>
          <p:txBody>
            <a:bodyPr rtlCol="0" anchor="ctr"/>
            <a:lstStyle/>
            <a:p>
              <a:endParaRPr lang="en-US"/>
            </a:p>
          </p:txBody>
        </p:sp>
        <p:sp>
          <p:nvSpPr>
            <p:cNvPr id="1653" name="Freeform: Shape 1652">
              <a:extLst>
                <a:ext uri="{FF2B5EF4-FFF2-40B4-BE49-F238E27FC236}">
                  <a16:creationId xmlns:a16="http://schemas.microsoft.com/office/drawing/2014/main" id="{AEC53DE6-C76D-4C42-8951-33AB0A93500F}"/>
                </a:ext>
              </a:extLst>
            </p:cNvPr>
            <p:cNvSpPr/>
            <p:nvPr/>
          </p:nvSpPr>
          <p:spPr>
            <a:xfrm>
              <a:off x="6997382" y="3762506"/>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endParaRPr lang="en-US"/>
            </a:p>
          </p:txBody>
        </p:sp>
        <p:sp>
          <p:nvSpPr>
            <p:cNvPr id="1654" name="Freeform: Shape 1653">
              <a:extLst>
                <a:ext uri="{FF2B5EF4-FFF2-40B4-BE49-F238E27FC236}">
                  <a16:creationId xmlns:a16="http://schemas.microsoft.com/office/drawing/2014/main" id="{2BDC5B10-3428-4BA2-9E71-B8E12AFADCDB}"/>
                </a:ext>
              </a:extLst>
            </p:cNvPr>
            <p:cNvSpPr/>
            <p:nvPr/>
          </p:nvSpPr>
          <p:spPr>
            <a:xfrm>
              <a:off x="8328806" y="4370264"/>
              <a:ext cx="57225" cy="83841"/>
            </a:xfrm>
            <a:custGeom>
              <a:avLst/>
              <a:gdLst>
                <a:gd name="connsiteX0" fmla="*/ 1000 w 57225"/>
                <a:gd name="connsiteY0" fmla="*/ 22866 h 83841"/>
                <a:gd name="connsiteX1" fmla="*/ 43606 w 57225"/>
                <a:gd name="connsiteY1" fmla="*/ 83841 h 83841"/>
                <a:gd name="connsiteX2" fmla="*/ 44731 w 57225"/>
                <a:gd name="connsiteY2" fmla="*/ 68598 h 83841"/>
                <a:gd name="connsiteX3" fmla="*/ 55851 w 57225"/>
                <a:gd name="connsiteY3" fmla="*/ 68173 h 83841"/>
                <a:gd name="connsiteX4" fmla="*/ 57225 w 57225"/>
                <a:gd name="connsiteY4" fmla="*/ 69847 h 83841"/>
                <a:gd name="connsiteX5" fmla="*/ 10620 w 57225"/>
                <a:gd name="connsiteY5" fmla="*/ 2499 h 83841"/>
                <a:gd name="connsiteX6" fmla="*/ 10620 w 57225"/>
                <a:gd name="connsiteY6" fmla="*/ 2499 h 83841"/>
                <a:gd name="connsiteX7" fmla="*/ 9121 w 57225"/>
                <a:gd name="connsiteY7" fmla="*/ 999 h 83841"/>
                <a:gd name="connsiteX8" fmla="*/ 7747 w 57225"/>
                <a:gd name="connsiteY8" fmla="*/ 0 h 83841"/>
                <a:gd name="connsiteX9" fmla="*/ 6122 w 57225"/>
                <a:gd name="connsiteY9" fmla="*/ 0 h 83841"/>
                <a:gd name="connsiteX10" fmla="*/ 4373 w 57225"/>
                <a:gd name="connsiteY10" fmla="*/ 0 h 83841"/>
                <a:gd name="connsiteX11" fmla="*/ 2874 w 57225"/>
                <a:gd name="connsiteY11" fmla="*/ 0 h 83841"/>
                <a:gd name="connsiteX12" fmla="*/ 1000 w 57225"/>
                <a:gd name="connsiteY12" fmla="*/ 0 h 83841"/>
                <a:gd name="connsiteX13" fmla="*/ 0 w 57225"/>
                <a:gd name="connsiteY13" fmla="*/ 625 h 83841"/>
                <a:gd name="connsiteX14" fmla="*/ 4248 w 57225"/>
                <a:gd name="connsiteY14" fmla="*/ 6622 h 83841"/>
                <a:gd name="connsiteX15" fmla="*/ 4873 w 57225"/>
                <a:gd name="connsiteY15" fmla="*/ 7997 h 83841"/>
                <a:gd name="connsiteX16" fmla="*/ 5623 w 57225"/>
                <a:gd name="connsiteY16" fmla="*/ 9246 h 83841"/>
                <a:gd name="connsiteX17" fmla="*/ 5623 w 57225"/>
                <a:gd name="connsiteY17" fmla="*/ 9871 h 83841"/>
                <a:gd name="connsiteX18" fmla="*/ 5623 w 57225"/>
                <a:gd name="connsiteY18" fmla="*/ 11995 h 83841"/>
                <a:gd name="connsiteX19" fmla="*/ 5623 w 57225"/>
                <a:gd name="connsiteY19" fmla="*/ 13994 h 83841"/>
                <a:gd name="connsiteX20" fmla="*/ 5623 w 57225"/>
                <a:gd name="connsiteY20" fmla="*/ 15994 h 83841"/>
                <a:gd name="connsiteX21" fmla="*/ 5623 w 57225"/>
                <a:gd name="connsiteY21" fmla="*/ 17992 h 83841"/>
                <a:gd name="connsiteX22" fmla="*/ 4748 w 57225"/>
                <a:gd name="connsiteY22" fmla="*/ 19617 h 83841"/>
                <a:gd name="connsiteX23" fmla="*/ 3624 w 57225"/>
                <a:gd name="connsiteY23" fmla="*/ 21366 h 83841"/>
                <a:gd name="connsiteX24" fmla="*/ 3624 w 57225"/>
                <a:gd name="connsiteY24" fmla="*/ 21366 h 83841"/>
                <a:gd name="connsiteX25" fmla="*/ 2499 w 57225"/>
                <a:gd name="connsiteY25" fmla="*/ 22116 h 83841"/>
                <a:gd name="connsiteX26" fmla="*/ 2499 w 57225"/>
                <a:gd name="connsiteY26" fmla="*/ 22116 h 8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225" h="83841">
                  <a:moveTo>
                    <a:pt x="1000" y="22866"/>
                  </a:moveTo>
                  <a:lnTo>
                    <a:pt x="43606" y="83841"/>
                  </a:lnTo>
                  <a:cubicBezTo>
                    <a:pt x="40470" y="79093"/>
                    <a:pt x="40932" y="72833"/>
                    <a:pt x="44731" y="68598"/>
                  </a:cubicBezTo>
                  <a:cubicBezTo>
                    <a:pt x="47680" y="65411"/>
                    <a:pt x="52665" y="65211"/>
                    <a:pt x="55851" y="68173"/>
                  </a:cubicBezTo>
                  <a:cubicBezTo>
                    <a:pt x="56388" y="68660"/>
                    <a:pt x="56850" y="69222"/>
                    <a:pt x="57225" y="69847"/>
                  </a:cubicBezTo>
                  <a:lnTo>
                    <a:pt x="10620" y="2499"/>
                  </a:lnTo>
                  <a:lnTo>
                    <a:pt x="10620" y="2499"/>
                  </a:lnTo>
                  <a:lnTo>
                    <a:pt x="9121" y="999"/>
                  </a:lnTo>
                  <a:lnTo>
                    <a:pt x="7747" y="0"/>
                  </a:lnTo>
                  <a:lnTo>
                    <a:pt x="6122" y="0"/>
                  </a:lnTo>
                  <a:lnTo>
                    <a:pt x="4373" y="0"/>
                  </a:lnTo>
                  <a:lnTo>
                    <a:pt x="2874" y="0"/>
                  </a:lnTo>
                  <a:lnTo>
                    <a:pt x="1000" y="0"/>
                  </a:lnTo>
                  <a:lnTo>
                    <a:pt x="0" y="625"/>
                  </a:lnTo>
                  <a:lnTo>
                    <a:pt x="4248" y="6622"/>
                  </a:lnTo>
                  <a:cubicBezTo>
                    <a:pt x="4486" y="7072"/>
                    <a:pt x="4685" y="7534"/>
                    <a:pt x="4873" y="7997"/>
                  </a:cubicBezTo>
                  <a:lnTo>
                    <a:pt x="5623" y="9246"/>
                  </a:lnTo>
                  <a:cubicBezTo>
                    <a:pt x="5560" y="9446"/>
                    <a:pt x="5560" y="9671"/>
                    <a:pt x="5623" y="9871"/>
                  </a:cubicBezTo>
                  <a:cubicBezTo>
                    <a:pt x="5685" y="10583"/>
                    <a:pt x="5685" y="11283"/>
                    <a:pt x="5623" y="11995"/>
                  </a:cubicBezTo>
                  <a:cubicBezTo>
                    <a:pt x="5685" y="12657"/>
                    <a:pt x="5685" y="13332"/>
                    <a:pt x="5623" y="13994"/>
                  </a:cubicBezTo>
                  <a:cubicBezTo>
                    <a:pt x="5685" y="14656"/>
                    <a:pt x="5685" y="15331"/>
                    <a:pt x="5623" y="15994"/>
                  </a:cubicBezTo>
                  <a:cubicBezTo>
                    <a:pt x="5698" y="16656"/>
                    <a:pt x="5698" y="17331"/>
                    <a:pt x="5623" y="17992"/>
                  </a:cubicBezTo>
                  <a:cubicBezTo>
                    <a:pt x="5410" y="18568"/>
                    <a:pt x="5110" y="19117"/>
                    <a:pt x="4748" y="19617"/>
                  </a:cubicBezTo>
                  <a:lnTo>
                    <a:pt x="3624" y="21366"/>
                  </a:lnTo>
                  <a:lnTo>
                    <a:pt x="3624" y="21366"/>
                  </a:lnTo>
                  <a:lnTo>
                    <a:pt x="2499" y="22116"/>
                  </a:lnTo>
                  <a:cubicBezTo>
                    <a:pt x="2499" y="22116"/>
                    <a:pt x="2499" y="22116"/>
                    <a:pt x="2499" y="22116"/>
                  </a:cubicBezTo>
                  <a:close/>
                </a:path>
              </a:pathLst>
            </a:custGeom>
            <a:solidFill>
              <a:srgbClr val="000000"/>
            </a:solidFill>
            <a:ln w="12483" cap="flat">
              <a:noFill/>
              <a:prstDash val="solid"/>
              <a:miter/>
            </a:ln>
          </p:spPr>
          <p:txBody>
            <a:bodyPr rtlCol="0" anchor="ctr"/>
            <a:lstStyle/>
            <a:p>
              <a:endParaRPr lang="en-US"/>
            </a:p>
          </p:txBody>
        </p:sp>
        <p:sp>
          <p:nvSpPr>
            <p:cNvPr id="1655" name="Freeform: Shape 1654">
              <a:extLst>
                <a:ext uri="{FF2B5EF4-FFF2-40B4-BE49-F238E27FC236}">
                  <a16:creationId xmlns:a16="http://schemas.microsoft.com/office/drawing/2014/main" id="{ADCDC0CD-730E-47E8-A0E8-AD4175599797}"/>
                </a:ext>
              </a:extLst>
            </p:cNvPr>
            <p:cNvSpPr/>
            <p:nvPr/>
          </p:nvSpPr>
          <p:spPr>
            <a:xfrm>
              <a:off x="8371465" y="4436087"/>
              <a:ext cx="236418" cy="335644"/>
            </a:xfrm>
            <a:custGeom>
              <a:avLst/>
              <a:gdLst>
                <a:gd name="connsiteX0" fmla="*/ 221602 w 236418"/>
                <a:gd name="connsiteY0" fmla="*/ 332893 h 335644"/>
                <a:gd name="connsiteX1" fmla="*/ 227600 w 236418"/>
                <a:gd name="connsiteY1" fmla="*/ 335642 h 335644"/>
                <a:gd name="connsiteX2" fmla="*/ 233222 w 236418"/>
                <a:gd name="connsiteY2" fmla="*/ 333268 h 335644"/>
                <a:gd name="connsiteX3" fmla="*/ 234347 w 236418"/>
                <a:gd name="connsiteY3" fmla="*/ 318025 h 335644"/>
                <a:gd name="connsiteX4" fmla="*/ 17940 w 236418"/>
                <a:gd name="connsiteY4" fmla="*/ 7773 h 335644"/>
                <a:gd name="connsiteX5" fmla="*/ 15691 w 236418"/>
                <a:gd name="connsiteY5" fmla="*/ 4774 h 335644"/>
                <a:gd name="connsiteX6" fmla="*/ 15691 w 236418"/>
                <a:gd name="connsiteY6" fmla="*/ 3775 h 335644"/>
                <a:gd name="connsiteX7" fmla="*/ 4871 w 236418"/>
                <a:gd name="connsiteY7" fmla="*/ 1151 h 335644"/>
                <a:gd name="connsiteX8" fmla="*/ 3197 w 236418"/>
                <a:gd name="connsiteY8" fmla="*/ 2525 h 335644"/>
                <a:gd name="connsiteX9" fmla="*/ 2072 w 236418"/>
                <a:gd name="connsiteY9" fmla="*/ 17769 h 335644"/>
                <a:gd name="connsiteX10" fmla="*/ 217854 w 236418"/>
                <a:gd name="connsiteY10" fmla="*/ 328020 h 335644"/>
                <a:gd name="connsiteX11" fmla="*/ 219978 w 236418"/>
                <a:gd name="connsiteY11" fmla="*/ 331144 h 335644"/>
                <a:gd name="connsiteX12" fmla="*/ 220603 w 236418"/>
                <a:gd name="connsiteY12" fmla="*/ 332019 h 335644"/>
                <a:gd name="connsiteX13" fmla="*/ 221602 w 236418"/>
                <a:gd name="connsiteY13" fmla="*/ 332893 h 33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418" h="335644">
                  <a:moveTo>
                    <a:pt x="221602" y="332893"/>
                  </a:moveTo>
                  <a:cubicBezTo>
                    <a:pt x="223064" y="334693"/>
                    <a:pt x="225288" y="335705"/>
                    <a:pt x="227600" y="335642"/>
                  </a:cubicBezTo>
                  <a:cubicBezTo>
                    <a:pt x="229711" y="335642"/>
                    <a:pt x="231748" y="334780"/>
                    <a:pt x="233222" y="333268"/>
                  </a:cubicBezTo>
                  <a:cubicBezTo>
                    <a:pt x="237021" y="329032"/>
                    <a:pt x="237483" y="322772"/>
                    <a:pt x="234347" y="318025"/>
                  </a:cubicBezTo>
                  <a:lnTo>
                    <a:pt x="17940" y="7773"/>
                  </a:lnTo>
                  <a:lnTo>
                    <a:pt x="15691" y="4774"/>
                  </a:lnTo>
                  <a:lnTo>
                    <a:pt x="15691" y="3775"/>
                  </a:lnTo>
                  <a:cubicBezTo>
                    <a:pt x="13430" y="64"/>
                    <a:pt x="8582" y="-1111"/>
                    <a:pt x="4871" y="1151"/>
                  </a:cubicBezTo>
                  <a:cubicBezTo>
                    <a:pt x="4259" y="1538"/>
                    <a:pt x="3684" y="1988"/>
                    <a:pt x="3197" y="2525"/>
                  </a:cubicBezTo>
                  <a:cubicBezTo>
                    <a:pt x="-602" y="6761"/>
                    <a:pt x="-1064" y="13021"/>
                    <a:pt x="2072" y="17769"/>
                  </a:cubicBezTo>
                  <a:lnTo>
                    <a:pt x="217854" y="328020"/>
                  </a:lnTo>
                  <a:lnTo>
                    <a:pt x="219978" y="331144"/>
                  </a:lnTo>
                  <a:lnTo>
                    <a:pt x="220603" y="332019"/>
                  </a:lnTo>
                  <a:cubicBezTo>
                    <a:pt x="220603" y="332019"/>
                    <a:pt x="221227" y="332519"/>
                    <a:pt x="221602" y="332893"/>
                  </a:cubicBezTo>
                  <a:close/>
                </a:path>
              </a:pathLst>
            </a:custGeom>
            <a:solidFill>
              <a:srgbClr val="000000"/>
            </a:solidFill>
            <a:ln w="12483" cap="flat">
              <a:noFill/>
              <a:prstDash val="solid"/>
              <a:miter/>
            </a:ln>
          </p:spPr>
          <p:txBody>
            <a:bodyPr rtlCol="0" anchor="ctr"/>
            <a:lstStyle/>
            <a:p>
              <a:endParaRPr lang="en-US"/>
            </a:p>
          </p:txBody>
        </p:sp>
        <p:sp>
          <p:nvSpPr>
            <p:cNvPr id="1656" name="Freeform: Shape 1655">
              <a:extLst>
                <a:ext uri="{FF2B5EF4-FFF2-40B4-BE49-F238E27FC236}">
                  <a16:creationId xmlns:a16="http://schemas.microsoft.com/office/drawing/2014/main" id="{D9688075-FF2D-456F-9723-15E03D5F7D26}"/>
                </a:ext>
              </a:extLst>
            </p:cNvPr>
            <p:cNvSpPr/>
            <p:nvPr/>
          </p:nvSpPr>
          <p:spPr>
            <a:xfrm>
              <a:off x="8322934" y="4393130"/>
              <a:ext cx="6247" cy="3623"/>
            </a:xfrm>
            <a:custGeom>
              <a:avLst/>
              <a:gdLst>
                <a:gd name="connsiteX0" fmla="*/ 6247 w 6247"/>
                <a:gd name="connsiteY0" fmla="*/ 0 h 3623"/>
                <a:gd name="connsiteX1" fmla="*/ 6247 w 6247"/>
                <a:gd name="connsiteY1" fmla="*/ 0 h 3623"/>
                <a:gd name="connsiteX2" fmla="*/ 6247 w 6247"/>
                <a:gd name="connsiteY2" fmla="*/ 0 h 3623"/>
                <a:gd name="connsiteX3" fmla="*/ 2374 w 6247"/>
                <a:gd name="connsiteY3" fmla="*/ 1499 h 3623"/>
                <a:gd name="connsiteX4" fmla="*/ 0 w 6247"/>
                <a:gd name="connsiteY4" fmla="*/ 3624 h 3623"/>
                <a:gd name="connsiteX5" fmla="*/ 5123 w 6247"/>
                <a:gd name="connsiteY5" fmla="*/ 875 h 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7" h="3623">
                  <a:moveTo>
                    <a:pt x="6247" y="0"/>
                  </a:moveTo>
                  <a:lnTo>
                    <a:pt x="6247" y="0"/>
                  </a:lnTo>
                  <a:cubicBezTo>
                    <a:pt x="6247" y="0"/>
                    <a:pt x="6247" y="0"/>
                    <a:pt x="6247" y="0"/>
                  </a:cubicBezTo>
                  <a:cubicBezTo>
                    <a:pt x="5110" y="837"/>
                    <a:pt x="3773" y="1349"/>
                    <a:pt x="2374" y="1499"/>
                  </a:cubicBezTo>
                  <a:cubicBezTo>
                    <a:pt x="1737" y="2362"/>
                    <a:pt x="937" y="3086"/>
                    <a:pt x="0" y="3624"/>
                  </a:cubicBezTo>
                  <a:lnTo>
                    <a:pt x="5123" y="875"/>
                  </a:lnTo>
                  <a:close/>
                </a:path>
              </a:pathLst>
            </a:custGeom>
            <a:solidFill>
              <a:srgbClr val="000000"/>
            </a:solidFill>
            <a:ln w="12483" cap="flat">
              <a:noFill/>
              <a:prstDash val="solid"/>
              <a:miter/>
            </a:ln>
          </p:spPr>
          <p:txBody>
            <a:bodyPr rtlCol="0" anchor="ctr"/>
            <a:lstStyle/>
            <a:p>
              <a:endParaRPr lang="en-US"/>
            </a:p>
          </p:txBody>
        </p:sp>
        <p:sp>
          <p:nvSpPr>
            <p:cNvPr id="1657" name="Freeform: Shape 1656">
              <a:extLst>
                <a:ext uri="{FF2B5EF4-FFF2-40B4-BE49-F238E27FC236}">
                  <a16:creationId xmlns:a16="http://schemas.microsoft.com/office/drawing/2014/main" id="{822CB731-90B8-4BA2-BC99-BB14F020EE1E}"/>
                </a:ext>
              </a:extLst>
            </p:cNvPr>
            <p:cNvSpPr/>
            <p:nvPr/>
          </p:nvSpPr>
          <p:spPr>
            <a:xfrm>
              <a:off x="8333180" y="4377636"/>
              <a:ext cx="874" cy="1874"/>
            </a:xfrm>
            <a:custGeom>
              <a:avLst/>
              <a:gdLst>
                <a:gd name="connsiteX0" fmla="*/ 0 w 874"/>
                <a:gd name="connsiteY0" fmla="*/ 0 h 1874"/>
                <a:gd name="connsiteX1" fmla="*/ 875 w 874"/>
                <a:gd name="connsiteY1" fmla="*/ 1874 h 1874"/>
                <a:gd name="connsiteX2" fmla="*/ 875 w 874"/>
                <a:gd name="connsiteY2" fmla="*/ 1249 h 1874"/>
              </a:gdLst>
              <a:ahLst/>
              <a:cxnLst>
                <a:cxn ang="0">
                  <a:pos x="connsiteX0" y="connsiteY0"/>
                </a:cxn>
                <a:cxn ang="0">
                  <a:pos x="connsiteX1" y="connsiteY1"/>
                </a:cxn>
                <a:cxn ang="0">
                  <a:pos x="connsiteX2" y="connsiteY2"/>
                </a:cxn>
              </a:cxnLst>
              <a:rect l="l" t="t" r="r" b="b"/>
              <a:pathLst>
                <a:path w="874" h="1874">
                  <a:moveTo>
                    <a:pt x="0" y="0"/>
                  </a:moveTo>
                  <a:lnTo>
                    <a:pt x="875" y="1874"/>
                  </a:lnTo>
                  <a:cubicBezTo>
                    <a:pt x="812" y="1674"/>
                    <a:pt x="812" y="1449"/>
                    <a:pt x="875" y="1249"/>
                  </a:cubicBezTo>
                  <a:close/>
                </a:path>
              </a:pathLst>
            </a:custGeom>
            <a:solidFill>
              <a:srgbClr val="000000"/>
            </a:solidFill>
            <a:ln w="12483" cap="flat">
              <a:noFill/>
              <a:prstDash val="solid"/>
              <a:miter/>
            </a:ln>
          </p:spPr>
          <p:txBody>
            <a:bodyPr rtlCol="0" anchor="ctr"/>
            <a:lstStyle/>
            <a:p>
              <a:endParaRPr lang="en-US"/>
            </a:p>
          </p:txBody>
        </p:sp>
        <p:sp>
          <p:nvSpPr>
            <p:cNvPr id="1658" name="Freeform: Shape 1657">
              <a:extLst>
                <a:ext uri="{FF2B5EF4-FFF2-40B4-BE49-F238E27FC236}">
                  <a16:creationId xmlns:a16="http://schemas.microsoft.com/office/drawing/2014/main" id="{0BBD3420-5E60-4804-939D-7E66132D7985}"/>
                </a:ext>
              </a:extLst>
            </p:cNvPr>
            <p:cNvSpPr/>
            <p:nvPr/>
          </p:nvSpPr>
          <p:spPr>
            <a:xfrm>
              <a:off x="7982487" y="4379011"/>
              <a:ext cx="343945" cy="190306"/>
            </a:xfrm>
            <a:custGeom>
              <a:avLst/>
              <a:gdLst>
                <a:gd name="connsiteX0" fmla="*/ 11589 w 343945"/>
                <a:gd name="connsiteY0" fmla="*/ 189674 h 190306"/>
                <a:gd name="connsiteX1" fmla="*/ 17836 w 343945"/>
                <a:gd name="connsiteY1" fmla="*/ 186426 h 190306"/>
                <a:gd name="connsiteX2" fmla="*/ 341571 w 343945"/>
                <a:gd name="connsiteY2" fmla="*/ 16868 h 190306"/>
                <a:gd name="connsiteX3" fmla="*/ 341571 w 343945"/>
                <a:gd name="connsiteY3" fmla="*/ 16868 h 190306"/>
                <a:gd name="connsiteX4" fmla="*/ 343945 w 343945"/>
                <a:gd name="connsiteY4" fmla="*/ 14744 h 190306"/>
                <a:gd name="connsiteX5" fmla="*/ 336324 w 343945"/>
                <a:gd name="connsiteY5" fmla="*/ 11245 h 190306"/>
                <a:gd name="connsiteX6" fmla="*/ 328577 w 343945"/>
                <a:gd name="connsiteY6" fmla="*/ 0 h 190306"/>
                <a:gd name="connsiteX7" fmla="*/ 4467 w 343945"/>
                <a:gd name="connsiteY7" fmla="*/ 169807 h 190306"/>
                <a:gd name="connsiteX8" fmla="*/ 4467 w 343945"/>
                <a:gd name="connsiteY8" fmla="*/ 169807 h 190306"/>
                <a:gd name="connsiteX9" fmla="*/ 2968 w 343945"/>
                <a:gd name="connsiteY9" fmla="*/ 171057 h 190306"/>
                <a:gd name="connsiteX10" fmla="*/ 1718 w 343945"/>
                <a:gd name="connsiteY10" fmla="*/ 172431 h 190306"/>
                <a:gd name="connsiteX11" fmla="*/ 843 w 343945"/>
                <a:gd name="connsiteY11" fmla="*/ 174181 h 190306"/>
                <a:gd name="connsiteX12" fmla="*/ 94 w 343945"/>
                <a:gd name="connsiteY12" fmla="*/ 175930 h 190306"/>
                <a:gd name="connsiteX13" fmla="*/ 94 w 343945"/>
                <a:gd name="connsiteY13" fmla="*/ 177929 h 190306"/>
                <a:gd name="connsiteX14" fmla="*/ 94 w 343945"/>
                <a:gd name="connsiteY14" fmla="*/ 180178 h 190306"/>
                <a:gd name="connsiteX15" fmla="*/ 94 w 343945"/>
                <a:gd name="connsiteY15" fmla="*/ 183677 h 190306"/>
                <a:gd name="connsiteX16" fmla="*/ 10252 w 343945"/>
                <a:gd name="connsiteY16" fmla="*/ 190099 h 190306"/>
                <a:gd name="connsiteX17" fmla="*/ 11589 w 343945"/>
                <a:gd name="connsiteY17" fmla="*/ 189674 h 1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3945" h="190306">
                  <a:moveTo>
                    <a:pt x="11589" y="189674"/>
                  </a:moveTo>
                  <a:lnTo>
                    <a:pt x="17836" y="186426"/>
                  </a:lnTo>
                  <a:lnTo>
                    <a:pt x="341571" y="16868"/>
                  </a:lnTo>
                  <a:lnTo>
                    <a:pt x="341571" y="16868"/>
                  </a:lnTo>
                  <a:cubicBezTo>
                    <a:pt x="342508" y="16331"/>
                    <a:pt x="343308" y="15606"/>
                    <a:pt x="343945" y="14744"/>
                  </a:cubicBezTo>
                  <a:cubicBezTo>
                    <a:pt x="340947" y="15107"/>
                    <a:pt x="337998" y="13757"/>
                    <a:pt x="336324" y="11245"/>
                  </a:cubicBezTo>
                  <a:lnTo>
                    <a:pt x="328577" y="0"/>
                  </a:lnTo>
                  <a:lnTo>
                    <a:pt x="4467" y="169807"/>
                  </a:lnTo>
                  <a:lnTo>
                    <a:pt x="4467" y="169807"/>
                  </a:lnTo>
                  <a:lnTo>
                    <a:pt x="2968" y="171057"/>
                  </a:lnTo>
                  <a:lnTo>
                    <a:pt x="1718" y="172431"/>
                  </a:lnTo>
                  <a:cubicBezTo>
                    <a:pt x="1356" y="172969"/>
                    <a:pt x="1056" y="173568"/>
                    <a:pt x="843" y="174181"/>
                  </a:cubicBezTo>
                  <a:cubicBezTo>
                    <a:pt x="494" y="174718"/>
                    <a:pt x="231" y="175305"/>
                    <a:pt x="94" y="175930"/>
                  </a:cubicBezTo>
                  <a:cubicBezTo>
                    <a:pt x="31" y="176592"/>
                    <a:pt x="31" y="177267"/>
                    <a:pt x="94" y="177929"/>
                  </a:cubicBezTo>
                  <a:cubicBezTo>
                    <a:pt x="94" y="178679"/>
                    <a:pt x="94" y="179429"/>
                    <a:pt x="94" y="180178"/>
                  </a:cubicBezTo>
                  <a:cubicBezTo>
                    <a:pt x="-31" y="181340"/>
                    <a:pt x="-31" y="182515"/>
                    <a:pt x="94" y="183677"/>
                  </a:cubicBezTo>
                  <a:cubicBezTo>
                    <a:pt x="1131" y="188250"/>
                    <a:pt x="5679" y="191124"/>
                    <a:pt x="10252" y="190099"/>
                  </a:cubicBezTo>
                  <a:cubicBezTo>
                    <a:pt x="10714" y="189987"/>
                    <a:pt x="11151" y="189849"/>
                    <a:pt x="11589" y="189674"/>
                  </a:cubicBezTo>
                  <a:close/>
                </a:path>
              </a:pathLst>
            </a:custGeom>
            <a:solidFill>
              <a:srgbClr val="000000"/>
            </a:solidFill>
            <a:ln w="12483" cap="flat">
              <a:noFill/>
              <a:prstDash val="solid"/>
              <a:miter/>
            </a:ln>
          </p:spPr>
          <p:txBody>
            <a:bodyPr rtlCol="0" anchor="ctr"/>
            <a:lstStyle/>
            <a:p>
              <a:endParaRPr lang="en-US"/>
            </a:p>
          </p:txBody>
        </p:sp>
        <p:sp>
          <p:nvSpPr>
            <p:cNvPr id="1659" name="Freeform: Shape 1658">
              <a:extLst>
                <a:ext uri="{FF2B5EF4-FFF2-40B4-BE49-F238E27FC236}">
                  <a16:creationId xmlns:a16="http://schemas.microsoft.com/office/drawing/2014/main" id="{73ACD9A0-C508-4072-8580-A4DE2685FFA1}"/>
                </a:ext>
              </a:extLst>
            </p:cNvPr>
            <p:cNvSpPr/>
            <p:nvPr/>
          </p:nvSpPr>
          <p:spPr>
            <a:xfrm>
              <a:off x="8110151" y="5486069"/>
              <a:ext cx="150980" cy="224591"/>
            </a:xfrm>
            <a:custGeom>
              <a:avLst/>
              <a:gdLst>
                <a:gd name="connsiteX0" fmla="*/ 147561 w 150980"/>
                <a:gd name="connsiteY0" fmla="*/ 222911 h 224591"/>
                <a:gd name="connsiteX1" fmla="*/ 149061 w 150980"/>
                <a:gd name="connsiteY1" fmla="*/ 207667 h 224591"/>
                <a:gd name="connsiteX2" fmla="*/ 144813 w 150980"/>
                <a:gd name="connsiteY2" fmla="*/ 201170 h 224591"/>
                <a:gd name="connsiteX3" fmla="*/ 15993 w 150980"/>
                <a:gd name="connsiteY3" fmla="*/ 2999 h 224591"/>
                <a:gd name="connsiteX4" fmla="*/ 13994 w 150980"/>
                <a:gd name="connsiteY4" fmla="*/ 0 h 224591"/>
                <a:gd name="connsiteX5" fmla="*/ 13994 w 150980"/>
                <a:gd name="connsiteY5" fmla="*/ 0 h 224591"/>
                <a:gd name="connsiteX6" fmla="*/ 12495 w 150980"/>
                <a:gd name="connsiteY6" fmla="*/ 15119 h 224591"/>
                <a:gd name="connsiteX7" fmla="*/ 1187 w 150980"/>
                <a:gd name="connsiteY7" fmla="*/ 14944 h 224591"/>
                <a:gd name="connsiteX8" fmla="*/ 0 w 150980"/>
                <a:gd name="connsiteY8" fmla="*/ 13370 h 224591"/>
                <a:gd name="connsiteX9" fmla="*/ 135442 w 150980"/>
                <a:gd name="connsiteY9" fmla="*/ 221537 h 224591"/>
                <a:gd name="connsiteX10" fmla="*/ 136066 w 150980"/>
                <a:gd name="connsiteY10" fmla="*/ 221537 h 224591"/>
                <a:gd name="connsiteX11" fmla="*/ 137316 w 150980"/>
                <a:gd name="connsiteY11" fmla="*/ 222911 h 224591"/>
                <a:gd name="connsiteX12" fmla="*/ 138815 w 150980"/>
                <a:gd name="connsiteY12" fmla="*/ 224036 h 224591"/>
                <a:gd name="connsiteX13" fmla="*/ 139940 w 150980"/>
                <a:gd name="connsiteY13" fmla="*/ 224036 h 224591"/>
                <a:gd name="connsiteX14" fmla="*/ 147561 w 150980"/>
                <a:gd name="connsiteY14" fmla="*/ 222911 h 22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980" h="224591">
                  <a:moveTo>
                    <a:pt x="147561" y="222911"/>
                  </a:moveTo>
                  <a:cubicBezTo>
                    <a:pt x="151485" y="218763"/>
                    <a:pt x="152097" y="212490"/>
                    <a:pt x="149061" y="207667"/>
                  </a:cubicBezTo>
                  <a:lnTo>
                    <a:pt x="144813" y="201170"/>
                  </a:lnTo>
                  <a:lnTo>
                    <a:pt x="15993" y="2999"/>
                  </a:lnTo>
                  <a:lnTo>
                    <a:pt x="13994" y="0"/>
                  </a:lnTo>
                  <a:lnTo>
                    <a:pt x="13994" y="0"/>
                  </a:lnTo>
                  <a:cubicBezTo>
                    <a:pt x="16968" y="4798"/>
                    <a:pt x="16356" y="10996"/>
                    <a:pt x="12495" y="15119"/>
                  </a:cubicBezTo>
                  <a:cubicBezTo>
                    <a:pt x="9321" y="18193"/>
                    <a:pt x="4261" y="18118"/>
                    <a:pt x="1187" y="14944"/>
                  </a:cubicBezTo>
                  <a:cubicBezTo>
                    <a:pt x="725" y="14469"/>
                    <a:pt x="325" y="13944"/>
                    <a:pt x="0" y="13370"/>
                  </a:cubicBezTo>
                  <a:lnTo>
                    <a:pt x="135442" y="221537"/>
                  </a:lnTo>
                  <a:lnTo>
                    <a:pt x="136066" y="221537"/>
                  </a:lnTo>
                  <a:cubicBezTo>
                    <a:pt x="136416" y="222049"/>
                    <a:pt x="136841" y="222511"/>
                    <a:pt x="137316" y="222911"/>
                  </a:cubicBezTo>
                  <a:lnTo>
                    <a:pt x="138815" y="224036"/>
                  </a:lnTo>
                  <a:lnTo>
                    <a:pt x="139940" y="224036"/>
                  </a:lnTo>
                  <a:cubicBezTo>
                    <a:pt x="142501" y="225073"/>
                    <a:pt x="145412" y="224635"/>
                    <a:pt x="147561" y="222911"/>
                  </a:cubicBezTo>
                  <a:close/>
                </a:path>
              </a:pathLst>
            </a:custGeom>
            <a:solidFill>
              <a:srgbClr val="000000"/>
            </a:solidFill>
            <a:ln w="12483" cap="flat">
              <a:noFill/>
              <a:prstDash val="solid"/>
              <a:miter/>
            </a:ln>
          </p:spPr>
          <p:txBody>
            <a:bodyPr rtlCol="0" anchor="ctr"/>
            <a:lstStyle/>
            <a:p>
              <a:endParaRPr lang="en-US"/>
            </a:p>
          </p:txBody>
        </p:sp>
        <p:sp>
          <p:nvSpPr>
            <p:cNvPr id="1660" name="Freeform: Shape 1659">
              <a:extLst>
                <a:ext uri="{FF2B5EF4-FFF2-40B4-BE49-F238E27FC236}">
                  <a16:creationId xmlns:a16="http://schemas.microsoft.com/office/drawing/2014/main" id="{304FDE91-4740-4AC8-A59D-F748FCAFD8CD}"/>
                </a:ext>
              </a:extLst>
            </p:cNvPr>
            <p:cNvSpPr/>
            <p:nvPr/>
          </p:nvSpPr>
          <p:spPr>
            <a:xfrm>
              <a:off x="11415288" y="2932619"/>
              <a:ext cx="112636" cy="123544"/>
            </a:xfrm>
            <a:custGeom>
              <a:avLst/>
              <a:gdLst>
                <a:gd name="connsiteX0" fmla="*/ 3059 w 112636"/>
                <a:gd name="connsiteY0" fmla="*/ 18336 h 123544"/>
                <a:gd name="connsiteX1" fmla="*/ 7431 w 112636"/>
                <a:gd name="connsiteY1" fmla="*/ 22960 h 123544"/>
                <a:gd name="connsiteX2" fmla="*/ 100766 w 112636"/>
                <a:gd name="connsiteY2" fmla="*/ 123544 h 123544"/>
                <a:gd name="connsiteX3" fmla="*/ 100141 w 112636"/>
                <a:gd name="connsiteY3" fmla="*/ 108176 h 123544"/>
                <a:gd name="connsiteX4" fmla="*/ 111062 w 112636"/>
                <a:gd name="connsiteY4" fmla="*/ 106039 h 123544"/>
                <a:gd name="connsiteX5" fmla="*/ 112636 w 112636"/>
                <a:gd name="connsiteY5" fmla="*/ 107426 h 123544"/>
                <a:gd name="connsiteX6" fmla="*/ 109013 w 112636"/>
                <a:gd name="connsiteY6" fmla="*/ 103428 h 123544"/>
                <a:gd name="connsiteX7" fmla="*/ 106014 w 112636"/>
                <a:gd name="connsiteY7" fmla="*/ 100179 h 123544"/>
                <a:gd name="connsiteX8" fmla="*/ 14928 w 112636"/>
                <a:gd name="connsiteY8" fmla="*/ 2093 h 123544"/>
                <a:gd name="connsiteX9" fmla="*/ 13554 w 112636"/>
                <a:gd name="connsiteY9" fmla="*/ 1218 h 123544"/>
                <a:gd name="connsiteX10" fmla="*/ 12055 w 112636"/>
                <a:gd name="connsiteY10" fmla="*/ 94 h 123544"/>
                <a:gd name="connsiteX11" fmla="*/ 10180 w 112636"/>
                <a:gd name="connsiteY11" fmla="*/ 94 h 123544"/>
                <a:gd name="connsiteX12" fmla="*/ 8681 w 112636"/>
                <a:gd name="connsiteY12" fmla="*/ 94 h 123544"/>
                <a:gd name="connsiteX13" fmla="*/ 6557 w 112636"/>
                <a:gd name="connsiteY13" fmla="*/ 94 h 123544"/>
                <a:gd name="connsiteX14" fmla="*/ 2184 w 112636"/>
                <a:gd name="connsiteY14" fmla="*/ 3093 h 123544"/>
                <a:gd name="connsiteX15" fmla="*/ 3059 w 112636"/>
                <a:gd name="connsiteY15" fmla="*/ 18336 h 1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636" h="123544">
                  <a:moveTo>
                    <a:pt x="3059" y="18336"/>
                  </a:moveTo>
                  <a:lnTo>
                    <a:pt x="7431" y="22960"/>
                  </a:lnTo>
                  <a:lnTo>
                    <a:pt x="100766" y="123544"/>
                  </a:lnTo>
                  <a:cubicBezTo>
                    <a:pt x="97055" y="119171"/>
                    <a:pt x="96793" y="112836"/>
                    <a:pt x="100141" y="108176"/>
                  </a:cubicBezTo>
                  <a:cubicBezTo>
                    <a:pt x="102565" y="104565"/>
                    <a:pt x="107463" y="103603"/>
                    <a:pt x="111062" y="106039"/>
                  </a:cubicBezTo>
                  <a:cubicBezTo>
                    <a:pt x="111649" y="106426"/>
                    <a:pt x="112174" y="106889"/>
                    <a:pt x="112636" y="107426"/>
                  </a:cubicBezTo>
                  <a:lnTo>
                    <a:pt x="109013" y="103428"/>
                  </a:lnTo>
                  <a:lnTo>
                    <a:pt x="106014" y="100179"/>
                  </a:lnTo>
                  <a:lnTo>
                    <a:pt x="14928" y="2093"/>
                  </a:lnTo>
                  <a:cubicBezTo>
                    <a:pt x="14516" y="1731"/>
                    <a:pt x="14054" y="1431"/>
                    <a:pt x="13554" y="1218"/>
                  </a:cubicBezTo>
                  <a:cubicBezTo>
                    <a:pt x="13117" y="768"/>
                    <a:pt x="12617" y="381"/>
                    <a:pt x="12055" y="94"/>
                  </a:cubicBezTo>
                  <a:cubicBezTo>
                    <a:pt x="11430" y="31"/>
                    <a:pt x="10805" y="31"/>
                    <a:pt x="10180" y="94"/>
                  </a:cubicBezTo>
                  <a:cubicBezTo>
                    <a:pt x="9693" y="-31"/>
                    <a:pt x="9168" y="-31"/>
                    <a:pt x="8681" y="94"/>
                  </a:cubicBezTo>
                  <a:cubicBezTo>
                    <a:pt x="7981" y="-19"/>
                    <a:pt x="7257" y="-19"/>
                    <a:pt x="6557" y="94"/>
                  </a:cubicBezTo>
                  <a:cubicBezTo>
                    <a:pt x="4808" y="594"/>
                    <a:pt x="3283" y="1643"/>
                    <a:pt x="2184" y="3093"/>
                  </a:cubicBezTo>
                  <a:cubicBezTo>
                    <a:pt x="-1027" y="7778"/>
                    <a:pt x="-665" y="14051"/>
                    <a:pt x="3059" y="18336"/>
                  </a:cubicBezTo>
                  <a:close/>
                </a:path>
              </a:pathLst>
            </a:custGeom>
            <a:solidFill>
              <a:srgbClr val="000000"/>
            </a:solidFill>
            <a:ln w="12483" cap="flat">
              <a:noFill/>
              <a:prstDash val="solid"/>
              <a:miter/>
            </a:ln>
          </p:spPr>
          <p:txBody>
            <a:bodyPr rtlCol="0" anchor="ctr"/>
            <a:lstStyle/>
            <a:p>
              <a:endParaRPr lang="en-US"/>
            </a:p>
          </p:txBody>
        </p:sp>
        <p:sp>
          <p:nvSpPr>
            <p:cNvPr id="1661" name="Freeform: Shape 1660">
              <a:extLst>
                <a:ext uri="{FF2B5EF4-FFF2-40B4-BE49-F238E27FC236}">
                  <a16:creationId xmlns:a16="http://schemas.microsoft.com/office/drawing/2014/main" id="{AADA3C0E-8DF5-4FC4-BA3C-BB023F970F08}"/>
                </a:ext>
              </a:extLst>
            </p:cNvPr>
            <p:cNvSpPr/>
            <p:nvPr/>
          </p:nvSpPr>
          <p:spPr>
            <a:xfrm>
              <a:off x="12009341" y="3255209"/>
              <a:ext cx="74967" cy="79718"/>
            </a:xfrm>
            <a:custGeom>
              <a:avLst/>
              <a:gdLst>
                <a:gd name="connsiteX0" fmla="*/ 12495 w 74967"/>
                <a:gd name="connsiteY0" fmla="*/ 15369 h 79718"/>
                <a:gd name="connsiteX1" fmla="*/ 1624 w 74967"/>
                <a:gd name="connsiteY1" fmla="*/ 17743 h 79718"/>
                <a:gd name="connsiteX2" fmla="*/ 0 w 74967"/>
                <a:gd name="connsiteY2" fmla="*/ 16369 h 79718"/>
                <a:gd name="connsiteX3" fmla="*/ 58725 w 74967"/>
                <a:gd name="connsiteY3" fmla="*/ 78844 h 79718"/>
                <a:gd name="connsiteX4" fmla="*/ 59599 w 74967"/>
                <a:gd name="connsiteY4" fmla="*/ 79718 h 79718"/>
                <a:gd name="connsiteX5" fmla="*/ 59599 w 74967"/>
                <a:gd name="connsiteY5" fmla="*/ 74096 h 79718"/>
                <a:gd name="connsiteX6" fmla="*/ 68958 w 74967"/>
                <a:gd name="connsiteY6" fmla="*/ 64462 h 79718"/>
                <a:gd name="connsiteX7" fmla="*/ 69471 w 74967"/>
                <a:gd name="connsiteY7" fmla="*/ 64474 h 79718"/>
                <a:gd name="connsiteX8" fmla="*/ 74968 w 74967"/>
                <a:gd name="connsiteY8" fmla="*/ 67848 h 79718"/>
                <a:gd name="connsiteX9" fmla="*/ 74968 w 74967"/>
                <a:gd name="connsiteY9" fmla="*/ 67098 h 79718"/>
                <a:gd name="connsiteX10" fmla="*/ 16119 w 74967"/>
                <a:gd name="connsiteY10" fmla="*/ 4623 h 79718"/>
                <a:gd name="connsiteX11" fmla="*/ 13494 w 74967"/>
                <a:gd name="connsiteY11" fmla="*/ 1749 h 79718"/>
                <a:gd name="connsiteX12" fmla="*/ 11745 w 74967"/>
                <a:gd name="connsiteY12" fmla="*/ 0 h 79718"/>
                <a:gd name="connsiteX13" fmla="*/ 12495 w 74967"/>
                <a:gd name="connsiteY13" fmla="*/ 15369 h 7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967" h="79718">
                  <a:moveTo>
                    <a:pt x="12495" y="15369"/>
                  </a:moveTo>
                  <a:cubicBezTo>
                    <a:pt x="10146" y="19030"/>
                    <a:pt x="5286" y="20092"/>
                    <a:pt x="1624" y="17743"/>
                  </a:cubicBezTo>
                  <a:cubicBezTo>
                    <a:pt x="1025" y="17368"/>
                    <a:pt x="475" y="16906"/>
                    <a:pt x="0" y="16369"/>
                  </a:cubicBezTo>
                  <a:lnTo>
                    <a:pt x="58725" y="78844"/>
                  </a:lnTo>
                  <a:lnTo>
                    <a:pt x="59599" y="79718"/>
                  </a:lnTo>
                  <a:lnTo>
                    <a:pt x="59599" y="74096"/>
                  </a:lnTo>
                  <a:cubicBezTo>
                    <a:pt x="59525" y="68848"/>
                    <a:pt x="63723" y="64537"/>
                    <a:pt x="68958" y="64462"/>
                  </a:cubicBezTo>
                  <a:cubicBezTo>
                    <a:pt x="69133" y="64462"/>
                    <a:pt x="69295" y="64462"/>
                    <a:pt x="69471" y="64474"/>
                  </a:cubicBezTo>
                  <a:cubicBezTo>
                    <a:pt x="71669" y="64849"/>
                    <a:pt x="73644" y="66049"/>
                    <a:pt x="74968" y="67848"/>
                  </a:cubicBezTo>
                  <a:cubicBezTo>
                    <a:pt x="74968" y="67848"/>
                    <a:pt x="74968" y="67848"/>
                    <a:pt x="74968" y="67098"/>
                  </a:cubicBezTo>
                  <a:lnTo>
                    <a:pt x="16119" y="4623"/>
                  </a:lnTo>
                  <a:lnTo>
                    <a:pt x="13494" y="1749"/>
                  </a:lnTo>
                  <a:lnTo>
                    <a:pt x="11745" y="0"/>
                  </a:lnTo>
                  <a:cubicBezTo>
                    <a:pt x="15494" y="4348"/>
                    <a:pt x="15806" y="10683"/>
                    <a:pt x="12495" y="15369"/>
                  </a:cubicBezTo>
                  <a:close/>
                </a:path>
              </a:pathLst>
            </a:custGeom>
            <a:solidFill>
              <a:srgbClr val="000000"/>
            </a:solidFill>
            <a:ln w="12483" cap="flat">
              <a:noFill/>
              <a:prstDash val="solid"/>
              <a:miter/>
            </a:ln>
          </p:spPr>
          <p:txBody>
            <a:bodyPr rtlCol="0" anchor="ctr"/>
            <a:lstStyle/>
            <a:p>
              <a:endParaRPr lang="en-US"/>
            </a:p>
          </p:txBody>
        </p:sp>
        <p:sp>
          <p:nvSpPr>
            <p:cNvPr id="1662" name="Freeform: Shape 1661">
              <a:extLst>
                <a:ext uri="{FF2B5EF4-FFF2-40B4-BE49-F238E27FC236}">
                  <a16:creationId xmlns:a16="http://schemas.microsoft.com/office/drawing/2014/main" id="{34768A89-2AAA-41A2-AFB3-4BD4F153889A}"/>
                </a:ext>
              </a:extLst>
            </p:cNvPr>
            <p:cNvSpPr/>
            <p:nvPr/>
          </p:nvSpPr>
          <p:spPr>
            <a:xfrm>
              <a:off x="11854158" y="3086901"/>
              <a:ext cx="169736" cy="187301"/>
            </a:xfrm>
            <a:custGeom>
              <a:avLst/>
              <a:gdLst>
                <a:gd name="connsiteX0" fmla="*/ 5248 w 169736"/>
                <a:gd name="connsiteY0" fmla="*/ 17868 h 187301"/>
                <a:gd name="connsiteX1" fmla="*/ 0 w 169736"/>
                <a:gd name="connsiteY1" fmla="*/ 20617 h 187301"/>
                <a:gd name="connsiteX2" fmla="*/ 155058 w 169736"/>
                <a:gd name="connsiteY2" fmla="*/ 184676 h 187301"/>
                <a:gd name="connsiteX3" fmla="*/ 166178 w 169736"/>
                <a:gd name="connsiteY3" fmla="*/ 185301 h 187301"/>
                <a:gd name="connsiteX4" fmla="*/ 167553 w 169736"/>
                <a:gd name="connsiteY4" fmla="*/ 183677 h 187301"/>
                <a:gd name="connsiteX5" fmla="*/ 166678 w 169736"/>
                <a:gd name="connsiteY5" fmla="*/ 168433 h 187301"/>
                <a:gd name="connsiteX6" fmla="*/ 7622 w 169736"/>
                <a:gd name="connsiteY6" fmla="*/ 0 h 187301"/>
                <a:gd name="connsiteX7" fmla="*/ 9746 w 169736"/>
                <a:gd name="connsiteY7" fmla="*/ 3499 h 187301"/>
                <a:gd name="connsiteX8" fmla="*/ 5248 w 169736"/>
                <a:gd name="connsiteY8" fmla="*/ 17868 h 18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36" h="187301">
                  <a:moveTo>
                    <a:pt x="5248" y="17868"/>
                  </a:moveTo>
                  <a:lnTo>
                    <a:pt x="0" y="20617"/>
                  </a:lnTo>
                  <a:lnTo>
                    <a:pt x="155058" y="184676"/>
                  </a:lnTo>
                  <a:cubicBezTo>
                    <a:pt x="157957" y="187912"/>
                    <a:pt x="162930" y="188200"/>
                    <a:pt x="166178" y="185301"/>
                  </a:cubicBezTo>
                  <a:cubicBezTo>
                    <a:pt x="166703" y="184826"/>
                    <a:pt x="167166" y="184276"/>
                    <a:pt x="167553" y="183677"/>
                  </a:cubicBezTo>
                  <a:cubicBezTo>
                    <a:pt x="170764" y="178991"/>
                    <a:pt x="170401" y="172719"/>
                    <a:pt x="166678" y="168433"/>
                  </a:cubicBezTo>
                  <a:lnTo>
                    <a:pt x="7622" y="0"/>
                  </a:lnTo>
                  <a:cubicBezTo>
                    <a:pt x="8547" y="1025"/>
                    <a:pt x="9259" y="2211"/>
                    <a:pt x="9746" y="3499"/>
                  </a:cubicBezTo>
                  <a:cubicBezTo>
                    <a:pt x="11620" y="8759"/>
                    <a:pt x="9784" y="14619"/>
                    <a:pt x="5248" y="17868"/>
                  </a:cubicBezTo>
                  <a:close/>
                </a:path>
              </a:pathLst>
            </a:custGeom>
            <a:solidFill>
              <a:srgbClr val="000000"/>
            </a:solidFill>
            <a:ln w="12483" cap="flat">
              <a:noFill/>
              <a:prstDash val="solid"/>
              <a:miter/>
            </a:ln>
          </p:spPr>
          <p:txBody>
            <a:bodyPr rtlCol="0" anchor="ctr"/>
            <a:lstStyle/>
            <a:p>
              <a:endParaRPr lang="en-US"/>
            </a:p>
          </p:txBody>
        </p:sp>
        <p:sp>
          <p:nvSpPr>
            <p:cNvPr id="1663" name="Freeform: Shape 1662">
              <a:extLst>
                <a:ext uri="{FF2B5EF4-FFF2-40B4-BE49-F238E27FC236}">
                  <a16:creationId xmlns:a16="http://schemas.microsoft.com/office/drawing/2014/main" id="{AC4EF7D4-6BA5-4F70-B8D6-36DDA6FB760B}"/>
                </a:ext>
              </a:extLst>
            </p:cNvPr>
            <p:cNvSpPr/>
            <p:nvPr/>
          </p:nvSpPr>
          <p:spPr>
            <a:xfrm>
              <a:off x="11860655" y="3085901"/>
              <a:ext cx="1249" cy="999"/>
            </a:xfrm>
            <a:custGeom>
              <a:avLst/>
              <a:gdLst>
                <a:gd name="connsiteX0" fmla="*/ 1000 w 1249"/>
                <a:gd name="connsiteY0" fmla="*/ 750 h 999"/>
                <a:gd name="connsiteX1" fmla="*/ 0 w 1249"/>
                <a:gd name="connsiteY1" fmla="*/ 0 h 999"/>
                <a:gd name="connsiteX2" fmla="*/ 1249 w 1249"/>
                <a:gd name="connsiteY2" fmla="*/ 1000 h 999"/>
              </a:gdLst>
              <a:ahLst/>
              <a:cxnLst>
                <a:cxn ang="0">
                  <a:pos x="connsiteX0" y="connsiteY0"/>
                </a:cxn>
                <a:cxn ang="0">
                  <a:pos x="connsiteX1" y="connsiteY1"/>
                </a:cxn>
                <a:cxn ang="0">
                  <a:pos x="connsiteX2" y="connsiteY2"/>
                </a:cxn>
              </a:cxnLst>
              <a:rect l="l" t="t" r="r" b="b"/>
              <a:pathLst>
                <a:path w="1249" h="999">
                  <a:moveTo>
                    <a:pt x="1000" y="750"/>
                  </a:moveTo>
                  <a:cubicBezTo>
                    <a:pt x="724" y="437"/>
                    <a:pt x="387" y="175"/>
                    <a:pt x="0" y="0"/>
                  </a:cubicBezTo>
                  <a:cubicBezTo>
                    <a:pt x="0" y="0"/>
                    <a:pt x="875" y="0"/>
                    <a:pt x="1249" y="1000"/>
                  </a:cubicBezTo>
                  <a:close/>
                </a:path>
              </a:pathLst>
            </a:custGeom>
            <a:solidFill>
              <a:srgbClr val="000000"/>
            </a:solidFill>
            <a:ln w="12483" cap="flat">
              <a:noFill/>
              <a:prstDash val="solid"/>
              <a:miter/>
            </a:ln>
          </p:spPr>
          <p:txBody>
            <a:bodyPr rtlCol="0" anchor="ctr"/>
            <a:lstStyle/>
            <a:p>
              <a:endParaRPr lang="en-US"/>
            </a:p>
          </p:txBody>
        </p:sp>
        <p:sp>
          <p:nvSpPr>
            <p:cNvPr id="1664" name="Freeform: Shape 1663">
              <a:extLst>
                <a:ext uri="{FF2B5EF4-FFF2-40B4-BE49-F238E27FC236}">
                  <a16:creationId xmlns:a16="http://schemas.microsoft.com/office/drawing/2014/main" id="{2BC59B6C-249B-4880-8B45-3A5F11CA4579}"/>
                </a:ext>
              </a:extLst>
            </p:cNvPr>
            <p:cNvSpPr/>
            <p:nvPr/>
          </p:nvSpPr>
          <p:spPr>
            <a:xfrm>
              <a:off x="8552965" y="5585868"/>
              <a:ext cx="40977" cy="272177"/>
            </a:xfrm>
            <a:custGeom>
              <a:avLst/>
              <a:gdLst>
                <a:gd name="connsiteX0" fmla="*/ 17362 w 40977"/>
                <a:gd name="connsiteY0" fmla="*/ 8783 h 272177"/>
                <a:gd name="connsiteX1" fmla="*/ 17362 w 40977"/>
                <a:gd name="connsiteY1" fmla="*/ 6783 h 272177"/>
                <a:gd name="connsiteX2" fmla="*/ 16488 w 40977"/>
                <a:gd name="connsiteY2" fmla="*/ 4784 h 272177"/>
                <a:gd name="connsiteX3" fmla="*/ 8241 w 40977"/>
                <a:gd name="connsiteY3" fmla="*/ 36 h 272177"/>
                <a:gd name="connsiteX4" fmla="*/ 245 w 40977"/>
                <a:gd name="connsiteY4" fmla="*/ 12531 h 272177"/>
                <a:gd name="connsiteX5" fmla="*/ 245 w 40977"/>
                <a:gd name="connsiteY5" fmla="*/ 15655 h 272177"/>
                <a:gd name="connsiteX6" fmla="*/ 22360 w 40977"/>
                <a:gd name="connsiteY6" fmla="*/ 264431 h 272177"/>
                <a:gd name="connsiteX7" fmla="*/ 23110 w 40977"/>
                <a:gd name="connsiteY7" fmla="*/ 272177 h 272177"/>
                <a:gd name="connsiteX8" fmla="*/ 31106 w 40977"/>
                <a:gd name="connsiteY8" fmla="*/ 259682 h 272177"/>
                <a:gd name="connsiteX9" fmla="*/ 40965 w 40977"/>
                <a:gd name="connsiteY9" fmla="*/ 268791 h 272177"/>
                <a:gd name="connsiteX10" fmla="*/ 40977 w 40977"/>
                <a:gd name="connsiteY10" fmla="*/ 269304 h 272177"/>
                <a:gd name="connsiteX11" fmla="*/ 17862 w 40977"/>
                <a:gd name="connsiteY11" fmla="*/ 9657 h 272177"/>
                <a:gd name="connsiteX12" fmla="*/ 17362 w 40977"/>
                <a:gd name="connsiteY12" fmla="*/ 8783 h 27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77" h="272177">
                  <a:moveTo>
                    <a:pt x="17362" y="8783"/>
                  </a:moveTo>
                  <a:cubicBezTo>
                    <a:pt x="17362" y="8033"/>
                    <a:pt x="17362" y="7408"/>
                    <a:pt x="17362" y="6783"/>
                  </a:cubicBezTo>
                  <a:cubicBezTo>
                    <a:pt x="17150" y="6084"/>
                    <a:pt x="16850" y="5421"/>
                    <a:pt x="16488" y="4784"/>
                  </a:cubicBezTo>
                  <a:cubicBezTo>
                    <a:pt x="15026" y="1610"/>
                    <a:pt x="11715" y="-289"/>
                    <a:pt x="8241" y="36"/>
                  </a:cubicBezTo>
                  <a:cubicBezTo>
                    <a:pt x="2581" y="1286"/>
                    <a:pt x="-992" y="6871"/>
                    <a:pt x="245" y="12531"/>
                  </a:cubicBezTo>
                  <a:lnTo>
                    <a:pt x="245" y="15655"/>
                  </a:lnTo>
                  <a:lnTo>
                    <a:pt x="22360" y="264431"/>
                  </a:lnTo>
                  <a:lnTo>
                    <a:pt x="23110" y="272177"/>
                  </a:lnTo>
                  <a:cubicBezTo>
                    <a:pt x="21873" y="266517"/>
                    <a:pt x="25446" y="260932"/>
                    <a:pt x="31106" y="259682"/>
                  </a:cubicBezTo>
                  <a:cubicBezTo>
                    <a:pt x="36341" y="259470"/>
                    <a:pt x="40765" y="263556"/>
                    <a:pt x="40965" y="268791"/>
                  </a:cubicBezTo>
                  <a:cubicBezTo>
                    <a:pt x="40977" y="268966"/>
                    <a:pt x="40977" y="269129"/>
                    <a:pt x="40977" y="269304"/>
                  </a:cubicBezTo>
                  <a:lnTo>
                    <a:pt x="17862" y="9657"/>
                  </a:lnTo>
                  <a:cubicBezTo>
                    <a:pt x="17650" y="9395"/>
                    <a:pt x="17475" y="9095"/>
                    <a:pt x="17362" y="8783"/>
                  </a:cubicBezTo>
                  <a:close/>
                </a:path>
              </a:pathLst>
            </a:custGeom>
            <a:solidFill>
              <a:srgbClr val="000000"/>
            </a:solidFill>
            <a:ln w="12483" cap="flat">
              <a:noFill/>
              <a:prstDash val="solid"/>
              <a:miter/>
            </a:ln>
          </p:spPr>
          <p:txBody>
            <a:bodyPr rtlCol="0" anchor="ctr"/>
            <a:lstStyle/>
            <a:p>
              <a:endParaRPr lang="en-US"/>
            </a:p>
          </p:txBody>
        </p:sp>
        <p:sp>
          <p:nvSpPr>
            <p:cNvPr id="1665" name="Freeform: Shape 1664">
              <a:extLst>
                <a:ext uri="{FF2B5EF4-FFF2-40B4-BE49-F238E27FC236}">
                  <a16:creationId xmlns:a16="http://schemas.microsoft.com/office/drawing/2014/main" id="{8B85C5AA-AA7D-499E-8EB4-C03B8ECAAF99}"/>
                </a:ext>
              </a:extLst>
            </p:cNvPr>
            <p:cNvSpPr/>
            <p:nvPr/>
          </p:nvSpPr>
          <p:spPr>
            <a:xfrm>
              <a:off x="8575580" y="5845413"/>
              <a:ext cx="24359" cy="76107"/>
            </a:xfrm>
            <a:custGeom>
              <a:avLst/>
              <a:gdLst>
                <a:gd name="connsiteX0" fmla="*/ 18112 w 24359"/>
                <a:gd name="connsiteY0" fmla="*/ 9634 h 76107"/>
                <a:gd name="connsiteX1" fmla="*/ 8754 w 24359"/>
                <a:gd name="connsiteY1" fmla="*/ 0 h 76107"/>
                <a:gd name="connsiteX2" fmla="*/ 8241 w 24359"/>
                <a:gd name="connsiteY2" fmla="*/ 13 h 76107"/>
                <a:gd name="connsiteX3" fmla="*/ 245 w 24359"/>
                <a:gd name="connsiteY3" fmla="*/ 12508 h 76107"/>
                <a:gd name="connsiteX4" fmla="*/ 1619 w 24359"/>
                <a:gd name="connsiteY4" fmla="*/ 27501 h 76107"/>
                <a:gd name="connsiteX5" fmla="*/ 5368 w 24359"/>
                <a:gd name="connsiteY5" fmla="*/ 70359 h 76107"/>
                <a:gd name="connsiteX6" fmla="*/ 11115 w 24359"/>
                <a:gd name="connsiteY6" fmla="*/ 67111 h 76107"/>
                <a:gd name="connsiteX7" fmla="*/ 22735 w 24359"/>
                <a:gd name="connsiteY7" fmla="*/ 70159 h 76107"/>
                <a:gd name="connsiteX8" fmla="*/ 23610 w 24359"/>
                <a:gd name="connsiteY8" fmla="*/ 72234 h 76107"/>
                <a:gd name="connsiteX9" fmla="*/ 24359 w 24359"/>
                <a:gd name="connsiteY9" fmla="*/ 76107 h 76107"/>
                <a:gd name="connsiteX10" fmla="*/ 24359 w 24359"/>
                <a:gd name="connsiteY10" fmla="*/ 76107 h 76107"/>
                <a:gd name="connsiteX11" fmla="*/ 24359 w 24359"/>
                <a:gd name="connsiteY11" fmla="*/ 74358 h 76107"/>
                <a:gd name="connsiteX12" fmla="*/ 24359 w 24359"/>
                <a:gd name="connsiteY12" fmla="*/ 70359 h 7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59" h="76107">
                  <a:moveTo>
                    <a:pt x="18112" y="9634"/>
                  </a:moveTo>
                  <a:cubicBezTo>
                    <a:pt x="18187" y="4386"/>
                    <a:pt x="13989" y="75"/>
                    <a:pt x="8754" y="0"/>
                  </a:cubicBezTo>
                  <a:cubicBezTo>
                    <a:pt x="8579" y="0"/>
                    <a:pt x="8416" y="0"/>
                    <a:pt x="8241" y="13"/>
                  </a:cubicBezTo>
                  <a:cubicBezTo>
                    <a:pt x="2581" y="1262"/>
                    <a:pt x="-992" y="6847"/>
                    <a:pt x="245" y="12508"/>
                  </a:cubicBezTo>
                  <a:lnTo>
                    <a:pt x="1619" y="27501"/>
                  </a:lnTo>
                  <a:lnTo>
                    <a:pt x="5368" y="70359"/>
                  </a:lnTo>
                  <a:lnTo>
                    <a:pt x="11115" y="67111"/>
                  </a:lnTo>
                  <a:cubicBezTo>
                    <a:pt x="15163" y="64737"/>
                    <a:pt x="20374" y="66099"/>
                    <a:pt x="22735" y="70159"/>
                  </a:cubicBezTo>
                  <a:cubicBezTo>
                    <a:pt x="23122" y="70809"/>
                    <a:pt x="23410" y="71509"/>
                    <a:pt x="23610" y="72234"/>
                  </a:cubicBezTo>
                  <a:cubicBezTo>
                    <a:pt x="24097" y="73471"/>
                    <a:pt x="24359" y="74783"/>
                    <a:pt x="24359" y="76107"/>
                  </a:cubicBezTo>
                  <a:cubicBezTo>
                    <a:pt x="24359" y="76107"/>
                    <a:pt x="24359" y="76107"/>
                    <a:pt x="24359" y="76107"/>
                  </a:cubicBezTo>
                  <a:lnTo>
                    <a:pt x="24359" y="74358"/>
                  </a:lnTo>
                  <a:lnTo>
                    <a:pt x="24359" y="70359"/>
                  </a:lnTo>
                  <a:close/>
                </a:path>
              </a:pathLst>
            </a:custGeom>
            <a:solidFill>
              <a:srgbClr val="000000"/>
            </a:solidFill>
            <a:ln w="12483" cap="flat">
              <a:noFill/>
              <a:prstDash val="solid"/>
              <a:miter/>
            </a:ln>
          </p:spPr>
          <p:txBody>
            <a:bodyPr rtlCol="0" anchor="ctr"/>
            <a:lstStyle/>
            <a:p>
              <a:endParaRPr lang="en-US"/>
            </a:p>
          </p:txBody>
        </p:sp>
        <p:sp>
          <p:nvSpPr>
            <p:cNvPr id="1666" name="Freeform: Shape 1665">
              <a:extLst>
                <a:ext uri="{FF2B5EF4-FFF2-40B4-BE49-F238E27FC236}">
                  <a16:creationId xmlns:a16="http://schemas.microsoft.com/office/drawing/2014/main" id="{4789E980-5633-4FFB-BF23-F9167F6E5571}"/>
                </a:ext>
              </a:extLst>
            </p:cNvPr>
            <p:cNvSpPr/>
            <p:nvPr/>
          </p:nvSpPr>
          <p:spPr>
            <a:xfrm>
              <a:off x="12040078" y="3614566"/>
              <a:ext cx="112465" cy="1033213"/>
            </a:xfrm>
            <a:custGeom>
              <a:avLst/>
              <a:gdLst>
                <a:gd name="connsiteX0" fmla="*/ 102206 w 112465"/>
                <a:gd name="connsiteY0" fmla="*/ 12495 h 1033213"/>
                <a:gd name="connsiteX1" fmla="*/ 94334 w 112465"/>
                <a:gd name="connsiteY1" fmla="*/ 0 h 1033213"/>
                <a:gd name="connsiteX2" fmla="*/ 94334 w 112465"/>
                <a:gd name="connsiteY2" fmla="*/ 4373 h 1033213"/>
                <a:gd name="connsiteX3" fmla="*/ 94334 w 112465"/>
                <a:gd name="connsiteY3" fmla="*/ 8746 h 1033213"/>
                <a:gd name="connsiteX4" fmla="*/ 0 w 112465"/>
                <a:gd name="connsiteY4" fmla="*/ 1014596 h 1033213"/>
                <a:gd name="connsiteX5" fmla="*/ 12495 w 112465"/>
                <a:gd name="connsiteY5" fmla="*/ 1029464 h 1033213"/>
                <a:gd name="connsiteX6" fmla="*/ 15743 w 112465"/>
                <a:gd name="connsiteY6" fmla="*/ 1033213 h 1033213"/>
                <a:gd name="connsiteX7" fmla="*/ 112451 w 112465"/>
                <a:gd name="connsiteY7" fmla="*/ 2374 h 1033213"/>
                <a:gd name="connsiteX8" fmla="*/ 103368 w 112465"/>
                <a:gd name="connsiteY8" fmla="*/ 12507 h 1033213"/>
                <a:gd name="connsiteX9" fmla="*/ 102206 w 112465"/>
                <a:gd name="connsiteY9" fmla="*/ 12495 h 103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65" h="1033213">
                  <a:moveTo>
                    <a:pt x="102206" y="12495"/>
                  </a:moveTo>
                  <a:cubicBezTo>
                    <a:pt x="96646" y="11133"/>
                    <a:pt x="93160" y="5610"/>
                    <a:pt x="94334" y="0"/>
                  </a:cubicBezTo>
                  <a:lnTo>
                    <a:pt x="94334" y="4373"/>
                  </a:lnTo>
                  <a:lnTo>
                    <a:pt x="94334" y="8746"/>
                  </a:lnTo>
                  <a:lnTo>
                    <a:pt x="0" y="1014596"/>
                  </a:lnTo>
                  <a:lnTo>
                    <a:pt x="12495" y="1029464"/>
                  </a:lnTo>
                  <a:lnTo>
                    <a:pt x="15743" y="1033213"/>
                  </a:lnTo>
                  <a:lnTo>
                    <a:pt x="112451" y="2374"/>
                  </a:lnTo>
                  <a:cubicBezTo>
                    <a:pt x="112739" y="7684"/>
                    <a:pt x="108666" y="12220"/>
                    <a:pt x="103368" y="12507"/>
                  </a:cubicBezTo>
                  <a:cubicBezTo>
                    <a:pt x="102981" y="12520"/>
                    <a:pt x="102593" y="12520"/>
                    <a:pt x="102206" y="12495"/>
                  </a:cubicBezTo>
                  <a:close/>
                </a:path>
              </a:pathLst>
            </a:custGeom>
            <a:solidFill>
              <a:srgbClr val="000000"/>
            </a:solidFill>
            <a:ln w="12483" cap="flat">
              <a:noFill/>
              <a:prstDash val="solid"/>
              <a:miter/>
            </a:ln>
          </p:spPr>
          <p:txBody>
            <a:bodyPr rtlCol="0" anchor="ctr"/>
            <a:lstStyle/>
            <a:p>
              <a:endParaRPr lang="en-US"/>
            </a:p>
          </p:txBody>
        </p:sp>
        <p:sp>
          <p:nvSpPr>
            <p:cNvPr id="1667" name="Freeform: Shape 1666">
              <a:extLst>
                <a:ext uri="{FF2B5EF4-FFF2-40B4-BE49-F238E27FC236}">
                  <a16:creationId xmlns:a16="http://schemas.microsoft.com/office/drawing/2014/main" id="{5E72B5D0-EDD6-4627-8036-B0D16F76EB50}"/>
                </a:ext>
              </a:extLst>
            </p:cNvPr>
            <p:cNvSpPr/>
            <p:nvPr/>
          </p:nvSpPr>
          <p:spPr>
            <a:xfrm>
              <a:off x="11855688" y="1305111"/>
              <a:ext cx="141283" cy="83444"/>
            </a:xfrm>
            <a:custGeom>
              <a:avLst/>
              <a:gdLst>
                <a:gd name="connsiteX0" fmla="*/ 220 w 141283"/>
                <a:gd name="connsiteY0" fmla="*/ 76719 h 83444"/>
                <a:gd name="connsiteX1" fmla="*/ 10303 w 141283"/>
                <a:gd name="connsiteY1" fmla="*/ 83256 h 83444"/>
                <a:gd name="connsiteX2" fmla="*/ 11965 w 141283"/>
                <a:gd name="connsiteY2" fmla="*/ 82717 h 83444"/>
                <a:gd name="connsiteX3" fmla="*/ 16963 w 141283"/>
                <a:gd name="connsiteY3" fmla="*/ 80218 h 83444"/>
                <a:gd name="connsiteX4" fmla="*/ 18337 w 141283"/>
                <a:gd name="connsiteY4" fmla="*/ 80218 h 83444"/>
                <a:gd name="connsiteX5" fmla="*/ 141283 w 141283"/>
                <a:gd name="connsiteY5" fmla="*/ 20117 h 83444"/>
                <a:gd name="connsiteX6" fmla="*/ 130139 w 141283"/>
                <a:gd name="connsiteY6" fmla="*/ 15618 h 83444"/>
                <a:gd name="connsiteX7" fmla="*/ 129663 w 141283"/>
                <a:gd name="connsiteY7" fmla="*/ 14119 h 83444"/>
                <a:gd name="connsiteX8" fmla="*/ 134537 w 141283"/>
                <a:gd name="connsiteY8" fmla="*/ 0 h 83444"/>
                <a:gd name="connsiteX9" fmla="*/ 129538 w 141283"/>
                <a:gd name="connsiteY9" fmla="*/ 2499 h 83444"/>
                <a:gd name="connsiteX10" fmla="*/ 5218 w 141283"/>
                <a:gd name="connsiteY10" fmla="*/ 63225 h 83444"/>
                <a:gd name="connsiteX11" fmla="*/ 4093 w 141283"/>
                <a:gd name="connsiteY11" fmla="*/ 64099 h 83444"/>
                <a:gd name="connsiteX12" fmla="*/ 2469 w 141283"/>
                <a:gd name="connsiteY12" fmla="*/ 65349 h 83444"/>
                <a:gd name="connsiteX13" fmla="*/ 1469 w 141283"/>
                <a:gd name="connsiteY13" fmla="*/ 66973 h 83444"/>
                <a:gd name="connsiteX14" fmla="*/ 470 w 141283"/>
                <a:gd name="connsiteY14" fmla="*/ 68723 h 83444"/>
                <a:gd name="connsiteX15" fmla="*/ 470 w 141283"/>
                <a:gd name="connsiteY15" fmla="*/ 70972 h 83444"/>
                <a:gd name="connsiteX16" fmla="*/ 220 w 141283"/>
                <a:gd name="connsiteY16" fmla="*/ 76719 h 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283" h="83444">
                  <a:moveTo>
                    <a:pt x="220" y="76719"/>
                  </a:moveTo>
                  <a:cubicBezTo>
                    <a:pt x="1194" y="81309"/>
                    <a:pt x="5717" y="84235"/>
                    <a:pt x="10303" y="83256"/>
                  </a:cubicBezTo>
                  <a:cubicBezTo>
                    <a:pt x="10878" y="83133"/>
                    <a:pt x="11427" y="82953"/>
                    <a:pt x="11965" y="82717"/>
                  </a:cubicBezTo>
                  <a:lnTo>
                    <a:pt x="16963" y="80218"/>
                  </a:lnTo>
                  <a:lnTo>
                    <a:pt x="18337" y="80218"/>
                  </a:lnTo>
                  <a:lnTo>
                    <a:pt x="141283" y="20117"/>
                  </a:lnTo>
                  <a:cubicBezTo>
                    <a:pt x="136960" y="21951"/>
                    <a:pt x="131975" y="19937"/>
                    <a:pt x="130139" y="15618"/>
                  </a:cubicBezTo>
                  <a:cubicBezTo>
                    <a:pt x="129939" y="15134"/>
                    <a:pt x="129776" y="14633"/>
                    <a:pt x="129663" y="14119"/>
                  </a:cubicBezTo>
                  <a:cubicBezTo>
                    <a:pt x="127652" y="8854"/>
                    <a:pt x="129701" y="2901"/>
                    <a:pt x="134537" y="0"/>
                  </a:cubicBezTo>
                  <a:lnTo>
                    <a:pt x="129538" y="2499"/>
                  </a:lnTo>
                  <a:lnTo>
                    <a:pt x="5218" y="63225"/>
                  </a:lnTo>
                  <a:lnTo>
                    <a:pt x="4093" y="64099"/>
                  </a:lnTo>
                  <a:lnTo>
                    <a:pt x="2469" y="65349"/>
                  </a:lnTo>
                  <a:lnTo>
                    <a:pt x="1469" y="66973"/>
                  </a:lnTo>
                  <a:cubicBezTo>
                    <a:pt x="1094" y="67528"/>
                    <a:pt x="756" y="68114"/>
                    <a:pt x="470" y="68723"/>
                  </a:cubicBezTo>
                  <a:cubicBezTo>
                    <a:pt x="407" y="69471"/>
                    <a:pt x="407" y="70223"/>
                    <a:pt x="470" y="70972"/>
                  </a:cubicBezTo>
                  <a:cubicBezTo>
                    <a:pt x="-55" y="72842"/>
                    <a:pt x="-143" y="74810"/>
                    <a:pt x="220" y="76719"/>
                  </a:cubicBezTo>
                  <a:close/>
                </a:path>
              </a:pathLst>
            </a:custGeom>
            <a:solidFill>
              <a:srgbClr val="000000"/>
            </a:solidFill>
            <a:ln w="12483" cap="flat">
              <a:noFill/>
              <a:prstDash val="solid"/>
              <a:miter/>
            </a:ln>
          </p:spPr>
          <p:txBody>
            <a:bodyPr rtlCol="0" anchor="ctr"/>
            <a:lstStyle/>
            <a:p>
              <a:endParaRPr lang="en-US"/>
            </a:p>
          </p:txBody>
        </p:sp>
        <p:sp>
          <p:nvSpPr>
            <p:cNvPr id="1668" name="Freeform: Shape 1667">
              <a:extLst>
                <a:ext uri="{FF2B5EF4-FFF2-40B4-BE49-F238E27FC236}">
                  <a16:creationId xmlns:a16="http://schemas.microsoft.com/office/drawing/2014/main" id="{EF00E735-EF0F-4360-ABBC-A87540D3F1B1}"/>
                </a:ext>
              </a:extLst>
            </p:cNvPr>
            <p:cNvSpPr/>
            <p:nvPr/>
          </p:nvSpPr>
          <p:spPr>
            <a:xfrm>
              <a:off x="11033013" y="2299590"/>
              <a:ext cx="1374" cy="12495"/>
            </a:xfrm>
            <a:custGeom>
              <a:avLst/>
              <a:gdLst>
                <a:gd name="connsiteX0" fmla="*/ 1375 w 1374"/>
                <a:gd name="connsiteY0" fmla="*/ 0 h 12495"/>
                <a:gd name="connsiteX1" fmla="*/ 0 w 1374"/>
                <a:gd name="connsiteY1" fmla="*/ 0 h 12495"/>
                <a:gd name="connsiteX2" fmla="*/ 1250 w 1374"/>
                <a:gd name="connsiteY2" fmla="*/ 0 h 12495"/>
              </a:gdLst>
              <a:ahLst/>
              <a:cxnLst>
                <a:cxn ang="0">
                  <a:pos x="connsiteX0" y="connsiteY0"/>
                </a:cxn>
                <a:cxn ang="0">
                  <a:pos x="connsiteX1" y="connsiteY1"/>
                </a:cxn>
                <a:cxn ang="0">
                  <a:pos x="connsiteX2" y="connsiteY2"/>
                </a:cxn>
              </a:cxnLst>
              <a:rect l="l" t="t" r="r" b="b"/>
              <a:pathLst>
                <a:path w="1374" h="12495">
                  <a:moveTo>
                    <a:pt x="1375" y="0"/>
                  </a:moveTo>
                  <a:lnTo>
                    <a:pt x="0" y="0"/>
                  </a:lnTo>
                  <a:lnTo>
                    <a:pt x="1250" y="0"/>
                  </a:lnTo>
                  <a:close/>
                </a:path>
              </a:pathLst>
            </a:custGeom>
            <a:solidFill>
              <a:srgbClr val="000000"/>
            </a:solidFill>
            <a:ln w="12483" cap="flat">
              <a:noFill/>
              <a:prstDash val="solid"/>
              <a:miter/>
            </a:ln>
          </p:spPr>
          <p:txBody>
            <a:bodyPr rtlCol="0" anchor="ctr"/>
            <a:lstStyle/>
            <a:p>
              <a:endParaRPr lang="en-US"/>
            </a:p>
          </p:txBody>
        </p:sp>
        <p:sp>
          <p:nvSpPr>
            <p:cNvPr id="1669" name="Freeform: Shape 1668">
              <a:extLst>
                <a:ext uri="{FF2B5EF4-FFF2-40B4-BE49-F238E27FC236}">
                  <a16:creationId xmlns:a16="http://schemas.microsoft.com/office/drawing/2014/main" id="{7DE88281-EAF3-4201-AD26-510B88FFDF0B}"/>
                </a:ext>
              </a:extLst>
            </p:cNvPr>
            <p:cNvSpPr/>
            <p:nvPr/>
          </p:nvSpPr>
          <p:spPr>
            <a:xfrm>
              <a:off x="11025766" y="2271726"/>
              <a:ext cx="3623" cy="16743"/>
            </a:xfrm>
            <a:custGeom>
              <a:avLst/>
              <a:gdLst>
                <a:gd name="connsiteX0" fmla="*/ 0 w 3623"/>
                <a:gd name="connsiteY0" fmla="*/ 16743 h 16743"/>
                <a:gd name="connsiteX1" fmla="*/ 3624 w 3623"/>
                <a:gd name="connsiteY1" fmla="*/ 8497 h 16743"/>
                <a:gd name="connsiteX2" fmla="*/ 500 w 3623"/>
                <a:gd name="connsiteY2" fmla="*/ 0 h 16743"/>
                <a:gd name="connsiteX3" fmla="*/ 500 w 3623"/>
                <a:gd name="connsiteY3" fmla="*/ 10621 h 16743"/>
                <a:gd name="connsiteX4" fmla="*/ 500 w 3623"/>
                <a:gd name="connsiteY4" fmla="*/ 16618 h 16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3" h="16743">
                  <a:moveTo>
                    <a:pt x="0" y="16743"/>
                  </a:moveTo>
                  <a:cubicBezTo>
                    <a:pt x="-25" y="13607"/>
                    <a:pt x="1300" y="10596"/>
                    <a:pt x="3624" y="8497"/>
                  </a:cubicBezTo>
                  <a:cubicBezTo>
                    <a:pt x="1562" y="6160"/>
                    <a:pt x="438" y="3124"/>
                    <a:pt x="500" y="0"/>
                  </a:cubicBezTo>
                  <a:lnTo>
                    <a:pt x="500" y="10621"/>
                  </a:lnTo>
                  <a:lnTo>
                    <a:pt x="500" y="16618"/>
                  </a:lnTo>
                  <a:close/>
                </a:path>
              </a:pathLst>
            </a:custGeom>
            <a:solidFill>
              <a:srgbClr val="000000"/>
            </a:solidFill>
            <a:ln w="12483" cap="flat">
              <a:noFill/>
              <a:prstDash val="solid"/>
              <a:miter/>
            </a:ln>
          </p:spPr>
          <p:txBody>
            <a:bodyPr rtlCol="0" anchor="ctr"/>
            <a:lstStyle/>
            <a:p>
              <a:endParaRPr lang="en-US"/>
            </a:p>
          </p:txBody>
        </p:sp>
        <p:sp>
          <p:nvSpPr>
            <p:cNvPr id="1670" name="Freeform: Shape 1669">
              <a:extLst>
                <a:ext uri="{FF2B5EF4-FFF2-40B4-BE49-F238E27FC236}">
                  <a16:creationId xmlns:a16="http://schemas.microsoft.com/office/drawing/2014/main" id="{E2D4D0EE-C660-4717-959D-D9B1E2F96EBF}"/>
                </a:ext>
              </a:extLst>
            </p:cNvPr>
            <p:cNvSpPr/>
            <p:nvPr/>
          </p:nvSpPr>
          <p:spPr>
            <a:xfrm>
              <a:off x="10986533" y="3140505"/>
              <a:ext cx="22886" cy="144161"/>
            </a:xfrm>
            <a:custGeom>
              <a:avLst/>
              <a:gdLst>
                <a:gd name="connsiteX0" fmla="*/ 375 w 22886"/>
                <a:gd name="connsiteY0" fmla="*/ 136196 h 144161"/>
                <a:gd name="connsiteX1" fmla="*/ 1749 w 22886"/>
                <a:gd name="connsiteY1" fmla="*/ 139694 h 144161"/>
                <a:gd name="connsiteX2" fmla="*/ 6997 w 22886"/>
                <a:gd name="connsiteY2" fmla="*/ 144068 h 144161"/>
                <a:gd name="connsiteX3" fmla="*/ 8621 w 22886"/>
                <a:gd name="connsiteY3" fmla="*/ 144068 h 144161"/>
                <a:gd name="connsiteX4" fmla="*/ 10121 w 22886"/>
                <a:gd name="connsiteY4" fmla="*/ 144068 h 144161"/>
                <a:gd name="connsiteX5" fmla="*/ 17992 w 22886"/>
                <a:gd name="connsiteY5" fmla="*/ 133947 h 144161"/>
                <a:gd name="connsiteX6" fmla="*/ 22865 w 22886"/>
                <a:gd name="connsiteY6" fmla="*/ 1000 h 144161"/>
                <a:gd name="connsiteX7" fmla="*/ 13894 w 22886"/>
                <a:gd name="connsiteY7" fmla="*/ 11233 h 144161"/>
                <a:gd name="connsiteX8" fmla="*/ 13494 w 22886"/>
                <a:gd name="connsiteY8" fmla="*/ 11245 h 144161"/>
                <a:gd name="connsiteX9" fmla="*/ 4998 w 22886"/>
                <a:gd name="connsiteY9" fmla="*/ 0 h 144161"/>
                <a:gd name="connsiteX10" fmla="*/ 0 w 22886"/>
                <a:gd name="connsiteY10" fmla="*/ 133072 h 144161"/>
                <a:gd name="connsiteX11" fmla="*/ 375 w 22886"/>
                <a:gd name="connsiteY11" fmla="*/ 136196 h 144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86" h="144161">
                  <a:moveTo>
                    <a:pt x="375" y="136196"/>
                  </a:moveTo>
                  <a:cubicBezTo>
                    <a:pt x="600" y="137445"/>
                    <a:pt x="1075" y="138632"/>
                    <a:pt x="1749" y="139694"/>
                  </a:cubicBezTo>
                  <a:cubicBezTo>
                    <a:pt x="2787" y="141844"/>
                    <a:pt x="4698" y="143443"/>
                    <a:pt x="6997" y="144068"/>
                  </a:cubicBezTo>
                  <a:cubicBezTo>
                    <a:pt x="7535" y="144192"/>
                    <a:pt x="8084" y="144192"/>
                    <a:pt x="8621" y="144068"/>
                  </a:cubicBezTo>
                  <a:lnTo>
                    <a:pt x="10121" y="144068"/>
                  </a:lnTo>
                  <a:cubicBezTo>
                    <a:pt x="14794" y="142955"/>
                    <a:pt x="18067" y="138745"/>
                    <a:pt x="17992" y="133947"/>
                  </a:cubicBezTo>
                  <a:lnTo>
                    <a:pt x="22865" y="1000"/>
                  </a:lnTo>
                  <a:cubicBezTo>
                    <a:pt x="23215" y="6297"/>
                    <a:pt x="19192" y="10883"/>
                    <a:pt x="13894" y="11233"/>
                  </a:cubicBezTo>
                  <a:cubicBezTo>
                    <a:pt x="13757" y="11233"/>
                    <a:pt x="13632" y="11245"/>
                    <a:pt x="13494" y="11245"/>
                  </a:cubicBezTo>
                  <a:cubicBezTo>
                    <a:pt x="8084" y="10408"/>
                    <a:pt x="4323" y="5423"/>
                    <a:pt x="4998" y="0"/>
                  </a:cubicBezTo>
                  <a:lnTo>
                    <a:pt x="0" y="133072"/>
                  </a:lnTo>
                  <a:cubicBezTo>
                    <a:pt x="38" y="134121"/>
                    <a:pt x="162" y="135171"/>
                    <a:pt x="375" y="136196"/>
                  </a:cubicBezTo>
                  <a:close/>
                </a:path>
              </a:pathLst>
            </a:custGeom>
            <a:solidFill>
              <a:srgbClr val="000000"/>
            </a:solidFill>
            <a:ln w="12483" cap="flat">
              <a:noFill/>
              <a:prstDash val="solid"/>
              <a:miter/>
            </a:ln>
          </p:spPr>
          <p:txBody>
            <a:bodyPr rtlCol="0" anchor="ctr"/>
            <a:lstStyle/>
            <a:p>
              <a:endParaRPr lang="en-US"/>
            </a:p>
          </p:txBody>
        </p:sp>
        <p:sp>
          <p:nvSpPr>
            <p:cNvPr id="1671" name="Freeform: Shape 1670">
              <a:extLst>
                <a:ext uri="{FF2B5EF4-FFF2-40B4-BE49-F238E27FC236}">
                  <a16:creationId xmlns:a16="http://schemas.microsoft.com/office/drawing/2014/main" id="{287289E7-3CCC-41F2-A573-2F011EF4A175}"/>
                </a:ext>
              </a:extLst>
            </p:cNvPr>
            <p:cNvSpPr/>
            <p:nvPr/>
          </p:nvSpPr>
          <p:spPr>
            <a:xfrm>
              <a:off x="10991703" y="2868988"/>
              <a:ext cx="27441" cy="283012"/>
            </a:xfrm>
            <a:custGeom>
              <a:avLst/>
              <a:gdLst>
                <a:gd name="connsiteX0" fmla="*/ 78 w 27441"/>
                <a:gd name="connsiteY0" fmla="*/ 265144 h 283012"/>
                <a:gd name="connsiteX1" fmla="*/ 78 w 27441"/>
                <a:gd name="connsiteY1" fmla="*/ 271767 h 283012"/>
                <a:gd name="connsiteX2" fmla="*/ 8574 w 27441"/>
                <a:gd name="connsiteY2" fmla="*/ 283012 h 283012"/>
                <a:gd name="connsiteX3" fmla="*/ 17958 w 27441"/>
                <a:gd name="connsiteY3" fmla="*/ 273166 h 283012"/>
                <a:gd name="connsiteX4" fmla="*/ 17945 w 27441"/>
                <a:gd name="connsiteY4" fmla="*/ 272766 h 283012"/>
                <a:gd name="connsiteX5" fmla="*/ 27441 w 27441"/>
                <a:gd name="connsiteY5" fmla="*/ 18992 h 283012"/>
                <a:gd name="connsiteX6" fmla="*/ 13322 w 27441"/>
                <a:gd name="connsiteY6" fmla="*/ 3374 h 283012"/>
                <a:gd name="connsiteX7" fmla="*/ 10199 w 27441"/>
                <a:gd name="connsiteY7" fmla="*/ 0 h 283012"/>
                <a:gd name="connsiteX8" fmla="*/ 453 w 27441"/>
                <a:gd name="connsiteY8" fmla="*/ 260146 h 28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41" h="283012">
                  <a:moveTo>
                    <a:pt x="78" y="265144"/>
                  </a:moveTo>
                  <a:lnTo>
                    <a:pt x="78" y="271767"/>
                  </a:lnTo>
                  <a:cubicBezTo>
                    <a:pt x="-596" y="277189"/>
                    <a:pt x="3164" y="282175"/>
                    <a:pt x="8574" y="283012"/>
                  </a:cubicBezTo>
                  <a:cubicBezTo>
                    <a:pt x="13885" y="282887"/>
                    <a:pt x="18095" y="278477"/>
                    <a:pt x="17958" y="273166"/>
                  </a:cubicBezTo>
                  <a:cubicBezTo>
                    <a:pt x="17958" y="273029"/>
                    <a:pt x="17958" y="272904"/>
                    <a:pt x="17945" y="272766"/>
                  </a:cubicBezTo>
                  <a:lnTo>
                    <a:pt x="27441" y="18992"/>
                  </a:lnTo>
                  <a:lnTo>
                    <a:pt x="13322" y="3374"/>
                  </a:lnTo>
                  <a:lnTo>
                    <a:pt x="10199" y="0"/>
                  </a:lnTo>
                  <a:lnTo>
                    <a:pt x="453" y="260146"/>
                  </a:lnTo>
                  <a:close/>
                </a:path>
              </a:pathLst>
            </a:custGeom>
            <a:solidFill>
              <a:srgbClr val="000000"/>
            </a:solidFill>
            <a:ln w="12483" cap="flat">
              <a:noFill/>
              <a:prstDash val="solid"/>
              <a:miter/>
            </a:ln>
          </p:spPr>
          <p:txBody>
            <a:bodyPr rtlCol="0" anchor="ctr"/>
            <a:lstStyle/>
            <a:p>
              <a:endParaRPr lang="en-US"/>
            </a:p>
          </p:txBody>
        </p:sp>
        <p:sp>
          <p:nvSpPr>
            <p:cNvPr id="1672" name="Freeform: Shape 1671">
              <a:extLst>
                <a:ext uri="{FF2B5EF4-FFF2-40B4-BE49-F238E27FC236}">
                  <a16:creationId xmlns:a16="http://schemas.microsoft.com/office/drawing/2014/main" id="{7EC8BD3F-5BFA-44B4-9298-8C4319EF591D}"/>
                </a:ext>
              </a:extLst>
            </p:cNvPr>
            <p:cNvSpPr/>
            <p:nvPr/>
          </p:nvSpPr>
          <p:spPr>
            <a:xfrm>
              <a:off x="10205620" y="5210585"/>
              <a:ext cx="17341" cy="22084"/>
            </a:xfrm>
            <a:custGeom>
              <a:avLst/>
              <a:gdLst>
                <a:gd name="connsiteX0" fmla="*/ 4123 w 17341"/>
                <a:gd name="connsiteY0" fmla="*/ 219 h 22084"/>
                <a:gd name="connsiteX1" fmla="*/ 0 w 17341"/>
                <a:gd name="connsiteY1" fmla="*/ 2593 h 22084"/>
                <a:gd name="connsiteX2" fmla="*/ 11508 w 17341"/>
                <a:gd name="connsiteY2" fmla="*/ 5366 h 22084"/>
                <a:gd name="connsiteX3" fmla="*/ 12495 w 17341"/>
                <a:gd name="connsiteY3" fmla="*/ 7716 h 22084"/>
                <a:gd name="connsiteX4" fmla="*/ 8246 w 17341"/>
                <a:gd name="connsiteY4" fmla="*/ 22085 h 22084"/>
                <a:gd name="connsiteX5" fmla="*/ 12370 w 17341"/>
                <a:gd name="connsiteY5" fmla="*/ 19836 h 22084"/>
                <a:gd name="connsiteX6" fmla="*/ 16493 w 17341"/>
                <a:gd name="connsiteY6" fmla="*/ 5342 h 22084"/>
                <a:gd name="connsiteX7" fmla="*/ 14744 w 17341"/>
                <a:gd name="connsiteY7" fmla="*/ 2343 h 22084"/>
                <a:gd name="connsiteX8" fmla="*/ 13120 w 17341"/>
                <a:gd name="connsiteY8" fmla="*/ 968 h 22084"/>
                <a:gd name="connsiteX9" fmla="*/ 11745 w 17341"/>
                <a:gd name="connsiteY9" fmla="*/ 94 h 22084"/>
                <a:gd name="connsiteX10" fmla="*/ 10121 w 17341"/>
                <a:gd name="connsiteY10" fmla="*/ 94 h 22084"/>
                <a:gd name="connsiteX11" fmla="*/ 8372 w 17341"/>
                <a:gd name="connsiteY11" fmla="*/ 94 h 22084"/>
                <a:gd name="connsiteX12" fmla="*/ 6872 w 17341"/>
                <a:gd name="connsiteY12" fmla="*/ 94 h 22084"/>
                <a:gd name="connsiteX13" fmla="*/ 6872 w 17341"/>
                <a:gd name="connsiteY13" fmla="*/ 94 h 22084"/>
                <a:gd name="connsiteX14" fmla="*/ 4123 w 17341"/>
                <a:gd name="connsiteY14" fmla="*/ 219 h 2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41" h="22084">
                  <a:moveTo>
                    <a:pt x="4123" y="219"/>
                  </a:moveTo>
                  <a:lnTo>
                    <a:pt x="0" y="2593"/>
                  </a:lnTo>
                  <a:cubicBezTo>
                    <a:pt x="3948" y="181"/>
                    <a:pt x="9096" y="1418"/>
                    <a:pt x="11508" y="5366"/>
                  </a:cubicBezTo>
                  <a:cubicBezTo>
                    <a:pt x="11957" y="6091"/>
                    <a:pt x="12282" y="6891"/>
                    <a:pt x="12495" y="7716"/>
                  </a:cubicBezTo>
                  <a:cubicBezTo>
                    <a:pt x="14719" y="12901"/>
                    <a:pt x="12932" y="18936"/>
                    <a:pt x="8246" y="22085"/>
                  </a:cubicBezTo>
                  <a:lnTo>
                    <a:pt x="12370" y="19836"/>
                  </a:lnTo>
                  <a:cubicBezTo>
                    <a:pt x="16830" y="16475"/>
                    <a:pt x="18517" y="10552"/>
                    <a:pt x="16493" y="5342"/>
                  </a:cubicBezTo>
                  <a:cubicBezTo>
                    <a:pt x="16056" y="4267"/>
                    <a:pt x="15468" y="3255"/>
                    <a:pt x="14744" y="2343"/>
                  </a:cubicBezTo>
                  <a:lnTo>
                    <a:pt x="13120" y="968"/>
                  </a:lnTo>
                  <a:cubicBezTo>
                    <a:pt x="13120" y="968"/>
                    <a:pt x="12245" y="219"/>
                    <a:pt x="11745" y="94"/>
                  </a:cubicBezTo>
                  <a:cubicBezTo>
                    <a:pt x="11208" y="-31"/>
                    <a:pt x="10658" y="-31"/>
                    <a:pt x="10121" y="94"/>
                  </a:cubicBezTo>
                  <a:cubicBezTo>
                    <a:pt x="9533" y="31"/>
                    <a:pt x="8959" y="31"/>
                    <a:pt x="8372" y="94"/>
                  </a:cubicBezTo>
                  <a:lnTo>
                    <a:pt x="6872" y="94"/>
                  </a:lnTo>
                  <a:lnTo>
                    <a:pt x="6872" y="94"/>
                  </a:lnTo>
                  <a:cubicBezTo>
                    <a:pt x="5960" y="-31"/>
                    <a:pt x="5023" y="6"/>
                    <a:pt x="4123" y="219"/>
                  </a:cubicBezTo>
                  <a:close/>
                </a:path>
              </a:pathLst>
            </a:custGeom>
            <a:solidFill>
              <a:srgbClr val="000000"/>
            </a:solidFill>
            <a:ln w="12483" cap="flat">
              <a:noFill/>
              <a:prstDash val="solid"/>
              <a:miter/>
            </a:ln>
          </p:spPr>
          <p:txBody>
            <a:bodyPr rtlCol="0" anchor="ctr"/>
            <a:lstStyle/>
            <a:p>
              <a:endParaRPr lang="en-US"/>
            </a:p>
          </p:txBody>
        </p:sp>
        <p:sp>
          <p:nvSpPr>
            <p:cNvPr id="1673" name="Freeform: Shape 1672">
              <a:extLst>
                <a:ext uri="{FF2B5EF4-FFF2-40B4-BE49-F238E27FC236}">
                  <a16:creationId xmlns:a16="http://schemas.microsoft.com/office/drawing/2014/main" id="{F21C8ABC-DC26-49EB-9BC4-181C6E37D22B}"/>
                </a:ext>
              </a:extLst>
            </p:cNvPr>
            <p:cNvSpPr/>
            <p:nvPr/>
          </p:nvSpPr>
          <p:spPr>
            <a:xfrm>
              <a:off x="9733018" y="5473074"/>
              <a:ext cx="29043" cy="30083"/>
            </a:xfrm>
            <a:custGeom>
              <a:avLst/>
              <a:gdLst>
                <a:gd name="connsiteX0" fmla="*/ 12051 w 29043"/>
                <a:gd name="connsiteY0" fmla="*/ 29363 h 30083"/>
                <a:gd name="connsiteX1" fmla="*/ 17424 w 29043"/>
                <a:gd name="connsiteY1" fmla="*/ 26365 h 30083"/>
                <a:gd name="connsiteX2" fmla="*/ 29044 w 29043"/>
                <a:gd name="connsiteY2" fmla="*/ 19617 h 30083"/>
                <a:gd name="connsiteX3" fmla="*/ 17774 w 29043"/>
                <a:gd name="connsiteY3" fmla="*/ 15994 h 30083"/>
                <a:gd name="connsiteX4" fmla="*/ 17174 w 29043"/>
                <a:gd name="connsiteY4" fmla="*/ 14494 h 30083"/>
                <a:gd name="connsiteX5" fmla="*/ 21422 w 29043"/>
                <a:gd name="connsiteY5" fmla="*/ 0 h 30083"/>
                <a:gd name="connsiteX6" fmla="*/ 10677 w 29043"/>
                <a:gd name="connsiteY6" fmla="*/ 6123 h 30083"/>
                <a:gd name="connsiteX7" fmla="*/ 6678 w 29043"/>
                <a:gd name="connsiteY7" fmla="*/ 8497 h 30083"/>
                <a:gd name="connsiteX8" fmla="*/ 4554 w 29043"/>
                <a:gd name="connsiteY8" fmla="*/ 9746 h 30083"/>
                <a:gd name="connsiteX9" fmla="*/ 4554 w 29043"/>
                <a:gd name="connsiteY9" fmla="*/ 9746 h 30083"/>
                <a:gd name="connsiteX10" fmla="*/ 3930 w 29043"/>
                <a:gd name="connsiteY10" fmla="*/ 10371 h 30083"/>
                <a:gd name="connsiteX11" fmla="*/ 1805 w 29043"/>
                <a:gd name="connsiteY11" fmla="*/ 12245 h 30083"/>
                <a:gd name="connsiteX12" fmla="*/ 931 w 29043"/>
                <a:gd name="connsiteY12" fmla="*/ 13994 h 30083"/>
                <a:gd name="connsiteX13" fmla="*/ 56 w 29043"/>
                <a:gd name="connsiteY13" fmla="*/ 15869 h 30083"/>
                <a:gd name="connsiteX14" fmla="*/ 56 w 29043"/>
                <a:gd name="connsiteY14" fmla="*/ 18618 h 30083"/>
                <a:gd name="connsiteX15" fmla="*/ 681 w 29043"/>
                <a:gd name="connsiteY15" fmla="*/ 24240 h 30083"/>
                <a:gd name="connsiteX16" fmla="*/ 11189 w 29043"/>
                <a:gd name="connsiteY16" fmla="*/ 29688 h 30083"/>
                <a:gd name="connsiteX17" fmla="*/ 12051 w 29043"/>
                <a:gd name="connsiteY17" fmla="*/ 29363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043" h="30083">
                  <a:moveTo>
                    <a:pt x="12051" y="29363"/>
                  </a:moveTo>
                  <a:lnTo>
                    <a:pt x="17424" y="26365"/>
                  </a:lnTo>
                  <a:lnTo>
                    <a:pt x="29044" y="19617"/>
                  </a:lnTo>
                  <a:cubicBezTo>
                    <a:pt x="24933" y="21729"/>
                    <a:pt x="19885" y="20117"/>
                    <a:pt x="17774" y="15994"/>
                  </a:cubicBezTo>
                  <a:cubicBezTo>
                    <a:pt x="17524" y="15519"/>
                    <a:pt x="17324" y="15019"/>
                    <a:pt x="17174" y="14494"/>
                  </a:cubicBezTo>
                  <a:cubicBezTo>
                    <a:pt x="14887" y="9271"/>
                    <a:pt x="16674" y="3162"/>
                    <a:pt x="21422" y="0"/>
                  </a:cubicBezTo>
                  <a:lnTo>
                    <a:pt x="10677" y="6123"/>
                  </a:lnTo>
                  <a:lnTo>
                    <a:pt x="6678" y="8497"/>
                  </a:lnTo>
                  <a:lnTo>
                    <a:pt x="4554" y="9746"/>
                  </a:lnTo>
                  <a:lnTo>
                    <a:pt x="4554" y="9746"/>
                  </a:lnTo>
                  <a:cubicBezTo>
                    <a:pt x="4554" y="9746"/>
                    <a:pt x="4554" y="9746"/>
                    <a:pt x="3930" y="10371"/>
                  </a:cubicBezTo>
                  <a:cubicBezTo>
                    <a:pt x="3130" y="10896"/>
                    <a:pt x="2418" y="11520"/>
                    <a:pt x="1805" y="12245"/>
                  </a:cubicBezTo>
                  <a:cubicBezTo>
                    <a:pt x="1805" y="12245"/>
                    <a:pt x="1805" y="13370"/>
                    <a:pt x="931" y="13994"/>
                  </a:cubicBezTo>
                  <a:cubicBezTo>
                    <a:pt x="56" y="14619"/>
                    <a:pt x="931" y="15119"/>
                    <a:pt x="56" y="15869"/>
                  </a:cubicBezTo>
                  <a:cubicBezTo>
                    <a:pt x="-19" y="16781"/>
                    <a:pt x="-19" y="17705"/>
                    <a:pt x="56" y="18618"/>
                  </a:cubicBezTo>
                  <a:cubicBezTo>
                    <a:pt x="-106" y="20517"/>
                    <a:pt x="106" y="22429"/>
                    <a:pt x="681" y="24240"/>
                  </a:cubicBezTo>
                  <a:cubicBezTo>
                    <a:pt x="2080" y="28651"/>
                    <a:pt x="6791" y="31088"/>
                    <a:pt x="11189" y="29688"/>
                  </a:cubicBezTo>
                  <a:cubicBezTo>
                    <a:pt x="11489" y="29601"/>
                    <a:pt x="11776" y="29488"/>
                    <a:pt x="12051" y="29363"/>
                  </a:cubicBezTo>
                  <a:close/>
                </a:path>
              </a:pathLst>
            </a:custGeom>
            <a:solidFill>
              <a:srgbClr val="000000"/>
            </a:solidFill>
            <a:ln w="12483" cap="flat">
              <a:noFill/>
              <a:prstDash val="solid"/>
              <a:miter/>
            </a:ln>
          </p:spPr>
          <p:txBody>
            <a:bodyPr rtlCol="0" anchor="ctr"/>
            <a:lstStyle/>
            <a:p>
              <a:endParaRPr lang="en-US"/>
            </a:p>
          </p:txBody>
        </p:sp>
        <p:sp>
          <p:nvSpPr>
            <p:cNvPr id="1674" name="Freeform: Shape 1673">
              <a:extLst>
                <a:ext uri="{FF2B5EF4-FFF2-40B4-BE49-F238E27FC236}">
                  <a16:creationId xmlns:a16="http://schemas.microsoft.com/office/drawing/2014/main" id="{3B2320BC-D1B8-408E-98D1-C7413763D7F4}"/>
                </a:ext>
              </a:extLst>
            </p:cNvPr>
            <p:cNvSpPr/>
            <p:nvPr/>
          </p:nvSpPr>
          <p:spPr>
            <a:xfrm>
              <a:off x="8649043" y="3967300"/>
              <a:ext cx="337479" cy="452444"/>
            </a:xfrm>
            <a:custGeom>
              <a:avLst/>
              <a:gdLst>
                <a:gd name="connsiteX0" fmla="*/ 13244 w 337479"/>
                <a:gd name="connsiteY0" fmla="*/ 0 h 452444"/>
                <a:gd name="connsiteX1" fmla="*/ 12495 w 337479"/>
                <a:gd name="connsiteY1" fmla="*/ 15369 h 452444"/>
                <a:gd name="connsiteX2" fmla="*/ 1012 w 337479"/>
                <a:gd name="connsiteY2" fmla="*/ 15556 h 452444"/>
                <a:gd name="connsiteX3" fmla="*/ 0 w 337479"/>
                <a:gd name="connsiteY3" fmla="*/ 14369 h 452444"/>
                <a:gd name="connsiteX4" fmla="*/ 4123 w 337479"/>
                <a:gd name="connsiteY4" fmla="*/ 19992 h 452444"/>
                <a:gd name="connsiteX5" fmla="*/ 320362 w 337479"/>
                <a:gd name="connsiteY5" fmla="*/ 452444 h 452444"/>
                <a:gd name="connsiteX6" fmla="*/ 331482 w 337479"/>
                <a:gd name="connsiteY6" fmla="*/ 446447 h 452444"/>
                <a:gd name="connsiteX7" fmla="*/ 337479 w 337479"/>
                <a:gd name="connsiteY7" fmla="*/ 443198 h 45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479" h="452444">
                  <a:moveTo>
                    <a:pt x="13244" y="0"/>
                  </a:moveTo>
                  <a:cubicBezTo>
                    <a:pt x="16555" y="4686"/>
                    <a:pt x="16243" y="11020"/>
                    <a:pt x="12495" y="15369"/>
                  </a:cubicBezTo>
                  <a:cubicBezTo>
                    <a:pt x="9371" y="18592"/>
                    <a:pt x="4236" y="18680"/>
                    <a:pt x="1012" y="15556"/>
                  </a:cubicBezTo>
                  <a:cubicBezTo>
                    <a:pt x="637" y="15194"/>
                    <a:pt x="300" y="14794"/>
                    <a:pt x="0" y="14369"/>
                  </a:cubicBezTo>
                  <a:lnTo>
                    <a:pt x="4123" y="19992"/>
                  </a:lnTo>
                  <a:lnTo>
                    <a:pt x="320362" y="452444"/>
                  </a:lnTo>
                  <a:lnTo>
                    <a:pt x="331482" y="446447"/>
                  </a:lnTo>
                  <a:lnTo>
                    <a:pt x="337479" y="443198"/>
                  </a:lnTo>
                  <a:close/>
                </a:path>
              </a:pathLst>
            </a:custGeom>
            <a:solidFill>
              <a:srgbClr val="000000"/>
            </a:solidFill>
            <a:ln w="12483" cap="flat">
              <a:noFill/>
              <a:prstDash val="solid"/>
              <a:miter/>
            </a:ln>
          </p:spPr>
          <p:txBody>
            <a:bodyPr rtlCol="0" anchor="ctr"/>
            <a:lstStyle/>
            <a:p>
              <a:endParaRPr lang="en-US"/>
            </a:p>
          </p:txBody>
        </p:sp>
        <p:sp>
          <p:nvSpPr>
            <p:cNvPr id="1675" name="Freeform: Shape 1674">
              <a:extLst>
                <a:ext uri="{FF2B5EF4-FFF2-40B4-BE49-F238E27FC236}">
                  <a16:creationId xmlns:a16="http://schemas.microsoft.com/office/drawing/2014/main" id="{E9B3AD1A-4733-458B-8C92-42A997D9C411}"/>
                </a:ext>
              </a:extLst>
            </p:cNvPr>
            <p:cNvSpPr/>
            <p:nvPr/>
          </p:nvSpPr>
          <p:spPr>
            <a:xfrm>
              <a:off x="8643920" y="3966800"/>
              <a:ext cx="20404" cy="18839"/>
            </a:xfrm>
            <a:custGeom>
              <a:avLst/>
              <a:gdLst>
                <a:gd name="connsiteX0" fmla="*/ 3873 w 20404"/>
                <a:gd name="connsiteY0" fmla="*/ 13994 h 18839"/>
                <a:gd name="connsiteX1" fmla="*/ 4873 w 20404"/>
                <a:gd name="connsiteY1" fmla="*/ 15369 h 18839"/>
                <a:gd name="connsiteX2" fmla="*/ 16181 w 20404"/>
                <a:gd name="connsiteY2" fmla="*/ 17380 h 18839"/>
                <a:gd name="connsiteX3" fmla="*/ 17368 w 20404"/>
                <a:gd name="connsiteY3" fmla="*/ 16368 h 18839"/>
                <a:gd name="connsiteX4" fmla="*/ 18117 w 20404"/>
                <a:gd name="connsiteY4" fmla="*/ 999 h 18839"/>
                <a:gd name="connsiteX5" fmla="*/ 17368 w 20404"/>
                <a:gd name="connsiteY5" fmla="*/ 0 h 18839"/>
                <a:gd name="connsiteX6" fmla="*/ 5998 w 20404"/>
                <a:gd name="connsiteY6" fmla="*/ 5873 h 18839"/>
                <a:gd name="connsiteX7" fmla="*/ 0 w 20404"/>
                <a:gd name="connsiteY7" fmla="*/ 8996 h 18839"/>
                <a:gd name="connsiteX8" fmla="*/ 2249 w 20404"/>
                <a:gd name="connsiteY8" fmla="*/ 11995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04" h="18839">
                  <a:moveTo>
                    <a:pt x="3873" y="13994"/>
                  </a:moveTo>
                  <a:lnTo>
                    <a:pt x="4873" y="15369"/>
                  </a:lnTo>
                  <a:cubicBezTo>
                    <a:pt x="7447" y="19042"/>
                    <a:pt x="12507" y="19942"/>
                    <a:pt x="16181" y="17380"/>
                  </a:cubicBezTo>
                  <a:cubicBezTo>
                    <a:pt x="16605" y="17081"/>
                    <a:pt x="17005" y="16743"/>
                    <a:pt x="17368" y="16368"/>
                  </a:cubicBezTo>
                  <a:cubicBezTo>
                    <a:pt x="21116" y="12020"/>
                    <a:pt x="21428" y="5685"/>
                    <a:pt x="18117" y="999"/>
                  </a:cubicBezTo>
                  <a:lnTo>
                    <a:pt x="17368" y="0"/>
                  </a:lnTo>
                  <a:lnTo>
                    <a:pt x="5998" y="5873"/>
                  </a:lnTo>
                  <a:lnTo>
                    <a:pt x="0" y="8996"/>
                  </a:lnTo>
                  <a:lnTo>
                    <a:pt x="2249" y="11995"/>
                  </a:lnTo>
                  <a:close/>
                </a:path>
              </a:pathLst>
            </a:custGeom>
            <a:solidFill>
              <a:srgbClr val="000000"/>
            </a:solidFill>
            <a:ln w="12483" cap="flat">
              <a:noFill/>
              <a:prstDash val="solid"/>
              <a:miter/>
            </a:ln>
          </p:spPr>
          <p:txBody>
            <a:bodyPr rtlCol="0" anchor="ctr"/>
            <a:lstStyle/>
            <a:p>
              <a:endParaRPr lang="en-US"/>
            </a:p>
          </p:txBody>
        </p:sp>
        <p:sp>
          <p:nvSpPr>
            <p:cNvPr id="1676" name="Freeform: Shape 1675">
              <a:extLst>
                <a:ext uri="{FF2B5EF4-FFF2-40B4-BE49-F238E27FC236}">
                  <a16:creationId xmlns:a16="http://schemas.microsoft.com/office/drawing/2014/main" id="{426EE2DF-B760-44DB-B8C4-0715A740AA39}"/>
                </a:ext>
              </a:extLst>
            </p:cNvPr>
            <p:cNvSpPr/>
            <p:nvPr/>
          </p:nvSpPr>
          <p:spPr>
            <a:xfrm>
              <a:off x="8643046" y="3914946"/>
              <a:ext cx="79216" cy="57227"/>
            </a:xfrm>
            <a:custGeom>
              <a:avLst/>
              <a:gdLst>
                <a:gd name="connsiteX0" fmla="*/ 11870 w 79216"/>
                <a:gd name="connsiteY0" fmla="*/ 42983 h 57227"/>
                <a:gd name="connsiteX1" fmla="*/ 7122 w 79216"/>
                <a:gd name="connsiteY1" fmla="*/ 57227 h 57227"/>
                <a:gd name="connsiteX2" fmla="*/ 18492 w 79216"/>
                <a:gd name="connsiteY2" fmla="*/ 51354 h 57227"/>
                <a:gd name="connsiteX3" fmla="*/ 79216 w 79216"/>
                <a:gd name="connsiteY3" fmla="*/ 19992 h 57227"/>
                <a:gd name="connsiteX4" fmla="*/ 67983 w 79216"/>
                <a:gd name="connsiteY4" fmla="*/ 15731 h 57227"/>
                <a:gd name="connsiteX5" fmla="*/ 67471 w 79216"/>
                <a:gd name="connsiteY5" fmla="*/ 14244 h 57227"/>
                <a:gd name="connsiteX6" fmla="*/ 72219 w 79216"/>
                <a:gd name="connsiteY6" fmla="*/ 0 h 57227"/>
                <a:gd name="connsiteX7" fmla="*/ 70970 w 79216"/>
                <a:gd name="connsiteY7" fmla="*/ 0 h 57227"/>
                <a:gd name="connsiteX8" fmla="*/ 67846 w 79216"/>
                <a:gd name="connsiteY8" fmla="*/ 1624 h 57227"/>
                <a:gd name="connsiteX9" fmla="*/ 0 w 79216"/>
                <a:gd name="connsiteY9" fmla="*/ 36735 h 57227"/>
                <a:gd name="connsiteX10" fmla="*/ 11245 w 79216"/>
                <a:gd name="connsiteY10" fmla="*/ 40971 h 57227"/>
                <a:gd name="connsiteX11" fmla="*/ 11870 w 79216"/>
                <a:gd name="connsiteY11" fmla="*/ 42983 h 5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16" h="57227">
                  <a:moveTo>
                    <a:pt x="11870" y="42983"/>
                  </a:moveTo>
                  <a:cubicBezTo>
                    <a:pt x="13632" y="48256"/>
                    <a:pt x="11695" y="54066"/>
                    <a:pt x="7122" y="57227"/>
                  </a:cubicBezTo>
                  <a:lnTo>
                    <a:pt x="18492" y="51354"/>
                  </a:lnTo>
                  <a:lnTo>
                    <a:pt x="79216" y="19992"/>
                  </a:lnTo>
                  <a:cubicBezTo>
                    <a:pt x="74943" y="21916"/>
                    <a:pt x="69907" y="20004"/>
                    <a:pt x="67983" y="15731"/>
                  </a:cubicBezTo>
                  <a:cubicBezTo>
                    <a:pt x="67771" y="15256"/>
                    <a:pt x="67596" y="14757"/>
                    <a:pt x="67471" y="14244"/>
                  </a:cubicBezTo>
                  <a:cubicBezTo>
                    <a:pt x="65422" y="8971"/>
                    <a:pt x="67409" y="2986"/>
                    <a:pt x="72219" y="0"/>
                  </a:cubicBezTo>
                  <a:lnTo>
                    <a:pt x="70970" y="0"/>
                  </a:lnTo>
                  <a:lnTo>
                    <a:pt x="67846" y="1624"/>
                  </a:lnTo>
                  <a:lnTo>
                    <a:pt x="0" y="36735"/>
                  </a:lnTo>
                  <a:cubicBezTo>
                    <a:pt x="4273" y="34799"/>
                    <a:pt x="9309" y="36698"/>
                    <a:pt x="11245" y="40971"/>
                  </a:cubicBezTo>
                  <a:cubicBezTo>
                    <a:pt x="11533" y="41608"/>
                    <a:pt x="11745" y="42283"/>
                    <a:pt x="11870" y="42983"/>
                  </a:cubicBezTo>
                  <a:close/>
                </a:path>
              </a:pathLst>
            </a:custGeom>
            <a:solidFill>
              <a:srgbClr val="000000"/>
            </a:solidFill>
            <a:ln w="12483" cap="flat">
              <a:noFill/>
              <a:prstDash val="solid"/>
              <a:miter/>
            </a:ln>
          </p:spPr>
          <p:txBody>
            <a:bodyPr rtlCol="0" anchor="ctr"/>
            <a:lstStyle/>
            <a:p>
              <a:endParaRPr lang="en-US"/>
            </a:p>
          </p:txBody>
        </p:sp>
        <p:sp>
          <p:nvSpPr>
            <p:cNvPr id="1677" name="Freeform: Shape 1676">
              <a:extLst>
                <a:ext uri="{FF2B5EF4-FFF2-40B4-BE49-F238E27FC236}">
                  <a16:creationId xmlns:a16="http://schemas.microsoft.com/office/drawing/2014/main" id="{B75C2F24-18DB-4890-A94C-C27C08952A11}"/>
                </a:ext>
              </a:extLst>
            </p:cNvPr>
            <p:cNvSpPr/>
            <p:nvPr/>
          </p:nvSpPr>
          <p:spPr>
            <a:xfrm>
              <a:off x="7474301" y="4443110"/>
              <a:ext cx="91507" cy="133744"/>
            </a:xfrm>
            <a:custGeom>
              <a:avLst/>
              <a:gdLst>
                <a:gd name="connsiteX0" fmla="*/ 12495 w 91507"/>
                <a:gd name="connsiteY0" fmla="*/ 14619 h 133744"/>
                <a:gd name="connsiteX1" fmla="*/ 1187 w 91507"/>
                <a:gd name="connsiteY1" fmla="*/ 14444 h 133744"/>
                <a:gd name="connsiteX2" fmla="*/ 0 w 91507"/>
                <a:gd name="connsiteY2" fmla="*/ 12870 h 133744"/>
                <a:gd name="connsiteX3" fmla="*/ 69095 w 91507"/>
                <a:gd name="connsiteY3" fmla="*/ 118703 h 133744"/>
                <a:gd name="connsiteX4" fmla="*/ 76342 w 91507"/>
                <a:gd name="connsiteY4" fmla="*/ 129823 h 133744"/>
                <a:gd name="connsiteX5" fmla="*/ 87100 w 91507"/>
                <a:gd name="connsiteY5" fmla="*/ 132684 h 133744"/>
                <a:gd name="connsiteX6" fmla="*/ 87837 w 91507"/>
                <a:gd name="connsiteY6" fmla="*/ 132197 h 133744"/>
                <a:gd name="connsiteX7" fmla="*/ 88837 w 91507"/>
                <a:gd name="connsiteY7" fmla="*/ 131573 h 133744"/>
                <a:gd name="connsiteX8" fmla="*/ 88837 w 91507"/>
                <a:gd name="connsiteY8" fmla="*/ 131573 h 133744"/>
                <a:gd name="connsiteX9" fmla="*/ 89961 w 91507"/>
                <a:gd name="connsiteY9" fmla="*/ 129823 h 133744"/>
                <a:gd name="connsiteX10" fmla="*/ 90836 w 91507"/>
                <a:gd name="connsiteY10" fmla="*/ 128199 h 133744"/>
                <a:gd name="connsiteX11" fmla="*/ 91461 w 91507"/>
                <a:gd name="connsiteY11" fmla="*/ 126200 h 133744"/>
                <a:gd name="connsiteX12" fmla="*/ 91461 w 91507"/>
                <a:gd name="connsiteY12" fmla="*/ 124201 h 133744"/>
                <a:gd name="connsiteX13" fmla="*/ 91461 w 91507"/>
                <a:gd name="connsiteY13" fmla="*/ 122201 h 133744"/>
                <a:gd name="connsiteX14" fmla="*/ 91461 w 91507"/>
                <a:gd name="connsiteY14" fmla="*/ 120077 h 133744"/>
                <a:gd name="connsiteX15" fmla="*/ 90711 w 91507"/>
                <a:gd name="connsiteY15" fmla="*/ 118203 h 133744"/>
                <a:gd name="connsiteX16" fmla="*/ 90711 w 91507"/>
                <a:gd name="connsiteY16" fmla="*/ 116953 h 133744"/>
                <a:gd name="connsiteX17" fmla="*/ 13994 w 91507"/>
                <a:gd name="connsiteY17" fmla="*/ 0 h 133744"/>
                <a:gd name="connsiteX18" fmla="*/ 12495 w 91507"/>
                <a:gd name="connsiteY18" fmla="*/ 14619 h 13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507" h="133744">
                  <a:moveTo>
                    <a:pt x="12495" y="14619"/>
                  </a:moveTo>
                  <a:cubicBezTo>
                    <a:pt x="9321" y="17693"/>
                    <a:pt x="4261" y="17618"/>
                    <a:pt x="1187" y="14444"/>
                  </a:cubicBezTo>
                  <a:cubicBezTo>
                    <a:pt x="725" y="13970"/>
                    <a:pt x="325" y="13444"/>
                    <a:pt x="0" y="12870"/>
                  </a:cubicBezTo>
                  <a:lnTo>
                    <a:pt x="69095" y="118703"/>
                  </a:lnTo>
                  <a:lnTo>
                    <a:pt x="76342" y="129823"/>
                  </a:lnTo>
                  <a:cubicBezTo>
                    <a:pt x="78529" y="133584"/>
                    <a:pt x="83339" y="134859"/>
                    <a:pt x="87100" y="132684"/>
                  </a:cubicBezTo>
                  <a:cubicBezTo>
                    <a:pt x="87350" y="132535"/>
                    <a:pt x="87600" y="132372"/>
                    <a:pt x="87837" y="132197"/>
                  </a:cubicBezTo>
                  <a:cubicBezTo>
                    <a:pt x="87837" y="132197"/>
                    <a:pt x="88587" y="132197"/>
                    <a:pt x="88837" y="131573"/>
                  </a:cubicBezTo>
                  <a:lnTo>
                    <a:pt x="88837" y="131573"/>
                  </a:lnTo>
                  <a:lnTo>
                    <a:pt x="89961" y="129823"/>
                  </a:lnTo>
                  <a:cubicBezTo>
                    <a:pt x="90324" y="129324"/>
                    <a:pt x="90623" y="128774"/>
                    <a:pt x="90836" y="128199"/>
                  </a:cubicBezTo>
                  <a:cubicBezTo>
                    <a:pt x="90836" y="127574"/>
                    <a:pt x="90836" y="126824"/>
                    <a:pt x="91461" y="126200"/>
                  </a:cubicBezTo>
                  <a:cubicBezTo>
                    <a:pt x="91523" y="125537"/>
                    <a:pt x="91523" y="124863"/>
                    <a:pt x="91461" y="124201"/>
                  </a:cubicBezTo>
                  <a:cubicBezTo>
                    <a:pt x="91523" y="123538"/>
                    <a:pt x="91523" y="122864"/>
                    <a:pt x="91461" y="122201"/>
                  </a:cubicBezTo>
                  <a:cubicBezTo>
                    <a:pt x="91523" y="121489"/>
                    <a:pt x="91523" y="120789"/>
                    <a:pt x="91461" y="120077"/>
                  </a:cubicBezTo>
                  <a:cubicBezTo>
                    <a:pt x="91261" y="119428"/>
                    <a:pt x="91011" y="118803"/>
                    <a:pt x="90711" y="118203"/>
                  </a:cubicBezTo>
                  <a:cubicBezTo>
                    <a:pt x="90736" y="117791"/>
                    <a:pt x="90736" y="117366"/>
                    <a:pt x="90711" y="116953"/>
                  </a:cubicBezTo>
                  <a:lnTo>
                    <a:pt x="13994" y="0"/>
                  </a:lnTo>
                  <a:cubicBezTo>
                    <a:pt x="16718" y="4686"/>
                    <a:pt x="16106" y="10583"/>
                    <a:pt x="12495" y="14619"/>
                  </a:cubicBezTo>
                  <a:close/>
                </a:path>
              </a:pathLst>
            </a:custGeom>
            <a:solidFill>
              <a:srgbClr val="000000"/>
            </a:solidFill>
            <a:ln w="12483" cap="flat">
              <a:noFill/>
              <a:prstDash val="solid"/>
              <a:miter/>
            </a:ln>
          </p:spPr>
          <p:txBody>
            <a:bodyPr rtlCol="0" anchor="ctr"/>
            <a:lstStyle/>
            <a:p>
              <a:endParaRPr lang="en-US"/>
            </a:p>
          </p:txBody>
        </p:sp>
        <p:sp>
          <p:nvSpPr>
            <p:cNvPr id="1678" name="Freeform: Shape 1677">
              <a:extLst>
                <a:ext uri="{FF2B5EF4-FFF2-40B4-BE49-F238E27FC236}">
                  <a16:creationId xmlns:a16="http://schemas.microsoft.com/office/drawing/2014/main" id="{08AC9660-FFA0-42C1-852A-204552052837}"/>
                </a:ext>
              </a:extLst>
            </p:cNvPr>
            <p:cNvSpPr/>
            <p:nvPr/>
          </p:nvSpPr>
          <p:spPr>
            <a:xfrm>
              <a:off x="7413077" y="4350897"/>
              <a:ext cx="76217" cy="108585"/>
            </a:xfrm>
            <a:custGeom>
              <a:avLst/>
              <a:gdLst>
                <a:gd name="connsiteX0" fmla="*/ 8746 w 76217"/>
                <a:gd name="connsiteY0" fmla="*/ 15619 h 108585"/>
                <a:gd name="connsiteX1" fmla="*/ 0 w 76217"/>
                <a:gd name="connsiteY1" fmla="*/ 11245 h 108585"/>
                <a:gd name="connsiteX2" fmla="*/ 0 w 76217"/>
                <a:gd name="connsiteY2" fmla="*/ 11245 h 108585"/>
                <a:gd name="connsiteX3" fmla="*/ 58350 w 76217"/>
                <a:gd name="connsiteY3" fmla="*/ 100710 h 108585"/>
                <a:gd name="connsiteX4" fmla="*/ 60349 w 76217"/>
                <a:gd name="connsiteY4" fmla="*/ 103834 h 108585"/>
                <a:gd name="connsiteX5" fmla="*/ 60349 w 76217"/>
                <a:gd name="connsiteY5" fmla="*/ 104583 h 108585"/>
                <a:gd name="connsiteX6" fmla="*/ 71269 w 76217"/>
                <a:gd name="connsiteY6" fmla="*/ 107520 h 108585"/>
                <a:gd name="connsiteX7" fmla="*/ 72844 w 76217"/>
                <a:gd name="connsiteY7" fmla="*/ 106333 h 108585"/>
                <a:gd name="connsiteX8" fmla="*/ 74343 w 76217"/>
                <a:gd name="connsiteY8" fmla="*/ 91214 h 108585"/>
                <a:gd name="connsiteX9" fmla="*/ 14869 w 76217"/>
                <a:gd name="connsiteY9" fmla="*/ 0 h 108585"/>
                <a:gd name="connsiteX10" fmla="*/ 14869 w 76217"/>
                <a:gd name="connsiteY10" fmla="*/ 2624 h 108585"/>
                <a:gd name="connsiteX11" fmla="*/ 8746 w 76217"/>
                <a:gd name="connsiteY11" fmla="*/ 15619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17" h="108585">
                  <a:moveTo>
                    <a:pt x="8746" y="15619"/>
                  </a:moveTo>
                  <a:cubicBezTo>
                    <a:pt x="5185" y="16231"/>
                    <a:pt x="1649" y="14457"/>
                    <a:pt x="0" y="11245"/>
                  </a:cubicBezTo>
                  <a:cubicBezTo>
                    <a:pt x="0" y="11245"/>
                    <a:pt x="0" y="11245"/>
                    <a:pt x="0" y="11245"/>
                  </a:cubicBezTo>
                  <a:lnTo>
                    <a:pt x="58350" y="100710"/>
                  </a:lnTo>
                  <a:lnTo>
                    <a:pt x="60349" y="103834"/>
                  </a:lnTo>
                  <a:lnTo>
                    <a:pt x="60349" y="104583"/>
                  </a:lnTo>
                  <a:cubicBezTo>
                    <a:pt x="62548" y="108407"/>
                    <a:pt x="67446" y="109719"/>
                    <a:pt x="71269" y="107520"/>
                  </a:cubicBezTo>
                  <a:cubicBezTo>
                    <a:pt x="71844" y="107195"/>
                    <a:pt x="72369" y="106795"/>
                    <a:pt x="72844" y="106333"/>
                  </a:cubicBezTo>
                  <a:cubicBezTo>
                    <a:pt x="76704" y="102209"/>
                    <a:pt x="77317" y="96012"/>
                    <a:pt x="74343" y="91214"/>
                  </a:cubicBezTo>
                  <a:lnTo>
                    <a:pt x="14869" y="0"/>
                  </a:lnTo>
                  <a:lnTo>
                    <a:pt x="14869" y="2624"/>
                  </a:lnTo>
                  <a:cubicBezTo>
                    <a:pt x="16393" y="7885"/>
                    <a:pt x="13769" y="13445"/>
                    <a:pt x="8746" y="15619"/>
                  </a:cubicBezTo>
                  <a:close/>
                </a:path>
              </a:pathLst>
            </a:custGeom>
            <a:solidFill>
              <a:srgbClr val="000000"/>
            </a:solidFill>
            <a:ln w="12483" cap="flat">
              <a:noFill/>
              <a:prstDash val="solid"/>
              <a:miter/>
            </a:ln>
          </p:spPr>
          <p:txBody>
            <a:bodyPr rtlCol="0" anchor="ctr"/>
            <a:lstStyle/>
            <a:p>
              <a:endParaRPr lang="en-US"/>
            </a:p>
          </p:txBody>
        </p:sp>
        <p:sp>
          <p:nvSpPr>
            <p:cNvPr id="1679" name="Freeform: Shape 1678">
              <a:extLst>
                <a:ext uri="{FF2B5EF4-FFF2-40B4-BE49-F238E27FC236}">
                  <a16:creationId xmlns:a16="http://schemas.microsoft.com/office/drawing/2014/main" id="{2C32621A-F191-4680-97A5-772AF7C9EE2D}"/>
                </a:ext>
              </a:extLst>
            </p:cNvPr>
            <p:cNvSpPr/>
            <p:nvPr/>
          </p:nvSpPr>
          <p:spPr>
            <a:xfrm>
              <a:off x="7307373" y="3615690"/>
              <a:ext cx="121285" cy="750445"/>
            </a:xfrm>
            <a:custGeom>
              <a:avLst/>
              <a:gdLst>
                <a:gd name="connsiteX0" fmla="*/ 10371 w 121285"/>
                <a:gd name="connsiteY0" fmla="*/ 12995 h 750445"/>
                <a:gd name="connsiteX1" fmla="*/ 63 w 121285"/>
                <a:gd name="connsiteY1" fmla="*/ 4948 h 750445"/>
                <a:gd name="connsiteX2" fmla="*/ 0 w 121285"/>
                <a:gd name="connsiteY2" fmla="*/ 4123 h 750445"/>
                <a:gd name="connsiteX3" fmla="*/ 1874 w 121285"/>
                <a:gd name="connsiteY3" fmla="*/ 17368 h 750445"/>
                <a:gd name="connsiteX4" fmla="*/ 104080 w 121285"/>
                <a:gd name="connsiteY4" fmla="*/ 742079 h 750445"/>
                <a:gd name="connsiteX5" fmla="*/ 104080 w 121285"/>
                <a:gd name="connsiteY5" fmla="*/ 742079 h 750445"/>
                <a:gd name="connsiteX6" fmla="*/ 104080 w 121285"/>
                <a:gd name="connsiteY6" fmla="*/ 743953 h 750445"/>
                <a:gd name="connsiteX7" fmla="*/ 104955 w 121285"/>
                <a:gd name="connsiteY7" fmla="*/ 745953 h 750445"/>
                <a:gd name="connsiteX8" fmla="*/ 113701 w 121285"/>
                <a:gd name="connsiteY8" fmla="*/ 750326 h 750445"/>
                <a:gd name="connsiteX9" fmla="*/ 121073 w 121285"/>
                <a:gd name="connsiteY9" fmla="*/ 737831 h 750445"/>
                <a:gd name="connsiteX10" fmla="*/ 121073 w 121285"/>
                <a:gd name="connsiteY10" fmla="*/ 735207 h 750445"/>
                <a:gd name="connsiteX11" fmla="*/ 17243 w 121285"/>
                <a:gd name="connsiteY11" fmla="*/ 0 h 750445"/>
                <a:gd name="connsiteX12" fmla="*/ 10371 w 121285"/>
                <a:gd name="connsiteY12" fmla="*/ 12995 h 75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285" h="750445">
                  <a:moveTo>
                    <a:pt x="10371" y="12995"/>
                  </a:moveTo>
                  <a:cubicBezTo>
                    <a:pt x="5298" y="13620"/>
                    <a:pt x="687" y="10021"/>
                    <a:pt x="63" y="4948"/>
                  </a:cubicBezTo>
                  <a:cubicBezTo>
                    <a:pt x="25" y="4673"/>
                    <a:pt x="13" y="4398"/>
                    <a:pt x="0" y="4123"/>
                  </a:cubicBezTo>
                  <a:lnTo>
                    <a:pt x="1874" y="17368"/>
                  </a:lnTo>
                  <a:lnTo>
                    <a:pt x="104080" y="742079"/>
                  </a:lnTo>
                  <a:cubicBezTo>
                    <a:pt x="104080" y="742079"/>
                    <a:pt x="104080" y="742079"/>
                    <a:pt x="104080" y="742079"/>
                  </a:cubicBezTo>
                  <a:cubicBezTo>
                    <a:pt x="104030" y="742704"/>
                    <a:pt x="104030" y="743329"/>
                    <a:pt x="104080" y="743953"/>
                  </a:cubicBezTo>
                  <a:cubicBezTo>
                    <a:pt x="104317" y="744641"/>
                    <a:pt x="104605" y="745315"/>
                    <a:pt x="104955" y="745953"/>
                  </a:cubicBezTo>
                  <a:cubicBezTo>
                    <a:pt x="106604" y="749164"/>
                    <a:pt x="110140" y="750938"/>
                    <a:pt x="113701" y="750326"/>
                  </a:cubicBezTo>
                  <a:cubicBezTo>
                    <a:pt x="118986" y="748652"/>
                    <a:pt x="122160" y="743266"/>
                    <a:pt x="121073" y="737831"/>
                  </a:cubicBezTo>
                  <a:lnTo>
                    <a:pt x="121073" y="735207"/>
                  </a:lnTo>
                  <a:lnTo>
                    <a:pt x="17243" y="0"/>
                  </a:lnTo>
                  <a:cubicBezTo>
                    <a:pt x="18742" y="5460"/>
                    <a:pt x="15731" y="11158"/>
                    <a:pt x="10371" y="12995"/>
                  </a:cubicBezTo>
                  <a:close/>
                </a:path>
              </a:pathLst>
            </a:custGeom>
            <a:solidFill>
              <a:srgbClr val="000000"/>
            </a:solidFill>
            <a:ln w="12483" cap="flat">
              <a:noFill/>
              <a:prstDash val="solid"/>
              <a:miter/>
            </a:ln>
          </p:spPr>
          <p:txBody>
            <a:bodyPr rtlCol="0" anchor="ctr"/>
            <a:lstStyle/>
            <a:p>
              <a:endParaRPr lang="en-US"/>
            </a:p>
          </p:txBody>
        </p:sp>
        <p:sp>
          <p:nvSpPr>
            <p:cNvPr id="1680" name="Freeform: Shape 1679">
              <a:extLst>
                <a:ext uri="{FF2B5EF4-FFF2-40B4-BE49-F238E27FC236}">
                  <a16:creationId xmlns:a16="http://schemas.microsoft.com/office/drawing/2014/main" id="{53E5B1A6-65BA-4F81-A8CA-A32DCCBC07C4}"/>
                </a:ext>
              </a:extLst>
            </p:cNvPr>
            <p:cNvSpPr/>
            <p:nvPr/>
          </p:nvSpPr>
          <p:spPr>
            <a:xfrm>
              <a:off x="11944744" y="1855267"/>
              <a:ext cx="67471" cy="76719"/>
            </a:xfrm>
            <a:custGeom>
              <a:avLst/>
              <a:gdLst>
                <a:gd name="connsiteX0" fmla="*/ 7247 w 67471"/>
                <a:gd name="connsiteY0" fmla="*/ 0 h 76719"/>
                <a:gd name="connsiteX1" fmla="*/ 6122 w 67471"/>
                <a:gd name="connsiteY1" fmla="*/ 0 h 76719"/>
                <a:gd name="connsiteX2" fmla="*/ 9871 w 67471"/>
                <a:gd name="connsiteY2" fmla="*/ 4873 h 76719"/>
                <a:gd name="connsiteX3" fmla="*/ 4998 w 67471"/>
                <a:gd name="connsiteY3" fmla="*/ 19117 h 76719"/>
                <a:gd name="connsiteX4" fmla="*/ 0 w 67471"/>
                <a:gd name="connsiteY4" fmla="*/ 21616 h 76719"/>
                <a:gd name="connsiteX5" fmla="*/ 56351 w 67471"/>
                <a:gd name="connsiteY5" fmla="*/ 76719 h 76719"/>
                <a:gd name="connsiteX6" fmla="*/ 54977 w 67471"/>
                <a:gd name="connsiteY6" fmla="*/ 61600 h 76719"/>
                <a:gd name="connsiteX7" fmla="*/ 65934 w 67471"/>
                <a:gd name="connsiteY7" fmla="*/ 58789 h 76719"/>
                <a:gd name="connsiteX8" fmla="*/ 67471 w 67471"/>
                <a:gd name="connsiteY8" fmla="*/ 59976 h 76719"/>
                <a:gd name="connsiteX9" fmla="*/ 64222 w 67471"/>
                <a:gd name="connsiteY9" fmla="*/ 56852 h 76719"/>
                <a:gd name="connsiteX10" fmla="*/ 61349 w 67471"/>
                <a:gd name="connsiteY10" fmla="*/ 53978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471" h="76719">
                  <a:moveTo>
                    <a:pt x="7247" y="0"/>
                  </a:moveTo>
                  <a:lnTo>
                    <a:pt x="6122" y="0"/>
                  </a:lnTo>
                  <a:cubicBezTo>
                    <a:pt x="7859" y="1187"/>
                    <a:pt x="9171" y="2886"/>
                    <a:pt x="9871" y="4873"/>
                  </a:cubicBezTo>
                  <a:cubicBezTo>
                    <a:pt x="11608" y="10171"/>
                    <a:pt x="9621" y="15994"/>
                    <a:pt x="4998" y="19117"/>
                  </a:cubicBezTo>
                  <a:lnTo>
                    <a:pt x="0" y="21616"/>
                  </a:lnTo>
                  <a:lnTo>
                    <a:pt x="56351" y="76719"/>
                  </a:lnTo>
                  <a:cubicBezTo>
                    <a:pt x="52528" y="72571"/>
                    <a:pt x="51965" y="66374"/>
                    <a:pt x="54977" y="61600"/>
                  </a:cubicBezTo>
                  <a:cubicBezTo>
                    <a:pt x="57225" y="57802"/>
                    <a:pt x="62136" y="56540"/>
                    <a:pt x="65934" y="58789"/>
                  </a:cubicBezTo>
                  <a:cubicBezTo>
                    <a:pt x="66497" y="59126"/>
                    <a:pt x="67009" y="59514"/>
                    <a:pt x="67471" y="59976"/>
                  </a:cubicBezTo>
                  <a:lnTo>
                    <a:pt x="64222" y="56852"/>
                  </a:lnTo>
                  <a:lnTo>
                    <a:pt x="61349" y="53978"/>
                  </a:lnTo>
                  <a:close/>
                </a:path>
              </a:pathLst>
            </a:custGeom>
            <a:solidFill>
              <a:srgbClr val="000000"/>
            </a:solidFill>
            <a:ln w="12483" cap="flat">
              <a:noFill/>
              <a:prstDash val="solid"/>
              <a:miter/>
            </a:ln>
          </p:spPr>
          <p:txBody>
            <a:bodyPr rtlCol="0" anchor="ctr"/>
            <a:lstStyle/>
            <a:p>
              <a:endParaRPr lang="en-US"/>
            </a:p>
          </p:txBody>
        </p:sp>
        <p:sp>
          <p:nvSpPr>
            <p:cNvPr id="1681" name="Freeform: Shape 1680">
              <a:extLst>
                <a:ext uri="{FF2B5EF4-FFF2-40B4-BE49-F238E27FC236}">
                  <a16:creationId xmlns:a16="http://schemas.microsoft.com/office/drawing/2014/main" id="{595BDC4C-2B2B-42BA-B503-C7B53E1BF047}"/>
                </a:ext>
              </a:extLst>
            </p:cNvPr>
            <p:cNvSpPr/>
            <p:nvPr/>
          </p:nvSpPr>
          <p:spPr>
            <a:xfrm>
              <a:off x="11998418" y="1912160"/>
              <a:ext cx="125920" cy="124659"/>
            </a:xfrm>
            <a:custGeom>
              <a:avLst/>
              <a:gdLst>
                <a:gd name="connsiteX0" fmla="*/ 1927 w 125920"/>
                <a:gd name="connsiteY0" fmla="*/ 4083 h 124659"/>
                <a:gd name="connsiteX1" fmla="*/ 3301 w 125920"/>
                <a:gd name="connsiteY1" fmla="*/ 19202 h 124659"/>
                <a:gd name="connsiteX2" fmla="*/ 109380 w 125920"/>
                <a:gd name="connsiteY2" fmla="*/ 123410 h 124659"/>
                <a:gd name="connsiteX3" fmla="*/ 110755 w 125920"/>
                <a:gd name="connsiteY3" fmla="*/ 124660 h 124659"/>
                <a:gd name="connsiteX4" fmla="*/ 110755 w 125920"/>
                <a:gd name="connsiteY4" fmla="*/ 118787 h 124659"/>
                <a:gd name="connsiteX5" fmla="*/ 120376 w 125920"/>
                <a:gd name="connsiteY5" fmla="*/ 109166 h 124659"/>
                <a:gd name="connsiteX6" fmla="*/ 120626 w 125920"/>
                <a:gd name="connsiteY6" fmla="*/ 109166 h 124659"/>
                <a:gd name="connsiteX7" fmla="*/ 125873 w 125920"/>
                <a:gd name="connsiteY7" fmla="*/ 112415 h 124659"/>
                <a:gd name="connsiteX8" fmla="*/ 125873 w 125920"/>
                <a:gd name="connsiteY8" fmla="*/ 111540 h 124659"/>
                <a:gd name="connsiteX9" fmla="*/ 14672 w 125920"/>
                <a:gd name="connsiteY9" fmla="*/ 2459 h 124659"/>
                <a:gd name="connsiteX10" fmla="*/ 3364 w 125920"/>
                <a:gd name="connsiteY10" fmla="*/ 2221 h 124659"/>
                <a:gd name="connsiteX11" fmla="*/ 1927 w 125920"/>
                <a:gd name="connsiteY11" fmla="*/ 4083 h 124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0" h="124659">
                  <a:moveTo>
                    <a:pt x="1927" y="4083"/>
                  </a:moveTo>
                  <a:cubicBezTo>
                    <a:pt x="-1084" y="8856"/>
                    <a:pt x="-522" y="15054"/>
                    <a:pt x="3301" y="19202"/>
                  </a:cubicBezTo>
                  <a:lnTo>
                    <a:pt x="109380" y="123410"/>
                  </a:lnTo>
                  <a:lnTo>
                    <a:pt x="110755" y="124660"/>
                  </a:lnTo>
                  <a:lnTo>
                    <a:pt x="110755" y="118787"/>
                  </a:lnTo>
                  <a:cubicBezTo>
                    <a:pt x="110755" y="113477"/>
                    <a:pt x="115066" y="109166"/>
                    <a:pt x="120376" y="109166"/>
                  </a:cubicBezTo>
                  <a:cubicBezTo>
                    <a:pt x="120463" y="109166"/>
                    <a:pt x="120538" y="109166"/>
                    <a:pt x="120626" y="109166"/>
                  </a:cubicBezTo>
                  <a:cubicBezTo>
                    <a:pt x="122750" y="109491"/>
                    <a:pt x="124636" y="110665"/>
                    <a:pt x="125873" y="112415"/>
                  </a:cubicBezTo>
                  <a:cubicBezTo>
                    <a:pt x="125936" y="112127"/>
                    <a:pt x="125936" y="111827"/>
                    <a:pt x="125873" y="111540"/>
                  </a:cubicBezTo>
                  <a:lnTo>
                    <a:pt x="14672" y="2459"/>
                  </a:lnTo>
                  <a:cubicBezTo>
                    <a:pt x="11611" y="-728"/>
                    <a:pt x="6550" y="-828"/>
                    <a:pt x="3364" y="2221"/>
                  </a:cubicBezTo>
                  <a:cubicBezTo>
                    <a:pt x="2802" y="2771"/>
                    <a:pt x="2315" y="3396"/>
                    <a:pt x="1927" y="4083"/>
                  </a:cubicBezTo>
                  <a:close/>
                </a:path>
              </a:pathLst>
            </a:custGeom>
            <a:solidFill>
              <a:srgbClr val="000000"/>
            </a:solidFill>
            <a:ln w="12483" cap="flat">
              <a:noFill/>
              <a:prstDash val="solid"/>
              <a:miter/>
            </a:ln>
          </p:spPr>
          <p:txBody>
            <a:bodyPr rtlCol="0" anchor="ctr"/>
            <a:lstStyle/>
            <a:p>
              <a:endParaRPr lang="en-US"/>
            </a:p>
          </p:txBody>
        </p:sp>
        <p:sp>
          <p:nvSpPr>
            <p:cNvPr id="1682" name="Freeform: Shape 1681">
              <a:extLst>
                <a:ext uri="{FF2B5EF4-FFF2-40B4-BE49-F238E27FC236}">
                  <a16:creationId xmlns:a16="http://schemas.microsoft.com/office/drawing/2014/main" id="{808D9442-565A-4832-A4CE-3A9DD675C0BB}"/>
                </a:ext>
              </a:extLst>
            </p:cNvPr>
            <p:cNvSpPr/>
            <p:nvPr/>
          </p:nvSpPr>
          <p:spPr>
            <a:xfrm>
              <a:off x="9135161" y="2648576"/>
              <a:ext cx="25923" cy="192423"/>
            </a:xfrm>
            <a:custGeom>
              <a:avLst/>
              <a:gdLst>
                <a:gd name="connsiteX0" fmla="*/ 16415 w 25923"/>
                <a:gd name="connsiteY0" fmla="*/ 181303 h 192423"/>
                <a:gd name="connsiteX1" fmla="*/ 25923 w 25923"/>
                <a:gd name="connsiteY1" fmla="*/ 191036 h 192423"/>
                <a:gd name="connsiteX2" fmla="*/ 25911 w 25923"/>
                <a:gd name="connsiteY2" fmla="*/ 191424 h 192423"/>
                <a:gd name="connsiteX3" fmla="*/ 17290 w 25923"/>
                <a:gd name="connsiteY3" fmla="*/ 17993 h 192423"/>
                <a:gd name="connsiteX4" fmla="*/ 17290 w 25923"/>
                <a:gd name="connsiteY4" fmla="*/ 10121 h 192423"/>
                <a:gd name="connsiteX5" fmla="*/ 7931 w 25923"/>
                <a:gd name="connsiteY5" fmla="*/ 0 h 192423"/>
                <a:gd name="connsiteX6" fmla="*/ 7793 w 25923"/>
                <a:gd name="connsiteY6" fmla="*/ 0 h 192423"/>
                <a:gd name="connsiteX7" fmla="*/ 4670 w 25923"/>
                <a:gd name="connsiteY7" fmla="*/ 1000 h 192423"/>
                <a:gd name="connsiteX8" fmla="*/ 2921 w 25923"/>
                <a:gd name="connsiteY8" fmla="*/ 2374 h 192423"/>
                <a:gd name="connsiteX9" fmla="*/ 1796 w 25923"/>
                <a:gd name="connsiteY9" fmla="*/ 3374 h 192423"/>
                <a:gd name="connsiteX10" fmla="*/ 797 w 25923"/>
                <a:gd name="connsiteY10" fmla="*/ 5248 h 192423"/>
                <a:gd name="connsiteX11" fmla="*/ 47 w 25923"/>
                <a:gd name="connsiteY11" fmla="*/ 6872 h 192423"/>
                <a:gd name="connsiteX12" fmla="*/ 47 w 25923"/>
                <a:gd name="connsiteY12" fmla="*/ 8746 h 192423"/>
                <a:gd name="connsiteX13" fmla="*/ 47 w 25923"/>
                <a:gd name="connsiteY13" fmla="*/ 11121 h 192423"/>
                <a:gd name="connsiteX14" fmla="*/ 47 w 25923"/>
                <a:gd name="connsiteY14" fmla="*/ 11121 h 192423"/>
                <a:gd name="connsiteX15" fmla="*/ 8793 w 25923"/>
                <a:gd name="connsiteY15" fmla="*/ 184676 h 192423"/>
                <a:gd name="connsiteX16" fmla="*/ 8793 w 25923"/>
                <a:gd name="connsiteY16" fmla="*/ 192423 h 192423"/>
                <a:gd name="connsiteX17" fmla="*/ 16415 w 25923"/>
                <a:gd name="connsiteY17" fmla="*/ 181303 h 19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3" h="192423">
                  <a:moveTo>
                    <a:pt x="16415" y="181303"/>
                  </a:moveTo>
                  <a:cubicBezTo>
                    <a:pt x="21725" y="181365"/>
                    <a:pt x="25986" y="185726"/>
                    <a:pt x="25923" y="191036"/>
                  </a:cubicBezTo>
                  <a:cubicBezTo>
                    <a:pt x="25923" y="191161"/>
                    <a:pt x="25923" y="191299"/>
                    <a:pt x="25911" y="191424"/>
                  </a:cubicBezTo>
                  <a:lnTo>
                    <a:pt x="17290" y="17993"/>
                  </a:lnTo>
                  <a:lnTo>
                    <a:pt x="17290" y="10121"/>
                  </a:lnTo>
                  <a:cubicBezTo>
                    <a:pt x="17502" y="4748"/>
                    <a:pt x="13304" y="212"/>
                    <a:pt x="7931" y="0"/>
                  </a:cubicBezTo>
                  <a:cubicBezTo>
                    <a:pt x="7881" y="0"/>
                    <a:pt x="7843" y="0"/>
                    <a:pt x="7793" y="0"/>
                  </a:cubicBezTo>
                  <a:cubicBezTo>
                    <a:pt x="6706" y="137"/>
                    <a:pt x="5644" y="475"/>
                    <a:pt x="4670" y="1000"/>
                  </a:cubicBezTo>
                  <a:lnTo>
                    <a:pt x="2921" y="2374"/>
                  </a:lnTo>
                  <a:lnTo>
                    <a:pt x="1796" y="3374"/>
                  </a:lnTo>
                  <a:cubicBezTo>
                    <a:pt x="1796" y="3374"/>
                    <a:pt x="1171" y="4623"/>
                    <a:pt x="797" y="5248"/>
                  </a:cubicBezTo>
                  <a:cubicBezTo>
                    <a:pt x="472" y="5748"/>
                    <a:pt x="222" y="6297"/>
                    <a:pt x="47" y="6872"/>
                  </a:cubicBezTo>
                  <a:cubicBezTo>
                    <a:pt x="-16" y="7497"/>
                    <a:pt x="-16" y="8122"/>
                    <a:pt x="47" y="8746"/>
                  </a:cubicBezTo>
                  <a:cubicBezTo>
                    <a:pt x="-16" y="9534"/>
                    <a:pt x="-16" y="10333"/>
                    <a:pt x="47" y="11121"/>
                  </a:cubicBezTo>
                  <a:cubicBezTo>
                    <a:pt x="47" y="11121"/>
                    <a:pt x="47" y="11121"/>
                    <a:pt x="47" y="11121"/>
                  </a:cubicBezTo>
                  <a:lnTo>
                    <a:pt x="8793" y="184676"/>
                  </a:lnTo>
                  <a:lnTo>
                    <a:pt x="8793" y="192423"/>
                  </a:lnTo>
                  <a:cubicBezTo>
                    <a:pt x="8193" y="187325"/>
                    <a:pt x="11454" y="182577"/>
                    <a:pt x="16415" y="181303"/>
                  </a:cubicBezTo>
                  <a:close/>
                </a:path>
              </a:pathLst>
            </a:custGeom>
            <a:solidFill>
              <a:srgbClr val="000000"/>
            </a:solidFill>
            <a:ln w="12483" cap="flat">
              <a:noFill/>
              <a:prstDash val="solid"/>
              <a:miter/>
            </a:ln>
          </p:spPr>
          <p:txBody>
            <a:bodyPr rtlCol="0" anchor="ctr"/>
            <a:lstStyle/>
            <a:p>
              <a:endParaRPr lang="en-US"/>
            </a:p>
          </p:txBody>
        </p:sp>
        <p:sp>
          <p:nvSpPr>
            <p:cNvPr id="1683" name="Freeform: Shape 1682">
              <a:extLst>
                <a:ext uri="{FF2B5EF4-FFF2-40B4-BE49-F238E27FC236}">
                  <a16:creationId xmlns:a16="http://schemas.microsoft.com/office/drawing/2014/main" id="{E97AE4AA-CE52-43DF-BE47-2A689143340C}"/>
                </a:ext>
              </a:extLst>
            </p:cNvPr>
            <p:cNvSpPr/>
            <p:nvPr/>
          </p:nvSpPr>
          <p:spPr>
            <a:xfrm>
              <a:off x="9142981" y="2829878"/>
              <a:ext cx="53707" cy="729708"/>
            </a:xfrm>
            <a:custGeom>
              <a:avLst/>
              <a:gdLst>
                <a:gd name="connsiteX0" fmla="*/ 41831 w 53707"/>
                <a:gd name="connsiteY0" fmla="*/ 720088 h 729708"/>
                <a:gd name="connsiteX1" fmla="*/ 53064 w 53707"/>
                <a:gd name="connsiteY1" fmla="*/ 724349 h 729708"/>
                <a:gd name="connsiteX2" fmla="*/ 53576 w 53707"/>
                <a:gd name="connsiteY2" fmla="*/ 725836 h 729708"/>
                <a:gd name="connsiteX3" fmla="*/ 53576 w 53707"/>
                <a:gd name="connsiteY3" fmla="*/ 729709 h 729708"/>
                <a:gd name="connsiteX4" fmla="*/ 53576 w 53707"/>
                <a:gd name="connsiteY4" fmla="*/ 727585 h 729708"/>
                <a:gd name="connsiteX5" fmla="*/ 53576 w 53707"/>
                <a:gd name="connsiteY5" fmla="*/ 723461 h 729708"/>
                <a:gd name="connsiteX6" fmla="*/ 17966 w 53707"/>
                <a:gd name="connsiteY6" fmla="*/ 10121 h 729708"/>
                <a:gd name="connsiteX7" fmla="*/ 8858 w 53707"/>
                <a:gd name="connsiteY7" fmla="*/ 13 h 729708"/>
                <a:gd name="connsiteX8" fmla="*/ 8470 w 53707"/>
                <a:gd name="connsiteY8" fmla="*/ 0 h 729708"/>
                <a:gd name="connsiteX9" fmla="*/ 99 w 53707"/>
                <a:gd name="connsiteY9" fmla="*/ 11495 h 729708"/>
                <a:gd name="connsiteX10" fmla="*/ 849 w 53707"/>
                <a:gd name="connsiteY10" fmla="*/ 26489 h 729708"/>
                <a:gd name="connsiteX11" fmla="*/ 35584 w 53707"/>
                <a:gd name="connsiteY11" fmla="*/ 723087 h 72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07" h="729708">
                  <a:moveTo>
                    <a:pt x="41831" y="720088"/>
                  </a:moveTo>
                  <a:cubicBezTo>
                    <a:pt x="46104" y="718164"/>
                    <a:pt x="51140" y="720075"/>
                    <a:pt x="53064" y="724349"/>
                  </a:cubicBezTo>
                  <a:cubicBezTo>
                    <a:pt x="53276" y="724824"/>
                    <a:pt x="53451" y="725323"/>
                    <a:pt x="53576" y="725836"/>
                  </a:cubicBezTo>
                  <a:cubicBezTo>
                    <a:pt x="53751" y="727123"/>
                    <a:pt x="53751" y="728422"/>
                    <a:pt x="53576" y="729709"/>
                  </a:cubicBezTo>
                  <a:lnTo>
                    <a:pt x="53576" y="727585"/>
                  </a:lnTo>
                  <a:lnTo>
                    <a:pt x="53576" y="723461"/>
                  </a:lnTo>
                  <a:lnTo>
                    <a:pt x="17966" y="10121"/>
                  </a:lnTo>
                  <a:cubicBezTo>
                    <a:pt x="18241" y="4811"/>
                    <a:pt x="14168" y="287"/>
                    <a:pt x="8858" y="13"/>
                  </a:cubicBezTo>
                  <a:cubicBezTo>
                    <a:pt x="8733" y="0"/>
                    <a:pt x="8595" y="0"/>
                    <a:pt x="8470" y="0"/>
                  </a:cubicBezTo>
                  <a:cubicBezTo>
                    <a:pt x="3048" y="962"/>
                    <a:pt x="-663" y="6035"/>
                    <a:pt x="99" y="11495"/>
                  </a:cubicBezTo>
                  <a:lnTo>
                    <a:pt x="849" y="26489"/>
                  </a:lnTo>
                  <a:lnTo>
                    <a:pt x="35584" y="723087"/>
                  </a:lnTo>
                  <a:close/>
                </a:path>
              </a:pathLst>
            </a:custGeom>
            <a:solidFill>
              <a:srgbClr val="000000"/>
            </a:solidFill>
            <a:ln w="12483" cap="flat">
              <a:noFill/>
              <a:prstDash val="solid"/>
              <a:miter/>
            </a:ln>
          </p:spPr>
          <p:txBody>
            <a:bodyPr rtlCol="0" anchor="ctr"/>
            <a:lstStyle/>
            <a:p>
              <a:endParaRPr lang="en-US"/>
            </a:p>
          </p:txBody>
        </p:sp>
        <p:sp>
          <p:nvSpPr>
            <p:cNvPr id="1684" name="Freeform: Shape 1683">
              <a:extLst>
                <a:ext uri="{FF2B5EF4-FFF2-40B4-BE49-F238E27FC236}">
                  <a16:creationId xmlns:a16="http://schemas.microsoft.com/office/drawing/2014/main" id="{FD96AAF4-59BF-45C1-A077-F64F93427109}"/>
                </a:ext>
              </a:extLst>
            </p:cNvPr>
            <p:cNvSpPr/>
            <p:nvPr/>
          </p:nvSpPr>
          <p:spPr>
            <a:xfrm>
              <a:off x="9082106" y="3549465"/>
              <a:ext cx="114839" cy="73097"/>
            </a:xfrm>
            <a:custGeom>
              <a:avLst/>
              <a:gdLst>
                <a:gd name="connsiteX0" fmla="*/ 11745 w 114839"/>
                <a:gd name="connsiteY0" fmla="*/ 58853 h 73097"/>
                <a:gd name="connsiteX1" fmla="*/ 7122 w 114839"/>
                <a:gd name="connsiteY1" fmla="*/ 73098 h 73097"/>
                <a:gd name="connsiteX2" fmla="*/ 109703 w 114839"/>
                <a:gd name="connsiteY2" fmla="*/ 20493 h 73097"/>
                <a:gd name="connsiteX3" fmla="*/ 109703 w 114839"/>
                <a:gd name="connsiteY3" fmla="*/ 20493 h 73097"/>
                <a:gd name="connsiteX4" fmla="*/ 111327 w 114839"/>
                <a:gd name="connsiteY4" fmla="*/ 19119 h 73097"/>
                <a:gd name="connsiteX5" fmla="*/ 112576 w 114839"/>
                <a:gd name="connsiteY5" fmla="*/ 17994 h 73097"/>
                <a:gd name="connsiteX6" fmla="*/ 113576 w 114839"/>
                <a:gd name="connsiteY6" fmla="*/ 16245 h 73097"/>
                <a:gd name="connsiteX7" fmla="*/ 114451 w 114839"/>
                <a:gd name="connsiteY7" fmla="*/ 14496 h 73097"/>
                <a:gd name="connsiteX8" fmla="*/ 114451 w 114839"/>
                <a:gd name="connsiteY8" fmla="*/ 12622 h 73097"/>
                <a:gd name="connsiteX9" fmla="*/ 114451 w 114839"/>
                <a:gd name="connsiteY9" fmla="*/ 10372 h 73097"/>
                <a:gd name="connsiteX10" fmla="*/ 114451 w 114839"/>
                <a:gd name="connsiteY10" fmla="*/ 6499 h 73097"/>
                <a:gd name="connsiteX11" fmla="*/ 104192 w 114839"/>
                <a:gd name="connsiteY11" fmla="*/ 239 h 73097"/>
                <a:gd name="connsiteX12" fmla="*/ 102706 w 114839"/>
                <a:gd name="connsiteY12" fmla="*/ 751 h 73097"/>
                <a:gd name="connsiteX13" fmla="*/ 96833 w 114839"/>
                <a:gd name="connsiteY13" fmla="*/ 3750 h 73097"/>
                <a:gd name="connsiteX14" fmla="*/ 0 w 114839"/>
                <a:gd name="connsiteY14" fmla="*/ 53730 h 73097"/>
                <a:gd name="connsiteX15" fmla="*/ 11220 w 114839"/>
                <a:gd name="connsiteY15" fmla="*/ 57516 h 73097"/>
                <a:gd name="connsiteX16" fmla="*/ 11745 w 114839"/>
                <a:gd name="connsiteY16" fmla="*/ 58853 h 7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839" h="73097">
                  <a:moveTo>
                    <a:pt x="11745" y="58853"/>
                  </a:moveTo>
                  <a:cubicBezTo>
                    <a:pt x="13819" y="64101"/>
                    <a:pt x="11882" y="70074"/>
                    <a:pt x="7122" y="73098"/>
                  </a:cubicBezTo>
                  <a:lnTo>
                    <a:pt x="109703" y="20493"/>
                  </a:lnTo>
                  <a:lnTo>
                    <a:pt x="109703" y="20493"/>
                  </a:lnTo>
                  <a:cubicBezTo>
                    <a:pt x="110302" y="20106"/>
                    <a:pt x="110840" y="19644"/>
                    <a:pt x="111327" y="19119"/>
                  </a:cubicBezTo>
                  <a:cubicBezTo>
                    <a:pt x="111802" y="18807"/>
                    <a:pt x="112226" y="18432"/>
                    <a:pt x="112576" y="17994"/>
                  </a:cubicBezTo>
                  <a:cubicBezTo>
                    <a:pt x="112576" y="17994"/>
                    <a:pt x="113201" y="16870"/>
                    <a:pt x="113576" y="16245"/>
                  </a:cubicBezTo>
                  <a:cubicBezTo>
                    <a:pt x="113951" y="15620"/>
                    <a:pt x="113576" y="15121"/>
                    <a:pt x="114451" y="14496"/>
                  </a:cubicBezTo>
                  <a:cubicBezTo>
                    <a:pt x="115325" y="13871"/>
                    <a:pt x="114451" y="13246"/>
                    <a:pt x="114451" y="12622"/>
                  </a:cubicBezTo>
                  <a:cubicBezTo>
                    <a:pt x="114513" y="11872"/>
                    <a:pt x="114513" y="11122"/>
                    <a:pt x="114451" y="10372"/>
                  </a:cubicBezTo>
                  <a:cubicBezTo>
                    <a:pt x="114626" y="9086"/>
                    <a:pt x="114626" y="7786"/>
                    <a:pt x="114451" y="6499"/>
                  </a:cubicBezTo>
                  <a:cubicBezTo>
                    <a:pt x="113351" y="1938"/>
                    <a:pt x="108753" y="-861"/>
                    <a:pt x="104192" y="239"/>
                  </a:cubicBezTo>
                  <a:cubicBezTo>
                    <a:pt x="103680" y="364"/>
                    <a:pt x="103180" y="539"/>
                    <a:pt x="102706" y="751"/>
                  </a:cubicBezTo>
                  <a:lnTo>
                    <a:pt x="96833" y="3750"/>
                  </a:lnTo>
                  <a:lnTo>
                    <a:pt x="0" y="53730"/>
                  </a:lnTo>
                  <a:cubicBezTo>
                    <a:pt x="4148" y="51681"/>
                    <a:pt x="9171" y="53368"/>
                    <a:pt x="11220" y="57516"/>
                  </a:cubicBezTo>
                  <a:cubicBezTo>
                    <a:pt x="11433" y="57941"/>
                    <a:pt x="11607" y="58391"/>
                    <a:pt x="11745" y="58853"/>
                  </a:cubicBezTo>
                  <a:close/>
                </a:path>
              </a:pathLst>
            </a:custGeom>
            <a:solidFill>
              <a:srgbClr val="000000"/>
            </a:solidFill>
            <a:ln w="12483" cap="flat">
              <a:noFill/>
              <a:prstDash val="solid"/>
              <a:miter/>
            </a:ln>
          </p:spPr>
          <p:txBody>
            <a:bodyPr rtlCol="0" anchor="ctr"/>
            <a:lstStyle/>
            <a:p>
              <a:endParaRPr lang="en-US"/>
            </a:p>
          </p:txBody>
        </p:sp>
        <p:sp>
          <p:nvSpPr>
            <p:cNvPr id="1685" name="Freeform: Shape 1684">
              <a:extLst>
                <a:ext uri="{FF2B5EF4-FFF2-40B4-BE49-F238E27FC236}">
                  <a16:creationId xmlns:a16="http://schemas.microsoft.com/office/drawing/2014/main" id="{F521BF0A-A50A-43C7-BA87-19FC2D204A69}"/>
                </a:ext>
              </a:extLst>
            </p:cNvPr>
            <p:cNvSpPr/>
            <p:nvPr/>
          </p:nvSpPr>
          <p:spPr>
            <a:xfrm>
              <a:off x="9024381" y="3601753"/>
              <a:ext cx="70171" cy="47299"/>
            </a:xfrm>
            <a:custGeom>
              <a:avLst/>
              <a:gdLst>
                <a:gd name="connsiteX0" fmla="*/ 0 w 70171"/>
                <a:gd name="connsiteY0" fmla="*/ 30556 h 47299"/>
                <a:gd name="connsiteX1" fmla="*/ 0 w 70171"/>
                <a:gd name="connsiteY1" fmla="*/ 30556 h 47299"/>
                <a:gd name="connsiteX2" fmla="*/ 3124 w 70171"/>
                <a:gd name="connsiteY2" fmla="*/ 29556 h 47299"/>
                <a:gd name="connsiteX3" fmla="*/ 12744 w 70171"/>
                <a:gd name="connsiteY3" fmla="*/ 39427 h 47299"/>
                <a:gd name="connsiteX4" fmla="*/ 12744 w 70171"/>
                <a:gd name="connsiteY4" fmla="*/ 39552 h 47299"/>
                <a:gd name="connsiteX5" fmla="*/ 12744 w 70171"/>
                <a:gd name="connsiteY5" fmla="*/ 47299 h 47299"/>
                <a:gd name="connsiteX6" fmla="*/ 64722 w 70171"/>
                <a:gd name="connsiteY6" fmla="*/ 20685 h 47299"/>
                <a:gd name="connsiteX7" fmla="*/ 69345 w 70171"/>
                <a:gd name="connsiteY7" fmla="*/ 6440 h 47299"/>
                <a:gd name="connsiteX8" fmla="*/ 59262 w 70171"/>
                <a:gd name="connsiteY8" fmla="*/ 230 h 47299"/>
                <a:gd name="connsiteX9" fmla="*/ 57600 w 70171"/>
                <a:gd name="connsiteY9" fmla="*/ 818 h 47299"/>
                <a:gd name="connsiteX10" fmla="*/ 56226 w 70171"/>
                <a:gd name="connsiteY10" fmla="*/ 818 h 47299"/>
                <a:gd name="connsiteX11" fmla="*/ 53102 w 70171"/>
                <a:gd name="connsiteY11" fmla="*/ 2442 h 4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171" h="47299">
                  <a:moveTo>
                    <a:pt x="0" y="30556"/>
                  </a:moveTo>
                  <a:lnTo>
                    <a:pt x="0" y="30556"/>
                  </a:lnTo>
                  <a:cubicBezTo>
                    <a:pt x="975" y="30031"/>
                    <a:pt x="2037" y="29694"/>
                    <a:pt x="3124" y="29556"/>
                  </a:cubicBezTo>
                  <a:cubicBezTo>
                    <a:pt x="8509" y="29619"/>
                    <a:pt x="12819" y="34042"/>
                    <a:pt x="12744" y="39427"/>
                  </a:cubicBezTo>
                  <a:cubicBezTo>
                    <a:pt x="12744" y="39465"/>
                    <a:pt x="12744" y="39515"/>
                    <a:pt x="12744" y="39552"/>
                  </a:cubicBezTo>
                  <a:lnTo>
                    <a:pt x="12744" y="47299"/>
                  </a:lnTo>
                  <a:lnTo>
                    <a:pt x="64722" y="20685"/>
                  </a:lnTo>
                  <a:cubicBezTo>
                    <a:pt x="69483" y="17661"/>
                    <a:pt x="71419" y="11688"/>
                    <a:pt x="69345" y="6440"/>
                  </a:cubicBezTo>
                  <a:cubicBezTo>
                    <a:pt x="68270" y="1942"/>
                    <a:pt x="63760" y="-844"/>
                    <a:pt x="59262" y="230"/>
                  </a:cubicBezTo>
                  <a:cubicBezTo>
                    <a:pt x="58687" y="368"/>
                    <a:pt x="58137" y="568"/>
                    <a:pt x="57600" y="818"/>
                  </a:cubicBezTo>
                  <a:lnTo>
                    <a:pt x="56226" y="818"/>
                  </a:lnTo>
                  <a:lnTo>
                    <a:pt x="53102" y="2442"/>
                  </a:lnTo>
                  <a:close/>
                </a:path>
              </a:pathLst>
            </a:custGeom>
            <a:solidFill>
              <a:srgbClr val="000000"/>
            </a:solidFill>
            <a:ln w="12483" cap="flat">
              <a:noFill/>
              <a:prstDash val="solid"/>
              <a:miter/>
            </a:ln>
          </p:spPr>
          <p:txBody>
            <a:bodyPr rtlCol="0" anchor="ctr"/>
            <a:lstStyle/>
            <a:p>
              <a:endParaRPr lang="en-US"/>
            </a:p>
          </p:txBody>
        </p:sp>
        <p:sp>
          <p:nvSpPr>
            <p:cNvPr id="1686" name="Freeform: Shape 1685">
              <a:extLst>
                <a:ext uri="{FF2B5EF4-FFF2-40B4-BE49-F238E27FC236}">
                  <a16:creationId xmlns:a16="http://schemas.microsoft.com/office/drawing/2014/main" id="{A2C7D908-40F6-4B48-83EE-4FE55B0BED13}"/>
                </a:ext>
              </a:extLst>
            </p:cNvPr>
            <p:cNvSpPr/>
            <p:nvPr/>
          </p:nvSpPr>
          <p:spPr>
            <a:xfrm>
              <a:off x="9788988" y="4152476"/>
              <a:ext cx="43418" cy="37239"/>
            </a:xfrm>
            <a:custGeom>
              <a:avLst/>
              <a:gdLst>
                <a:gd name="connsiteX0" fmla="*/ 12307 w 43418"/>
                <a:gd name="connsiteY0" fmla="*/ 36611 h 37239"/>
                <a:gd name="connsiteX1" fmla="*/ 13557 w 43418"/>
                <a:gd name="connsiteY1" fmla="*/ 35861 h 37239"/>
                <a:gd name="connsiteX2" fmla="*/ 16680 w 43418"/>
                <a:gd name="connsiteY2" fmla="*/ 34237 h 37239"/>
                <a:gd name="connsiteX3" fmla="*/ 17805 w 43418"/>
                <a:gd name="connsiteY3" fmla="*/ 33612 h 37239"/>
                <a:gd name="connsiteX4" fmla="*/ 43419 w 43418"/>
                <a:gd name="connsiteY4" fmla="*/ 19742 h 37239"/>
                <a:gd name="connsiteX5" fmla="*/ 32186 w 43418"/>
                <a:gd name="connsiteY5" fmla="*/ 15994 h 37239"/>
                <a:gd name="connsiteX6" fmla="*/ 31549 w 43418"/>
                <a:gd name="connsiteY6" fmla="*/ 14245 h 37239"/>
                <a:gd name="connsiteX7" fmla="*/ 36047 w 43418"/>
                <a:gd name="connsiteY7" fmla="*/ 0 h 37239"/>
                <a:gd name="connsiteX8" fmla="*/ 34673 w 43418"/>
                <a:gd name="connsiteY8" fmla="*/ 750 h 37239"/>
                <a:gd name="connsiteX9" fmla="*/ 31674 w 43418"/>
                <a:gd name="connsiteY9" fmla="*/ 2374 h 37239"/>
                <a:gd name="connsiteX10" fmla="*/ 4935 w 43418"/>
                <a:gd name="connsiteY10" fmla="*/ 16743 h 37239"/>
                <a:gd name="connsiteX11" fmla="*/ 4935 w 43418"/>
                <a:gd name="connsiteY11" fmla="*/ 16743 h 37239"/>
                <a:gd name="connsiteX12" fmla="*/ 2061 w 43418"/>
                <a:gd name="connsiteY12" fmla="*/ 19242 h 37239"/>
                <a:gd name="connsiteX13" fmla="*/ 1187 w 43418"/>
                <a:gd name="connsiteY13" fmla="*/ 20992 h 37239"/>
                <a:gd name="connsiteX14" fmla="*/ 187 w 43418"/>
                <a:gd name="connsiteY14" fmla="*/ 22741 h 37239"/>
                <a:gd name="connsiteX15" fmla="*/ 187 w 43418"/>
                <a:gd name="connsiteY15" fmla="*/ 26865 h 37239"/>
                <a:gd name="connsiteX16" fmla="*/ 937 w 43418"/>
                <a:gd name="connsiteY16" fmla="*/ 31113 h 37239"/>
                <a:gd name="connsiteX17" fmla="*/ 11470 w 43418"/>
                <a:gd name="connsiteY17" fmla="*/ 36898 h 37239"/>
                <a:gd name="connsiteX18" fmla="*/ 12307 w 43418"/>
                <a:gd name="connsiteY18" fmla="*/ 36611 h 3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418" h="37239">
                  <a:moveTo>
                    <a:pt x="12307" y="36611"/>
                  </a:moveTo>
                  <a:lnTo>
                    <a:pt x="13557" y="35861"/>
                  </a:lnTo>
                  <a:lnTo>
                    <a:pt x="16680" y="34237"/>
                  </a:lnTo>
                  <a:lnTo>
                    <a:pt x="17805" y="33612"/>
                  </a:lnTo>
                  <a:lnTo>
                    <a:pt x="43419" y="19742"/>
                  </a:lnTo>
                  <a:cubicBezTo>
                    <a:pt x="39283" y="21804"/>
                    <a:pt x="34260" y="20130"/>
                    <a:pt x="32186" y="15994"/>
                  </a:cubicBezTo>
                  <a:cubicBezTo>
                    <a:pt x="31911" y="15432"/>
                    <a:pt x="31699" y="14844"/>
                    <a:pt x="31549" y="14245"/>
                  </a:cubicBezTo>
                  <a:cubicBezTo>
                    <a:pt x="29450" y="9034"/>
                    <a:pt x="31337" y="3061"/>
                    <a:pt x="36047" y="0"/>
                  </a:cubicBezTo>
                  <a:lnTo>
                    <a:pt x="34673" y="750"/>
                  </a:lnTo>
                  <a:lnTo>
                    <a:pt x="31674" y="2374"/>
                  </a:lnTo>
                  <a:lnTo>
                    <a:pt x="4935" y="16743"/>
                  </a:lnTo>
                  <a:lnTo>
                    <a:pt x="4935" y="16743"/>
                  </a:lnTo>
                  <a:cubicBezTo>
                    <a:pt x="3836" y="17406"/>
                    <a:pt x="2861" y="18243"/>
                    <a:pt x="2061" y="19242"/>
                  </a:cubicBezTo>
                  <a:cubicBezTo>
                    <a:pt x="1699" y="19780"/>
                    <a:pt x="1399" y="20380"/>
                    <a:pt x="1187" y="20992"/>
                  </a:cubicBezTo>
                  <a:cubicBezTo>
                    <a:pt x="812" y="21541"/>
                    <a:pt x="475" y="22129"/>
                    <a:pt x="187" y="22741"/>
                  </a:cubicBezTo>
                  <a:cubicBezTo>
                    <a:pt x="-62" y="24103"/>
                    <a:pt x="-62" y="25503"/>
                    <a:pt x="187" y="26865"/>
                  </a:cubicBezTo>
                  <a:cubicBezTo>
                    <a:pt x="187" y="28314"/>
                    <a:pt x="437" y="29751"/>
                    <a:pt x="937" y="31113"/>
                  </a:cubicBezTo>
                  <a:cubicBezTo>
                    <a:pt x="2249" y="35623"/>
                    <a:pt x="6959" y="38210"/>
                    <a:pt x="11470" y="36898"/>
                  </a:cubicBezTo>
                  <a:cubicBezTo>
                    <a:pt x="11745" y="36823"/>
                    <a:pt x="12032" y="36723"/>
                    <a:pt x="12307" y="36611"/>
                  </a:cubicBezTo>
                  <a:close/>
                </a:path>
              </a:pathLst>
            </a:custGeom>
            <a:solidFill>
              <a:srgbClr val="000000"/>
            </a:solidFill>
            <a:ln w="12483" cap="flat">
              <a:noFill/>
              <a:prstDash val="solid"/>
              <a:miter/>
            </a:ln>
          </p:spPr>
          <p:txBody>
            <a:bodyPr rtlCol="0" anchor="ctr"/>
            <a:lstStyle/>
            <a:p>
              <a:endParaRPr lang="en-US"/>
            </a:p>
          </p:txBody>
        </p:sp>
        <p:sp>
          <p:nvSpPr>
            <p:cNvPr id="1687" name="Freeform: Shape 1686">
              <a:extLst>
                <a:ext uri="{FF2B5EF4-FFF2-40B4-BE49-F238E27FC236}">
                  <a16:creationId xmlns:a16="http://schemas.microsoft.com/office/drawing/2014/main" id="{6C1DC86B-C548-44F4-A9F0-9D0B98E183FA}"/>
                </a:ext>
              </a:extLst>
            </p:cNvPr>
            <p:cNvSpPr/>
            <p:nvPr/>
          </p:nvSpPr>
          <p:spPr>
            <a:xfrm>
              <a:off x="9820560" y="4101894"/>
              <a:ext cx="109451" cy="71203"/>
            </a:xfrm>
            <a:custGeom>
              <a:avLst/>
              <a:gdLst>
                <a:gd name="connsiteX0" fmla="*/ 109055 w 109451"/>
                <a:gd name="connsiteY0" fmla="*/ 8224 h 71203"/>
                <a:gd name="connsiteX1" fmla="*/ 109055 w 109451"/>
                <a:gd name="connsiteY1" fmla="*/ 6225 h 71203"/>
                <a:gd name="connsiteX2" fmla="*/ 108181 w 109451"/>
                <a:gd name="connsiteY2" fmla="*/ 4726 h 71203"/>
                <a:gd name="connsiteX3" fmla="*/ 97410 w 109451"/>
                <a:gd name="connsiteY3" fmla="*/ 752 h 71203"/>
                <a:gd name="connsiteX4" fmla="*/ 97185 w 109451"/>
                <a:gd name="connsiteY4" fmla="*/ 852 h 71203"/>
                <a:gd name="connsiteX5" fmla="*/ 95811 w 109451"/>
                <a:gd name="connsiteY5" fmla="*/ 1602 h 71203"/>
                <a:gd name="connsiteX6" fmla="*/ 92812 w 109451"/>
                <a:gd name="connsiteY6" fmla="*/ 3226 h 71203"/>
                <a:gd name="connsiteX7" fmla="*/ 5350 w 109451"/>
                <a:gd name="connsiteY7" fmla="*/ 50582 h 71203"/>
                <a:gd name="connsiteX8" fmla="*/ 852 w 109451"/>
                <a:gd name="connsiteY8" fmla="*/ 64827 h 71203"/>
                <a:gd name="connsiteX9" fmla="*/ 10973 w 109451"/>
                <a:gd name="connsiteY9" fmla="*/ 70962 h 71203"/>
                <a:gd name="connsiteX10" fmla="*/ 12722 w 109451"/>
                <a:gd name="connsiteY10" fmla="*/ 70324 h 71203"/>
                <a:gd name="connsiteX11" fmla="*/ 104932 w 109451"/>
                <a:gd name="connsiteY11" fmla="*/ 20344 h 71203"/>
                <a:gd name="connsiteX12" fmla="*/ 109055 w 109451"/>
                <a:gd name="connsiteY12" fmla="*/ 8224 h 7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51" h="71203">
                  <a:moveTo>
                    <a:pt x="109055" y="8224"/>
                  </a:moveTo>
                  <a:cubicBezTo>
                    <a:pt x="109117" y="7562"/>
                    <a:pt x="109117" y="6887"/>
                    <a:pt x="109055" y="6225"/>
                  </a:cubicBezTo>
                  <a:cubicBezTo>
                    <a:pt x="108793" y="5712"/>
                    <a:pt x="108493" y="5213"/>
                    <a:pt x="108181" y="4726"/>
                  </a:cubicBezTo>
                  <a:cubicBezTo>
                    <a:pt x="106306" y="652"/>
                    <a:pt x="101483" y="-1135"/>
                    <a:pt x="97410" y="752"/>
                  </a:cubicBezTo>
                  <a:cubicBezTo>
                    <a:pt x="97335" y="777"/>
                    <a:pt x="97260" y="814"/>
                    <a:pt x="97185" y="852"/>
                  </a:cubicBezTo>
                  <a:lnTo>
                    <a:pt x="95811" y="1602"/>
                  </a:lnTo>
                  <a:lnTo>
                    <a:pt x="92812" y="3226"/>
                  </a:lnTo>
                  <a:lnTo>
                    <a:pt x="5350" y="50582"/>
                  </a:lnTo>
                  <a:cubicBezTo>
                    <a:pt x="639" y="53643"/>
                    <a:pt x="-1247" y="59616"/>
                    <a:pt x="852" y="64827"/>
                  </a:cubicBezTo>
                  <a:cubicBezTo>
                    <a:pt x="1951" y="69312"/>
                    <a:pt x="6487" y="72061"/>
                    <a:pt x="10973" y="70962"/>
                  </a:cubicBezTo>
                  <a:cubicBezTo>
                    <a:pt x="11585" y="70812"/>
                    <a:pt x="12160" y="70599"/>
                    <a:pt x="12722" y="70324"/>
                  </a:cubicBezTo>
                  <a:lnTo>
                    <a:pt x="104932" y="20344"/>
                  </a:lnTo>
                  <a:cubicBezTo>
                    <a:pt x="108643" y="17520"/>
                    <a:pt x="110267" y="12722"/>
                    <a:pt x="109055" y="8224"/>
                  </a:cubicBezTo>
                  <a:close/>
                </a:path>
              </a:pathLst>
            </a:custGeom>
            <a:solidFill>
              <a:srgbClr val="000000"/>
            </a:solidFill>
            <a:ln w="12483" cap="flat">
              <a:noFill/>
              <a:prstDash val="solid"/>
              <a:miter/>
            </a:ln>
          </p:spPr>
          <p:txBody>
            <a:bodyPr rtlCol="0" anchor="ctr"/>
            <a:lstStyle/>
            <a:p>
              <a:endParaRPr lang="en-US"/>
            </a:p>
          </p:txBody>
        </p:sp>
        <p:sp>
          <p:nvSpPr>
            <p:cNvPr id="1688" name="Freeform: Shape 1687">
              <a:extLst>
                <a:ext uri="{FF2B5EF4-FFF2-40B4-BE49-F238E27FC236}">
                  <a16:creationId xmlns:a16="http://schemas.microsoft.com/office/drawing/2014/main" id="{B6109CBE-0F70-42BC-A1CC-99EB54070F4A}"/>
                </a:ext>
              </a:extLst>
            </p:cNvPr>
            <p:cNvSpPr/>
            <p:nvPr/>
          </p:nvSpPr>
          <p:spPr>
            <a:xfrm>
              <a:off x="8827841" y="3424891"/>
              <a:ext cx="78022" cy="101380"/>
            </a:xfrm>
            <a:custGeom>
              <a:avLst/>
              <a:gdLst>
                <a:gd name="connsiteX0" fmla="*/ 63223 w 78022"/>
                <a:gd name="connsiteY0" fmla="*/ 97961 h 101380"/>
                <a:gd name="connsiteX1" fmla="*/ 74168 w 78022"/>
                <a:gd name="connsiteY1" fmla="*/ 99998 h 101380"/>
                <a:gd name="connsiteX2" fmla="*/ 74718 w 78022"/>
                <a:gd name="connsiteY2" fmla="*/ 99585 h 101380"/>
                <a:gd name="connsiteX3" fmla="*/ 75967 w 78022"/>
                <a:gd name="connsiteY3" fmla="*/ 98586 h 101380"/>
                <a:gd name="connsiteX4" fmla="*/ 75967 w 78022"/>
                <a:gd name="connsiteY4" fmla="*/ 98586 h 101380"/>
                <a:gd name="connsiteX5" fmla="*/ 77217 w 78022"/>
                <a:gd name="connsiteY5" fmla="*/ 96587 h 101380"/>
                <a:gd name="connsiteX6" fmla="*/ 77966 w 78022"/>
                <a:gd name="connsiteY6" fmla="*/ 95212 h 101380"/>
                <a:gd name="connsiteX7" fmla="*/ 77966 w 78022"/>
                <a:gd name="connsiteY7" fmla="*/ 92838 h 101380"/>
                <a:gd name="connsiteX8" fmla="*/ 77966 w 78022"/>
                <a:gd name="connsiteY8" fmla="*/ 91214 h 101380"/>
                <a:gd name="connsiteX9" fmla="*/ 77966 w 78022"/>
                <a:gd name="connsiteY9" fmla="*/ 89214 h 101380"/>
                <a:gd name="connsiteX10" fmla="*/ 77966 w 78022"/>
                <a:gd name="connsiteY10" fmla="*/ 86965 h 101380"/>
                <a:gd name="connsiteX11" fmla="*/ 76967 w 78022"/>
                <a:gd name="connsiteY11" fmla="*/ 85091 h 101380"/>
                <a:gd name="connsiteX12" fmla="*/ 76217 w 78022"/>
                <a:gd name="connsiteY12" fmla="*/ 83592 h 101380"/>
                <a:gd name="connsiteX13" fmla="*/ 70220 w 78022"/>
                <a:gd name="connsiteY13" fmla="*/ 75720 h 101380"/>
                <a:gd name="connsiteX14" fmla="*/ 66721 w 78022"/>
                <a:gd name="connsiteY14" fmla="*/ 71097 h 101380"/>
                <a:gd name="connsiteX15" fmla="*/ 12495 w 78022"/>
                <a:gd name="connsiteY15" fmla="*/ 0 h 101380"/>
                <a:gd name="connsiteX16" fmla="*/ 12495 w 78022"/>
                <a:gd name="connsiteY16" fmla="*/ 15244 h 101380"/>
                <a:gd name="connsiteX17" fmla="*/ 1212 w 78022"/>
                <a:gd name="connsiteY17" fmla="*/ 15956 h 101380"/>
                <a:gd name="connsiteX18" fmla="*/ 0 w 78022"/>
                <a:gd name="connsiteY18" fmla="*/ 14619 h 101380"/>
                <a:gd name="connsiteX19" fmla="*/ 55101 w 78022"/>
                <a:gd name="connsiteY19" fmla="*/ 86841 h 1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022" h="101380">
                  <a:moveTo>
                    <a:pt x="63223" y="97961"/>
                  </a:moveTo>
                  <a:cubicBezTo>
                    <a:pt x="65684" y="101547"/>
                    <a:pt x="70582" y="102459"/>
                    <a:pt x="74168" y="99998"/>
                  </a:cubicBezTo>
                  <a:cubicBezTo>
                    <a:pt x="74355" y="99873"/>
                    <a:pt x="74543" y="99735"/>
                    <a:pt x="74718" y="99585"/>
                  </a:cubicBezTo>
                  <a:cubicBezTo>
                    <a:pt x="74718" y="99585"/>
                    <a:pt x="75593" y="99585"/>
                    <a:pt x="75967" y="98586"/>
                  </a:cubicBezTo>
                  <a:lnTo>
                    <a:pt x="75967" y="98586"/>
                  </a:lnTo>
                  <a:cubicBezTo>
                    <a:pt x="76430" y="97949"/>
                    <a:pt x="76842" y="97286"/>
                    <a:pt x="77217" y="96587"/>
                  </a:cubicBezTo>
                  <a:cubicBezTo>
                    <a:pt x="77517" y="96162"/>
                    <a:pt x="77766" y="95699"/>
                    <a:pt x="77966" y="95212"/>
                  </a:cubicBezTo>
                  <a:cubicBezTo>
                    <a:pt x="78041" y="94425"/>
                    <a:pt x="78041" y="93625"/>
                    <a:pt x="77966" y="92838"/>
                  </a:cubicBezTo>
                  <a:cubicBezTo>
                    <a:pt x="77966" y="92838"/>
                    <a:pt x="77966" y="91714"/>
                    <a:pt x="77966" y="91214"/>
                  </a:cubicBezTo>
                  <a:cubicBezTo>
                    <a:pt x="78029" y="90552"/>
                    <a:pt x="78029" y="89877"/>
                    <a:pt x="77966" y="89214"/>
                  </a:cubicBezTo>
                  <a:cubicBezTo>
                    <a:pt x="78029" y="88465"/>
                    <a:pt x="78029" y="87715"/>
                    <a:pt x="77966" y="86965"/>
                  </a:cubicBezTo>
                  <a:cubicBezTo>
                    <a:pt x="77679" y="86316"/>
                    <a:pt x="77354" y="85691"/>
                    <a:pt x="76967" y="85091"/>
                  </a:cubicBezTo>
                  <a:cubicBezTo>
                    <a:pt x="76792" y="84554"/>
                    <a:pt x="76542" y="84054"/>
                    <a:pt x="76217" y="83592"/>
                  </a:cubicBezTo>
                  <a:lnTo>
                    <a:pt x="70220" y="75720"/>
                  </a:lnTo>
                  <a:lnTo>
                    <a:pt x="66721" y="71097"/>
                  </a:lnTo>
                  <a:lnTo>
                    <a:pt x="12495" y="0"/>
                  </a:lnTo>
                  <a:cubicBezTo>
                    <a:pt x="15956" y="4498"/>
                    <a:pt x="15956" y="10746"/>
                    <a:pt x="12495" y="15244"/>
                  </a:cubicBezTo>
                  <a:cubicBezTo>
                    <a:pt x="9571" y="18555"/>
                    <a:pt x="4523" y="18880"/>
                    <a:pt x="1212" y="15956"/>
                  </a:cubicBezTo>
                  <a:cubicBezTo>
                    <a:pt x="762" y="15556"/>
                    <a:pt x="350" y="15106"/>
                    <a:pt x="0" y="14619"/>
                  </a:cubicBezTo>
                  <a:lnTo>
                    <a:pt x="55101" y="86841"/>
                  </a:lnTo>
                  <a:close/>
                </a:path>
              </a:pathLst>
            </a:custGeom>
            <a:solidFill>
              <a:srgbClr val="000000"/>
            </a:solidFill>
            <a:ln w="12483" cap="flat">
              <a:noFill/>
              <a:prstDash val="solid"/>
              <a:miter/>
            </a:ln>
          </p:spPr>
          <p:txBody>
            <a:bodyPr rtlCol="0" anchor="ctr"/>
            <a:lstStyle/>
            <a:p>
              <a:endParaRPr lang="en-US"/>
            </a:p>
          </p:txBody>
        </p:sp>
        <p:sp>
          <p:nvSpPr>
            <p:cNvPr id="1689" name="Freeform: Shape 1688">
              <a:extLst>
                <a:ext uri="{FF2B5EF4-FFF2-40B4-BE49-F238E27FC236}">
                  <a16:creationId xmlns:a16="http://schemas.microsoft.com/office/drawing/2014/main" id="{D04EBB9D-DBD0-4C01-8EE1-104C998A21C6}"/>
                </a:ext>
              </a:extLst>
            </p:cNvPr>
            <p:cNvSpPr/>
            <p:nvPr/>
          </p:nvSpPr>
          <p:spPr>
            <a:xfrm>
              <a:off x="8676059" y="3226716"/>
              <a:ext cx="166372" cy="215879"/>
            </a:xfrm>
            <a:custGeom>
              <a:avLst/>
              <a:gdLst>
                <a:gd name="connsiteX0" fmla="*/ 151282 w 166372"/>
                <a:gd name="connsiteY0" fmla="*/ 212544 h 215879"/>
                <a:gd name="connsiteX1" fmla="*/ 162440 w 166372"/>
                <a:gd name="connsiteY1" fmla="*/ 214381 h 215879"/>
                <a:gd name="connsiteX2" fmla="*/ 163777 w 166372"/>
                <a:gd name="connsiteY2" fmla="*/ 213169 h 215879"/>
                <a:gd name="connsiteX3" fmla="*/ 163777 w 166372"/>
                <a:gd name="connsiteY3" fmla="*/ 197925 h 215879"/>
                <a:gd name="connsiteX4" fmla="*/ 17215 w 166372"/>
                <a:gd name="connsiteY4" fmla="*/ 5752 h 215879"/>
                <a:gd name="connsiteX5" fmla="*/ 15216 w 166372"/>
                <a:gd name="connsiteY5" fmla="*/ 3003 h 215879"/>
                <a:gd name="connsiteX6" fmla="*/ 3971 w 166372"/>
                <a:gd name="connsiteY6" fmla="*/ 1753 h 215879"/>
                <a:gd name="connsiteX7" fmla="*/ 2722 w 166372"/>
                <a:gd name="connsiteY7" fmla="*/ 3003 h 215879"/>
                <a:gd name="connsiteX8" fmla="*/ 222 w 166372"/>
                <a:gd name="connsiteY8" fmla="*/ 13124 h 215879"/>
                <a:gd name="connsiteX9" fmla="*/ 222 w 166372"/>
                <a:gd name="connsiteY9" fmla="*/ 15373 h 215879"/>
                <a:gd name="connsiteX10" fmla="*/ 1222 w 166372"/>
                <a:gd name="connsiteY10" fmla="*/ 17122 h 215879"/>
                <a:gd name="connsiteX11" fmla="*/ 1222 w 166372"/>
                <a:gd name="connsiteY11" fmla="*/ 18372 h 215879"/>
                <a:gd name="connsiteX12" fmla="*/ 146409 w 166372"/>
                <a:gd name="connsiteY12" fmla="*/ 208796 h 215879"/>
                <a:gd name="connsiteX13" fmla="*/ 148783 w 166372"/>
                <a:gd name="connsiteY13" fmla="*/ 211795 h 21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72" h="215879">
                  <a:moveTo>
                    <a:pt x="151282" y="212544"/>
                  </a:moveTo>
                  <a:cubicBezTo>
                    <a:pt x="153856" y="216131"/>
                    <a:pt x="158854" y="216955"/>
                    <a:pt x="162440" y="214381"/>
                  </a:cubicBezTo>
                  <a:cubicBezTo>
                    <a:pt x="162927" y="214031"/>
                    <a:pt x="163377" y="213619"/>
                    <a:pt x="163777" y="213169"/>
                  </a:cubicBezTo>
                  <a:cubicBezTo>
                    <a:pt x="167238" y="208671"/>
                    <a:pt x="167238" y="202423"/>
                    <a:pt x="163777" y="197925"/>
                  </a:cubicBezTo>
                  <a:lnTo>
                    <a:pt x="17215" y="5752"/>
                  </a:lnTo>
                  <a:lnTo>
                    <a:pt x="15216" y="3003"/>
                  </a:lnTo>
                  <a:cubicBezTo>
                    <a:pt x="12455" y="-446"/>
                    <a:pt x="7432" y="-1008"/>
                    <a:pt x="3971" y="1753"/>
                  </a:cubicBezTo>
                  <a:cubicBezTo>
                    <a:pt x="3509" y="2116"/>
                    <a:pt x="3096" y="2541"/>
                    <a:pt x="2722" y="3003"/>
                  </a:cubicBezTo>
                  <a:cubicBezTo>
                    <a:pt x="460" y="5852"/>
                    <a:pt x="-465" y="9550"/>
                    <a:pt x="222" y="13124"/>
                  </a:cubicBezTo>
                  <a:cubicBezTo>
                    <a:pt x="160" y="13874"/>
                    <a:pt x="160" y="14623"/>
                    <a:pt x="222" y="15373"/>
                  </a:cubicBezTo>
                  <a:cubicBezTo>
                    <a:pt x="485" y="15998"/>
                    <a:pt x="822" y="16585"/>
                    <a:pt x="1222" y="17122"/>
                  </a:cubicBezTo>
                  <a:cubicBezTo>
                    <a:pt x="1172" y="17535"/>
                    <a:pt x="1172" y="17960"/>
                    <a:pt x="1222" y="18372"/>
                  </a:cubicBezTo>
                  <a:lnTo>
                    <a:pt x="146409" y="208796"/>
                  </a:lnTo>
                  <a:lnTo>
                    <a:pt x="148783" y="211795"/>
                  </a:lnTo>
                  <a:close/>
                </a:path>
              </a:pathLst>
            </a:custGeom>
            <a:solidFill>
              <a:srgbClr val="000000"/>
            </a:solidFill>
            <a:ln w="12483" cap="flat">
              <a:noFill/>
              <a:prstDash val="solid"/>
              <a:miter/>
            </a:ln>
          </p:spPr>
          <p:txBody>
            <a:bodyPr rtlCol="0" anchor="ctr"/>
            <a:lstStyle/>
            <a:p>
              <a:endParaRPr lang="en-US"/>
            </a:p>
          </p:txBody>
        </p:sp>
        <p:sp>
          <p:nvSpPr>
            <p:cNvPr id="1690" name="Freeform: Shape 1689">
              <a:extLst>
                <a:ext uri="{FF2B5EF4-FFF2-40B4-BE49-F238E27FC236}">
                  <a16:creationId xmlns:a16="http://schemas.microsoft.com/office/drawing/2014/main" id="{380B2001-E143-447B-8EB0-14E25416579A}"/>
                </a:ext>
              </a:extLst>
            </p:cNvPr>
            <p:cNvSpPr/>
            <p:nvPr/>
          </p:nvSpPr>
          <p:spPr>
            <a:xfrm>
              <a:off x="7291381" y="4688595"/>
              <a:ext cx="146310" cy="222577"/>
            </a:xfrm>
            <a:custGeom>
              <a:avLst/>
              <a:gdLst>
                <a:gd name="connsiteX0" fmla="*/ 3497 w 146310"/>
                <a:gd name="connsiteY0" fmla="*/ 2166 h 222577"/>
                <a:gd name="connsiteX1" fmla="*/ 1873 w 146310"/>
                <a:gd name="connsiteY1" fmla="*/ 17410 h 222577"/>
                <a:gd name="connsiteX2" fmla="*/ 10369 w 146310"/>
                <a:gd name="connsiteY2" fmla="*/ 30779 h 222577"/>
                <a:gd name="connsiteX3" fmla="*/ 14618 w 146310"/>
                <a:gd name="connsiteY3" fmla="*/ 37402 h 222577"/>
                <a:gd name="connsiteX4" fmla="*/ 125195 w 146310"/>
                <a:gd name="connsiteY4" fmla="*/ 211582 h 222577"/>
                <a:gd name="connsiteX5" fmla="*/ 132192 w 146310"/>
                <a:gd name="connsiteY5" fmla="*/ 222578 h 222577"/>
                <a:gd name="connsiteX6" fmla="*/ 133816 w 146310"/>
                <a:gd name="connsiteY6" fmla="*/ 207334 h 222577"/>
                <a:gd name="connsiteX7" fmla="*/ 145124 w 146310"/>
                <a:gd name="connsiteY7" fmla="*/ 207684 h 222577"/>
                <a:gd name="connsiteX8" fmla="*/ 146311 w 146310"/>
                <a:gd name="connsiteY8" fmla="*/ 209333 h 222577"/>
                <a:gd name="connsiteX9" fmla="*/ 16117 w 146310"/>
                <a:gd name="connsiteY9" fmla="*/ 4415 h 222577"/>
                <a:gd name="connsiteX10" fmla="*/ 5384 w 146310"/>
                <a:gd name="connsiteY10" fmla="*/ 854 h 222577"/>
                <a:gd name="connsiteX11" fmla="*/ 3497 w 146310"/>
                <a:gd name="connsiteY11" fmla="*/ 2166 h 22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10" h="222577">
                  <a:moveTo>
                    <a:pt x="3497" y="2166"/>
                  </a:moveTo>
                  <a:cubicBezTo>
                    <a:pt x="-463" y="6277"/>
                    <a:pt x="-1138" y="12549"/>
                    <a:pt x="1873" y="17410"/>
                  </a:cubicBezTo>
                  <a:lnTo>
                    <a:pt x="10369" y="30779"/>
                  </a:lnTo>
                  <a:lnTo>
                    <a:pt x="14618" y="37402"/>
                  </a:lnTo>
                  <a:lnTo>
                    <a:pt x="125195" y="211582"/>
                  </a:lnTo>
                  <a:lnTo>
                    <a:pt x="132192" y="222578"/>
                  </a:lnTo>
                  <a:cubicBezTo>
                    <a:pt x="129181" y="217718"/>
                    <a:pt x="129855" y="211445"/>
                    <a:pt x="133816" y="207334"/>
                  </a:cubicBezTo>
                  <a:cubicBezTo>
                    <a:pt x="137040" y="204310"/>
                    <a:pt x="142100" y="204473"/>
                    <a:pt x="145124" y="207684"/>
                  </a:cubicBezTo>
                  <a:cubicBezTo>
                    <a:pt x="145586" y="208184"/>
                    <a:pt x="145986" y="208733"/>
                    <a:pt x="146311" y="209333"/>
                  </a:cubicBezTo>
                  <a:lnTo>
                    <a:pt x="16117" y="4415"/>
                  </a:lnTo>
                  <a:cubicBezTo>
                    <a:pt x="14143" y="466"/>
                    <a:pt x="9333" y="-1133"/>
                    <a:pt x="5384" y="854"/>
                  </a:cubicBezTo>
                  <a:cubicBezTo>
                    <a:pt x="4697" y="1191"/>
                    <a:pt x="4060" y="1641"/>
                    <a:pt x="3497" y="2166"/>
                  </a:cubicBezTo>
                  <a:close/>
                </a:path>
              </a:pathLst>
            </a:custGeom>
            <a:solidFill>
              <a:srgbClr val="000000"/>
            </a:solidFill>
            <a:ln w="12483" cap="flat">
              <a:noFill/>
              <a:prstDash val="solid"/>
              <a:miter/>
            </a:ln>
          </p:spPr>
          <p:txBody>
            <a:bodyPr rtlCol="0" anchor="ctr"/>
            <a:lstStyle/>
            <a:p>
              <a:endParaRPr lang="en-US"/>
            </a:p>
          </p:txBody>
        </p:sp>
        <p:sp>
          <p:nvSpPr>
            <p:cNvPr id="1691" name="Freeform: Shape 1690">
              <a:extLst>
                <a:ext uri="{FF2B5EF4-FFF2-40B4-BE49-F238E27FC236}">
                  <a16:creationId xmlns:a16="http://schemas.microsoft.com/office/drawing/2014/main" id="{732BC668-131E-4A6A-AF52-1C76C317D567}"/>
                </a:ext>
              </a:extLst>
            </p:cNvPr>
            <p:cNvSpPr/>
            <p:nvPr/>
          </p:nvSpPr>
          <p:spPr>
            <a:xfrm>
              <a:off x="7421325" y="4894260"/>
              <a:ext cx="55521" cy="82168"/>
            </a:xfrm>
            <a:custGeom>
              <a:avLst/>
              <a:gdLst>
                <a:gd name="connsiteX0" fmla="*/ 52476 w 55521"/>
                <a:gd name="connsiteY0" fmla="*/ 80263 h 82168"/>
                <a:gd name="connsiteX1" fmla="*/ 53351 w 55521"/>
                <a:gd name="connsiteY1" fmla="*/ 80263 h 82168"/>
                <a:gd name="connsiteX2" fmla="*/ 53351 w 55521"/>
                <a:gd name="connsiteY2" fmla="*/ 79639 h 82168"/>
                <a:gd name="connsiteX3" fmla="*/ 54600 w 55521"/>
                <a:gd name="connsiteY3" fmla="*/ 77889 h 82168"/>
                <a:gd name="connsiteX4" fmla="*/ 55475 w 55521"/>
                <a:gd name="connsiteY4" fmla="*/ 76265 h 82168"/>
                <a:gd name="connsiteX5" fmla="*/ 55475 w 55521"/>
                <a:gd name="connsiteY5" fmla="*/ 74265 h 82168"/>
                <a:gd name="connsiteX6" fmla="*/ 55475 w 55521"/>
                <a:gd name="connsiteY6" fmla="*/ 72267 h 82168"/>
                <a:gd name="connsiteX7" fmla="*/ 55475 w 55521"/>
                <a:gd name="connsiteY7" fmla="*/ 70267 h 82168"/>
                <a:gd name="connsiteX8" fmla="*/ 55475 w 55521"/>
                <a:gd name="connsiteY8" fmla="*/ 68143 h 82168"/>
                <a:gd name="connsiteX9" fmla="*/ 54600 w 55521"/>
                <a:gd name="connsiteY9" fmla="*/ 66144 h 82168"/>
                <a:gd name="connsiteX10" fmla="*/ 54600 w 55521"/>
                <a:gd name="connsiteY10" fmla="*/ 65019 h 82168"/>
                <a:gd name="connsiteX11" fmla="*/ 15992 w 55521"/>
                <a:gd name="connsiteY11" fmla="*/ 4169 h 82168"/>
                <a:gd name="connsiteX12" fmla="*/ 5147 w 55521"/>
                <a:gd name="connsiteY12" fmla="*/ 982 h 82168"/>
                <a:gd name="connsiteX13" fmla="*/ 3498 w 55521"/>
                <a:gd name="connsiteY13" fmla="*/ 2169 h 82168"/>
                <a:gd name="connsiteX14" fmla="*/ 1873 w 55521"/>
                <a:gd name="connsiteY14" fmla="*/ 17413 h 82168"/>
                <a:gd name="connsiteX15" fmla="*/ 6121 w 55521"/>
                <a:gd name="connsiteY15" fmla="*/ 24036 h 82168"/>
                <a:gd name="connsiteX16" fmla="*/ 33484 w 55521"/>
                <a:gd name="connsiteY16" fmla="*/ 67268 h 82168"/>
                <a:gd name="connsiteX17" fmla="*/ 40481 w 55521"/>
                <a:gd name="connsiteY17" fmla="*/ 78139 h 82168"/>
                <a:gd name="connsiteX18" fmla="*/ 51202 w 55521"/>
                <a:gd name="connsiteY18" fmla="*/ 81163 h 82168"/>
                <a:gd name="connsiteX19" fmla="*/ 52476 w 55521"/>
                <a:gd name="connsiteY19" fmla="*/ 80263 h 8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521" h="82168">
                  <a:moveTo>
                    <a:pt x="52476" y="80263"/>
                  </a:moveTo>
                  <a:lnTo>
                    <a:pt x="53351" y="80263"/>
                  </a:lnTo>
                  <a:cubicBezTo>
                    <a:pt x="53351" y="80263"/>
                    <a:pt x="53351" y="80263"/>
                    <a:pt x="53351" y="79639"/>
                  </a:cubicBezTo>
                  <a:cubicBezTo>
                    <a:pt x="53838" y="79114"/>
                    <a:pt x="54251" y="78526"/>
                    <a:pt x="54600" y="77889"/>
                  </a:cubicBezTo>
                  <a:cubicBezTo>
                    <a:pt x="54600" y="77889"/>
                    <a:pt x="54600" y="76890"/>
                    <a:pt x="55475" y="76265"/>
                  </a:cubicBezTo>
                  <a:cubicBezTo>
                    <a:pt x="55537" y="75603"/>
                    <a:pt x="55537" y="74928"/>
                    <a:pt x="55475" y="74265"/>
                  </a:cubicBezTo>
                  <a:lnTo>
                    <a:pt x="55475" y="72267"/>
                  </a:lnTo>
                  <a:cubicBezTo>
                    <a:pt x="55475" y="71642"/>
                    <a:pt x="55475" y="70892"/>
                    <a:pt x="55475" y="70267"/>
                  </a:cubicBezTo>
                  <a:lnTo>
                    <a:pt x="55475" y="68143"/>
                  </a:lnTo>
                  <a:cubicBezTo>
                    <a:pt x="55263" y="67443"/>
                    <a:pt x="54963" y="66781"/>
                    <a:pt x="54600" y="66144"/>
                  </a:cubicBezTo>
                  <a:cubicBezTo>
                    <a:pt x="54650" y="65769"/>
                    <a:pt x="54650" y="65394"/>
                    <a:pt x="54600" y="65019"/>
                  </a:cubicBezTo>
                  <a:lnTo>
                    <a:pt x="15992" y="4169"/>
                  </a:lnTo>
                  <a:cubicBezTo>
                    <a:pt x="13880" y="295"/>
                    <a:pt x="9020" y="-1142"/>
                    <a:pt x="5147" y="982"/>
                  </a:cubicBezTo>
                  <a:cubicBezTo>
                    <a:pt x="4547" y="1307"/>
                    <a:pt x="3997" y="1707"/>
                    <a:pt x="3498" y="2169"/>
                  </a:cubicBezTo>
                  <a:cubicBezTo>
                    <a:pt x="-463" y="6280"/>
                    <a:pt x="-1138" y="12553"/>
                    <a:pt x="1873" y="17413"/>
                  </a:cubicBezTo>
                  <a:lnTo>
                    <a:pt x="6121" y="24036"/>
                  </a:lnTo>
                  <a:lnTo>
                    <a:pt x="33484" y="67268"/>
                  </a:lnTo>
                  <a:lnTo>
                    <a:pt x="40481" y="78139"/>
                  </a:lnTo>
                  <a:cubicBezTo>
                    <a:pt x="42605" y="81938"/>
                    <a:pt x="47403" y="83287"/>
                    <a:pt x="51202" y="81163"/>
                  </a:cubicBezTo>
                  <a:cubicBezTo>
                    <a:pt x="51652" y="80900"/>
                    <a:pt x="52077" y="80601"/>
                    <a:pt x="52476" y="80263"/>
                  </a:cubicBezTo>
                  <a:close/>
                </a:path>
              </a:pathLst>
            </a:custGeom>
            <a:solidFill>
              <a:srgbClr val="000000"/>
            </a:solidFill>
            <a:ln w="12483" cap="flat">
              <a:noFill/>
              <a:prstDash val="solid"/>
              <a:miter/>
            </a:ln>
          </p:spPr>
          <p:txBody>
            <a:bodyPr rtlCol="0" anchor="ctr"/>
            <a:lstStyle/>
            <a:p>
              <a:endParaRPr lang="en-US"/>
            </a:p>
          </p:txBody>
        </p:sp>
        <p:sp>
          <p:nvSpPr>
            <p:cNvPr id="1692" name="Freeform: Shape 1691">
              <a:extLst>
                <a:ext uri="{FF2B5EF4-FFF2-40B4-BE49-F238E27FC236}">
                  <a16:creationId xmlns:a16="http://schemas.microsoft.com/office/drawing/2014/main" id="{D05C32CD-5D95-4CB8-816A-C1D67BAD948E}"/>
                </a:ext>
              </a:extLst>
            </p:cNvPr>
            <p:cNvSpPr/>
            <p:nvPr/>
          </p:nvSpPr>
          <p:spPr>
            <a:xfrm>
              <a:off x="8958410" y="5290646"/>
              <a:ext cx="17333" cy="23367"/>
            </a:xfrm>
            <a:custGeom>
              <a:avLst/>
              <a:gdLst>
                <a:gd name="connsiteX0" fmla="*/ 12869 w 17333"/>
                <a:gd name="connsiteY0" fmla="*/ 19993 h 23367"/>
                <a:gd name="connsiteX1" fmla="*/ 16992 w 17333"/>
                <a:gd name="connsiteY1" fmla="*/ 8123 h 23367"/>
                <a:gd name="connsiteX2" fmla="*/ 16992 w 17333"/>
                <a:gd name="connsiteY2" fmla="*/ 6124 h 23367"/>
                <a:gd name="connsiteX3" fmla="*/ 16118 w 17333"/>
                <a:gd name="connsiteY3" fmla="*/ 4625 h 23367"/>
                <a:gd name="connsiteX4" fmla="*/ 9121 w 17333"/>
                <a:gd name="connsiteY4" fmla="*/ 1 h 23367"/>
                <a:gd name="connsiteX5" fmla="*/ 9121 w 17333"/>
                <a:gd name="connsiteY5" fmla="*/ 1 h 23367"/>
                <a:gd name="connsiteX6" fmla="*/ 5373 w 17333"/>
                <a:gd name="connsiteY6" fmla="*/ 1001 h 23367"/>
                <a:gd name="connsiteX7" fmla="*/ 4623 w 17333"/>
                <a:gd name="connsiteY7" fmla="*/ 1001 h 23367"/>
                <a:gd name="connsiteX8" fmla="*/ 1624 w 17333"/>
                <a:gd name="connsiteY8" fmla="*/ 2750 h 23367"/>
                <a:gd name="connsiteX9" fmla="*/ 0 w 17333"/>
                <a:gd name="connsiteY9" fmla="*/ 3625 h 23367"/>
                <a:gd name="connsiteX10" fmla="*/ 11258 w 17333"/>
                <a:gd name="connsiteY10" fmla="*/ 7286 h 23367"/>
                <a:gd name="connsiteX11" fmla="*/ 11870 w 17333"/>
                <a:gd name="connsiteY11" fmla="*/ 8873 h 23367"/>
                <a:gd name="connsiteX12" fmla="*/ 7497 w 17333"/>
                <a:gd name="connsiteY12" fmla="*/ 23367 h 23367"/>
                <a:gd name="connsiteX13" fmla="*/ 12869 w 17333"/>
                <a:gd name="connsiteY13" fmla="*/ 20243 h 23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33" h="23367">
                  <a:moveTo>
                    <a:pt x="12869" y="19993"/>
                  </a:moveTo>
                  <a:cubicBezTo>
                    <a:pt x="16480" y="17207"/>
                    <a:pt x="18092" y="12547"/>
                    <a:pt x="16992" y="8123"/>
                  </a:cubicBezTo>
                  <a:cubicBezTo>
                    <a:pt x="17068" y="7461"/>
                    <a:pt x="17068" y="6786"/>
                    <a:pt x="16992" y="6124"/>
                  </a:cubicBezTo>
                  <a:cubicBezTo>
                    <a:pt x="16730" y="5612"/>
                    <a:pt x="16430" y="5112"/>
                    <a:pt x="16118" y="4625"/>
                  </a:cubicBezTo>
                  <a:cubicBezTo>
                    <a:pt x="14756" y="1963"/>
                    <a:pt x="12107" y="201"/>
                    <a:pt x="9121" y="1"/>
                  </a:cubicBezTo>
                  <a:lnTo>
                    <a:pt x="9121" y="1"/>
                  </a:lnTo>
                  <a:cubicBezTo>
                    <a:pt x="7797" y="-24"/>
                    <a:pt x="6497" y="326"/>
                    <a:pt x="5373" y="1001"/>
                  </a:cubicBezTo>
                  <a:lnTo>
                    <a:pt x="4623" y="1001"/>
                  </a:lnTo>
                  <a:lnTo>
                    <a:pt x="1624" y="2750"/>
                  </a:lnTo>
                  <a:lnTo>
                    <a:pt x="0" y="3625"/>
                  </a:lnTo>
                  <a:cubicBezTo>
                    <a:pt x="4123" y="1526"/>
                    <a:pt x="9159" y="3163"/>
                    <a:pt x="11258" y="7286"/>
                  </a:cubicBezTo>
                  <a:cubicBezTo>
                    <a:pt x="11520" y="7798"/>
                    <a:pt x="11720" y="8323"/>
                    <a:pt x="11870" y="8873"/>
                  </a:cubicBezTo>
                  <a:cubicBezTo>
                    <a:pt x="13844" y="14133"/>
                    <a:pt x="12045" y="20068"/>
                    <a:pt x="7497" y="23367"/>
                  </a:cubicBezTo>
                  <a:lnTo>
                    <a:pt x="12869" y="20243"/>
                  </a:lnTo>
                  <a:close/>
                </a:path>
              </a:pathLst>
            </a:custGeom>
            <a:solidFill>
              <a:srgbClr val="000000"/>
            </a:solidFill>
            <a:ln w="12483" cap="flat">
              <a:noFill/>
              <a:prstDash val="solid"/>
              <a:miter/>
            </a:ln>
          </p:spPr>
          <p:txBody>
            <a:bodyPr rtlCol="0" anchor="ctr"/>
            <a:lstStyle/>
            <a:p>
              <a:endParaRPr lang="en-US"/>
            </a:p>
          </p:txBody>
        </p:sp>
        <p:sp>
          <p:nvSpPr>
            <p:cNvPr id="1693" name="Freeform: Shape 1692">
              <a:extLst>
                <a:ext uri="{FF2B5EF4-FFF2-40B4-BE49-F238E27FC236}">
                  <a16:creationId xmlns:a16="http://schemas.microsoft.com/office/drawing/2014/main" id="{3FD6D83B-2F57-40EE-9B0E-80255D054C07}"/>
                </a:ext>
              </a:extLst>
            </p:cNvPr>
            <p:cNvSpPr/>
            <p:nvPr/>
          </p:nvSpPr>
          <p:spPr>
            <a:xfrm>
              <a:off x="8519099" y="5544714"/>
              <a:ext cx="12494" cy="2456"/>
            </a:xfrm>
            <a:custGeom>
              <a:avLst/>
              <a:gdLst>
                <a:gd name="connsiteX0" fmla="*/ 0 w 12494"/>
                <a:gd name="connsiteY0" fmla="*/ 1332 h 2456"/>
                <a:gd name="connsiteX1" fmla="*/ 0 w 12494"/>
                <a:gd name="connsiteY1" fmla="*/ 2456 h 2456"/>
                <a:gd name="connsiteX2" fmla="*/ 0 w 12494"/>
                <a:gd name="connsiteY2" fmla="*/ 207 h 2456"/>
                <a:gd name="connsiteX3" fmla="*/ 0 w 12494"/>
                <a:gd name="connsiteY3" fmla="*/ 1332 h 2456"/>
              </a:gdLst>
              <a:ahLst/>
              <a:cxnLst>
                <a:cxn ang="0">
                  <a:pos x="connsiteX0" y="connsiteY0"/>
                </a:cxn>
                <a:cxn ang="0">
                  <a:pos x="connsiteX1" y="connsiteY1"/>
                </a:cxn>
                <a:cxn ang="0">
                  <a:pos x="connsiteX2" y="connsiteY2"/>
                </a:cxn>
                <a:cxn ang="0">
                  <a:pos x="connsiteX3" y="connsiteY3"/>
                </a:cxn>
              </a:cxnLst>
              <a:rect l="l" t="t" r="r" b="b"/>
              <a:pathLst>
                <a:path w="12494" h="2456">
                  <a:moveTo>
                    <a:pt x="0" y="1332"/>
                  </a:moveTo>
                  <a:lnTo>
                    <a:pt x="0" y="2456"/>
                  </a:lnTo>
                  <a:cubicBezTo>
                    <a:pt x="0" y="1706"/>
                    <a:pt x="0" y="957"/>
                    <a:pt x="0" y="207"/>
                  </a:cubicBezTo>
                  <a:cubicBezTo>
                    <a:pt x="0" y="-543"/>
                    <a:pt x="0" y="957"/>
                    <a:pt x="0" y="1332"/>
                  </a:cubicBezTo>
                  <a:close/>
                </a:path>
              </a:pathLst>
            </a:custGeom>
            <a:solidFill>
              <a:srgbClr val="000000"/>
            </a:solidFill>
            <a:ln w="12483" cap="flat">
              <a:noFill/>
              <a:prstDash val="solid"/>
              <a:miter/>
            </a:ln>
          </p:spPr>
          <p:txBody>
            <a:bodyPr rtlCol="0" anchor="ctr"/>
            <a:lstStyle/>
            <a:p>
              <a:endParaRPr lang="en-US"/>
            </a:p>
          </p:txBody>
        </p:sp>
        <p:sp>
          <p:nvSpPr>
            <p:cNvPr id="1694" name="Freeform: Shape 1693">
              <a:extLst>
                <a:ext uri="{FF2B5EF4-FFF2-40B4-BE49-F238E27FC236}">
                  <a16:creationId xmlns:a16="http://schemas.microsoft.com/office/drawing/2014/main" id="{F1D9BAA5-9083-4AC8-8EF8-47560636A819}"/>
                </a:ext>
              </a:extLst>
            </p:cNvPr>
            <p:cNvSpPr/>
            <p:nvPr/>
          </p:nvSpPr>
          <p:spPr>
            <a:xfrm>
              <a:off x="8519849" y="5541797"/>
              <a:ext cx="874" cy="1874"/>
            </a:xfrm>
            <a:custGeom>
              <a:avLst/>
              <a:gdLst>
                <a:gd name="connsiteX0" fmla="*/ 0 w 874"/>
                <a:gd name="connsiteY0" fmla="*/ 875 h 1874"/>
                <a:gd name="connsiteX1" fmla="*/ 0 w 874"/>
                <a:gd name="connsiteY1" fmla="*/ 1874 h 1874"/>
                <a:gd name="connsiteX2" fmla="*/ 875 w 874"/>
                <a:gd name="connsiteY2" fmla="*/ 0 h 1874"/>
                <a:gd name="connsiteX3" fmla="*/ 0 w 874"/>
                <a:gd name="connsiteY3" fmla="*/ 875 h 1874"/>
              </a:gdLst>
              <a:ahLst/>
              <a:cxnLst>
                <a:cxn ang="0">
                  <a:pos x="connsiteX0" y="connsiteY0"/>
                </a:cxn>
                <a:cxn ang="0">
                  <a:pos x="connsiteX1" y="connsiteY1"/>
                </a:cxn>
                <a:cxn ang="0">
                  <a:pos x="connsiteX2" y="connsiteY2"/>
                </a:cxn>
                <a:cxn ang="0">
                  <a:pos x="connsiteX3" y="connsiteY3"/>
                </a:cxn>
              </a:cxnLst>
              <a:rect l="l" t="t" r="r" b="b"/>
              <a:pathLst>
                <a:path w="874" h="1874">
                  <a:moveTo>
                    <a:pt x="0" y="875"/>
                  </a:moveTo>
                  <a:lnTo>
                    <a:pt x="0" y="1874"/>
                  </a:lnTo>
                  <a:cubicBezTo>
                    <a:pt x="237" y="1225"/>
                    <a:pt x="537" y="600"/>
                    <a:pt x="875" y="0"/>
                  </a:cubicBezTo>
                  <a:cubicBezTo>
                    <a:pt x="612" y="325"/>
                    <a:pt x="325" y="612"/>
                    <a:pt x="0" y="875"/>
                  </a:cubicBezTo>
                  <a:close/>
                </a:path>
              </a:pathLst>
            </a:custGeom>
            <a:solidFill>
              <a:srgbClr val="000000"/>
            </a:solidFill>
            <a:ln w="12483" cap="flat">
              <a:noFill/>
              <a:prstDash val="solid"/>
              <a:miter/>
            </a:ln>
          </p:spPr>
          <p:txBody>
            <a:bodyPr rtlCol="0" anchor="ctr"/>
            <a:lstStyle/>
            <a:p>
              <a:endParaRPr lang="en-US"/>
            </a:p>
          </p:txBody>
        </p:sp>
        <p:sp>
          <p:nvSpPr>
            <p:cNvPr id="1695" name="Freeform: Shape 1694">
              <a:extLst>
                <a:ext uri="{FF2B5EF4-FFF2-40B4-BE49-F238E27FC236}">
                  <a16:creationId xmlns:a16="http://schemas.microsoft.com/office/drawing/2014/main" id="{C7356035-1516-4C74-A66F-5133AAC8D20D}"/>
                </a:ext>
              </a:extLst>
            </p:cNvPr>
            <p:cNvSpPr/>
            <p:nvPr/>
          </p:nvSpPr>
          <p:spPr>
            <a:xfrm>
              <a:off x="8523597" y="5293608"/>
              <a:ext cx="446226" cy="259434"/>
            </a:xfrm>
            <a:custGeom>
              <a:avLst/>
              <a:gdLst>
                <a:gd name="connsiteX0" fmla="*/ 13369 w 446226"/>
                <a:gd name="connsiteY0" fmla="*/ 251563 h 259434"/>
                <a:gd name="connsiteX1" fmla="*/ 13369 w 446226"/>
                <a:gd name="connsiteY1" fmla="*/ 253687 h 259434"/>
                <a:gd name="connsiteX2" fmla="*/ 13369 w 446226"/>
                <a:gd name="connsiteY2" fmla="*/ 253687 h 259434"/>
                <a:gd name="connsiteX3" fmla="*/ 13369 w 446226"/>
                <a:gd name="connsiteY3" fmla="*/ 259435 h 259434"/>
                <a:gd name="connsiteX4" fmla="*/ 17992 w 446226"/>
                <a:gd name="connsiteY4" fmla="*/ 256811 h 259434"/>
                <a:gd name="connsiteX5" fmla="*/ 441059 w 446226"/>
                <a:gd name="connsiteY5" fmla="*/ 20655 h 259434"/>
                <a:gd name="connsiteX6" fmla="*/ 445433 w 446226"/>
                <a:gd name="connsiteY6" fmla="*/ 6161 h 259434"/>
                <a:gd name="connsiteX7" fmla="*/ 435149 w 446226"/>
                <a:gd name="connsiteY7" fmla="*/ 301 h 259434"/>
                <a:gd name="connsiteX8" fmla="*/ 433563 w 446226"/>
                <a:gd name="connsiteY8" fmla="*/ 913 h 259434"/>
                <a:gd name="connsiteX9" fmla="*/ 432813 w 446226"/>
                <a:gd name="connsiteY9" fmla="*/ 913 h 259434"/>
                <a:gd name="connsiteX10" fmla="*/ 429814 w 446226"/>
                <a:gd name="connsiteY10" fmla="*/ 2662 h 259434"/>
                <a:gd name="connsiteX11" fmla="*/ 0 w 446226"/>
                <a:gd name="connsiteY11" fmla="*/ 242567 h 259434"/>
                <a:gd name="connsiteX12" fmla="*/ 0 w 446226"/>
                <a:gd name="connsiteY12" fmla="*/ 242567 h 259434"/>
                <a:gd name="connsiteX13" fmla="*/ 2999 w 446226"/>
                <a:gd name="connsiteY13" fmla="*/ 241442 h 259434"/>
                <a:gd name="connsiteX14" fmla="*/ 13344 w 446226"/>
                <a:gd name="connsiteY14" fmla="*/ 250001 h 259434"/>
                <a:gd name="connsiteX15" fmla="*/ 13369 w 446226"/>
                <a:gd name="connsiteY15" fmla="*/ 251563 h 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6226" h="259434">
                  <a:moveTo>
                    <a:pt x="13369" y="251563"/>
                  </a:moveTo>
                  <a:lnTo>
                    <a:pt x="13369" y="253687"/>
                  </a:lnTo>
                  <a:lnTo>
                    <a:pt x="13369" y="253687"/>
                  </a:lnTo>
                  <a:lnTo>
                    <a:pt x="13369" y="259435"/>
                  </a:lnTo>
                  <a:lnTo>
                    <a:pt x="17992" y="256811"/>
                  </a:lnTo>
                  <a:lnTo>
                    <a:pt x="441059" y="20655"/>
                  </a:lnTo>
                  <a:cubicBezTo>
                    <a:pt x="445607" y="17356"/>
                    <a:pt x="447407" y="11421"/>
                    <a:pt x="445433" y="6161"/>
                  </a:cubicBezTo>
                  <a:cubicBezTo>
                    <a:pt x="444208" y="1700"/>
                    <a:pt x="439610" y="-924"/>
                    <a:pt x="435149" y="301"/>
                  </a:cubicBezTo>
                  <a:cubicBezTo>
                    <a:pt x="434600" y="451"/>
                    <a:pt x="434063" y="650"/>
                    <a:pt x="433563" y="913"/>
                  </a:cubicBezTo>
                  <a:lnTo>
                    <a:pt x="432813" y="913"/>
                  </a:lnTo>
                  <a:lnTo>
                    <a:pt x="429814" y="2662"/>
                  </a:lnTo>
                  <a:lnTo>
                    <a:pt x="0" y="242567"/>
                  </a:lnTo>
                  <a:lnTo>
                    <a:pt x="0" y="242567"/>
                  </a:lnTo>
                  <a:cubicBezTo>
                    <a:pt x="912" y="241992"/>
                    <a:pt x="1937" y="241605"/>
                    <a:pt x="2999" y="241442"/>
                  </a:cubicBezTo>
                  <a:cubicBezTo>
                    <a:pt x="8221" y="240942"/>
                    <a:pt x="12857" y="244778"/>
                    <a:pt x="13344" y="250001"/>
                  </a:cubicBezTo>
                  <a:cubicBezTo>
                    <a:pt x="13394" y="250513"/>
                    <a:pt x="13407" y="251038"/>
                    <a:pt x="13369" y="251563"/>
                  </a:cubicBezTo>
                  <a:close/>
                </a:path>
              </a:pathLst>
            </a:custGeom>
            <a:solidFill>
              <a:srgbClr val="000000"/>
            </a:solidFill>
            <a:ln w="12483" cap="flat">
              <a:noFill/>
              <a:prstDash val="solid"/>
              <a:miter/>
            </a:ln>
          </p:spPr>
          <p:txBody>
            <a:bodyPr rtlCol="0" anchor="ctr"/>
            <a:lstStyle/>
            <a:p>
              <a:endParaRPr lang="en-US"/>
            </a:p>
          </p:txBody>
        </p:sp>
        <p:sp>
          <p:nvSpPr>
            <p:cNvPr id="1696" name="Freeform: Shape 1695">
              <a:extLst>
                <a:ext uri="{FF2B5EF4-FFF2-40B4-BE49-F238E27FC236}">
                  <a16:creationId xmlns:a16="http://schemas.microsoft.com/office/drawing/2014/main" id="{A2FBE0A1-B8B1-4838-AC69-E79D09EA2B79}"/>
                </a:ext>
              </a:extLst>
            </p:cNvPr>
            <p:cNvSpPr/>
            <p:nvPr/>
          </p:nvSpPr>
          <p:spPr>
            <a:xfrm>
              <a:off x="8521848" y="5538174"/>
              <a:ext cx="1124" cy="1249"/>
            </a:xfrm>
            <a:custGeom>
              <a:avLst/>
              <a:gdLst>
                <a:gd name="connsiteX0" fmla="*/ 0 w 1124"/>
                <a:gd name="connsiteY0" fmla="*/ 500 h 1249"/>
                <a:gd name="connsiteX1" fmla="*/ 0 w 1124"/>
                <a:gd name="connsiteY1" fmla="*/ 1249 h 1249"/>
                <a:gd name="connsiteX2" fmla="*/ 1124 w 1124"/>
                <a:gd name="connsiteY2" fmla="*/ 0 h 1249"/>
                <a:gd name="connsiteX3" fmla="*/ 0 w 1124"/>
                <a:gd name="connsiteY3" fmla="*/ 500 h 1249"/>
              </a:gdLst>
              <a:ahLst/>
              <a:cxnLst>
                <a:cxn ang="0">
                  <a:pos x="connsiteX0" y="connsiteY0"/>
                </a:cxn>
                <a:cxn ang="0">
                  <a:pos x="connsiteX1" y="connsiteY1"/>
                </a:cxn>
                <a:cxn ang="0">
                  <a:pos x="connsiteX2" y="connsiteY2"/>
                </a:cxn>
                <a:cxn ang="0">
                  <a:pos x="connsiteX3" y="connsiteY3"/>
                </a:cxn>
              </a:cxnLst>
              <a:rect l="l" t="t" r="r" b="b"/>
              <a:pathLst>
                <a:path w="1124" h="1249">
                  <a:moveTo>
                    <a:pt x="0" y="500"/>
                  </a:moveTo>
                  <a:lnTo>
                    <a:pt x="0" y="1249"/>
                  </a:lnTo>
                  <a:lnTo>
                    <a:pt x="1124" y="0"/>
                  </a:lnTo>
                  <a:cubicBezTo>
                    <a:pt x="1124" y="0"/>
                    <a:pt x="125" y="375"/>
                    <a:pt x="0" y="500"/>
                  </a:cubicBezTo>
                  <a:close/>
                </a:path>
              </a:pathLst>
            </a:custGeom>
            <a:solidFill>
              <a:srgbClr val="000000"/>
            </a:solidFill>
            <a:ln w="12483" cap="flat">
              <a:noFill/>
              <a:prstDash val="solid"/>
              <a:miter/>
            </a:ln>
          </p:spPr>
          <p:txBody>
            <a:bodyPr rtlCol="0" anchor="ctr"/>
            <a:lstStyle/>
            <a:p>
              <a:endParaRPr lang="en-US"/>
            </a:p>
          </p:txBody>
        </p:sp>
        <p:sp>
          <p:nvSpPr>
            <p:cNvPr id="1697" name="Freeform: Shape 1696">
              <a:extLst>
                <a:ext uri="{FF2B5EF4-FFF2-40B4-BE49-F238E27FC236}">
                  <a16:creationId xmlns:a16="http://schemas.microsoft.com/office/drawing/2014/main" id="{B7A19005-3874-4E1D-AEBD-E1D059C1F7AB}"/>
                </a:ext>
              </a:extLst>
            </p:cNvPr>
            <p:cNvSpPr/>
            <p:nvPr/>
          </p:nvSpPr>
          <p:spPr>
            <a:xfrm>
              <a:off x="7925731" y="3827356"/>
              <a:ext cx="34360" cy="49230"/>
            </a:xfrm>
            <a:custGeom>
              <a:avLst/>
              <a:gdLst>
                <a:gd name="connsiteX0" fmla="*/ 34360 w 34360"/>
                <a:gd name="connsiteY0" fmla="*/ 49230 h 49230"/>
                <a:gd name="connsiteX1" fmla="*/ 32361 w 34360"/>
                <a:gd name="connsiteY1" fmla="*/ 42608 h 49230"/>
                <a:gd name="connsiteX2" fmla="*/ 7372 w 34360"/>
                <a:gd name="connsiteY2" fmla="*/ 6997 h 49230"/>
                <a:gd name="connsiteX3" fmla="*/ 7372 w 34360"/>
                <a:gd name="connsiteY3" fmla="*/ 4498 h 49230"/>
                <a:gd name="connsiteX4" fmla="*/ 0 w 34360"/>
                <a:gd name="connsiteY4" fmla="*/ 0 h 49230"/>
                <a:gd name="connsiteX5" fmla="*/ 0 w 34360"/>
                <a:gd name="connsiteY5" fmla="*/ 750 h 49230"/>
                <a:gd name="connsiteX6" fmla="*/ 3623 w 34360"/>
                <a:gd name="connsiteY6" fmla="*/ 5998 h 49230"/>
                <a:gd name="connsiteX7" fmla="*/ 5748 w 34360"/>
                <a:gd name="connsiteY7" fmla="*/ 8996 h 4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0" h="49230">
                  <a:moveTo>
                    <a:pt x="34360" y="49230"/>
                  </a:moveTo>
                  <a:cubicBezTo>
                    <a:pt x="33086" y="47256"/>
                    <a:pt x="32386" y="44957"/>
                    <a:pt x="32361" y="42608"/>
                  </a:cubicBezTo>
                  <a:lnTo>
                    <a:pt x="7372" y="6997"/>
                  </a:lnTo>
                  <a:cubicBezTo>
                    <a:pt x="6872" y="6235"/>
                    <a:pt x="6872" y="5260"/>
                    <a:pt x="7372" y="4498"/>
                  </a:cubicBezTo>
                  <a:cubicBezTo>
                    <a:pt x="4273" y="4486"/>
                    <a:pt x="1437" y="2749"/>
                    <a:pt x="0" y="0"/>
                  </a:cubicBezTo>
                  <a:cubicBezTo>
                    <a:pt x="0" y="0"/>
                    <a:pt x="0" y="0"/>
                    <a:pt x="0" y="750"/>
                  </a:cubicBezTo>
                  <a:lnTo>
                    <a:pt x="3623" y="5998"/>
                  </a:lnTo>
                  <a:lnTo>
                    <a:pt x="5748" y="8996"/>
                  </a:lnTo>
                  <a:close/>
                </a:path>
              </a:pathLst>
            </a:custGeom>
            <a:solidFill>
              <a:srgbClr val="000000"/>
            </a:solidFill>
            <a:ln w="12483" cap="flat">
              <a:noFill/>
              <a:prstDash val="solid"/>
              <a:miter/>
            </a:ln>
          </p:spPr>
          <p:txBody>
            <a:bodyPr rtlCol="0" anchor="ctr"/>
            <a:lstStyle/>
            <a:p>
              <a:endParaRPr lang="en-US"/>
            </a:p>
          </p:txBody>
        </p:sp>
        <p:sp>
          <p:nvSpPr>
            <p:cNvPr id="1698" name="Freeform: Shape 1697">
              <a:extLst>
                <a:ext uri="{FF2B5EF4-FFF2-40B4-BE49-F238E27FC236}">
                  <a16:creationId xmlns:a16="http://schemas.microsoft.com/office/drawing/2014/main" id="{2EDB2263-2964-405A-B681-5801A17404BB}"/>
                </a:ext>
              </a:extLst>
            </p:cNvPr>
            <p:cNvSpPr/>
            <p:nvPr/>
          </p:nvSpPr>
          <p:spPr>
            <a:xfrm>
              <a:off x="7934852" y="3816610"/>
              <a:ext cx="38858" cy="48480"/>
            </a:xfrm>
            <a:custGeom>
              <a:avLst/>
              <a:gdLst>
                <a:gd name="connsiteX0" fmla="*/ 23990 w 38858"/>
                <a:gd name="connsiteY0" fmla="*/ 48481 h 48480"/>
                <a:gd name="connsiteX1" fmla="*/ 26364 w 38858"/>
                <a:gd name="connsiteY1" fmla="*/ 44732 h 48480"/>
                <a:gd name="connsiteX2" fmla="*/ 37671 w 38858"/>
                <a:gd name="connsiteY2" fmla="*/ 44533 h 48480"/>
                <a:gd name="connsiteX3" fmla="*/ 38858 w 38858"/>
                <a:gd name="connsiteY3" fmla="*/ 45982 h 48480"/>
                <a:gd name="connsiteX4" fmla="*/ 6747 w 38858"/>
                <a:gd name="connsiteY4" fmla="*/ 0 h 48480"/>
                <a:gd name="connsiteX5" fmla="*/ 6747 w 38858"/>
                <a:gd name="connsiteY5" fmla="*/ 3124 h 48480"/>
                <a:gd name="connsiteX6" fmla="*/ 0 w 38858"/>
                <a:gd name="connsiteY6" fmla="*/ 14994 h 48480"/>
                <a:gd name="connsiteX7" fmla="*/ 0 w 38858"/>
                <a:gd name="connsiteY7" fmla="*/ 14994 h 4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58" h="48480">
                  <a:moveTo>
                    <a:pt x="23990" y="48481"/>
                  </a:moveTo>
                  <a:cubicBezTo>
                    <a:pt x="24502" y="47081"/>
                    <a:pt x="25314" y="45807"/>
                    <a:pt x="26364" y="44732"/>
                  </a:cubicBezTo>
                  <a:cubicBezTo>
                    <a:pt x="29425" y="41559"/>
                    <a:pt x="34498" y="41459"/>
                    <a:pt x="37671" y="44533"/>
                  </a:cubicBezTo>
                  <a:cubicBezTo>
                    <a:pt x="38121" y="44970"/>
                    <a:pt x="38521" y="45457"/>
                    <a:pt x="38858" y="45982"/>
                  </a:cubicBezTo>
                  <a:lnTo>
                    <a:pt x="6747" y="0"/>
                  </a:lnTo>
                  <a:lnTo>
                    <a:pt x="6747" y="3124"/>
                  </a:lnTo>
                  <a:cubicBezTo>
                    <a:pt x="7572" y="8172"/>
                    <a:pt x="4761" y="13120"/>
                    <a:pt x="0" y="14994"/>
                  </a:cubicBezTo>
                  <a:lnTo>
                    <a:pt x="0" y="14994"/>
                  </a:lnTo>
                  <a:close/>
                </a:path>
              </a:pathLst>
            </a:custGeom>
            <a:solidFill>
              <a:srgbClr val="000000"/>
            </a:solidFill>
            <a:ln w="12483" cap="flat">
              <a:noFill/>
              <a:prstDash val="solid"/>
              <a:miter/>
            </a:ln>
          </p:spPr>
          <p:txBody>
            <a:bodyPr rtlCol="0" anchor="ctr"/>
            <a:lstStyle/>
            <a:p>
              <a:endParaRPr lang="en-US"/>
            </a:p>
          </p:txBody>
        </p:sp>
        <p:sp>
          <p:nvSpPr>
            <p:cNvPr id="1699" name="Freeform: Shape 1698">
              <a:extLst>
                <a:ext uri="{FF2B5EF4-FFF2-40B4-BE49-F238E27FC236}">
                  <a16:creationId xmlns:a16="http://schemas.microsoft.com/office/drawing/2014/main" id="{6EBBA8BD-AC81-40D9-9A52-A50424CD24F5}"/>
                </a:ext>
              </a:extLst>
            </p:cNvPr>
            <p:cNvSpPr/>
            <p:nvPr/>
          </p:nvSpPr>
          <p:spPr>
            <a:xfrm>
              <a:off x="12094179" y="2022615"/>
              <a:ext cx="33042" cy="192758"/>
            </a:xfrm>
            <a:custGeom>
              <a:avLst/>
              <a:gdLst>
                <a:gd name="connsiteX0" fmla="*/ 14870 w 33042"/>
                <a:gd name="connsiteY0" fmla="*/ 8956 h 192758"/>
                <a:gd name="connsiteX1" fmla="*/ 14870 w 33042"/>
                <a:gd name="connsiteY1" fmla="*/ 14829 h 192758"/>
                <a:gd name="connsiteX2" fmla="*/ 14870 w 33042"/>
                <a:gd name="connsiteY2" fmla="*/ 17078 h 192758"/>
                <a:gd name="connsiteX3" fmla="*/ 1 w 33042"/>
                <a:gd name="connsiteY3" fmla="*/ 190009 h 192758"/>
                <a:gd name="connsiteX4" fmla="*/ 9497 w 33042"/>
                <a:gd name="connsiteY4" fmla="*/ 180263 h 192758"/>
                <a:gd name="connsiteX5" fmla="*/ 9871 w 33042"/>
                <a:gd name="connsiteY5" fmla="*/ 180263 h 192758"/>
                <a:gd name="connsiteX6" fmla="*/ 17868 w 33042"/>
                <a:gd name="connsiteY6" fmla="*/ 192758 h 192758"/>
                <a:gd name="connsiteX7" fmla="*/ 17868 w 33042"/>
                <a:gd name="connsiteY7" fmla="*/ 186886 h 192758"/>
                <a:gd name="connsiteX8" fmla="*/ 32987 w 33042"/>
                <a:gd name="connsiteY8" fmla="*/ 11955 h 192758"/>
                <a:gd name="connsiteX9" fmla="*/ 32987 w 33042"/>
                <a:gd name="connsiteY9" fmla="*/ 10831 h 192758"/>
                <a:gd name="connsiteX10" fmla="*/ 32987 w 33042"/>
                <a:gd name="connsiteY10" fmla="*/ 8707 h 192758"/>
                <a:gd name="connsiteX11" fmla="*/ 32987 w 33042"/>
                <a:gd name="connsiteY11" fmla="*/ 6707 h 192758"/>
                <a:gd name="connsiteX12" fmla="*/ 32112 w 33042"/>
                <a:gd name="connsiteY12" fmla="*/ 4958 h 192758"/>
                <a:gd name="connsiteX13" fmla="*/ 30987 w 33042"/>
                <a:gd name="connsiteY13" fmla="*/ 3334 h 192758"/>
                <a:gd name="connsiteX14" fmla="*/ 25740 w 33042"/>
                <a:gd name="connsiteY14" fmla="*/ 85 h 192758"/>
                <a:gd name="connsiteX15" fmla="*/ 14932 w 33042"/>
                <a:gd name="connsiteY15" fmla="*/ 8344 h 192758"/>
                <a:gd name="connsiteX16" fmla="*/ 14870 w 33042"/>
                <a:gd name="connsiteY16" fmla="*/ 8956 h 19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42" h="192758">
                  <a:moveTo>
                    <a:pt x="14870" y="8956"/>
                  </a:moveTo>
                  <a:lnTo>
                    <a:pt x="14870" y="14829"/>
                  </a:lnTo>
                  <a:lnTo>
                    <a:pt x="14870" y="17078"/>
                  </a:lnTo>
                  <a:lnTo>
                    <a:pt x="1" y="190009"/>
                  </a:lnTo>
                  <a:cubicBezTo>
                    <a:pt x="-74" y="184699"/>
                    <a:pt x="4174" y="180326"/>
                    <a:pt x="9497" y="180263"/>
                  </a:cubicBezTo>
                  <a:cubicBezTo>
                    <a:pt x="9622" y="180263"/>
                    <a:pt x="9746" y="180263"/>
                    <a:pt x="9871" y="180263"/>
                  </a:cubicBezTo>
                  <a:cubicBezTo>
                    <a:pt x="15532" y="181513"/>
                    <a:pt x="19105" y="187098"/>
                    <a:pt x="17868" y="192758"/>
                  </a:cubicBezTo>
                  <a:lnTo>
                    <a:pt x="17868" y="186886"/>
                  </a:lnTo>
                  <a:lnTo>
                    <a:pt x="32987" y="11955"/>
                  </a:lnTo>
                  <a:cubicBezTo>
                    <a:pt x="32987" y="11955"/>
                    <a:pt x="32987" y="11206"/>
                    <a:pt x="32987" y="10831"/>
                  </a:cubicBezTo>
                  <a:cubicBezTo>
                    <a:pt x="33049" y="10118"/>
                    <a:pt x="33049" y="9419"/>
                    <a:pt x="32987" y="8707"/>
                  </a:cubicBezTo>
                  <a:cubicBezTo>
                    <a:pt x="33062" y="8044"/>
                    <a:pt x="33062" y="7370"/>
                    <a:pt x="32987" y="6707"/>
                  </a:cubicBezTo>
                  <a:lnTo>
                    <a:pt x="32112" y="4958"/>
                  </a:lnTo>
                  <a:cubicBezTo>
                    <a:pt x="31850" y="4346"/>
                    <a:pt x="31475" y="3796"/>
                    <a:pt x="30987" y="3334"/>
                  </a:cubicBezTo>
                  <a:cubicBezTo>
                    <a:pt x="29750" y="1584"/>
                    <a:pt x="27864" y="410"/>
                    <a:pt x="25740" y="85"/>
                  </a:cubicBezTo>
                  <a:cubicBezTo>
                    <a:pt x="20467" y="-615"/>
                    <a:pt x="15631" y="3084"/>
                    <a:pt x="14932" y="8344"/>
                  </a:cubicBezTo>
                  <a:cubicBezTo>
                    <a:pt x="14907" y="8557"/>
                    <a:pt x="14882" y="8757"/>
                    <a:pt x="14870" y="8956"/>
                  </a:cubicBezTo>
                  <a:close/>
                </a:path>
              </a:pathLst>
            </a:custGeom>
            <a:solidFill>
              <a:srgbClr val="000000"/>
            </a:solidFill>
            <a:ln w="12483" cap="flat">
              <a:noFill/>
              <a:prstDash val="solid"/>
              <a:miter/>
            </a:ln>
          </p:spPr>
          <p:txBody>
            <a:bodyPr rtlCol="0" anchor="ctr"/>
            <a:lstStyle/>
            <a:p>
              <a:endParaRPr lang="en-US"/>
            </a:p>
          </p:txBody>
        </p:sp>
        <p:sp>
          <p:nvSpPr>
            <p:cNvPr id="1700" name="Freeform: Shape 1699">
              <a:extLst>
                <a:ext uri="{FF2B5EF4-FFF2-40B4-BE49-F238E27FC236}">
                  <a16:creationId xmlns:a16="http://schemas.microsoft.com/office/drawing/2014/main" id="{079872D8-93B9-42FC-AADC-46B0615610A5}"/>
                </a:ext>
              </a:extLst>
            </p:cNvPr>
            <p:cNvSpPr/>
            <p:nvPr/>
          </p:nvSpPr>
          <p:spPr>
            <a:xfrm>
              <a:off x="12089419" y="2202250"/>
              <a:ext cx="22029" cy="68608"/>
            </a:xfrm>
            <a:custGeom>
              <a:avLst/>
              <a:gdLst>
                <a:gd name="connsiteX0" fmla="*/ 13882 w 22029"/>
                <a:gd name="connsiteY0" fmla="*/ 3 h 68608"/>
                <a:gd name="connsiteX1" fmla="*/ 4011 w 22029"/>
                <a:gd name="connsiteY1" fmla="*/ 9375 h 68608"/>
                <a:gd name="connsiteX2" fmla="*/ 4011 w 22029"/>
                <a:gd name="connsiteY2" fmla="*/ 9749 h 68608"/>
                <a:gd name="connsiteX3" fmla="*/ 13 w 22029"/>
                <a:gd name="connsiteY3" fmla="*/ 56731 h 68608"/>
                <a:gd name="connsiteX4" fmla="*/ 763 w 22029"/>
                <a:gd name="connsiteY4" fmla="*/ 62104 h 68608"/>
                <a:gd name="connsiteX5" fmla="*/ 8010 w 22029"/>
                <a:gd name="connsiteY5" fmla="*/ 68601 h 68608"/>
                <a:gd name="connsiteX6" fmla="*/ 17880 w 22029"/>
                <a:gd name="connsiteY6" fmla="*/ 59492 h 68608"/>
                <a:gd name="connsiteX7" fmla="*/ 17880 w 22029"/>
                <a:gd name="connsiteY7" fmla="*/ 58980 h 68608"/>
                <a:gd name="connsiteX8" fmla="*/ 20254 w 22029"/>
                <a:gd name="connsiteY8" fmla="*/ 31990 h 68608"/>
                <a:gd name="connsiteX9" fmla="*/ 21878 w 22029"/>
                <a:gd name="connsiteY9" fmla="*/ 11998 h 68608"/>
                <a:gd name="connsiteX10" fmla="*/ 13882 w 22029"/>
                <a:gd name="connsiteY10" fmla="*/ 3 h 6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29" h="68608">
                  <a:moveTo>
                    <a:pt x="13882" y="3"/>
                  </a:moveTo>
                  <a:cubicBezTo>
                    <a:pt x="8572" y="-134"/>
                    <a:pt x="4149" y="4064"/>
                    <a:pt x="4011" y="9375"/>
                  </a:cubicBezTo>
                  <a:cubicBezTo>
                    <a:pt x="4011" y="9499"/>
                    <a:pt x="4011" y="9624"/>
                    <a:pt x="4011" y="9749"/>
                  </a:cubicBezTo>
                  <a:lnTo>
                    <a:pt x="13" y="56731"/>
                  </a:lnTo>
                  <a:cubicBezTo>
                    <a:pt x="-62" y="58555"/>
                    <a:pt x="188" y="60367"/>
                    <a:pt x="763" y="62104"/>
                  </a:cubicBezTo>
                  <a:cubicBezTo>
                    <a:pt x="1725" y="65490"/>
                    <a:pt x="4548" y="68014"/>
                    <a:pt x="8010" y="68601"/>
                  </a:cubicBezTo>
                  <a:cubicBezTo>
                    <a:pt x="13245" y="68813"/>
                    <a:pt x="17668" y="64727"/>
                    <a:pt x="17880" y="59492"/>
                  </a:cubicBezTo>
                  <a:cubicBezTo>
                    <a:pt x="17880" y="59317"/>
                    <a:pt x="17880" y="59155"/>
                    <a:pt x="17880" y="58980"/>
                  </a:cubicBezTo>
                  <a:lnTo>
                    <a:pt x="20254" y="31990"/>
                  </a:lnTo>
                  <a:lnTo>
                    <a:pt x="21878" y="11998"/>
                  </a:lnTo>
                  <a:cubicBezTo>
                    <a:pt x="22816" y="6513"/>
                    <a:pt x="19305" y="1253"/>
                    <a:pt x="13882" y="3"/>
                  </a:cubicBezTo>
                  <a:close/>
                </a:path>
              </a:pathLst>
            </a:custGeom>
            <a:solidFill>
              <a:srgbClr val="000000"/>
            </a:solidFill>
            <a:ln w="12483" cap="flat">
              <a:noFill/>
              <a:prstDash val="solid"/>
              <a:miter/>
            </a:ln>
          </p:spPr>
          <p:txBody>
            <a:bodyPr rtlCol="0" anchor="ctr"/>
            <a:lstStyle/>
            <a:p>
              <a:endParaRPr lang="en-US"/>
            </a:p>
          </p:txBody>
        </p:sp>
        <p:sp>
          <p:nvSpPr>
            <p:cNvPr id="1701" name="Freeform: Shape 1700">
              <a:extLst>
                <a:ext uri="{FF2B5EF4-FFF2-40B4-BE49-F238E27FC236}">
                  <a16:creationId xmlns:a16="http://schemas.microsoft.com/office/drawing/2014/main" id="{E85BF748-F152-4851-9ADD-30795919D262}"/>
                </a:ext>
              </a:extLst>
            </p:cNvPr>
            <p:cNvSpPr/>
            <p:nvPr/>
          </p:nvSpPr>
          <p:spPr>
            <a:xfrm>
              <a:off x="7741810" y="6719077"/>
              <a:ext cx="39358" cy="153438"/>
            </a:xfrm>
            <a:custGeom>
              <a:avLst/>
              <a:gdLst>
                <a:gd name="connsiteX0" fmla="*/ 10371 w 39358"/>
                <a:gd name="connsiteY0" fmla="*/ 12370 h 153438"/>
                <a:gd name="connsiteX1" fmla="*/ 50 w 39358"/>
                <a:gd name="connsiteY1" fmla="*/ 4061 h 153438"/>
                <a:gd name="connsiteX2" fmla="*/ 0 w 39358"/>
                <a:gd name="connsiteY2" fmla="*/ 3499 h 153438"/>
                <a:gd name="connsiteX3" fmla="*/ 21116 w 39358"/>
                <a:gd name="connsiteY3" fmla="*/ 153439 h 153438"/>
                <a:gd name="connsiteX4" fmla="*/ 39358 w 39358"/>
                <a:gd name="connsiteY4" fmla="*/ 153439 h 153438"/>
                <a:gd name="connsiteX5" fmla="*/ 17742 w 39358"/>
                <a:gd name="connsiteY5" fmla="*/ 0 h 153438"/>
                <a:gd name="connsiteX6" fmla="*/ 10371 w 39358"/>
                <a:gd name="connsiteY6" fmla="*/ 12370 h 15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58" h="153438">
                  <a:moveTo>
                    <a:pt x="10371" y="12370"/>
                  </a:moveTo>
                  <a:cubicBezTo>
                    <a:pt x="5223" y="12932"/>
                    <a:pt x="600" y="9209"/>
                    <a:pt x="50" y="4061"/>
                  </a:cubicBezTo>
                  <a:cubicBezTo>
                    <a:pt x="25" y="3873"/>
                    <a:pt x="13" y="3686"/>
                    <a:pt x="0" y="3499"/>
                  </a:cubicBezTo>
                  <a:lnTo>
                    <a:pt x="21116" y="153439"/>
                  </a:lnTo>
                  <a:lnTo>
                    <a:pt x="39358" y="153439"/>
                  </a:lnTo>
                  <a:lnTo>
                    <a:pt x="17742" y="0"/>
                  </a:lnTo>
                  <a:cubicBezTo>
                    <a:pt x="18705" y="5385"/>
                    <a:pt x="15556" y="10658"/>
                    <a:pt x="10371" y="12370"/>
                  </a:cubicBezTo>
                  <a:close/>
                </a:path>
              </a:pathLst>
            </a:custGeom>
            <a:solidFill>
              <a:srgbClr val="000000"/>
            </a:solidFill>
            <a:ln w="12483" cap="flat">
              <a:noFill/>
              <a:prstDash val="solid"/>
              <a:miter/>
            </a:ln>
          </p:spPr>
          <p:txBody>
            <a:bodyPr rtlCol="0" anchor="ctr"/>
            <a:lstStyle/>
            <a:p>
              <a:endParaRPr lang="en-US"/>
            </a:p>
          </p:txBody>
        </p:sp>
        <p:sp>
          <p:nvSpPr>
            <p:cNvPr id="1702" name="Freeform: Shape 1701">
              <a:extLst>
                <a:ext uri="{FF2B5EF4-FFF2-40B4-BE49-F238E27FC236}">
                  <a16:creationId xmlns:a16="http://schemas.microsoft.com/office/drawing/2014/main" id="{6E05C329-494B-4E6F-A062-9E89E11C65F4}"/>
                </a:ext>
              </a:extLst>
            </p:cNvPr>
            <p:cNvSpPr/>
            <p:nvPr/>
          </p:nvSpPr>
          <p:spPr>
            <a:xfrm>
              <a:off x="11295824" y="3876086"/>
              <a:ext cx="79790" cy="58015"/>
            </a:xfrm>
            <a:custGeom>
              <a:avLst/>
              <a:gdLst>
                <a:gd name="connsiteX0" fmla="*/ 4823 w 79790"/>
                <a:gd name="connsiteY0" fmla="*/ 37485 h 58015"/>
                <a:gd name="connsiteX1" fmla="*/ 3824 w 79790"/>
                <a:gd name="connsiteY1" fmla="*/ 38360 h 58015"/>
                <a:gd name="connsiteX2" fmla="*/ 2324 w 79790"/>
                <a:gd name="connsiteY2" fmla="*/ 39609 h 58015"/>
                <a:gd name="connsiteX3" fmla="*/ 1325 w 79790"/>
                <a:gd name="connsiteY3" fmla="*/ 41358 h 58015"/>
                <a:gd name="connsiteX4" fmla="*/ 450 w 79790"/>
                <a:gd name="connsiteY4" fmla="*/ 42983 h 58015"/>
                <a:gd name="connsiteX5" fmla="*/ 450 w 79790"/>
                <a:gd name="connsiteY5" fmla="*/ 45232 h 58015"/>
                <a:gd name="connsiteX6" fmla="*/ 450 w 79790"/>
                <a:gd name="connsiteY6" fmla="*/ 51854 h 58015"/>
                <a:gd name="connsiteX7" fmla="*/ 10733 w 79790"/>
                <a:gd name="connsiteY7" fmla="*/ 57715 h 58015"/>
                <a:gd name="connsiteX8" fmla="*/ 12320 w 79790"/>
                <a:gd name="connsiteY8" fmla="*/ 57102 h 58015"/>
                <a:gd name="connsiteX9" fmla="*/ 17318 w 79790"/>
                <a:gd name="connsiteY9" fmla="*/ 54728 h 58015"/>
                <a:gd name="connsiteX10" fmla="*/ 79791 w 79790"/>
                <a:gd name="connsiteY10" fmla="*/ 19742 h 58015"/>
                <a:gd name="connsiteX11" fmla="*/ 68546 w 79790"/>
                <a:gd name="connsiteY11" fmla="*/ 16031 h 58015"/>
                <a:gd name="connsiteX12" fmla="*/ 67921 w 79790"/>
                <a:gd name="connsiteY12" fmla="*/ 14369 h 58015"/>
                <a:gd name="connsiteX13" fmla="*/ 72294 w 79790"/>
                <a:gd name="connsiteY13" fmla="*/ 0 h 58015"/>
                <a:gd name="connsiteX14" fmla="*/ 70545 w 79790"/>
                <a:gd name="connsiteY14" fmla="*/ 1000 h 58015"/>
                <a:gd name="connsiteX15" fmla="*/ 67421 w 79790"/>
                <a:gd name="connsiteY15" fmla="*/ 2749 h 58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90" h="58015">
                  <a:moveTo>
                    <a:pt x="4823" y="37485"/>
                  </a:moveTo>
                  <a:cubicBezTo>
                    <a:pt x="4823" y="37485"/>
                    <a:pt x="4198" y="37485"/>
                    <a:pt x="3824" y="38360"/>
                  </a:cubicBezTo>
                  <a:lnTo>
                    <a:pt x="2324" y="39609"/>
                  </a:lnTo>
                  <a:cubicBezTo>
                    <a:pt x="1924" y="40147"/>
                    <a:pt x="1587" y="40734"/>
                    <a:pt x="1325" y="41358"/>
                  </a:cubicBezTo>
                  <a:cubicBezTo>
                    <a:pt x="912" y="41821"/>
                    <a:pt x="612" y="42383"/>
                    <a:pt x="450" y="42983"/>
                  </a:cubicBezTo>
                  <a:cubicBezTo>
                    <a:pt x="387" y="43733"/>
                    <a:pt x="387" y="44482"/>
                    <a:pt x="450" y="45232"/>
                  </a:cubicBezTo>
                  <a:cubicBezTo>
                    <a:pt x="-150" y="47394"/>
                    <a:pt x="-150" y="49693"/>
                    <a:pt x="450" y="51854"/>
                  </a:cubicBezTo>
                  <a:cubicBezTo>
                    <a:pt x="1674" y="56315"/>
                    <a:pt x="6272" y="58939"/>
                    <a:pt x="10733" y="57715"/>
                  </a:cubicBezTo>
                  <a:cubicBezTo>
                    <a:pt x="11283" y="57564"/>
                    <a:pt x="11820" y="57365"/>
                    <a:pt x="12320" y="57102"/>
                  </a:cubicBezTo>
                  <a:lnTo>
                    <a:pt x="17318" y="54728"/>
                  </a:lnTo>
                  <a:lnTo>
                    <a:pt x="79791" y="19742"/>
                  </a:lnTo>
                  <a:cubicBezTo>
                    <a:pt x="75668" y="21829"/>
                    <a:pt x="70632" y="20167"/>
                    <a:pt x="68546" y="16031"/>
                  </a:cubicBezTo>
                  <a:cubicBezTo>
                    <a:pt x="68283" y="15506"/>
                    <a:pt x="68071" y="14944"/>
                    <a:pt x="67921" y="14369"/>
                  </a:cubicBezTo>
                  <a:cubicBezTo>
                    <a:pt x="66022" y="9146"/>
                    <a:pt x="67796" y="3286"/>
                    <a:pt x="72294" y="0"/>
                  </a:cubicBezTo>
                  <a:lnTo>
                    <a:pt x="70545" y="1000"/>
                  </a:lnTo>
                  <a:lnTo>
                    <a:pt x="67421" y="2749"/>
                  </a:lnTo>
                  <a:close/>
                </a:path>
              </a:pathLst>
            </a:custGeom>
            <a:solidFill>
              <a:srgbClr val="000000"/>
            </a:solidFill>
            <a:ln w="12483" cap="flat">
              <a:noFill/>
              <a:prstDash val="solid"/>
              <a:miter/>
            </a:ln>
          </p:spPr>
          <p:txBody>
            <a:bodyPr rtlCol="0" anchor="ctr"/>
            <a:lstStyle/>
            <a:p>
              <a:endParaRPr lang="en-US"/>
            </a:p>
          </p:txBody>
        </p:sp>
        <p:sp>
          <p:nvSpPr>
            <p:cNvPr id="1703" name="Freeform: Shape 1702">
              <a:extLst>
                <a:ext uri="{FF2B5EF4-FFF2-40B4-BE49-F238E27FC236}">
                  <a16:creationId xmlns:a16="http://schemas.microsoft.com/office/drawing/2014/main" id="{0A0B5225-634A-44C4-9EDC-66ECA55F85D5}"/>
                </a:ext>
              </a:extLst>
            </p:cNvPr>
            <p:cNvSpPr/>
            <p:nvPr/>
          </p:nvSpPr>
          <p:spPr>
            <a:xfrm>
              <a:off x="11540544" y="3783623"/>
              <a:ext cx="42481" cy="53853"/>
            </a:xfrm>
            <a:custGeom>
              <a:avLst/>
              <a:gdLst>
                <a:gd name="connsiteX0" fmla="*/ 5498 w 42481"/>
                <a:gd name="connsiteY0" fmla="*/ 17243 h 53853"/>
                <a:gd name="connsiteX1" fmla="*/ 0 w 42481"/>
                <a:gd name="connsiteY1" fmla="*/ 20242 h 53853"/>
                <a:gd name="connsiteX2" fmla="*/ 29987 w 42481"/>
                <a:gd name="connsiteY2" fmla="*/ 53853 h 53853"/>
                <a:gd name="connsiteX3" fmla="*/ 29987 w 42481"/>
                <a:gd name="connsiteY3" fmla="*/ 38484 h 53853"/>
                <a:gd name="connsiteX4" fmla="*/ 41020 w 42481"/>
                <a:gd name="connsiteY4" fmla="*/ 37023 h 53853"/>
                <a:gd name="connsiteX5" fmla="*/ 42482 w 42481"/>
                <a:gd name="connsiteY5" fmla="*/ 38484 h 53853"/>
                <a:gd name="connsiteX6" fmla="*/ 38858 w 42481"/>
                <a:gd name="connsiteY6" fmla="*/ 34236 h 53853"/>
                <a:gd name="connsiteX7" fmla="*/ 35859 w 42481"/>
                <a:gd name="connsiteY7" fmla="*/ 30988 h 53853"/>
                <a:gd name="connsiteX8" fmla="*/ 8121 w 42481"/>
                <a:gd name="connsiteY8" fmla="*/ 0 h 53853"/>
                <a:gd name="connsiteX9" fmla="*/ 8121 w 42481"/>
                <a:gd name="connsiteY9" fmla="*/ 0 h 53853"/>
                <a:gd name="connsiteX10" fmla="*/ 10245 w 42481"/>
                <a:gd name="connsiteY10" fmla="*/ 3374 h 53853"/>
                <a:gd name="connsiteX11" fmla="*/ 5498 w 42481"/>
                <a:gd name="connsiteY11" fmla="*/ 17243 h 5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481" h="53853">
                  <a:moveTo>
                    <a:pt x="5498" y="17243"/>
                  </a:moveTo>
                  <a:lnTo>
                    <a:pt x="0" y="20242"/>
                  </a:lnTo>
                  <a:lnTo>
                    <a:pt x="29987" y="53853"/>
                  </a:lnTo>
                  <a:cubicBezTo>
                    <a:pt x="26463" y="49330"/>
                    <a:pt x="26463" y="43008"/>
                    <a:pt x="29987" y="38484"/>
                  </a:cubicBezTo>
                  <a:cubicBezTo>
                    <a:pt x="32636" y="35036"/>
                    <a:pt x="37571" y="34386"/>
                    <a:pt x="41020" y="37023"/>
                  </a:cubicBezTo>
                  <a:cubicBezTo>
                    <a:pt x="41569" y="37448"/>
                    <a:pt x="42057" y="37935"/>
                    <a:pt x="42482" y="38484"/>
                  </a:cubicBezTo>
                  <a:lnTo>
                    <a:pt x="38858" y="34236"/>
                  </a:lnTo>
                  <a:lnTo>
                    <a:pt x="35859" y="30988"/>
                  </a:lnTo>
                  <a:lnTo>
                    <a:pt x="8121" y="0"/>
                  </a:lnTo>
                  <a:lnTo>
                    <a:pt x="8121" y="0"/>
                  </a:lnTo>
                  <a:cubicBezTo>
                    <a:pt x="9071" y="949"/>
                    <a:pt x="9796" y="2112"/>
                    <a:pt x="10245" y="3374"/>
                  </a:cubicBezTo>
                  <a:cubicBezTo>
                    <a:pt x="11832" y="8534"/>
                    <a:pt x="9908" y="14132"/>
                    <a:pt x="5498" y="17243"/>
                  </a:cubicBezTo>
                  <a:close/>
                </a:path>
              </a:pathLst>
            </a:custGeom>
            <a:solidFill>
              <a:srgbClr val="000000"/>
            </a:solidFill>
            <a:ln w="12483" cap="flat">
              <a:noFill/>
              <a:prstDash val="solid"/>
              <a:miter/>
            </a:ln>
          </p:spPr>
          <p:txBody>
            <a:bodyPr rtlCol="0" anchor="ctr"/>
            <a:lstStyle/>
            <a:p>
              <a:endParaRPr lang="en-US"/>
            </a:p>
          </p:txBody>
        </p:sp>
        <p:sp>
          <p:nvSpPr>
            <p:cNvPr id="1704" name="Freeform: Shape 1703">
              <a:extLst>
                <a:ext uri="{FF2B5EF4-FFF2-40B4-BE49-F238E27FC236}">
                  <a16:creationId xmlns:a16="http://schemas.microsoft.com/office/drawing/2014/main" id="{6C711FAE-2725-42E9-A15A-A12B682A70BF}"/>
                </a:ext>
              </a:extLst>
            </p:cNvPr>
            <p:cNvSpPr/>
            <p:nvPr/>
          </p:nvSpPr>
          <p:spPr>
            <a:xfrm>
              <a:off x="11567388" y="3818916"/>
              <a:ext cx="100147" cy="114105"/>
            </a:xfrm>
            <a:custGeom>
              <a:avLst/>
              <a:gdLst>
                <a:gd name="connsiteX0" fmla="*/ 2642 w 100147"/>
                <a:gd name="connsiteY0" fmla="*/ 3192 h 114105"/>
                <a:gd name="connsiteX1" fmla="*/ 2642 w 100147"/>
                <a:gd name="connsiteY1" fmla="*/ 18561 h 114105"/>
                <a:gd name="connsiteX2" fmla="*/ 81234 w 100147"/>
                <a:gd name="connsiteY2" fmla="*/ 106651 h 114105"/>
                <a:gd name="connsiteX3" fmla="*/ 81983 w 100147"/>
                <a:gd name="connsiteY3" fmla="*/ 107401 h 114105"/>
                <a:gd name="connsiteX4" fmla="*/ 85232 w 100147"/>
                <a:gd name="connsiteY4" fmla="*/ 111024 h 114105"/>
                <a:gd name="connsiteX5" fmla="*/ 96265 w 100147"/>
                <a:gd name="connsiteY5" fmla="*/ 112486 h 114105"/>
                <a:gd name="connsiteX6" fmla="*/ 97727 w 100147"/>
                <a:gd name="connsiteY6" fmla="*/ 111024 h 114105"/>
                <a:gd name="connsiteX7" fmla="*/ 100100 w 100147"/>
                <a:gd name="connsiteY7" fmla="*/ 103902 h 114105"/>
                <a:gd name="connsiteX8" fmla="*/ 100100 w 100147"/>
                <a:gd name="connsiteY8" fmla="*/ 101528 h 114105"/>
                <a:gd name="connsiteX9" fmla="*/ 100100 w 100147"/>
                <a:gd name="connsiteY9" fmla="*/ 99779 h 114105"/>
                <a:gd name="connsiteX10" fmla="*/ 99226 w 100147"/>
                <a:gd name="connsiteY10" fmla="*/ 97905 h 114105"/>
                <a:gd name="connsiteX11" fmla="*/ 98226 w 100147"/>
                <a:gd name="connsiteY11" fmla="*/ 96155 h 114105"/>
                <a:gd name="connsiteX12" fmla="*/ 98226 w 100147"/>
                <a:gd name="connsiteY12" fmla="*/ 96155 h 114105"/>
                <a:gd name="connsiteX13" fmla="*/ 15637 w 100147"/>
                <a:gd name="connsiteY13" fmla="*/ 3692 h 114105"/>
                <a:gd name="connsiteX14" fmla="*/ 4791 w 100147"/>
                <a:gd name="connsiteY14" fmla="*/ 1205 h 114105"/>
                <a:gd name="connsiteX15" fmla="*/ 2642 w 100147"/>
                <a:gd name="connsiteY15" fmla="*/ 3192 h 11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147" h="114105">
                  <a:moveTo>
                    <a:pt x="2642" y="3192"/>
                  </a:moveTo>
                  <a:cubicBezTo>
                    <a:pt x="-881" y="7703"/>
                    <a:pt x="-881" y="14038"/>
                    <a:pt x="2642" y="18561"/>
                  </a:cubicBezTo>
                  <a:lnTo>
                    <a:pt x="81234" y="106651"/>
                  </a:lnTo>
                  <a:lnTo>
                    <a:pt x="81983" y="107401"/>
                  </a:lnTo>
                  <a:lnTo>
                    <a:pt x="85232" y="111024"/>
                  </a:lnTo>
                  <a:cubicBezTo>
                    <a:pt x="87881" y="114473"/>
                    <a:pt x="92816" y="115123"/>
                    <a:pt x="96265" y="112486"/>
                  </a:cubicBezTo>
                  <a:cubicBezTo>
                    <a:pt x="96814" y="112061"/>
                    <a:pt x="97301" y="111574"/>
                    <a:pt x="97727" y="111024"/>
                  </a:cubicBezTo>
                  <a:cubicBezTo>
                    <a:pt x="99226" y="108950"/>
                    <a:pt x="100063" y="106464"/>
                    <a:pt x="100100" y="103902"/>
                  </a:cubicBezTo>
                  <a:cubicBezTo>
                    <a:pt x="100151" y="103115"/>
                    <a:pt x="100151" y="102315"/>
                    <a:pt x="100100" y="101528"/>
                  </a:cubicBezTo>
                  <a:cubicBezTo>
                    <a:pt x="100163" y="100941"/>
                    <a:pt x="100163" y="100366"/>
                    <a:pt x="100100" y="99779"/>
                  </a:cubicBezTo>
                  <a:cubicBezTo>
                    <a:pt x="99863" y="99129"/>
                    <a:pt x="99563" y="98504"/>
                    <a:pt x="99226" y="97905"/>
                  </a:cubicBezTo>
                  <a:lnTo>
                    <a:pt x="98226" y="96155"/>
                  </a:lnTo>
                  <a:cubicBezTo>
                    <a:pt x="98226" y="96155"/>
                    <a:pt x="98226" y="96155"/>
                    <a:pt x="98226" y="96155"/>
                  </a:cubicBezTo>
                  <a:lnTo>
                    <a:pt x="15637" y="3692"/>
                  </a:lnTo>
                  <a:cubicBezTo>
                    <a:pt x="13325" y="6"/>
                    <a:pt x="8465" y="-1106"/>
                    <a:pt x="4791" y="1205"/>
                  </a:cubicBezTo>
                  <a:cubicBezTo>
                    <a:pt x="3955" y="1730"/>
                    <a:pt x="3230" y="2405"/>
                    <a:pt x="2642" y="3192"/>
                  </a:cubicBezTo>
                  <a:close/>
                </a:path>
              </a:pathLst>
            </a:custGeom>
            <a:solidFill>
              <a:srgbClr val="000000"/>
            </a:solidFill>
            <a:ln w="12483" cap="flat">
              <a:noFill/>
              <a:prstDash val="solid"/>
              <a:miter/>
            </a:ln>
          </p:spPr>
          <p:txBody>
            <a:bodyPr rtlCol="0" anchor="ctr"/>
            <a:lstStyle/>
            <a:p>
              <a:endParaRPr lang="en-US"/>
            </a:p>
          </p:txBody>
        </p:sp>
        <p:sp>
          <p:nvSpPr>
            <p:cNvPr id="1705" name="Freeform: Shape 1704">
              <a:extLst>
                <a:ext uri="{FF2B5EF4-FFF2-40B4-BE49-F238E27FC236}">
                  <a16:creationId xmlns:a16="http://schemas.microsoft.com/office/drawing/2014/main" id="{A0487423-9987-49CC-BAF3-C7D1EC065C3F}"/>
                </a:ext>
              </a:extLst>
            </p:cNvPr>
            <p:cNvSpPr/>
            <p:nvPr/>
          </p:nvSpPr>
          <p:spPr>
            <a:xfrm>
              <a:off x="11673236" y="3084652"/>
              <a:ext cx="191495" cy="116953"/>
            </a:xfrm>
            <a:custGeom>
              <a:avLst/>
              <a:gdLst>
                <a:gd name="connsiteX0" fmla="*/ 11370 w 191495"/>
                <a:gd name="connsiteY0" fmla="*/ 102584 h 116953"/>
                <a:gd name="connsiteX1" fmla="*/ 6872 w 191495"/>
                <a:gd name="connsiteY1" fmla="*/ 116953 h 116953"/>
                <a:gd name="connsiteX2" fmla="*/ 180922 w 191495"/>
                <a:gd name="connsiteY2" fmla="*/ 22866 h 116953"/>
                <a:gd name="connsiteX3" fmla="*/ 186169 w 191495"/>
                <a:gd name="connsiteY3" fmla="*/ 20117 h 116953"/>
                <a:gd name="connsiteX4" fmla="*/ 190793 w 191495"/>
                <a:gd name="connsiteY4" fmla="*/ 5748 h 116953"/>
                <a:gd name="connsiteX5" fmla="*/ 188668 w 191495"/>
                <a:gd name="connsiteY5" fmla="*/ 2249 h 116953"/>
                <a:gd name="connsiteX6" fmla="*/ 188668 w 191495"/>
                <a:gd name="connsiteY6" fmla="*/ 2249 h 116953"/>
                <a:gd name="connsiteX7" fmla="*/ 187419 w 191495"/>
                <a:gd name="connsiteY7" fmla="*/ 1250 h 116953"/>
                <a:gd name="connsiteX8" fmla="*/ 185545 w 191495"/>
                <a:gd name="connsiteY8" fmla="*/ 0 h 116953"/>
                <a:gd name="connsiteX9" fmla="*/ 183796 w 191495"/>
                <a:gd name="connsiteY9" fmla="*/ 0 h 116953"/>
                <a:gd name="connsiteX10" fmla="*/ 182172 w 191495"/>
                <a:gd name="connsiteY10" fmla="*/ 0 h 116953"/>
                <a:gd name="connsiteX11" fmla="*/ 179922 w 191495"/>
                <a:gd name="connsiteY11" fmla="*/ 625 h 116953"/>
                <a:gd name="connsiteX12" fmla="*/ 178923 w 191495"/>
                <a:gd name="connsiteY12" fmla="*/ 625 h 116953"/>
                <a:gd name="connsiteX13" fmla="*/ 178923 w 191495"/>
                <a:gd name="connsiteY13" fmla="*/ 625 h 116953"/>
                <a:gd name="connsiteX14" fmla="*/ 0 w 191495"/>
                <a:gd name="connsiteY14" fmla="*/ 97461 h 116953"/>
                <a:gd name="connsiteX15" fmla="*/ 10945 w 191495"/>
                <a:gd name="connsiteY15" fmla="*/ 101472 h 116953"/>
                <a:gd name="connsiteX16" fmla="*/ 11370 w 191495"/>
                <a:gd name="connsiteY16" fmla="*/ 102584 h 11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1495" h="116953">
                  <a:moveTo>
                    <a:pt x="11370" y="102584"/>
                  </a:moveTo>
                  <a:cubicBezTo>
                    <a:pt x="13594" y="107832"/>
                    <a:pt x="11695" y="113917"/>
                    <a:pt x="6872" y="116953"/>
                  </a:cubicBezTo>
                  <a:lnTo>
                    <a:pt x="180922" y="22866"/>
                  </a:lnTo>
                  <a:lnTo>
                    <a:pt x="186169" y="20117"/>
                  </a:lnTo>
                  <a:cubicBezTo>
                    <a:pt x="190755" y="16906"/>
                    <a:pt x="192641" y="11033"/>
                    <a:pt x="190793" y="5748"/>
                  </a:cubicBezTo>
                  <a:cubicBezTo>
                    <a:pt x="190305" y="4461"/>
                    <a:pt x="189593" y="3274"/>
                    <a:pt x="188668" y="2249"/>
                  </a:cubicBezTo>
                  <a:lnTo>
                    <a:pt x="188668" y="2249"/>
                  </a:lnTo>
                  <a:cubicBezTo>
                    <a:pt x="188668" y="2249"/>
                    <a:pt x="187793" y="1624"/>
                    <a:pt x="187419" y="1250"/>
                  </a:cubicBezTo>
                  <a:cubicBezTo>
                    <a:pt x="186857" y="750"/>
                    <a:pt x="186219" y="325"/>
                    <a:pt x="185545" y="0"/>
                  </a:cubicBezTo>
                  <a:lnTo>
                    <a:pt x="183796" y="0"/>
                  </a:lnTo>
                  <a:lnTo>
                    <a:pt x="182172" y="0"/>
                  </a:lnTo>
                  <a:cubicBezTo>
                    <a:pt x="181397" y="88"/>
                    <a:pt x="180634" y="300"/>
                    <a:pt x="179922" y="625"/>
                  </a:cubicBezTo>
                  <a:lnTo>
                    <a:pt x="178923" y="625"/>
                  </a:lnTo>
                  <a:lnTo>
                    <a:pt x="178923" y="625"/>
                  </a:lnTo>
                  <a:lnTo>
                    <a:pt x="0" y="97461"/>
                  </a:lnTo>
                  <a:cubicBezTo>
                    <a:pt x="4136" y="95549"/>
                    <a:pt x="9033" y="97349"/>
                    <a:pt x="10945" y="101472"/>
                  </a:cubicBezTo>
                  <a:cubicBezTo>
                    <a:pt x="11120" y="101834"/>
                    <a:pt x="11258" y="102209"/>
                    <a:pt x="11370" y="102584"/>
                  </a:cubicBezTo>
                  <a:close/>
                </a:path>
              </a:pathLst>
            </a:custGeom>
            <a:solidFill>
              <a:srgbClr val="000000"/>
            </a:solidFill>
            <a:ln w="12483" cap="flat">
              <a:noFill/>
              <a:prstDash val="solid"/>
              <a:miter/>
            </a:ln>
          </p:spPr>
          <p:txBody>
            <a:bodyPr rtlCol="0" anchor="ctr"/>
            <a:lstStyle/>
            <a:p>
              <a:endParaRPr lang="en-US"/>
            </a:p>
          </p:txBody>
        </p:sp>
        <p:sp>
          <p:nvSpPr>
            <p:cNvPr id="1706" name="Freeform: Shape 1705">
              <a:extLst>
                <a:ext uri="{FF2B5EF4-FFF2-40B4-BE49-F238E27FC236}">
                  <a16:creationId xmlns:a16="http://schemas.microsoft.com/office/drawing/2014/main" id="{2970CA13-F97E-474E-B182-D18E6883C724}"/>
                </a:ext>
              </a:extLst>
            </p:cNvPr>
            <p:cNvSpPr/>
            <p:nvPr/>
          </p:nvSpPr>
          <p:spPr>
            <a:xfrm>
              <a:off x="11665115" y="3209102"/>
              <a:ext cx="1249" cy="37"/>
            </a:xfrm>
            <a:custGeom>
              <a:avLst/>
              <a:gdLst>
                <a:gd name="connsiteX0" fmla="*/ 1249 w 1249"/>
                <a:gd name="connsiteY0" fmla="*/ 0 h 37"/>
                <a:gd name="connsiteX1" fmla="*/ 0 w 1249"/>
                <a:gd name="connsiteY1" fmla="*/ 0 h 37"/>
                <a:gd name="connsiteX2" fmla="*/ 999 w 1249"/>
                <a:gd name="connsiteY2" fmla="*/ 0 h 37"/>
              </a:gdLst>
              <a:ahLst/>
              <a:cxnLst>
                <a:cxn ang="0">
                  <a:pos x="connsiteX0" y="connsiteY0"/>
                </a:cxn>
                <a:cxn ang="0">
                  <a:pos x="connsiteX1" y="connsiteY1"/>
                </a:cxn>
                <a:cxn ang="0">
                  <a:pos x="connsiteX2" y="connsiteY2"/>
                </a:cxn>
              </a:cxnLst>
              <a:rect l="l" t="t" r="r" b="b"/>
              <a:pathLst>
                <a:path w="1249" h="37">
                  <a:moveTo>
                    <a:pt x="1249" y="0"/>
                  </a:moveTo>
                  <a:cubicBezTo>
                    <a:pt x="837" y="50"/>
                    <a:pt x="412" y="50"/>
                    <a:pt x="0" y="0"/>
                  </a:cubicBezTo>
                  <a:lnTo>
                    <a:pt x="999" y="0"/>
                  </a:lnTo>
                  <a:close/>
                </a:path>
              </a:pathLst>
            </a:custGeom>
            <a:solidFill>
              <a:srgbClr val="000000"/>
            </a:solidFill>
            <a:ln w="12483" cap="flat">
              <a:noFill/>
              <a:prstDash val="solid"/>
              <a:miter/>
            </a:ln>
          </p:spPr>
          <p:txBody>
            <a:bodyPr rtlCol="0" anchor="ctr"/>
            <a:lstStyle/>
            <a:p>
              <a:endParaRPr lang="en-US"/>
            </a:p>
          </p:txBody>
        </p:sp>
        <p:sp>
          <p:nvSpPr>
            <p:cNvPr id="1707" name="Freeform: Shape 1706">
              <a:extLst>
                <a:ext uri="{FF2B5EF4-FFF2-40B4-BE49-F238E27FC236}">
                  <a16:creationId xmlns:a16="http://schemas.microsoft.com/office/drawing/2014/main" id="{EDFD87B4-B7A0-459E-AB78-428AF9461D71}"/>
                </a:ext>
              </a:extLst>
            </p:cNvPr>
            <p:cNvSpPr/>
            <p:nvPr/>
          </p:nvSpPr>
          <p:spPr>
            <a:xfrm>
              <a:off x="11664115" y="3180968"/>
              <a:ext cx="21415" cy="28134"/>
            </a:xfrm>
            <a:custGeom>
              <a:avLst/>
              <a:gdLst>
                <a:gd name="connsiteX0" fmla="*/ 0 w 21415"/>
                <a:gd name="connsiteY0" fmla="*/ 5518 h 28134"/>
                <a:gd name="connsiteX1" fmla="*/ 4373 w 21415"/>
                <a:gd name="connsiteY1" fmla="*/ 10266 h 28134"/>
                <a:gd name="connsiteX2" fmla="*/ 5123 w 21415"/>
                <a:gd name="connsiteY2" fmla="*/ 25510 h 28134"/>
                <a:gd name="connsiteX3" fmla="*/ 2249 w 21415"/>
                <a:gd name="connsiteY3" fmla="*/ 28134 h 28134"/>
                <a:gd name="connsiteX4" fmla="*/ 4123 w 21415"/>
                <a:gd name="connsiteY4" fmla="*/ 27135 h 28134"/>
                <a:gd name="connsiteX5" fmla="*/ 7372 w 21415"/>
                <a:gd name="connsiteY5" fmla="*/ 25385 h 28134"/>
                <a:gd name="connsiteX6" fmla="*/ 15993 w 21415"/>
                <a:gd name="connsiteY6" fmla="*/ 20637 h 28134"/>
                <a:gd name="connsiteX7" fmla="*/ 20491 w 21415"/>
                <a:gd name="connsiteY7" fmla="*/ 6268 h 28134"/>
                <a:gd name="connsiteX8" fmla="*/ 10508 w 21415"/>
                <a:gd name="connsiteY8" fmla="*/ 245 h 28134"/>
                <a:gd name="connsiteX9" fmla="*/ 8746 w 21415"/>
                <a:gd name="connsiteY9" fmla="*/ 895 h 28134"/>
                <a:gd name="connsiteX10" fmla="*/ 6622 w 21415"/>
                <a:gd name="connsiteY10" fmla="*/ 2020 h 28134"/>
                <a:gd name="connsiteX11" fmla="*/ 3373 w 21415"/>
                <a:gd name="connsiteY11" fmla="*/ 3769 h 2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15" h="28134">
                  <a:moveTo>
                    <a:pt x="0" y="5518"/>
                  </a:moveTo>
                  <a:lnTo>
                    <a:pt x="4373" y="10266"/>
                  </a:lnTo>
                  <a:cubicBezTo>
                    <a:pt x="8059" y="14590"/>
                    <a:pt x="8372" y="20850"/>
                    <a:pt x="5123" y="25510"/>
                  </a:cubicBezTo>
                  <a:cubicBezTo>
                    <a:pt x="4323" y="26548"/>
                    <a:pt x="3349" y="27435"/>
                    <a:pt x="2249" y="28134"/>
                  </a:cubicBezTo>
                  <a:lnTo>
                    <a:pt x="4123" y="27135"/>
                  </a:lnTo>
                  <a:lnTo>
                    <a:pt x="7372" y="25385"/>
                  </a:lnTo>
                  <a:lnTo>
                    <a:pt x="15993" y="20637"/>
                  </a:lnTo>
                  <a:cubicBezTo>
                    <a:pt x="20816" y="17601"/>
                    <a:pt x="22715" y="11516"/>
                    <a:pt x="20491" y="6268"/>
                  </a:cubicBezTo>
                  <a:cubicBezTo>
                    <a:pt x="19404" y="1845"/>
                    <a:pt x="14931" y="-854"/>
                    <a:pt x="10508" y="245"/>
                  </a:cubicBezTo>
                  <a:cubicBezTo>
                    <a:pt x="9896" y="395"/>
                    <a:pt x="9308" y="608"/>
                    <a:pt x="8746" y="895"/>
                  </a:cubicBezTo>
                  <a:lnTo>
                    <a:pt x="6622" y="2020"/>
                  </a:lnTo>
                  <a:lnTo>
                    <a:pt x="3373" y="3769"/>
                  </a:lnTo>
                  <a:close/>
                </a:path>
              </a:pathLst>
            </a:custGeom>
            <a:solidFill>
              <a:srgbClr val="000000"/>
            </a:solidFill>
            <a:ln w="12483" cap="flat">
              <a:noFill/>
              <a:prstDash val="solid"/>
              <a:miter/>
            </a:ln>
          </p:spPr>
          <p:txBody>
            <a:bodyPr rtlCol="0" anchor="ctr"/>
            <a:lstStyle/>
            <a:p>
              <a:endParaRPr lang="en-US"/>
            </a:p>
          </p:txBody>
        </p:sp>
        <p:sp>
          <p:nvSpPr>
            <p:cNvPr id="1708" name="Freeform: Shape 1707">
              <a:extLst>
                <a:ext uri="{FF2B5EF4-FFF2-40B4-BE49-F238E27FC236}">
                  <a16:creationId xmlns:a16="http://schemas.microsoft.com/office/drawing/2014/main" id="{3C00F5A2-355F-4709-9888-E198D4F46FE6}"/>
                </a:ext>
              </a:extLst>
            </p:cNvPr>
            <p:cNvSpPr/>
            <p:nvPr/>
          </p:nvSpPr>
          <p:spPr>
            <a:xfrm>
              <a:off x="11347627" y="3480681"/>
              <a:ext cx="261145" cy="161248"/>
            </a:xfrm>
            <a:custGeom>
              <a:avLst/>
              <a:gdLst>
                <a:gd name="connsiteX0" fmla="*/ 247893 w 261145"/>
                <a:gd name="connsiteY0" fmla="*/ 937 h 161248"/>
                <a:gd name="connsiteX1" fmla="*/ 245894 w 261145"/>
                <a:gd name="connsiteY1" fmla="*/ 1937 h 161248"/>
                <a:gd name="connsiteX2" fmla="*/ 242770 w 261145"/>
                <a:gd name="connsiteY2" fmla="*/ 3686 h 161248"/>
                <a:gd name="connsiteX3" fmla="*/ 5373 w 261145"/>
                <a:gd name="connsiteY3" fmla="*/ 134009 h 161248"/>
                <a:gd name="connsiteX4" fmla="*/ 4373 w 261145"/>
                <a:gd name="connsiteY4" fmla="*/ 152002 h 161248"/>
                <a:gd name="connsiteX5" fmla="*/ 4373 w 261145"/>
                <a:gd name="connsiteY5" fmla="*/ 153501 h 161248"/>
                <a:gd name="connsiteX6" fmla="*/ 4373 w 261145"/>
                <a:gd name="connsiteY6" fmla="*/ 155625 h 161248"/>
                <a:gd name="connsiteX7" fmla="*/ 3498 w 261145"/>
                <a:gd name="connsiteY7" fmla="*/ 157375 h 161248"/>
                <a:gd name="connsiteX8" fmla="*/ 2499 w 261145"/>
                <a:gd name="connsiteY8" fmla="*/ 158999 h 161248"/>
                <a:gd name="connsiteX9" fmla="*/ 999 w 261145"/>
                <a:gd name="connsiteY9" fmla="*/ 160373 h 161248"/>
                <a:gd name="connsiteX10" fmla="*/ 0 w 261145"/>
                <a:gd name="connsiteY10" fmla="*/ 161248 h 161248"/>
                <a:gd name="connsiteX11" fmla="*/ 249892 w 261145"/>
                <a:gd name="connsiteY11" fmla="*/ 23803 h 161248"/>
                <a:gd name="connsiteX12" fmla="*/ 253140 w 261145"/>
                <a:gd name="connsiteY12" fmla="*/ 21929 h 161248"/>
                <a:gd name="connsiteX13" fmla="*/ 256014 w 261145"/>
                <a:gd name="connsiteY13" fmla="*/ 20429 h 161248"/>
                <a:gd name="connsiteX14" fmla="*/ 257639 w 261145"/>
                <a:gd name="connsiteY14" fmla="*/ 18930 h 161248"/>
                <a:gd name="connsiteX15" fmla="*/ 259762 w 261145"/>
                <a:gd name="connsiteY15" fmla="*/ 16181 h 161248"/>
                <a:gd name="connsiteX16" fmla="*/ 260887 w 261145"/>
                <a:gd name="connsiteY16" fmla="*/ 7934 h 161248"/>
                <a:gd name="connsiteX17" fmla="*/ 260887 w 261145"/>
                <a:gd name="connsiteY17" fmla="*/ 6060 h 161248"/>
                <a:gd name="connsiteX18" fmla="*/ 259888 w 261145"/>
                <a:gd name="connsiteY18" fmla="*/ 4436 h 161248"/>
                <a:gd name="connsiteX19" fmla="*/ 255015 w 261145"/>
                <a:gd name="connsiteY19" fmla="*/ 187 h 161248"/>
                <a:gd name="connsiteX20" fmla="*/ 251766 w 261145"/>
                <a:gd name="connsiteY20" fmla="*/ 187 h 161248"/>
                <a:gd name="connsiteX21" fmla="*/ 247893 w 261145"/>
                <a:gd name="connsiteY21" fmla="*/ 937 h 16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1145" h="161248">
                  <a:moveTo>
                    <a:pt x="247893" y="937"/>
                  </a:moveTo>
                  <a:lnTo>
                    <a:pt x="245894" y="1937"/>
                  </a:lnTo>
                  <a:lnTo>
                    <a:pt x="242770" y="3686"/>
                  </a:lnTo>
                  <a:lnTo>
                    <a:pt x="5373" y="134009"/>
                  </a:lnTo>
                  <a:lnTo>
                    <a:pt x="4373" y="152002"/>
                  </a:lnTo>
                  <a:cubicBezTo>
                    <a:pt x="4435" y="152502"/>
                    <a:pt x="4435" y="153001"/>
                    <a:pt x="4373" y="153501"/>
                  </a:cubicBezTo>
                  <a:cubicBezTo>
                    <a:pt x="4448" y="154214"/>
                    <a:pt x="4448" y="154913"/>
                    <a:pt x="4373" y="155625"/>
                  </a:cubicBezTo>
                  <a:cubicBezTo>
                    <a:pt x="4160" y="156238"/>
                    <a:pt x="3861" y="156837"/>
                    <a:pt x="3498" y="157375"/>
                  </a:cubicBezTo>
                  <a:cubicBezTo>
                    <a:pt x="3236" y="157962"/>
                    <a:pt x="2899" y="158499"/>
                    <a:pt x="2499" y="158999"/>
                  </a:cubicBezTo>
                  <a:cubicBezTo>
                    <a:pt x="2061" y="159524"/>
                    <a:pt x="1562" y="159986"/>
                    <a:pt x="999" y="160373"/>
                  </a:cubicBezTo>
                  <a:lnTo>
                    <a:pt x="0" y="161248"/>
                  </a:lnTo>
                  <a:lnTo>
                    <a:pt x="249892" y="23803"/>
                  </a:lnTo>
                  <a:lnTo>
                    <a:pt x="253140" y="21929"/>
                  </a:lnTo>
                  <a:lnTo>
                    <a:pt x="256014" y="20429"/>
                  </a:lnTo>
                  <a:cubicBezTo>
                    <a:pt x="256614" y="19992"/>
                    <a:pt x="257164" y="19492"/>
                    <a:pt x="257639" y="18930"/>
                  </a:cubicBezTo>
                  <a:cubicBezTo>
                    <a:pt x="258513" y="18155"/>
                    <a:pt x="259238" y="17231"/>
                    <a:pt x="259762" y="16181"/>
                  </a:cubicBezTo>
                  <a:cubicBezTo>
                    <a:pt x="261075" y="13645"/>
                    <a:pt x="261462" y="10733"/>
                    <a:pt x="260887" y="7934"/>
                  </a:cubicBezTo>
                  <a:cubicBezTo>
                    <a:pt x="260949" y="7310"/>
                    <a:pt x="260949" y="6685"/>
                    <a:pt x="260887" y="6060"/>
                  </a:cubicBezTo>
                  <a:cubicBezTo>
                    <a:pt x="260625" y="5473"/>
                    <a:pt x="260288" y="4935"/>
                    <a:pt x="259888" y="4436"/>
                  </a:cubicBezTo>
                  <a:cubicBezTo>
                    <a:pt x="258850" y="2461"/>
                    <a:pt x="257114" y="937"/>
                    <a:pt x="255015" y="187"/>
                  </a:cubicBezTo>
                  <a:cubicBezTo>
                    <a:pt x="253940" y="-62"/>
                    <a:pt x="252841" y="-62"/>
                    <a:pt x="251766" y="187"/>
                  </a:cubicBezTo>
                  <a:cubicBezTo>
                    <a:pt x="250429" y="100"/>
                    <a:pt x="249105" y="362"/>
                    <a:pt x="247893" y="937"/>
                  </a:cubicBezTo>
                  <a:close/>
                </a:path>
              </a:pathLst>
            </a:custGeom>
            <a:solidFill>
              <a:srgbClr val="000000"/>
            </a:solidFill>
            <a:ln w="12483" cap="flat">
              <a:noFill/>
              <a:prstDash val="solid"/>
              <a:miter/>
            </a:ln>
          </p:spPr>
          <p:txBody>
            <a:bodyPr rtlCol="0" anchor="ctr"/>
            <a:lstStyle/>
            <a:p>
              <a:endParaRPr lang="en-US"/>
            </a:p>
          </p:txBody>
        </p:sp>
        <p:sp>
          <p:nvSpPr>
            <p:cNvPr id="1709" name="Freeform: Shape 1708">
              <a:extLst>
                <a:ext uri="{FF2B5EF4-FFF2-40B4-BE49-F238E27FC236}">
                  <a16:creationId xmlns:a16="http://schemas.microsoft.com/office/drawing/2014/main" id="{E3504CC4-D966-476A-832A-2AE659CEDD89}"/>
                </a:ext>
              </a:extLst>
            </p:cNvPr>
            <p:cNvSpPr/>
            <p:nvPr/>
          </p:nvSpPr>
          <p:spPr>
            <a:xfrm>
              <a:off x="11230428" y="3624811"/>
              <a:ext cx="117074" cy="72720"/>
            </a:xfrm>
            <a:custGeom>
              <a:avLst/>
              <a:gdLst>
                <a:gd name="connsiteX0" fmla="*/ 14494 w 117074"/>
                <a:gd name="connsiteY0" fmla="*/ 72721 h 72720"/>
                <a:gd name="connsiteX1" fmla="*/ 116075 w 117074"/>
                <a:gd name="connsiteY1" fmla="*/ 17118 h 72720"/>
                <a:gd name="connsiteX2" fmla="*/ 117074 w 117074"/>
                <a:gd name="connsiteY2" fmla="*/ 16244 h 72720"/>
                <a:gd name="connsiteX3" fmla="*/ 111702 w 117074"/>
                <a:gd name="connsiteY3" fmla="*/ 17993 h 72720"/>
                <a:gd name="connsiteX4" fmla="*/ 103330 w 117074"/>
                <a:gd name="connsiteY4" fmla="*/ 6497 h 72720"/>
                <a:gd name="connsiteX5" fmla="*/ 103330 w 117074"/>
                <a:gd name="connsiteY5" fmla="*/ 0 h 72720"/>
                <a:gd name="connsiteX6" fmla="*/ 0 w 117074"/>
                <a:gd name="connsiteY6" fmla="*/ 56727 h 72720"/>
                <a:gd name="connsiteX7" fmla="*/ 4373 w 117074"/>
                <a:gd name="connsiteY7" fmla="*/ 61726 h 7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74" h="72720">
                  <a:moveTo>
                    <a:pt x="14494" y="72721"/>
                  </a:moveTo>
                  <a:lnTo>
                    <a:pt x="116075" y="17118"/>
                  </a:lnTo>
                  <a:lnTo>
                    <a:pt x="117074" y="16244"/>
                  </a:lnTo>
                  <a:cubicBezTo>
                    <a:pt x="115562" y="17481"/>
                    <a:pt x="113651" y="18105"/>
                    <a:pt x="111702" y="17993"/>
                  </a:cubicBezTo>
                  <a:cubicBezTo>
                    <a:pt x="106304" y="16981"/>
                    <a:pt x="102643" y="11945"/>
                    <a:pt x="103330" y="6497"/>
                  </a:cubicBezTo>
                  <a:lnTo>
                    <a:pt x="103330" y="0"/>
                  </a:lnTo>
                  <a:lnTo>
                    <a:pt x="0" y="56727"/>
                  </a:lnTo>
                  <a:lnTo>
                    <a:pt x="4373" y="61726"/>
                  </a:lnTo>
                  <a:close/>
                </a:path>
              </a:pathLst>
            </a:custGeom>
            <a:solidFill>
              <a:srgbClr val="000000"/>
            </a:solidFill>
            <a:ln w="12483" cap="flat">
              <a:noFill/>
              <a:prstDash val="solid"/>
              <a:miter/>
            </a:ln>
          </p:spPr>
          <p:txBody>
            <a:bodyPr rtlCol="0" anchor="ctr"/>
            <a:lstStyle/>
            <a:p>
              <a:endParaRPr lang="en-US"/>
            </a:p>
          </p:txBody>
        </p:sp>
        <p:sp>
          <p:nvSpPr>
            <p:cNvPr id="1710" name="Freeform: Shape 1709">
              <a:extLst>
                <a:ext uri="{FF2B5EF4-FFF2-40B4-BE49-F238E27FC236}">
                  <a16:creationId xmlns:a16="http://schemas.microsoft.com/office/drawing/2014/main" id="{4B975A02-0704-42FF-A7AE-FB92F5D75D44}"/>
                </a:ext>
              </a:extLst>
            </p:cNvPr>
            <p:cNvSpPr/>
            <p:nvPr/>
          </p:nvSpPr>
          <p:spPr>
            <a:xfrm>
              <a:off x="11207313" y="3668919"/>
              <a:ext cx="28237" cy="32861"/>
            </a:xfrm>
            <a:custGeom>
              <a:avLst/>
              <a:gdLst>
                <a:gd name="connsiteX0" fmla="*/ 12495 w 28237"/>
                <a:gd name="connsiteY0" fmla="*/ 14994 h 32861"/>
                <a:gd name="connsiteX1" fmla="*/ 1462 w 28237"/>
                <a:gd name="connsiteY1" fmla="*/ 16456 h 32861"/>
                <a:gd name="connsiteX2" fmla="*/ 0 w 28237"/>
                <a:gd name="connsiteY2" fmla="*/ 14994 h 32861"/>
                <a:gd name="connsiteX3" fmla="*/ 3873 w 28237"/>
                <a:gd name="connsiteY3" fmla="*/ 19492 h 32861"/>
                <a:gd name="connsiteX4" fmla="*/ 6997 w 28237"/>
                <a:gd name="connsiteY4" fmla="*/ 22991 h 32861"/>
                <a:gd name="connsiteX5" fmla="*/ 15743 w 28237"/>
                <a:gd name="connsiteY5" fmla="*/ 32862 h 32861"/>
                <a:gd name="connsiteX6" fmla="*/ 15743 w 28237"/>
                <a:gd name="connsiteY6" fmla="*/ 17493 h 32861"/>
                <a:gd name="connsiteX7" fmla="*/ 26988 w 28237"/>
                <a:gd name="connsiteY7" fmla="*/ 16243 h 32861"/>
                <a:gd name="connsiteX8" fmla="*/ 28238 w 28237"/>
                <a:gd name="connsiteY8" fmla="*/ 17493 h 32861"/>
                <a:gd name="connsiteX9" fmla="*/ 23865 w 28237"/>
                <a:gd name="connsiteY9" fmla="*/ 12495 h 32861"/>
                <a:gd name="connsiteX10" fmla="*/ 12495 w 28237"/>
                <a:gd name="connsiteY10" fmla="*/ 0 h 32861"/>
                <a:gd name="connsiteX11" fmla="*/ 12495 w 28237"/>
                <a:gd name="connsiteY11" fmla="*/ 14994 h 3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7" h="32861">
                  <a:moveTo>
                    <a:pt x="12495" y="14994"/>
                  </a:moveTo>
                  <a:cubicBezTo>
                    <a:pt x="9846" y="18442"/>
                    <a:pt x="4910" y="19092"/>
                    <a:pt x="1462" y="16456"/>
                  </a:cubicBezTo>
                  <a:cubicBezTo>
                    <a:pt x="912" y="16031"/>
                    <a:pt x="425" y="15544"/>
                    <a:pt x="0" y="14994"/>
                  </a:cubicBezTo>
                  <a:lnTo>
                    <a:pt x="3873" y="19492"/>
                  </a:lnTo>
                  <a:lnTo>
                    <a:pt x="6997" y="22991"/>
                  </a:lnTo>
                  <a:lnTo>
                    <a:pt x="15743" y="32862"/>
                  </a:lnTo>
                  <a:cubicBezTo>
                    <a:pt x="12220" y="28351"/>
                    <a:pt x="12220" y="22016"/>
                    <a:pt x="15743" y="17493"/>
                  </a:cubicBezTo>
                  <a:cubicBezTo>
                    <a:pt x="18504" y="14044"/>
                    <a:pt x="23527" y="13482"/>
                    <a:pt x="26988" y="16243"/>
                  </a:cubicBezTo>
                  <a:cubicBezTo>
                    <a:pt x="27451" y="16606"/>
                    <a:pt x="27863" y="17031"/>
                    <a:pt x="28238" y="17493"/>
                  </a:cubicBezTo>
                  <a:lnTo>
                    <a:pt x="23865" y="12495"/>
                  </a:lnTo>
                  <a:lnTo>
                    <a:pt x="12495" y="0"/>
                  </a:lnTo>
                  <a:cubicBezTo>
                    <a:pt x="15831" y="4448"/>
                    <a:pt x="15831" y="10546"/>
                    <a:pt x="12495" y="14994"/>
                  </a:cubicBezTo>
                  <a:close/>
                </a:path>
              </a:pathLst>
            </a:custGeom>
            <a:solidFill>
              <a:srgbClr val="000000"/>
            </a:solidFill>
            <a:ln w="12483" cap="flat">
              <a:noFill/>
              <a:prstDash val="solid"/>
              <a:miter/>
            </a:ln>
          </p:spPr>
          <p:txBody>
            <a:bodyPr rtlCol="0" anchor="ctr"/>
            <a:lstStyle/>
            <a:p>
              <a:endParaRPr lang="en-US"/>
            </a:p>
          </p:txBody>
        </p:sp>
        <p:sp>
          <p:nvSpPr>
            <p:cNvPr id="1711" name="Freeform: Shape 1710">
              <a:extLst>
                <a:ext uri="{FF2B5EF4-FFF2-40B4-BE49-F238E27FC236}">
                  <a16:creationId xmlns:a16="http://schemas.microsoft.com/office/drawing/2014/main" id="{F77B66AE-298D-45B6-8900-DEFB8BD588DF}"/>
                </a:ext>
              </a:extLst>
            </p:cNvPr>
            <p:cNvSpPr/>
            <p:nvPr/>
          </p:nvSpPr>
          <p:spPr>
            <a:xfrm>
              <a:off x="11220038" y="3683534"/>
              <a:ext cx="170819" cy="189178"/>
            </a:xfrm>
            <a:custGeom>
              <a:avLst/>
              <a:gdLst>
                <a:gd name="connsiteX0" fmla="*/ 165322 w 170819"/>
                <a:gd name="connsiteY0" fmla="*/ 182806 h 189178"/>
                <a:gd name="connsiteX1" fmla="*/ 170820 w 170819"/>
                <a:gd name="connsiteY1" fmla="*/ 179682 h 189178"/>
                <a:gd name="connsiteX2" fmla="*/ 24883 w 170819"/>
                <a:gd name="connsiteY2" fmla="*/ 13998 h 189178"/>
                <a:gd name="connsiteX3" fmla="*/ 15137 w 170819"/>
                <a:gd name="connsiteY3" fmla="*/ 3003 h 189178"/>
                <a:gd name="connsiteX4" fmla="*/ 3904 w 170819"/>
                <a:gd name="connsiteY4" fmla="*/ 1753 h 189178"/>
                <a:gd name="connsiteX5" fmla="*/ 2643 w 170819"/>
                <a:gd name="connsiteY5" fmla="*/ 3003 h 189178"/>
                <a:gd name="connsiteX6" fmla="*/ 2643 w 170819"/>
                <a:gd name="connsiteY6" fmla="*/ 18372 h 189178"/>
                <a:gd name="connsiteX7" fmla="*/ 152578 w 170819"/>
                <a:gd name="connsiteY7" fmla="*/ 189179 h 18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19" h="189178">
                  <a:moveTo>
                    <a:pt x="165322" y="182806"/>
                  </a:moveTo>
                  <a:lnTo>
                    <a:pt x="170820" y="179682"/>
                  </a:lnTo>
                  <a:lnTo>
                    <a:pt x="24883" y="13998"/>
                  </a:lnTo>
                  <a:lnTo>
                    <a:pt x="15137" y="3003"/>
                  </a:lnTo>
                  <a:cubicBezTo>
                    <a:pt x="12376" y="-446"/>
                    <a:pt x="7353" y="-1008"/>
                    <a:pt x="3904" y="1753"/>
                  </a:cubicBezTo>
                  <a:cubicBezTo>
                    <a:pt x="3430" y="2116"/>
                    <a:pt x="3018" y="2540"/>
                    <a:pt x="2643" y="3003"/>
                  </a:cubicBezTo>
                  <a:cubicBezTo>
                    <a:pt x="-881" y="7526"/>
                    <a:pt x="-881" y="13848"/>
                    <a:pt x="2643" y="18372"/>
                  </a:cubicBezTo>
                  <a:lnTo>
                    <a:pt x="152578" y="189179"/>
                  </a:lnTo>
                  <a:close/>
                </a:path>
              </a:pathLst>
            </a:custGeom>
            <a:solidFill>
              <a:srgbClr val="000000"/>
            </a:solidFill>
            <a:ln w="12483" cap="flat">
              <a:noFill/>
              <a:prstDash val="solid"/>
              <a:miter/>
            </a:ln>
          </p:spPr>
          <p:txBody>
            <a:bodyPr rtlCol="0" anchor="ctr"/>
            <a:lstStyle/>
            <a:p>
              <a:endParaRPr lang="en-US"/>
            </a:p>
          </p:txBody>
        </p:sp>
        <p:sp>
          <p:nvSpPr>
            <p:cNvPr id="1712" name="Freeform: Shape 1711">
              <a:extLst>
                <a:ext uri="{FF2B5EF4-FFF2-40B4-BE49-F238E27FC236}">
                  <a16:creationId xmlns:a16="http://schemas.microsoft.com/office/drawing/2014/main" id="{52FBFA28-D208-4B9D-8EE8-4C9F473E22EB}"/>
                </a:ext>
              </a:extLst>
            </p:cNvPr>
            <p:cNvSpPr/>
            <p:nvPr/>
          </p:nvSpPr>
          <p:spPr>
            <a:xfrm>
              <a:off x="11636502" y="4096623"/>
              <a:ext cx="155058" cy="96961"/>
            </a:xfrm>
            <a:custGeom>
              <a:avLst/>
              <a:gdLst>
                <a:gd name="connsiteX0" fmla="*/ 143063 w 155058"/>
                <a:gd name="connsiteY0" fmla="*/ 14494 h 96961"/>
                <a:gd name="connsiteX1" fmla="*/ 147311 w 155058"/>
                <a:gd name="connsiteY1" fmla="*/ 0 h 96961"/>
                <a:gd name="connsiteX2" fmla="*/ 13994 w 155058"/>
                <a:gd name="connsiteY2" fmla="*/ 76095 h 96961"/>
                <a:gd name="connsiteX3" fmla="*/ 0 w 155058"/>
                <a:gd name="connsiteY3" fmla="*/ 83967 h 96961"/>
                <a:gd name="connsiteX4" fmla="*/ 9871 w 155058"/>
                <a:gd name="connsiteY4" fmla="*/ 86091 h 96961"/>
                <a:gd name="connsiteX5" fmla="*/ 19366 w 155058"/>
                <a:gd name="connsiteY5" fmla="*/ 96961 h 96961"/>
                <a:gd name="connsiteX6" fmla="*/ 155058 w 155058"/>
                <a:gd name="connsiteY6" fmla="*/ 19617 h 96961"/>
                <a:gd name="connsiteX7" fmla="*/ 143838 w 155058"/>
                <a:gd name="connsiteY7" fmla="*/ 16431 h 96961"/>
                <a:gd name="connsiteX8" fmla="*/ 143063 w 155058"/>
                <a:gd name="connsiteY8" fmla="*/ 14494 h 9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058" h="96961">
                  <a:moveTo>
                    <a:pt x="143063" y="14494"/>
                  </a:moveTo>
                  <a:cubicBezTo>
                    <a:pt x="141064" y="9259"/>
                    <a:pt x="142801" y="3336"/>
                    <a:pt x="147311" y="0"/>
                  </a:cubicBezTo>
                  <a:lnTo>
                    <a:pt x="13994" y="76095"/>
                  </a:lnTo>
                  <a:lnTo>
                    <a:pt x="0" y="83967"/>
                  </a:lnTo>
                  <a:cubicBezTo>
                    <a:pt x="3373" y="82242"/>
                    <a:pt x="7497" y="83130"/>
                    <a:pt x="9871" y="86091"/>
                  </a:cubicBezTo>
                  <a:lnTo>
                    <a:pt x="19366" y="96961"/>
                  </a:lnTo>
                  <a:lnTo>
                    <a:pt x="155058" y="19617"/>
                  </a:lnTo>
                  <a:cubicBezTo>
                    <a:pt x="151084" y="21829"/>
                    <a:pt x="146062" y="20405"/>
                    <a:pt x="143838" y="16431"/>
                  </a:cubicBezTo>
                  <a:cubicBezTo>
                    <a:pt x="143500" y="15819"/>
                    <a:pt x="143238" y="15169"/>
                    <a:pt x="143063" y="14494"/>
                  </a:cubicBezTo>
                  <a:close/>
                </a:path>
              </a:pathLst>
            </a:custGeom>
            <a:solidFill>
              <a:srgbClr val="000000"/>
            </a:solidFill>
            <a:ln w="12483" cap="flat">
              <a:noFill/>
              <a:prstDash val="solid"/>
              <a:miter/>
            </a:ln>
          </p:spPr>
          <p:txBody>
            <a:bodyPr rtlCol="0" anchor="ctr"/>
            <a:lstStyle/>
            <a:p>
              <a:endParaRPr lang="en-US"/>
            </a:p>
          </p:txBody>
        </p:sp>
        <p:sp>
          <p:nvSpPr>
            <p:cNvPr id="1713" name="Freeform: Shape 1712">
              <a:extLst>
                <a:ext uri="{FF2B5EF4-FFF2-40B4-BE49-F238E27FC236}">
                  <a16:creationId xmlns:a16="http://schemas.microsoft.com/office/drawing/2014/main" id="{EE62E316-0F1B-4B71-82C8-3719C2FDEE78}"/>
                </a:ext>
              </a:extLst>
            </p:cNvPr>
            <p:cNvSpPr/>
            <p:nvPr/>
          </p:nvSpPr>
          <p:spPr>
            <a:xfrm>
              <a:off x="11635003" y="4180715"/>
              <a:ext cx="1374" cy="1124"/>
            </a:xfrm>
            <a:custGeom>
              <a:avLst/>
              <a:gdLst>
                <a:gd name="connsiteX0" fmla="*/ 0 w 1374"/>
                <a:gd name="connsiteY0" fmla="*/ 1125 h 1124"/>
                <a:gd name="connsiteX1" fmla="*/ 1374 w 1374"/>
                <a:gd name="connsiteY1" fmla="*/ 0 h 1124"/>
                <a:gd name="connsiteX2" fmla="*/ 1374 w 1374"/>
                <a:gd name="connsiteY2" fmla="*/ 0 h 1124"/>
              </a:gdLst>
              <a:ahLst/>
              <a:cxnLst>
                <a:cxn ang="0">
                  <a:pos x="connsiteX0" y="connsiteY0"/>
                </a:cxn>
                <a:cxn ang="0">
                  <a:pos x="connsiteX1" y="connsiteY1"/>
                </a:cxn>
                <a:cxn ang="0">
                  <a:pos x="connsiteX2" y="connsiteY2"/>
                </a:cxn>
              </a:cxnLst>
              <a:rect l="l" t="t" r="r" b="b"/>
              <a:pathLst>
                <a:path w="1374" h="1124">
                  <a:moveTo>
                    <a:pt x="0" y="1125"/>
                  </a:moveTo>
                  <a:cubicBezTo>
                    <a:pt x="425" y="712"/>
                    <a:pt x="887" y="337"/>
                    <a:pt x="1374" y="0"/>
                  </a:cubicBezTo>
                  <a:lnTo>
                    <a:pt x="1374" y="0"/>
                  </a:lnTo>
                  <a:close/>
                </a:path>
              </a:pathLst>
            </a:custGeom>
            <a:solidFill>
              <a:srgbClr val="000000"/>
            </a:solidFill>
            <a:ln w="12483" cap="flat">
              <a:noFill/>
              <a:prstDash val="solid"/>
              <a:miter/>
            </a:ln>
          </p:spPr>
          <p:txBody>
            <a:bodyPr rtlCol="0" anchor="ctr"/>
            <a:lstStyle/>
            <a:p>
              <a:endParaRPr lang="en-US"/>
            </a:p>
          </p:txBody>
        </p:sp>
        <p:sp>
          <p:nvSpPr>
            <p:cNvPr id="1714" name="Freeform: Shape 1713">
              <a:extLst>
                <a:ext uri="{FF2B5EF4-FFF2-40B4-BE49-F238E27FC236}">
                  <a16:creationId xmlns:a16="http://schemas.microsoft.com/office/drawing/2014/main" id="{6F144363-75DC-44C1-8AE4-073A61E15FBF}"/>
                </a:ext>
              </a:extLst>
            </p:cNvPr>
            <p:cNvSpPr/>
            <p:nvPr/>
          </p:nvSpPr>
          <p:spPr>
            <a:xfrm>
              <a:off x="11631754" y="4194959"/>
              <a:ext cx="1124" cy="1874"/>
            </a:xfrm>
            <a:custGeom>
              <a:avLst/>
              <a:gdLst>
                <a:gd name="connsiteX0" fmla="*/ 1124 w 1124"/>
                <a:gd name="connsiteY0" fmla="*/ 1874 h 1874"/>
                <a:gd name="connsiteX1" fmla="*/ 1124 w 1124"/>
                <a:gd name="connsiteY1" fmla="*/ 1874 h 1874"/>
                <a:gd name="connsiteX2" fmla="*/ 0 w 1124"/>
                <a:gd name="connsiteY2" fmla="*/ 0 h 1874"/>
                <a:gd name="connsiteX3" fmla="*/ 0 w 1124"/>
                <a:gd name="connsiteY3" fmla="*/ 0 h 1874"/>
                <a:gd name="connsiteX4" fmla="*/ 1124 w 1124"/>
                <a:gd name="connsiteY4" fmla="*/ 1874 h 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 h="1874">
                  <a:moveTo>
                    <a:pt x="1124" y="1874"/>
                  </a:moveTo>
                  <a:lnTo>
                    <a:pt x="1124" y="1874"/>
                  </a:lnTo>
                  <a:cubicBezTo>
                    <a:pt x="700" y="1274"/>
                    <a:pt x="325" y="649"/>
                    <a:pt x="0" y="0"/>
                  </a:cubicBezTo>
                  <a:lnTo>
                    <a:pt x="0" y="0"/>
                  </a:lnTo>
                  <a:cubicBezTo>
                    <a:pt x="0" y="0"/>
                    <a:pt x="875" y="1249"/>
                    <a:pt x="1124" y="1874"/>
                  </a:cubicBezTo>
                  <a:close/>
                </a:path>
              </a:pathLst>
            </a:custGeom>
            <a:solidFill>
              <a:srgbClr val="000000"/>
            </a:solidFill>
            <a:ln w="12483" cap="flat">
              <a:noFill/>
              <a:prstDash val="solid"/>
              <a:miter/>
            </a:ln>
          </p:spPr>
          <p:txBody>
            <a:bodyPr rtlCol="0" anchor="ctr"/>
            <a:lstStyle/>
            <a:p>
              <a:endParaRPr lang="en-US"/>
            </a:p>
          </p:txBody>
        </p:sp>
        <p:sp>
          <p:nvSpPr>
            <p:cNvPr id="1715" name="Freeform: Shape 1714">
              <a:extLst>
                <a:ext uri="{FF2B5EF4-FFF2-40B4-BE49-F238E27FC236}">
                  <a16:creationId xmlns:a16="http://schemas.microsoft.com/office/drawing/2014/main" id="{8AF6ADA4-D645-4CBB-9197-4DFF5F08B28E}"/>
                </a:ext>
              </a:extLst>
            </p:cNvPr>
            <p:cNvSpPr/>
            <p:nvPr/>
          </p:nvSpPr>
          <p:spPr>
            <a:xfrm>
              <a:off x="12040203" y="4643655"/>
              <a:ext cx="131193" cy="147941"/>
            </a:xfrm>
            <a:custGeom>
              <a:avLst/>
              <a:gdLst>
                <a:gd name="connsiteX0" fmla="*/ 12495 w 131193"/>
                <a:gd name="connsiteY0" fmla="*/ 16244 h 147941"/>
                <a:gd name="connsiteX1" fmla="*/ 1262 w 131193"/>
                <a:gd name="connsiteY1" fmla="*/ 17506 h 147941"/>
                <a:gd name="connsiteX2" fmla="*/ 0 w 131193"/>
                <a:gd name="connsiteY2" fmla="*/ 16244 h 147941"/>
                <a:gd name="connsiteX3" fmla="*/ 115825 w 131193"/>
                <a:gd name="connsiteY3" fmla="*/ 147941 h 147941"/>
                <a:gd name="connsiteX4" fmla="*/ 115825 w 131193"/>
                <a:gd name="connsiteY4" fmla="*/ 147941 h 147941"/>
                <a:gd name="connsiteX5" fmla="*/ 115825 w 131193"/>
                <a:gd name="connsiteY5" fmla="*/ 142568 h 147941"/>
                <a:gd name="connsiteX6" fmla="*/ 125046 w 131193"/>
                <a:gd name="connsiteY6" fmla="*/ 133047 h 147941"/>
                <a:gd name="connsiteX7" fmla="*/ 125821 w 131193"/>
                <a:gd name="connsiteY7" fmla="*/ 133072 h 147941"/>
                <a:gd name="connsiteX8" fmla="*/ 131193 w 131193"/>
                <a:gd name="connsiteY8" fmla="*/ 136571 h 147941"/>
                <a:gd name="connsiteX9" fmla="*/ 131193 w 131193"/>
                <a:gd name="connsiteY9" fmla="*/ 135946 h 147941"/>
                <a:gd name="connsiteX10" fmla="*/ 14994 w 131193"/>
                <a:gd name="connsiteY10" fmla="*/ 3749 h 147941"/>
                <a:gd name="connsiteX11" fmla="*/ 11745 w 131193"/>
                <a:gd name="connsiteY11" fmla="*/ 0 h 147941"/>
                <a:gd name="connsiteX12" fmla="*/ 12495 w 131193"/>
                <a:gd name="connsiteY12" fmla="*/ 16244 h 1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193" h="147941">
                  <a:moveTo>
                    <a:pt x="12495" y="16244"/>
                  </a:moveTo>
                  <a:cubicBezTo>
                    <a:pt x="9733" y="19692"/>
                    <a:pt x="4711" y="20254"/>
                    <a:pt x="1262" y="17506"/>
                  </a:cubicBezTo>
                  <a:cubicBezTo>
                    <a:pt x="787" y="17131"/>
                    <a:pt x="374" y="16706"/>
                    <a:pt x="0" y="16244"/>
                  </a:cubicBezTo>
                  <a:lnTo>
                    <a:pt x="115825" y="147941"/>
                  </a:lnTo>
                  <a:lnTo>
                    <a:pt x="115825" y="147941"/>
                  </a:lnTo>
                  <a:lnTo>
                    <a:pt x="115825" y="142568"/>
                  </a:lnTo>
                  <a:cubicBezTo>
                    <a:pt x="115750" y="137395"/>
                    <a:pt x="119873" y="133134"/>
                    <a:pt x="125046" y="133047"/>
                  </a:cubicBezTo>
                  <a:cubicBezTo>
                    <a:pt x="125308" y="133047"/>
                    <a:pt x="125558" y="133060"/>
                    <a:pt x="125821" y="133072"/>
                  </a:cubicBezTo>
                  <a:cubicBezTo>
                    <a:pt x="127970" y="133547"/>
                    <a:pt x="129882" y="134797"/>
                    <a:pt x="131193" y="136571"/>
                  </a:cubicBezTo>
                  <a:cubicBezTo>
                    <a:pt x="131193" y="136571"/>
                    <a:pt x="131193" y="136571"/>
                    <a:pt x="131193" y="135946"/>
                  </a:cubicBezTo>
                  <a:lnTo>
                    <a:pt x="14994" y="3749"/>
                  </a:lnTo>
                  <a:lnTo>
                    <a:pt x="11745" y="0"/>
                  </a:lnTo>
                  <a:cubicBezTo>
                    <a:pt x="15968" y="4486"/>
                    <a:pt x="16280" y="11383"/>
                    <a:pt x="12495" y="16244"/>
                  </a:cubicBezTo>
                  <a:close/>
                </a:path>
              </a:pathLst>
            </a:custGeom>
            <a:solidFill>
              <a:srgbClr val="000000"/>
            </a:solidFill>
            <a:ln w="12483" cap="flat">
              <a:noFill/>
              <a:prstDash val="solid"/>
              <a:miter/>
            </a:ln>
          </p:spPr>
          <p:txBody>
            <a:bodyPr rtlCol="0" anchor="ctr"/>
            <a:lstStyle/>
            <a:p>
              <a:endParaRPr lang="en-US"/>
            </a:p>
          </p:txBody>
        </p:sp>
        <p:sp>
          <p:nvSpPr>
            <p:cNvPr id="1716" name="Freeform: Shape 1715">
              <a:extLst>
                <a:ext uri="{FF2B5EF4-FFF2-40B4-BE49-F238E27FC236}">
                  <a16:creationId xmlns:a16="http://schemas.microsoft.com/office/drawing/2014/main" id="{ECECC8AB-384C-476C-976B-A7B32F79D32B}"/>
                </a:ext>
              </a:extLst>
            </p:cNvPr>
            <p:cNvSpPr/>
            <p:nvPr/>
          </p:nvSpPr>
          <p:spPr>
            <a:xfrm>
              <a:off x="8547712" y="5860670"/>
              <a:ext cx="18760" cy="21788"/>
            </a:xfrm>
            <a:custGeom>
              <a:avLst/>
              <a:gdLst>
                <a:gd name="connsiteX0" fmla="*/ 5872 w 18760"/>
                <a:gd name="connsiteY0" fmla="*/ 20617 h 21788"/>
                <a:gd name="connsiteX1" fmla="*/ 9121 w 18760"/>
                <a:gd name="connsiteY1" fmla="*/ 21741 h 21788"/>
                <a:gd name="connsiteX2" fmla="*/ 10745 w 18760"/>
                <a:gd name="connsiteY2" fmla="*/ 21741 h 21788"/>
                <a:gd name="connsiteX3" fmla="*/ 12370 w 18760"/>
                <a:gd name="connsiteY3" fmla="*/ 21117 h 21788"/>
                <a:gd name="connsiteX4" fmla="*/ 15368 w 18760"/>
                <a:gd name="connsiteY4" fmla="*/ 19117 h 21788"/>
                <a:gd name="connsiteX5" fmla="*/ 18742 w 18760"/>
                <a:gd name="connsiteY5" fmla="*/ 9871 h 21788"/>
                <a:gd name="connsiteX6" fmla="*/ 17867 w 18760"/>
                <a:gd name="connsiteY6" fmla="*/ 0 h 21788"/>
                <a:gd name="connsiteX7" fmla="*/ 9871 w 18760"/>
                <a:gd name="connsiteY7" fmla="*/ 12495 h 21788"/>
                <a:gd name="connsiteX8" fmla="*/ 13 w 18760"/>
                <a:gd name="connsiteY8" fmla="*/ 3386 h 21788"/>
                <a:gd name="connsiteX9" fmla="*/ 0 w 18760"/>
                <a:gd name="connsiteY9" fmla="*/ 2874 h 21788"/>
                <a:gd name="connsiteX10" fmla="*/ 875 w 18760"/>
                <a:gd name="connsiteY10" fmla="*/ 12620 h 21788"/>
                <a:gd name="connsiteX11" fmla="*/ 875 w 18760"/>
                <a:gd name="connsiteY11" fmla="*/ 14244 h 21788"/>
                <a:gd name="connsiteX12" fmla="*/ 2249 w 18760"/>
                <a:gd name="connsiteY12" fmla="*/ 17743 h 21788"/>
                <a:gd name="connsiteX13" fmla="*/ 5872 w 18760"/>
                <a:gd name="connsiteY13" fmla="*/ 20617 h 2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0" h="21788">
                  <a:moveTo>
                    <a:pt x="5872" y="20617"/>
                  </a:moveTo>
                  <a:cubicBezTo>
                    <a:pt x="6859" y="21229"/>
                    <a:pt x="7972" y="21616"/>
                    <a:pt x="9121" y="21741"/>
                  </a:cubicBezTo>
                  <a:cubicBezTo>
                    <a:pt x="9658" y="21804"/>
                    <a:pt x="10208" y="21804"/>
                    <a:pt x="10745" y="21741"/>
                  </a:cubicBezTo>
                  <a:cubicBezTo>
                    <a:pt x="11370" y="21741"/>
                    <a:pt x="11745" y="21741"/>
                    <a:pt x="12370" y="21117"/>
                  </a:cubicBezTo>
                  <a:cubicBezTo>
                    <a:pt x="13532" y="20729"/>
                    <a:pt x="14569" y="20042"/>
                    <a:pt x="15368" y="19117"/>
                  </a:cubicBezTo>
                  <a:cubicBezTo>
                    <a:pt x="17705" y="16631"/>
                    <a:pt x="18929" y="13282"/>
                    <a:pt x="18742" y="9871"/>
                  </a:cubicBezTo>
                  <a:lnTo>
                    <a:pt x="17867" y="0"/>
                  </a:lnTo>
                  <a:cubicBezTo>
                    <a:pt x="19029" y="5648"/>
                    <a:pt x="15481" y="11195"/>
                    <a:pt x="9871" y="12495"/>
                  </a:cubicBezTo>
                  <a:cubicBezTo>
                    <a:pt x="4636" y="12707"/>
                    <a:pt x="212" y="8622"/>
                    <a:pt x="13" y="3386"/>
                  </a:cubicBezTo>
                  <a:cubicBezTo>
                    <a:pt x="0" y="3211"/>
                    <a:pt x="0" y="3049"/>
                    <a:pt x="0" y="2874"/>
                  </a:cubicBezTo>
                  <a:lnTo>
                    <a:pt x="875" y="12620"/>
                  </a:lnTo>
                  <a:cubicBezTo>
                    <a:pt x="812" y="13157"/>
                    <a:pt x="812" y="13707"/>
                    <a:pt x="875" y="14244"/>
                  </a:cubicBezTo>
                  <a:cubicBezTo>
                    <a:pt x="1149" y="15469"/>
                    <a:pt x="1612" y="16656"/>
                    <a:pt x="2249" y="17743"/>
                  </a:cubicBezTo>
                  <a:cubicBezTo>
                    <a:pt x="3224" y="18967"/>
                    <a:pt x="4461" y="19954"/>
                    <a:pt x="5872" y="20617"/>
                  </a:cubicBezTo>
                  <a:close/>
                </a:path>
              </a:pathLst>
            </a:custGeom>
            <a:solidFill>
              <a:srgbClr val="000000"/>
            </a:solidFill>
            <a:ln w="12483" cap="flat">
              <a:noFill/>
              <a:prstDash val="solid"/>
              <a:miter/>
            </a:ln>
          </p:spPr>
          <p:txBody>
            <a:bodyPr rtlCol="0" anchor="ctr"/>
            <a:lstStyle/>
            <a:p>
              <a:endParaRPr lang="en-US"/>
            </a:p>
          </p:txBody>
        </p:sp>
        <p:sp>
          <p:nvSpPr>
            <p:cNvPr id="1717" name="Freeform: Shape 1716">
              <a:extLst>
                <a:ext uri="{FF2B5EF4-FFF2-40B4-BE49-F238E27FC236}">
                  <a16:creationId xmlns:a16="http://schemas.microsoft.com/office/drawing/2014/main" id="{67C2A6E8-9596-45B2-AD33-0472E7008CD3}"/>
                </a:ext>
              </a:extLst>
            </p:cNvPr>
            <p:cNvSpPr/>
            <p:nvPr/>
          </p:nvSpPr>
          <p:spPr>
            <a:xfrm>
              <a:off x="8196989" y="4202456"/>
              <a:ext cx="136996" cy="191409"/>
            </a:xfrm>
            <a:custGeom>
              <a:avLst/>
              <a:gdLst>
                <a:gd name="connsiteX0" fmla="*/ 129944 w 136996"/>
                <a:gd name="connsiteY0" fmla="*/ 191299 h 191409"/>
                <a:gd name="connsiteX1" fmla="*/ 133817 w 136996"/>
                <a:gd name="connsiteY1" fmla="*/ 189799 h 191409"/>
                <a:gd name="connsiteX2" fmla="*/ 134942 w 136996"/>
                <a:gd name="connsiteY2" fmla="*/ 189050 h 191409"/>
                <a:gd name="connsiteX3" fmla="*/ 134942 w 136996"/>
                <a:gd name="connsiteY3" fmla="*/ 189050 h 191409"/>
                <a:gd name="connsiteX4" fmla="*/ 136066 w 136996"/>
                <a:gd name="connsiteY4" fmla="*/ 187301 h 191409"/>
                <a:gd name="connsiteX5" fmla="*/ 136941 w 136996"/>
                <a:gd name="connsiteY5" fmla="*/ 185676 h 191409"/>
                <a:gd name="connsiteX6" fmla="*/ 136941 w 136996"/>
                <a:gd name="connsiteY6" fmla="*/ 183677 h 191409"/>
                <a:gd name="connsiteX7" fmla="*/ 136941 w 136996"/>
                <a:gd name="connsiteY7" fmla="*/ 181678 h 191409"/>
                <a:gd name="connsiteX8" fmla="*/ 136941 w 136996"/>
                <a:gd name="connsiteY8" fmla="*/ 179678 h 191409"/>
                <a:gd name="connsiteX9" fmla="*/ 136941 w 136996"/>
                <a:gd name="connsiteY9" fmla="*/ 177554 h 191409"/>
                <a:gd name="connsiteX10" fmla="*/ 136066 w 136996"/>
                <a:gd name="connsiteY10" fmla="*/ 175680 h 191409"/>
                <a:gd name="connsiteX11" fmla="*/ 135441 w 136996"/>
                <a:gd name="connsiteY11" fmla="*/ 174306 h 191409"/>
                <a:gd name="connsiteX12" fmla="*/ 131193 w 136996"/>
                <a:gd name="connsiteY12" fmla="*/ 168308 h 191409"/>
                <a:gd name="connsiteX13" fmla="*/ 131193 w 136996"/>
                <a:gd name="connsiteY13" fmla="*/ 168308 h 191409"/>
                <a:gd name="connsiteX14" fmla="*/ 16243 w 136996"/>
                <a:gd name="connsiteY14" fmla="*/ 3249 h 191409"/>
                <a:gd name="connsiteX15" fmla="*/ 14744 w 136996"/>
                <a:gd name="connsiteY15" fmla="*/ 1250 h 191409"/>
                <a:gd name="connsiteX16" fmla="*/ 13869 w 136996"/>
                <a:gd name="connsiteY16" fmla="*/ 0 h 191409"/>
                <a:gd name="connsiteX17" fmla="*/ 13869 w 136996"/>
                <a:gd name="connsiteY17" fmla="*/ 0 h 191409"/>
                <a:gd name="connsiteX18" fmla="*/ 12495 w 136996"/>
                <a:gd name="connsiteY18" fmla="*/ 14494 h 191409"/>
                <a:gd name="connsiteX19" fmla="*/ 1012 w 136996"/>
                <a:gd name="connsiteY19" fmla="*/ 14482 h 191409"/>
                <a:gd name="connsiteX20" fmla="*/ 0 w 136996"/>
                <a:gd name="connsiteY20" fmla="*/ 13245 h 191409"/>
                <a:gd name="connsiteX21" fmla="*/ 114450 w 136996"/>
                <a:gd name="connsiteY21" fmla="*/ 176930 h 191409"/>
                <a:gd name="connsiteX22" fmla="*/ 122197 w 136996"/>
                <a:gd name="connsiteY22" fmla="*/ 188175 h 191409"/>
                <a:gd name="connsiteX23" fmla="*/ 129944 w 136996"/>
                <a:gd name="connsiteY23" fmla="*/ 191299 h 191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6996" h="191409">
                  <a:moveTo>
                    <a:pt x="129944" y="191299"/>
                  </a:moveTo>
                  <a:cubicBezTo>
                    <a:pt x="131343" y="191149"/>
                    <a:pt x="132680" y="190637"/>
                    <a:pt x="133817" y="189799"/>
                  </a:cubicBezTo>
                  <a:lnTo>
                    <a:pt x="134942" y="189050"/>
                  </a:lnTo>
                  <a:lnTo>
                    <a:pt x="134942" y="189050"/>
                  </a:lnTo>
                  <a:lnTo>
                    <a:pt x="136066" y="187301"/>
                  </a:lnTo>
                  <a:cubicBezTo>
                    <a:pt x="136428" y="186801"/>
                    <a:pt x="136728" y="186251"/>
                    <a:pt x="136941" y="185676"/>
                  </a:cubicBezTo>
                  <a:cubicBezTo>
                    <a:pt x="137016" y="185014"/>
                    <a:pt x="137016" y="184339"/>
                    <a:pt x="136941" y="183677"/>
                  </a:cubicBezTo>
                  <a:cubicBezTo>
                    <a:pt x="137003" y="183015"/>
                    <a:pt x="137003" y="182340"/>
                    <a:pt x="136941" y="181678"/>
                  </a:cubicBezTo>
                  <a:cubicBezTo>
                    <a:pt x="137003" y="181015"/>
                    <a:pt x="137003" y="180341"/>
                    <a:pt x="136941" y="179678"/>
                  </a:cubicBezTo>
                  <a:cubicBezTo>
                    <a:pt x="137003" y="178966"/>
                    <a:pt x="137003" y="178266"/>
                    <a:pt x="136941" y="177554"/>
                  </a:cubicBezTo>
                  <a:lnTo>
                    <a:pt x="136066" y="175680"/>
                  </a:lnTo>
                  <a:cubicBezTo>
                    <a:pt x="135879" y="175205"/>
                    <a:pt x="135679" y="174756"/>
                    <a:pt x="135441" y="174306"/>
                  </a:cubicBezTo>
                  <a:lnTo>
                    <a:pt x="131193" y="168308"/>
                  </a:lnTo>
                  <a:lnTo>
                    <a:pt x="131193" y="168308"/>
                  </a:lnTo>
                  <a:lnTo>
                    <a:pt x="16243" y="3249"/>
                  </a:lnTo>
                  <a:lnTo>
                    <a:pt x="14744" y="1250"/>
                  </a:lnTo>
                  <a:lnTo>
                    <a:pt x="13869" y="0"/>
                  </a:lnTo>
                  <a:lnTo>
                    <a:pt x="13869" y="0"/>
                  </a:lnTo>
                  <a:cubicBezTo>
                    <a:pt x="16568" y="4623"/>
                    <a:pt x="16005" y="10458"/>
                    <a:pt x="12495" y="14494"/>
                  </a:cubicBezTo>
                  <a:cubicBezTo>
                    <a:pt x="9321" y="17656"/>
                    <a:pt x="4173" y="17656"/>
                    <a:pt x="1012" y="14482"/>
                  </a:cubicBezTo>
                  <a:cubicBezTo>
                    <a:pt x="637" y="14107"/>
                    <a:pt x="300" y="13682"/>
                    <a:pt x="0" y="13245"/>
                  </a:cubicBezTo>
                  <a:lnTo>
                    <a:pt x="114450" y="176930"/>
                  </a:lnTo>
                  <a:lnTo>
                    <a:pt x="122197" y="188175"/>
                  </a:lnTo>
                  <a:cubicBezTo>
                    <a:pt x="123984" y="190587"/>
                    <a:pt x="126983" y="191799"/>
                    <a:pt x="129944" y="191299"/>
                  </a:cubicBezTo>
                  <a:close/>
                </a:path>
              </a:pathLst>
            </a:custGeom>
            <a:solidFill>
              <a:srgbClr val="000000"/>
            </a:solidFill>
            <a:ln w="12483" cap="flat">
              <a:noFill/>
              <a:prstDash val="solid"/>
              <a:miter/>
            </a:ln>
          </p:spPr>
          <p:txBody>
            <a:bodyPr rtlCol="0" anchor="ctr"/>
            <a:lstStyle/>
            <a:p>
              <a:endParaRPr lang="en-US"/>
            </a:p>
          </p:txBody>
        </p:sp>
        <p:sp>
          <p:nvSpPr>
            <p:cNvPr id="1718" name="Freeform: Shape 1717">
              <a:extLst>
                <a:ext uri="{FF2B5EF4-FFF2-40B4-BE49-F238E27FC236}">
                  <a16:creationId xmlns:a16="http://schemas.microsoft.com/office/drawing/2014/main" id="{8F4CDD97-8607-48BE-9F7D-040126A5FF6E}"/>
                </a:ext>
              </a:extLst>
            </p:cNvPr>
            <p:cNvSpPr/>
            <p:nvPr/>
          </p:nvSpPr>
          <p:spPr>
            <a:xfrm>
              <a:off x="8190241" y="4202081"/>
              <a:ext cx="22189" cy="16971"/>
            </a:xfrm>
            <a:custGeom>
              <a:avLst/>
              <a:gdLst>
                <a:gd name="connsiteX0" fmla="*/ 19117 w 22189"/>
                <a:gd name="connsiteY0" fmla="*/ 14494 h 16971"/>
                <a:gd name="connsiteX1" fmla="*/ 20491 w 22189"/>
                <a:gd name="connsiteY1" fmla="*/ 0 h 16971"/>
                <a:gd name="connsiteX2" fmla="*/ 13744 w 22189"/>
                <a:gd name="connsiteY2" fmla="*/ 3499 h 16971"/>
                <a:gd name="connsiteX3" fmla="*/ 12620 w 22189"/>
                <a:gd name="connsiteY3" fmla="*/ 5248 h 16971"/>
                <a:gd name="connsiteX4" fmla="*/ 9121 w 22189"/>
                <a:gd name="connsiteY4" fmla="*/ 7372 h 16971"/>
                <a:gd name="connsiteX5" fmla="*/ 9121 w 22189"/>
                <a:gd name="connsiteY5" fmla="*/ 7372 h 16971"/>
                <a:gd name="connsiteX6" fmla="*/ 9121 w 22189"/>
                <a:gd name="connsiteY6" fmla="*/ 9996 h 16971"/>
                <a:gd name="connsiteX7" fmla="*/ 7209 w 22189"/>
                <a:gd name="connsiteY7" fmla="*/ 10333 h 16971"/>
                <a:gd name="connsiteX8" fmla="*/ 6872 w 22189"/>
                <a:gd name="connsiteY8" fmla="*/ 9996 h 16971"/>
                <a:gd name="connsiteX9" fmla="*/ 4873 w 22189"/>
                <a:gd name="connsiteY9" fmla="*/ 7247 h 16971"/>
                <a:gd name="connsiteX10" fmla="*/ 0 w 22189"/>
                <a:gd name="connsiteY10" fmla="*/ 3873 h 16971"/>
                <a:gd name="connsiteX11" fmla="*/ 0 w 22189"/>
                <a:gd name="connsiteY11" fmla="*/ 3873 h 16971"/>
                <a:gd name="connsiteX12" fmla="*/ 6372 w 22189"/>
                <a:gd name="connsiteY12" fmla="*/ 13120 h 16971"/>
                <a:gd name="connsiteX13" fmla="*/ 17555 w 22189"/>
                <a:gd name="connsiteY13" fmla="*/ 15756 h 16971"/>
                <a:gd name="connsiteX14" fmla="*/ 19117 w 22189"/>
                <a:gd name="connsiteY14" fmla="*/ 14494 h 1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189" h="16971">
                  <a:moveTo>
                    <a:pt x="19117" y="14494"/>
                  </a:moveTo>
                  <a:cubicBezTo>
                    <a:pt x="22628" y="10458"/>
                    <a:pt x="23190" y="4623"/>
                    <a:pt x="20491" y="0"/>
                  </a:cubicBezTo>
                  <a:lnTo>
                    <a:pt x="13744" y="3499"/>
                  </a:lnTo>
                  <a:cubicBezTo>
                    <a:pt x="13444" y="4124"/>
                    <a:pt x="13069" y="4711"/>
                    <a:pt x="12620" y="5248"/>
                  </a:cubicBezTo>
                  <a:cubicBezTo>
                    <a:pt x="11657" y="6248"/>
                    <a:pt x="10458" y="6985"/>
                    <a:pt x="9121" y="7372"/>
                  </a:cubicBezTo>
                  <a:lnTo>
                    <a:pt x="9121" y="7372"/>
                  </a:lnTo>
                  <a:cubicBezTo>
                    <a:pt x="9721" y="8147"/>
                    <a:pt x="9721" y="9221"/>
                    <a:pt x="9121" y="9996"/>
                  </a:cubicBezTo>
                  <a:cubicBezTo>
                    <a:pt x="8684" y="10621"/>
                    <a:pt x="7822" y="10771"/>
                    <a:pt x="7209" y="10333"/>
                  </a:cubicBezTo>
                  <a:cubicBezTo>
                    <a:pt x="7072" y="10233"/>
                    <a:pt x="6960" y="10121"/>
                    <a:pt x="6872" y="9996"/>
                  </a:cubicBezTo>
                  <a:lnTo>
                    <a:pt x="4873" y="7247"/>
                  </a:lnTo>
                  <a:cubicBezTo>
                    <a:pt x="2886" y="6773"/>
                    <a:pt x="1137" y="5573"/>
                    <a:pt x="0" y="3873"/>
                  </a:cubicBezTo>
                  <a:lnTo>
                    <a:pt x="0" y="3873"/>
                  </a:lnTo>
                  <a:lnTo>
                    <a:pt x="6372" y="13120"/>
                  </a:lnTo>
                  <a:cubicBezTo>
                    <a:pt x="8734" y="16931"/>
                    <a:pt x="13732" y="18118"/>
                    <a:pt x="17555" y="15756"/>
                  </a:cubicBezTo>
                  <a:cubicBezTo>
                    <a:pt x="18117" y="15406"/>
                    <a:pt x="18654" y="14982"/>
                    <a:pt x="19117" y="14494"/>
                  </a:cubicBezTo>
                  <a:close/>
                </a:path>
              </a:pathLst>
            </a:custGeom>
            <a:solidFill>
              <a:srgbClr val="000000"/>
            </a:solidFill>
            <a:ln w="12483" cap="flat">
              <a:noFill/>
              <a:prstDash val="solid"/>
              <a:miter/>
            </a:ln>
          </p:spPr>
          <p:txBody>
            <a:bodyPr rtlCol="0" anchor="ctr"/>
            <a:lstStyle/>
            <a:p>
              <a:endParaRPr lang="en-US"/>
            </a:p>
          </p:txBody>
        </p:sp>
        <p:sp>
          <p:nvSpPr>
            <p:cNvPr id="1719" name="Freeform: Shape 1718">
              <a:extLst>
                <a:ext uri="{FF2B5EF4-FFF2-40B4-BE49-F238E27FC236}">
                  <a16:creationId xmlns:a16="http://schemas.microsoft.com/office/drawing/2014/main" id="{79D4A14E-DBFC-461B-AD5C-4B66171733D8}"/>
                </a:ext>
              </a:extLst>
            </p:cNvPr>
            <p:cNvSpPr/>
            <p:nvPr/>
          </p:nvSpPr>
          <p:spPr>
            <a:xfrm>
              <a:off x="9878690" y="5274279"/>
              <a:ext cx="387404" cy="236697"/>
            </a:xfrm>
            <a:custGeom>
              <a:avLst/>
              <a:gdLst>
                <a:gd name="connsiteX0" fmla="*/ 5070 w 387404"/>
                <a:gd name="connsiteY0" fmla="*/ 215914 h 236697"/>
                <a:gd name="connsiteX1" fmla="*/ 822 w 387404"/>
                <a:gd name="connsiteY1" fmla="*/ 230408 h 236697"/>
                <a:gd name="connsiteX2" fmla="*/ 11242 w 387404"/>
                <a:gd name="connsiteY2" fmla="*/ 236406 h 236697"/>
                <a:gd name="connsiteX3" fmla="*/ 13316 w 387404"/>
                <a:gd name="connsiteY3" fmla="*/ 235531 h 236697"/>
                <a:gd name="connsiteX4" fmla="*/ 14191 w 387404"/>
                <a:gd name="connsiteY4" fmla="*/ 235531 h 236697"/>
                <a:gd name="connsiteX5" fmla="*/ 17190 w 387404"/>
                <a:gd name="connsiteY5" fmla="*/ 233782 h 236697"/>
                <a:gd name="connsiteX6" fmla="*/ 387405 w 387404"/>
                <a:gd name="connsiteY6" fmla="*/ 19617 h 236697"/>
                <a:gd name="connsiteX7" fmla="*/ 375897 w 387404"/>
                <a:gd name="connsiteY7" fmla="*/ 16844 h 236697"/>
                <a:gd name="connsiteX8" fmla="*/ 374910 w 387404"/>
                <a:gd name="connsiteY8" fmla="*/ 14494 h 236697"/>
                <a:gd name="connsiteX9" fmla="*/ 379033 w 387404"/>
                <a:gd name="connsiteY9" fmla="*/ 0 h 236697"/>
                <a:gd name="connsiteX10" fmla="*/ 368163 w 387404"/>
                <a:gd name="connsiteY10" fmla="*/ 6373 h 23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404" h="236697">
                  <a:moveTo>
                    <a:pt x="5070" y="215914"/>
                  </a:moveTo>
                  <a:cubicBezTo>
                    <a:pt x="559" y="219250"/>
                    <a:pt x="-1177" y="225173"/>
                    <a:pt x="822" y="230408"/>
                  </a:cubicBezTo>
                  <a:cubicBezTo>
                    <a:pt x="2046" y="234944"/>
                    <a:pt x="6706" y="237618"/>
                    <a:pt x="11242" y="236406"/>
                  </a:cubicBezTo>
                  <a:cubicBezTo>
                    <a:pt x="11967" y="236206"/>
                    <a:pt x="12667" y="235919"/>
                    <a:pt x="13316" y="235531"/>
                  </a:cubicBezTo>
                  <a:lnTo>
                    <a:pt x="14191" y="235531"/>
                  </a:lnTo>
                  <a:lnTo>
                    <a:pt x="17190" y="233782"/>
                  </a:lnTo>
                  <a:lnTo>
                    <a:pt x="387405" y="19617"/>
                  </a:lnTo>
                  <a:cubicBezTo>
                    <a:pt x="383456" y="22029"/>
                    <a:pt x="378308" y="20792"/>
                    <a:pt x="375897" y="16844"/>
                  </a:cubicBezTo>
                  <a:cubicBezTo>
                    <a:pt x="375447" y="16119"/>
                    <a:pt x="375123" y="15319"/>
                    <a:pt x="374910" y="14494"/>
                  </a:cubicBezTo>
                  <a:cubicBezTo>
                    <a:pt x="372886" y="9284"/>
                    <a:pt x="374573" y="3361"/>
                    <a:pt x="379033" y="0"/>
                  </a:cubicBezTo>
                  <a:lnTo>
                    <a:pt x="368163" y="6373"/>
                  </a:lnTo>
                  <a:close/>
                </a:path>
              </a:pathLst>
            </a:custGeom>
            <a:solidFill>
              <a:srgbClr val="000000"/>
            </a:solidFill>
            <a:ln w="12483" cap="flat">
              <a:noFill/>
              <a:prstDash val="solid"/>
              <a:miter/>
            </a:ln>
          </p:spPr>
          <p:txBody>
            <a:bodyPr rtlCol="0" anchor="ctr"/>
            <a:lstStyle/>
            <a:p>
              <a:endParaRPr lang="en-US"/>
            </a:p>
          </p:txBody>
        </p:sp>
        <p:sp>
          <p:nvSpPr>
            <p:cNvPr id="1720" name="Freeform: Shape 1719">
              <a:extLst>
                <a:ext uri="{FF2B5EF4-FFF2-40B4-BE49-F238E27FC236}">
                  <a16:creationId xmlns:a16="http://schemas.microsoft.com/office/drawing/2014/main" id="{B6AC236D-9D6E-438A-86CA-6CB4DD94AA37}"/>
                </a:ext>
              </a:extLst>
            </p:cNvPr>
            <p:cNvSpPr/>
            <p:nvPr/>
          </p:nvSpPr>
          <p:spPr>
            <a:xfrm>
              <a:off x="9020397" y="3631434"/>
              <a:ext cx="19231" cy="58851"/>
            </a:xfrm>
            <a:custGeom>
              <a:avLst/>
              <a:gdLst>
                <a:gd name="connsiteX0" fmla="*/ 9607 w 19231"/>
                <a:gd name="connsiteY0" fmla="*/ 47606 h 58851"/>
                <a:gd name="connsiteX1" fmla="*/ 19228 w 19231"/>
                <a:gd name="connsiteY1" fmla="*/ 57715 h 58851"/>
                <a:gd name="connsiteX2" fmla="*/ 19228 w 19231"/>
                <a:gd name="connsiteY2" fmla="*/ 57727 h 58851"/>
                <a:gd name="connsiteX3" fmla="*/ 17478 w 19231"/>
                <a:gd name="connsiteY3" fmla="*/ 26615 h 58851"/>
                <a:gd name="connsiteX4" fmla="*/ 17478 w 19231"/>
                <a:gd name="connsiteY4" fmla="*/ 20492 h 58851"/>
                <a:gd name="connsiteX5" fmla="*/ 17478 w 19231"/>
                <a:gd name="connsiteY5" fmla="*/ 17743 h 58851"/>
                <a:gd name="connsiteX6" fmla="*/ 17478 w 19231"/>
                <a:gd name="connsiteY6" fmla="*/ 9996 h 58851"/>
                <a:gd name="connsiteX7" fmla="*/ 7983 w 19231"/>
                <a:gd name="connsiteY7" fmla="*/ 0 h 58851"/>
                <a:gd name="connsiteX8" fmla="*/ 7858 w 19231"/>
                <a:gd name="connsiteY8" fmla="*/ 0 h 58851"/>
                <a:gd name="connsiteX9" fmla="*/ 4734 w 19231"/>
                <a:gd name="connsiteY9" fmla="*/ 1000 h 58851"/>
                <a:gd name="connsiteX10" fmla="*/ 3235 w 19231"/>
                <a:gd name="connsiteY10" fmla="*/ 2374 h 58851"/>
                <a:gd name="connsiteX11" fmla="*/ 1860 w 19231"/>
                <a:gd name="connsiteY11" fmla="*/ 3499 h 58851"/>
                <a:gd name="connsiteX12" fmla="*/ 986 w 19231"/>
                <a:gd name="connsiteY12" fmla="*/ 5248 h 58851"/>
                <a:gd name="connsiteX13" fmla="*/ 111 w 19231"/>
                <a:gd name="connsiteY13" fmla="*/ 6997 h 58851"/>
                <a:gd name="connsiteX14" fmla="*/ 111 w 19231"/>
                <a:gd name="connsiteY14" fmla="*/ 8872 h 58851"/>
                <a:gd name="connsiteX15" fmla="*/ 111 w 19231"/>
                <a:gd name="connsiteY15" fmla="*/ 11246 h 58851"/>
                <a:gd name="connsiteX16" fmla="*/ 111 w 19231"/>
                <a:gd name="connsiteY16" fmla="*/ 11246 h 58851"/>
                <a:gd name="connsiteX17" fmla="*/ 1985 w 19231"/>
                <a:gd name="connsiteY17" fmla="*/ 42233 h 58851"/>
                <a:gd name="connsiteX18" fmla="*/ 1985 w 19231"/>
                <a:gd name="connsiteY18" fmla="*/ 48356 h 58851"/>
                <a:gd name="connsiteX19" fmla="*/ 2610 w 19231"/>
                <a:gd name="connsiteY19" fmla="*/ 58852 h 58851"/>
                <a:gd name="connsiteX20" fmla="*/ 9607 w 19231"/>
                <a:gd name="connsiteY20" fmla="*/ 47606 h 5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31" h="58851">
                  <a:moveTo>
                    <a:pt x="9607" y="47606"/>
                  </a:moveTo>
                  <a:cubicBezTo>
                    <a:pt x="15055" y="47743"/>
                    <a:pt x="19365" y="52267"/>
                    <a:pt x="19228" y="57715"/>
                  </a:cubicBezTo>
                  <a:cubicBezTo>
                    <a:pt x="19228" y="57727"/>
                    <a:pt x="19228" y="57727"/>
                    <a:pt x="19228" y="57727"/>
                  </a:cubicBezTo>
                  <a:lnTo>
                    <a:pt x="17478" y="26615"/>
                  </a:lnTo>
                  <a:lnTo>
                    <a:pt x="17478" y="20492"/>
                  </a:lnTo>
                  <a:lnTo>
                    <a:pt x="17478" y="17743"/>
                  </a:lnTo>
                  <a:lnTo>
                    <a:pt x="17478" y="9996"/>
                  </a:lnTo>
                  <a:cubicBezTo>
                    <a:pt x="17616" y="4611"/>
                    <a:pt x="13368" y="137"/>
                    <a:pt x="7983" y="0"/>
                  </a:cubicBezTo>
                  <a:cubicBezTo>
                    <a:pt x="7945" y="0"/>
                    <a:pt x="7895" y="0"/>
                    <a:pt x="7858" y="0"/>
                  </a:cubicBezTo>
                  <a:cubicBezTo>
                    <a:pt x="6771" y="137"/>
                    <a:pt x="5709" y="475"/>
                    <a:pt x="4734" y="1000"/>
                  </a:cubicBezTo>
                  <a:cubicBezTo>
                    <a:pt x="4172" y="1387"/>
                    <a:pt x="3672" y="1849"/>
                    <a:pt x="3235" y="2374"/>
                  </a:cubicBezTo>
                  <a:cubicBezTo>
                    <a:pt x="2722" y="2674"/>
                    <a:pt x="2260" y="3061"/>
                    <a:pt x="1860" y="3499"/>
                  </a:cubicBezTo>
                  <a:cubicBezTo>
                    <a:pt x="1860" y="3499"/>
                    <a:pt x="1860" y="4623"/>
                    <a:pt x="986" y="5248"/>
                  </a:cubicBezTo>
                  <a:cubicBezTo>
                    <a:pt x="111" y="5873"/>
                    <a:pt x="361" y="6373"/>
                    <a:pt x="111" y="6997"/>
                  </a:cubicBezTo>
                  <a:cubicBezTo>
                    <a:pt x="-139" y="7622"/>
                    <a:pt x="111" y="8247"/>
                    <a:pt x="111" y="8872"/>
                  </a:cubicBezTo>
                  <a:cubicBezTo>
                    <a:pt x="49" y="9659"/>
                    <a:pt x="49" y="10458"/>
                    <a:pt x="111" y="11246"/>
                  </a:cubicBezTo>
                  <a:lnTo>
                    <a:pt x="111" y="11246"/>
                  </a:lnTo>
                  <a:lnTo>
                    <a:pt x="1985" y="42233"/>
                  </a:lnTo>
                  <a:lnTo>
                    <a:pt x="1985" y="48356"/>
                  </a:lnTo>
                  <a:lnTo>
                    <a:pt x="2610" y="58852"/>
                  </a:lnTo>
                  <a:cubicBezTo>
                    <a:pt x="1935" y="53904"/>
                    <a:pt x="4871" y="49181"/>
                    <a:pt x="9607" y="47606"/>
                  </a:cubicBezTo>
                  <a:close/>
                </a:path>
              </a:pathLst>
            </a:custGeom>
            <a:solidFill>
              <a:srgbClr val="000000"/>
            </a:solidFill>
            <a:ln w="12483" cap="flat">
              <a:noFill/>
              <a:prstDash val="solid"/>
              <a:miter/>
            </a:ln>
          </p:spPr>
          <p:txBody>
            <a:bodyPr rtlCol="0" anchor="ctr"/>
            <a:lstStyle/>
            <a:p>
              <a:endParaRPr lang="en-US"/>
            </a:p>
          </p:txBody>
        </p:sp>
        <p:sp>
          <p:nvSpPr>
            <p:cNvPr id="1721" name="Freeform: Shape 1720">
              <a:extLst>
                <a:ext uri="{FF2B5EF4-FFF2-40B4-BE49-F238E27FC236}">
                  <a16:creationId xmlns:a16="http://schemas.microsoft.com/office/drawing/2014/main" id="{4E2994A4-F4DC-4AC3-9216-2F824164F940}"/>
                </a:ext>
              </a:extLst>
            </p:cNvPr>
            <p:cNvSpPr/>
            <p:nvPr/>
          </p:nvSpPr>
          <p:spPr>
            <a:xfrm>
              <a:off x="9021653" y="3679040"/>
              <a:ext cx="21220" cy="75719"/>
            </a:xfrm>
            <a:custGeom>
              <a:avLst/>
              <a:gdLst>
                <a:gd name="connsiteX0" fmla="*/ 21220 w 21220"/>
                <a:gd name="connsiteY0" fmla="*/ 66598 h 75719"/>
                <a:gd name="connsiteX1" fmla="*/ 17972 w 21220"/>
                <a:gd name="connsiteY1" fmla="*/ 10121 h 75719"/>
                <a:gd name="connsiteX2" fmla="*/ 8363 w 21220"/>
                <a:gd name="connsiteY2" fmla="*/ 0 h 75719"/>
                <a:gd name="connsiteX3" fmla="*/ 8351 w 21220"/>
                <a:gd name="connsiteY3" fmla="*/ 0 h 75719"/>
                <a:gd name="connsiteX4" fmla="*/ 104 w 21220"/>
                <a:gd name="connsiteY4" fmla="*/ 11620 h 75719"/>
                <a:gd name="connsiteX5" fmla="*/ 3728 w 21220"/>
                <a:gd name="connsiteY5" fmla="*/ 75720 h 75719"/>
                <a:gd name="connsiteX6" fmla="*/ 9600 w 21220"/>
                <a:gd name="connsiteY6" fmla="*/ 72596 h 7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0" h="75719">
                  <a:moveTo>
                    <a:pt x="21220" y="66598"/>
                  </a:moveTo>
                  <a:lnTo>
                    <a:pt x="17972" y="10121"/>
                  </a:lnTo>
                  <a:cubicBezTo>
                    <a:pt x="18109" y="4673"/>
                    <a:pt x="13811" y="137"/>
                    <a:pt x="8363" y="0"/>
                  </a:cubicBezTo>
                  <a:cubicBezTo>
                    <a:pt x="8351" y="0"/>
                    <a:pt x="8351" y="0"/>
                    <a:pt x="8351" y="0"/>
                  </a:cubicBezTo>
                  <a:cubicBezTo>
                    <a:pt x="2953" y="1075"/>
                    <a:pt x="-670" y="6172"/>
                    <a:pt x="104" y="11620"/>
                  </a:cubicBezTo>
                  <a:lnTo>
                    <a:pt x="3728" y="75720"/>
                  </a:lnTo>
                  <a:lnTo>
                    <a:pt x="9600" y="72596"/>
                  </a:lnTo>
                  <a:close/>
                </a:path>
              </a:pathLst>
            </a:custGeom>
            <a:solidFill>
              <a:srgbClr val="000000"/>
            </a:solidFill>
            <a:ln w="12483" cap="flat">
              <a:noFill/>
              <a:prstDash val="solid"/>
              <a:miter/>
            </a:ln>
          </p:spPr>
          <p:txBody>
            <a:bodyPr rtlCol="0" anchor="ctr"/>
            <a:lstStyle/>
            <a:p>
              <a:endParaRPr lang="en-US"/>
            </a:p>
          </p:txBody>
        </p:sp>
        <p:sp>
          <p:nvSpPr>
            <p:cNvPr id="1722" name="Freeform: Shape 1721">
              <a:extLst>
                <a:ext uri="{FF2B5EF4-FFF2-40B4-BE49-F238E27FC236}">
                  <a16:creationId xmlns:a16="http://schemas.microsoft.com/office/drawing/2014/main" id="{59BEE2B2-6418-4F1D-B488-B7CB6098666F}"/>
                </a:ext>
              </a:extLst>
            </p:cNvPr>
            <p:cNvSpPr/>
            <p:nvPr/>
          </p:nvSpPr>
          <p:spPr>
            <a:xfrm>
              <a:off x="10995529" y="3387906"/>
              <a:ext cx="4123" cy="17368"/>
            </a:xfrm>
            <a:custGeom>
              <a:avLst/>
              <a:gdLst>
                <a:gd name="connsiteX0" fmla="*/ 4123 w 4123"/>
                <a:gd name="connsiteY0" fmla="*/ 17368 h 17368"/>
                <a:gd name="connsiteX1" fmla="*/ 4123 w 4123"/>
                <a:gd name="connsiteY1" fmla="*/ 0 h 17368"/>
                <a:gd name="connsiteX2" fmla="*/ 4123 w 4123"/>
                <a:gd name="connsiteY2" fmla="*/ 0 h 17368"/>
                <a:gd name="connsiteX3" fmla="*/ 0 w 4123"/>
                <a:gd name="connsiteY3" fmla="*/ 8746 h 17368"/>
                <a:gd name="connsiteX4" fmla="*/ 4123 w 4123"/>
                <a:gd name="connsiteY4" fmla="*/ 17368 h 1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3" h="17368">
                  <a:moveTo>
                    <a:pt x="4123" y="17368"/>
                  </a:moveTo>
                  <a:lnTo>
                    <a:pt x="4123" y="0"/>
                  </a:lnTo>
                  <a:lnTo>
                    <a:pt x="4123" y="0"/>
                  </a:lnTo>
                  <a:cubicBezTo>
                    <a:pt x="4073" y="3374"/>
                    <a:pt x="2562" y="6560"/>
                    <a:pt x="0" y="8746"/>
                  </a:cubicBezTo>
                  <a:cubicBezTo>
                    <a:pt x="2462" y="10958"/>
                    <a:pt x="3948" y="14057"/>
                    <a:pt x="4123" y="17368"/>
                  </a:cubicBezTo>
                  <a:close/>
                </a:path>
              </a:pathLst>
            </a:custGeom>
            <a:solidFill>
              <a:srgbClr val="000000"/>
            </a:solidFill>
            <a:ln w="12483" cap="flat">
              <a:noFill/>
              <a:prstDash val="solid"/>
              <a:miter/>
            </a:ln>
          </p:spPr>
          <p:txBody>
            <a:bodyPr rtlCol="0" anchor="ctr"/>
            <a:lstStyle/>
            <a:p>
              <a:endParaRPr lang="en-US"/>
            </a:p>
          </p:txBody>
        </p:sp>
        <p:sp>
          <p:nvSpPr>
            <p:cNvPr id="1723" name="Freeform: Shape 1722">
              <a:extLst>
                <a:ext uri="{FF2B5EF4-FFF2-40B4-BE49-F238E27FC236}">
                  <a16:creationId xmlns:a16="http://schemas.microsoft.com/office/drawing/2014/main" id="{3A1D9829-FE65-4759-B36B-5C9B7FF3AED9}"/>
                </a:ext>
              </a:extLst>
            </p:cNvPr>
            <p:cNvSpPr/>
            <p:nvPr/>
          </p:nvSpPr>
          <p:spPr>
            <a:xfrm>
              <a:off x="10991656" y="3376585"/>
              <a:ext cx="1499" cy="74"/>
            </a:xfrm>
            <a:custGeom>
              <a:avLst/>
              <a:gdLst>
                <a:gd name="connsiteX0" fmla="*/ 0 w 1499"/>
                <a:gd name="connsiteY0" fmla="*/ 75 h 74"/>
                <a:gd name="connsiteX1" fmla="*/ 0 w 1499"/>
                <a:gd name="connsiteY1" fmla="*/ 75 h 74"/>
                <a:gd name="connsiteX2" fmla="*/ 1500 w 1499"/>
                <a:gd name="connsiteY2" fmla="*/ 75 h 74"/>
                <a:gd name="connsiteX3" fmla="*/ 0 w 1499"/>
                <a:gd name="connsiteY3" fmla="*/ 75 h 74"/>
              </a:gdLst>
              <a:ahLst/>
              <a:cxnLst>
                <a:cxn ang="0">
                  <a:pos x="connsiteX0" y="connsiteY0"/>
                </a:cxn>
                <a:cxn ang="0">
                  <a:pos x="connsiteX1" y="connsiteY1"/>
                </a:cxn>
                <a:cxn ang="0">
                  <a:pos x="connsiteX2" y="connsiteY2"/>
                </a:cxn>
                <a:cxn ang="0">
                  <a:pos x="connsiteX3" y="connsiteY3"/>
                </a:cxn>
              </a:cxnLst>
              <a:rect l="l" t="t" r="r" b="b"/>
              <a:pathLst>
                <a:path w="1499" h="74">
                  <a:moveTo>
                    <a:pt x="0" y="75"/>
                  </a:moveTo>
                  <a:lnTo>
                    <a:pt x="0" y="75"/>
                  </a:lnTo>
                  <a:cubicBezTo>
                    <a:pt x="500" y="13"/>
                    <a:pt x="1000" y="13"/>
                    <a:pt x="1500" y="75"/>
                  </a:cubicBezTo>
                  <a:cubicBezTo>
                    <a:pt x="1000" y="-25"/>
                    <a:pt x="500" y="-25"/>
                    <a:pt x="0" y="75"/>
                  </a:cubicBezTo>
                  <a:close/>
                </a:path>
              </a:pathLst>
            </a:custGeom>
            <a:solidFill>
              <a:srgbClr val="000000"/>
            </a:solidFill>
            <a:ln w="12483" cap="flat">
              <a:noFill/>
              <a:prstDash val="solid"/>
              <a:miter/>
            </a:ln>
          </p:spPr>
          <p:txBody>
            <a:bodyPr rtlCol="0" anchor="ctr"/>
            <a:lstStyle/>
            <a:p>
              <a:endParaRPr lang="en-US"/>
            </a:p>
          </p:txBody>
        </p:sp>
        <p:sp>
          <p:nvSpPr>
            <p:cNvPr id="1724" name="Freeform: Shape 1723">
              <a:extLst>
                <a:ext uri="{FF2B5EF4-FFF2-40B4-BE49-F238E27FC236}">
                  <a16:creationId xmlns:a16="http://schemas.microsoft.com/office/drawing/2014/main" id="{6227FF58-C59E-4518-8299-CFDF76BAB72F}"/>
                </a:ext>
              </a:extLst>
            </p:cNvPr>
            <p:cNvSpPr/>
            <p:nvPr/>
          </p:nvSpPr>
          <p:spPr>
            <a:xfrm>
              <a:off x="10984534" y="3396402"/>
              <a:ext cx="14619" cy="21991"/>
            </a:xfrm>
            <a:custGeom>
              <a:avLst/>
              <a:gdLst>
                <a:gd name="connsiteX0" fmla="*/ 10370 w 14619"/>
                <a:gd name="connsiteY0" fmla="*/ 1000 h 21991"/>
                <a:gd name="connsiteX1" fmla="*/ 0 w 14619"/>
                <a:gd name="connsiteY1" fmla="*/ 6497 h 21991"/>
                <a:gd name="connsiteX2" fmla="*/ 2874 w 14619"/>
                <a:gd name="connsiteY2" fmla="*/ 8622 h 21991"/>
                <a:gd name="connsiteX3" fmla="*/ 11620 w 14619"/>
                <a:gd name="connsiteY3" fmla="*/ 18618 h 21991"/>
                <a:gd name="connsiteX4" fmla="*/ 14618 w 14619"/>
                <a:gd name="connsiteY4" fmla="*/ 21991 h 21991"/>
                <a:gd name="connsiteX5" fmla="*/ 14618 w 14619"/>
                <a:gd name="connsiteY5" fmla="*/ 8872 h 21991"/>
                <a:gd name="connsiteX6" fmla="*/ 11120 w 14619"/>
                <a:gd name="connsiteY6" fmla="*/ 0 h 21991"/>
                <a:gd name="connsiteX7" fmla="*/ 10370 w 14619"/>
                <a:gd name="connsiteY7" fmla="*/ 1000 h 2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19" h="21991">
                  <a:moveTo>
                    <a:pt x="10370" y="1000"/>
                  </a:moveTo>
                  <a:lnTo>
                    <a:pt x="0" y="6497"/>
                  </a:lnTo>
                  <a:cubicBezTo>
                    <a:pt x="1087" y="7022"/>
                    <a:pt x="2061" y="7734"/>
                    <a:pt x="2874" y="8622"/>
                  </a:cubicBezTo>
                  <a:lnTo>
                    <a:pt x="11620" y="18618"/>
                  </a:lnTo>
                  <a:lnTo>
                    <a:pt x="14618" y="21991"/>
                  </a:lnTo>
                  <a:lnTo>
                    <a:pt x="14618" y="8872"/>
                  </a:lnTo>
                  <a:cubicBezTo>
                    <a:pt x="14668" y="5573"/>
                    <a:pt x="13419" y="2374"/>
                    <a:pt x="11120" y="0"/>
                  </a:cubicBezTo>
                  <a:cubicBezTo>
                    <a:pt x="11120" y="0"/>
                    <a:pt x="10870" y="750"/>
                    <a:pt x="10370" y="1000"/>
                  </a:cubicBezTo>
                  <a:close/>
                </a:path>
              </a:pathLst>
            </a:custGeom>
            <a:solidFill>
              <a:srgbClr val="000000"/>
            </a:solidFill>
            <a:ln w="12483" cap="flat">
              <a:noFill/>
              <a:prstDash val="solid"/>
              <a:miter/>
            </a:ln>
          </p:spPr>
          <p:txBody>
            <a:bodyPr rtlCol="0" anchor="ctr"/>
            <a:lstStyle/>
            <a:p>
              <a:endParaRPr lang="en-US"/>
            </a:p>
          </p:txBody>
        </p:sp>
        <p:sp>
          <p:nvSpPr>
            <p:cNvPr id="1725" name="Freeform: Shape 1724">
              <a:extLst>
                <a:ext uri="{FF2B5EF4-FFF2-40B4-BE49-F238E27FC236}">
                  <a16:creationId xmlns:a16="http://schemas.microsoft.com/office/drawing/2014/main" id="{E75BBE1B-4A89-4A61-ABFD-1C71F83AF8E3}"/>
                </a:ext>
              </a:extLst>
            </p:cNvPr>
            <p:cNvSpPr/>
            <p:nvPr/>
          </p:nvSpPr>
          <p:spPr>
            <a:xfrm>
              <a:off x="8581322" y="6543272"/>
              <a:ext cx="134941" cy="97711"/>
            </a:xfrm>
            <a:custGeom>
              <a:avLst/>
              <a:gdLst>
                <a:gd name="connsiteX0" fmla="*/ 122947 w 134941"/>
                <a:gd name="connsiteY0" fmla="*/ 14494 h 97711"/>
                <a:gd name="connsiteX1" fmla="*/ 127070 w 134941"/>
                <a:gd name="connsiteY1" fmla="*/ 0 h 97711"/>
                <a:gd name="connsiteX2" fmla="*/ 121447 w 134941"/>
                <a:gd name="connsiteY2" fmla="*/ 3374 h 97711"/>
                <a:gd name="connsiteX3" fmla="*/ 0 w 134941"/>
                <a:gd name="connsiteY3" fmla="*/ 74845 h 97711"/>
                <a:gd name="connsiteX4" fmla="*/ 1499 w 134941"/>
                <a:gd name="connsiteY4" fmla="*/ 90089 h 97711"/>
                <a:gd name="connsiteX5" fmla="*/ 2249 w 134941"/>
                <a:gd name="connsiteY5" fmla="*/ 97711 h 97711"/>
                <a:gd name="connsiteX6" fmla="*/ 134942 w 134941"/>
                <a:gd name="connsiteY6" fmla="*/ 19493 h 97711"/>
                <a:gd name="connsiteX7" fmla="*/ 123609 w 134941"/>
                <a:gd name="connsiteY7" fmla="*/ 16094 h 97711"/>
                <a:gd name="connsiteX8" fmla="*/ 122947 w 134941"/>
                <a:gd name="connsiteY8" fmla="*/ 14494 h 9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41" h="97711">
                  <a:moveTo>
                    <a:pt x="122947" y="14494"/>
                  </a:moveTo>
                  <a:cubicBezTo>
                    <a:pt x="120923" y="9284"/>
                    <a:pt x="122610" y="3361"/>
                    <a:pt x="127070" y="0"/>
                  </a:cubicBezTo>
                  <a:lnTo>
                    <a:pt x="121447" y="3374"/>
                  </a:lnTo>
                  <a:lnTo>
                    <a:pt x="0" y="74845"/>
                  </a:lnTo>
                  <a:lnTo>
                    <a:pt x="1499" y="90089"/>
                  </a:lnTo>
                  <a:lnTo>
                    <a:pt x="2249" y="97711"/>
                  </a:lnTo>
                  <a:lnTo>
                    <a:pt x="134942" y="19493"/>
                  </a:lnTo>
                  <a:cubicBezTo>
                    <a:pt x="130869" y="21679"/>
                    <a:pt x="125796" y="20155"/>
                    <a:pt x="123609" y="16094"/>
                  </a:cubicBezTo>
                  <a:cubicBezTo>
                    <a:pt x="123334" y="15581"/>
                    <a:pt x="123109" y="15044"/>
                    <a:pt x="122947" y="14494"/>
                  </a:cubicBezTo>
                  <a:close/>
                </a:path>
              </a:pathLst>
            </a:custGeom>
            <a:solidFill>
              <a:srgbClr val="000000"/>
            </a:solidFill>
            <a:ln w="12483" cap="flat">
              <a:noFill/>
              <a:prstDash val="solid"/>
              <a:miter/>
            </a:ln>
          </p:spPr>
          <p:txBody>
            <a:bodyPr rtlCol="0" anchor="ctr"/>
            <a:lstStyle/>
            <a:p>
              <a:endParaRPr lang="en-US"/>
            </a:p>
          </p:txBody>
        </p:sp>
        <p:sp>
          <p:nvSpPr>
            <p:cNvPr id="1726" name="Freeform: Shape 1725">
              <a:extLst>
                <a:ext uri="{FF2B5EF4-FFF2-40B4-BE49-F238E27FC236}">
                  <a16:creationId xmlns:a16="http://schemas.microsoft.com/office/drawing/2014/main" id="{2B62E651-5F11-408F-BC65-049F2611A553}"/>
                </a:ext>
              </a:extLst>
            </p:cNvPr>
            <p:cNvSpPr/>
            <p:nvPr/>
          </p:nvSpPr>
          <p:spPr>
            <a:xfrm>
              <a:off x="9413088" y="6065463"/>
              <a:ext cx="114200" cy="75595"/>
            </a:xfrm>
            <a:custGeom>
              <a:avLst/>
              <a:gdLst>
                <a:gd name="connsiteX0" fmla="*/ 102206 w 114200"/>
                <a:gd name="connsiteY0" fmla="*/ 14494 h 75595"/>
                <a:gd name="connsiteX1" fmla="*/ 106329 w 114200"/>
                <a:gd name="connsiteY1" fmla="*/ 0 h 75595"/>
                <a:gd name="connsiteX2" fmla="*/ 95958 w 114200"/>
                <a:gd name="connsiteY2" fmla="*/ 6122 h 75595"/>
                <a:gd name="connsiteX3" fmla="*/ 7122 w 114200"/>
                <a:gd name="connsiteY3" fmla="*/ 58477 h 75595"/>
                <a:gd name="connsiteX4" fmla="*/ 750 w 114200"/>
                <a:gd name="connsiteY4" fmla="*/ 62225 h 75595"/>
                <a:gd name="connsiteX5" fmla="*/ 0 w 114200"/>
                <a:gd name="connsiteY5" fmla="*/ 62975 h 75595"/>
                <a:gd name="connsiteX6" fmla="*/ 11070 w 114200"/>
                <a:gd name="connsiteY6" fmla="*/ 64187 h 75595"/>
                <a:gd name="connsiteX7" fmla="*/ 11620 w 114200"/>
                <a:gd name="connsiteY7" fmla="*/ 64974 h 75595"/>
                <a:gd name="connsiteX8" fmla="*/ 18867 w 114200"/>
                <a:gd name="connsiteY8" fmla="*/ 75595 h 75595"/>
                <a:gd name="connsiteX9" fmla="*/ 114201 w 114200"/>
                <a:gd name="connsiteY9" fmla="*/ 19492 h 75595"/>
                <a:gd name="connsiteX10" fmla="*/ 102868 w 114200"/>
                <a:gd name="connsiteY10" fmla="*/ 16094 h 75595"/>
                <a:gd name="connsiteX11" fmla="*/ 102206 w 114200"/>
                <a:gd name="connsiteY11" fmla="*/ 14494 h 75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200" h="75595">
                  <a:moveTo>
                    <a:pt x="102206" y="14494"/>
                  </a:moveTo>
                  <a:cubicBezTo>
                    <a:pt x="100182" y="9284"/>
                    <a:pt x="101869" y="3361"/>
                    <a:pt x="106329" y="0"/>
                  </a:cubicBezTo>
                  <a:lnTo>
                    <a:pt x="95958" y="6122"/>
                  </a:lnTo>
                  <a:lnTo>
                    <a:pt x="7122" y="58477"/>
                  </a:lnTo>
                  <a:lnTo>
                    <a:pt x="750" y="62225"/>
                  </a:lnTo>
                  <a:cubicBezTo>
                    <a:pt x="750" y="62225"/>
                    <a:pt x="750" y="62225"/>
                    <a:pt x="0" y="62975"/>
                  </a:cubicBezTo>
                  <a:cubicBezTo>
                    <a:pt x="3386" y="60251"/>
                    <a:pt x="8346" y="60801"/>
                    <a:pt x="11070" y="64187"/>
                  </a:cubicBezTo>
                  <a:cubicBezTo>
                    <a:pt x="11270" y="64437"/>
                    <a:pt x="11445" y="64699"/>
                    <a:pt x="11620" y="64974"/>
                  </a:cubicBezTo>
                  <a:lnTo>
                    <a:pt x="18867" y="75595"/>
                  </a:lnTo>
                  <a:lnTo>
                    <a:pt x="114201" y="19492"/>
                  </a:lnTo>
                  <a:cubicBezTo>
                    <a:pt x="110127" y="21679"/>
                    <a:pt x="105055" y="20155"/>
                    <a:pt x="102868" y="16094"/>
                  </a:cubicBezTo>
                  <a:cubicBezTo>
                    <a:pt x="102593" y="15581"/>
                    <a:pt x="102368" y="15044"/>
                    <a:pt x="102206" y="14494"/>
                  </a:cubicBezTo>
                  <a:close/>
                </a:path>
              </a:pathLst>
            </a:custGeom>
            <a:solidFill>
              <a:srgbClr val="000000"/>
            </a:solidFill>
            <a:ln w="12483" cap="flat">
              <a:noFill/>
              <a:prstDash val="solid"/>
              <a:miter/>
            </a:ln>
          </p:spPr>
          <p:txBody>
            <a:bodyPr rtlCol="0" anchor="ctr"/>
            <a:lstStyle/>
            <a:p>
              <a:endParaRPr lang="en-US"/>
            </a:p>
          </p:txBody>
        </p:sp>
        <p:sp>
          <p:nvSpPr>
            <p:cNvPr id="1727" name="Freeform: Shape 1726">
              <a:extLst>
                <a:ext uri="{FF2B5EF4-FFF2-40B4-BE49-F238E27FC236}">
                  <a16:creationId xmlns:a16="http://schemas.microsoft.com/office/drawing/2014/main" id="{7F00AFB1-981D-41BC-A02A-D1E54CC7791C}"/>
                </a:ext>
              </a:extLst>
            </p:cNvPr>
            <p:cNvSpPr/>
            <p:nvPr/>
          </p:nvSpPr>
          <p:spPr>
            <a:xfrm>
              <a:off x="9409465" y="6141558"/>
              <a:ext cx="874" cy="1874"/>
            </a:xfrm>
            <a:custGeom>
              <a:avLst/>
              <a:gdLst>
                <a:gd name="connsiteX0" fmla="*/ 874 w 874"/>
                <a:gd name="connsiteY0" fmla="*/ 1874 h 1874"/>
                <a:gd name="connsiteX1" fmla="*/ 0 w 874"/>
                <a:gd name="connsiteY1" fmla="*/ 0 h 1874"/>
                <a:gd name="connsiteX2" fmla="*/ 0 w 874"/>
                <a:gd name="connsiteY2" fmla="*/ 875 h 1874"/>
                <a:gd name="connsiteX3" fmla="*/ 874 w 874"/>
                <a:gd name="connsiteY3" fmla="*/ 1874 h 1874"/>
              </a:gdLst>
              <a:ahLst/>
              <a:cxnLst>
                <a:cxn ang="0">
                  <a:pos x="connsiteX0" y="connsiteY0"/>
                </a:cxn>
                <a:cxn ang="0">
                  <a:pos x="connsiteX1" y="connsiteY1"/>
                </a:cxn>
                <a:cxn ang="0">
                  <a:pos x="connsiteX2" y="connsiteY2"/>
                </a:cxn>
                <a:cxn ang="0">
                  <a:pos x="connsiteX3" y="connsiteY3"/>
                </a:cxn>
              </a:cxnLst>
              <a:rect l="l" t="t" r="r" b="b"/>
              <a:pathLst>
                <a:path w="874" h="1874">
                  <a:moveTo>
                    <a:pt x="874" y="1874"/>
                  </a:moveTo>
                  <a:lnTo>
                    <a:pt x="0" y="0"/>
                  </a:lnTo>
                  <a:cubicBezTo>
                    <a:pt x="0" y="0"/>
                    <a:pt x="0" y="625"/>
                    <a:pt x="0" y="875"/>
                  </a:cubicBezTo>
                  <a:cubicBezTo>
                    <a:pt x="0" y="1125"/>
                    <a:pt x="750" y="1499"/>
                    <a:pt x="874" y="1874"/>
                  </a:cubicBezTo>
                  <a:close/>
                </a:path>
              </a:pathLst>
            </a:custGeom>
            <a:solidFill>
              <a:srgbClr val="000000"/>
            </a:solidFill>
            <a:ln w="12483" cap="flat">
              <a:noFill/>
              <a:prstDash val="solid"/>
              <a:miter/>
            </a:ln>
          </p:spPr>
          <p:txBody>
            <a:bodyPr rtlCol="0" anchor="ctr"/>
            <a:lstStyle/>
            <a:p>
              <a:endParaRPr lang="en-US"/>
            </a:p>
          </p:txBody>
        </p:sp>
        <p:sp>
          <p:nvSpPr>
            <p:cNvPr id="1728" name="Freeform: Shape 1727">
              <a:extLst>
                <a:ext uri="{FF2B5EF4-FFF2-40B4-BE49-F238E27FC236}">
                  <a16:creationId xmlns:a16="http://schemas.microsoft.com/office/drawing/2014/main" id="{74041B98-826A-4D84-8D39-810E2CB240E3}"/>
                </a:ext>
              </a:extLst>
            </p:cNvPr>
            <p:cNvSpPr/>
            <p:nvPr/>
          </p:nvSpPr>
          <p:spPr>
            <a:xfrm>
              <a:off x="7803409" y="4979022"/>
              <a:ext cx="33360" cy="31487"/>
            </a:xfrm>
            <a:custGeom>
              <a:avLst/>
              <a:gdLst>
                <a:gd name="connsiteX0" fmla="*/ 0 w 33360"/>
                <a:gd name="connsiteY0" fmla="*/ 13869 h 31487"/>
                <a:gd name="connsiteX1" fmla="*/ 4373 w 33360"/>
                <a:gd name="connsiteY1" fmla="*/ 20492 h 31487"/>
                <a:gd name="connsiteX2" fmla="*/ 11495 w 33360"/>
                <a:gd name="connsiteY2" fmla="*/ 31487 h 31487"/>
                <a:gd name="connsiteX3" fmla="*/ 33361 w 33360"/>
                <a:gd name="connsiteY3" fmla="*/ 19867 h 31487"/>
                <a:gd name="connsiteX4" fmla="*/ 21666 w 33360"/>
                <a:gd name="connsiteY4" fmla="*/ 16418 h 31487"/>
                <a:gd name="connsiteX5" fmla="*/ 20866 w 33360"/>
                <a:gd name="connsiteY5" fmla="*/ 14369 h 31487"/>
                <a:gd name="connsiteX6" fmla="*/ 25489 w 33360"/>
                <a:gd name="connsiteY6" fmla="*/ 0 h 31487"/>
                <a:gd name="connsiteX7" fmla="*/ 24864 w 33360"/>
                <a:gd name="connsiteY7" fmla="*/ 0 h 31487"/>
                <a:gd name="connsiteX8" fmla="*/ 21866 w 33360"/>
                <a:gd name="connsiteY8" fmla="*/ 1624 h 3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60" h="31487">
                  <a:moveTo>
                    <a:pt x="0" y="13869"/>
                  </a:moveTo>
                  <a:lnTo>
                    <a:pt x="4373" y="20492"/>
                  </a:lnTo>
                  <a:lnTo>
                    <a:pt x="11495" y="31487"/>
                  </a:lnTo>
                  <a:lnTo>
                    <a:pt x="33361" y="19867"/>
                  </a:lnTo>
                  <a:cubicBezTo>
                    <a:pt x="29175" y="22141"/>
                    <a:pt x="23940" y="20604"/>
                    <a:pt x="21666" y="16418"/>
                  </a:cubicBezTo>
                  <a:cubicBezTo>
                    <a:pt x="21316" y="15781"/>
                    <a:pt x="21041" y="15081"/>
                    <a:pt x="20866" y="14369"/>
                  </a:cubicBezTo>
                  <a:cubicBezTo>
                    <a:pt x="19017" y="9084"/>
                    <a:pt x="20903" y="3211"/>
                    <a:pt x="25489" y="0"/>
                  </a:cubicBezTo>
                  <a:lnTo>
                    <a:pt x="24864" y="0"/>
                  </a:lnTo>
                  <a:lnTo>
                    <a:pt x="21866" y="1624"/>
                  </a:lnTo>
                  <a:close/>
                </a:path>
              </a:pathLst>
            </a:custGeom>
            <a:solidFill>
              <a:srgbClr val="000000"/>
            </a:solidFill>
            <a:ln w="12483" cap="flat">
              <a:noFill/>
              <a:prstDash val="solid"/>
              <a:miter/>
            </a:ln>
          </p:spPr>
          <p:txBody>
            <a:bodyPr rtlCol="0" anchor="ctr"/>
            <a:lstStyle/>
            <a:p>
              <a:endParaRPr lang="en-US"/>
            </a:p>
          </p:txBody>
        </p:sp>
        <p:sp>
          <p:nvSpPr>
            <p:cNvPr id="1729" name="Freeform: Shape 1728">
              <a:extLst>
                <a:ext uri="{FF2B5EF4-FFF2-40B4-BE49-F238E27FC236}">
                  <a16:creationId xmlns:a16="http://schemas.microsoft.com/office/drawing/2014/main" id="{F768CCB8-6F2F-4B55-A916-E10695CFEB0F}"/>
                </a:ext>
              </a:extLst>
            </p:cNvPr>
            <p:cNvSpPr/>
            <p:nvPr/>
          </p:nvSpPr>
          <p:spPr>
            <a:xfrm>
              <a:off x="8563955" y="5911123"/>
              <a:ext cx="35828" cy="33637"/>
            </a:xfrm>
            <a:custGeom>
              <a:avLst/>
              <a:gdLst>
                <a:gd name="connsiteX0" fmla="*/ 22740 w 35828"/>
                <a:gd name="connsiteY0" fmla="*/ 1026 h 33637"/>
                <a:gd name="connsiteX1" fmla="*/ 16993 w 35828"/>
                <a:gd name="connsiteY1" fmla="*/ 4275 h 33637"/>
                <a:gd name="connsiteX2" fmla="*/ 11120 w 35828"/>
                <a:gd name="connsiteY2" fmla="*/ 7648 h 33637"/>
                <a:gd name="connsiteX3" fmla="*/ 0 w 35828"/>
                <a:gd name="connsiteY3" fmla="*/ 14021 h 33637"/>
                <a:gd name="connsiteX4" fmla="*/ 0 w 35828"/>
                <a:gd name="connsiteY4" fmla="*/ 14021 h 33637"/>
                <a:gd name="connsiteX5" fmla="*/ 11495 w 35828"/>
                <a:gd name="connsiteY5" fmla="*/ 16832 h 33637"/>
                <a:gd name="connsiteX6" fmla="*/ 12495 w 35828"/>
                <a:gd name="connsiteY6" fmla="*/ 19269 h 33637"/>
                <a:gd name="connsiteX7" fmla="*/ 8246 w 35828"/>
                <a:gd name="connsiteY7" fmla="*/ 33638 h 33637"/>
                <a:gd name="connsiteX8" fmla="*/ 8246 w 35828"/>
                <a:gd name="connsiteY8" fmla="*/ 33638 h 33637"/>
                <a:gd name="connsiteX9" fmla="*/ 31361 w 35828"/>
                <a:gd name="connsiteY9" fmla="*/ 20518 h 33637"/>
                <a:gd name="connsiteX10" fmla="*/ 31361 w 35828"/>
                <a:gd name="connsiteY10" fmla="*/ 20518 h 33637"/>
                <a:gd name="connsiteX11" fmla="*/ 32861 w 35828"/>
                <a:gd name="connsiteY11" fmla="*/ 19144 h 33637"/>
                <a:gd name="connsiteX12" fmla="*/ 34110 w 35828"/>
                <a:gd name="connsiteY12" fmla="*/ 17894 h 33637"/>
                <a:gd name="connsiteX13" fmla="*/ 34985 w 35828"/>
                <a:gd name="connsiteY13" fmla="*/ 16145 h 33637"/>
                <a:gd name="connsiteX14" fmla="*/ 35735 w 35828"/>
                <a:gd name="connsiteY14" fmla="*/ 14396 h 33637"/>
                <a:gd name="connsiteX15" fmla="*/ 35735 w 35828"/>
                <a:gd name="connsiteY15" fmla="*/ 12397 h 33637"/>
                <a:gd name="connsiteX16" fmla="*/ 35735 w 35828"/>
                <a:gd name="connsiteY16" fmla="*/ 10147 h 33637"/>
                <a:gd name="connsiteX17" fmla="*/ 34985 w 35828"/>
                <a:gd name="connsiteY17" fmla="*/ 6274 h 33637"/>
                <a:gd name="connsiteX18" fmla="*/ 24564 w 35828"/>
                <a:gd name="connsiteY18" fmla="*/ 301 h 33637"/>
                <a:gd name="connsiteX19" fmla="*/ 22740 w 35828"/>
                <a:gd name="connsiteY19" fmla="*/ 1026 h 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8" h="33637">
                  <a:moveTo>
                    <a:pt x="22740" y="1026"/>
                  </a:moveTo>
                  <a:lnTo>
                    <a:pt x="16993" y="4275"/>
                  </a:lnTo>
                  <a:lnTo>
                    <a:pt x="11120" y="7648"/>
                  </a:lnTo>
                  <a:lnTo>
                    <a:pt x="0" y="14021"/>
                  </a:lnTo>
                  <a:lnTo>
                    <a:pt x="0" y="14021"/>
                  </a:lnTo>
                  <a:cubicBezTo>
                    <a:pt x="3948" y="11622"/>
                    <a:pt x="9096" y="12884"/>
                    <a:pt x="11495" y="16832"/>
                  </a:cubicBezTo>
                  <a:cubicBezTo>
                    <a:pt x="11957" y="17582"/>
                    <a:pt x="12295" y="18407"/>
                    <a:pt x="12495" y="19269"/>
                  </a:cubicBezTo>
                  <a:cubicBezTo>
                    <a:pt x="14719" y="24454"/>
                    <a:pt x="12932" y="30489"/>
                    <a:pt x="8246" y="33638"/>
                  </a:cubicBezTo>
                  <a:lnTo>
                    <a:pt x="8246" y="33638"/>
                  </a:lnTo>
                  <a:lnTo>
                    <a:pt x="31361" y="20518"/>
                  </a:lnTo>
                  <a:lnTo>
                    <a:pt x="31361" y="20518"/>
                  </a:lnTo>
                  <a:lnTo>
                    <a:pt x="32861" y="19144"/>
                  </a:lnTo>
                  <a:lnTo>
                    <a:pt x="34110" y="17894"/>
                  </a:lnTo>
                  <a:cubicBezTo>
                    <a:pt x="34110" y="17894"/>
                    <a:pt x="34110" y="16770"/>
                    <a:pt x="34985" y="16145"/>
                  </a:cubicBezTo>
                  <a:cubicBezTo>
                    <a:pt x="35285" y="15583"/>
                    <a:pt x="35535" y="14995"/>
                    <a:pt x="35735" y="14396"/>
                  </a:cubicBezTo>
                  <a:cubicBezTo>
                    <a:pt x="35735" y="13771"/>
                    <a:pt x="35735" y="13146"/>
                    <a:pt x="35735" y="12397"/>
                  </a:cubicBezTo>
                  <a:cubicBezTo>
                    <a:pt x="35859" y="11647"/>
                    <a:pt x="35859" y="10897"/>
                    <a:pt x="35735" y="10147"/>
                  </a:cubicBezTo>
                  <a:cubicBezTo>
                    <a:pt x="35735" y="8823"/>
                    <a:pt x="35472" y="7511"/>
                    <a:pt x="34985" y="6274"/>
                  </a:cubicBezTo>
                  <a:cubicBezTo>
                    <a:pt x="33760" y="1751"/>
                    <a:pt x="29087" y="-936"/>
                    <a:pt x="24564" y="301"/>
                  </a:cubicBezTo>
                  <a:cubicBezTo>
                    <a:pt x="23927" y="464"/>
                    <a:pt x="23315" y="714"/>
                    <a:pt x="22740" y="1026"/>
                  </a:cubicBezTo>
                  <a:close/>
                </a:path>
              </a:pathLst>
            </a:custGeom>
            <a:solidFill>
              <a:srgbClr val="000000"/>
            </a:solidFill>
            <a:ln w="12483" cap="flat">
              <a:noFill/>
              <a:prstDash val="solid"/>
              <a:miter/>
            </a:ln>
          </p:spPr>
          <p:txBody>
            <a:bodyPr rtlCol="0" anchor="ctr"/>
            <a:lstStyle/>
            <a:p>
              <a:endParaRPr lang="en-US"/>
            </a:p>
          </p:txBody>
        </p:sp>
        <p:sp>
          <p:nvSpPr>
            <p:cNvPr id="1730" name="Freeform: Shape 1729">
              <a:extLst>
                <a:ext uri="{FF2B5EF4-FFF2-40B4-BE49-F238E27FC236}">
                  <a16:creationId xmlns:a16="http://schemas.microsoft.com/office/drawing/2014/main" id="{8634D3C5-194F-4417-A0E4-DCC9415EC69B}"/>
                </a:ext>
              </a:extLst>
            </p:cNvPr>
            <p:cNvSpPr/>
            <p:nvPr/>
          </p:nvSpPr>
          <p:spPr>
            <a:xfrm>
              <a:off x="7693034" y="6418073"/>
              <a:ext cx="10792" cy="47106"/>
            </a:xfrm>
            <a:custGeom>
              <a:avLst/>
              <a:gdLst>
                <a:gd name="connsiteX0" fmla="*/ 2921 w 10792"/>
                <a:gd name="connsiteY0" fmla="*/ 2124 h 47106"/>
                <a:gd name="connsiteX1" fmla="*/ 1671 w 10792"/>
                <a:gd name="connsiteY1" fmla="*/ 3499 h 47106"/>
                <a:gd name="connsiteX2" fmla="*/ 797 w 10792"/>
                <a:gd name="connsiteY2" fmla="*/ 5248 h 47106"/>
                <a:gd name="connsiteX3" fmla="*/ 47 w 10792"/>
                <a:gd name="connsiteY3" fmla="*/ 7122 h 47106"/>
                <a:gd name="connsiteX4" fmla="*/ 47 w 10792"/>
                <a:gd name="connsiteY4" fmla="*/ 9122 h 47106"/>
                <a:gd name="connsiteX5" fmla="*/ 47 w 10792"/>
                <a:gd name="connsiteY5" fmla="*/ 11245 h 47106"/>
                <a:gd name="connsiteX6" fmla="*/ 47 w 10792"/>
                <a:gd name="connsiteY6" fmla="*/ 11745 h 47106"/>
                <a:gd name="connsiteX7" fmla="*/ 1296 w 10792"/>
                <a:gd name="connsiteY7" fmla="*/ 21242 h 47106"/>
                <a:gd name="connsiteX8" fmla="*/ 2546 w 10792"/>
                <a:gd name="connsiteY8" fmla="*/ 29738 h 47106"/>
                <a:gd name="connsiteX9" fmla="*/ 5045 w 10792"/>
                <a:gd name="connsiteY9" fmla="*/ 47106 h 47106"/>
                <a:gd name="connsiteX10" fmla="*/ 10792 w 10792"/>
                <a:gd name="connsiteY10" fmla="*/ 35361 h 47106"/>
                <a:gd name="connsiteX11" fmla="*/ 9668 w 10792"/>
                <a:gd name="connsiteY11" fmla="*/ 27864 h 47106"/>
                <a:gd name="connsiteX12" fmla="*/ 6919 w 10792"/>
                <a:gd name="connsiteY12" fmla="*/ 7872 h 47106"/>
                <a:gd name="connsiteX13" fmla="*/ 5794 w 10792"/>
                <a:gd name="connsiteY13" fmla="*/ 0 h 47106"/>
                <a:gd name="connsiteX14" fmla="*/ 4545 w 10792"/>
                <a:gd name="connsiteY14" fmla="*/ 0 h 47106"/>
                <a:gd name="connsiteX15" fmla="*/ 2921 w 10792"/>
                <a:gd name="connsiteY15" fmla="*/ 2124 h 4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92" h="47106">
                  <a:moveTo>
                    <a:pt x="2921" y="2124"/>
                  </a:moveTo>
                  <a:lnTo>
                    <a:pt x="1671" y="3499"/>
                  </a:lnTo>
                  <a:cubicBezTo>
                    <a:pt x="1309" y="4036"/>
                    <a:pt x="1009" y="4636"/>
                    <a:pt x="797" y="5248"/>
                  </a:cubicBezTo>
                  <a:lnTo>
                    <a:pt x="47" y="7122"/>
                  </a:lnTo>
                  <a:cubicBezTo>
                    <a:pt x="47" y="7747"/>
                    <a:pt x="47" y="8497"/>
                    <a:pt x="47" y="9122"/>
                  </a:cubicBezTo>
                  <a:cubicBezTo>
                    <a:pt x="-16" y="9833"/>
                    <a:pt x="-16" y="10534"/>
                    <a:pt x="47" y="11245"/>
                  </a:cubicBezTo>
                  <a:lnTo>
                    <a:pt x="47" y="11745"/>
                  </a:lnTo>
                  <a:lnTo>
                    <a:pt x="1296" y="21242"/>
                  </a:lnTo>
                  <a:lnTo>
                    <a:pt x="2546" y="29738"/>
                  </a:lnTo>
                  <a:lnTo>
                    <a:pt x="5045" y="47106"/>
                  </a:lnTo>
                  <a:cubicBezTo>
                    <a:pt x="4208" y="42358"/>
                    <a:pt x="6532" y="37623"/>
                    <a:pt x="10792" y="35361"/>
                  </a:cubicBezTo>
                  <a:lnTo>
                    <a:pt x="9668" y="27864"/>
                  </a:lnTo>
                  <a:lnTo>
                    <a:pt x="6919" y="7872"/>
                  </a:lnTo>
                  <a:lnTo>
                    <a:pt x="5794" y="0"/>
                  </a:lnTo>
                  <a:lnTo>
                    <a:pt x="4545" y="0"/>
                  </a:lnTo>
                  <a:cubicBezTo>
                    <a:pt x="3870" y="600"/>
                    <a:pt x="3320" y="1324"/>
                    <a:pt x="2921" y="2124"/>
                  </a:cubicBezTo>
                  <a:close/>
                </a:path>
              </a:pathLst>
            </a:custGeom>
            <a:solidFill>
              <a:srgbClr val="000000"/>
            </a:solidFill>
            <a:ln w="12483" cap="flat">
              <a:noFill/>
              <a:prstDash val="solid"/>
              <a:miter/>
            </a:ln>
          </p:spPr>
          <p:txBody>
            <a:bodyPr rtlCol="0" anchor="ctr"/>
            <a:lstStyle/>
            <a:p>
              <a:endParaRPr lang="en-US"/>
            </a:p>
          </p:txBody>
        </p:sp>
        <p:sp>
          <p:nvSpPr>
            <p:cNvPr id="1731" name="Freeform: Shape 1730">
              <a:extLst>
                <a:ext uri="{FF2B5EF4-FFF2-40B4-BE49-F238E27FC236}">
                  <a16:creationId xmlns:a16="http://schemas.microsoft.com/office/drawing/2014/main" id="{92F5B043-A45E-41DD-9517-105048E289BD}"/>
                </a:ext>
              </a:extLst>
            </p:cNvPr>
            <p:cNvSpPr/>
            <p:nvPr/>
          </p:nvSpPr>
          <p:spPr>
            <a:xfrm>
              <a:off x="7738603" y="6715079"/>
              <a:ext cx="3331" cy="2748"/>
            </a:xfrm>
            <a:custGeom>
              <a:avLst/>
              <a:gdLst>
                <a:gd name="connsiteX0" fmla="*/ 1083 w 3331"/>
                <a:gd name="connsiteY0" fmla="*/ 2124 h 2748"/>
                <a:gd name="connsiteX1" fmla="*/ 1083 w 3331"/>
                <a:gd name="connsiteY1" fmla="*/ 2124 h 2748"/>
                <a:gd name="connsiteX2" fmla="*/ 333 w 3331"/>
                <a:gd name="connsiteY2" fmla="*/ 2124 h 2748"/>
                <a:gd name="connsiteX3" fmla="*/ 333 w 3331"/>
                <a:gd name="connsiteY3" fmla="*/ 2749 h 2748"/>
                <a:gd name="connsiteX4" fmla="*/ 3332 w 3331"/>
                <a:gd name="connsiteY4" fmla="*/ 1000 h 2748"/>
                <a:gd name="connsiteX5" fmla="*/ 3332 w 3331"/>
                <a:gd name="connsiteY5" fmla="*/ 0 h 2748"/>
                <a:gd name="connsiteX6" fmla="*/ 1083 w 3331"/>
                <a:gd name="connsiteY6" fmla="*/ 2124 h 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1" h="2748">
                  <a:moveTo>
                    <a:pt x="1083" y="2124"/>
                  </a:moveTo>
                  <a:lnTo>
                    <a:pt x="1083" y="2124"/>
                  </a:lnTo>
                  <a:cubicBezTo>
                    <a:pt x="1083" y="2124"/>
                    <a:pt x="1083" y="2124"/>
                    <a:pt x="333" y="2124"/>
                  </a:cubicBezTo>
                  <a:cubicBezTo>
                    <a:pt x="-416" y="2124"/>
                    <a:pt x="333" y="2124"/>
                    <a:pt x="333" y="2749"/>
                  </a:cubicBezTo>
                  <a:lnTo>
                    <a:pt x="3332" y="1000"/>
                  </a:lnTo>
                  <a:lnTo>
                    <a:pt x="3332" y="0"/>
                  </a:lnTo>
                  <a:cubicBezTo>
                    <a:pt x="2794" y="900"/>
                    <a:pt x="2007" y="1637"/>
                    <a:pt x="1083" y="2124"/>
                  </a:cubicBezTo>
                  <a:close/>
                </a:path>
              </a:pathLst>
            </a:custGeom>
            <a:solidFill>
              <a:srgbClr val="000000"/>
            </a:solidFill>
            <a:ln w="12483" cap="flat">
              <a:noFill/>
              <a:prstDash val="solid"/>
              <a:miter/>
            </a:ln>
          </p:spPr>
          <p:txBody>
            <a:bodyPr rtlCol="0" anchor="ctr"/>
            <a:lstStyle/>
            <a:p>
              <a:endParaRPr lang="en-US"/>
            </a:p>
          </p:txBody>
        </p:sp>
        <p:sp>
          <p:nvSpPr>
            <p:cNvPr id="1732" name="Freeform: Shape 1731">
              <a:extLst>
                <a:ext uri="{FF2B5EF4-FFF2-40B4-BE49-F238E27FC236}">
                  <a16:creationId xmlns:a16="http://schemas.microsoft.com/office/drawing/2014/main" id="{1149227B-0976-4B79-893B-45492EAC057F}"/>
                </a:ext>
              </a:extLst>
            </p:cNvPr>
            <p:cNvSpPr/>
            <p:nvPr/>
          </p:nvSpPr>
          <p:spPr>
            <a:xfrm>
              <a:off x="7465211" y="6704583"/>
              <a:ext cx="274475" cy="165544"/>
            </a:xfrm>
            <a:custGeom>
              <a:avLst/>
              <a:gdLst>
                <a:gd name="connsiteX0" fmla="*/ 261981 w 274475"/>
                <a:gd name="connsiteY0" fmla="*/ 10496 h 165544"/>
                <a:gd name="connsiteX1" fmla="*/ 255733 w 274475"/>
                <a:gd name="connsiteY1" fmla="*/ 0 h 165544"/>
                <a:gd name="connsiteX2" fmla="*/ 4217 w 274475"/>
                <a:gd name="connsiteY2" fmla="*/ 145192 h 165544"/>
                <a:gd name="connsiteX3" fmla="*/ 4217 w 274475"/>
                <a:gd name="connsiteY3" fmla="*/ 145192 h 165544"/>
                <a:gd name="connsiteX4" fmla="*/ 2718 w 274475"/>
                <a:gd name="connsiteY4" fmla="*/ 146567 h 165544"/>
                <a:gd name="connsiteX5" fmla="*/ 1593 w 274475"/>
                <a:gd name="connsiteY5" fmla="*/ 147941 h 165544"/>
                <a:gd name="connsiteX6" fmla="*/ 718 w 274475"/>
                <a:gd name="connsiteY6" fmla="*/ 149690 h 165544"/>
                <a:gd name="connsiteX7" fmla="*/ 94 w 274475"/>
                <a:gd name="connsiteY7" fmla="*/ 151565 h 165544"/>
                <a:gd name="connsiteX8" fmla="*/ 94 w 274475"/>
                <a:gd name="connsiteY8" fmla="*/ 153564 h 165544"/>
                <a:gd name="connsiteX9" fmla="*/ 94 w 274475"/>
                <a:gd name="connsiteY9" fmla="*/ 155813 h 165544"/>
                <a:gd name="connsiteX10" fmla="*/ 843 w 274475"/>
                <a:gd name="connsiteY10" fmla="*/ 159186 h 165544"/>
                <a:gd name="connsiteX11" fmla="*/ 10989 w 274475"/>
                <a:gd name="connsiteY11" fmla="*/ 165297 h 165544"/>
                <a:gd name="connsiteX12" fmla="*/ 13338 w 274475"/>
                <a:gd name="connsiteY12" fmla="*/ 164310 h 165544"/>
                <a:gd name="connsiteX13" fmla="*/ 13338 w 274475"/>
                <a:gd name="connsiteY13" fmla="*/ 164310 h 165544"/>
                <a:gd name="connsiteX14" fmla="*/ 16212 w 274475"/>
                <a:gd name="connsiteY14" fmla="*/ 162685 h 165544"/>
                <a:gd name="connsiteX15" fmla="*/ 19585 w 274475"/>
                <a:gd name="connsiteY15" fmla="*/ 160686 h 165544"/>
                <a:gd name="connsiteX16" fmla="*/ 274475 w 274475"/>
                <a:gd name="connsiteY16" fmla="*/ 13495 h 165544"/>
                <a:gd name="connsiteX17" fmla="*/ 274475 w 274475"/>
                <a:gd name="connsiteY17" fmla="*/ 12870 h 165544"/>
                <a:gd name="connsiteX18" fmla="*/ 263355 w 274475"/>
                <a:gd name="connsiteY18" fmla="*/ 12508 h 165544"/>
                <a:gd name="connsiteX19" fmla="*/ 261981 w 274475"/>
                <a:gd name="connsiteY19" fmla="*/ 10496 h 16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4475" h="165544">
                  <a:moveTo>
                    <a:pt x="261981" y="10496"/>
                  </a:moveTo>
                  <a:lnTo>
                    <a:pt x="255733" y="0"/>
                  </a:lnTo>
                  <a:lnTo>
                    <a:pt x="4217" y="145192"/>
                  </a:lnTo>
                  <a:lnTo>
                    <a:pt x="4217" y="145192"/>
                  </a:lnTo>
                  <a:lnTo>
                    <a:pt x="2718" y="146567"/>
                  </a:lnTo>
                  <a:lnTo>
                    <a:pt x="1593" y="147941"/>
                  </a:lnTo>
                  <a:cubicBezTo>
                    <a:pt x="1231" y="148478"/>
                    <a:pt x="931" y="149078"/>
                    <a:pt x="718" y="149690"/>
                  </a:cubicBezTo>
                  <a:cubicBezTo>
                    <a:pt x="456" y="150290"/>
                    <a:pt x="244" y="150927"/>
                    <a:pt x="94" y="151565"/>
                  </a:cubicBezTo>
                  <a:cubicBezTo>
                    <a:pt x="-31" y="152227"/>
                    <a:pt x="-31" y="152902"/>
                    <a:pt x="94" y="153564"/>
                  </a:cubicBezTo>
                  <a:cubicBezTo>
                    <a:pt x="31" y="154314"/>
                    <a:pt x="31" y="155064"/>
                    <a:pt x="94" y="155813"/>
                  </a:cubicBezTo>
                  <a:cubicBezTo>
                    <a:pt x="219" y="156963"/>
                    <a:pt x="481" y="158087"/>
                    <a:pt x="843" y="159186"/>
                  </a:cubicBezTo>
                  <a:cubicBezTo>
                    <a:pt x="1955" y="163672"/>
                    <a:pt x="6503" y="166409"/>
                    <a:pt x="10989" y="165297"/>
                  </a:cubicBezTo>
                  <a:cubicBezTo>
                    <a:pt x="11814" y="165085"/>
                    <a:pt x="12613" y="164760"/>
                    <a:pt x="13338" y="164310"/>
                  </a:cubicBezTo>
                  <a:lnTo>
                    <a:pt x="13338" y="164310"/>
                  </a:lnTo>
                  <a:lnTo>
                    <a:pt x="16212" y="162685"/>
                  </a:lnTo>
                  <a:lnTo>
                    <a:pt x="19585" y="160686"/>
                  </a:lnTo>
                  <a:lnTo>
                    <a:pt x="274475" y="13495"/>
                  </a:lnTo>
                  <a:cubicBezTo>
                    <a:pt x="274475" y="13495"/>
                    <a:pt x="274475" y="13495"/>
                    <a:pt x="274475" y="12870"/>
                  </a:cubicBezTo>
                  <a:cubicBezTo>
                    <a:pt x="271302" y="15844"/>
                    <a:pt x="266316" y="15681"/>
                    <a:pt x="263355" y="12508"/>
                  </a:cubicBezTo>
                  <a:cubicBezTo>
                    <a:pt x="262793" y="11908"/>
                    <a:pt x="262330" y="11233"/>
                    <a:pt x="261981" y="10496"/>
                  </a:cubicBezTo>
                  <a:close/>
                </a:path>
              </a:pathLst>
            </a:custGeom>
            <a:solidFill>
              <a:srgbClr val="000000"/>
            </a:solidFill>
            <a:ln w="12483" cap="flat">
              <a:noFill/>
              <a:prstDash val="solid"/>
              <a:miter/>
            </a:ln>
          </p:spPr>
          <p:txBody>
            <a:bodyPr rtlCol="0" anchor="ctr"/>
            <a:lstStyle/>
            <a:p>
              <a:endParaRPr lang="en-US"/>
            </a:p>
          </p:txBody>
        </p:sp>
        <p:sp>
          <p:nvSpPr>
            <p:cNvPr id="1733" name="Freeform: Shape 1732">
              <a:extLst>
                <a:ext uri="{FF2B5EF4-FFF2-40B4-BE49-F238E27FC236}">
                  <a16:creationId xmlns:a16="http://schemas.microsoft.com/office/drawing/2014/main" id="{B962B387-7E92-4D61-A431-364556C62DDB}"/>
                </a:ext>
              </a:extLst>
            </p:cNvPr>
            <p:cNvSpPr/>
            <p:nvPr/>
          </p:nvSpPr>
          <p:spPr>
            <a:xfrm>
              <a:off x="7739686" y="6715829"/>
              <a:ext cx="874" cy="1374"/>
            </a:xfrm>
            <a:custGeom>
              <a:avLst/>
              <a:gdLst>
                <a:gd name="connsiteX0" fmla="*/ 875 w 874"/>
                <a:gd name="connsiteY0" fmla="*/ 0 h 1374"/>
                <a:gd name="connsiteX1" fmla="*/ 875 w 874"/>
                <a:gd name="connsiteY1" fmla="*/ 0 h 1374"/>
                <a:gd name="connsiteX2" fmla="*/ 0 w 874"/>
                <a:gd name="connsiteY2" fmla="*/ 1374 h 1374"/>
                <a:gd name="connsiteX3" fmla="*/ 875 w 874"/>
                <a:gd name="connsiteY3" fmla="*/ 0 h 1374"/>
              </a:gdLst>
              <a:ahLst/>
              <a:cxnLst>
                <a:cxn ang="0">
                  <a:pos x="connsiteX0" y="connsiteY0"/>
                </a:cxn>
                <a:cxn ang="0">
                  <a:pos x="connsiteX1" y="connsiteY1"/>
                </a:cxn>
                <a:cxn ang="0">
                  <a:pos x="connsiteX2" y="connsiteY2"/>
                </a:cxn>
                <a:cxn ang="0">
                  <a:pos x="connsiteX3" y="connsiteY3"/>
                </a:cxn>
              </a:cxnLst>
              <a:rect l="l" t="t" r="r" b="b"/>
              <a:pathLst>
                <a:path w="874" h="1374">
                  <a:moveTo>
                    <a:pt x="875" y="0"/>
                  </a:moveTo>
                  <a:lnTo>
                    <a:pt x="875" y="0"/>
                  </a:lnTo>
                  <a:lnTo>
                    <a:pt x="0" y="1374"/>
                  </a:lnTo>
                  <a:cubicBezTo>
                    <a:pt x="350" y="962"/>
                    <a:pt x="650" y="500"/>
                    <a:pt x="875" y="0"/>
                  </a:cubicBezTo>
                  <a:close/>
                </a:path>
              </a:pathLst>
            </a:custGeom>
            <a:solidFill>
              <a:srgbClr val="000000"/>
            </a:solidFill>
            <a:ln w="12483" cap="flat">
              <a:noFill/>
              <a:prstDash val="solid"/>
              <a:miter/>
            </a:ln>
          </p:spPr>
          <p:txBody>
            <a:bodyPr rtlCol="0" anchor="ctr"/>
            <a:lstStyle/>
            <a:p>
              <a:endParaRPr lang="en-US"/>
            </a:p>
          </p:txBody>
        </p:sp>
        <p:sp>
          <p:nvSpPr>
            <p:cNvPr id="1734" name="Freeform: Shape 1733">
              <a:extLst>
                <a:ext uri="{FF2B5EF4-FFF2-40B4-BE49-F238E27FC236}">
                  <a16:creationId xmlns:a16="http://schemas.microsoft.com/office/drawing/2014/main" id="{BD7B0ED8-4588-446F-90EA-D6CD54DC08B5}"/>
                </a:ext>
              </a:extLst>
            </p:cNvPr>
            <p:cNvSpPr/>
            <p:nvPr/>
          </p:nvSpPr>
          <p:spPr>
            <a:xfrm>
              <a:off x="10979411" y="3424766"/>
              <a:ext cx="4373" cy="5997"/>
            </a:xfrm>
            <a:custGeom>
              <a:avLst/>
              <a:gdLst>
                <a:gd name="connsiteX0" fmla="*/ 2874 w 4373"/>
                <a:gd name="connsiteY0" fmla="*/ 4248 h 5997"/>
                <a:gd name="connsiteX1" fmla="*/ 4373 w 4373"/>
                <a:gd name="connsiteY1" fmla="*/ 5998 h 5997"/>
                <a:gd name="connsiteX2" fmla="*/ 1874 w 4373"/>
                <a:gd name="connsiteY2" fmla="*/ 0 h 5997"/>
                <a:gd name="connsiteX3" fmla="*/ 0 w 4373"/>
                <a:gd name="connsiteY3" fmla="*/ 1000 h 5997"/>
              </a:gdLst>
              <a:ahLst/>
              <a:cxnLst>
                <a:cxn ang="0">
                  <a:pos x="connsiteX0" y="connsiteY0"/>
                </a:cxn>
                <a:cxn ang="0">
                  <a:pos x="connsiteX1" y="connsiteY1"/>
                </a:cxn>
                <a:cxn ang="0">
                  <a:pos x="connsiteX2" y="connsiteY2"/>
                </a:cxn>
                <a:cxn ang="0">
                  <a:pos x="connsiteX3" y="connsiteY3"/>
                </a:cxn>
              </a:cxnLst>
              <a:rect l="l" t="t" r="r" b="b"/>
              <a:pathLst>
                <a:path w="4373" h="5997">
                  <a:moveTo>
                    <a:pt x="2874" y="4248"/>
                  </a:moveTo>
                  <a:lnTo>
                    <a:pt x="4373" y="5998"/>
                  </a:lnTo>
                  <a:cubicBezTo>
                    <a:pt x="3024" y="4248"/>
                    <a:pt x="2162" y="2187"/>
                    <a:pt x="1874" y="0"/>
                  </a:cubicBezTo>
                  <a:lnTo>
                    <a:pt x="0" y="1000"/>
                  </a:lnTo>
                  <a:close/>
                </a:path>
              </a:pathLst>
            </a:custGeom>
            <a:solidFill>
              <a:srgbClr val="000000"/>
            </a:solidFill>
            <a:ln w="12483" cap="flat">
              <a:noFill/>
              <a:prstDash val="solid"/>
              <a:miter/>
            </a:ln>
          </p:spPr>
          <p:txBody>
            <a:bodyPr rtlCol="0" anchor="ctr"/>
            <a:lstStyle/>
            <a:p>
              <a:endParaRPr lang="en-US"/>
            </a:p>
          </p:txBody>
        </p:sp>
        <p:sp>
          <p:nvSpPr>
            <p:cNvPr id="1735" name="Freeform: Shape 1734">
              <a:extLst>
                <a:ext uri="{FF2B5EF4-FFF2-40B4-BE49-F238E27FC236}">
                  <a16:creationId xmlns:a16="http://schemas.microsoft.com/office/drawing/2014/main" id="{EE000113-D9A1-47FC-9C4E-47C074BEB806}"/>
                </a:ext>
              </a:extLst>
            </p:cNvPr>
            <p:cNvSpPr/>
            <p:nvPr/>
          </p:nvSpPr>
          <p:spPr>
            <a:xfrm>
              <a:off x="10987408" y="3405024"/>
              <a:ext cx="8746" cy="9996"/>
            </a:xfrm>
            <a:custGeom>
              <a:avLst/>
              <a:gdLst>
                <a:gd name="connsiteX0" fmla="*/ 2749 w 8746"/>
                <a:gd name="connsiteY0" fmla="*/ 7122 h 9996"/>
                <a:gd name="connsiteX1" fmla="*/ 8746 w 8746"/>
                <a:gd name="connsiteY1" fmla="*/ 9996 h 9996"/>
                <a:gd name="connsiteX2" fmla="*/ 0 w 8746"/>
                <a:gd name="connsiteY2" fmla="*/ 0 h 9996"/>
                <a:gd name="connsiteX3" fmla="*/ 1999 w 8746"/>
                <a:gd name="connsiteY3" fmla="*/ 3499 h 9996"/>
                <a:gd name="connsiteX4" fmla="*/ 2749 w 8746"/>
                <a:gd name="connsiteY4" fmla="*/ 7122 h 9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 h="9996">
                  <a:moveTo>
                    <a:pt x="2749" y="7122"/>
                  </a:moveTo>
                  <a:cubicBezTo>
                    <a:pt x="5073" y="7147"/>
                    <a:pt x="7272" y="8197"/>
                    <a:pt x="8746" y="9996"/>
                  </a:cubicBezTo>
                  <a:lnTo>
                    <a:pt x="0" y="0"/>
                  </a:lnTo>
                  <a:cubicBezTo>
                    <a:pt x="887" y="1025"/>
                    <a:pt x="1562" y="2212"/>
                    <a:pt x="1999" y="3499"/>
                  </a:cubicBezTo>
                  <a:cubicBezTo>
                    <a:pt x="2424" y="4661"/>
                    <a:pt x="2686" y="5885"/>
                    <a:pt x="2749" y="7122"/>
                  </a:cubicBezTo>
                  <a:close/>
                </a:path>
              </a:pathLst>
            </a:custGeom>
            <a:solidFill>
              <a:srgbClr val="000000"/>
            </a:solidFill>
            <a:ln w="12483" cap="flat">
              <a:noFill/>
              <a:prstDash val="solid"/>
              <a:miter/>
            </a:ln>
          </p:spPr>
          <p:txBody>
            <a:bodyPr rtlCol="0" anchor="ctr"/>
            <a:lstStyle/>
            <a:p>
              <a:endParaRPr lang="en-US"/>
            </a:p>
          </p:txBody>
        </p:sp>
        <p:sp>
          <p:nvSpPr>
            <p:cNvPr id="1736" name="Freeform: Shape 1735">
              <a:extLst>
                <a:ext uri="{FF2B5EF4-FFF2-40B4-BE49-F238E27FC236}">
                  <a16:creationId xmlns:a16="http://schemas.microsoft.com/office/drawing/2014/main" id="{3072B27A-492F-4098-A609-ED8917184947}"/>
                </a:ext>
              </a:extLst>
            </p:cNvPr>
            <p:cNvSpPr/>
            <p:nvPr/>
          </p:nvSpPr>
          <p:spPr>
            <a:xfrm>
              <a:off x="10981285" y="3412146"/>
              <a:ext cx="240992" cy="275347"/>
            </a:xfrm>
            <a:custGeom>
              <a:avLst/>
              <a:gdLst>
                <a:gd name="connsiteX0" fmla="*/ 8871 w 240992"/>
                <a:gd name="connsiteY0" fmla="*/ 0 h 275347"/>
                <a:gd name="connsiteX1" fmla="*/ 3624 w 240992"/>
                <a:gd name="connsiteY1" fmla="*/ 10746 h 275347"/>
                <a:gd name="connsiteX2" fmla="*/ 0 w 240992"/>
                <a:gd name="connsiteY2" fmla="*/ 12620 h 275347"/>
                <a:gd name="connsiteX3" fmla="*/ 2499 w 240992"/>
                <a:gd name="connsiteY3" fmla="*/ 18617 h 275347"/>
                <a:gd name="connsiteX4" fmla="*/ 225902 w 240992"/>
                <a:gd name="connsiteY4" fmla="*/ 272266 h 275347"/>
                <a:gd name="connsiteX5" fmla="*/ 236935 w 240992"/>
                <a:gd name="connsiteY5" fmla="*/ 273728 h 275347"/>
                <a:gd name="connsiteX6" fmla="*/ 238397 w 240992"/>
                <a:gd name="connsiteY6" fmla="*/ 272266 h 275347"/>
                <a:gd name="connsiteX7" fmla="*/ 238397 w 240992"/>
                <a:gd name="connsiteY7" fmla="*/ 257022 h 275347"/>
                <a:gd name="connsiteX8" fmla="*/ 18117 w 240992"/>
                <a:gd name="connsiteY8" fmla="*/ 7122 h 275347"/>
                <a:gd name="connsiteX9" fmla="*/ 15118 w 240992"/>
                <a:gd name="connsiteY9" fmla="*/ 3748 h 275347"/>
                <a:gd name="connsiteX10" fmla="*/ 8871 w 240992"/>
                <a:gd name="connsiteY10" fmla="*/ 0 h 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992" h="275347">
                  <a:moveTo>
                    <a:pt x="8871" y="0"/>
                  </a:moveTo>
                  <a:cubicBezTo>
                    <a:pt x="9246" y="4273"/>
                    <a:pt x="7222" y="8409"/>
                    <a:pt x="3624" y="10746"/>
                  </a:cubicBezTo>
                  <a:lnTo>
                    <a:pt x="0" y="12620"/>
                  </a:lnTo>
                  <a:cubicBezTo>
                    <a:pt x="288" y="14807"/>
                    <a:pt x="1150" y="16868"/>
                    <a:pt x="2499" y="18617"/>
                  </a:cubicBezTo>
                  <a:lnTo>
                    <a:pt x="225902" y="272266"/>
                  </a:lnTo>
                  <a:cubicBezTo>
                    <a:pt x="228551" y="275715"/>
                    <a:pt x="233487" y="276365"/>
                    <a:pt x="236935" y="273728"/>
                  </a:cubicBezTo>
                  <a:cubicBezTo>
                    <a:pt x="237485" y="273304"/>
                    <a:pt x="237972" y="272816"/>
                    <a:pt x="238397" y="272266"/>
                  </a:cubicBezTo>
                  <a:cubicBezTo>
                    <a:pt x="241858" y="267768"/>
                    <a:pt x="241858" y="261521"/>
                    <a:pt x="238397" y="257022"/>
                  </a:cubicBezTo>
                  <a:lnTo>
                    <a:pt x="18117" y="7122"/>
                  </a:lnTo>
                  <a:lnTo>
                    <a:pt x="15118" y="3748"/>
                  </a:lnTo>
                  <a:cubicBezTo>
                    <a:pt x="13769" y="1549"/>
                    <a:pt x="11445" y="150"/>
                    <a:pt x="8871" y="0"/>
                  </a:cubicBezTo>
                  <a:close/>
                </a:path>
              </a:pathLst>
            </a:custGeom>
            <a:solidFill>
              <a:srgbClr val="000000"/>
            </a:solidFill>
            <a:ln w="12483" cap="flat">
              <a:noFill/>
              <a:prstDash val="solid"/>
              <a:miter/>
            </a:ln>
          </p:spPr>
          <p:txBody>
            <a:bodyPr rtlCol="0" anchor="ctr"/>
            <a:lstStyle/>
            <a:p>
              <a:endParaRPr lang="en-US"/>
            </a:p>
          </p:txBody>
        </p:sp>
        <p:sp>
          <p:nvSpPr>
            <p:cNvPr id="1737" name="Freeform: Shape 1736">
              <a:extLst>
                <a:ext uri="{FF2B5EF4-FFF2-40B4-BE49-F238E27FC236}">
                  <a16:creationId xmlns:a16="http://schemas.microsoft.com/office/drawing/2014/main" id="{C8BF2DBB-905C-4275-94FE-C6AD574275A0}"/>
                </a:ext>
              </a:extLst>
            </p:cNvPr>
            <p:cNvSpPr/>
            <p:nvPr/>
          </p:nvSpPr>
          <p:spPr>
            <a:xfrm>
              <a:off x="10771001" y="3403025"/>
              <a:ext cx="218699" cy="134196"/>
            </a:xfrm>
            <a:custGeom>
              <a:avLst/>
              <a:gdLst>
                <a:gd name="connsiteX0" fmla="*/ 4873 w 218699"/>
                <a:gd name="connsiteY0" fmla="*/ 119827 h 134196"/>
                <a:gd name="connsiteX1" fmla="*/ 250 w 218699"/>
                <a:gd name="connsiteY1" fmla="*/ 134197 h 134196"/>
                <a:gd name="connsiteX2" fmla="*/ 207910 w 218699"/>
                <a:gd name="connsiteY2" fmla="*/ 22866 h 134196"/>
                <a:gd name="connsiteX3" fmla="*/ 207910 w 218699"/>
                <a:gd name="connsiteY3" fmla="*/ 22866 h 134196"/>
                <a:gd name="connsiteX4" fmla="*/ 209784 w 218699"/>
                <a:gd name="connsiteY4" fmla="*/ 21866 h 134196"/>
                <a:gd name="connsiteX5" fmla="*/ 213408 w 218699"/>
                <a:gd name="connsiteY5" fmla="*/ 19992 h 134196"/>
                <a:gd name="connsiteX6" fmla="*/ 218656 w 218699"/>
                <a:gd name="connsiteY6" fmla="*/ 9246 h 134196"/>
                <a:gd name="connsiteX7" fmla="*/ 217906 w 218699"/>
                <a:gd name="connsiteY7" fmla="*/ 5623 h 134196"/>
                <a:gd name="connsiteX8" fmla="*/ 215907 w 218699"/>
                <a:gd name="connsiteY8" fmla="*/ 2124 h 134196"/>
                <a:gd name="connsiteX9" fmla="*/ 213033 w 218699"/>
                <a:gd name="connsiteY9" fmla="*/ 0 h 134196"/>
                <a:gd name="connsiteX10" fmla="*/ 213033 w 218699"/>
                <a:gd name="connsiteY10" fmla="*/ 0 h 134196"/>
                <a:gd name="connsiteX11" fmla="*/ 0 w 218699"/>
                <a:gd name="connsiteY11" fmla="*/ 114080 h 134196"/>
                <a:gd name="connsiteX12" fmla="*/ 4873 w 218699"/>
                <a:gd name="connsiteY12" fmla="*/ 119827 h 13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699" h="134196">
                  <a:moveTo>
                    <a:pt x="4873" y="119827"/>
                  </a:moveTo>
                  <a:cubicBezTo>
                    <a:pt x="6722" y="125113"/>
                    <a:pt x="4836" y="130985"/>
                    <a:pt x="250" y="134197"/>
                  </a:cubicBezTo>
                  <a:lnTo>
                    <a:pt x="207910" y="22866"/>
                  </a:lnTo>
                  <a:lnTo>
                    <a:pt x="207910" y="22866"/>
                  </a:lnTo>
                  <a:lnTo>
                    <a:pt x="209784" y="21866"/>
                  </a:lnTo>
                  <a:lnTo>
                    <a:pt x="213408" y="19992"/>
                  </a:lnTo>
                  <a:cubicBezTo>
                    <a:pt x="217006" y="17656"/>
                    <a:pt x="219031" y="13520"/>
                    <a:pt x="218656" y="9246"/>
                  </a:cubicBezTo>
                  <a:cubicBezTo>
                    <a:pt x="218593" y="8009"/>
                    <a:pt x="218331" y="6785"/>
                    <a:pt x="217906" y="5623"/>
                  </a:cubicBezTo>
                  <a:cubicBezTo>
                    <a:pt x="217469" y="4336"/>
                    <a:pt x="216794" y="3149"/>
                    <a:pt x="215907" y="2124"/>
                  </a:cubicBezTo>
                  <a:cubicBezTo>
                    <a:pt x="215095" y="1237"/>
                    <a:pt x="214120" y="525"/>
                    <a:pt x="213033" y="0"/>
                  </a:cubicBezTo>
                  <a:lnTo>
                    <a:pt x="213033" y="0"/>
                  </a:lnTo>
                  <a:lnTo>
                    <a:pt x="0" y="114080"/>
                  </a:lnTo>
                  <a:cubicBezTo>
                    <a:pt x="2299" y="115292"/>
                    <a:pt x="4048" y="117353"/>
                    <a:pt x="4873" y="119827"/>
                  </a:cubicBezTo>
                  <a:close/>
                </a:path>
              </a:pathLst>
            </a:custGeom>
            <a:solidFill>
              <a:srgbClr val="000000"/>
            </a:solidFill>
            <a:ln w="12483" cap="flat">
              <a:noFill/>
              <a:prstDash val="solid"/>
              <a:miter/>
            </a:ln>
          </p:spPr>
          <p:txBody>
            <a:bodyPr rtlCol="0" anchor="ctr"/>
            <a:lstStyle/>
            <a:p>
              <a:endParaRPr lang="en-US"/>
            </a:p>
          </p:txBody>
        </p:sp>
        <p:sp>
          <p:nvSpPr>
            <p:cNvPr id="1738" name="Freeform: Shape 1737">
              <a:extLst>
                <a:ext uri="{FF2B5EF4-FFF2-40B4-BE49-F238E27FC236}">
                  <a16:creationId xmlns:a16="http://schemas.microsoft.com/office/drawing/2014/main" id="{C03BBFFD-3970-4B1D-BA4F-BDCD7FAAAE42}"/>
                </a:ext>
              </a:extLst>
            </p:cNvPr>
            <p:cNvSpPr/>
            <p:nvPr/>
          </p:nvSpPr>
          <p:spPr>
            <a:xfrm>
              <a:off x="10753259" y="3517229"/>
              <a:ext cx="23568" cy="22990"/>
            </a:xfrm>
            <a:custGeom>
              <a:avLst/>
              <a:gdLst>
                <a:gd name="connsiteX0" fmla="*/ 250 w 23568"/>
                <a:gd name="connsiteY0" fmla="*/ 9746 h 22990"/>
                <a:gd name="connsiteX1" fmla="*/ 1874 w 23568"/>
                <a:gd name="connsiteY1" fmla="*/ 10871 h 22990"/>
                <a:gd name="connsiteX2" fmla="*/ 2999 w 23568"/>
                <a:gd name="connsiteY2" fmla="*/ 11870 h 22990"/>
                <a:gd name="connsiteX3" fmla="*/ 12620 w 23568"/>
                <a:gd name="connsiteY3" fmla="*/ 22991 h 22990"/>
                <a:gd name="connsiteX4" fmla="*/ 18242 w 23568"/>
                <a:gd name="connsiteY4" fmla="*/ 19992 h 22990"/>
                <a:gd name="connsiteX5" fmla="*/ 22865 w 23568"/>
                <a:gd name="connsiteY5" fmla="*/ 5623 h 22990"/>
                <a:gd name="connsiteX6" fmla="*/ 17867 w 23568"/>
                <a:gd name="connsiteY6" fmla="*/ 0 h 22990"/>
                <a:gd name="connsiteX7" fmla="*/ 6372 w 23568"/>
                <a:gd name="connsiteY7" fmla="*/ 6123 h 22990"/>
                <a:gd name="connsiteX8" fmla="*/ 0 w 23568"/>
                <a:gd name="connsiteY8" fmla="*/ 9496 h 2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68" h="22990">
                  <a:moveTo>
                    <a:pt x="250" y="9746"/>
                  </a:moveTo>
                  <a:cubicBezTo>
                    <a:pt x="837" y="10046"/>
                    <a:pt x="1387" y="10421"/>
                    <a:pt x="1874" y="10871"/>
                  </a:cubicBezTo>
                  <a:cubicBezTo>
                    <a:pt x="2274" y="11171"/>
                    <a:pt x="2662" y="11508"/>
                    <a:pt x="2999" y="11870"/>
                  </a:cubicBezTo>
                  <a:lnTo>
                    <a:pt x="12620" y="22991"/>
                  </a:lnTo>
                  <a:lnTo>
                    <a:pt x="18242" y="19992"/>
                  </a:lnTo>
                  <a:cubicBezTo>
                    <a:pt x="22828" y="16781"/>
                    <a:pt x="24714" y="10908"/>
                    <a:pt x="22865" y="5623"/>
                  </a:cubicBezTo>
                  <a:cubicBezTo>
                    <a:pt x="21978" y="3174"/>
                    <a:pt x="20191" y="1162"/>
                    <a:pt x="17867" y="0"/>
                  </a:cubicBezTo>
                  <a:lnTo>
                    <a:pt x="6372" y="6123"/>
                  </a:lnTo>
                  <a:lnTo>
                    <a:pt x="0" y="9496"/>
                  </a:lnTo>
                  <a:close/>
                </a:path>
              </a:pathLst>
            </a:custGeom>
            <a:solidFill>
              <a:srgbClr val="000000"/>
            </a:solidFill>
            <a:ln w="12483" cap="flat">
              <a:noFill/>
              <a:prstDash val="solid"/>
              <a:miter/>
            </a:ln>
          </p:spPr>
          <p:txBody>
            <a:bodyPr rtlCol="0" anchor="ctr"/>
            <a:lstStyle/>
            <a:p>
              <a:endParaRPr lang="en-US"/>
            </a:p>
          </p:txBody>
        </p:sp>
        <p:sp>
          <p:nvSpPr>
            <p:cNvPr id="1739" name="Freeform: Shape 1738">
              <a:extLst>
                <a:ext uri="{FF2B5EF4-FFF2-40B4-BE49-F238E27FC236}">
                  <a16:creationId xmlns:a16="http://schemas.microsoft.com/office/drawing/2014/main" id="{73EA7614-1C41-4B0B-87BE-C5D2DF83D1B1}"/>
                </a:ext>
              </a:extLst>
            </p:cNvPr>
            <p:cNvSpPr/>
            <p:nvPr/>
          </p:nvSpPr>
          <p:spPr>
            <a:xfrm>
              <a:off x="11188196" y="4045144"/>
              <a:ext cx="86337" cy="102834"/>
            </a:xfrm>
            <a:custGeom>
              <a:avLst/>
              <a:gdLst>
                <a:gd name="connsiteX0" fmla="*/ 75967 w 86337"/>
                <a:gd name="connsiteY0" fmla="*/ 98086 h 102834"/>
                <a:gd name="connsiteX1" fmla="*/ 75967 w 86337"/>
                <a:gd name="connsiteY1" fmla="*/ 97087 h 102834"/>
                <a:gd name="connsiteX2" fmla="*/ 75967 w 86337"/>
                <a:gd name="connsiteY2" fmla="*/ 95712 h 102834"/>
                <a:gd name="connsiteX3" fmla="*/ 75967 w 86337"/>
                <a:gd name="connsiteY3" fmla="*/ 93338 h 102834"/>
                <a:gd name="connsiteX4" fmla="*/ 76967 w 86337"/>
                <a:gd name="connsiteY4" fmla="*/ 91464 h 102834"/>
                <a:gd name="connsiteX5" fmla="*/ 76967 w 86337"/>
                <a:gd name="connsiteY5" fmla="*/ 90214 h 102834"/>
                <a:gd name="connsiteX6" fmla="*/ 76967 w 86337"/>
                <a:gd name="connsiteY6" fmla="*/ 90214 h 102834"/>
                <a:gd name="connsiteX7" fmla="*/ 78591 w 86337"/>
                <a:gd name="connsiteY7" fmla="*/ 88964 h 102834"/>
                <a:gd name="connsiteX8" fmla="*/ 79965 w 86337"/>
                <a:gd name="connsiteY8" fmla="*/ 87965 h 102834"/>
                <a:gd name="connsiteX9" fmla="*/ 81465 w 86337"/>
                <a:gd name="connsiteY9" fmla="*/ 87965 h 102834"/>
                <a:gd name="connsiteX10" fmla="*/ 83464 w 86337"/>
                <a:gd name="connsiteY10" fmla="*/ 87965 h 102834"/>
                <a:gd name="connsiteX11" fmla="*/ 83464 w 86337"/>
                <a:gd name="connsiteY11" fmla="*/ 87965 h 102834"/>
                <a:gd name="connsiteX12" fmla="*/ 84713 w 86337"/>
                <a:gd name="connsiteY12" fmla="*/ 87965 h 102834"/>
                <a:gd name="connsiteX13" fmla="*/ 86338 w 86337"/>
                <a:gd name="connsiteY13" fmla="*/ 87965 h 102834"/>
                <a:gd name="connsiteX14" fmla="*/ 84089 w 86337"/>
                <a:gd name="connsiteY14" fmla="*/ 85341 h 102834"/>
                <a:gd name="connsiteX15" fmla="*/ 12495 w 86337"/>
                <a:gd name="connsiteY15" fmla="*/ 0 h 102834"/>
                <a:gd name="connsiteX16" fmla="*/ 12495 w 86337"/>
                <a:gd name="connsiteY16" fmla="*/ 15369 h 102834"/>
                <a:gd name="connsiteX17" fmla="*/ 1462 w 86337"/>
                <a:gd name="connsiteY17" fmla="*/ 16831 h 102834"/>
                <a:gd name="connsiteX18" fmla="*/ 0 w 86337"/>
                <a:gd name="connsiteY18" fmla="*/ 15369 h 102834"/>
                <a:gd name="connsiteX19" fmla="*/ 74968 w 86337"/>
                <a:gd name="connsiteY19" fmla="*/ 102834 h 10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37" h="102834">
                  <a:moveTo>
                    <a:pt x="75967" y="98086"/>
                  </a:moveTo>
                  <a:lnTo>
                    <a:pt x="75967" y="97087"/>
                  </a:lnTo>
                  <a:cubicBezTo>
                    <a:pt x="75892" y="96637"/>
                    <a:pt x="75892" y="96162"/>
                    <a:pt x="75967" y="95712"/>
                  </a:cubicBezTo>
                  <a:cubicBezTo>
                    <a:pt x="75842" y="94925"/>
                    <a:pt x="75842" y="94125"/>
                    <a:pt x="75967" y="93338"/>
                  </a:cubicBezTo>
                  <a:cubicBezTo>
                    <a:pt x="76255" y="92688"/>
                    <a:pt x="76579" y="92063"/>
                    <a:pt x="76967" y="91464"/>
                  </a:cubicBezTo>
                  <a:lnTo>
                    <a:pt x="76967" y="90214"/>
                  </a:lnTo>
                  <a:lnTo>
                    <a:pt x="76967" y="90214"/>
                  </a:lnTo>
                  <a:lnTo>
                    <a:pt x="78591" y="88964"/>
                  </a:lnTo>
                  <a:lnTo>
                    <a:pt x="79965" y="87965"/>
                  </a:lnTo>
                  <a:lnTo>
                    <a:pt x="81465" y="87965"/>
                  </a:lnTo>
                  <a:cubicBezTo>
                    <a:pt x="82127" y="87840"/>
                    <a:pt x="82802" y="87840"/>
                    <a:pt x="83464" y="87965"/>
                  </a:cubicBezTo>
                  <a:lnTo>
                    <a:pt x="83464" y="87965"/>
                  </a:lnTo>
                  <a:cubicBezTo>
                    <a:pt x="83876" y="87890"/>
                    <a:pt x="84301" y="87890"/>
                    <a:pt x="84713" y="87965"/>
                  </a:cubicBezTo>
                  <a:lnTo>
                    <a:pt x="86338" y="87965"/>
                  </a:lnTo>
                  <a:lnTo>
                    <a:pt x="84089" y="85341"/>
                  </a:lnTo>
                  <a:lnTo>
                    <a:pt x="12495" y="0"/>
                  </a:lnTo>
                  <a:cubicBezTo>
                    <a:pt x="16018" y="4523"/>
                    <a:pt x="16018" y="10846"/>
                    <a:pt x="12495" y="15369"/>
                  </a:cubicBezTo>
                  <a:cubicBezTo>
                    <a:pt x="9846" y="18818"/>
                    <a:pt x="4910" y="19467"/>
                    <a:pt x="1462" y="16831"/>
                  </a:cubicBezTo>
                  <a:cubicBezTo>
                    <a:pt x="912" y="16406"/>
                    <a:pt x="425" y="15919"/>
                    <a:pt x="0" y="15369"/>
                  </a:cubicBezTo>
                  <a:lnTo>
                    <a:pt x="74968" y="102834"/>
                  </a:lnTo>
                  <a:close/>
                </a:path>
              </a:pathLst>
            </a:custGeom>
            <a:solidFill>
              <a:srgbClr val="000000"/>
            </a:solidFill>
            <a:ln w="12483" cap="flat">
              <a:noFill/>
              <a:prstDash val="solid"/>
              <a:miter/>
            </a:ln>
          </p:spPr>
          <p:txBody>
            <a:bodyPr rtlCol="0" anchor="ctr"/>
            <a:lstStyle/>
            <a:p>
              <a:endParaRPr lang="en-US"/>
            </a:p>
          </p:txBody>
        </p:sp>
        <p:sp>
          <p:nvSpPr>
            <p:cNvPr id="1740" name="Freeform: Shape 1739">
              <a:extLst>
                <a:ext uri="{FF2B5EF4-FFF2-40B4-BE49-F238E27FC236}">
                  <a16:creationId xmlns:a16="http://schemas.microsoft.com/office/drawing/2014/main" id="{88078FB2-A839-4F48-8EA3-0513214E843F}"/>
                </a:ext>
              </a:extLst>
            </p:cNvPr>
            <p:cNvSpPr/>
            <p:nvPr/>
          </p:nvSpPr>
          <p:spPr>
            <a:xfrm>
              <a:off x="11264107" y="4141105"/>
              <a:ext cx="56" cy="2124"/>
            </a:xfrm>
            <a:custGeom>
              <a:avLst/>
              <a:gdLst>
                <a:gd name="connsiteX0" fmla="*/ 56 w 56"/>
                <a:gd name="connsiteY0" fmla="*/ 2124 h 2124"/>
                <a:gd name="connsiteX1" fmla="*/ 56 w 56"/>
                <a:gd name="connsiteY1" fmla="*/ 2124 h 2124"/>
                <a:gd name="connsiteX2" fmla="*/ 56 w 56"/>
                <a:gd name="connsiteY2" fmla="*/ 0 h 2124"/>
                <a:gd name="connsiteX3" fmla="*/ 56 w 56"/>
                <a:gd name="connsiteY3" fmla="*/ 1375 h 2124"/>
              </a:gdLst>
              <a:ahLst/>
              <a:cxnLst>
                <a:cxn ang="0">
                  <a:pos x="connsiteX0" y="connsiteY0"/>
                </a:cxn>
                <a:cxn ang="0">
                  <a:pos x="connsiteX1" y="connsiteY1"/>
                </a:cxn>
                <a:cxn ang="0">
                  <a:pos x="connsiteX2" y="connsiteY2"/>
                </a:cxn>
                <a:cxn ang="0">
                  <a:pos x="connsiteX3" y="connsiteY3"/>
                </a:cxn>
              </a:cxnLst>
              <a:rect l="l" t="t" r="r" b="b"/>
              <a:pathLst>
                <a:path w="56" h="2124">
                  <a:moveTo>
                    <a:pt x="56" y="2124"/>
                  </a:moveTo>
                  <a:lnTo>
                    <a:pt x="56" y="2124"/>
                  </a:lnTo>
                  <a:cubicBezTo>
                    <a:pt x="-19" y="1412"/>
                    <a:pt x="-19" y="712"/>
                    <a:pt x="56" y="0"/>
                  </a:cubicBezTo>
                  <a:cubicBezTo>
                    <a:pt x="-19" y="450"/>
                    <a:pt x="-19" y="925"/>
                    <a:pt x="56" y="1375"/>
                  </a:cubicBezTo>
                  <a:close/>
                </a:path>
              </a:pathLst>
            </a:custGeom>
            <a:solidFill>
              <a:srgbClr val="000000"/>
            </a:solidFill>
            <a:ln w="12483" cap="flat">
              <a:noFill/>
              <a:prstDash val="solid"/>
              <a:miter/>
            </a:ln>
          </p:spPr>
          <p:txBody>
            <a:bodyPr rtlCol="0" anchor="ctr"/>
            <a:lstStyle/>
            <a:p>
              <a:endParaRPr lang="en-US"/>
            </a:p>
          </p:txBody>
        </p:sp>
        <p:sp>
          <p:nvSpPr>
            <p:cNvPr id="1741" name="Freeform: Shape 1740">
              <a:extLst>
                <a:ext uri="{FF2B5EF4-FFF2-40B4-BE49-F238E27FC236}">
                  <a16:creationId xmlns:a16="http://schemas.microsoft.com/office/drawing/2014/main" id="{367E355E-5F42-4556-8E96-53351A9F4EE3}"/>
                </a:ext>
              </a:extLst>
            </p:cNvPr>
            <p:cNvSpPr/>
            <p:nvPr/>
          </p:nvSpPr>
          <p:spPr>
            <a:xfrm>
              <a:off x="11273409" y="4131678"/>
              <a:ext cx="1499" cy="56"/>
            </a:xfrm>
            <a:custGeom>
              <a:avLst/>
              <a:gdLst>
                <a:gd name="connsiteX0" fmla="*/ 0 w 1499"/>
                <a:gd name="connsiteY0" fmla="*/ 56 h 56"/>
                <a:gd name="connsiteX1" fmla="*/ 1499 w 1499"/>
                <a:gd name="connsiteY1" fmla="*/ 56 h 56"/>
                <a:gd name="connsiteX2" fmla="*/ 250 w 1499"/>
                <a:gd name="connsiteY2" fmla="*/ 56 h 56"/>
              </a:gdLst>
              <a:ahLst/>
              <a:cxnLst>
                <a:cxn ang="0">
                  <a:pos x="connsiteX0" y="connsiteY0"/>
                </a:cxn>
                <a:cxn ang="0">
                  <a:pos x="connsiteX1" y="connsiteY1"/>
                </a:cxn>
                <a:cxn ang="0">
                  <a:pos x="connsiteX2" y="connsiteY2"/>
                </a:cxn>
              </a:cxnLst>
              <a:rect l="l" t="t" r="r" b="b"/>
              <a:pathLst>
                <a:path w="1499" h="56">
                  <a:moveTo>
                    <a:pt x="0" y="56"/>
                  </a:moveTo>
                  <a:lnTo>
                    <a:pt x="1499" y="56"/>
                  </a:lnTo>
                  <a:cubicBezTo>
                    <a:pt x="1087" y="-19"/>
                    <a:pt x="662" y="-19"/>
                    <a:pt x="250" y="56"/>
                  </a:cubicBezTo>
                  <a:close/>
                </a:path>
              </a:pathLst>
            </a:custGeom>
            <a:solidFill>
              <a:srgbClr val="000000"/>
            </a:solidFill>
            <a:ln w="12483" cap="flat">
              <a:noFill/>
              <a:prstDash val="solid"/>
              <a:miter/>
            </a:ln>
          </p:spPr>
          <p:txBody>
            <a:bodyPr rtlCol="0" anchor="ctr"/>
            <a:lstStyle/>
            <a:p>
              <a:endParaRPr lang="en-US"/>
            </a:p>
          </p:txBody>
        </p:sp>
        <p:sp>
          <p:nvSpPr>
            <p:cNvPr id="1742" name="Freeform: Shape 1741">
              <a:extLst>
                <a:ext uri="{FF2B5EF4-FFF2-40B4-BE49-F238E27FC236}">
                  <a16:creationId xmlns:a16="http://schemas.microsoft.com/office/drawing/2014/main" id="{A705FD16-3B4F-490E-ABDE-BCCB18C7C98B}"/>
                </a:ext>
              </a:extLst>
            </p:cNvPr>
            <p:cNvSpPr/>
            <p:nvPr/>
          </p:nvSpPr>
          <p:spPr>
            <a:xfrm>
              <a:off x="11260818" y="4142480"/>
              <a:ext cx="19337" cy="71100"/>
            </a:xfrm>
            <a:custGeom>
              <a:avLst/>
              <a:gdLst>
                <a:gd name="connsiteX0" fmla="*/ 16464 w 19337"/>
                <a:gd name="connsiteY0" fmla="*/ 66598 h 71100"/>
                <a:gd name="connsiteX1" fmla="*/ 16464 w 19337"/>
                <a:gd name="connsiteY1" fmla="*/ 66598 h 71100"/>
                <a:gd name="connsiteX2" fmla="*/ 17339 w 19337"/>
                <a:gd name="connsiteY2" fmla="*/ 64849 h 71100"/>
                <a:gd name="connsiteX3" fmla="*/ 17339 w 19337"/>
                <a:gd name="connsiteY3" fmla="*/ 62725 h 71100"/>
                <a:gd name="connsiteX4" fmla="*/ 17339 w 19337"/>
                <a:gd name="connsiteY4" fmla="*/ 61351 h 71100"/>
                <a:gd name="connsiteX5" fmla="*/ 19338 w 19337"/>
                <a:gd name="connsiteY5" fmla="*/ 23866 h 71100"/>
                <a:gd name="connsiteX6" fmla="*/ 5344 w 19337"/>
                <a:gd name="connsiteY6" fmla="*/ 7747 h 71100"/>
                <a:gd name="connsiteX7" fmla="*/ 2595 w 19337"/>
                <a:gd name="connsiteY7" fmla="*/ 0 h 71100"/>
                <a:gd name="connsiteX8" fmla="*/ 2595 w 19337"/>
                <a:gd name="connsiteY8" fmla="*/ 0 h 71100"/>
                <a:gd name="connsiteX9" fmla="*/ 2595 w 19337"/>
                <a:gd name="connsiteY9" fmla="*/ 4998 h 71100"/>
                <a:gd name="connsiteX10" fmla="*/ 96 w 19337"/>
                <a:gd name="connsiteY10" fmla="*/ 53229 h 71100"/>
                <a:gd name="connsiteX11" fmla="*/ 96 w 19337"/>
                <a:gd name="connsiteY11" fmla="*/ 59601 h 71100"/>
                <a:gd name="connsiteX12" fmla="*/ 8468 w 19337"/>
                <a:gd name="connsiteY12" fmla="*/ 71097 h 71100"/>
                <a:gd name="connsiteX13" fmla="*/ 13841 w 19337"/>
                <a:gd name="connsiteY13" fmla="*/ 69223 h 71100"/>
                <a:gd name="connsiteX14" fmla="*/ 13841 w 19337"/>
                <a:gd name="connsiteY14" fmla="*/ 69223 h 71100"/>
                <a:gd name="connsiteX15" fmla="*/ 14840 w 19337"/>
                <a:gd name="connsiteY15" fmla="*/ 68223 h 71100"/>
                <a:gd name="connsiteX16" fmla="*/ 16464 w 19337"/>
                <a:gd name="connsiteY16" fmla="*/ 66598 h 7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37" h="71100">
                  <a:moveTo>
                    <a:pt x="16464" y="66598"/>
                  </a:moveTo>
                  <a:lnTo>
                    <a:pt x="16464" y="66598"/>
                  </a:lnTo>
                  <a:cubicBezTo>
                    <a:pt x="16802" y="66036"/>
                    <a:pt x="17102" y="65461"/>
                    <a:pt x="17339" y="64849"/>
                  </a:cubicBezTo>
                  <a:cubicBezTo>
                    <a:pt x="17414" y="64137"/>
                    <a:pt x="17414" y="63437"/>
                    <a:pt x="17339" y="62725"/>
                  </a:cubicBezTo>
                  <a:cubicBezTo>
                    <a:pt x="17389" y="62263"/>
                    <a:pt x="17389" y="61800"/>
                    <a:pt x="17339" y="61351"/>
                  </a:cubicBezTo>
                  <a:lnTo>
                    <a:pt x="19338" y="23866"/>
                  </a:lnTo>
                  <a:lnTo>
                    <a:pt x="5344" y="7747"/>
                  </a:lnTo>
                  <a:cubicBezTo>
                    <a:pt x="3582" y="5548"/>
                    <a:pt x="2608" y="2824"/>
                    <a:pt x="2595" y="0"/>
                  </a:cubicBezTo>
                  <a:lnTo>
                    <a:pt x="2595" y="0"/>
                  </a:lnTo>
                  <a:lnTo>
                    <a:pt x="2595" y="4998"/>
                  </a:lnTo>
                  <a:lnTo>
                    <a:pt x="96" y="53229"/>
                  </a:lnTo>
                  <a:lnTo>
                    <a:pt x="96" y="59601"/>
                  </a:lnTo>
                  <a:cubicBezTo>
                    <a:pt x="-653" y="65062"/>
                    <a:pt x="3045" y="70135"/>
                    <a:pt x="8468" y="71097"/>
                  </a:cubicBezTo>
                  <a:cubicBezTo>
                    <a:pt x="10429" y="71159"/>
                    <a:pt x="12341" y="70497"/>
                    <a:pt x="13841" y="69223"/>
                  </a:cubicBezTo>
                  <a:lnTo>
                    <a:pt x="13841" y="69223"/>
                  </a:lnTo>
                  <a:lnTo>
                    <a:pt x="14840" y="68223"/>
                  </a:lnTo>
                  <a:cubicBezTo>
                    <a:pt x="15452" y="67761"/>
                    <a:pt x="16002" y="67211"/>
                    <a:pt x="16464" y="66598"/>
                  </a:cubicBezTo>
                  <a:close/>
                </a:path>
              </a:pathLst>
            </a:custGeom>
            <a:solidFill>
              <a:srgbClr val="000000"/>
            </a:solidFill>
            <a:ln w="12483" cap="flat">
              <a:noFill/>
              <a:prstDash val="solid"/>
              <a:miter/>
            </a:ln>
          </p:spPr>
          <p:txBody>
            <a:bodyPr rtlCol="0" anchor="ctr"/>
            <a:lstStyle/>
            <a:p>
              <a:endParaRPr lang="en-US"/>
            </a:p>
          </p:txBody>
        </p:sp>
        <p:sp>
          <p:nvSpPr>
            <p:cNvPr id="1743" name="Freeform: Shape 1742">
              <a:extLst>
                <a:ext uri="{FF2B5EF4-FFF2-40B4-BE49-F238E27FC236}">
                  <a16:creationId xmlns:a16="http://schemas.microsoft.com/office/drawing/2014/main" id="{789EACC6-3A23-48A9-A84F-D6953AE159CD}"/>
                </a:ext>
              </a:extLst>
            </p:cNvPr>
            <p:cNvSpPr/>
            <p:nvPr/>
          </p:nvSpPr>
          <p:spPr>
            <a:xfrm>
              <a:off x="10708278" y="3747512"/>
              <a:ext cx="45625" cy="1066824"/>
            </a:xfrm>
            <a:custGeom>
              <a:avLst/>
              <a:gdLst>
                <a:gd name="connsiteX0" fmla="*/ 35985 w 45625"/>
                <a:gd name="connsiteY0" fmla="*/ 11121 h 1066824"/>
                <a:gd name="connsiteX1" fmla="*/ 27363 w 45625"/>
                <a:gd name="connsiteY1" fmla="*/ 0 h 1066824"/>
                <a:gd name="connsiteX2" fmla="*/ 27363 w 45625"/>
                <a:gd name="connsiteY2" fmla="*/ 17368 h 1066824"/>
                <a:gd name="connsiteX3" fmla="*/ 0 w 45625"/>
                <a:gd name="connsiteY3" fmla="*/ 1057953 h 1066824"/>
                <a:gd name="connsiteX4" fmla="*/ 4873 w 45625"/>
                <a:gd name="connsiteY4" fmla="*/ 1055204 h 1066824"/>
                <a:gd name="connsiteX5" fmla="*/ 16380 w 45625"/>
                <a:gd name="connsiteY5" fmla="*/ 1057979 h 1066824"/>
                <a:gd name="connsiteX6" fmla="*/ 17368 w 45625"/>
                <a:gd name="connsiteY6" fmla="*/ 1060327 h 1066824"/>
                <a:gd name="connsiteX7" fmla="*/ 17992 w 45625"/>
                <a:gd name="connsiteY7" fmla="*/ 1066825 h 1066824"/>
                <a:gd name="connsiteX8" fmla="*/ 17992 w 45625"/>
                <a:gd name="connsiteY8" fmla="*/ 1065325 h 1066824"/>
                <a:gd name="connsiteX9" fmla="*/ 45605 w 45625"/>
                <a:gd name="connsiteY9" fmla="*/ 500 h 1066824"/>
                <a:gd name="connsiteX10" fmla="*/ 36259 w 45625"/>
                <a:gd name="connsiteY10" fmla="*/ 11108 h 1066824"/>
                <a:gd name="connsiteX11" fmla="*/ 35985 w 45625"/>
                <a:gd name="connsiteY11" fmla="*/ 11121 h 106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25" h="1066824">
                  <a:moveTo>
                    <a:pt x="35985" y="11121"/>
                  </a:moveTo>
                  <a:cubicBezTo>
                    <a:pt x="30587" y="10346"/>
                    <a:pt x="26763" y="5423"/>
                    <a:pt x="27363" y="0"/>
                  </a:cubicBezTo>
                  <a:lnTo>
                    <a:pt x="27363" y="17368"/>
                  </a:lnTo>
                  <a:lnTo>
                    <a:pt x="0" y="1057953"/>
                  </a:lnTo>
                  <a:lnTo>
                    <a:pt x="4873" y="1055204"/>
                  </a:lnTo>
                  <a:cubicBezTo>
                    <a:pt x="8821" y="1052793"/>
                    <a:pt x="13969" y="1054030"/>
                    <a:pt x="16380" y="1057979"/>
                  </a:cubicBezTo>
                  <a:cubicBezTo>
                    <a:pt x="16830" y="1058703"/>
                    <a:pt x="17167" y="1059503"/>
                    <a:pt x="17368" y="1060327"/>
                  </a:cubicBezTo>
                  <a:cubicBezTo>
                    <a:pt x="18142" y="1062401"/>
                    <a:pt x="18367" y="1064638"/>
                    <a:pt x="17992" y="1066825"/>
                  </a:cubicBezTo>
                  <a:cubicBezTo>
                    <a:pt x="17992" y="1066825"/>
                    <a:pt x="17992" y="1065825"/>
                    <a:pt x="17992" y="1065325"/>
                  </a:cubicBezTo>
                  <a:lnTo>
                    <a:pt x="45605" y="500"/>
                  </a:lnTo>
                  <a:cubicBezTo>
                    <a:pt x="45955" y="6010"/>
                    <a:pt x="41770" y="10758"/>
                    <a:pt x="36259" y="11108"/>
                  </a:cubicBezTo>
                  <a:cubicBezTo>
                    <a:pt x="36172" y="11108"/>
                    <a:pt x="36072" y="11121"/>
                    <a:pt x="35985" y="11121"/>
                  </a:cubicBezTo>
                  <a:close/>
                </a:path>
              </a:pathLst>
            </a:custGeom>
            <a:solidFill>
              <a:srgbClr val="000000"/>
            </a:solidFill>
            <a:ln w="12483" cap="flat">
              <a:noFill/>
              <a:prstDash val="solid"/>
              <a:miter/>
            </a:ln>
          </p:spPr>
          <p:txBody>
            <a:bodyPr rtlCol="0" anchor="ctr"/>
            <a:lstStyle/>
            <a:p>
              <a:endParaRPr lang="en-US"/>
            </a:p>
          </p:txBody>
        </p:sp>
        <p:sp>
          <p:nvSpPr>
            <p:cNvPr id="1744" name="Freeform: Shape 1743">
              <a:extLst>
                <a:ext uri="{FF2B5EF4-FFF2-40B4-BE49-F238E27FC236}">
                  <a16:creationId xmlns:a16="http://schemas.microsoft.com/office/drawing/2014/main" id="{B070C906-CA4B-4649-87D9-4631450225F8}"/>
                </a:ext>
              </a:extLst>
            </p:cNvPr>
            <p:cNvSpPr/>
            <p:nvPr/>
          </p:nvSpPr>
          <p:spPr>
            <a:xfrm>
              <a:off x="10721897" y="4820210"/>
              <a:ext cx="1499" cy="1374"/>
            </a:xfrm>
            <a:custGeom>
              <a:avLst/>
              <a:gdLst>
                <a:gd name="connsiteX0" fmla="*/ 0 w 1499"/>
                <a:gd name="connsiteY0" fmla="*/ 1375 h 1374"/>
                <a:gd name="connsiteX1" fmla="*/ 0 w 1499"/>
                <a:gd name="connsiteY1" fmla="*/ 1375 h 1374"/>
                <a:gd name="connsiteX2" fmla="*/ 1499 w 1499"/>
                <a:gd name="connsiteY2" fmla="*/ 0 h 1374"/>
                <a:gd name="connsiteX3" fmla="*/ 0 w 1499"/>
                <a:gd name="connsiteY3" fmla="*/ 1375 h 1374"/>
              </a:gdLst>
              <a:ahLst/>
              <a:cxnLst>
                <a:cxn ang="0">
                  <a:pos x="connsiteX0" y="connsiteY0"/>
                </a:cxn>
                <a:cxn ang="0">
                  <a:pos x="connsiteX1" y="connsiteY1"/>
                </a:cxn>
                <a:cxn ang="0">
                  <a:pos x="connsiteX2" y="connsiteY2"/>
                </a:cxn>
                <a:cxn ang="0">
                  <a:pos x="connsiteX3" y="connsiteY3"/>
                </a:cxn>
              </a:cxnLst>
              <a:rect l="l" t="t" r="r" b="b"/>
              <a:pathLst>
                <a:path w="1499" h="1374">
                  <a:moveTo>
                    <a:pt x="0" y="1375"/>
                  </a:moveTo>
                  <a:lnTo>
                    <a:pt x="0" y="1375"/>
                  </a:lnTo>
                  <a:cubicBezTo>
                    <a:pt x="587" y="1012"/>
                    <a:pt x="1087" y="550"/>
                    <a:pt x="1499" y="0"/>
                  </a:cubicBezTo>
                  <a:cubicBezTo>
                    <a:pt x="1062" y="525"/>
                    <a:pt x="562" y="987"/>
                    <a:pt x="0" y="1375"/>
                  </a:cubicBezTo>
                  <a:close/>
                </a:path>
              </a:pathLst>
            </a:custGeom>
            <a:solidFill>
              <a:srgbClr val="000000"/>
            </a:solidFill>
            <a:ln w="12483" cap="flat">
              <a:noFill/>
              <a:prstDash val="solid"/>
              <a:miter/>
            </a:ln>
          </p:spPr>
          <p:txBody>
            <a:bodyPr rtlCol="0" anchor="ctr"/>
            <a:lstStyle/>
            <a:p>
              <a:endParaRPr lang="en-US"/>
            </a:p>
          </p:txBody>
        </p:sp>
        <p:sp>
          <p:nvSpPr>
            <p:cNvPr id="1745" name="Freeform: Shape 1744">
              <a:extLst>
                <a:ext uri="{FF2B5EF4-FFF2-40B4-BE49-F238E27FC236}">
                  <a16:creationId xmlns:a16="http://schemas.microsoft.com/office/drawing/2014/main" id="{2F30FAF4-F3A9-4C38-82F6-BC0CE23EF67A}"/>
                </a:ext>
              </a:extLst>
            </p:cNvPr>
            <p:cNvSpPr/>
            <p:nvPr/>
          </p:nvSpPr>
          <p:spPr>
            <a:xfrm>
              <a:off x="10294155" y="5023379"/>
              <a:ext cx="41658" cy="37273"/>
            </a:xfrm>
            <a:custGeom>
              <a:avLst/>
              <a:gdLst>
                <a:gd name="connsiteX0" fmla="*/ 551 w 41658"/>
                <a:gd name="connsiteY0" fmla="*/ 31112 h 37273"/>
                <a:gd name="connsiteX1" fmla="*/ 10834 w 41658"/>
                <a:gd name="connsiteY1" fmla="*/ 36973 h 37273"/>
                <a:gd name="connsiteX2" fmla="*/ 12421 w 41658"/>
                <a:gd name="connsiteY2" fmla="*/ 36361 h 37273"/>
                <a:gd name="connsiteX3" fmla="*/ 13546 w 41658"/>
                <a:gd name="connsiteY3" fmla="*/ 35736 h 37273"/>
                <a:gd name="connsiteX4" fmla="*/ 16544 w 41658"/>
                <a:gd name="connsiteY4" fmla="*/ 33986 h 37273"/>
                <a:gd name="connsiteX5" fmla="*/ 17544 w 41658"/>
                <a:gd name="connsiteY5" fmla="*/ 33361 h 37273"/>
                <a:gd name="connsiteX6" fmla="*/ 41659 w 41658"/>
                <a:gd name="connsiteY6" fmla="*/ 19617 h 37273"/>
                <a:gd name="connsiteX7" fmla="*/ 30401 w 41658"/>
                <a:gd name="connsiteY7" fmla="*/ 15956 h 37273"/>
                <a:gd name="connsiteX8" fmla="*/ 29789 w 41658"/>
                <a:gd name="connsiteY8" fmla="*/ 14369 h 37273"/>
                <a:gd name="connsiteX9" fmla="*/ 34037 w 41658"/>
                <a:gd name="connsiteY9" fmla="*/ 0 h 37273"/>
                <a:gd name="connsiteX10" fmla="*/ 31413 w 41658"/>
                <a:gd name="connsiteY10" fmla="*/ 1499 h 37273"/>
                <a:gd name="connsiteX11" fmla="*/ 4800 w 41658"/>
                <a:gd name="connsiteY11" fmla="*/ 16743 h 37273"/>
                <a:gd name="connsiteX12" fmla="*/ 3800 w 41658"/>
                <a:gd name="connsiteY12" fmla="*/ 17618 h 37273"/>
                <a:gd name="connsiteX13" fmla="*/ 2176 w 41658"/>
                <a:gd name="connsiteY13" fmla="*/ 19117 h 37273"/>
                <a:gd name="connsiteX14" fmla="*/ 1176 w 41658"/>
                <a:gd name="connsiteY14" fmla="*/ 20742 h 37273"/>
                <a:gd name="connsiteX15" fmla="*/ 302 w 41658"/>
                <a:gd name="connsiteY15" fmla="*/ 22616 h 37273"/>
                <a:gd name="connsiteX16" fmla="*/ 302 w 41658"/>
                <a:gd name="connsiteY16" fmla="*/ 24740 h 37273"/>
                <a:gd name="connsiteX17" fmla="*/ 551 w 41658"/>
                <a:gd name="connsiteY17" fmla="*/ 31112 h 3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658" h="37273">
                  <a:moveTo>
                    <a:pt x="551" y="31112"/>
                  </a:moveTo>
                  <a:cubicBezTo>
                    <a:pt x="1776" y="35573"/>
                    <a:pt x="6374" y="38197"/>
                    <a:pt x="10834" y="36973"/>
                  </a:cubicBezTo>
                  <a:cubicBezTo>
                    <a:pt x="11384" y="36823"/>
                    <a:pt x="11922" y="36623"/>
                    <a:pt x="12421" y="36361"/>
                  </a:cubicBezTo>
                  <a:lnTo>
                    <a:pt x="13546" y="35736"/>
                  </a:lnTo>
                  <a:lnTo>
                    <a:pt x="16544" y="33986"/>
                  </a:lnTo>
                  <a:lnTo>
                    <a:pt x="17544" y="33361"/>
                  </a:lnTo>
                  <a:lnTo>
                    <a:pt x="41659" y="19617"/>
                  </a:lnTo>
                  <a:cubicBezTo>
                    <a:pt x="37536" y="21716"/>
                    <a:pt x="32500" y="20079"/>
                    <a:pt x="30401" y="15956"/>
                  </a:cubicBezTo>
                  <a:cubicBezTo>
                    <a:pt x="30139" y="15444"/>
                    <a:pt x="29939" y="14919"/>
                    <a:pt x="29789" y="14369"/>
                  </a:cubicBezTo>
                  <a:cubicBezTo>
                    <a:pt x="27565" y="9184"/>
                    <a:pt x="29352" y="3149"/>
                    <a:pt x="34037" y="0"/>
                  </a:cubicBezTo>
                  <a:lnTo>
                    <a:pt x="31413" y="1499"/>
                  </a:lnTo>
                  <a:lnTo>
                    <a:pt x="4800" y="16743"/>
                  </a:lnTo>
                  <a:lnTo>
                    <a:pt x="3800" y="17618"/>
                  </a:lnTo>
                  <a:cubicBezTo>
                    <a:pt x="3176" y="18018"/>
                    <a:pt x="2626" y="18530"/>
                    <a:pt x="2176" y="19117"/>
                  </a:cubicBezTo>
                  <a:lnTo>
                    <a:pt x="1176" y="20742"/>
                  </a:lnTo>
                  <a:cubicBezTo>
                    <a:pt x="1176" y="20742"/>
                    <a:pt x="551" y="21866"/>
                    <a:pt x="302" y="22616"/>
                  </a:cubicBezTo>
                  <a:cubicBezTo>
                    <a:pt x="239" y="23328"/>
                    <a:pt x="239" y="24028"/>
                    <a:pt x="302" y="24740"/>
                  </a:cubicBezTo>
                  <a:cubicBezTo>
                    <a:pt x="-173" y="26852"/>
                    <a:pt x="-86" y="29051"/>
                    <a:pt x="551" y="31112"/>
                  </a:cubicBezTo>
                  <a:close/>
                </a:path>
              </a:pathLst>
            </a:custGeom>
            <a:solidFill>
              <a:srgbClr val="000000"/>
            </a:solidFill>
            <a:ln w="12483" cap="flat">
              <a:noFill/>
              <a:prstDash val="solid"/>
              <a:miter/>
            </a:ln>
          </p:spPr>
          <p:txBody>
            <a:bodyPr rtlCol="0" anchor="ctr"/>
            <a:lstStyle/>
            <a:p>
              <a:endParaRPr lang="en-US"/>
            </a:p>
          </p:txBody>
        </p:sp>
        <p:sp>
          <p:nvSpPr>
            <p:cNvPr id="1746" name="Freeform: Shape 1745">
              <a:extLst>
                <a:ext uri="{FF2B5EF4-FFF2-40B4-BE49-F238E27FC236}">
                  <a16:creationId xmlns:a16="http://schemas.microsoft.com/office/drawing/2014/main" id="{0EA10A42-F677-468E-BCDF-49A9B94D70B9}"/>
                </a:ext>
              </a:extLst>
            </p:cNvPr>
            <p:cNvSpPr/>
            <p:nvPr/>
          </p:nvSpPr>
          <p:spPr>
            <a:xfrm>
              <a:off x="9374729" y="3280324"/>
              <a:ext cx="546389" cy="689100"/>
            </a:xfrm>
            <a:custGeom>
              <a:avLst/>
              <a:gdLst>
                <a:gd name="connsiteX0" fmla="*/ 12495 w 546389"/>
                <a:gd name="connsiteY0" fmla="*/ 0 h 689100"/>
                <a:gd name="connsiteX1" fmla="*/ 12495 w 546389"/>
                <a:gd name="connsiteY1" fmla="*/ 15369 h 689100"/>
                <a:gd name="connsiteX2" fmla="*/ 1462 w 546389"/>
                <a:gd name="connsiteY2" fmla="*/ 16831 h 689100"/>
                <a:gd name="connsiteX3" fmla="*/ 0 w 546389"/>
                <a:gd name="connsiteY3" fmla="*/ 15369 h 689100"/>
                <a:gd name="connsiteX4" fmla="*/ 538018 w 546389"/>
                <a:gd name="connsiteY4" fmla="*/ 689100 h 689100"/>
                <a:gd name="connsiteX5" fmla="*/ 538018 w 546389"/>
                <a:gd name="connsiteY5" fmla="*/ 689100 h 689100"/>
                <a:gd name="connsiteX6" fmla="*/ 536019 w 546389"/>
                <a:gd name="connsiteY6" fmla="*/ 685851 h 689100"/>
                <a:gd name="connsiteX7" fmla="*/ 540642 w 546389"/>
                <a:gd name="connsiteY7" fmla="*/ 671482 h 689100"/>
                <a:gd name="connsiteX8" fmla="*/ 546389 w 546389"/>
                <a:gd name="connsiteY8" fmla="*/ 668483 h 689100"/>
                <a:gd name="connsiteX9" fmla="*/ 545639 w 546389"/>
                <a:gd name="connsiteY9" fmla="*/ 667609 h 689100"/>
                <a:gd name="connsiteX10" fmla="*/ 542391 w 546389"/>
                <a:gd name="connsiteY10" fmla="*/ 663486 h 68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389" h="689100">
                  <a:moveTo>
                    <a:pt x="12495" y="0"/>
                  </a:moveTo>
                  <a:cubicBezTo>
                    <a:pt x="16018" y="4523"/>
                    <a:pt x="16018" y="10846"/>
                    <a:pt x="12495" y="15369"/>
                  </a:cubicBezTo>
                  <a:cubicBezTo>
                    <a:pt x="9846" y="18817"/>
                    <a:pt x="4910" y="19467"/>
                    <a:pt x="1462" y="16831"/>
                  </a:cubicBezTo>
                  <a:cubicBezTo>
                    <a:pt x="912" y="16406"/>
                    <a:pt x="425" y="15919"/>
                    <a:pt x="0" y="15369"/>
                  </a:cubicBezTo>
                  <a:lnTo>
                    <a:pt x="538018" y="689100"/>
                  </a:lnTo>
                  <a:lnTo>
                    <a:pt x="538018" y="689100"/>
                  </a:lnTo>
                  <a:cubicBezTo>
                    <a:pt x="537143" y="688163"/>
                    <a:pt x="536456" y="687064"/>
                    <a:pt x="536019" y="685851"/>
                  </a:cubicBezTo>
                  <a:cubicBezTo>
                    <a:pt x="534169" y="680566"/>
                    <a:pt x="536056" y="674694"/>
                    <a:pt x="540642" y="671482"/>
                  </a:cubicBezTo>
                  <a:lnTo>
                    <a:pt x="546389" y="668483"/>
                  </a:lnTo>
                  <a:lnTo>
                    <a:pt x="545639" y="667609"/>
                  </a:lnTo>
                  <a:lnTo>
                    <a:pt x="542391" y="663486"/>
                  </a:lnTo>
                  <a:close/>
                </a:path>
              </a:pathLst>
            </a:custGeom>
            <a:solidFill>
              <a:srgbClr val="000000"/>
            </a:solidFill>
            <a:ln w="12483" cap="flat">
              <a:noFill/>
              <a:prstDash val="solid"/>
              <a:miter/>
            </a:ln>
          </p:spPr>
          <p:txBody>
            <a:bodyPr rtlCol="0" anchor="ctr"/>
            <a:lstStyle/>
            <a:p>
              <a:endParaRPr lang="en-US"/>
            </a:p>
          </p:txBody>
        </p:sp>
        <p:sp>
          <p:nvSpPr>
            <p:cNvPr id="1747" name="Freeform: Shape 1746">
              <a:extLst>
                <a:ext uri="{FF2B5EF4-FFF2-40B4-BE49-F238E27FC236}">
                  <a16:creationId xmlns:a16="http://schemas.microsoft.com/office/drawing/2014/main" id="{BEE2F122-B8C2-4BBB-93B7-C49666A56C54}"/>
                </a:ext>
              </a:extLst>
            </p:cNvPr>
            <p:cNvSpPr/>
            <p:nvPr/>
          </p:nvSpPr>
          <p:spPr>
            <a:xfrm>
              <a:off x="9363091" y="3266372"/>
              <a:ext cx="26526" cy="32465"/>
            </a:xfrm>
            <a:custGeom>
              <a:avLst/>
              <a:gdLst>
                <a:gd name="connsiteX0" fmla="*/ 23883 w 26526"/>
                <a:gd name="connsiteY0" fmla="*/ 29321 h 32465"/>
                <a:gd name="connsiteX1" fmla="*/ 23883 w 26526"/>
                <a:gd name="connsiteY1" fmla="*/ 13952 h 32465"/>
                <a:gd name="connsiteX2" fmla="*/ 17511 w 26526"/>
                <a:gd name="connsiteY2" fmla="*/ 5955 h 32465"/>
                <a:gd name="connsiteX3" fmla="*/ 15137 w 26526"/>
                <a:gd name="connsiteY3" fmla="*/ 3081 h 32465"/>
                <a:gd name="connsiteX4" fmla="*/ 4104 w 26526"/>
                <a:gd name="connsiteY4" fmla="*/ 1619 h 32465"/>
                <a:gd name="connsiteX5" fmla="*/ 2643 w 26526"/>
                <a:gd name="connsiteY5" fmla="*/ 3081 h 32465"/>
                <a:gd name="connsiteX6" fmla="*/ 2643 w 26526"/>
                <a:gd name="connsiteY6" fmla="*/ 18450 h 32465"/>
                <a:gd name="connsiteX7" fmla="*/ 7765 w 26526"/>
                <a:gd name="connsiteY7" fmla="*/ 24948 h 32465"/>
                <a:gd name="connsiteX8" fmla="*/ 10139 w 26526"/>
                <a:gd name="connsiteY8" fmla="*/ 27821 h 32465"/>
                <a:gd name="connsiteX9" fmla="*/ 11389 w 26526"/>
                <a:gd name="connsiteY9" fmla="*/ 29446 h 32465"/>
                <a:gd name="connsiteX10" fmla="*/ 22434 w 26526"/>
                <a:gd name="connsiteY10" fmla="*/ 30795 h 32465"/>
                <a:gd name="connsiteX11" fmla="*/ 23883 w 26526"/>
                <a:gd name="connsiteY11" fmla="*/ 29321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26" h="32465">
                  <a:moveTo>
                    <a:pt x="23883" y="29321"/>
                  </a:moveTo>
                  <a:cubicBezTo>
                    <a:pt x="27407" y="24798"/>
                    <a:pt x="27407" y="18475"/>
                    <a:pt x="23883" y="13952"/>
                  </a:cubicBezTo>
                  <a:lnTo>
                    <a:pt x="17511" y="5955"/>
                  </a:lnTo>
                  <a:lnTo>
                    <a:pt x="15137" y="3081"/>
                  </a:lnTo>
                  <a:cubicBezTo>
                    <a:pt x="12488" y="-367"/>
                    <a:pt x="7553" y="-1017"/>
                    <a:pt x="4104" y="1619"/>
                  </a:cubicBezTo>
                  <a:cubicBezTo>
                    <a:pt x="3555" y="2044"/>
                    <a:pt x="3068" y="2531"/>
                    <a:pt x="2643" y="3081"/>
                  </a:cubicBezTo>
                  <a:cubicBezTo>
                    <a:pt x="-881" y="7604"/>
                    <a:pt x="-881" y="13927"/>
                    <a:pt x="2643" y="18450"/>
                  </a:cubicBezTo>
                  <a:lnTo>
                    <a:pt x="7765" y="24948"/>
                  </a:lnTo>
                  <a:lnTo>
                    <a:pt x="10139" y="27821"/>
                  </a:lnTo>
                  <a:lnTo>
                    <a:pt x="11389" y="29446"/>
                  </a:lnTo>
                  <a:cubicBezTo>
                    <a:pt x="14062" y="32869"/>
                    <a:pt x="19011" y="33469"/>
                    <a:pt x="22434" y="30795"/>
                  </a:cubicBezTo>
                  <a:cubicBezTo>
                    <a:pt x="22984" y="30370"/>
                    <a:pt x="23471" y="29871"/>
                    <a:pt x="23883" y="29321"/>
                  </a:cubicBezTo>
                  <a:close/>
                </a:path>
              </a:pathLst>
            </a:custGeom>
            <a:solidFill>
              <a:srgbClr val="000000"/>
            </a:solidFill>
            <a:ln w="12483" cap="flat">
              <a:noFill/>
              <a:prstDash val="solid"/>
              <a:miter/>
            </a:ln>
          </p:spPr>
          <p:txBody>
            <a:bodyPr rtlCol="0" anchor="ctr"/>
            <a:lstStyle/>
            <a:p>
              <a:endParaRPr lang="en-US"/>
            </a:p>
          </p:txBody>
        </p:sp>
        <p:sp>
          <p:nvSpPr>
            <p:cNvPr id="1748" name="Freeform: Shape 1747">
              <a:extLst>
                <a:ext uri="{FF2B5EF4-FFF2-40B4-BE49-F238E27FC236}">
                  <a16:creationId xmlns:a16="http://schemas.microsoft.com/office/drawing/2014/main" id="{315A2C3E-D5DA-4122-9AAD-4746A742BF87}"/>
                </a:ext>
              </a:extLst>
            </p:cNvPr>
            <p:cNvSpPr/>
            <p:nvPr/>
          </p:nvSpPr>
          <p:spPr>
            <a:xfrm>
              <a:off x="9909907" y="3504234"/>
              <a:ext cx="848849" cy="467494"/>
            </a:xfrm>
            <a:custGeom>
              <a:avLst/>
              <a:gdLst>
                <a:gd name="connsiteX0" fmla="*/ 716 w 848849"/>
                <a:gd name="connsiteY0" fmla="*/ 461816 h 467494"/>
                <a:gd name="connsiteX1" fmla="*/ 2716 w 848849"/>
                <a:gd name="connsiteY1" fmla="*/ 465064 h 467494"/>
                <a:gd name="connsiteX2" fmla="*/ 4340 w 848849"/>
                <a:gd name="connsiteY2" fmla="*/ 466439 h 467494"/>
                <a:gd name="connsiteX3" fmla="*/ 5589 w 848849"/>
                <a:gd name="connsiteY3" fmla="*/ 467438 h 467494"/>
                <a:gd name="connsiteX4" fmla="*/ 7338 w 848849"/>
                <a:gd name="connsiteY4" fmla="*/ 467438 h 467494"/>
                <a:gd name="connsiteX5" fmla="*/ 8963 w 848849"/>
                <a:gd name="connsiteY5" fmla="*/ 467438 h 467494"/>
                <a:gd name="connsiteX6" fmla="*/ 10462 w 848849"/>
                <a:gd name="connsiteY6" fmla="*/ 467438 h 467494"/>
                <a:gd name="connsiteX7" fmla="*/ 12336 w 848849"/>
                <a:gd name="connsiteY7" fmla="*/ 467438 h 467494"/>
                <a:gd name="connsiteX8" fmla="*/ 12336 w 848849"/>
                <a:gd name="connsiteY8" fmla="*/ 467438 h 467494"/>
                <a:gd name="connsiteX9" fmla="*/ 831482 w 848849"/>
                <a:gd name="connsiteY9" fmla="*/ 28863 h 467494"/>
                <a:gd name="connsiteX10" fmla="*/ 831482 w 848849"/>
                <a:gd name="connsiteY10" fmla="*/ 28863 h 467494"/>
                <a:gd name="connsiteX11" fmla="*/ 832482 w 848849"/>
                <a:gd name="connsiteY11" fmla="*/ 26864 h 467494"/>
                <a:gd name="connsiteX12" fmla="*/ 833232 w 848849"/>
                <a:gd name="connsiteY12" fmla="*/ 25490 h 467494"/>
                <a:gd name="connsiteX13" fmla="*/ 833232 w 848849"/>
                <a:gd name="connsiteY13" fmla="*/ 25490 h 467494"/>
                <a:gd name="connsiteX14" fmla="*/ 834856 w 848849"/>
                <a:gd name="connsiteY14" fmla="*/ 24115 h 467494"/>
                <a:gd name="connsiteX15" fmla="*/ 836105 w 848849"/>
                <a:gd name="connsiteY15" fmla="*/ 23116 h 467494"/>
                <a:gd name="connsiteX16" fmla="*/ 837605 w 848849"/>
                <a:gd name="connsiteY16" fmla="*/ 23116 h 467494"/>
                <a:gd name="connsiteX17" fmla="*/ 839604 w 848849"/>
                <a:gd name="connsiteY17" fmla="*/ 23116 h 467494"/>
                <a:gd name="connsiteX18" fmla="*/ 839604 w 848849"/>
                <a:gd name="connsiteY18" fmla="*/ 23116 h 467494"/>
                <a:gd name="connsiteX19" fmla="*/ 840729 w 848849"/>
                <a:gd name="connsiteY19" fmla="*/ 23116 h 467494"/>
                <a:gd name="connsiteX20" fmla="*/ 842478 w 848849"/>
                <a:gd name="connsiteY20" fmla="*/ 23116 h 467494"/>
                <a:gd name="connsiteX21" fmla="*/ 848850 w 848849"/>
                <a:gd name="connsiteY21" fmla="*/ 19742 h 467494"/>
                <a:gd name="connsiteX22" fmla="*/ 837617 w 848849"/>
                <a:gd name="connsiteY22" fmla="*/ 15994 h 467494"/>
                <a:gd name="connsiteX23" fmla="*/ 836980 w 848849"/>
                <a:gd name="connsiteY23" fmla="*/ 14244 h 467494"/>
                <a:gd name="connsiteX24" fmla="*/ 841478 w 848849"/>
                <a:gd name="connsiteY24" fmla="*/ 0 h 467494"/>
                <a:gd name="connsiteX25" fmla="*/ 10212 w 848849"/>
                <a:gd name="connsiteY25" fmla="*/ 445073 h 467494"/>
                <a:gd name="connsiteX26" fmla="*/ 4465 w 848849"/>
                <a:gd name="connsiteY26" fmla="*/ 448071 h 467494"/>
                <a:gd name="connsiteX27" fmla="*/ 716 w 848849"/>
                <a:gd name="connsiteY27" fmla="*/ 461816 h 46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48849" h="467494">
                  <a:moveTo>
                    <a:pt x="716" y="461816"/>
                  </a:moveTo>
                  <a:cubicBezTo>
                    <a:pt x="1154" y="463028"/>
                    <a:pt x="1841" y="464127"/>
                    <a:pt x="2716" y="465064"/>
                  </a:cubicBezTo>
                  <a:cubicBezTo>
                    <a:pt x="3165" y="465627"/>
                    <a:pt x="3715" y="466089"/>
                    <a:pt x="4340" y="466439"/>
                  </a:cubicBezTo>
                  <a:cubicBezTo>
                    <a:pt x="4702" y="466839"/>
                    <a:pt x="5127" y="467176"/>
                    <a:pt x="5589" y="467438"/>
                  </a:cubicBezTo>
                  <a:cubicBezTo>
                    <a:pt x="6177" y="467514"/>
                    <a:pt x="6764" y="467514"/>
                    <a:pt x="7338" y="467438"/>
                  </a:cubicBezTo>
                  <a:cubicBezTo>
                    <a:pt x="7876" y="467514"/>
                    <a:pt x="8426" y="467514"/>
                    <a:pt x="8963" y="467438"/>
                  </a:cubicBezTo>
                  <a:lnTo>
                    <a:pt x="10462" y="467438"/>
                  </a:lnTo>
                  <a:lnTo>
                    <a:pt x="12336" y="467438"/>
                  </a:lnTo>
                  <a:lnTo>
                    <a:pt x="12336" y="467438"/>
                  </a:lnTo>
                  <a:lnTo>
                    <a:pt x="831482" y="28863"/>
                  </a:lnTo>
                  <a:lnTo>
                    <a:pt x="831482" y="28863"/>
                  </a:lnTo>
                  <a:cubicBezTo>
                    <a:pt x="831745" y="28164"/>
                    <a:pt x="832070" y="27489"/>
                    <a:pt x="832482" y="26864"/>
                  </a:cubicBezTo>
                  <a:cubicBezTo>
                    <a:pt x="832657" y="26364"/>
                    <a:pt x="832907" y="25902"/>
                    <a:pt x="833232" y="25490"/>
                  </a:cubicBezTo>
                  <a:lnTo>
                    <a:pt x="833232" y="25490"/>
                  </a:lnTo>
                  <a:cubicBezTo>
                    <a:pt x="833706" y="24965"/>
                    <a:pt x="834256" y="24503"/>
                    <a:pt x="834856" y="24115"/>
                  </a:cubicBezTo>
                  <a:lnTo>
                    <a:pt x="836105" y="23116"/>
                  </a:lnTo>
                  <a:lnTo>
                    <a:pt x="837605" y="23116"/>
                  </a:lnTo>
                  <a:cubicBezTo>
                    <a:pt x="838267" y="23041"/>
                    <a:pt x="838942" y="23041"/>
                    <a:pt x="839604" y="23116"/>
                  </a:cubicBezTo>
                  <a:lnTo>
                    <a:pt x="839604" y="23116"/>
                  </a:lnTo>
                  <a:cubicBezTo>
                    <a:pt x="839979" y="23166"/>
                    <a:pt x="840354" y="23166"/>
                    <a:pt x="840729" y="23116"/>
                  </a:cubicBezTo>
                  <a:cubicBezTo>
                    <a:pt x="841316" y="23041"/>
                    <a:pt x="841903" y="23041"/>
                    <a:pt x="842478" y="23116"/>
                  </a:cubicBezTo>
                  <a:lnTo>
                    <a:pt x="848850" y="19742"/>
                  </a:lnTo>
                  <a:cubicBezTo>
                    <a:pt x="844714" y="21804"/>
                    <a:pt x="839691" y="20129"/>
                    <a:pt x="837617" y="15994"/>
                  </a:cubicBezTo>
                  <a:cubicBezTo>
                    <a:pt x="837343" y="15431"/>
                    <a:pt x="837130" y="14844"/>
                    <a:pt x="836980" y="14244"/>
                  </a:cubicBezTo>
                  <a:cubicBezTo>
                    <a:pt x="834881" y="9034"/>
                    <a:pt x="836768" y="3061"/>
                    <a:pt x="841478" y="0"/>
                  </a:cubicBezTo>
                  <a:lnTo>
                    <a:pt x="10212" y="445073"/>
                  </a:lnTo>
                  <a:lnTo>
                    <a:pt x="4465" y="448071"/>
                  </a:lnTo>
                  <a:cubicBezTo>
                    <a:pt x="467" y="451420"/>
                    <a:pt x="-1020" y="456905"/>
                    <a:pt x="716" y="461816"/>
                  </a:cubicBezTo>
                  <a:close/>
                </a:path>
              </a:pathLst>
            </a:custGeom>
            <a:solidFill>
              <a:srgbClr val="000000"/>
            </a:solidFill>
            <a:ln w="12483" cap="flat">
              <a:noFill/>
              <a:prstDash val="solid"/>
              <a:miter/>
            </a:ln>
          </p:spPr>
          <p:txBody>
            <a:bodyPr rtlCol="0" anchor="ctr"/>
            <a:lstStyle/>
            <a:p>
              <a:endParaRPr lang="en-US"/>
            </a:p>
          </p:txBody>
        </p:sp>
        <p:sp>
          <p:nvSpPr>
            <p:cNvPr id="1749" name="Freeform: Shape 1748">
              <a:extLst>
                <a:ext uri="{FF2B5EF4-FFF2-40B4-BE49-F238E27FC236}">
                  <a16:creationId xmlns:a16="http://schemas.microsoft.com/office/drawing/2014/main" id="{68D86EF0-5D61-4B69-9E79-D831B0A957E6}"/>
                </a:ext>
              </a:extLst>
            </p:cNvPr>
            <p:cNvSpPr/>
            <p:nvPr/>
          </p:nvSpPr>
          <p:spPr>
            <a:xfrm>
              <a:off x="11355749" y="3222968"/>
              <a:ext cx="17325" cy="28992"/>
            </a:xfrm>
            <a:custGeom>
              <a:avLst/>
              <a:gdLst>
                <a:gd name="connsiteX0" fmla="*/ 17243 w 17325"/>
                <a:gd name="connsiteY0" fmla="*/ 22620 h 28992"/>
                <a:gd name="connsiteX1" fmla="*/ 17243 w 17325"/>
                <a:gd name="connsiteY1" fmla="*/ 17622 h 28992"/>
                <a:gd name="connsiteX2" fmla="*/ 17243 w 17325"/>
                <a:gd name="connsiteY2" fmla="*/ 11499 h 28992"/>
                <a:gd name="connsiteX3" fmla="*/ 8871 w 17325"/>
                <a:gd name="connsiteY3" fmla="*/ 4 h 28992"/>
                <a:gd name="connsiteX4" fmla="*/ 0 w 17325"/>
                <a:gd name="connsiteY4" fmla="*/ 6751 h 28992"/>
                <a:gd name="connsiteX5" fmla="*/ 13244 w 17325"/>
                <a:gd name="connsiteY5" fmla="*/ 21246 h 28992"/>
                <a:gd name="connsiteX6" fmla="*/ 13244 w 17325"/>
                <a:gd name="connsiteY6" fmla="*/ 21246 h 28992"/>
                <a:gd name="connsiteX7" fmla="*/ 14244 w 17325"/>
                <a:gd name="connsiteY7" fmla="*/ 23120 h 28992"/>
                <a:gd name="connsiteX8" fmla="*/ 15118 w 17325"/>
                <a:gd name="connsiteY8" fmla="*/ 24744 h 28992"/>
                <a:gd name="connsiteX9" fmla="*/ 15118 w 17325"/>
                <a:gd name="connsiteY9" fmla="*/ 26743 h 28992"/>
                <a:gd name="connsiteX10" fmla="*/ 15118 w 17325"/>
                <a:gd name="connsiteY10" fmla="*/ 28992 h 28992"/>
                <a:gd name="connsiteX11" fmla="*/ 15118 w 17325"/>
                <a:gd name="connsiteY11" fmla="*/ 28992 h 2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25" h="28992">
                  <a:moveTo>
                    <a:pt x="17243" y="22620"/>
                  </a:moveTo>
                  <a:lnTo>
                    <a:pt x="17243" y="17622"/>
                  </a:lnTo>
                  <a:lnTo>
                    <a:pt x="17243" y="11499"/>
                  </a:lnTo>
                  <a:cubicBezTo>
                    <a:pt x="17930" y="6052"/>
                    <a:pt x="14269" y="1016"/>
                    <a:pt x="8871" y="4"/>
                  </a:cubicBezTo>
                  <a:cubicBezTo>
                    <a:pt x="4698" y="-121"/>
                    <a:pt x="999" y="2690"/>
                    <a:pt x="0" y="6751"/>
                  </a:cubicBezTo>
                  <a:lnTo>
                    <a:pt x="13244" y="21246"/>
                  </a:lnTo>
                  <a:lnTo>
                    <a:pt x="13244" y="21246"/>
                  </a:lnTo>
                  <a:cubicBezTo>
                    <a:pt x="13632" y="21845"/>
                    <a:pt x="13957" y="22470"/>
                    <a:pt x="14244" y="23120"/>
                  </a:cubicBezTo>
                  <a:cubicBezTo>
                    <a:pt x="14581" y="23632"/>
                    <a:pt x="14881" y="24182"/>
                    <a:pt x="15118" y="24744"/>
                  </a:cubicBezTo>
                  <a:cubicBezTo>
                    <a:pt x="15193" y="25406"/>
                    <a:pt x="15193" y="26081"/>
                    <a:pt x="15118" y="26743"/>
                  </a:cubicBezTo>
                  <a:cubicBezTo>
                    <a:pt x="15181" y="27493"/>
                    <a:pt x="15181" y="28243"/>
                    <a:pt x="15118" y="28992"/>
                  </a:cubicBezTo>
                  <a:cubicBezTo>
                    <a:pt x="15118" y="28992"/>
                    <a:pt x="15118" y="28992"/>
                    <a:pt x="15118" y="28992"/>
                  </a:cubicBezTo>
                  <a:close/>
                </a:path>
              </a:pathLst>
            </a:custGeom>
            <a:solidFill>
              <a:srgbClr val="000000"/>
            </a:solidFill>
            <a:ln w="12483" cap="flat">
              <a:noFill/>
              <a:prstDash val="solid"/>
              <a:miter/>
            </a:ln>
          </p:spPr>
          <p:txBody>
            <a:bodyPr rtlCol="0" anchor="ctr"/>
            <a:lstStyle/>
            <a:p>
              <a:endParaRPr lang="en-US"/>
            </a:p>
          </p:txBody>
        </p:sp>
        <p:sp>
          <p:nvSpPr>
            <p:cNvPr id="1750" name="Freeform: Shape 1749">
              <a:extLst>
                <a:ext uri="{FF2B5EF4-FFF2-40B4-BE49-F238E27FC236}">
                  <a16:creationId xmlns:a16="http://schemas.microsoft.com/office/drawing/2014/main" id="{58284EBA-5428-4802-B6C5-517818F4C918}"/>
                </a:ext>
              </a:extLst>
            </p:cNvPr>
            <p:cNvSpPr/>
            <p:nvPr/>
          </p:nvSpPr>
          <p:spPr>
            <a:xfrm>
              <a:off x="11333508" y="3252585"/>
              <a:ext cx="38108" cy="389857"/>
            </a:xfrm>
            <a:custGeom>
              <a:avLst/>
              <a:gdLst>
                <a:gd name="connsiteX0" fmla="*/ 250 w 38108"/>
                <a:gd name="connsiteY0" fmla="*/ 378349 h 389857"/>
                <a:gd name="connsiteX1" fmla="*/ 8621 w 38108"/>
                <a:gd name="connsiteY1" fmla="*/ 389845 h 389857"/>
                <a:gd name="connsiteX2" fmla="*/ 13994 w 38108"/>
                <a:gd name="connsiteY2" fmla="*/ 388095 h 389857"/>
                <a:gd name="connsiteX3" fmla="*/ 15493 w 38108"/>
                <a:gd name="connsiteY3" fmla="*/ 386721 h 389857"/>
                <a:gd name="connsiteX4" fmla="*/ 16493 w 38108"/>
                <a:gd name="connsiteY4" fmla="*/ 385096 h 389857"/>
                <a:gd name="connsiteX5" fmla="*/ 17367 w 38108"/>
                <a:gd name="connsiteY5" fmla="*/ 383347 h 389857"/>
                <a:gd name="connsiteX6" fmla="*/ 17367 w 38108"/>
                <a:gd name="connsiteY6" fmla="*/ 381223 h 389857"/>
                <a:gd name="connsiteX7" fmla="*/ 17367 w 38108"/>
                <a:gd name="connsiteY7" fmla="*/ 379724 h 389857"/>
                <a:gd name="connsiteX8" fmla="*/ 18367 w 38108"/>
                <a:gd name="connsiteY8" fmla="*/ 361731 h 389857"/>
                <a:gd name="connsiteX9" fmla="*/ 38108 w 38108"/>
                <a:gd name="connsiteY9" fmla="*/ 0 h 389857"/>
                <a:gd name="connsiteX10" fmla="*/ 38108 w 38108"/>
                <a:gd name="connsiteY10" fmla="*/ 0 h 389857"/>
                <a:gd name="connsiteX11" fmla="*/ 35859 w 38108"/>
                <a:gd name="connsiteY11" fmla="*/ 7122 h 389857"/>
                <a:gd name="connsiteX12" fmla="*/ 24714 w 38108"/>
                <a:gd name="connsiteY12" fmla="*/ 9071 h 389857"/>
                <a:gd name="connsiteX13" fmla="*/ 23365 w 38108"/>
                <a:gd name="connsiteY13" fmla="*/ 7872 h 389857"/>
                <a:gd name="connsiteX14" fmla="*/ 20241 w 38108"/>
                <a:gd name="connsiteY14" fmla="*/ 4248 h 389857"/>
                <a:gd name="connsiteX15" fmla="*/ 0 w 38108"/>
                <a:gd name="connsiteY15" fmla="*/ 372352 h 3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08" h="389857">
                  <a:moveTo>
                    <a:pt x="250" y="378349"/>
                  </a:moveTo>
                  <a:cubicBezTo>
                    <a:pt x="-437" y="383797"/>
                    <a:pt x="3224" y="388833"/>
                    <a:pt x="8621" y="389845"/>
                  </a:cubicBezTo>
                  <a:cubicBezTo>
                    <a:pt x="10571" y="389957"/>
                    <a:pt x="12482" y="389332"/>
                    <a:pt x="13994" y="388095"/>
                  </a:cubicBezTo>
                  <a:cubicBezTo>
                    <a:pt x="14556" y="387708"/>
                    <a:pt x="15056" y="387246"/>
                    <a:pt x="15493" y="386721"/>
                  </a:cubicBezTo>
                  <a:cubicBezTo>
                    <a:pt x="15893" y="386221"/>
                    <a:pt x="16230" y="385684"/>
                    <a:pt x="16493" y="385096"/>
                  </a:cubicBezTo>
                  <a:cubicBezTo>
                    <a:pt x="16855" y="384559"/>
                    <a:pt x="17155" y="383959"/>
                    <a:pt x="17367" y="383347"/>
                  </a:cubicBezTo>
                  <a:cubicBezTo>
                    <a:pt x="17442" y="382635"/>
                    <a:pt x="17442" y="381935"/>
                    <a:pt x="17367" y="381223"/>
                  </a:cubicBezTo>
                  <a:cubicBezTo>
                    <a:pt x="17430" y="380723"/>
                    <a:pt x="17430" y="380223"/>
                    <a:pt x="17367" y="379724"/>
                  </a:cubicBezTo>
                  <a:lnTo>
                    <a:pt x="18367" y="361731"/>
                  </a:lnTo>
                  <a:lnTo>
                    <a:pt x="38108" y="0"/>
                  </a:lnTo>
                  <a:cubicBezTo>
                    <a:pt x="38108" y="0"/>
                    <a:pt x="38108" y="0"/>
                    <a:pt x="38108" y="0"/>
                  </a:cubicBezTo>
                  <a:cubicBezTo>
                    <a:pt x="38108" y="2549"/>
                    <a:pt x="37321" y="5035"/>
                    <a:pt x="35859" y="7122"/>
                  </a:cubicBezTo>
                  <a:cubicBezTo>
                    <a:pt x="33323" y="10733"/>
                    <a:pt x="28338" y="11608"/>
                    <a:pt x="24714" y="9071"/>
                  </a:cubicBezTo>
                  <a:cubicBezTo>
                    <a:pt x="24227" y="8721"/>
                    <a:pt x="23765" y="8322"/>
                    <a:pt x="23365" y="7872"/>
                  </a:cubicBezTo>
                  <a:lnTo>
                    <a:pt x="20241" y="4248"/>
                  </a:lnTo>
                  <a:lnTo>
                    <a:pt x="0" y="372352"/>
                  </a:lnTo>
                  <a:close/>
                </a:path>
              </a:pathLst>
            </a:custGeom>
            <a:solidFill>
              <a:srgbClr val="000000"/>
            </a:solidFill>
            <a:ln w="12483" cap="flat">
              <a:noFill/>
              <a:prstDash val="solid"/>
              <a:miter/>
            </a:ln>
          </p:spPr>
          <p:txBody>
            <a:bodyPr rtlCol="0" anchor="ctr"/>
            <a:lstStyle/>
            <a:p>
              <a:endParaRPr lang="en-US"/>
            </a:p>
          </p:txBody>
        </p:sp>
        <p:sp>
          <p:nvSpPr>
            <p:cNvPr id="1751" name="Freeform: Shape 1750">
              <a:extLst>
                <a:ext uri="{FF2B5EF4-FFF2-40B4-BE49-F238E27FC236}">
                  <a16:creationId xmlns:a16="http://schemas.microsoft.com/office/drawing/2014/main" id="{C8A311D3-79AA-4C92-A100-854235FF383B}"/>
                </a:ext>
              </a:extLst>
            </p:cNvPr>
            <p:cNvSpPr/>
            <p:nvPr/>
          </p:nvSpPr>
          <p:spPr>
            <a:xfrm>
              <a:off x="9855741" y="5668996"/>
              <a:ext cx="18897" cy="62350"/>
            </a:xfrm>
            <a:custGeom>
              <a:avLst/>
              <a:gdLst>
                <a:gd name="connsiteX0" fmla="*/ 18898 w 18897"/>
                <a:gd name="connsiteY0" fmla="*/ 51355 h 62350"/>
                <a:gd name="connsiteX1" fmla="*/ 18023 w 18897"/>
                <a:gd name="connsiteY1" fmla="*/ 0 h 62350"/>
                <a:gd name="connsiteX2" fmla="*/ 9152 w 18897"/>
                <a:gd name="connsiteY2" fmla="*/ 11121 h 62350"/>
                <a:gd name="connsiteX3" fmla="*/ 31 w 18897"/>
                <a:gd name="connsiteY3" fmla="*/ 500 h 62350"/>
                <a:gd name="connsiteX4" fmla="*/ 31 w 18897"/>
                <a:gd name="connsiteY4" fmla="*/ 4498 h 62350"/>
                <a:gd name="connsiteX5" fmla="*/ 31 w 18897"/>
                <a:gd name="connsiteY5" fmla="*/ 35861 h 62350"/>
                <a:gd name="connsiteX6" fmla="*/ 31 w 18897"/>
                <a:gd name="connsiteY6" fmla="*/ 41858 h 62350"/>
                <a:gd name="connsiteX7" fmla="*/ 31 w 18897"/>
                <a:gd name="connsiteY7" fmla="*/ 51855 h 62350"/>
                <a:gd name="connsiteX8" fmla="*/ 8977 w 18897"/>
                <a:gd name="connsiteY8" fmla="*/ 62338 h 62350"/>
                <a:gd name="connsiteX9" fmla="*/ 9152 w 18897"/>
                <a:gd name="connsiteY9" fmla="*/ 62350 h 62350"/>
                <a:gd name="connsiteX10" fmla="*/ 13525 w 18897"/>
                <a:gd name="connsiteY10" fmla="*/ 60726 h 62350"/>
                <a:gd name="connsiteX11" fmla="*/ 15899 w 18897"/>
                <a:gd name="connsiteY11" fmla="*/ 58227 h 62350"/>
                <a:gd name="connsiteX12" fmla="*/ 18898 w 18897"/>
                <a:gd name="connsiteY12" fmla="*/ 51355 h 6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97" h="62350">
                  <a:moveTo>
                    <a:pt x="18898" y="51355"/>
                  </a:moveTo>
                  <a:lnTo>
                    <a:pt x="18023" y="0"/>
                  </a:lnTo>
                  <a:cubicBezTo>
                    <a:pt x="18536" y="5486"/>
                    <a:pt x="14625" y="10408"/>
                    <a:pt x="9152" y="11121"/>
                  </a:cubicBezTo>
                  <a:cubicBezTo>
                    <a:pt x="3730" y="10659"/>
                    <a:pt x="-331" y="5935"/>
                    <a:pt x="31" y="500"/>
                  </a:cubicBezTo>
                  <a:lnTo>
                    <a:pt x="31" y="4498"/>
                  </a:lnTo>
                  <a:lnTo>
                    <a:pt x="31" y="35861"/>
                  </a:lnTo>
                  <a:lnTo>
                    <a:pt x="31" y="41858"/>
                  </a:lnTo>
                  <a:lnTo>
                    <a:pt x="31" y="51855"/>
                  </a:lnTo>
                  <a:cubicBezTo>
                    <a:pt x="-394" y="57215"/>
                    <a:pt x="3617" y="61913"/>
                    <a:pt x="8977" y="62338"/>
                  </a:cubicBezTo>
                  <a:cubicBezTo>
                    <a:pt x="9040" y="62338"/>
                    <a:pt x="9090" y="62350"/>
                    <a:pt x="9152" y="62350"/>
                  </a:cubicBezTo>
                  <a:cubicBezTo>
                    <a:pt x="10739" y="62263"/>
                    <a:pt x="12263" y="61701"/>
                    <a:pt x="13525" y="60726"/>
                  </a:cubicBezTo>
                  <a:cubicBezTo>
                    <a:pt x="14462" y="60051"/>
                    <a:pt x="15274" y="59201"/>
                    <a:pt x="15899" y="58227"/>
                  </a:cubicBezTo>
                  <a:cubicBezTo>
                    <a:pt x="17624" y="56328"/>
                    <a:pt x="18673" y="53916"/>
                    <a:pt x="18898" y="51355"/>
                  </a:cubicBezTo>
                  <a:close/>
                </a:path>
              </a:pathLst>
            </a:custGeom>
            <a:solidFill>
              <a:srgbClr val="000000"/>
            </a:solidFill>
            <a:ln w="12483" cap="flat">
              <a:noFill/>
              <a:prstDash val="solid"/>
              <a:miter/>
            </a:ln>
          </p:spPr>
          <p:txBody>
            <a:bodyPr rtlCol="0" anchor="ctr"/>
            <a:lstStyle/>
            <a:p>
              <a:endParaRPr lang="en-US"/>
            </a:p>
          </p:txBody>
        </p:sp>
        <p:sp>
          <p:nvSpPr>
            <p:cNvPr id="1752" name="Freeform: Shape 1751">
              <a:extLst>
                <a:ext uri="{FF2B5EF4-FFF2-40B4-BE49-F238E27FC236}">
                  <a16:creationId xmlns:a16="http://schemas.microsoft.com/office/drawing/2014/main" id="{1E68727E-ED52-43DA-A97C-F22568697906}"/>
                </a:ext>
              </a:extLst>
            </p:cNvPr>
            <p:cNvSpPr/>
            <p:nvPr/>
          </p:nvSpPr>
          <p:spPr>
            <a:xfrm>
              <a:off x="12012840" y="3668419"/>
              <a:ext cx="43994" cy="298006"/>
            </a:xfrm>
            <a:custGeom>
              <a:avLst/>
              <a:gdLst>
                <a:gd name="connsiteX0" fmla="*/ 34110 w 43994"/>
                <a:gd name="connsiteY0" fmla="*/ 12495 h 298006"/>
                <a:gd name="connsiteX1" fmla="*/ 26114 w 43994"/>
                <a:gd name="connsiteY1" fmla="*/ 0 h 298006"/>
                <a:gd name="connsiteX2" fmla="*/ 0 w 43994"/>
                <a:gd name="connsiteY2" fmla="*/ 298006 h 298006"/>
                <a:gd name="connsiteX3" fmla="*/ 4623 w 43994"/>
                <a:gd name="connsiteY3" fmla="*/ 295382 h 298006"/>
                <a:gd name="connsiteX4" fmla="*/ 16118 w 43994"/>
                <a:gd name="connsiteY4" fmla="*/ 288885 h 298006"/>
                <a:gd name="connsiteX5" fmla="*/ 18992 w 43994"/>
                <a:gd name="connsiteY5" fmla="*/ 288010 h 298006"/>
                <a:gd name="connsiteX6" fmla="*/ 43981 w 43994"/>
                <a:gd name="connsiteY6" fmla="*/ 2499 h 298006"/>
                <a:gd name="connsiteX7" fmla="*/ 35010 w 43994"/>
                <a:gd name="connsiteY7" fmla="*/ 12495 h 298006"/>
                <a:gd name="connsiteX8" fmla="*/ 34110 w 43994"/>
                <a:gd name="connsiteY8" fmla="*/ 12495 h 2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4" h="298006">
                  <a:moveTo>
                    <a:pt x="34110" y="12495"/>
                  </a:moveTo>
                  <a:cubicBezTo>
                    <a:pt x="28500" y="11195"/>
                    <a:pt x="24952" y="5648"/>
                    <a:pt x="26114" y="0"/>
                  </a:cubicBezTo>
                  <a:lnTo>
                    <a:pt x="0" y="298006"/>
                  </a:lnTo>
                  <a:lnTo>
                    <a:pt x="4623" y="295382"/>
                  </a:lnTo>
                  <a:lnTo>
                    <a:pt x="16118" y="288885"/>
                  </a:lnTo>
                  <a:cubicBezTo>
                    <a:pt x="17005" y="288410"/>
                    <a:pt x="17980" y="288110"/>
                    <a:pt x="18992" y="288010"/>
                  </a:cubicBezTo>
                  <a:lnTo>
                    <a:pt x="43981" y="2499"/>
                  </a:lnTo>
                  <a:cubicBezTo>
                    <a:pt x="44256" y="7734"/>
                    <a:pt x="40245" y="12208"/>
                    <a:pt x="35010" y="12495"/>
                  </a:cubicBezTo>
                  <a:cubicBezTo>
                    <a:pt x="34710" y="12508"/>
                    <a:pt x="34410" y="12508"/>
                    <a:pt x="34110" y="12495"/>
                  </a:cubicBezTo>
                  <a:close/>
                </a:path>
              </a:pathLst>
            </a:custGeom>
            <a:solidFill>
              <a:srgbClr val="000000"/>
            </a:solidFill>
            <a:ln w="12483" cap="flat">
              <a:noFill/>
              <a:prstDash val="solid"/>
              <a:miter/>
            </a:ln>
          </p:spPr>
          <p:txBody>
            <a:bodyPr rtlCol="0" anchor="ctr"/>
            <a:lstStyle/>
            <a:p>
              <a:endParaRPr lang="en-US"/>
            </a:p>
          </p:txBody>
        </p:sp>
        <p:sp>
          <p:nvSpPr>
            <p:cNvPr id="1753" name="Freeform: Shape 1752">
              <a:extLst>
                <a:ext uri="{FF2B5EF4-FFF2-40B4-BE49-F238E27FC236}">
                  <a16:creationId xmlns:a16="http://schemas.microsoft.com/office/drawing/2014/main" id="{C095AC4D-175A-4919-B069-3FED2C25F6C0}"/>
                </a:ext>
              </a:extLst>
            </p:cNvPr>
            <p:cNvSpPr/>
            <p:nvPr/>
          </p:nvSpPr>
          <p:spPr>
            <a:xfrm>
              <a:off x="10877955" y="6634111"/>
              <a:ext cx="2998" cy="1874"/>
            </a:xfrm>
            <a:custGeom>
              <a:avLst/>
              <a:gdLst>
                <a:gd name="connsiteX0" fmla="*/ 0 w 2998"/>
                <a:gd name="connsiteY0" fmla="*/ 1874 h 1874"/>
                <a:gd name="connsiteX1" fmla="*/ 2999 w 2998"/>
                <a:gd name="connsiteY1" fmla="*/ 0 h 1874"/>
                <a:gd name="connsiteX2" fmla="*/ 0 w 2998"/>
                <a:gd name="connsiteY2" fmla="*/ 999 h 1874"/>
              </a:gdLst>
              <a:ahLst/>
              <a:cxnLst>
                <a:cxn ang="0">
                  <a:pos x="connsiteX0" y="connsiteY0"/>
                </a:cxn>
                <a:cxn ang="0">
                  <a:pos x="connsiteX1" y="connsiteY1"/>
                </a:cxn>
                <a:cxn ang="0">
                  <a:pos x="connsiteX2" y="connsiteY2"/>
                </a:cxn>
              </a:cxnLst>
              <a:rect l="l" t="t" r="r" b="b"/>
              <a:pathLst>
                <a:path w="2998" h="1874">
                  <a:moveTo>
                    <a:pt x="0" y="1874"/>
                  </a:moveTo>
                  <a:lnTo>
                    <a:pt x="2999" y="0"/>
                  </a:lnTo>
                  <a:cubicBezTo>
                    <a:pt x="2087" y="550"/>
                    <a:pt x="1062" y="900"/>
                    <a:pt x="0" y="999"/>
                  </a:cubicBezTo>
                  <a:close/>
                </a:path>
              </a:pathLst>
            </a:custGeom>
            <a:solidFill>
              <a:srgbClr val="000000"/>
            </a:solidFill>
            <a:ln w="12483" cap="flat">
              <a:noFill/>
              <a:prstDash val="solid"/>
              <a:miter/>
            </a:ln>
          </p:spPr>
          <p:txBody>
            <a:bodyPr rtlCol="0" anchor="ctr"/>
            <a:lstStyle/>
            <a:p>
              <a:endParaRPr lang="en-US"/>
            </a:p>
          </p:txBody>
        </p:sp>
        <p:sp>
          <p:nvSpPr>
            <p:cNvPr id="1754" name="Freeform: Shape 1753">
              <a:extLst>
                <a:ext uri="{FF2B5EF4-FFF2-40B4-BE49-F238E27FC236}">
                  <a16:creationId xmlns:a16="http://schemas.microsoft.com/office/drawing/2014/main" id="{C7E5A41D-F96A-42A2-B447-2EC9F1B8C041}"/>
                </a:ext>
              </a:extLst>
            </p:cNvPr>
            <p:cNvSpPr/>
            <p:nvPr/>
          </p:nvSpPr>
          <p:spPr>
            <a:xfrm>
              <a:off x="10462759" y="6614869"/>
              <a:ext cx="412072" cy="257397"/>
            </a:xfrm>
            <a:custGeom>
              <a:avLst/>
              <a:gdLst>
                <a:gd name="connsiteX0" fmla="*/ 412072 w 412072"/>
                <a:gd name="connsiteY0" fmla="*/ 19992 h 257397"/>
                <a:gd name="connsiteX1" fmla="*/ 406075 w 412072"/>
                <a:gd name="connsiteY1" fmla="*/ 14619 h 257397"/>
                <a:gd name="connsiteX2" fmla="*/ 409823 w 412072"/>
                <a:gd name="connsiteY2" fmla="*/ 0 h 257397"/>
                <a:gd name="connsiteX3" fmla="*/ 0 w 412072"/>
                <a:gd name="connsiteY3" fmla="*/ 257397 h 257397"/>
                <a:gd name="connsiteX4" fmla="*/ 38858 w 412072"/>
                <a:gd name="connsiteY4" fmla="*/ 257397 h 257397"/>
                <a:gd name="connsiteX5" fmla="*/ 411947 w 412072"/>
                <a:gd name="connsiteY5" fmla="*/ 23116 h 25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072" h="257397">
                  <a:moveTo>
                    <a:pt x="412072" y="19992"/>
                  </a:moveTo>
                  <a:cubicBezTo>
                    <a:pt x="409348" y="19230"/>
                    <a:pt x="407136" y="17243"/>
                    <a:pt x="406075" y="14619"/>
                  </a:cubicBezTo>
                  <a:cubicBezTo>
                    <a:pt x="403913" y="9459"/>
                    <a:pt x="405437" y="3486"/>
                    <a:pt x="409823" y="0"/>
                  </a:cubicBezTo>
                  <a:lnTo>
                    <a:pt x="0" y="257397"/>
                  </a:lnTo>
                  <a:lnTo>
                    <a:pt x="38858" y="257397"/>
                  </a:lnTo>
                  <a:lnTo>
                    <a:pt x="411947" y="23116"/>
                  </a:lnTo>
                  <a:close/>
                </a:path>
              </a:pathLst>
            </a:custGeom>
            <a:solidFill>
              <a:srgbClr val="000000"/>
            </a:solidFill>
            <a:ln w="12483" cap="flat">
              <a:noFill/>
              <a:prstDash val="solid"/>
              <a:miter/>
            </a:ln>
          </p:spPr>
          <p:txBody>
            <a:bodyPr rtlCol="0" anchor="ctr"/>
            <a:lstStyle/>
            <a:p>
              <a:endParaRPr lang="en-US"/>
            </a:p>
          </p:txBody>
        </p:sp>
        <p:sp>
          <p:nvSpPr>
            <p:cNvPr id="1755" name="Freeform: Shape 1754">
              <a:extLst>
                <a:ext uri="{FF2B5EF4-FFF2-40B4-BE49-F238E27FC236}">
                  <a16:creationId xmlns:a16="http://schemas.microsoft.com/office/drawing/2014/main" id="{A5CCC599-01F1-467D-B6FA-914EF175045C}"/>
                </a:ext>
              </a:extLst>
            </p:cNvPr>
            <p:cNvSpPr/>
            <p:nvPr/>
          </p:nvSpPr>
          <p:spPr>
            <a:xfrm>
              <a:off x="10867861" y="6485186"/>
              <a:ext cx="222954" cy="150174"/>
            </a:xfrm>
            <a:custGeom>
              <a:avLst/>
              <a:gdLst>
                <a:gd name="connsiteX0" fmla="*/ 221752 w 222954"/>
                <a:gd name="connsiteY0" fmla="*/ 5607 h 150174"/>
                <a:gd name="connsiteX1" fmla="*/ 215880 w 222954"/>
                <a:gd name="connsiteY1" fmla="*/ 235 h 150174"/>
                <a:gd name="connsiteX2" fmla="*/ 212631 w 222954"/>
                <a:gd name="connsiteY2" fmla="*/ 235 h 150174"/>
                <a:gd name="connsiteX3" fmla="*/ 209633 w 222954"/>
                <a:gd name="connsiteY3" fmla="*/ 1234 h 150174"/>
                <a:gd name="connsiteX4" fmla="*/ 4721 w 222954"/>
                <a:gd name="connsiteY4" fmla="*/ 129932 h 150174"/>
                <a:gd name="connsiteX5" fmla="*/ 973 w 222954"/>
                <a:gd name="connsiteY5" fmla="*/ 144552 h 150174"/>
                <a:gd name="connsiteX6" fmla="*/ 6970 w 222954"/>
                <a:gd name="connsiteY6" fmla="*/ 149925 h 150174"/>
                <a:gd name="connsiteX7" fmla="*/ 6970 w 222954"/>
                <a:gd name="connsiteY7" fmla="*/ 139429 h 150174"/>
                <a:gd name="connsiteX8" fmla="*/ 8582 w 222954"/>
                <a:gd name="connsiteY8" fmla="*/ 137555 h 150174"/>
                <a:gd name="connsiteX9" fmla="*/ 8594 w 222954"/>
                <a:gd name="connsiteY9" fmla="*/ 137555 h 150174"/>
                <a:gd name="connsiteX10" fmla="*/ 10094 w 222954"/>
                <a:gd name="connsiteY10" fmla="*/ 139679 h 150174"/>
                <a:gd name="connsiteX11" fmla="*/ 10094 w 222954"/>
                <a:gd name="connsiteY11" fmla="*/ 150175 h 150174"/>
                <a:gd name="connsiteX12" fmla="*/ 13092 w 222954"/>
                <a:gd name="connsiteY12" fmla="*/ 149175 h 150174"/>
                <a:gd name="connsiteX13" fmla="*/ 217879 w 222954"/>
                <a:gd name="connsiteY13" fmla="*/ 20476 h 150174"/>
                <a:gd name="connsiteX14" fmla="*/ 218504 w 222954"/>
                <a:gd name="connsiteY14" fmla="*/ 20476 h 150174"/>
                <a:gd name="connsiteX15" fmla="*/ 220878 w 222954"/>
                <a:gd name="connsiteY15" fmla="*/ 17852 h 150174"/>
                <a:gd name="connsiteX16" fmla="*/ 221752 w 222954"/>
                <a:gd name="connsiteY16" fmla="*/ 5607 h 15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2954" h="150174">
                  <a:moveTo>
                    <a:pt x="221752" y="5607"/>
                  </a:moveTo>
                  <a:cubicBezTo>
                    <a:pt x="220715" y="3008"/>
                    <a:pt x="218554" y="1034"/>
                    <a:pt x="215880" y="235"/>
                  </a:cubicBezTo>
                  <a:cubicBezTo>
                    <a:pt x="214818" y="-78"/>
                    <a:pt x="213693" y="-78"/>
                    <a:pt x="212631" y="235"/>
                  </a:cubicBezTo>
                  <a:cubicBezTo>
                    <a:pt x="211569" y="334"/>
                    <a:pt x="210545" y="684"/>
                    <a:pt x="209633" y="1234"/>
                  </a:cubicBezTo>
                  <a:lnTo>
                    <a:pt x="4721" y="129932"/>
                  </a:lnTo>
                  <a:cubicBezTo>
                    <a:pt x="335" y="133419"/>
                    <a:pt x="-1189" y="139391"/>
                    <a:pt x="973" y="144552"/>
                  </a:cubicBezTo>
                  <a:cubicBezTo>
                    <a:pt x="2035" y="147176"/>
                    <a:pt x="4246" y="149162"/>
                    <a:pt x="6970" y="149925"/>
                  </a:cubicBezTo>
                  <a:lnTo>
                    <a:pt x="6970" y="139429"/>
                  </a:lnTo>
                  <a:cubicBezTo>
                    <a:pt x="6895" y="138467"/>
                    <a:pt x="7620" y="137630"/>
                    <a:pt x="8582" y="137555"/>
                  </a:cubicBezTo>
                  <a:cubicBezTo>
                    <a:pt x="8594" y="137555"/>
                    <a:pt x="8594" y="137555"/>
                    <a:pt x="8594" y="137555"/>
                  </a:cubicBezTo>
                  <a:cubicBezTo>
                    <a:pt x="9544" y="137792"/>
                    <a:pt x="10181" y="138692"/>
                    <a:pt x="10094" y="139679"/>
                  </a:cubicBezTo>
                  <a:lnTo>
                    <a:pt x="10094" y="150175"/>
                  </a:lnTo>
                  <a:cubicBezTo>
                    <a:pt x="11156" y="150074"/>
                    <a:pt x="12180" y="149725"/>
                    <a:pt x="13092" y="149175"/>
                  </a:cubicBezTo>
                  <a:lnTo>
                    <a:pt x="217879" y="20476"/>
                  </a:lnTo>
                  <a:lnTo>
                    <a:pt x="218504" y="20476"/>
                  </a:lnTo>
                  <a:cubicBezTo>
                    <a:pt x="219416" y="19714"/>
                    <a:pt x="220215" y="18839"/>
                    <a:pt x="220878" y="17852"/>
                  </a:cubicBezTo>
                  <a:cubicBezTo>
                    <a:pt x="223289" y="14204"/>
                    <a:pt x="223627" y="9556"/>
                    <a:pt x="221752" y="5607"/>
                  </a:cubicBezTo>
                  <a:close/>
                </a:path>
              </a:pathLst>
            </a:custGeom>
            <a:solidFill>
              <a:srgbClr val="000000"/>
            </a:solidFill>
            <a:ln w="12483" cap="flat">
              <a:noFill/>
              <a:prstDash val="solid"/>
              <a:miter/>
            </a:ln>
          </p:spPr>
          <p:txBody>
            <a:bodyPr rtlCol="0" anchor="ctr"/>
            <a:lstStyle/>
            <a:p>
              <a:endParaRPr lang="en-US"/>
            </a:p>
          </p:txBody>
        </p:sp>
        <p:sp>
          <p:nvSpPr>
            <p:cNvPr id="1756" name="Freeform: Shape 1755">
              <a:extLst>
                <a:ext uri="{FF2B5EF4-FFF2-40B4-BE49-F238E27FC236}">
                  <a16:creationId xmlns:a16="http://schemas.microsoft.com/office/drawing/2014/main" id="{946C4B3B-0EF0-4382-94D5-7C8D35EE2815}"/>
                </a:ext>
              </a:extLst>
            </p:cNvPr>
            <p:cNvSpPr/>
            <p:nvPr/>
          </p:nvSpPr>
          <p:spPr>
            <a:xfrm>
              <a:off x="11346499" y="4477721"/>
              <a:ext cx="60690" cy="722336"/>
            </a:xfrm>
            <a:custGeom>
              <a:avLst/>
              <a:gdLst>
                <a:gd name="connsiteX0" fmla="*/ 51731 w 60690"/>
                <a:gd name="connsiteY0" fmla="*/ 0 h 722336"/>
                <a:gd name="connsiteX1" fmla="*/ 42110 w 60690"/>
                <a:gd name="connsiteY1" fmla="*/ 9871 h 722336"/>
                <a:gd name="connsiteX2" fmla="*/ 42110 w 60690"/>
                <a:gd name="connsiteY2" fmla="*/ 9996 h 722336"/>
                <a:gd name="connsiteX3" fmla="*/ 42110 w 60690"/>
                <a:gd name="connsiteY3" fmla="*/ 13995 h 722336"/>
                <a:gd name="connsiteX4" fmla="*/ 42110 w 60690"/>
                <a:gd name="connsiteY4" fmla="*/ 18368 h 722336"/>
                <a:gd name="connsiteX5" fmla="*/ 3 w 60690"/>
                <a:gd name="connsiteY5" fmla="*/ 720838 h 722336"/>
                <a:gd name="connsiteX6" fmla="*/ 9624 w 60690"/>
                <a:gd name="connsiteY6" fmla="*/ 710717 h 722336"/>
                <a:gd name="connsiteX7" fmla="*/ 9624 w 60690"/>
                <a:gd name="connsiteY7" fmla="*/ 710717 h 722336"/>
                <a:gd name="connsiteX8" fmla="*/ 17870 w 60690"/>
                <a:gd name="connsiteY8" fmla="*/ 722337 h 722336"/>
                <a:gd name="connsiteX9" fmla="*/ 60602 w 60690"/>
                <a:gd name="connsiteY9" fmla="*/ 11621 h 722336"/>
                <a:gd name="connsiteX10" fmla="*/ 51731 w 60690"/>
                <a:gd name="connsiteY10" fmla="*/ 0 h 72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690" h="722336">
                  <a:moveTo>
                    <a:pt x="51731" y="0"/>
                  </a:moveTo>
                  <a:cubicBezTo>
                    <a:pt x="46345" y="63"/>
                    <a:pt x="42035" y="4486"/>
                    <a:pt x="42110" y="9871"/>
                  </a:cubicBezTo>
                  <a:cubicBezTo>
                    <a:pt x="42110" y="9909"/>
                    <a:pt x="42110" y="9958"/>
                    <a:pt x="42110" y="9996"/>
                  </a:cubicBezTo>
                  <a:lnTo>
                    <a:pt x="42110" y="13995"/>
                  </a:lnTo>
                  <a:lnTo>
                    <a:pt x="42110" y="18368"/>
                  </a:lnTo>
                  <a:lnTo>
                    <a:pt x="3" y="720838"/>
                  </a:lnTo>
                  <a:cubicBezTo>
                    <a:pt x="-134" y="715390"/>
                    <a:pt x="4164" y="710854"/>
                    <a:pt x="9624" y="710717"/>
                  </a:cubicBezTo>
                  <a:cubicBezTo>
                    <a:pt x="9624" y="710717"/>
                    <a:pt x="9624" y="710717"/>
                    <a:pt x="9624" y="710717"/>
                  </a:cubicBezTo>
                  <a:cubicBezTo>
                    <a:pt x="15022" y="711791"/>
                    <a:pt x="18645" y="716889"/>
                    <a:pt x="17870" y="722337"/>
                  </a:cubicBezTo>
                  <a:lnTo>
                    <a:pt x="60602" y="11621"/>
                  </a:lnTo>
                  <a:cubicBezTo>
                    <a:pt x="61339" y="5973"/>
                    <a:pt x="57378" y="775"/>
                    <a:pt x="51731" y="0"/>
                  </a:cubicBezTo>
                  <a:close/>
                </a:path>
              </a:pathLst>
            </a:custGeom>
            <a:solidFill>
              <a:srgbClr val="000000"/>
            </a:solidFill>
            <a:ln w="12483" cap="flat">
              <a:noFill/>
              <a:prstDash val="solid"/>
              <a:miter/>
            </a:ln>
          </p:spPr>
          <p:txBody>
            <a:bodyPr rtlCol="0" anchor="ctr"/>
            <a:lstStyle/>
            <a:p>
              <a:endParaRPr lang="en-US"/>
            </a:p>
          </p:txBody>
        </p:sp>
        <p:sp>
          <p:nvSpPr>
            <p:cNvPr id="1757" name="Freeform: Shape 1756">
              <a:extLst>
                <a:ext uri="{FF2B5EF4-FFF2-40B4-BE49-F238E27FC236}">
                  <a16:creationId xmlns:a16="http://schemas.microsoft.com/office/drawing/2014/main" id="{F749256F-88F3-46C8-A349-ABCC75C9D35A}"/>
                </a:ext>
              </a:extLst>
            </p:cNvPr>
            <p:cNvSpPr/>
            <p:nvPr/>
          </p:nvSpPr>
          <p:spPr>
            <a:xfrm>
              <a:off x="11343863" y="5188438"/>
              <a:ext cx="19028" cy="53978"/>
            </a:xfrm>
            <a:custGeom>
              <a:avLst/>
              <a:gdLst>
                <a:gd name="connsiteX0" fmla="*/ 11761 w 19028"/>
                <a:gd name="connsiteY0" fmla="*/ 0 h 53978"/>
                <a:gd name="connsiteX1" fmla="*/ 2140 w 19028"/>
                <a:gd name="connsiteY1" fmla="*/ 10109 h 53978"/>
                <a:gd name="connsiteX2" fmla="*/ 2140 w 19028"/>
                <a:gd name="connsiteY2" fmla="*/ 10121 h 53978"/>
                <a:gd name="connsiteX3" fmla="*/ 141 w 19028"/>
                <a:gd name="connsiteY3" fmla="*/ 42358 h 53978"/>
                <a:gd name="connsiteX4" fmla="*/ 141 w 19028"/>
                <a:gd name="connsiteY4" fmla="*/ 46107 h 53978"/>
                <a:gd name="connsiteX5" fmla="*/ 1515 w 19028"/>
                <a:gd name="connsiteY5" fmla="*/ 49605 h 53978"/>
                <a:gd name="connsiteX6" fmla="*/ 8012 w 19028"/>
                <a:gd name="connsiteY6" fmla="*/ 53979 h 53978"/>
                <a:gd name="connsiteX7" fmla="*/ 17633 w 19028"/>
                <a:gd name="connsiteY7" fmla="*/ 43983 h 53978"/>
                <a:gd name="connsiteX8" fmla="*/ 18883 w 19028"/>
                <a:gd name="connsiteY8" fmla="*/ 23616 h 53978"/>
                <a:gd name="connsiteX9" fmla="*/ 18883 w 19028"/>
                <a:gd name="connsiteY9" fmla="*/ 18493 h 53978"/>
                <a:gd name="connsiteX10" fmla="*/ 18883 w 19028"/>
                <a:gd name="connsiteY10" fmla="*/ 11620 h 53978"/>
                <a:gd name="connsiteX11" fmla="*/ 11761 w 19028"/>
                <a:gd name="connsiteY11" fmla="*/ 0 h 53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8" h="53978">
                  <a:moveTo>
                    <a:pt x="11761" y="0"/>
                  </a:moveTo>
                  <a:cubicBezTo>
                    <a:pt x="6313" y="138"/>
                    <a:pt x="2002" y="4661"/>
                    <a:pt x="2140" y="10109"/>
                  </a:cubicBezTo>
                  <a:cubicBezTo>
                    <a:pt x="2140" y="10121"/>
                    <a:pt x="2140" y="10121"/>
                    <a:pt x="2140" y="10121"/>
                  </a:cubicBezTo>
                  <a:lnTo>
                    <a:pt x="141" y="42358"/>
                  </a:lnTo>
                  <a:cubicBezTo>
                    <a:pt x="-47" y="43595"/>
                    <a:pt x="-47" y="44870"/>
                    <a:pt x="141" y="46107"/>
                  </a:cubicBezTo>
                  <a:cubicBezTo>
                    <a:pt x="416" y="47331"/>
                    <a:pt x="878" y="48518"/>
                    <a:pt x="1515" y="49605"/>
                  </a:cubicBezTo>
                  <a:cubicBezTo>
                    <a:pt x="2864" y="52004"/>
                    <a:pt x="5276" y="53629"/>
                    <a:pt x="8012" y="53979"/>
                  </a:cubicBezTo>
                  <a:cubicBezTo>
                    <a:pt x="13410" y="53841"/>
                    <a:pt x="17708" y="49380"/>
                    <a:pt x="17633" y="43983"/>
                  </a:cubicBezTo>
                  <a:lnTo>
                    <a:pt x="18883" y="23616"/>
                  </a:lnTo>
                  <a:lnTo>
                    <a:pt x="18883" y="18493"/>
                  </a:lnTo>
                  <a:lnTo>
                    <a:pt x="18883" y="11620"/>
                  </a:lnTo>
                  <a:cubicBezTo>
                    <a:pt x="19745" y="6510"/>
                    <a:pt x="16708" y="1549"/>
                    <a:pt x="11761" y="0"/>
                  </a:cubicBezTo>
                  <a:close/>
                </a:path>
              </a:pathLst>
            </a:custGeom>
            <a:solidFill>
              <a:srgbClr val="000000"/>
            </a:solidFill>
            <a:ln w="12483" cap="flat">
              <a:noFill/>
              <a:prstDash val="solid"/>
              <a:miter/>
            </a:ln>
          </p:spPr>
          <p:txBody>
            <a:bodyPr rtlCol="0" anchor="ctr"/>
            <a:lstStyle/>
            <a:p>
              <a:endParaRPr lang="en-US"/>
            </a:p>
          </p:txBody>
        </p:sp>
        <p:sp>
          <p:nvSpPr>
            <p:cNvPr id="1758" name="Freeform: Shape 1757">
              <a:extLst>
                <a:ext uri="{FF2B5EF4-FFF2-40B4-BE49-F238E27FC236}">
                  <a16:creationId xmlns:a16="http://schemas.microsoft.com/office/drawing/2014/main" id="{0423A9DD-A9EA-48AA-AC62-2A06348D3A87}"/>
                </a:ext>
              </a:extLst>
            </p:cNvPr>
            <p:cNvSpPr/>
            <p:nvPr/>
          </p:nvSpPr>
          <p:spPr>
            <a:xfrm>
              <a:off x="7763457" y="2379156"/>
              <a:ext cx="21209" cy="44758"/>
            </a:xfrm>
            <a:custGeom>
              <a:avLst/>
              <a:gdLst>
                <a:gd name="connsiteX0" fmla="*/ 7840 w 21209"/>
                <a:gd name="connsiteY0" fmla="*/ 152 h 44758"/>
                <a:gd name="connsiteX1" fmla="*/ 218 w 21209"/>
                <a:gd name="connsiteY1" fmla="*/ 12647 h 44758"/>
                <a:gd name="connsiteX2" fmla="*/ 218 w 21209"/>
                <a:gd name="connsiteY2" fmla="*/ 12647 h 44758"/>
                <a:gd name="connsiteX3" fmla="*/ 218 w 21209"/>
                <a:gd name="connsiteY3" fmla="*/ 16645 h 44758"/>
                <a:gd name="connsiteX4" fmla="*/ 3342 w 21209"/>
                <a:gd name="connsiteY4" fmla="*/ 44759 h 44758"/>
                <a:gd name="connsiteX5" fmla="*/ 11088 w 21209"/>
                <a:gd name="connsiteY5" fmla="*/ 32264 h 44758"/>
                <a:gd name="connsiteX6" fmla="*/ 21197 w 21209"/>
                <a:gd name="connsiteY6" fmla="*/ 41110 h 44758"/>
                <a:gd name="connsiteX7" fmla="*/ 21209 w 21209"/>
                <a:gd name="connsiteY7" fmla="*/ 41510 h 44758"/>
                <a:gd name="connsiteX8" fmla="*/ 19710 w 21209"/>
                <a:gd name="connsiteY8" fmla="*/ 28015 h 44758"/>
                <a:gd name="connsiteX9" fmla="*/ 17461 w 21209"/>
                <a:gd name="connsiteY9" fmla="*/ 8773 h 44758"/>
                <a:gd name="connsiteX10" fmla="*/ 17461 w 21209"/>
                <a:gd name="connsiteY10" fmla="*/ 7774 h 44758"/>
                <a:gd name="connsiteX11" fmla="*/ 17461 w 21209"/>
                <a:gd name="connsiteY11" fmla="*/ 5774 h 44758"/>
                <a:gd name="connsiteX12" fmla="*/ 16586 w 21209"/>
                <a:gd name="connsiteY12" fmla="*/ 3900 h 44758"/>
                <a:gd name="connsiteX13" fmla="*/ 7840 w 21209"/>
                <a:gd name="connsiteY13" fmla="*/ 152 h 4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09" h="44758">
                  <a:moveTo>
                    <a:pt x="7840" y="152"/>
                  </a:moveTo>
                  <a:cubicBezTo>
                    <a:pt x="2417" y="1676"/>
                    <a:pt x="-906" y="7124"/>
                    <a:pt x="218" y="12647"/>
                  </a:cubicBezTo>
                  <a:lnTo>
                    <a:pt x="218" y="12647"/>
                  </a:lnTo>
                  <a:lnTo>
                    <a:pt x="218" y="16645"/>
                  </a:lnTo>
                  <a:lnTo>
                    <a:pt x="3342" y="44759"/>
                  </a:lnTo>
                  <a:cubicBezTo>
                    <a:pt x="2155" y="39186"/>
                    <a:pt x="5578" y="33676"/>
                    <a:pt x="11088" y="32264"/>
                  </a:cubicBezTo>
                  <a:cubicBezTo>
                    <a:pt x="16324" y="31914"/>
                    <a:pt x="20847" y="35875"/>
                    <a:pt x="21197" y="41110"/>
                  </a:cubicBezTo>
                  <a:cubicBezTo>
                    <a:pt x="21197" y="41248"/>
                    <a:pt x="21209" y="41373"/>
                    <a:pt x="21209" y="41510"/>
                  </a:cubicBezTo>
                  <a:lnTo>
                    <a:pt x="19710" y="28015"/>
                  </a:lnTo>
                  <a:lnTo>
                    <a:pt x="17461" y="8773"/>
                  </a:lnTo>
                  <a:cubicBezTo>
                    <a:pt x="17511" y="8448"/>
                    <a:pt x="17511" y="8098"/>
                    <a:pt x="17461" y="7774"/>
                  </a:cubicBezTo>
                  <a:cubicBezTo>
                    <a:pt x="17511" y="7111"/>
                    <a:pt x="17511" y="6436"/>
                    <a:pt x="17461" y="5774"/>
                  </a:cubicBezTo>
                  <a:cubicBezTo>
                    <a:pt x="17223" y="5125"/>
                    <a:pt x="16924" y="4500"/>
                    <a:pt x="16586" y="3900"/>
                  </a:cubicBezTo>
                  <a:cubicBezTo>
                    <a:pt x="14712" y="976"/>
                    <a:pt x="11251" y="-498"/>
                    <a:pt x="7840" y="152"/>
                  </a:cubicBezTo>
                  <a:close/>
                </a:path>
              </a:pathLst>
            </a:custGeom>
            <a:solidFill>
              <a:srgbClr val="000000"/>
            </a:solidFill>
            <a:ln w="12483" cap="flat">
              <a:noFill/>
              <a:prstDash val="solid"/>
              <a:miter/>
            </a:ln>
          </p:spPr>
          <p:txBody>
            <a:bodyPr rtlCol="0" anchor="ctr"/>
            <a:lstStyle/>
            <a:p>
              <a:endParaRPr lang="en-US"/>
            </a:p>
          </p:txBody>
        </p:sp>
        <p:sp>
          <p:nvSpPr>
            <p:cNvPr id="1759" name="Freeform: Shape 1758">
              <a:extLst>
                <a:ext uri="{FF2B5EF4-FFF2-40B4-BE49-F238E27FC236}">
                  <a16:creationId xmlns:a16="http://schemas.microsoft.com/office/drawing/2014/main" id="{C13CF9AD-6F6D-4E68-8E78-1C2B11D53450}"/>
                </a:ext>
              </a:extLst>
            </p:cNvPr>
            <p:cNvSpPr/>
            <p:nvPr/>
          </p:nvSpPr>
          <p:spPr>
            <a:xfrm>
              <a:off x="11067998" y="2166674"/>
              <a:ext cx="317294" cy="174649"/>
            </a:xfrm>
            <a:custGeom>
              <a:avLst/>
              <a:gdLst>
                <a:gd name="connsiteX0" fmla="*/ 317238 w 317294"/>
                <a:gd name="connsiteY0" fmla="*/ 9965 h 174649"/>
                <a:gd name="connsiteX1" fmla="*/ 317238 w 317294"/>
                <a:gd name="connsiteY1" fmla="*/ 7966 h 174649"/>
                <a:gd name="connsiteX2" fmla="*/ 317238 w 317294"/>
                <a:gd name="connsiteY2" fmla="*/ 5717 h 174649"/>
                <a:gd name="connsiteX3" fmla="*/ 317238 w 317294"/>
                <a:gd name="connsiteY3" fmla="*/ 5717 h 174649"/>
                <a:gd name="connsiteX4" fmla="*/ 316488 w 317294"/>
                <a:gd name="connsiteY4" fmla="*/ 4467 h 174649"/>
                <a:gd name="connsiteX5" fmla="*/ 315364 w 317294"/>
                <a:gd name="connsiteY5" fmla="*/ 2593 h 174649"/>
                <a:gd name="connsiteX6" fmla="*/ 314114 w 317294"/>
                <a:gd name="connsiteY6" fmla="*/ 1343 h 174649"/>
                <a:gd name="connsiteX7" fmla="*/ 312615 w 317294"/>
                <a:gd name="connsiteY7" fmla="*/ 94 h 174649"/>
                <a:gd name="connsiteX8" fmla="*/ 310741 w 317294"/>
                <a:gd name="connsiteY8" fmla="*/ 94 h 174649"/>
                <a:gd name="connsiteX9" fmla="*/ 309241 w 317294"/>
                <a:gd name="connsiteY9" fmla="*/ 94 h 174649"/>
                <a:gd name="connsiteX10" fmla="*/ 307617 w 317294"/>
                <a:gd name="connsiteY10" fmla="*/ 94 h 174649"/>
                <a:gd name="connsiteX11" fmla="*/ 305743 w 317294"/>
                <a:gd name="connsiteY11" fmla="*/ 94 h 174649"/>
                <a:gd name="connsiteX12" fmla="*/ 305743 w 317294"/>
                <a:gd name="connsiteY12" fmla="*/ 94 h 174649"/>
                <a:gd name="connsiteX13" fmla="*/ 300620 w 317294"/>
                <a:gd name="connsiteY13" fmla="*/ 2718 h 174649"/>
                <a:gd name="connsiteX14" fmla="*/ 0 w 317294"/>
                <a:gd name="connsiteY14" fmla="*/ 154657 h 174649"/>
                <a:gd name="connsiteX15" fmla="*/ 11145 w 317294"/>
                <a:gd name="connsiteY15" fmla="*/ 158655 h 174649"/>
                <a:gd name="connsiteX16" fmla="*/ 11745 w 317294"/>
                <a:gd name="connsiteY16" fmla="*/ 160405 h 174649"/>
                <a:gd name="connsiteX17" fmla="*/ 6997 w 317294"/>
                <a:gd name="connsiteY17" fmla="*/ 174649 h 174649"/>
                <a:gd name="connsiteX18" fmla="*/ 299371 w 317294"/>
                <a:gd name="connsiteY18" fmla="*/ 26833 h 174649"/>
                <a:gd name="connsiteX19" fmla="*/ 312615 w 317294"/>
                <a:gd name="connsiteY19" fmla="*/ 20086 h 174649"/>
                <a:gd name="connsiteX20" fmla="*/ 317238 w 317294"/>
                <a:gd name="connsiteY20" fmla="*/ 9965 h 17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7294" h="174649">
                  <a:moveTo>
                    <a:pt x="317238" y="9965"/>
                  </a:moveTo>
                  <a:cubicBezTo>
                    <a:pt x="317300" y="9303"/>
                    <a:pt x="317300" y="8628"/>
                    <a:pt x="317238" y="7966"/>
                  </a:cubicBezTo>
                  <a:cubicBezTo>
                    <a:pt x="317313" y="7216"/>
                    <a:pt x="317313" y="6466"/>
                    <a:pt x="317238" y="5717"/>
                  </a:cubicBezTo>
                  <a:lnTo>
                    <a:pt x="317238" y="5717"/>
                  </a:lnTo>
                  <a:lnTo>
                    <a:pt x="316488" y="4467"/>
                  </a:lnTo>
                  <a:cubicBezTo>
                    <a:pt x="316188" y="3805"/>
                    <a:pt x="315814" y="3167"/>
                    <a:pt x="315364" y="2593"/>
                  </a:cubicBezTo>
                  <a:cubicBezTo>
                    <a:pt x="314976" y="2143"/>
                    <a:pt x="314564" y="1731"/>
                    <a:pt x="314114" y="1343"/>
                  </a:cubicBezTo>
                  <a:lnTo>
                    <a:pt x="312615" y="94"/>
                  </a:lnTo>
                  <a:lnTo>
                    <a:pt x="310741" y="94"/>
                  </a:lnTo>
                  <a:cubicBezTo>
                    <a:pt x="310241" y="31"/>
                    <a:pt x="309741" y="31"/>
                    <a:pt x="309241" y="94"/>
                  </a:cubicBezTo>
                  <a:lnTo>
                    <a:pt x="307617" y="94"/>
                  </a:lnTo>
                  <a:cubicBezTo>
                    <a:pt x="307005" y="-31"/>
                    <a:pt x="306355" y="-31"/>
                    <a:pt x="305743" y="94"/>
                  </a:cubicBezTo>
                  <a:lnTo>
                    <a:pt x="305743" y="94"/>
                  </a:lnTo>
                  <a:lnTo>
                    <a:pt x="300620" y="2718"/>
                  </a:lnTo>
                  <a:lnTo>
                    <a:pt x="0" y="154657"/>
                  </a:lnTo>
                  <a:cubicBezTo>
                    <a:pt x="4186" y="152683"/>
                    <a:pt x="9171" y="154470"/>
                    <a:pt x="11145" y="158655"/>
                  </a:cubicBezTo>
                  <a:cubicBezTo>
                    <a:pt x="11408" y="159218"/>
                    <a:pt x="11607" y="159805"/>
                    <a:pt x="11745" y="160405"/>
                  </a:cubicBezTo>
                  <a:cubicBezTo>
                    <a:pt x="13794" y="165678"/>
                    <a:pt x="11807" y="171663"/>
                    <a:pt x="6997" y="174649"/>
                  </a:cubicBezTo>
                  <a:lnTo>
                    <a:pt x="299371" y="26833"/>
                  </a:lnTo>
                  <a:lnTo>
                    <a:pt x="312615" y="20086"/>
                  </a:lnTo>
                  <a:cubicBezTo>
                    <a:pt x="315876" y="17799"/>
                    <a:pt x="317638" y="13926"/>
                    <a:pt x="317238" y="9965"/>
                  </a:cubicBezTo>
                  <a:close/>
                </a:path>
              </a:pathLst>
            </a:custGeom>
            <a:solidFill>
              <a:srgbClr val="000000"/>
            </a:solidFill>
            <a:ln w="12483" cap="flat">
              <a:noFill/>
              <a:prstDash val="solid"/>
              <a:miter/>
            </a:ln>
          </p:spPr>
          <p:txBody>
            <a:bodyPr rtlCol="0" anchor="ctr"/>
            <a:lstStyle/>
            <a:p>
              <a:endParaRPr lang="en-US"/>
            </a:p>
          </p:txBody>
        </p:sp>
        <p:sp>
          <p:nvSpPr>
            <p:cNvPr id="1760" name="Freeform: Shape 1759">
              <a:extLst>
                <a:ext uri="{FF2B5EF4-FFF2-40B4-BE49-F238E27FC236}">
                  <a16:creationId xmlns:a16="http://schemas.microsoft.com/office/drawing/2014/main" id="{71F1D091-B13E-4C85-A895-6EC4F3C03C1C}"/>
                </a:ext>
              </a:extLst>
            </p:cNvPr>
            <p:cNvSpPr/>
            <p:nvPr/>
          </p:nvSpPr>
          <p:spPr>
            <a:xfrm>
              <a:off x="10929261" y="2395926"/>
              <a:ext cx="46" cy="1749"/>
            </a:xfrm>
            <a:custGeom>
              <a:avLst/>
              <a:gdLst>
                <a:gd name="connsiteX0" fmla="*/ 47 w 46"/>
                <a:gd name="connsiteY0" fmla="*/ 1749 h 1749"/>
                <a:gd name="connsiteX1" fmla="*/ 47 w 46"/>
                <a:gd name="connsiteY1" fmla="*/ 0 h 1749"/>
                <a:gd name="connsiteX2" fmla="*/ 47 w 46"/>
                <a:gd name="connsiteY2" fmla="*/ 1374 h 1749"/>
              </a:gdLst>
              <a:ahLst/>
              <a:cxnLst>
                <a:cxn ang="0">
                  <a:pos x="connsiteX0" y="connsiteY0"/>
                </a:cxn>
                <a:cxn ang="0">
                  <a:pos x="connsiteX1" y="connsiteY1"/>
                </a:cxn>
                <a:cxn ang="0">
                  <a:pos x="connsiteX2" y="connsiteY2"/>
                </a:cxn>
              </a:cxnLst>
              <a:rect l="l" t="t" r="r" b="b"/>
              <a:pathLst>
                <a:path w="46" h="1749">
                  <a:moveTo>
                    <a:pt x="47" y="1749"/>
                  </a:moveTo>
                  <a:cubicBezTo>
                    <a:pt x="-16" y="1162"/>
                    <a:pt x="-16" y="587"/>
                    <a:pt x="47" y="0"/>
                  </a:cubicBezTo>
                  <a:cubicBezTo>
                    <a:pt x="-16" y="462"/>
                    <a:pt x="-16" y="912"/>
                    <a:pt x="47" y="1374"/>
                  </a:cubicBezTo>
                  <a:close/>
                </a:path>
              </a:pathLst>
            </a:custGeom>
            <a:solidFill>
              <a:srgbClr val="000000"/>
            </a:solidFill>
            <a:ln w="12483" cap="flat">
              <a:noFill/>
              <a:prstDash val="solid"/>
              <a:miter/>
            </a:ln>
          </p:spPr>
          <p:txBody>
            <a:bodyPr rtlCol="0" anchor="ctr"/>
            <a:lstStyle/>
            <a:p>
              <a:endParaRPr lang="en-US"/>
            </a:p>
          </p:txBody>
        </p:sp>
        <p:sp>
          <p:nvSpPr>
            <p:cNvPr id="1761" name="Freeform: Shape 1760">
              <a:extLst>
                <a:ext uri="{FF2B5EF4-FFF2-40B4-BE49-F238E27FC236}">
                  <a16:creationId xmlns:a16="http://schemas.microsoft.com/office/drawing/2014/main" id="{1D2DF064-4C93-4458-84AA-6F5A3F6A11E5}"/>
                </a:ext>
              </a:extLst>
            </p:cNvPr>
            <p:cNvSpPr/>
            <p:nvPr/>
          </p:nvSpPr>
          <p:spPr>
            <a:xfrm>
              <a:off x="10918925" y="2397801"/>
              <a:ext cx="27875" cy="304253"/>
            </a:xfrm>
            <a:custGeom>
              <a:avLst/>
              <a:gdLst>
                <a:gd name="connsiteX0" fmla="*/ 9634 w 27875"/>
                <a:gd name="connsiteY0" fmla="*/ 293008 h 304253"/>
                <a:gd name="connsiteX1" fmla="*/ 18255 w 27875"/>
                <a:gd name="connsiteY1" fmla="*/ 304254 h 304253"/>
                <a:gd name="connsiteX2" fmla="*/ 27876 w 27875"/>
                <a:gd name="connsiteY2" fmla="*/ 11745 h 304253"/>
                <a:gd name="connsiteX3" fmla="*/ 27876 w 27875"/>
                <a:gd name="connsiteY3" fmla="*/ 7247 h 304253"/>
                <a:gd name="connsiteX4" fmla="*/ 22503 w 27875"/>
                <a:gd name="connsiteY4" fmla="*/ 9996 h 304253"/>
                <a:gd name="connsiteX5" fmla="*/ 11195 w 27875"/>
                <a:gd name="connsiteY5" fmla="*/ 5435 h 304253"/>
                <a:gd name="connsiteX6" fmla="*/ 10758 w 27875"/>
                <a:gd name="connsiteY6" fmla="*/ 4123 h 304253"/>
                <a:gd name="connsiteX7" fmla="*/ 10133 w 27875"/>
                <a:gd name="connsiteY7" fmla="*/ 0 h 304253"/>
                <a:gd name="connsiteX8" fmla="*/ 13 w 27875"/>
                <a:gd name="connsiteY8" fmla="*/ 303379 h 304253"/>
                <a:gd name="connsiteX9" fmla="*/ 9371 w 27875"/>
                <a:gd name="connsiteY9" fmla="*/ 293021 h 304253"/>
                <a:gd name="connsiteX10" fmla="*/ 9634 w 27875"/>
                <a:gd name="connsiteY10" fmla="*/ 293008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5" h="304253">
                  <a:moveTo>
                    <a:pt x="9634" y="293008"/>
                  </a:moveTo>
                  <a:cubicBezTo>
                    <a:pt x="15019" y="293908"/>
                    <a:pt x="18792" y="298818"/>
                    <a:pt x="18255" y="304254"/>
                  </a:cubicBezTo>
                  <a:lnTo>
                    <a:pt x="27876" y="11745"/>
                  </a:lnTo>
                  <a:lnTo>
                    <a:pt x="27876" y="7247"/>
                  </a:lnTo>
                  <a:lnTo>
                    <a:pt x="22503" y="9996"/>
                  </a:lnTo>
                  <a:cubicBezTo>
                    <a:pt x="18117" y="11858"/>
                    <a:pt x="13057" y="9821"/>
                    <a:pt x="11195" y="5435"/>
                  </a:cubicBezTo>
                  <a:cubicBezTo>
                    <a:pt x="11020" y="5011"/>
                    <a:pt x="10870" y="4573"/>
                    <a:pt x="10758" y="4123"/>
                  </a:cubicBezTo>
                  <a:cubicBezTo>
                    <a:pt x="10321" y="2799"/>
                    <a:pt x="10108" y="1399"/>
                    <a:pt x="10133" y="0"/>
                  </a:cubicBezTo>
                  <a:lnTo>
                    <a:pt x="13" y="303379"/>
                  </a:lnTo>
                  <a:cubicBezTo>
                    <a:pt x="-262" y="297931"/>
                    <a:pt x="3923" y="293296"/>
                    <a:pt x="9371" y="293021"/>
                  </a:cubicBezTo>
                  <a:cubicBezTo>
                    <a:pt x="9458" y="293008"/>
                    <a:pt x="9546" y="293008"/>
                    <a:pt x="9634" y="293008"/>
                  </a:cubicBezTo>
                  <a:close/>
                </a:path>
              </a:pathLst>
            </a:custGeom>
            <a:solidFill>
              <a:srgbClr val="000000"/>
            </a:solidFill>
            <a:ln w="12483" cap="flat">
              <a:noFill/>
              <a:prstDash val="solid"/>
              <a:miter/>
            </a:ln>
          </p:spPr>
          <p:txBody>
            <a:bodyPr rtlCol="0" anchor="ctr"/>
            <a:lstStyle/>
            <a:p>
              <a:endParaRPr lang="en-US"/>
            </a:p>
          </p:txBody>
        </p:sp>
        <p:sp>
          <p:nvSpPr>
            <p:cNvPr id="1762" name="Freeform: Shape 1761">
              <a:extLst>
                <a:ext uri="{FF2B5EF4-FFF2-40B4-BE49-F238E27FC236}">
                  <a16:creationId xmlns:a16="http://schemas.microsoft.com/office/drawing/2014/main" id="{1EE88802-7926-4DAA-B4C8-EE9338E7AA0A}"/>
                </a:ext>
              </a:extLst>
            </p:cNvPr>
            <p:cNvSpPr/>
            <p:nvPr/>
          </p:nvSpPr>
          <p:spPr>
            <a:xfrm>
              <a:off x="10916936" y="2690309"/>
              <a:ext cx="20044" cy="80217"/>
            </a:xfrm>
            <a:custGeom>
              <a:avLst/>
              <a:gdLst>
                <a:gd name="connsiteX0" fmla="*/ 2 w 20044"/>
                <a:gd name="connsiteY0" fmla="*/ 80218 h 80217"/>
                <a:gd name="connsiteX1" fmla="*/ 2 w 20044"/>
                <a:gd name="connsiteY1" fmla="*/ 80218 h 80217"/>
                <a:gd name="connsiteX2" fmla="*/ 2251 w 20044"/>
                <a:gd name="connsiteY2" fmla="*/ 72846 h 80217"/>
                <a:gd name="connsiteX3" fmla="*/ 13396 w 20044"/>
                <a:gd name="connsiteY3" fmla="*/ 70897 h 80217"/>
                <a:gd name="connsiteX4" fmla="*/ 14746 w 20044"/>
                <a:gd name="connsiteY4" fmla="*/ 72096 h 80217"/>
                <a:gd name="connsiteX5" fmla="*/ 17869 w 20044"/>
                <a:gd name="connsiteY5" fmla="*/ 75595 h 80217"/>
                <a:gd name="connsiteX6" fmla="*/ 19994 w 20044"/>
                <a:gd name="connsiteY6" fmla="*/ 11245 h 80217"/>
                <a:gd name="connsiteX7" fmla="*/ 11372 w 20044"/>
                <a:gd name="connsiteY7" fmla="*/ 0 h 80217"/>
                <a:gd name="connsiteX8" fmla="*/ 2001 w 20044"/>
                <a:gd name="connsiteY8" fmla="*/ 10346 h 80217"/>
                <a:gd name="connsiteX9" fmla="*/ 2001 w 20044"/>
                <a:gd name="connsiteY9" fmla="*/ 10371 h 80217"/>
                <a:gd name="connsiteX10" fmla="*/ 2001 w 20044"/>
                <a:gd name="connsiteY10" fmla="*/ 17618 h 8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44" h="80217">
                  <a:moveTo>
                    <a:pt x="2" y="80218"/>
                  </a:moveTo>
                  <a:lnTo>
                    <a:pt x="2" y="80218"/>
                  </a:lnTo>
                  <a:cubicBezTo>
                    <a:pt x="-48" y="77582"/>
                    <a:pt x="739" y="75008"/>
                    <a:pt x="2251" y="72846"/>
                  </a:cubicBezTo>
                  <a:cubicBezTo>
                    <a:pt x="4788" y="69235"/>
                    <a:pt x="9773" y="68360"/>
                    <a:pt x="13396" y="70897"/>
                  </a:cubicBezTo>
                  <a:cubicBezTo>
                    <a:pt x="13884" y="71247"/>
                    <a:pt x="14346" y="71646"/>
                    <a:pt x="14746" y="72096"/>
                  </a:cubicBezTo>
                  <a:lnTo>
                    <a:pt x="17869" y="75595"/>
                  </a:lnTo>
                  <a:lnTo>
                    <a:pt x="19994" y="11245"/>
                  </a:lnTo>
                  <a:cubicBezTo>
                    <a:pt x="20531" y="5810"/>
                    <a:pt x="16758" y="900"/>
                    <a:pt x="11372" y="0"/>
                  </a:cubicBezTo>
                  <a:cubicBezTo>
                    <a:pt x="5925" y="275"/>
                    <a:pt x="1726" y="4898"/>
                    <a:pt x="2001" y="10346"/>
                  </a:cubicBezTo>
                  <a:cubicBezTo>
                    <a:pt x="2001" y="10358"/>
                    <a:pt x="2001" y="10358"/>
                    <a:pt x="2001" y="10371"/>
                  </a:cubicBezTo>
                  <a:lnTo>
                    <a:pt x="2001" y="17618"/>
                  </a:lnTo>
                  <a:close/>
                </a:path>
              </a:pathLst>
            </a:custGeom>
            <a:solidFill>
              <a:srgbClr val="000000"/>
            </a:solidFill>
            <a:ln w="12483" cap="flat">
              <a:noFill/>
              <a:prstDash val="solid"/>
              <a:miter/>
            </a:ln>
          </p:spPr>
          <p:txBody>
            <a:bodyPr rtlCol="0" anchor="ctr"/>
            <a:lstStyle/>
            <a:p>
              <a:endParaRPr lang="en-US"/>
            </a:p>
          </p:txBody>
        </p:sp>
        <p:sp>
          <p:nvSpPr>
            <p:cNvPr id="1763" name="Freeform: Shape 1762">
              <a:extLst>
                <a:ext uri="{FF2B5EF4-FFF2-40B4-BE49-F238E27FC236}">
                  <a16:creationId xmlns:a16="http://schemas.microsoft.com/office/drawing/2014/main" id="{F58B60D2-E522-45D8-A82B-BE07ED0C7085}"/>
                </a:ext>
              </a:extLst>
            </p:cNvPr>
            <p:cNvSpPr/>
            <p:nvPr/>
          </p:nvSpPr>
          <p:spPr>
            <a:xfrm>
              <a:off x="11004900" y="2856243"/>
              <a:ext cx="367522" cy="406743"/>
            </a:xfrm>
            <a:custGeom>
              <a:avLst/>
              <a:gdLst>
                <a:gd name="connsiteX0" fmla="*/ 12495 w 367522"/>
                <a:gd name="connsiteY0" fmla="*/ 15369 h 406743"/>
                <a:gd name="connsiteX1" fmla="*/ 1574 w 367522"/>
                <a:gd name="connsiteY1" fmla="*/ 17506 h 406743"/>
                <a:gd name="connsiteX2" fmla="*/ 0 w 367522"/>
                <a:gd name="connsiteY2" fmla="*/ 16118 h 406743"/>
                <a:gd name="connsiteX3" fmla="*/ 14119 w 367522"/>
                <a:gd name="connsiteY3" fmla="*/ 31737 h 406743"/>
                <a:gd name="connsiteX4" fmla="*/ 349599 w 367522"/>
                <a:gd name="connsiteY4" fmla="*/ 400465 h 406743"/>
                <a:gd name="connsiteX5" fmla="*/ 352723 w 367522"/>
                <a:gd name="connsiteY5" fmla="*/ 404089 h 406743"/>
                <a:gd name="connsiteX6" fmla="*/ 364018 w 367522"/>
                <a:gd name="connsiteY6" fmla="*/ 404689 h 406743"/>
                <a:gd name="connsiteX7" fmla="*/ 365217 w 367522"/>
                <a:gd name="connsiteY7" fmla="*/ 403339 h 406743"/>
                <a:gd name="connsiteX8" fmla="*/ 367466 w 367522"/>
                <a:gd name="connsiteY8" fmla="*/ 396217 h 406743"/>
                <a:gd name="connsiteX9" fmla="*/ 367466 w 367522"/>
                <a:gd name="connsiteY9" fmla="*/ 393968 h 406743"/>
                <a:gd name="connsiteX10" fmla="*/ 367466 w 367522"/>
                <a:gd name="connsiteY10" fmla="*/ 391969 h 406743"/>
                <a:gd name="connsiteX11" fmla="*/ 366592 w 367522"/>
                <a:gd name="connsiteY11" fmla="*/ 390344 h 406743"/>
                <a:gd name="connsiteX12" fmla="*/ 365592 w 367522"/>
                <a:gd name="connsiteY12" fmla="*/ 388470 h 406743"/>
                <a:gd name="connsiteX13" fmla="*/ 365592 w 367522"/>
                <a:gd name="connsiteY13" fmla="*/ 388470 h 406743"/>
                <a:gd name="connsiteX14" fmla="*/ 352348 w 367522"/>
                <a:gd name="connsiteY14" fmla="*/ 373976 h 406743"/>
                <a:gd name="connsiteX15" fmla="*/ 352348 w 367522"/>
                <a:gd name="connsiteY15" fmla="*/ 373976 h 406743"/>
                <a:gd name="connsiteX16" fmla="*/ 11995 w 367522"/>
                <a:gd name="connsiteY16" fmla="*/ 0 h 406743"/>
                <a:gd name="connsiteX17" fmla="*/ 12495 w 367522"/>
                <a:gd name="connsiteY17" fmla="*/ 15369 h 40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522" h="406743">
                  <a:moveTo>
                    <a:pt x="12495" y="15369"/>
                  </a:moveTo>
                  <a:cubicBezTo>
                    <a:pt x="10071" y="18980"/>
                    <a:pt x="5173" y="19942"/>
                    <a:pt x="1574" y="17506"/>
                  </a:cubicBezTo>
                  <a:cubicBezTo>
                    <a:pt x="987" y="17118"/>
                    <a:pt x="463" y="16656"/>
                    <a:pt x="0" y="16118"/>
                  </a:cubicBezTo>
                  <a:lnTo>
                    <a:pt x="14119" y="31737"/>
                  </a:lnTo>
                  <a:lnTo>
                    <a:pt x="349599" y="400465"/>
                  </a:lnTo>
                  <a:lnTo>
                    <a:pt x="352723" y="404089"/>
                  </a:lnTo>
                  <a:cubicBezTo>
                    <a:pt x="355671" y="407375"/>
                    <a:pt x="360732" y="407650"/>
                    <a:pt x="364018" y="404689"/>
                  </a:cubicBezTo>
                  <a:cubicBezTo>
                    <a:pt x="364468" y="404289"/>
                    <a:pt x="364868" y="403839"/>
                    <a:pt x="365217" y="403339"/>
                  </a:cubicBezTo>
                  <a:cubicBezTo>
                    <a:pt x="366679" y="401253"/>
                    <a:pt x="367466" y="398766"/>
                    <a:pt x="367466" y="396217"/>
                  </a:cubicBezTo>
                  <a:cubicBezTo>
                    <a:pt x="367529" y="395467"/>
                    <a:pt x="367529" y="394718"/>
                    <a:pt x="367466" y="393968"/>
                  </a:cubicBezTo>
                  <a:cubicBezTo>
                    <a:pt x="367541" y="393306"/>
                    <a:pt x="367541" y="392631"/>
                    <a:pt x="367466" y="391969"/>
                  </a:cubicBezTo>
                  <a:cubicBezTo>
                    <a:pt x="367229" y="391406"/>
                    <a:pt x="366929" y="390857"/>
                    <a:pt x="366592" y="390344"/>
                  </a:cubicBezTo>
                  <a:cubicBezTo>
                    <a:pt x="366304" y="389695"/>
                    <a:pt x="365980" y="389070"/>
                    <a:pt x="365592" y="388470"/>
                  </a:cubicBezTo>
                  <a:lnTo>
                    <a:pt x="365592" y="388470"/>
                  </a:lnTo>
                  <a:lnTo>
                    <a:pt x="352348" y="373976"/>
                  </a:lnTo>
                  <a:lnTo>
                    <a:pt x="352348" y="373976"/>
                  </a:lnTo>
                  <a:lnTo>
                    <a:pt x="11995" y="0"/>
                  </a:lnTo>
                  <a:cubicBezTo>
                    <a:pt x="15669" y="4398"/>
                    <a:pt x="15868" y="10733"/>
                    <a:pt x="12495" y="15369"/>
                  </a:cubicBezTo>
                  <a:close/>
                </a:path>
              </a:pathLst>
            </a:custGeom>
            <a:solidFill>
              <a:srgbClr val="000000"/>
            </a:solidFill>
            <a:ln w="12483" cap="flat">
              <a:noFill/>
              <a:prstDash val="solid"/>
              <a:miter/>
            </a:ln>
          </p:spPr>
          <p:txBody>
            <a:bodyPr rtlCol="0" anchor="ctr"/>
            <a:lstStyle/>
            <a:p>
              <a:endParaRPr lang="en-US"/>
            </a:p>
          </p:txBody>
        </p:sp>
        <p:sp>
          <p:nvSpPr>
            <p:cNvPr id="1764" name="Freeform: Shape 1763">
              <a:extLst>
                <a:ext uri="{FF2B5EF4-FFF2-40B4-BE49-F238E27FC236}">
                  <a16:creationId xmlns:a16="http://schemas.microsoft.com/office/drawing/2014/main" id="{81CBE8E0-B9B7-4AB0-9F3B-203BE76C4F6B}"/>
                </a:ext>
              </a:extLst>
            </p:cNvPr>
            <p:cNvSpPr/>
            <p:nvPr/>
          </p:nvSpPr>
          <p:spPr>
            <a:xfrm>
              <a:off x="10916844" y="2760262"/>
              <a:ext cx="102021" cy="114455"/>
            </a:xfrm>
            <a:custGeom>
              <a:avLst/>
              <a:gdLst>
                <a:gd name="connsiteX0" fmla="*/ 2343 w 102021"/>
                <a:gd name="connsiteY0" fmla="*/ 3393 h 114455"/>
                <a:gd name="connsiteX1" fmla="*/ 94 w 102021"/>
                <a:gd name="connsiteY1" fmla="*/ 10765 h 114455"/>
                <a:gd name="connsiteX2" fmla="*/ 94 w 102021"/>
                <a:gd name="connsiteY2" fmla="*/ 13014 h 114455"/>
                <a:gd name="connsiteX3" fmla="*/ 94 w 102021"/>
                <a:gd name="connsiteY3" fmla="*/ 14888 h 114455"/>
                <a:gd name="connsiteX4" fmla="*/ 843 w 102021"/>
                <a:gd name="connsiteY4" fmla="*/ 16513 h 114455"/>
                <a:gd name="connsiteX5" fmla="*/ 1968 w 102021"/>
                <a:gd name="connsiteY5" fmla="*/ 18387 h 114455"/>
                <a:gd name="connsiteX6" fmla="*/ 1968 w 102021"/>
                <a:gd name="connsiteY6" fmla="*/ 18387 h 114455"/>
                <a:gd name="connsiteX7" fmla="*/ 83807 w 102021"/>
                <a:gd name="connsiteY7" fmla="*/ 108351 h 114455"/>
                <a:gd name="connsiteX8" fmla="*/ 86931 w 102021"/>
                <a:gd name="connsiteY8" fmla="*/ 111725 h 114455"/>
                <a:gd name="connsiteX9" fmla="*/ 98039 w 102021"/>
                <a:gd name="connsiteY9" fmla="*/ 112550 h 114455"/>
                <a:gd name="connsiteX10" fmla="*/ 99426 w 102021"/>
                <a:gd name="connsiteY10" fmla="*/ 110975 h 114455"/>
                <a:gd name="connsiteX11" fmla="*/ 99426 w 102021"/>
                <a:gd name="connsiteY11" fmla="*/ 95731 h 114455"/>
                <a:gd name="connsiteX12" fmla="*/ 17586 w 102021"/>
                <a:gd name="connsiteY12" fmla="*/ 5767 h 114455"/>
                <a:gd name="connsiteX13" fmla="*/ 14463 w 102021"/>
                <a:gd name="connsiteY13" fmla="*/ 2269 h 114455"/>
                <a:gd name="connsiteX14" fmla="*/ 3155 w 102021"/>
                <a:gd name="connsiteY14" fmla="*/ 2418 h 114455"/>
                <a:gd name="connsiteX15" fmla="*/ 2343 w 102021"/>
                <a:gd name="connsiteY15" fmla="*/ 3393 h 114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021" h="114455">
                  <a:moveTo>
                    <a:pt x="2343" y="3393"/>
                  </a:moveTo>
                  <a:cubicBezTo>
                    <a:pt x="831" y="5555"/>
                    <a:pt x="44" y="8129"/>
                    <a:pt x="94" y="10765"/>
                  </a:cubicBezTo>
                  <a:cubicBezTo>
                    <a:pt x="-31" y="11515"/>
                    <a:pt x="-31" y="12265"/>
                    <a:pt x="94" y="13014"/>
                  </a:cubicBezTo>
                  <a:cubicBezTo>
                    <a:pt x="-19" y="13639"/>
                    <a:pt x="-19" y="14264"/>
                    <a:pt x="94" y="14888"/>
                  </a:cubicBezTo>
                  <a:cubicBezTo>
                    <a:pt x="319" y="15438"/>
                    <a:pt x="569" y="15988"/>
                    <a:pt x="843" y="16513"/>
                  </a:cubicBezTo>
                  <a:lnTo>
                    <a:pt x="1968" y="18387"/>
                  </a:lnTo>
                  <a:lnTo>
                    <a:pt x="1968" y="18387"/>
                  </a:lnTo>
                  <a:lnTo>
                    <a:pt x="83807" y="108351"/>
                  </a:lnTo>
                  <a:lnTo>
                    <a:pt x="86931" y="111725"/>
                  </a:lnTo>
                  <a:cubicBezTo>
                    <a:pt x="89768" y="115011"/>
                    <a:pt x="94740" y="115386"/>
                    <a:pt x="98039" y="112550"/>
                  </a:cubicBezTo>
                  <a:cubicBezTo>
                    <a:pt x="98564" y="112087"/>
                    <a:pt x="99039" y="111562"/>
                    <a:pt x="99426" y="110975"/>
                  </a:cubicBezTo>
                  <a:cubicBezTo>
                    <a:pt x="102887" y="106477"/>
                    <a:pt x="102887" y="100229"/>
                    <a:pt x="99426" y="95731"/>
                  </a:cubicBezTo>
                  <a:lnTo>
                    <a:pt x="17586" y="5767"/>
                  </a:lnTo>
                  <a:lnTo>
                    <a:pt x="14463" y="2269"/>
                  </a:lnTo>
                  <a:cubicBezTo>
                    <a:pt x="11301" y="-818"/>
                    <a:pt x="6241" y="-743"/>
                    <a:pt x="3155" y="2418"/>
                  </a:cubicBezTo>
                  <a:cubicBezTo>
                    <a:pt x="2855" y="2718"/>
                    <a:pt x="2592" y="3043"/>
                    <a:pt x="2343" y="3393"/>
                  </a:cubicBezTo>
                  <a:close/>
                </a:path>
              </a:pathLst>
            </a:custGeom>
            <a:solidFill>
              <a:srgbClr val="000000"/>
            </a:solidFill>
            <a:ln w="12483" cap="flat">
              <a:noFill/>
              <a:prstDash val="solid"/>
              <a:miter/>
            </a:ln>
          </p:spPr>
          <p:txBody>
            <a:bodyPr rtlCol="0" anchor="ctr"/>
            <a:lstStyle/>
            <a:p>
              <a:endParaRPr lang="en-US"/>
            </a:p>
          </p:txBody>
        </p:sp>
        <p:sp>
          <p:nvSpPr>
            <p:cNvPr id="1765" name="Freeform: Shape 1764">
              <a:extLst>
                <a:ext uri="{FF2B5EF4-FFF2-40B4-BE49-F238E27FC236}">
                  <a16:creationId xmlns:a16="http://schemas.microsoft.com/office/drawing/2014/main" id="{196FCB21-2BEB-40E6-A0ED-3AA2544D10FC}"/>
                </a:ext>
              </a:extLst>
            </p:cNvPr>
            <p:cNvSpPr/>
            <p:nvPr/>
          </p:nvSpPr>
          <p:spPr>
            <a:xfrm>
              <a:off x="8016441" y="5972375"/>
              <a:ext cx="102205" cy="69596"/>
            </a:xfrm>
            <a:custGeom>
              <a:avLst/>
              <a:gdLst>
                <a:gd name="connsiteX0" fmla="*/ 12869 w 102205"/>
                <a:gd name="connsiteY0" fmla="*/ 61600 h 69596"/>
                <a:gd name="connsiteX1" fmla="*/ 13744 w 102205"/>
                <a:gd name="connsiteY1" fmla="*/ 69597 h 69596"/>
                <a:gd name="connsiteX2" fmla="*/ 102206 w 102205"/>
                <a:gd name="connsiteY2" fmla="*/ 19617 h 69596"/>
                <a:gd name="connsiteX3" fmla="*/ 90598 w 102205"/>
                <a:gd name="connsiteY3" fmla="*/ 16531 h 69596"/>
                <a:gd name="connsiteX4" fmla="*/ 89711 w 102205"/>
                <a:gd name="connsiteY4" fmla="*/ 14369 h 69596"/>
                <a:gd name="connsiteX5" fmla="*/ 94084 w 102205"/>
                <a:gd name="connsiteY5" fmla="*/ 0 h 69596"/>
                <a:gd name="connsiteX6" fmla="*/ 94084 w 102205"/>
                <a:gd name="connsiteY6" fmla="*/ 0 h 69596"/>
                <a:gd name="connsiteX7" fmla="*/ 91211 w 102205"/>
                <a:gd name="connsiteY7" fmla="*/ 1749 h 69596"/>
                <a:gd name="connsiteX8" fmla="*/ 0 w 102205"/>
                <a:gd name="connsiteY8" fmla="*/ 53104 h 69596"/>
                <a:gd name="connsiteX9" fmla="*/ 0 w 102205"/>
                <a:gd name="connsiteY9" fmla="*/ 53104 h 69596"/>
                <a:gd name="connsiteX10" fmla="*/ 2874 w 102205"/>
                <a:gd name="connsiteY10" fmla="*/ 51854 h 69596"/>
                <a:gd name="connsiteX11" fmla="*/ 12857 w 102205"/>
                <a:gd name="connsiteY11" fmla="*/ 60838 h 69596"/>
                <a:gd name="connsiteX12" fmla="*/ 12869 w 102205"/>
                <a:gd name="connsiteY12" fmla="*/ 61600 h 6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05" h="69596">
                  <a:moveTo>
                    <a:pt x="12869" y="61600"/>
                  </a:moveTo>
                  <a:lnTo>
                    <a:pt x="13744" y="69597"/>
                  </a:lnTo>
                  <a:lnTo>
                    <a:pt x="102206" y="19617"/>
                  </a:lnTo>
                  <a:cubicBezTo>
                    <a:pt x="98145" y="21966"/>
                    <a:pt x="92947" y="20592"/>
                    <a:pt x="90598" y="16531"/>
                  </a:cubicBezTo>
                  <a:cubicBezTo>
                    <a:pt x="90199" y="15856"/>
                    <a:pt x="89899" y="15131"/>
                    <a:pt x="89711" y="14369"/>
                  </a:cubicBezTo>
                  <a:cubicBezTo>
                    <a:pt x="87812" y="9134"/>
                    <a:pt x="89586" y="3286"/>
                    <a:pt x="94084" y="0"/>
                  </a:cubicBezTo>
                  <a:lnTo>
                    <a:pt x="94084" y="0"/>
                  </a:lnTo>
                  <a:lnTo>
                    <a:pt x="91211" y="1749"/>
                  </a:lnTo>
                  <a:lnTo>
                    <a:pt x="0" y="53104"/>
                  </a:lnTo>
                  <a:lnTo>
                    <a:pt x="0" y="53104"/>
                  </a:lnTo>
                  <a:cubicBezTo>
                    <a:pt x="837" y="52454"/>
                    <a:pt x="1824" y="52029"/>
                    <a:pt x="2874" y="51854"/>
                  </a:cubicBezTo>
                  <a:cubicBezTo>
                    <a:pt x="8109" y="51579"/>
                    <a:pt x="12582" y="55603"/>
                    <a:pt x="12857" y="60838"/>
                  </a:cubicBezTo>
                  <a:cubicBezTo>
                    <a:pt x="12869" y="61088"/>
                    <a:pt x="12882" y="61350"/>
                    <a:pt x="12869" y="61600"/>
                  </a:cubicBezTo>
                  <a:close/>
                </a:path>
              </a:pathLst>
            </a:custGeom>
            <a:solidFill>
              <a:srgbClr val="000000"/>
            </a:solidFill>
            <a:ln w="12483" cap="flat">
              <a:noFill/>
              <a:prstDash val="solid"/>
              <a:miter/>
            </a:ln>
          </p:spPr>
          <p:txBody>
            <a:bodyPr rtlCol="0" anchor="ctr"/>
            <a:lstStyle/>
            <a:p>
              <a:endParaRPr lang="en-US"/>
            </a:p>
          </p:txBody>
        </p:sp>
        <p:sp>
          <p:nvSpPr>
            <p:cNvPr id="1766" name="Freeform: Shape 1765">
              <a:extLst>
                <a:ext uri="{FF2B5EF4-FFF2-40B4-BE49-F238E27FC236}">
                  <a16:creationId xmlns:a16="http://schemas.microsoft.com/office/drawing/2014/main" id="{04950F74-0B8A-40CD-82F7-775910597A8D}"/>
                </a:ext>
              </a:extLst>
            </p:cNvPr>
            <p:cNvSpPr/>
            <p:nvPr/>
          </p:nvSpPr>
          <p:spPr>
            <a:xfrm>
              <a:off x="8011397" y="6034351"/>
              <a:ext cx="46" cy="2123"/>
            </a:xfrm>
            <a:custGeom>
              <a:avLst/>
              <a:gdLst>
                <a:gd name="connsiteX0" fmla="*/ 47 w 46"/>
                <a:gd name="connsiteY0" fmla="*/ 1374 h 2123"/>
                <a:gd name="connsiteX1" fmla="*/ 47 w 46"/>
                <a:gd name="connsiteY1" fmla="*/ 2124 h 2123"/>
                <a:gd name="connsiteX2" fmla="*/ 47 w 46"/>
                <a:gd name="connsiteY2" fmla="*/ 0 h 2123"/>
                <a:gd name="connsiteX3" fmla="*/ 47 w 46"/>
                <a:gd name="connsiteY3" fmla="*/ 1374 h 2123"/>
              </a:gdLst>
              <a:ahLst/>
              <a:cxnLst>
                <a:cxn ang="0">
                  <a:pos x="connsiteX0" y="connsiteY0"/>
                </a:cxn>
                <a:cxn ang="0">
                  <a:pos x="connsiteX1" y="connsiteY1"/>
                </a:cxn>
                <a:cxn ang="0">
                  <a:pos x="connsiteX2" y="connsiteY2"/>
                </a:cxn>
                <a:cxn ang="0">
                  <a:pos x="connsiteX3" y="connsiteY3"/>
                </a:cxn>
              </a:cxnLst>
              <a:rect l="l" t="t" r="r" b="b"/>
              <a:pathLst>
                <a:path w="46" h="2123">
                  <a:moveTo>
                    <a:pt x="47" y="1374"/>
                  </a:moveTo>
                  <a:cubicBezTo>
                    <a:pt x="-16" y="1624"/>
                    <a:pt x="-16" y="1874"/>
                    <a:pt x="47" y="2124"/>
                  </a:cubicBezTo>
                  <a:cubicBezTo>
                    <a:pt x="-16" y="1412"/>
                    <a:pt x="-16" y="712"/>
                    <a:pt x="47" y="0"/>
                  </a:cubicBezTo>
                  <a:cubicBezTo>
                    <a:pt x="47" y="0"/>
                    <a:pt x="47" y="875"/>
                    <a:pt x="47" y="1374"/>
                  </a:cubicBezTo>
                  <a:close/>
                </a:path>
              </a:pathLst>
            </a:custGeom>
            <a:solidFill>
              <a:srgbClr val="000000"/>
            </a:solidFill>
            <a:ln w="12483" cap="flat">
              <a:noFill/>
              <a:prstDash val="solid"/>
              <a:miter/>
            </a:ln>
          </p:spPr>
          <p:txBody>
            <a:bodyPr rtlCol="0" anchor="ctr"/>
            <a:lstStyle/>
            <a:p>
              <a:endParaRPr lang="en-US"/>
            </a:p>
          </p:txBody>
        </p:sp>
        <p:sp>
          <p:nvSpPr>
            <p:cNvPr id="1767" name="Freeform: Shape 1766">
              <a:extLst>
                <a:ext uri="{FF2B5EF4-FFF2-40B4-BE49-F238E27FC236}">
                  <a16:creationId xmlns:a16="http://schemas.microsoft.com/office/drawing/2014/main" id="{D1182FFA-94CD-4C10-B682-09EF9DB0C06E}"/>
                </a:ext>
              </a:extLst>
            </p:cNvPr>
            <p:cNvSpPr/>
            <p:nvPr/>
          </p:nvSpPr>
          <p:spPr>
            <a:xfrm>
              <a:off x="8135640" y="6060215"/>
              <a:ext cx="278754" cy="170806"/>
            </a:xfrm>
            <a:custGeom>
              <a:avLst/>
              <a:gdLst>
                <a:gd name="connsiteX0" fmla="*/ 267010 w 278754"/>
                <a:gd name="connsiteY0" fmla="*/ 14494 h 170806"/>
                <a:gd name="connsiteX1" fmla="*/ 271258 w 278754"/>
                <a:gd name="connsiteY1" fmla="*/ 0 h 170806"/>
                <a:gd name="connsiteX2" fmla="*/ 6497 w 278754"/>
                <a:gd name="connsiteY2" fmla="*/ 151189 h 170806"/>
                <a:gd name="connsiteX3" fmla="*/ 0 w 278754"/>
                <a:gd name="connsiteY3" fmla="*/ 154938 h 170806"/>
                <a:gd name="connsiteX4" fmla="*/ 0 w 278754"/>
                <a:gd name="connsiteY4" fmla="*/ 154938 h 170806"/>
                <a:gd name="connsiteX5" fmla="*/ 2999 w 278754"/>
                <a:gd name="connsiteY5" fmla="*/ 153689 h 170806"/>
                <a:gd name="connsiteX6" fmla="*/ 13107 w 278754"/>
                <a:gd name="connsiteY6" fmla="*/ 162785 h 170806"/>
                <a:gd name="connsiteX7" fmla="*/ 13119 w 278754"/>
                <a:gd name="connsiteY7" fmla="*/ 162935 h 170806"/>
                <a:gd name="connsiteX8" fmla="*/ 13994 w 278754"/>
                <a:gd name="connsiteY8" fmla="*/ 170807 h 170806"/>
                <a:gd name="connsiteX9" fmla="*/ 278755 w 278754"/>
                <a:gd name="connsiteY9" fmla="*/ 19742 h 170806"/>
                <a:gd name="connsiteX10" fmla="*/ 267547 w 278754"/>
                <a:gd name="connsiteY10" fmla="*/ 15918 h 170806"/>
                <a:gd name="connsiteX11" fmla="*/ 267010 w 278754"/>
                <a:gd name="connsiteY11" fmla="*/ 14494 h 170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754" h="170806">
                  <a:moveTo>
                    <a:pt x="267010" y="14494"/>
                  </a:moveTo>
                  <a:cubicBezTo>
                    <a:pt x="265010" y="9259"/>
                    <a:pt x="266747" y="3336"/>
                    <a:pt x="271258" y="0"/>
                  </a:cubicBezTo>
                  <a:lnTo>
                    <a:pt x="6497" y="151189"/>
                  </a:lnTo>
                  <a:lnTo>
                    <a:pt x="0" y="154938"/>
                  </a:lnTo>
                  <a:lnTo>
                    <a:pt x="0" y="154938"/>
                  </a:lnTo>
                  <a:cubicBezTo>
                    <a:pt x="937" y="154376"/>
                    <a:pt x="1937" y="153951"/>
                    <a:pt x="2999" y="153689"/>
                  </a:cubicBezTo>
                  <a:cubicBezTo>
                    <a:pt x="8309" y="153414"/>
                    <a:pt x="12832" y="157487"/>
                    <a:pt x="13107" y="162785"/>
                  </a:cubicBezTo>
                  <a:cubicBezTo>
                    <a:pt x="13119" y="162835"/>
                    <a:pt x="13119" y="162885"/>
                    <a:pt x="13119" y="162935"/>
                  </a:cubicBezTo>
                  <a:lnTo>
                    <a:pt x="13994" y="170807"/>
                  </a:lnTo>
                  <a:lnTo>
                    <a:pt x="278755" y="19742"/>
                  </a:lnTo>
                  <a:cubicBezTo>
                    <a:pt x="274606" y="21779"/>
                    <a:pt x="269584" y="20067"/>
                    <a:pt x="267547" y="15918"/>
                  </a:cubicBezTo>
                  <a:cubicBezTo>
                    <a:pt x="267334" y="15456"/>
                    <a:pt x="267147" y="14981"/>
                    <a:pt x="267010" y="14494"/>
                  </a:cubicBezTo>
                  <a:close/>
                </a:path>
              </a:pathLst>
            </a:custGeom>
            <a:solidFill>
              <a:srgbClr val="000000"/>
            </a:solidFill>
            <a:ln w="12483" cap="flat">
              <a:noFill/>
              <a:prstDash val="solid"/>
              <a:miter/>
            </a:ln>
          </p:spPr>
          <p:txBody>
            <a:bodyPr rtlCol="0" anchor="ctr"/>
            <a:lstStyle/>
            <a:p>
              <a:endParaRPr lang="en-US"/>
            </a:p>
          </p:txBody>
        </p:sp>
        <p:sp>
          <p:nvSpPr>
            <p:cNvPr id="1768" name="Freeform: Shape 1767">
              <a:extLst>
                <a:ext uri="{FF2B5EF4-FFF2-40B4-BE49-F238E27FC236}">
                  <a16:creationId xmlns:a16="http://schemas.microsoft.com/office/drawing/2014/main" id="{B28E149B-21B5-4CB8-BF41-C2EEB7274640}"/>
                </a:ext>
              </a:extLst>
            </p:cNvPr>
            <p:cNvSpPr/>
            <p:nvPr/>
          </p:nvSpPr>
          <p:spPr>
            <a:xfrm>
              <a:off x="8132516" y="6216778"/>
              <a:ext cx="1249" cy="1374"/>
            </a:xfrm>
            <a:custGeom>
              <a:avLst/>
              <a:gdLst>
                <a:gd name="connsiteX0" fmla="*/ 0 w 1249"/>
                <a:gd name="connsiteY0" fmla="*/ 1374 h 1374"/>
                <a:gd name="connsiteX1" fmla="*/ 1249 w 1249"/>
                <a:gd name="connsiteY1" fmla="*/ 0 h 1374"/>
                <a:gd name="connsiteX2" fmla="*/ 125 w 1249"/>
                <a:gd name="connsiteY2" fmla="*/ 1125 h 1374"/>
              </a:gdLst>
              <a:ahLst/>
              <a:cxnLst>
                <a:cxn ang="0">
                  <a:pos x="connsiteX0" y="connsiteY0"/>
                </a:cxn>
                <a:cxn ang="0">
                  <a:pos x="connsiteX1" y="connsiteY1"/>
                </a:cxn>
                <a:cxn ang="0">
                  <a:pos x="connsiteX2" y="connsiteY2"/>
                </a:cxn>
              </a:cxnLst>
              <a:rect l="l" t="t" r="r" b="b"/>
              <a:pathLst>
                <a:path w="1249" h="1374">
                  <a:moveTo>
                    <a:pt x="0" y="1374"/>
                  </a:moveTo>
                  <a:cubicBezTo>
                    <a:pt x="350" y="862"/>
                    <a:pt x="775" y="400"/>
                    <a:pt x="1249" y="0"/>
                  </a:cubicBezTo>
                  <a:lnTo>
                    <a:pt x="125" y="1125"/>
                  </a:lnTo>
                  <a:close/>
                </a:path>
              </a:pathLst>
            </a:custGeom>
            <a:solidFill>
              <a:srgbClr val="000000"/>
            </a:solidFill>
            <a:ln w="12483" cap="flat">
              <a:noFill/>
              <a:prstDash val="solid"/>
              <a:miter/>
            </a:ln>
          </p:spPr>
          <p:txBody>
            <a:bodyPr rtlCol="0" anchor="ctr"/>
            <a:lstStyle/>
            <a:p>
              <a:endParaRPr lang="en-US"/>
            </a:p>
          </p:txBody>
        </p:sp>
        <p:sp>
          <p:nvSpPr>
            <p:cNvPr id="1769" name="Freeform: Shape 1768">
              <a:extLst>
                <a:ext uri="{FF2B5EF4-FFF2-40B4-BE49-F238E27FC236}">
                  <a16:creationId xmlns:a16="http://schemas.microsoft.com/office/drawing/2014/main" id="{BADDF064-2754-40F6-BF78-8EF78D597E4C}"/>
                </a:ext>
              </a:extLst>
            </p:cNvPr>
            <p:cNvSpPr/>
            <p:nvPr/>
          </p:nvSpPr>
          <p:spPr>
            <a:xfrm>
              <a:off x="10816349" y="4562063"/>
              <a:ext cx="29546" cy="385221"/>
            </a:xfrm>
            <a:custGeom>
              <a:avLst/>
              <a:gdLst>
                <a:gd name="connsiteX0" fmla="*/ 29495 w 29546"/>
                <a:gd name="connsiteY0" fmla="*/ 11246 h 385221"/>
                <a:gd name="connsiteX1" fmla="*/ 20874 w 29546"/>
                <a:gd name="connsiteY1" fmla="*/ 0 h 385221"/>
                <a:gd name="connsiteX2" fmla="*/ 11503 w 29546"/>
                <a:gd name="connsiteY2" fmla="*/ 10496 h 385221"/>
                <a:gd name="connsiteX3" fmla="*/ 8 w 29546"/>
                <a:gd name="connsiteY3" fmla="*/ 371477 h 385221"/>
                <a:gd name="connsiteX4" fmla="*/ 8 w 29546"/>
                <a:gd name="connsiteY4" fmla="*/ 376725 h 385221"/>
                <a:gd name="connsiteX5" fmla="*/ 8 w 29546"/>
                <a:gd name="connsiteY5" fmla="*/ 384347 h 385221"/>
                <a:gd name="connsiteX6" fmla="*/ 9379 w 29546"/>
                <a:gd name="connsiteY6" fmla="*/ 373976 h 385221"/>
                <a:gd name="connsiteX7" fmla="*/ 18000 w 29546"/>
                <a:gd name="connsiteY7" fmla="*/ 385222 h 385221"/>
                <a:gd name="connsiteX8" fmla="*/ 29370 w 29546"/>
                <a:gd name="connsiteY8" fmla="*/ 23991 h 385221"/>
                <a:gd name="connsiteX9" fmla="*/ 29370 w 29546"/>
                <a:gd name="connsiteY9" fmla="*/ 18743 h 38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46" h="385221">
                  <a:moveTo>
                    <a:pt x="29495" y="11246"/>
                  </a:moveTo>
                  <a:cubicBezTo>
                    <a:pt x="30032" y="5810"/>
                    <a:pt x="26259" y="900"/>
                    <a:pt x="20874" y="0"/>
                  </a:cubicBezTo>
                  <a:cubicBezTo>
                    <a:pt x="15401" y="337"/>
                    <a:pt x="11215" y="5023"/>
                    <a:pt x="11503" y="10496"/>
                  </a:cubicBezTo>
                  <a:lnTo>
                    <a:pt x="8" y="371477"/>
                  </a:lnTo>
                  <a:lnTo>
                    <a:pt x="8" y="376725"/>
                  </a:lnTo>
                  <a:lnTo>
                    <a:pt x="8" y="384347"/>
                  </a:lnTo>
                  <a:cubicBezTo>
                    <a:pt x="-205" y="378912"/>
                    <a:pt x="3956" y="374313"/>
                    <a:pt x="9379" y="373976"/>
                  </a:cubicBezTo>
                  <a:cubicBezTo>
                    <a:pt x="14764" y="374876"/>
                    <a:pt x="18537" y="379786"/>
                    <a:pt x="18000" y="385222"/>
                  </a:cubicBezTo>
                  <a:lnTo>
                    <a:pt x="29370" y="23991"/>
                  </a:lnTo>
                  <a:lnTo>
                    <a:pt x="29370" y="18743"/>
                  </a:lnTo>
                  <a:close/>
                </a:path>
              </a:pathLst>
            </a:custGeom>
            <a:solidFill>
              <a:srgbClr val="000000"/>
            </a:solidFill>
            <a:ln w="12483" cap="flat">
              <a:noFill/>
              <a:prstDash val="solid"/>
              <a:miter/>
            </a:ln>
          </p:spPr>
          <p:txBody>
            <a:bodyPr rtlCol="0" anchor="ctr"/>
            <a:lstStyle/>
            <a:p>
              <a:endParaRPr lang="en-US"/>
            </a:p>
          </p:txBody>
        </p:sp>
        <p:sp>
          <p:nvSpPr>
            <p:cNvPr id="1770" name="Freeform: Shape 1769">
              <a:extLst>
                <a:ext uri="{FF2B5EF4-FFF2-40B4-BE49-F238E27FC236}">
                  <a16:creationId xmlns:a16="http://schemas.microsoft.com/office/drawing/2014/main" id="{A551046C-F6D2-4112-AB47-1867195C2523}"/>
                </a:ext>
              </a:extLst>
            </p:cNvPr>
            <p:cNvSpPr/>
            <p:nvPr/>
          </p:nvSpPr>
          <p:spPr>
            <a:xfrm>
              <a:off x="10804986" y="4936039"/>
              <a:ext cx="29763" cy="381597"/>
            </a:xfrm>
            <a:custGeom>
              <a:avLst/>
              <a:gdLst>
                <a:gd name="connsiteX0" fmla="*/ 20866 w 29763"/>
                <a:gd name="connsiteY0" fmla="*/ 0 h 381597"/>
                <a:gd name="connsiteX1" fmla="*/ 11495 w 29763"/>
                <a:gd name="connsiteY1" fmla="*/ 10371 h 381597"/>
                <a:gd name="connsiteX2" fmla="*/ 0 w 29763"/>
                <a:gd name="connsiteY2" fmla="*/ 372726 h 381597"/>
                <a:gd name="connsiteX3" fmla="*/ 4873 w 29763"/>
                <a:gd name="connsiteY3" fmla="*/ 369852 h 381597"/>
                <a:gd name="connsiteX4" fmla="*/ 16393 w 29763"/>
                <a:gd name="connsiteY4" fmla="*/ 372576 h 381597"/>
                <a:gd name="connsiteX5" fmla="*/ 17368 w 29763"/>
                <a:gd name="connsiteY5" fmla="*/ 374851 h 381597"/>
                <a:gd name="connsiteX6" fmla="*/ 17992 w 29763"/>
                <a:gd name="connsiteY6" fmla="*/ 381598 h 381597"/>
                <a:gd name="connsiteX7" fmla="*/ 17992 w 29763"/>
                <a:gd name="connsiteY7" fmla="*/ 380098 h 381597"/>
                <a:gd name="connsiteX8" fmla="*/ 29737 w 29763"/>
                <a:gd name="connsiteY8" fmla="*/ 10995 h 381597"/>
                <a:gd name="connsiteX9" fmla="*/ 20866 w 29763"/>
                <a:gd name="connsiteY9" fmla="*/ 0 h 38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3" h="381597">
                  <a:moveTo>
                    <a:pt x="20866" y="0"/>
                  </a:moveTo>
                  <a:cubicBezTo>
                    <a:pt x="15444" y="337"/>
                    <a:pt x="11283" y="4935"/>
                    <a:pt x="11495" y="10371"/>
                  </a:cubicBezTo>
                  <a:lnTo>
                    <a:pt x="0" y="372726"/>
                  </a:lnTo>
                  <a:lnTo>
                    <a:pt x="4873" y="369852"/>
                  </a:lnTo>
                  <a:cubicBezTo>
                    <a:pt x="8809" y="367428"/>
                    <a:pt x="13969" y="368640"/>
                    <a:pt x="16393" y="372576"/>
                  </a:cubicBezTo>
                  <a:cubicBezTo>
                    <a:pt x="16830" y="373289"/>
                    <a:pt x="17155" y="374051"/>
                    <a:pt x="17368" y="374851"/>
                  </a:cubicBezTo>
                  <a:cubicBezTo>
                    <a:pt x="18192" y="377000"/>
                    <a:pt x="18405" y="379336"/>
                    <a:pt x="17992" y="381598"/>
                  </a:cubicBezTo>
                  <a:cubicBezTo>
                    <a:pt x="18055" y="381098"/>
                    <a:pt x="18055" y="380598"/>
                    <a:pt x="17992" y="380098"/>
                  </a:cubicBezTo>
                  <a:lnTo>
                    <a:pt x="29737" y="10995"/>
                  </a:lnTo>
                  <a:cubicBezTo>
                    <a:pt x="30125" y="5573"/>
                    <a:pt x="26251" y="774"/>
                    <a:pt x="20866" y="0"/>
                  </a:cubicBezTo>
                  <a:close/>
                </a:path>
              </a:pathLst>
            </a:custGeom>
            <a:solidFill>
              <a:srgbClr val="000000"/>
            </a:solidFill>
            <a:ln w="12483" cap="flat">
              <a:noFill/>
              <a:prstDash val="solid"/>
              <a:miter/>
            </a:ln>
          </p:spPr>
          <p:txBody>
            <a:bodyPr rtlCol="0" anchor="ctr"/>
            <a:lstStyle/>
            <a:p>
              <a:endParaRPr lang="en-US"/>
            </a:p>
          </p:txBody>
        </p:sp>
        <p:sp>
          <p:nvSpPr>
            <p:cNvPr id="1771" name="Freeform: Shape 1770">
              <a:extLst>
                <a:ext uri="{FF2B5EF4-FFF2-40B4-BE49-F238E27FC236}">
                  <a16:creationId xmlns:a16="http://schemas.microsoft.com/office/drawing/2014/main" id="{32C8862E-6289-4A62-AE01-62566FB5B8A9}"/>
                </a:ext>
              </a:extLst>
            </p:cNvPr>
            <p:cNvSpPr/>
            <p:nvPr/>
          </p:nvSpPr>
          <p:spPr>
            <a:xfrm>
              <a:off x="8011887" y="6025323"/>
              <a:ext cx="22671" cy="52385"/>
            </a:xfrm>
            <a:custGeom>
              <a:avLst/>
              <a:gdLst>
                <a:gd name="connsiteX0" fmla="*/ 18298 w 22671"/>
                <a:gd name="connsiteY0" fmla="*/ 17149 h 52385"/>
                <a:gd name="connsiteX1" fmla="*/ 17424 w 22671"/>
                <a:gd name="connsiteY1" fmla="*/ 9152 h 52385"/>
                <a:gd name="connsiteX2" fmla="*/ 7591 w 22671"/>
                <a:gd name="connsiteY2" fmla="*/ 6 h 52385"/>
                <a:gd name="connsiteX3" fmla="*/ 7178 w 22671"/>
                <a:gd name="connsiteY3" fmla="*/ 31 h 52385"/>
                <a:gd name="connsiteX4" fmla="*/ 2930 w 22671"/>
                <a:gd name="connsiteY4" fmla="*/ 2530 h 52385"/>
                <a:gd name="connsiteX5" fmla="*/ 1556 w 22671"/>
                <a:gd name="connsiteY5" fmla="*/ 3905 h 52385"/>
                <a:gd name="connsiteX6" fmla="*/ 681 w 22671"/>
                <a:gd name="connsiteY6" fmla="*/ 5654 h 52385"/>
                <a:gd name="connsiteX7" fmla="*/ 56 w 22671"/>
                <a:gd name="connsiteY7" fmla="*/ 7528 h 52385"/>
                <a:gd name="connsiteX8" fmla="*/ 56 w 22671"/>
                <a:gd name="connsiteY8" fmla="*/ 9528 h 52385"/>
                <a:gd name="connsiteX9" fmla="*/ 56 w 22671"/>
                <a:gd name="connsiteY9" fmla="*/ 11652 h 52385"/>
                <a:gd name="connsiteX10" fmla="*/ 56 w 22671"/>
                <a:gd name="connsiteY10" fmla="*/ 12276 h 52385"/>
                <a:gd name="connsiteX11" fmla="*/ 4929 w 22671"/>
                <a:gd name="connsiteY11" fmla="*/ 52385 h 52385"/>
                <a:gd name="connsiteX12" fmla="*/ 12551 w 22671"/>
                <a:gd name="connsiteY12" fmla="*/ 39890 h 52385"/>
                <a:gd name="connsiteX13" fmla="*/ 22634 w 22671"/>
                <a:gd name="connsiteY13" fmla="*/ 48225 h 52385"/>
                <a:gd name="connsiteX14" fmla="*/ 22672 w 22671"/>
                <a:gd name="connsiteY14" fmla="*/ 49012 h 52385"/>
                <a:gd name="connsiteX15" fmla="*/ 20672 w 22671"/>
                <a:gd name="connsiteY15" fmla="*/ 32268 h 52385"/>
                <a:gd name="connsiteX16" fmla="*/ 19798 w 22671"/>
                <a:gd name="connsiteY16" fmla="*/ 24396 h 5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71" h="52385">
                  <a:moveTo>
                    <a:pt x="18298" y="17149"/>
                  </a:moveTo>
                  <a:lnTo>
                    <a:pt x="17424" y="9152"/>
                  </a:lnTo>
                  <a:cubicBezTo>
                    <a:pt x="17236" y="3917"/>
                    <a:pt x="12826" y="-181"/>
                    <a:pt x="7591" y="6"/>
                  </a:cubicBezTo>
                  <a:cubicBezTo>
                    <a:pt x="7453" y="6"/>
                    <a:pt x="7316" y="19"/>
                    <a:pt x="7178" y="31"/>
                  </a:cubicBezTo>
                  <a:cubicBezTo>
                    <a:pt x="5529" y="369"/>
                    <a:pt x="4030" y="1256"/>
                    <a:pt x="2930" y="2530"/>
                  </a:cubicBezTo>
                  <a:lnTo>
                    <a:pt x="1556" y="3905"/>
                  </a:lnTo>
                  <a:cubicBezTo>
                    <a:pt x="1556" y="3905"/>
                    <a:pt x="1556" y="5029"/>
                    <a:pt x="681" y="5654"/>
                  </a:cubicBezTo>
                  <a:cubicBezTo>
                    <a:pt x="419" y="6254"/>
                    <a:pt x="206" y="6891"/>
                    <a:pt x="56" y="7528"/>
                  </a:cubicBezTo>
                  <a:cubicBezTo>
                    <a:pt x="-19" y="8190"/>
                    <a:pt x="-19" y="8865"/>
                    <a:pt x="56" y="9528"/>
                  </a:cubicBezTo>
                  <a:cubicBezTo>
                    <a:pt x="-6" y="10240"/>
                    <a:pt x="-6" y="10939"/>
                    <a:pt x="56" y="11652"/>
                  </a:cubicBezTo>
                  <a:cubicBezTo>
                    <a:pt x="56" y="11652"/>
                    <a:pt x="56" y="11652"/>
                    <a:pt x="56" y="12276"/>
                  </a:cubicBezTo>
                  <a:lnTo>
                    <a:pt x="4929" y="52385"/>
                  </a:lnTo>
                  <a:cubicBezTo>
                    <a:pt x="3805" y="46862"/>
                    <a:pt x="7128" y="41415"/>
                    <a:pt x="12551" y="39890"/>
                  </a:cubicBezTo>
                  <a:cubicBezTo>
                    <a:pt x="17636" y="39403"/>
                    <a:pt x="22147" y="43139"/>
                    <a:pt x="22634" y="48225"/>
                  </a:cubicBezTo>
                  <a:cubicBezTo>
                    <a:pt x="22659" y="48487"/>
                    <a:pt x="22672" y="48749"/>
                    <a:pt x="22672" y="49012"/>
                  </a:cubicBezTo>
                  <a:lnTo>
                    <a:pt x="20672" y="32268"/>
                  </a:lnTo>
                  <a:lnTo>
                    <a:pt x="19798" y="24396"/>
                  </a:lnTo>
                  <a:close/>
                </a:path>
              </a:pathLst>
            </a:custGeom>
            <a:solidFill>
              <a:srgbClr val="000000"/>
            </a:solidFill>
            <a:ln w="12483" cap="flat">
              <a:noFill/>
              <a:prstDash val="solid"/>
              <a:miter/>
            </a:ln>
          </p:spPr>
          <p:txBody>
            <a:bodyPr rtlCol="0" anchor="ctr"/>
            <a:lstStyle/>
            <a:p>
              <a:endParaRPr lang="en-US"/>
            </a:p>
          </p:txBody>
        </p:sp>
        <p:sp>
          <p:nvSpPr>
            <p:cNvPr id="1772" name="Freeform: Shape 1771">
              <a:extLst>
                <a:ext uri="{FF2B5EF4-FFF2-40B4-BE49-F238E27FC236}">
                  <a16:creationId xmlns:a16="http://schemas.microsoft.com/office/drawing/2014/main" id="{6B78DB87-93B4-49D2-BBD8-A996E2C37B79}"/>
                </a:ext>
              </a:extLst>
            </p:cNvPr>
            <p:cNvSpPr/>
            <p:nvPr/>
          </p:nvSpPr>
          <p:spPr>
            <a:xfrm>
              <a:off x="8016098" y="6064950"/>
              <a:ext cx="28206" cy="99598"/>
            </a:xfrm>
            <a:custGeom>
              <a:avLst/>
              <a:gdLst>
                <a:gd name="connsiteX0" fmla="*/ 7840 w 28206"/>
                <a:gd name="connsiteY0" fmla="*/ 14 h 99598"/>
                <a:gd name="connsiteX1" fmla="*/ 218 w 28206"/>
                <a:gd name="connsiteY1" fmla="*/ 12509 h 99598"/>
                <a:gd name="connsiteX2" fmla="*/ 218 w 28206"/>
                <a:gd name="connsiteY2" fmla="*/ 15258 h 99598"/>
                <a:gd name="connsiteX3" fmla="*/ 10464 w 28206"/>
                <a:gd name="connsiteY3" fmla="*/ 99599 h 99598"/>
                <a:gd name="connsiteX4" fmla="*/ 17961 w 28206"/>
                <a:gd name="connsiteY4" fmla="*/ 87104 h 99598"/>
                <a:gd name="connsiteX5" fmla="*/ 28169 w 28206"/>
                <a:gd name="connsiteY5" fmla="*/ 95563 h 99598"/>
                <a:gd name="connsiteX6" fmla="*/ 28206 w 28206"/>
                <a:gd name="connsiteY6" fmla="*/ 96225 h 99598"/>
                <a:gd name="connsiteX7" fmla="*/ 17586 w 28206"/>
                <a:gd name="connsiteY7" fmla="*/ 8760 h 99598"/>
                <a:gd name="connsiteX8" fmla="*/ 7865 w 28206"/>
                <a:gd name="connsiteY8" fmla="*/ 14 h 99598"/>
                <a:gd name="connsiteX9" fmla="*/ 7840 w 28206"/>
                <a:gd name="connsiteY9" fmla="*/ 14 h 9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6" h="99598">
                  <a:moveTo>
                    <a:pt x="7840" y="14"/>
                  </a:moveTo>
                  <a:cubicBezTo>
                    <a:pt x="2417" y="1538"/>
                    <a:pt x="-906" y="6986"/>
                    <a:pt x="218" y="12509"/>
                  </a:cubicBezTo>
                  <a:lnTo>
                    <a:pt x="218" y="15258"/>
                  </a:lnTo>
                  <a:lnTo>
                    <a:pt x="10464" y="99599"/>
                  </a:lnTo>
                  <a:cubicBezTo>
                    <a:pt x="9327" y="94114"/>
                    <a:pt x="12588" y="88678"/>
                    <a:pt x="17961" y="87104"/>
                  </a:cubicBezTo>
                  <a:cubicBezTo>
                    <a:pt x="23108" y="86617"/>
                    <a:pt x="27681" y="90403"/>
                    <a:pt x="28169" y="95563"/>
                  </a:cubicBezTo>
                  <a:cubicBezTo>
                    <a:pt x="28194" y="95775"/>
                    <a:pt x="28206" y="96000"/>
                    <a:pt x="28206" y="96225"/>
                  </a:cubicBezTo>
                  <a:lnTo>
                    <a:pt x="17586" y="8760"/>
                  </a:lnTo>
                  <a:cubicBezTo>
                    <a:pt x="17323" y="3662"/>
                    <a:pt x="12963" y="-261"/>
                    <a:pt x="7865" y="14"/>
                  </a:cubicBezTo>
                  <a:cubicBezTo>
                    <a:pt x="7853" y="14"/>
                    <a:pt x="7853" y="14"/>
                    <a:pt x="7840" y="14"/>
                  </a:cubicBezTo>
                  <a:close/>
                </a:path>
              </a:pathLst>
            </a:custGeom>
            <a:solidFill>
              <a:srgbClr val="000000"/>
            </a:solidFill>
            <a:ln w="12483" cap="flat">
              <a:noFill/>
              <a:prstDash val="solid"/>
              <a:miter/>
            </a:ln>
          </p:spPr>
          <p:txBody>
            <a:bodyPr rtlCol="0" anchor="ctr"/>
            <a:lstStyle/>
            <a:p>
              <a:endParaRPr lang="en-US"/>
            </a:p>
          </p:txBody>
        </p:sp>
        <p:sp>
          <p:nvSpPr>
            <p:cNvPr id="1773" name="Freeform: Shape 1772">
              <a:extLst>
                <a:ext uri="{FF2B5EF4-FFF2-40B4-BE49-F238E27FC236}">
                  <a16:creationId xmlns:a16="http://schemas.microsoft.com/office/drawing/2014/main" id="{12A07BEB-D44E-4222-B796-BB0734BEA515}"/>
                </a:ext>
              </a:extLst>
            </p:cNvPr>
            <p:cNvSpPr/>
            <p:nvPr/>
          </p:nvSpPr>
          <p:spPr>
            <a:xfrm>
              <a:off x="11376739" y="4341276"/>
              <a:ext cx="1124" cy="1874"/>
            </a:xfrm>
            <a:custGeom>
              <a:avLst/>
              <a:gdLst>
                <a:gd name="connsiteX0" fmla="*/ 1124 w 1124"/>
                <a:gd name="connsiteY0" fmla="*/ 1874 h 1874"/>
                <a:gd name="connsiteX1" fmla="*/ 0 w 1124"/>
                <a:gd name="connsiteY1" fmla="*/ 0 h 1874"/>
                <a:gd name="connsiteX2" fmla="*/ 0 w 1124"/>
                <a:gd name="connsiteY2" fmla="*/ 750 h 1874"/>
              </a:gdLst>
              <a:ahLst/>
              <a:cxnLst>
                <a:cxn ang="0">
                  <a:pos x="connsiteX0" y="connsiteY0"/>
                </a:cxn>
                <a:cxn ang="0">
                  <a:pos x="connsiteX1" y="connsiteY1"/>
                </a:cxn>
                <a:cxn ang="0">
                  <a:pos x="connsiteX2" y="connsiteY2"/>
                </a:cxn>
              </a:cxnLst>
              <a:rect l="l" t="t" r="r" b="b"/>
              <a:pathLst>
                <a:path w="1124" h="1874">
                  <a:moveTo>
                    <a:pt x="1124" y="1874"/>
                  </a:moveTo>
                  <a:cubicBezTo>
                    <a:pt x="675" y="1300"/>
                    <a:pt x="300" y="662"/>
                    <a:pt x="0" y="0"/>
                  </a:cubicBezTo>
                  <a:lnTo>
                    <a:pt x="0" y="750"/>
                  </a:lnTo>
                  <a:close/>
                </a:path>
              </a:pathLst>
            </a:custGeom>
            <a:solidFill>
              <a:srgbClr val="000000"/>
            </a:solidFill>
            <a:ln w="12483" cap="flat">
              <a:noFill/>
              <a:prstDash val="solid"/>
              <a:miter/>
            </a:ln>
          </p:spPr>
          <p:txBody>
            <a:bodyPr rtlCol="0" anchor="ctr"/>
            <a:lstStyle/>
            <a:p>
              <a:endParaRPr lang="en-US"/>
            </a:p>
          </p:txBody>
        </p:sp>
        <p:sp>
          <p:nvSpPr>
            <p:cNvPr id="1774" name="Freeform: Shape 1773">
              <a:extLst>
                <a:ext uri="{FF2B5EF4-FFF2-40B4-BE49-F238E27FC236}">
                  <a16:creationId xmlns:a16="http://schemas.microsoft.com/office/drawing/2014/main" id="{8D116DB8-E5AC-4668-97B3-265B50D675D3}"/>
                </a:ext>
              </a:extLst>
            </p:cNvPr>
            <p:cNvSpPr/>
            <p:nvPr/>
          </p:nvSpPr>
          <p:spPr>
            <a:xfrm>
              <a:off x="11375990" y="4303166"/>
              <a:ext cx="18880" cy="32362"/>
            </a:xfrm>
            <a:custGeom>
              <a:avLst/>
              <a:gdLst>
                <a:gd name="connsiteX0" fmla="*/ 9621 w 18880"/>
                <a:gd name="connsiteY0" fmla="*/ 11496 h 32362"/>
                <a:gd name="connsiteX1" fmla="*/ 1250 w 18880"/>
                <a:gd name="connsiteY1" fmla="*/ 0 h 32362"/>
                <a:gd name="connsiteX2" fmla="*/ 0 w 18880"/>
                <a:gd name="connsiteY2" fmla="*/ 20742 h 32362"/>
                <a:gd name="connsiteX3" fmla="*/ 0 w 18880"/>
                <a:gd name="connsiteY3" fmla="*/ 25740 h 32362"/>
                <a:gd name="connsiteX4" fmla="*/ 0 w 18880"/>
                <a:gd name="connsiteY4" fmla="*/ 32362 h 32362"/>
                <a:gd name="connsiteX5" fmla="*/ 0 w 18880"/>
                <a:gd name="connsiteY5" fmla="*/ 32362 h 32362"/>
                <a:gd name="connsiteX6" fmla="*/ 2499 w 18880"/>
                <a:gd name="connsiteY6" fmla="*/ 25115 h 32362"/>
                <a:gd name="connsiteX7" fmla="*/ 13744 w 18880"/>
                <a:gd name="connsiteY7" fmla="*/ 23866 h 32362"/>
                <a:gd name="connsiteX8" fmla="*/ 14994 w 18880"/>
                <a:gd name="connsiteY8" fmla="*/ 25115 h 32362"/>
                <a:gd name="connsiteX9" fmla="*/ 17992 w 18880"/>
                <a:gd name="connsiteY9" fmla="*/ 28739 h 32362"/>
                <a:gd name="connsiteX10" fmla="*/ 18867 w 18880"/>
                <a:gd name="connsiteY10" fmla="*/ 12870 h 32362"/>
                <a:gd name="connsiteX11" fmla="*/ 18867 w 18880"/>
                <a:gd name="connsiteY11" fmla="*/ 7872 h 32362"/>
                <a:gd name="connsiteX12" fmla="*/ 18867 w 18880"/>
                <a:gd name="connsiteY12" fmla="*/ 1375 h 32362"/>
                <a:gd name="connsiteX13" fmla="*/ 9771 w 18880"/>
                <a:gd name="connsiteY13" fmla="*/ 11483 h 32362"/>
                <a:gd name="connsiteX14" fmla="*/ 9621 w 18880"/>
                <a:gd name="connsiteY14" fmla="*/ 11496 h 3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880" h="32362">
                  <a:moveTo>
                    <a:pt x="9621" y="11496"/>
                  </a:moveTo>
                  <a:cubicBezTo>
                    <a:pt x="4198" y="10534"/>
                    <a:pt x="487" y="5460"/>
                    <a:pt x="1250" y="0"/>
                  </a:cubicBezTo>
                  <a:lnTo>
                    <a:pt x="0" y="20742"/>
                  </a:lnTo>
                  <a:lnTo>
                    <a:pt x="0" y="25740"/>
                  </a:lnTo>
                  <a:lnTo>
                    <a:pt x="0" y="32362"/>
                  </a:lnTo>
                  <a:lnTo>
                    <a:pt x="0" y="32362"/>
                  </a:lnTo>
                  <a:cubicBezTo>
                    <a:pt x="50" y="29751"/>
                    <a:pt x="925" y="27214"/>
                    <a:pt x="2499" y="25115"/>
                  </a:cubicBezTo>
                  <a:cubicBezTo>
                    <a:pt x="5260" y="21666"/>
                    <a:pt x="10283" y="21104"/>
                    <a:pt x="13744" y="23866"/>
                  </a:cubicBezTo>
                  <a:cubicBezTo>
                    <a:pt x="14206" y="24228"/>
                    <a:pt x="14619" y="24653"/>
                    <a:pt x="14994" y="25115"/>
                  </a:cubicBezTo>
                  <a:lnTo>
                    <a:pt x="17992" y="28739"/>
                  </a:lnTo>
                  <a:lnTo>
                    <a:pt x="18867" y="12870"/>
                  </a:lnTo>
                  <a:lnTo>
                    <a:pt x="18867" y="7872"/>
                  </a:lnTo>
                  <a:lnTo>
                    <a:pt x="18867" y="1375"/>
                  </a:lnTo>
                  <a:cubicBezTo>
                    <a:pt x="19142" y="6685"/>
                    <a:pt x="15068" y="11208"/>
                    <a:pt x="9771" y="11483"/>
                  </a:cubicBezTo>
                  <a:cubicBezTo>
                    <a:pt x="9721" y="11496"/>
                    <a:pt x="9671" y="11496"/>
                    <a:pt x="9621" y="11496"/>
                  </a:cubicBezTo>
                  <a:close/>
                </a:path>
              </a:pathLst>
            </a:custGeom>
            <a:solidFill>
              <a:srgbClr val="000000"/>
            </a:solidFill>
            <a:ln w="12483" cap="flat">
              <a:noFill/>
              <a:prstDash val="solid"/>
              <a:miter/>
            </a:ln>
          </p:spPr>
          <p:txBody>
            <a:bodyPr rtlCol="0" anchor="ctr"/>
            <a:lstStyle/>
            <a:p>
              <a:endParaRPr lang="en-US"/>
            </a:p>
          </p:txBody>
        </p:sp>
        <p:sp>
          <p:nvSpPr>
            <p:cNvPr id="1775" name="Freeform: Shape 1774">
              <a:extLst>
                <a:ext uri="{FF2B5EF4-FFF2-40B4-BE49-F238E27FC236}">
                  <a16:creationId xmlns:a16="http://schemas.microsoft.com/office/drawing/2014/main" id="{BCB7981C-5745-4D89-A3C5-E9BAEDA2DF2A}"/>
                </a:ext>
              </a:extLst>
            </p:cNvPr>
            <p:cNvSpPr/>
            <p:nvPr/>
          </p:nvSpPr>
          <p:spPr>
            <a:xfrm>
              <a:off x="11375568" y="4338152"/>
              <a:ext cx="93" cy="1999"/>
            </a:xfrm>
            <a:custGeom>
              <a:avLst/>
              <a:gdLst>
                <a:gd name="connsiteX0" fmla="*/ 47 w 93"/>
                <a:gd name="connsiteY0" fmla="*/ 1999 h 1999"/>
                <a:gd name="connsiteX1" fmla="*/ 47 w 93"/>
                <a:gd name="connsiteY1" fmla="*/ 0 h 1999"/>
                <a:gd name="connsiteX2" fmla="*/ 47 w 93"/>
                <a:gd name="connsiteY2" fmla="*/ 875 h 1999"/>
                <a:gd name="connsiteX3" fmla="*/ 47 w 93"/>
                <a:gd name="connsiteY3" fmla="*/ 1999 h 1999"/>
              </a:gdLst>
              <a:ahLst/>
              <a:cxnLst>
                <a:cxn ang="0">
                  <a:pos x="connsiteX0" y="connsiteY0"/>
                </a:cxn>
                <a:cxn ang="0">
                  <a:pos x="connsiteX1" y="connsiteY1"/>
                </a:cxn>
                <a:cxn ang="0">
                  <a:pos x="connsiteX2" y="connsiteY2"/>
                </a:cxn>
                <a:cxn ang="0">
                  <a:pos x="connsiteX3" y="connsiteY3"/>
                </a:cxn>
              </a:cxnLst>
              <a:rect l="l" t="t" r="r" b="b"/>
              <a:pathLst>
                <a:path w="93" h="1999">
                  <a:moveTo>
                    <a:pt x="47" y="1999"/>
                  </a:moveTo>
                  <a:cubicBezTo>
                    <a:pt x="-16" y="1337"/>
                    <a:pt x="-16" y="662"/>
                    <a:pt x="47" y="0"/>
                  </a:cubicBezTo>
                  <a:cubicBezTo>
                    <a:pt x="109" y="287"/>
                    <a:pt x="109" y="587"/>
                    <a:pt x="47" y="875"/>
                  </a:cubicBezTo>
                  <a:cubicBezTo>
                    <a:pt x="47" y="875"/>
                    <a:pt x="47" y="1624"/>
                    <a:pt x="47" y="1999"/>
                  </a:cubicBezTo>
                  <a:close/>
                </a:path>
              </a:pathLst>
            </a:custGeom>
            <a:solidFill>
              <a:srgbClr val="000000"/>
            </a:solidFill>
            <a:ln w="12483" cap="flat">
              <a:noFill/>
              <a:prstDash val="solid"/>
              <a:miter/>
            </a:ln>
          </p:spPr>
          <p:txBody>
            <a:bodyPr rtlCol="0" anchor="ctr"/>
            <a:lstStyle/>
            <a:p>
              <a:endParaRPr lang="en-US"/>
            </a:p>
          </p:txBody>
        </p:sp>
        <p:sp>
          <p:nvSpPr>
            <p:cNvPr id="1776" name="Freeform: Shape 1775">
              <a:extLst>
                <a:ext uri="{FF2B5EF4-FFF2-40B4-BE49-F238E27FC236}">
                  <a16:creationId xmlns:a16="http://schemas.microsoft.com/office/drawing/2014/main" id="{C64F273F-1499-400A-9E43-88D23E6F184C}"/>
                </a:ext>
              </a:extLst>
            </p:cNvPr>
            <p:cNvSpPr/>
            <p:nvPr/>
          </p:nvSpPr>
          <p:spPr>
            <a:xfrm>
              <a:off x="11266069" y="4132506"/>
              <a:ext cx="33579" cy="38837"/>
            </a:xfrm>
            <a:custGeom>
              <a:avLst/>
              <a:gdLst>
                <a:gd name="connsiteX0" fmla="*/ 22709 w 33579"/>
                <a:gd name="connsiteY0" fmla="*/ 13098 h 38837"/>
                <a:gd name="connsiteX1" fmla="*/ 13338 w 33579"/>
                <a:gd name="connsiteY1" fmla="*/ 2227 h 38837"/>
                <a:gd name="connsiteX2" fmla="*/ 12213 w 33579"/>
                <a:gd name="connsiteY2" fmla="*/ 1353 h 38837"/>
                <a:gd name="connsiteX3" fmla="*/ 10714 w 33579"/>
                <a:gd name="connsiteY3" fmla="*/ 103 h 38837"/>
                <a:gd name="connsiteX4" fmla="*/ 10714 w 33579"/>
                <a:gd name="connsiteY4" fmla="*/ 103 h 38837"/>
                <a:gd name="connsiteX5" fmla="*/ 9090 w 33579"/>
                <a:gd name="connsiteY5" fmla="*/ 103 h 38837"/>
                <a:gd name="connsiteX6" fmla="*/ 7590 w 33579"/>
                <a:gd name="connsiteY6" fmla="*/ 103 h 38837"/>
                <a:gd name="connsiteX7" fmla="*/ 5591 w 33579"/>
                <a:gd name="connsiteY7" fmla="*/ 103 h 38837"/>
                <a:gd name="connsiteX8" fmla="*/ 4092 w 33579"/>
                <a:gd name="connsiteY8" fmla="*/ 103 h 38837"/>
                <a:gd name="connsiteX9" fmla="*/ 2718 w 33579"/>
                <a:gd name="connsiteY9" fmla="*/ 1103 h 38837"/>
                <a:gd name="connsiteX10" fmla="*/ 1093 w 33579"/>
                <a:gd name="connsiteY10" fmla="*/ 2352 h 38837"/>
                <a:gd name="connsiteX11" fmla="*/ 1093 w 33579"/>
                <a:gd name="connsiteY11" fmla="*/ 2352 h 38837"/>
                <a:gd name="connsiteX12" fmla="*/ 1093 w 33579"/>
                <a:gd name="connsiteY12" fmla="*/ 3602 h 38837"/>
                <a:gd name="connsiteX13" fmla="*/ 94 w 33579"/>
                <a:gd name="connsiteY13" fmla="*/ 5476 h 38837"/>
                <a:gd name="connsiteX14" fmla="*/ 94 w 33579"/>
                <a:gd name="connsiteY14" fmla="*/ 7850 h 38837"/>
                <a:gd name="connsiteX15" fmla="*/ 94 w 33579"/>
                <a:gd name="connsiteY15" fmla="*/ 9974 h 38837"/>
                <a:gd name="connsiteX16" fmla="*/ 2842 w 33579"/>
                <a:gd name="connsiteY16" fmla="*/ 17721 h 38837"/>
                <a:gd name="connsiteX17" fmla="*/ 16836 w 33579"/>
                <a:gd name="connsiteY17" fmla="*/ 33840 h 38837"/>
                <a:gd name="connsiteX18" fmla="*/ 21085 w 33579"/>
                <a:gd name="connsiteY18" fmla="*/ 38838 h 38837"/>
                <a:gd name="connsiteX19" fmla="*/ 21085 w 33579"/>
                <a:gd name="connsiteY19" fmla="*/ 23469 h 38837"/>
                <a:gd name="connsiteX20" fmla="*/ 31917 w 33579"/>
                <a:gd name="connsiteY20" fmla="*/ 21807 h 38837"/>
                <a:gd name="connsiteX21" fmla="*/ 33579 w 33579"/>
                <a:gd name="connsiteY21" fmla="*/ 23469 h 38837"/>
                <a:gd name="connsiteX22" fmla="*/ 29706 w 33579"/>
                <a:gd name="connsiteY22" fmla="*/ 18845 h 38837"/>
                <a:gd name="connsiteX23" fmla="*/ 26707 w 33579"/>
                <a:gd name="connsiteY23" fmla="*/ 15347 h 3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579" h="38837">
                  <a:moveTo>
                    <a:pt x="22709" y="13098"/>
                  </a:moveTo>
                  <a:lnTo>
                    <a:pt x="13338" y="2227"/>
                  </a:lnTo>
                  <a:lnTo>
                    <a:pt x="12213" y="1353"/>
                  </a:lnTo>
                  <a:lnTo>
                    <a:pt x="10714" y="103"/>
                  </a:lnTo>
                  <a:lnTo>
                    <a:pt x="10714" y="103"/>
                  </a:lnTo>
                  <a:lnTo>
                    <a:pt x="9090" y="103"/>
                  </a:lnTo>
                  <a:lnTo>
                    <a:pt x="7590" y="103"/>
                  </a:lnTo>
                  <a:cubicBezTo>
                    <a:pt x="6928" y="-34"/>
                    <a:pt x="6253" y="-34"/>
                    <a:pt x="5591" y="103"/>
                  </a:cubicBezTo>
                  <a:lnTo>
                    <a:pt x="4092" y="103"/>
                  </a:lnTo>
                  <a:lnTo>
                    <a:pt x="2718" y="1103"/>
                  </a:lnTo>
                  <a:lnTo>
                    <a:pt x="1093" y="2352"/>
                  </a:lnTo>
                  <a:lnTo>
                    <a:pt x="1093" y="2352"/>
                  </a:lnTo>
                  <a:lnTo>
                    <a:pt x="1093" y="3602"/>
                  </a:lnTo>
                  <a:cubicBezTo>
                    <a:pt x="706" y="4201"/>
                    <a:pt x="381" y="4826"/>
                    <a:pt x="94" y="5476"/>
                  </a:cubicBezTo>
                  <a:cubicBezTo>
                    <a:pt x="-31" y="6263"/>
                    <a:pt x="-31" y="7063"/>
                    <a:pt x="94" y="7850"/>
                  </a:cubicBezTo>
                  <a:cubicBezTo>
                    <a:pt x="19" y="8562"/>
                    <a:pt x="19" y="9262"/>
                    <a:pt x="94" y="9974"/>
                  </a:cubicBezTo>
                  <a:cubicBezTo>
                    <a:pt x="106" y="12798"/>
                    <a:pt x="1081" y="15522"/>
                    <a:pt x="2842" y="17721"/>
                  </a:cubicBezTo>
                  <a:lnTo>
                    <a:pt x="16836" y="33840"/>
                  </a:lnTo>
                  <a:lnTo>
                    <a:pt x="21085" y="38838"/>
                  </a:lnTo>
                  <a:cubicBezTo>
                    <a:pt x="17561" y="34314"/>
                    <a:pt x="17561" y="27992"/>
                    <a:pt x="21085" y="23469"/>
                  </a:cubicBezTo>
                  <a:cubicBezTo>
                    <a:pt x="23609" y="20020"/>
                    <a:pt x="28457" y="19270"/>
                    <a:pt x="31917" y="21807"/>
                  </a:cubicBezTo>
                  <a:cubicBezTo>
                    <a:pt x="32555" y="22269"/>
                    <a:pt x="33117" y="22831"/>
                    <a:pt x="33579" y="23469"/>
                  </a:cubicBezTo>
                  <a:lnTo>
                    <a:pt x="29706" y="18845"/>
                  </a:lnTo>
                  <a:lnTo>
                    <a:pt x="26707" y="15347"/>
                  </a:lnTo>
                  <a:close/>
                </a:path>
              </a:pathLst>
            </a:custGeom>
            <a:solidFill>
              <a:srgbClr val="000000"/>
            </a:solidFill>
            <a:ln w="12483" cap="flat">
              <a:noFill/>
              <a:prstDash val="solid"/>
              <a:miter/>
            </a:ln>
          </p:spPr>
          <p:txBody>
            <a:bodyPr rtlCol="0" anchor="ctr"/>
            <a:lstStyle/>
            <a:p>
              <a:endParaRPr lang="en-US"/>
            </a:p>
          </p:txBody>
        </p:sp>
        <p:sp>
          <p:nvSpPr>
            <p:cNvPr id="1777" name="Freeform: Shape 1776">
              <a:extLst>
                <a:ext uri="{FF2B5EF4-FFF2-40B4-BE49-F238E27FC236}">
                  <a16:creationId xmlns:a16="http://schemas.microsoft.com/office/drawing/2014/main" id="{455E700B-6191-456A-994A-9A6C6234BC05}"/>
                </a:ext>
              </a:extLst>
            </p:cNvPr>
            <p:cNvSpPr/>
            <p:nvPr/>
          </p:nvSpPr>
          <p:spPr>
            <a:xfrm>
              <a:off x="11282262" y="4152530"/>
              <a:ext cx="111470" cy="127019"/>
            </a:xfrm>
            <a:custGeom>
              <a:avLst/>
              <a:gdLst>
                <a:gd name="connsiteX0" fmla="*/ 2642 w 111470"/>
                <a:gd name="connsiteY0" fmla="*/ 3194 h 127019"/>
                <a:gd name="connsiteX1" fmla="*/ 2642 w 111470"/>
                <a:gd name="connsiteY1" fmla="*/ 18563 h 127019"/>
                <a:gd name="connsiteX2" fmla="*/ 96102 w 111470"/>
                <a:gd name="connsiteY2" fmla="*/ 127020 h 127019"/>
                <a:gd name="connsiteX3" fmla="*/ 96102 w 111470"/>
                <a:gd name="connsiteY3" fmla="*/ 123021 h 127019"/>
                <a:gd name="connsiteX4" fmla="*/ 96102 w 111470"/>
                <a:gd name="connsiteY4" fmla="*/ 121897 h 127019"/>
                <a:gd name="connsiteX5" fmla="*/ 105336 w 111470"/>
                <a:gd name="connsiteY5" fmla="*/ 111913 h 127019"/>
                <a:gd name="connsiteX6" fmla="*/ 105598 w 111470"/>
                <a:gd name="connsiteY6" fmla="*/ 111901 h 127019"/>
                <a:gd name="connsiteX7" fmla="*/ 111471 w 111470"/>
                <a:gd name="connsiteY7" fmla="*/ 115275 h 127019"/>
                <a:gd name="connsiteX8" fmla="*/ 111471 w 111470"/>
                <a:gd name="connsiteY8" fmla="*/ 115275 h 127019"/>
                <a:gd name="connsiteX9" fmla="*/ 14887 w 111470"/>
                <a:gd name="connsiteY9" fmla="*/ 2819 h 127019"/>
                <a:gd name="connsiteX10" fmla="*/ 3979 w 111470"/>
                <a:gd name="connsiteY10" fmla="*/ 1770 h 127019"/>
                <a:gd name="connsiteX11" fmla="*/ 2642 w 111470"/>
                <a:gd name="connsiteY11" fmla="*/ 3194 h 12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470" h="127019">
                  <a:moveTo>
                    <a:pt x="2642" y="3194"/>
                  </a:moveTo>
                  <a:cubicBezTo>
                    <a:pt x="-881" y="7717"/>
                    <a:pt x="-881" y="14040"/>
                    <a:pt x="2642" y="18563"/>
                  </a:cubicBezTo>
                  <a:lnTo>
                    <a:pt x="96102" y="127020"/>
                  </a:lnTo>
                  <a:lnTo>
                    <a:pt x="96102" y="123021"/>
                  </a:lnTo>
                  <a:lnTo>
                    <a:pt x="96102" y="121897"/>
                  </a:lnTo>
                  <a:cubicBezTo>
                    <a:pt x="95890" y="116587"/>
                    <a:pt x="100025" y="112113"/>
                    <a:pt x="105336" y="111913"/>
                  </a:cubicBezTo>
                  <a:cubicBezTo>
                    <a:pt x="105423" y="111901"/>
                    <a:pt x="105511" y="111901"/>
                    <a:pt x="105598" y="111901"/>
                  </a:cubicBezTo>
                  <a:cubicBezTo>
                    <a:pt x="107934" y="112176"/>
                    <a:pt x="110059" y="113400"/>
                    <a:pt x="111471" y="115275"/>
                  </a:cubicBezTo>
                  <a:lnTo>
                    <a:pt x="111471" y="115275"/>
                  </a:lnTo>
                  <a:lnTo>
                    <a:pt x="14887" y="2819"/>
                  </a:lnTo>
                  <a:cubicBezTo>
                    <a:pt x="12164" y="-479"/>
                    <a:pt x="7278" y="-954"/>
                    <a:pt x="3979" y="1770"/>
                  </a:cubicBezTo>
                  <a:cubicBezTo>
                    <a:pt x="3480" y="2182"/>
                    <a:pt x="3030" y="2670"/>
                    <a:pt x="2642" y="3194"/>
                  </a:cubicBezTo>
                  <a:close/>
                </a:path>
              </a:pathLst>
            </a:custGeom>
            <a:solidFill>
              <a:srgbClr val="000000"/>
            </a:solidFill>
            <a:ln w="12483" cap="flat">
              <a:noFill/>
              <a:prstDash val="solid"/>
              <a:miter/>
            </a:ln>
          </p:spPr>
          <p:txBody>
            <a:bodyPr rtlCol="0" anchor="ctr"/>
            <a:lstStyle/>
            <a:p>
              <a:endParaRPr lang="en-US"/>
            </a:p>
          </p:txBody>
        </p:sp>
        <p:sp>
          <p:nvSpPr>
            <p:cNvPr id="1778" name="Freeform: Shape 1777">
              <a:extLst>
                <a:ext uri="{FF2B5EF4-FFF2-40B4-BE49-F238E27FC236}">
                  <a16:creationId xmlns:a16="http://schemas.microsoft.com/office/drawing/2014/main" id="{F7D65B06-098D-437B-90E8-AA0B60DCC1DF}"/>
                </a:ext>
              </a:extLst>
            </p:cNvPr>
            <p:cNvSpPr/>
            <p:nvPr/>
          </p:nvSpPr>
          <p:spPr>
            <a:xfrm>
              <a:off x="11375614" y="4325403"/>
              <a:ext cx="32611" cy="38863"/>
            </a:xfrm>
            <a:custGeom>
              <a:avLst/>
              <a:gdLst>
                <a:gd name="connsiteX0" fmla="*/ 14994 w 32611"/>
                <a:gd name="connsiteY0" fmla="*/ 3003 h 38863"/>
                <a:gd name="connsiteX1" fmla="*/ 3761 w 32611"/>
                <a:gd name="connsiteY1" fmla="*/ 1753 h 38863"/>
                <a:gd name="connsiteX2" fmla="*/ 2500 w 32611"/>
                <a:gd name="connsiteY2" fmla="*/ 3003 h 38863"/>
                <a:gd name="connsiteX3" fmla="*/ 250 w 32611"/>
                <a:gd name="connsiteY3" fmla="*/ 12374 h 38863"/>
                <a:gd name="connsiteX4" fmla="*/ 250 w 32611"/>
                <a:gd name="connsiteY4" fmla="*/ 14374 h 38863"/>
                <a:gd name="connsiteX5" fmla="*/ 1000 w 32611"/>
                <a:gd name="connsiteY5" fmla="*/ 15998 h 38863"/>
                <a:gd name="connsiteX6" fmla="*/ 2125 w 32611"/>
                <a:gd name="connsiteY6" fmla="*/ 17872 h 38863"/>
                <a:gd name="connsiteX7" fmla="*/ 2125 w 32611"/>
                <a:gd name="connsiteY7" fmla="*/ 17872 h 38863"/>
                <a:gd name="connsiteX8" fmla="*/ 19367 w 32611"/>
                <a:gd name="connsiteY8" fmla="*/ 37989 h 38863"/>
                <a:gd name="connsiteX9" fmla="*/ 20117 w 32611"/>
                <a:gd name="connsiteY9" fmla="*/ 38864 h 38863"/>
                <a:gd name="connsiteX10" fmla="*/ 20117 w 32611"/>
                <a:gd name="connsiteY10" fmla="*/ 23620 h 38863"/>
                <a:gd name="connsiteX11" fmla="*/ 31350 w 32611"/>
                <a:gd name="connsiteY11" fmla="*/ 22370 h 38863"/>
                <a:gd name="connsiteX12" fmla="*/ 32611 w 32611"/>
                <a:gd name="connsiteY12" fmla="*/ 23620 h 38863"/>
                <a:gd name="connsiteX13" fmla="*/ 28738 w 32611"/>
                <a:gd name="connsiteY13" fmla="*/ 19121 h 38863"/>
                <a:gd name="connsiteX14" fmla="*/ 25739 w 32611"/>
                <a:gd name="connsiteY14" fmla="*/ 15623 h 38863"/>
                <a:gd name="connsiteX15" fmla="*/ 17618 w 32611"/>
                <a:gd name="connsiteY15" fmla="*/ 6251 h 3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11" h="38863">
                  <a:moveTo>
                    <a:pt x="14994" y="3003"/>
                  </a:moveTo>
                  <a:cubicBezTo>
                    <a:pt x="12233" y="-446"/>
                    <a:pt x="7210" y="-1008"/>
                    <a:pt x="3761" y="1753"/>
                  </a:cubicBezTo>
                  <a:cubicBezTo>
                    <a:pt x="3287" y="2116"/>
                    <a:pt x="2874" y="2540"/>
                    <a:pt x="2500" y="3003"/>
                  </a:cubicBezTo>
                  <a:cubicBezTo>
                    <a:pt x="363" y="5627"/>
                    <a:pt x="-462" y="9075"/>
                    <a:pt x="250" y="12374"/>
                  </a:cubicBezTo>
                  <a:cubicBezTo>
                    <a:pt x="188" y="13036"/>
                    <a:pt x="188" y="13711"/>
                    <a:pt x="250" y="14374"/>
                  </a:cubicBezTo>
                  <a:lnTo>
                    <a:pt x="1000" y="15998"/>
                  </a:lnTo>
                  <a:cubicBezTo>
                    <a:pt x="1300" y="16660"/>
                    <a:pt x="1675" y="17297"/>
                    <a:pt x="2125" y="17872"/>
                  </a:cubicBezTo>
                  <a:lnTo>
                    <a:pt x="2125" y="17872"/>
                  </a:lnTo>
                  <a:lnTo>
                    <a:pt x="19367" y="37989"/>
                  </a:lnTo>
                  <a:lnTo>
                    <a:pt x="20117" y="38864"/>
                  </a:lnTo>
                  <a:cubicBezTo>
                    <a:pt x="16656" y="34365"/>
                    <a:pt x="16656" y="28118"/>
                    <a:pt x="20117" y="23620"/>
                  </a:cubicBezTo>
                  <a:cubicBezTo>
                    <a:pt x="22878" y="20171"/>
                    <a:pt x="27901" y="19609"/>
                    <a:pt x="31350" y="22370"/>
                  </a:cubicBezTo>
                  <a:cubicBezTo>
                    <a:pt x="31824" y="22732"/>
                    <a:pt x="32236" y="23158"/>
                    <a:pt x="32611" y="23620"/>
                  </a:cubicBezTo>
                  <a:lnTo>
                    <a:pt x="28738" y="19121"/>
                  </a:lnTo>
                  <a:lnTo>
                    <a:pt x="25739" y="15623"/>
                  </a:lnTo>
                  <a:lnTo>
                    <a:pt x="17618" y="6251"/>
                  </a:lnTo>
                  <a:close/>
                </a:path>
              </a:pathLst>
            </a:custGeom>
            <a:solidFill>
              <a:srgbClr val="000000"/>
            </a:solidFill>
            <a:ln w="12483" cap="flat">
              <a:noFill/>
              <a:prstDash val="solid"/>
              <a:miter/>
            </a:ln>
          </p:spPr>
          <p:txBody>
            <a:bodyPr rtlCol="0" anchor="ctr"/>
            <a:lstStyle/>
            <a:p>
              <a:endParaRPr lang="en-US"/>
            </a:p>
          </p:txBody>
        </p:sp>
        <p:sp>
          <p:nvSpPr>
            <p:cNvPr id="1779" name="Freeform: Shape 1778">
              <a:extLst>
                <a:ext uri="{FF2B5EF4-FFF2-40B4-BE49-F238E27FC236}">
                  <a16:creationId xmlns:a16="http://schemas.microsoft.com/office/drawing/2014/main" id="{89CCAEA1-C708-4867-96AE-F479615899A2}"/>
                </a:ext>
              </a:extLst>
            </p:cNvPr>
            <p:cNvSpPr/>
            <p:nvPr/>
          </p:nvSpPr>
          <p:spPr>
            <a:xfrm>
              <a:off x="11393260" y="4346588"/>
              <a:ext cx="20588" cy="25008"/>
            </a:xfrm>
            <a:custGeom>
              <a:avLst/>
              <a:gdLst>
                <a:gd name="connsiteX0" fmla="*/ 2596 w 20588"/>
                <a:gd name="connsiteY0" fmla="*/ 3185 h 25008"/>
                <a:gd name="connsiteX1" fmla="*/ 2596 w 20588"/>
                <a:gd name="connsiteY1" fmla="*/ 18429 h 25008"/>
                <a:gd name="connsiteX2" fmla="*/ 4345 w 20588"/>
                <a:gd name="connsiteY2" fmla="*/ 20428 h 25008"/>
                <a:gd name="connsiteX3" fmla="*/ 5594 w 20588"/>
                <a:gd name="connsiteY3" fmla="*/ 21927 h 25008"/>
                <a:gd name="connsiteX4" fmla="*/ 16627 w 20588"/>
                <a:gd name="connsiteY4" fmla="*/ 23389 h 25008"/>
                <a:gd name="connsiteX5" fmla="*/ 18089 w 20588"/>
                <a:gd name="connsiteY5" fmla="*/ 21927 h 25008"/>
                <a:gd name="connsiteX6" fmla="*/ 20338 w 20588"/>
                <a:gd name="connsiteY6" fmla="*/ 12556 h 25008"/>
                <a:gd name="connsiteX7" fmla="*/ 20338 w 20588"/>
                <a:gd name="connsiteY7" fmla="*/ 10557 h 25008"/>
                <a:gd name="connsiteX8" fmla="*/ 19838 w 20588"/>
                <a:gd name="connsiteY8" fmla="*/ 9057 h 25008"/>
                <a:gd name="connsiteX9" fmla="*/ 18714 w 20588"/>
                <a:gd name="connsiteY9" fmla="*/ 7183 h 25008"/>
                <a:gd name="connsiteX10" fmla="*/ 18714 w 20588"/>
                <a:gd name="connsiteY10" fmla="*/ 7183 h 25008"/>
                <a:gd name="connsiteX11" fmla="*/ 15715 w 20588"/>
                <a:gd name="connsiteY11" fmla="*/ 3685 h 25008"/>
                <a:gd name="connsiteX12" fmla="*/ 4670 w 20588"/>
                <a:gd name="connsiteY12" fmla="*/ 1260 h 25008"/>
                <a:gd name="connsiteX13" fmla="*/ 2596 w 20588"/>
                <a:gd name="connsiteY13" fmla="*/ 3185 h 2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88" h="25008">
                  <a:moveTo>
                    <a:pt x="2596" y="3185"/>
                  </a:moveTo>
                  <a:cubicBezTo>
                    <a:pt x="-865" y="7683"/>
                    <a:pt x="-865" y="13931"/>
                    <a:pt x="2596" y="18429"/>
                  </a:cubicBezTo>
                  <a:lnTo>
                    <a:pt x="4345" y="20428"/>
                  </a:lnTo>
                  <a:lnTo>
                    <a:pt x="5594" y="21927"/>
                  </a:lnTo>
                  <a:cubicBezTo>
                    <a:pt x="8243" y="25376"/>
                    <a:pt x="13179" y="26026"/>
                    <a:pt x="16627" y="23389"/>
                  </a:cubicBezTo>
                  <a:cubicBezTo>
                    <a:pt x="17177" y="22964"/>
                    <a:pt x="17664" y="22477"/>
                    <a:pt x="18089" y="21927"/>
                  </a:cubicBezTo>
                  <a:cubicBezTo>
                    <a:pt x="20226" y="19303"/>
                    <a:pt x="21050" y="15855"/>
                    <a:pt x="20338" y="12556"/>
                  </a:cubicBezTo>
                  <a:cubicBezTo>
                    <a:pt x="20401" y="11894"/>
                    <a:pt x="20401" y="11219"/>
                    <a:pt x="20338" y="10557"/>
                  </a:cubicBezTo>
                  <a:cubicBezTo>
                    <a:pt x="20238" y="10045"/>
                    <a:pt x="20063" y="9532"/>
                    <a:pt x="19838" y="9057"/>
                  </a:cubicBezTo>
                  <a:cubicBezTo>
                    <a:pt x="19539" y="8395"/>
                    <a:pt x="19164" y="7758"/>
                    <a:pt x="18714" y="7183"/>
                  </a:cubicBezTo>
                  <a:cubicBezTo>
                    <a:pt x="18714" y="7183"/>
                    <a:pt x="18714" y="7183"/>
                    <a:pt x="18714" y="7183"/>
                  </a:cubicBezTo>
                  <a:lnTo>
                    <a:pt x="15715" y="3685"/>
                  </a:lnTo>
                  <a:cubicBezTo>
                    <a:pt x="13329" y="-39"/>
                    <a:pt x="8394" y="-1114"/>
                    <a:pt x="4670" y="1260"/>
                  </a:cubicBezTo>
                  <a:cubicBezTo>
                    <a:pt x="3870" y="1773"/>
                    <a:pt x="3170" y="2422"/>
                    <a:pt x="2596" y="3185"/>
                  </a:cubicBezTo>
                  <a:close/>
                </a:path>
              </a:pathLst>
            </a:custGeom>
            <a:solidFill>
              <a:srgbClr val="000000"/>
            </a:solidFill>
            <a:ln w="12483" cap="flat">
              <a:noFill/>
              <a:prstDash val="solid"/>
              <a:miter/>
            </a:ln>
          </p:spPr>
          <p:txBody>
            <a:bodyPr rtlCol="0" anchor="ctr"/>
            <a:lstStyle/>
            <a:p>
              <a:endParaRPr lang="en-US"/>
            </a:p>
          </p:txBody>
        </p:sp>
        <p:sp>
          <p:nvSpPr>
            <p:cNvPr id="1780" name="Freeform: Shape 1779">
              <a:extLst>
                <a:ext uri="{FF2B5EF4-FFF2-40B4-BE49-F238E27FC236}">
                  <a16:creationId xmlns:a16="http://schemas.microsoft.com/office/drawing/2014/main" id="{0293B213-E2AA-4874-929C-1B007E148C19}"/>
                </a:ext>
              </a:extLst>
            </p:cNvPr>
            <p:cNvSpPr/>
            <p:nvPr/>
          </p:nvSpPr>
          <p:spPr>
            <a:xfrm>
              <a:off x="8338302" y="5847550"/>
              <a:ext cx="76466" cy="116203"/>
            </a:xfrm>
            <a:custGeom>
              <a:avLst/>
              <a:gdLst>
                <a:gd name="connsiteX0" fmla="*/ 6372 w 76466"/>
                <a:gd name="connsiteY0" fmla="*/ 17118 h 116203"/>
                <a:gd name="connsiteX1" fmla="*/ 0 w 76466"/>
                <a:gd name="connsiteY1" fmla="*/ 20742 h 116203"/>
                <a:gd name="connsiteX2" fmla="*/ 62473 w 76466"/>
                <a:gd name="connsiteY2" fmla="*/ 116204 h 116203"/>
                <a:gd name="connsiteX3" fmla="*/ 63972 w 76466"/>
                <a:gd name="connsiteY3" fmla="*/ 100960 h 116203"/>
                <a:gd name="connsiteX4" fmla="*/ 75280 w 76466"/>
                <a:gd name="connsiteY4" fmla="*/ 101222 h 116203"/>
                <a:gd name="connsiteX5" fmla="*/ 76467 w 76466"/>
                <a:gd name="connsiteY5" fmla="*/ 102834 h 116203"/>
                <a:gd name="connsiteX6" fmla="*/ 9996 w 76466"/>
                <a:gd name="connsiteY6" fmla="*/ 625 h 116203"/>
                <a:gd name="connsiteX7" fmla="*/ 9996 w 76466"/>
                <a:gd name="connsiteY7" fmla="*/ 0 h 116203"/>
                <a:gd name="connsiteX8" fmla="*/ 11620 w 76466"/>
                <a:gd name="connsiteY8" fmla="*/ 2624 h 116203"/>
                <a:gd name="connsiteX9" fmla="*/ 6372 w 76466"/>
                <a:gd name="connsiteY9" fmla="*/ 17118 h 11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466" h="116203">
                  <a:moveTo>
                    <a:pt x="6372" y="17118"/>
                  </a:moveTo>
                  <a:lnTo>
                    <a:pt x="0" y="20742"/>
                  </a:lnTo>
                  <a:lnTo>
                    <a:pt x="62473" y="116204"/>
                  </a:lnTo>
                  <a:cubicBezTo>
                    <a:pt x="59437" y="111381"/>
                    <a:pt x="60049" y="105108"/>
                    <a:pt x="63972" y="100960"/>
                  </a:cubicBezTo>
                  <a:cubicBezTo>
                    <a:pt x="67171" y="97911"/>
                    <a:pt x="72231" y="98036"/>
                    <a:pt x="75280" y="101222"/>
                  </a:cubicBezTo>
                  <a:cubicBezTo>
                    <a:pt x="75742" y="101710"/>
                    <a:pt x="76142" y="102247"/>
                    <a:pt x="76467" y="102834"/>
                  </a:cubicBezTo>
                  <a:lnTo>
                    <a:pt x="9996" y="625"/>
                  </a:lnTo>
                  <a:lnTo>
                    <a:pt x="9996" y="0"/>
                  </a:lnTo>
                  <a:cubicBezTo>
                    <a:pt x="10683" y="775"/>
                    <a:pt x="11233" y="1662"/>
                    <a:pt x="11620" y="2624"/>
                  </a:cubicBezTo>
                  <a:cubicBezTo>
                    <a:pt x="13419" y="8084"/>
                    <a:pt x="11245" y="14069"/>
                    <a:pt x="6372" y="17118"/>
                  </a:cubicBezTo>
                  <a:close/>
                </a:path>
              </a:pathLst>
            </a:custGeom>
            <a:solidFill>
              <a:srgbClr val="000000"/>
            </a:solidFill>
            <a:ln w="12483" cap="flat">
              <a:noFill/>
              <a:prstDash val="solid"/>
              <a:miter/>
            </a:ln>
          </p:spPr>
          <p:txBody>
            <a:bodyPr rtlCol="0" anchor="ctr"/>
            <a:lstStyle/>
            <a:p>
              <a:endParaRPr lang="en-US"/>
            </a:p>
          </p:txBody>
        </p:sp>
        <p:sp>
          <p:nvSpPr>
            <p:cNvPr id="1781" name="Freeform: Shape 1780">
              <a:extLst>
                <a:ext uri="{FF2B5EF4-FFF2-40B4-BE49-F238E27FC236}">
                  <a16:creationId xmlns:a16="http://schemas.microsoft.com/office/drawing/2014/main" id="{1C558683-0978-4A81-B2F7-E55FBE75BE99}"/>
                </a:ext>
              </a:extLst>
            </p:cNvPr>
            <p:cNvSpPr/>
            <p:nvPr/>
          </p:nvSpPr>
          <p:spPr>
            <a:xfrm>
              <a:off x="10516706" y="546788"/>
              <a:ext cx="25825" cy="602135"/>
            </a:xfrm>
            <a:custGeom>
              <a:avLst/>
              <a:gdLst>
                <a:gd name="connsiteX0" fmla="*/ 7902 w 25825"/>
                <a:gd name="connsiteY0" fmla="*/ 10372 h 602135"/>
                <a:gd name="connsiteX1" fmla="*/ 7902 w 25825"/>
                <a:gd name="connsiteY1" fmla="*/ 16619 h 602135"/>
                <a:gd name="connsiteX2" fmla="*/ 31 w 25825"/>
                <a:gd name="connsiteY2" fmla="*/ 601761 h 602135"/>
                <a:gd name="connsiteX3" fmla="*/ 31 w 25825"/>
                <a:gd name="connsiteY3" fmla="*/ 601761 h 602135"/>
                <a:gd name="connsiteX4" fmla="*/ 9089 w 25825"/>
                <a:gd name="connsiteY4" fmla="*/ 591144 h 602135"/>
                <a:gd name="connsiteX5" fmla="*/ 9151 w 25825"/>
                <a:gd name="connsiteY5" fmla="*/ 591140 h 602135"/>
                <a:gd name="connsiteX6" fmla="*/ 18023 w 25825"/>
                <a:gd name="connsiteY6" fmla="*/ 602136 h 602135"/>
                <a:gd name="connsiteX7" fmla="*/ 18023 w 25825"/>
                <a:gd name="connsiteY7" fmla="*/ 585892 h 602135"/>
                <a:gd name="connsiteX8" fmla="*/ 25769 w 25825"/>
                <a:gd name="connsiteY8" fmla="*/ 10372 h 602135"/>
                <a:gd name="connsiteX9" fmla="*/ 25769 w 25825"/>
                <a:gd name="connsiteY9" fmla="*/ 10372 h 602135"/>
                <a:gd name="connsiteX10" fmla="*/ 25769 w 25825"/>
                <a:gd name="connsiteY10" fmla="*/ 8248 h 602135"/>
                <a:gd name="connsiteX11" fmla="*/ 25769 w 25825"/>
                <a:gd name="connsiteY11" fmla="*/ 6248 h 602135"/>
                <a:gd name="connsiteX12" fmla="*/ 24895 w 25825"/>
                <a:gd name="connsiteY12" fmla="*/ 4624 h 602135"/>
                <a:gd name="connsiteX13" fmla="*/ 23770 w 25825"/>
                <a:gd name="connsiteY13" fmla="*/ 2875 h 602135"/>
                <a:gd name="connsiteX14" fmla="*/ 17898 w 25825"/>
                <a:gd name="connsiteY14" fmla="*/ 1 h 602135"/>
                <a:gd name="connsiteX15" fmla="*/ 7890 w 25825"/>
                <a:gd name="connsiteY15" fmla="*/ 9733 h 602135"/>
                <a:gd name="connsiteX16" fmla="*/ 7902 w 25825"/>
                <a:gd name="connsiteY16" fmla="*/ 10372 h 6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825" h="602135">
                  <a:moveTo>
                    <a:pt x="7902" y="10372"/>
                  </a:moveTo>
                  <a:lnTo>
                    <a:pt x="7902" y="16619"/>
                  </a:lnTo>
                  <a:lnTo>
                    <a:pt x="31" y="601761"/>
                  </a:lnTo>
                  <a:lnTo>
                    <a:pt x="31" y="601761"/>
                  </a:lnTo>
                  <a:cubicBezTo>
                    <a:pt x="-394" y="596326"/>
                    <a:pt x="3666" y="591573"/>
                    <a:pt x="9089" y="591144"/>
                  </a:cubicBezTo>
                  <a:cubicBezTo>
                    <a:pt x="9114" y="591143"/>
                    <a:pt x="9127" y="591142"/>
                    <a:pt x="9151" y="591140"/>
                  </a:cubicBezTo>
                  <a:cubicBezTo>
                    <a:pt x="14599" y="591794"/>
                    <a:pt x="18535" y="596672"/>
                    <a:pt x="18023" y="602136"/>
                  </a:cubicBezTo>
                  <a:lnTo>
                    <a:pt x="18023" y="585892"/>
                  </a:lnTo>
                  <a:lnTo>
                    <a:pt x="25769" y="10372"/>
                  </a:lnTo>
                  <a:lnTo>
                    <a:pt x="25769" y="10372"/>
                  </a:lnTo>
                  <a:lnTo>
                    <a:pt x="25769" y="8248"/>
                  </a:lnTo>
                  <a:cubicBezTo>
                    <a:pt x="25844" y="7583"/>
                    <a:pt x="25844" y="6913"/>
                    <a:pt x="25769" y="6248"/>
                  </a:cubicBezTo>
                  <a:cubicBezTo>
                    <a:pt x="25557" y="5670"/>
                    <a:pt x="25257" y="5123"/>
                    <a:pt x="24895" y="4624"/>
                  </a:cubicBezTo>
                  <a:lnTo>
                    <a:pt x="23770" y="2875"/>
                  </a:lnTo>
                  <a:cubicBezTo>
                    <a:pt x="22296" y="1136"/>
                    <a:pt x="20172" y="94"/>
                    <a:pt x="17898" y="1"/>
                  </a:cubicBezTo>
                  <a:cubicBezTo>
                    <a:pt x="12450" y="-75"/>
                    <a:pt x="7964" y="4282"/>
                    <a:pt x="7890" y="9733"/>
                  </a:cubicBezTo>
                  <a:cubicBezTo>
                    <a:pt x="7890" y="9946"/>
                    <a:pt x="7890" y="10159"/>
                    <a:pt x="7902" y="10372"/>
                  </a:cubicBezTo>
                  <a:close/>
                </a:path>
              </a:pathLst>
            </a:custGeom>
            <a:solidFill>
              <a:srgbClr val="000000"/>
            </a:solidFill>
            <a:ln w="12483" cap="flat">
              <a:noFill/>
              <a:prstDash val="solid"/>
              <a:miter/>
            </a:ln>
          </p:spPr>
          <p:txBody>
            <a:bodyPr rtlCol="0" anchor="ctr"/>
            <a:lstStyle/>
            <a:p>
              <a:endParaRPr lang="en-US"/>
            </a:p>
          </p:txBody>
        </p:sp>
        <p:sp>
          <p:nvSpPr>
            <p:cNvPr id="1782" name="Freeform: Shape 1781">
              <a:extLst>
                <a:ext uri="{FF2B5EF4-FFF2-40B4-BE49-F238E27FC236}">
                  <a16:creationId xmlns:a16="http://schemas.microsoft.com/office/drawing/2014/main" id="{CC5E721D-1D62-473C-AD3A-F6FF8A877AAB}"/>
                </a:ext>
              </a:extLst>
            </p:cNvPr>
            <p:cNvSpPr/>
            <p:nvPr/>
          </p:nvSpPr>
          <p:spPr>
            <a:xfrm>
              <a:off x="6070662" y="4119987"/>
              <a:ext cx="146307" cy="638996"/>
            </a:xfrm>
            <a:custGeom>
              <a:avLst/>
              <a:gdLst>
                <a:gd name="connsiteX0" fmla="*/ 16988 w 146307"/>
                <a:gd name="connsiteY0" fmla="*/ 6250 h 638996"/>
                <a:gd name="connsiteX1" fmla="*/ 6867 w 146307"/>
                <a:gd name="connsiteY1" fmla="*/ 252 h 638996"/>
                <a:gd name="connsiteX2" fmla="*/ 245 w 146307"/>
                <a:gd name="connsiteY2" fmla="*/ 12747 h 638996"/>
                <a:gd name="connsiteX3" fmla="*/ 245 w 146307"/>
                <a:gd name="connsiteY3" fmla="*/ 12747 h 638996"/>
                <a:gd name="connsiteX4" fmla="*/ 245 w 146307"/>
                <a:gd name="connsiteY4" fmla="*/ 16120 h 638996"/>
                <a:gd name="connsiteX5" fmla="*/ 128815 w 146307"/>
                <a:gd name="connsiteY5" fmla="*/ 638997 h 638996"/>
                <a:gd name="connsiteX6" fmla="*/ 135437 w 146307"/>
                <a:gd name="connsiteY6" fmla="*/ 625877 h 638996"/>
                <a:gd name="connsiteX7" fmla="*/ 146146 w 146307"/>
                <a:gd name="connsiteY7" fmla="*/ 632750 h 638996"/>
                <a:gd name="connsiteX8" fmla="*/ 146307 w 146307"/>
                <a:gd name="connsiteY8" fmla="*/ 633749 h 638996"/>
                <a:gd name="connsiteX9" fmla="*/ 145557 w 146307"/>
                <a:gd name="connsiteY9" fmla="*/ 630250 h 638996"/>
                <a:gd name="connsiteX10" fmla="*/ 17738 w 146307"/>
                <a:gd name="connsiteY10" fmla="*/ 8124 h 638996"/>
                <a:gd name="connsiteX11" fmla="*/ 16988 w 146307"/>
                <a:gd name="connsiteY11" fmla="*/ 6250 h 63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07" h="638996">
                  <a:moveTo>
                    <a:pt x="16988" y="6250"/>
                  </a:moveTo>
                  <a:cubicBezTo>
                    <a:pt x="15825" y="1814"/>
                    <a:pt x="11314" y="-860"/>
                    <a:pt x="6867" y="252"/>
                  </a:cubicBezTo>
                  <a:cubicBezTo>
                    <a:pt x="1920" y="2251"/>
                    <a:pt x="-873" y="7524"/>
                    <a:pt x="245" y="12747"/>
                  </a:cubicBezTo>
                  <a:cubicBezTo>
                    <a:pt x="245" y="12747"/>
                    <a:pt x="245" y="12747"/>
                    <a:pt x="245" y="12747"/>
                  </a:cubicBezTo>
                  <a:lnTo>
                    <a:pt x="245" y="16120"/>
                  </a:lnTo>
                  <a:lnTo>
                    <a:pt x="128815" y="638997"/>
                  </a:lnTo>
                  <a:cubicBezTo>
                    <a:pt x="127464" y="633587"/>
                    <a:pt x="130282" y="628001"/>
                    <a:pt x="135437" y="625877"/>
                  </a:cubicBezTo>
                  <a:cubicBezTo>
                    <a:pt x="140291" y="624815"/>
                    <a:pt x="145085" y="627889"/>
                    <a:pt x="146146" y="632750"/>
                  </a:cubicBezTo>
                  <a:cubicBezTo>
                    <a:pt x="146218" y="633074"/>
                    <a:pt x="146272" y="633412"/>
                    <a:pt x="146307" y="633749"/>
                  </a:cubicBezTo>
                  <a:lnTo>
                    <a:pt x="145557" y="630250"/>
                  </a:lnTo>
                  <a:lnTo>
                    <a:pt x="17738" y="8124"/>
                  </a:lnTo>
                  <a:cubicBezTo>
                    <a:pt x="17564" y="7474"/>
                    <a:pt x="17313" y="6837"/>
                    <a:pt x="16988" y="6250"/>
                  </a:cubicBezTo>
                  <a:close/>
                </a:path>
              </a:pathLst>
            </a:custGeom>
            <a:solidFill>
              <a:srgbClr val="000000"/>
            </a:solidFill>
            <a:ln w="12483" cap="flat">
              <a:noFill/>
              <a:prstDash val="solid"/>
              <a:miter/>
            </a:ln>
          </p:spPr>
          <p:txBody>
            <a:bodyPr rtlCol="0" anchor="ctr"/>
            <a:lstStyle/>
            <a:p>
              <a:endParaRPr lang="en-US"/>
            </a:p>
          </p:txBody>
        </p:sp>
        <p:sp>
          <p:nvSpPr>
            <p:cNvPr id="1783" name="Freeform: Shape 1782">
              <a:extLst>
                <a:ext uri="{FF2B5EF4-FFF2-40B4-BE49-F238E27FC236}">
                  <a16:creationId xmlns:a16="http://schemas.microsoft.com/office/drawing/2014/main" id="{58238B61-3A90-4A4A-B876-BE28EE24AAAE}"/>
                </a:ext>
              </a:extLst>
            </p:cNvPr>
            <p:cNvSpPr/>
            <p:nvPr/>
          </p:nvSpPr>
          <p:spPr>
            <a:xfrm>
              <a:off x="6199890" y="4746279"/>
              <a:ext cx="83268" cy="338590"/>
            </a:xfrm>
            <a:custGeom>
              <a:avLst/>
              <a:gdLst>
                <a:gd name="connsiteX0" fmla="*/ 6959 w 83268"/>
                <a:gd name="connsiteY0" fmla="*/ 210 h 338590"/>
                <a:gd name="connsiteX1" fmla="*/ 336 w 83268"/>
                <a:gd name="connsiteY1" fmla="*/ 13330 h 338590"/>
                <a:gd name="connsiteX2" fmla="*/ 65433 w 83268"/>
                <a:gd name="connsiteY2" fmla="*/ 330329 h 338590"/>
                <a:gd name="connsiteX3" fmla="*/ 65433 w 83268"/>
                <a:gd name="connsiteY3" fmla="*/ 330329 h 338590"/>
                <a:gd name="connsiteX4" fmla="*/ 66808 w 83268"/>
                <a:gd name="connsiteY4" fmla="*/ 333703 h 338590"/>
                <a:gd name="connsiteX5" fmla="*/ 76304 w 83268"/>
                <a:gd name="connsiteY5" fmla="*/ 338326 h 338590"/>
                <a:gd name="connsiteX6" fmla="*/ 82926 w 83268"/>
                <a:gd name="connsiteY6" fmla="*/ 325081 h 338590"/>
                <a:gd name="connsiteX7" fmla="*/ 82926 w 83268"/>
                <a:gd name="connsiteY7" fmla="*/ 323207 h 338590"/>
                <a:gd name="connsiteX8" fmla="*/ 17829 w 83268"/>
                <a:gd name="connsiteY8" fmla="*/ 8207 h 338590"/>
                <a:gd name="connsiteX9" fmla="*/ 17829 w 83268"/>
                <a:gd name="connsiteY9" fmla="*/ 8207 h 338590"/>
                <a:gd name="connsiteX10" fmla="*/ 8073 w 83268"/>
                <a:gd name="connsiteY10" fmla="*/ 35 h 338590"/>
                <a:gd name="connsiteX11" fmla="*/ 6959 w 83268"/>
                <a:gd name="connsiteY11" fmla="*/ 210 h 33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268" h="338590">
                  <a:moveTo>
                    <a:pt x="6959" y="210"/>
                  </a:moveTo>
                  <a:cubicBezTo>
                    <a:pt x="1803" y="2335"/>
                    <a:pt x="-1014" y="7920"/>
                    <a:pt x="336" y="13330"/>
                  </a:cubicBezTo>
                  <a:lnTo>
                    <a:pt x="65433" y="330329"/>
                  </a:lnTo>
                  <a:lnTo>
                    <a:pt x="65433" y="330329"/>
                  </a:lnTo>
                  <a:cubicBezTo>
                    <a:pt x="65683" y="331528"/>
                    <a:pt x="66149" y="332665"/>
                    <a:pt x="66808" y="333703"/>
                  </a:cubicBezTo>
                  <a:cubicBezTo>
                    <a:pt x="68402" y="337376"/>
                    <a:pt x="72432" y="339338"/>
                    <a:pt x="76304" y="338326"/>
                  </a:cubicBezTo>
                  <a:cubicBezTo>
                    <a:pt x="81478" y="336151"/>
                    <a:pt x="84290" y="330529"/>
                    <a:pt x="82926" y="325081"/>
                  </a:cubicBezTo>
                  <a:lnTo>
                    <a:pt x="82926" y="323207"/>
                  </a:lnTo>
                  <a:lnTo>
                    <a:pt x="17829" y="8207"/>
                  </a:lnTo>
                  <a:lnTo>
                    <a:pt x="17829" y="8207"/>
                  </a:lnTo>
                  <a:cubicBezTo>
                    <a:pt x="17390" y="3259"/>
                    <a:pt x="13022" y="-402"/>
                    <a:pt x="8073" y="35"/>
                  </a:cubicBezTo>
                  <a:cubicBezTo>
                    <a:pt x="7698" y="73"/>
                    <a:pt x="7326" y="135"/>
                    <a:pt x="6959" y="210"/>
                  </a:cubicBezTo>
                  <a:close/>
                </a:path>
              </a:pathLst>
            </a:custGeom>
            <a:solidFill>
              <a:srgbClr val="000000"/>
            </a:solidFill>
            <a:ln w="12483" cap="flat">
              <a:noFill/>
              <a:prstDash val="solid"/>
              <a:miter/>
            </a:ln>
          </p:spPr>
          <p:txBody>
            <a:bodyPr rtlCol="0" anchor="ctr"/>
            <a:lstStyle/>
            <a:p>
              <a:endParaRPr lang="en-US"/>
            </a:p>
          </p:txBody>
        </p:sp>
        <p:sp>
          <p:nvSpPr>
            <p:cNvPr id="1784" name="Freeform: Shape 1783">
              <a:extLst>
                <a:ext uri="{FF2B5EF4-FFF2-40B4-BE49-F238E27FC236}">
                  <a16:creationId xmlns:a16="http://schemas.microsoft.com/office/drawing/2014/main" id="{D6B48DEA-8788-4CF4-9418-ED561BE36E02}"/>
                </a:ext>
              </a:extLst>
            </p:cNvPr>
            <p:cNvSpPr/>
            <p:nvPr/>
          </p:nvSpPr>
          <p:spPr>
            <a:xfrm>
              <a:off x="10191515" y="565032"/>
              <a:ext cx="17397" cy="734457"/>
            </a:xfrm>
            <a:custGeom>
              <a:avLst/>
              <a:gdLst>
                <a:gd name="connsiteX0" fmla="*/ 8357 w 17397"/>
                <a:gd name="connsiteY0" fmla="*/ 723587 h 734457"/>
                <a:gd name="connsiteX1" fmla="*/ 17354 w 17397"/>
                <a:gd name="connsiteY1" fmla="*/ 734457 h 734457"/>
                <a:gd name="connsiteX2" fmla="*/ 17354 w 17397"/>
                <a:gd name="connsiteY2" fmla="*/ 22241 h 734457"/>
                <a:gd name="connsiteX3" fmla="*/ 17354 w 17397"/>
                <a:gd name="connsiteY3" fmla="*/ 10871 h 734457"/>
                <a:gd name="connsiteX4" fmla="*/ 8357 w 17397"/>
                <a:gd name="connsiteY4" fmla="*/ 0 h 734457"/>
                <a:gd name="connsiteX5" fmla="*/ 5109 w 17397"/>
                <a:gd name="connsiteY5" fmla="*/ 750 h 734457"/>
                <a:gd name="connsiteX6" fmla="*/ 3235 w 17397"/>
                <a:gd name="connsiteY6" fmla="*/ 2124 h 734457"/>
                <a:gd name="connsiteX7" fmla="*/ 2110 w 17397"/>
                <a:gd name="connsiteY7" fmla="*/ 3124 h 734457"/>
                <a:gd name="connsiteX8" fmla="*/ 1111 w 17397"/>
                <a:gd name="connsiteY8" fmla="*/ 4748 h 734457"/>
                <a:gd name="connsiteX9" fmla="*/ 111 w 17397"/>
                <a:gd name="connsiteY9" fmla="*/ 6497 h 734457"/>
                <a:gd name="connsiteX10" fmla="*/ 111 w 17397"/>
                <a:gd name="connsiteY10" fmla="*/ 8122 h 734457"/>
                <a:gd name="connsiteX11" fmla="*/ 111 w 17397"/>
                <a:gd name="connsiteY11" fmla="*/ 10621 h 734457"/>
                <a:gd name="connsiteX12" fmla="*/ 111 w 17397"/>
                <a:gd name="connsiteY12" fmla="*/ 10621 h 734457"/>
                <a:gd name="connsiteX13" fmla="*/ 111 w 17397"/>
                <a:gd name="connsiteY13" fmla="*/ 726710 h 734457"/>
                <a:gd name="connsiteX14" fmla="*/ 111 w 17397"/>
                <a:gd name="connsiteY14" fmla="*/ 734207 h 734457"/>
                <a:gd name="connsiteX15" fmla="*/ 8357 w 17397"/>
                <a:gd name="connsiteY15" fmla="*/ 723587 h 73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97" h="734457">
                  <a:moveTo>
                    <a:pt x="8357" y="723587"/>
                  </a:moveTo>
                  <a:cubicBezTo>
                    <a:pt x="13843" y="724114"/>
                    <a:pt x="17866" y="728974"/>
                    <a:pt x="17354" y="734457"/>
                  </a:cubicBezTo>
                  <a:lnTo>
                    <a:pt x="17354" y="22241"/>
                  </a:lnTo>
                  <a:lnTo>
                    <a:pt x="17354" y="10871"/>
                  </a:lnTo>
                  <a:cubicBezTo>
                    <a:pt x="17866" y="5388"/>
                    <a:pt x="13843" y="527"/>
                    <a:pt x="8357" y="0"/>
                  </a:cubicBezTo>
                  <a:cubicBezTo>
                    <a:pt x="7233" y="56"/>
                    <a:pt x="6133" y="310"/>
                    <a:pt x="5109" y="750"/>
                  </a:cubicBezTo>
                  <a:cubicBezTo>
                    <a:pt x="4434" y="1136"/>
                    <a:pt x="3810" y="1597"/>
                    <a:pt x="3235" y="2124"/>
                  </a:cubicBezTo>
                  <a:lnTo>
                    <a:pt x="2110" y="3124"/>
                  </a:lnTo>
                  <a:cubicBezTo>
                    <a:pt x="1723" y="3629"/>
                    <a:pt x="1386" y="4174"/>
                    <a:pt x="1111" y="4748"/>
                  </a:cubicBezTo>
                  <a:cubicBezTo>
                    <a:pt x="1111" y="4748"/>
                    <a:pt x="361" y="5873"/>
                    <a:pt x="111" y="6497"/>
                  </a:cubicBezTo>
                  <a:cubicBezTo>
                    <a:pt x="-139" y="7122"/>
                    <a:pt x="111" y="7497"/>
                    <a:pt x="111" y="8122"/>
                  </a:cubicBezTo>
                  <a:cubicBezTo>
                    <a:pt x="36" y="8953"/>
                    <a:pt x="36" y="9789"/>
                    <a:pt x="111" y="10621"/>
                  </a:cubicBezTo>
                  <a:lnTo>
                    <a:pt x="111" y="10621"/>
                  </a:lnTo>
                  <a:lnTo>
                    <a:pt x="111" y="726710"/>
                  </a:lnTo>
                  <a:lnTo>
                    <a:pt x="111" y="734207"/>
                  </a:lnTo>
                  <a:cubicBezTo>
                    <a:pt x="-289" y="729071"/>
                    <a:pt x="3285" y="724472"/>
                    <a:pt x="8357" y="723587"/>
                  </a:cubicBezTo>
                  <a:close/>
                </a:path>
              </a:pathLst>
            </a:custGeom>
            <a:solidFill>
              <a:srgbClr val="000000"/>
            </a:solidFill>
            <a:ln w="12483" cap="flat">
              <a:noFill/>
              <a:prstDash val="solid"/>
              <a:miter/>
            </a:ln>
          </p:spPr>
          <p:txBody>
            <a:bodyPr rtlCol="0" anchor="ctr"/>
            <a:lstStyle/>
            <a:p>
              <a:endParaRPr lang="en-US"/>
            </a:p>
          </p:txBody>
        </p:sp>
        <p:sp>
          <p:nvSpPr>
            <p:cNvPr id="1785" name="Freeform: Shape 1784">
              <a:extLst>
                <a:ext uri="{FF2B5EF4-FFF2-40B4-BE49-F238E27FC236}">
                  <a16:creationId xmlns:a16="http://schemas.microsoft.com/office/drawing/2014/main" id="{E9008ABE-BD1B-473C-AEF7-556919C644FD}"/>
                </a:ext>
              </a:extLst>
            </p:cNvPr>
            <p:cNvSpPr/>
            <p:nvPr/>
          </p:nvSpPr>
          <p:spPr>
            <a:xfrm>
              <a:off x="9746475" y="1941982"/>
              <a:ext cx="23239" cy="320747"/>
            </a:xfrm>
            <a:custGeom>
              <a:avLst/>
              <a:gdLst>
                <a:gd name="connsiteX0" fmla="*/ 14088 w 23239"/>
                <a:gd name="connsiteY0" fmla="*/ 309876 h 320747"/>
                <a:gd name="connsiteX1" fmla="*/ 23221 w 23239"/>
                <a:gd name="connsiteY1" fmla="*/ 320197 h 320747"/>
                <a:gd name="connsiteX2" fmla="*/ 23209 w 23239"/>
                <a:gd name="connsiteY2" fmla="*/ 320372 h 320747"/>
                <a:gd name="connsiteX3" fmla="*/ 17336 w 23239"/>
                <a:gd name="connsiteY3" fmla="*/ 23990 h 320747"/>
                <a:gd name="connsiteX4" fmla="*/ 17336 w 23239"/>
                <a:gd name="connsiteY4" fmla="*/ 10621 h 320747"/>
                <a:gd name="connsiteX5" fmla="*/ 8091 w 23239"/>
                <a:gd name="connsiteY5" fmla="*/ 0 h 320747"/>
                <a:gd name="connsiteX6" fmla="*/ 4842 w 23239"/>
                <a:gd name="connsiteY6" fmla="*/ 875 h 320747"/>
                <a:gd name="connsiteX7" fmla="*/ 3217 w 23239"/>
                <a:gd name="connsiteY7" fmla="*/ 2249 h 320747"/>
                <a:gd name="connsiteX8" fmla="*/ 1968 w 23239"/>
                <a:gd name="connsiteY8" fmla="*/ 3249 h 320747"/>
                <a:gd name="connsiteX9" fmla="*/ 1094 w 23239"/>
                <a:gd name="connsiteY9" fmla="*/ 4748 h 320747"/>
                <a:gd name="connsiteX10" fmla="*/ 94 w 23239"/>
                <a:gd name="connsiteY10" fmla="*/ 6747 h 320747"/>
                <a:gd name="connsiteX11" fmla="*/ 94 w 23239"/>
                <a:gd name="connsiteY11" fmla="*/ 8372 h 320747"/>
                <a:gd name="connsiteX12" fmla="*/ 94 w 23239"/>
                <a:gd name="connsiteY12" fmla="*/ 10871 h 320747"/>
                <a:gd name="connsiteX13" fmla="*/ 94 w 23239"/>
                <a:gd name="connsiteY13" fmla="*/ 10871 h 320747"/>
                <a:gd name="connsiteX14" fmla="*/ 6466 w 23239"/>
                <a:gd name="connsiteY14" fmla="*/ 313250 h 320747"/>
                <a:gd name="connsiteX15" fmla="*/ 6466 w 23239"/>
                <a:gd name="connsiteY15" fmla="*/ 320747 h 320747"/>
                <a:gd name="connsiteX16" fmla="*/ 14088 w 23239"/>
                <a:gd name="connsiteY16" fmla="*/ 309876 h 32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39" h="320747">
                  <a:moveTo>
                    <a:pt x="14088" y="309876"/>
                  </a:moveTo>
                  <a:cubicBezTo>
                    <a:pt x="19461" y="310201"/>
                    <a:pt x="23546" y="314824"/>
                    <a:pt x="23221" y="320197"/>
                  </a:cubicBezTo>
                  <a:cubicBezTo>
                    <a:pt x="23221" y="320260"/>
                    <a:pt x="23209" y="320310"/>
                    <a:pt x="23209" y="320372"/>
                  </a:cubicBezTo>
                  <a:lnTo>
                    <a:pt x="17336" y="23990"/>
                  </a:lnTo>
                  <a:lnTo>
                    <a:pt x="17336" y="10621"/>
                  </a:lnTo>
                  <a:cubicBezTo>
                    <a:pt x="17699" y="5148"/>
                    <a:pt x="13563" y="400"/>
                    <a:pt x="8091" y="0"/>
                  </a:cubicBezTo>
                  <a:cubicBezTo>
                    <a:pt x="6953" y="37"/>
                    <a:pt x="5841" y="337"/>
                    <a:pt x="4842" y="875"/>
                  </a:cubicBezTo>
                  <a:cubicBezTo>
                    <a:pt x="4242" y="1262"/>
                    <a:pt x="3705" y="1724"/>
                    <a:pt x="3217" y="2249"/>
                  </a:cubicBezTo>
                  <a:lnTo>
                    <a:pt x="1968" y="3249"/>
                  </a:lnTo>
                  <a:cubicBezTo>
                    <a:pt x="1631" y="3723"/>
                    <a:pt x="1343" y="4223"/>
                    <a:pt x="1094" y="4748"/>
                  </a:cubicBezTo>
                  <a:cubicBezTo>
                    <a:pt x="706" y="5385"/>
                    <a:pt x="381" y="6060"/>
                    <a:pt x="94" y="6747"/>
                  </a:cubicBezTo>
                  <a:cubicBezTo>
                    <a:pt x="31" y="7285"/>
                    <a:pt x="31" y="7834"/>
                    <a:pt x="94" y="8372"/>
                  </a:cubicBezTo>
                  <a:cubicBezTo>
                    <a:pt x="-31" y="9196"/>
                    <a:pt x="-31" y="10046"/>
                    <a:pt x="94" y="10871"/>
                  </a:cubicBezTo>
                  <a:cubicBezTo>
                    <a:pt x="94" y="10871"/>
                    <a:pt x="94" y="10871"/>
                    <a:pt x="94" y="10871"/>
                  </a:cubicBezTo>
                  <a:lnTo>
                    <a:pt x="6466" y="313250"/>
                  </a:lnTo>
                  <a:lnTo>
                    <a:pt x="6466" y="320747"/>
                  </a:lnTo>
                  <a:cubicBezTo>
                    <a:pt x="5941" y="315737"/>
                    <a:pt x="9190" y="311089"/>
                    <a:pt x="14088" y="309876"/>
                  </a:cubicBezTo>
                  <a:close/>
                </a:path>
              </a:pathLst>
            </a:custGeom>
            <a:solidFill>
              <a:schemeClr val="accent2"/>
            </a:solidFill>
            <a:ln w="12483" cap="flat">
              <a:noFill/>
              <a:prstDash val="solid"/>
              <a:miter/>
            </a:ln>
          </p:spPr>
          <p:txBody>
            <a:bodyPr rtlCol="0" anchor="ctr"/>
            <a:lstStyle/>
            <a:p>
              <a:endParaRPr lang="en-US"/>
            </a:p>
          </p:txBody>
        </p:sp>
        <p:sp>
          <p:nvSpPr>
            <p:cNvPr id="1786" name="Freeform: Shape 1785">
              <a:extLst>
                <a:ext uri="{FF2B5EF4-FFF2-40B4-BE49-F238E27FC236}">
                  <a16:creationId xmlns:a16="http://schemas.microsoft.com/office/drawing/2014/main" id="{F8D8F26A-16DB-4B00-99B1-2BC4AEAA9313}"/>
                </a:ext>
              </a:extLst>
            </p:cNvPr>
            <p:cNvSpPr/>
            <p:nvPr/>
          </p:nvSpPr>
          <p:spPr>
            <a:xfrm>
              <a:off x="9752133" y="2252359"/>
              <a:ext cx="17956" cy="33362"/>
            </a:xfrm>
            <a:custGeom>
              <a:avLst/>
              <a:gdLst>
                <a:gd name="connsiteX0" fmla="*/ 9055 w 17956"/>
                <a:gd name="connsiteY0" fmla="*/ 33362 h 33362"/>
                <a:gd name="connsiteX1" fmla="*/ 14053 w 17956"/>
                <a:gd name="connsiteY1" fmla="*/ 31113 h 33362"/>
                <a:gd name="connsiteX2" fmla="*/ 16301 w 17956"/>
                <a:gd name="connsiteY2" fmla="*/ 28364 h 33362"/>
                <a:gd name="connsiteX3" fmla="*/ 17926 w 17956"/>
                <a:gd name="connsiteY3" fmla="*/ 22241 h 33362"/>
                <a:gd name="connsiteX4" fmla="*/ 17926 w 17956"/>
                <a:gd name="connsiteY4" fmla="*/ 10496 h 33362"/>
                <a:gd name="connsiteX5" fmla="*/ 17926 w 17956"/>
                <a:gd name="connsiteY5" fmla="*/ 10496 h 33362"/>
                <a:gd name="connsiteX6" fmla="*/ 17926 w 17956"/>
                <a:gd name="connsiteY6" fmla="*/ 10496 h 33362"/>
                <a:gd name="connsiteX7" fmla="*/ 8980 w 17956"/>
                <a:gd name="connsiteY7" fmla="*/ 13 h 33362"/>
                <a:gd name="connsiteX8" fmla="*/ 8805 w 17956"/>
                <a:gd name="connsiteY8" fmla="*/ 0 h 33362"/>
                <a:gd name="connsiteX9" fmla="*/ 59 w 17956"/>
                <a:gd name="connsiteY9" fmla="*/ 11121 h 33362"/>
                <a:gd name="connsiteX10" fmla="*/ 59 w 17956"/>
                <a:gd name="connsiteY10" fmla="*/ 23616 h 33362"/>
                <a:gd name="connsiteX11" fmla="*/ 683 w 17956"/>
                <a:gd name="connsiteY11" fmla="*/ 26864 h 33362"/>
                <a:gd name="connsiteX12" fmla="*/ 1558 w 17956"/>
                <a:gd name="connsiteY12" fmla="*/ 29113 h 33362"/>
                <a:gd name="connsiteX13" fmla="*/ 9055 w 17956"/>
                <a:gd name="connsiteY13" fmla="*/ 33362 h 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56" h="33362">
                  <a:moveTo>
                    <a:pt x="9055" y="33362"/>
                  </a:moveTo>
                  <a:cubicBezTo>
                    <a:pt x="10941" y="33274"/>
                    <a:pt x="12728" y="32462"/>
                    <a:pt x="14053" y="31113"/>
                  </a:cubicBezTo>
                  <a:cubicBezTo>
                    <a:pt x="14965" y="30338"/>
                    <a:pt x="15727" y="29413"/>
                    <a:pt x="16301" y="28364"/>
                  </a:cubicBezTo>
                  <a:cubicBezTo>
                    <a:pt x="17326" y="26477"/>
                    <a:pt x="17876" y="24378"/>
                    <a:pt x="17926" y="22241"/>
                  </a:cubicBezTo>
                  <a:lnTo>
                    <a:pt x="17926" y="10496"/>
                  </a:lnTo>
                  <a:lnTo>
                    <a:pt x="17926" y="10496"/>
                  </a:lnTo>
                  <a:lnTo>
                    <a:pt x="17926" y="10496"/>
                  </a:lnTo>
                  <a:cubicBezTo>
                    <a:pt x="18351" y="5135"/>
                    <a:pt x="14340" y="437"/>
                    <a:pt x="8980" y="13"/>
                  </a:cubicBezTo>
                  <a:cubicBezTo>
                    <a:pt x="8917" y="13"/>
                    <a:pt x="8867" y="0"/>
                    <a:pt x="8805" y="0"/>
                  </a:cubicBezTo>
                  <a:cubicBezTo>
                    <a:pt x="3357" y="712"/>
                    <a:pt x="-529" y="5648"/>
                    <a:pt x="59" y="11121"/>
                  </a:cubicBezTo>
                  <a:lnTo>
                    <a:pt x="59" y="23616"/>
                  </a:lnTo>
                  <a:cubicBezTo>
                    <a:pt x="71" y="24728"/>
                    <a:pt x="284" y="25827"/>
                    <a:pt x="683" y="26864"/>
                  </a:cubicBezTo>
                  <a:cubicBezTo>
                    <a:pt x="871" y="27651"/>
                    <a:pt x="1158" y="28414"/>
                    <a:pt x="1558" y="29113"/>
                  </a:cubicBezTo>
                  <a:cubicBezTo>
                    <a:pt x="3095" y="31787"/>
                    <a:pt x="5969" y="33412"/>
                    <a:pt x="9055" y="33362"/>
                  </a:cubicBezTo>
                  <a:close/>
                </a:path>
              </a:pathLst>
            </a:custGeom>
            <a:solidFill>
              <a:srgbClr val="000000"/>
            </a:solidFill>
            <a:ln w="12483" cap="flat">
              <a:noFill/>
              <a:prstDash val="solid"/>
              <a:miter/>
            </a:ln>
          </p:spPr>
          <p:txBody>
            <a:bodyPr rtlCol="0" anchor="ctr"/>
            <a:lstStyle/>
            <a:p>
              <a:endParaRPr lang="en-US"/>
            </a:p>
          </p:txBody>
        </p:sp>
        <p:sp>
          <p:nvSpPr>
            <p:cNvPr id="1787" name="Freeform: Shape 1786">
              <a:extLst>
                <a:ext uri="{FF2B5EF4-FFF2-40B4-BE49-F238E27FC236}">
                  <a16:creationId xmlns:a16="http://schemas.microsoft.com/office/drawing/2014/main" id="{7DA7BBBA-ADC7-4FE7-9BAE-06E2DBDCD480}"/>
                </a:ext>
              </a:extLst>
            </p:cNvPr>
            <p:cNvSpPr/>
            <p:nvPr/>
          </p:nvSpPr>
          <p:spPr>
            <a:xfrm>
              <a:off x="9208801" y="2527548"/>
              <a:ext cx="18308" cy="24066"/>
            </a:xfrm>
            <a:custGeom>
              <a:avLst/>
              <a:gdLst>
                <a:gd name="connsiteX0" fmla="*/ 14494 w 18308"/>
                <a:gd name="connsiteY0" fmla="*/ 19443 h 24066"/>
                <a:gd name="connsiteX1" fmla="*/ 16743 w 18308"/>
                <a:gd name="connsiteY1" fmla="*/ 16819 h 24066"/>
                <a:gd name="connsiteX2" fmla="*/ 18117 w 18308"/>
                <a:gd name="connsiteY2" fmla="*/ 8573 h 24066"/>
                <a:gd name="connsiteX3" fmla="*/ 18117 w 18308"/>
                <a:gd name="connsiteY3" fmla="*/ 6698 h 24066"/>
                <a:gd name="connsiteX4" fmla="*/ 18117 w 18308"/>
                <a:gd name="connsiteY4" fmla="*/ 5949 h 24066"/>
                <a:gd name="connsiteX5" fmla="*/ 7897 w 18308"/>
                <a:gd name="connsiteY5" fmla="*/ 326 h 24066"/>
                <a:gd name="connsiteX6" fmla="*/ 6872 w 18308"/>
                <a:gd name="connsiteY6" fmla="*/ 701 h 24066"/>
                <a:gd name="connsiteX7" fmla="*/ 4873 w 18308"/>
                <a:gd name="connsiteY7" fmla="*/ 1576 h 24066"/>
                <a:gd name="connsiteX8" fmla="*/ 1624 w 18308"/>
                <a:gd name="connsiteY8" fmla="*/ 3200 h 24066"/>
                <a:gd name="connsiteX9" fmla="*/ 0 w 18308"/>
                <a:gd name="connsiteY9" fmla="*/ 3950 h 24066"/>
                <a:gd name="connsiteX10" fmla="*/ 11295 w 18308"/>
                <a:gd name="connsiteY10" fmla="*/ 8548 h 24066"/>
                <a:gd name="connsiteX11" fmla="*/ 11745 w 18308"/>
                <a:gd name="connsiteY11" fmla="*/ 9947 h 24066"/>
                <a:gd name="connsiteX12" fmla="*/ 6747 w 18308"/>
                <a:gd name="connsiteY12" fmla="*/ 24067 h 24066"/>
                <a:gd name="connsiteX13" fmla="*/ 13494 w 18308"/>
                <a:gd name="connsiteY13" fmla="*/ 20818 h 24066"/>
                <a:gd name="connsiteX14" fmla="*/ 14494 w 18308"/>
                <a:gd name="connsiteY14" fmla="*/ 19443 h 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08" h="24066">
                  <a:moveTo>
                    <a:pt x="14494" y="19443"/>
                  </a:moveTo>
                  <a:cubicBezTo>
                    <a:pt x="15368" y="18694"/>
                    <a:pt x="16131" y="17807"/>
                    <a:pt x="16743" y="16819"/>
                  </a:cubicBezTo>
                  <a:cubicBezTo>
                    <a:pt x="18130" y="14308"/>
                    <a:pt x="18617" y="11397"/>
                    <a:pt x="18117" y="8573"/>
                  </a:cubicBezTo>
                  <a:cubicBezTo>
                    <a:pt x="18242" y="7948"/>
                    <a:pt x="18242" y="7323"/>
                    <a:pt x="18117" y="6698"/>
                  </a:cubicBezTo>
                  <a:lnTo>
                    <a:pt x="18117" y="5949"/>
                  </a:lnTo>
                  <a:cubicBezTo>
                    <a:pt x="16843" y="1576"/>
                    <a:pt x="12270" y="-936"/>
                    <a:pt x="7897" y="326"/>
                  </a:cubicBezTo>
                  <a:cubicBezTo>
                    <a:pt x="7547" y="426"/>
                    <a:pt x="7210" y="551"/>
                    <a:pt x="6872" y="701"/>
                  </a:cubicBezTo>
                  <a:lnTo>
                    <a:pt x="4873" y="1576"/>
                  </a:lnTo>
                  <a:lnTo>
                    <a:pt x="1624" y="3200"/>
                  </a:lnTo>
                  <a:lnTo>
                    <a:pt x="0" y="3950"/>
                  </a:lnTo>
                  <a:cubicBezTo>
                    <a:pt x="4386" y="2100"/>
                    <a:pt x="9446" y="4162"/>
                    <a:pt x="11295" y="8548"/>
                  </a:cubicBezTo>
                  <a:cubicBezTo>
                    <a:pt x="11483" y="8998"/>
                    <a:pt x="11632" y="9472"/>
                    <a:pt x="11745" y="9947"/>
                  </a:cubicBezTo>
                  <a:cubicBezTo>
                    <a:pt x="13682" y="15245"/>
                    <a:pt x="11583" y="21168"/>
                    <a:pt x="6747" y="24067"/>
                  </a:cubicBezTo>
                  <a:lnTo>
                    <a:pt x="13494" y="20818"/>
                  </a:lnTo>
                  <a:cubicBezTo>
                    <a:pt x="13869" y="20393"/>
                    <a:pt x="14207" y="19931"/>
                    <a:pt x="14494" y="19443"/>
                  </a:cubicBezTo>
                  <a:close/>
                </a:path>
              </a:pathLst>
            </a:custGeom>
            <a:solidFill>
              <a:srgbClr val="000000"/>
            </a:solidFill>
            <a:ln w="12483" cap="flat">
              <a:noFill/>
              <a:prstDash val="solid"/>
              <a:miter/>
            </a:ln>
          </p:spPr>
          <p:txBody>
            <a:bodyPr rtlCol="0" anchor="ctr"/>
            <a:lstStyle/>
            <a:p>
              <a:endParaRPr lang="en-US"/>
            </a:p>
          </p:txBody>
        </p:sp>
        <p:sp>
          <p:nvSpPr>
            <p:cNvPr id="1788" name="Freeform: Shape 1787">
              <a:extLst>
                <a:ext uri="{FF2B5EF4-FFF2-40B4-BE49-F238E27FC236}">
                  <a16:creationId xmlns:a16="http://schemas.microsoft.com/office/drawing/2014/main" id="{408005BF-0AD1-4197-8999-E37FCCF4786D}"/>
                </a:ext>
              </a:extLst>
            </p:cNvPr>
            <p:cNvSpPr/>
            <p:nvPr/>
          </p:nvSpPr>
          <p:spPr>
            <a:xfrm>
              <a:off x="9145407" y="2530823"/>
              <a:ext cx="75105" cy="49370"/>
            </a:xfrm>
            <a:custGeom>
              <a:avLst/>
              <a:gdLst>
                <a:gd name="connsiteX0" fmla="*/ 12167 w 75105"/>
                <a:gd name="connsiteY0" fmla="*/ 48655 h 49370"/>
                <a:gd name="connsiteX1" fmla="*/ 24661 w 75105"/>
                <a:gd name="connsiteY1" fmla="*/ 42533 h 49370"/>
                <a:gd name="connsiteX2" fmla="*/ 69392 w 75105"/>
                <a:gd name="connsiteY2" fmla="*/ 20791 h 49370"/>
                <a:gd name="connsiteX3" fmla="*/ 74390 w 75105"/>
                <a:gd name="connsiteY3" fmla="*/ 6672 h 49370"/>
                <a:gd name="connsiteX4" fmla="*/ 64044 w 75105"/>
                <a:gd name="connsiteY4" fmla="*/ 224 h 49370"/>
                <a:gd name="connsiteX5" fmla="*/ 62645 w 75105"/>
                <a:gd name="connsiteY5" fmla="*/ 674 h 49370"/>
                <a:gd name="connsiteX6" fmla="*/ 57522 w 75105"/>
                <a:gd name="connsiteY6" fmla="*/ 3173 h 49370"/>
                <a:gd name="connsiteX7" fmla="*/ 56647 w 75105"/>
                <a:gd name="connsiteY7" fmla="*/ 3173 h 49370"/>
                <a:gd name="connsiteX8" fmla="*/ 5419 w 75105"/>
                <a:gd name="connsiteY8" fmla="*/ 28163 h 49370"/>
                <a:gd name="connsiteX9" fmla="*/ 4295 w 75105"/>
                <a:gd name="connsiteY9" fmla="*/ 28913 h 49370"/>
                <a:gd name="connsiteX10" fmla="*/ 2421 w 75105"/>
                <a:gd name="connsiteY10" fmla="*/ 30412 h 49370"/>
                <a:gd name="connsiteX11" fmla="*/ 47 w 75105"/>
                <a:gd name="connsiteY11" fmla="*/ 36160 h 49370"/>
                <a:gd name="connsiteX12" fmla="*/ 47 w 75105"/>
                <a:gd name="connsiteY12" fmla="*/ 38034 h 49370"/>
                <a:gd name="connsiteX13" fmla="*/ 671 w 75105"/>
                <a:gd name="connsiteY13" fmla="*/ 42158 h 49370"/>
                <a:gd name="connsiteX14" fmla="*/ 671 w 75105"/>
                <a:gd name="connsiteY14" fmla="*/ 42158 h 49370"/>
                <a:gd name="connsiteX15" fmla="*/ 671 w 75105"/>
                <a:gd name="connsiteY15" fmla="*/ 43032 h 49370"/>
                <a:gd name="connsiteX16" fmla="*/ 10829 w 75105"/>
                <a:gd name="connsiteY16" fmla="*/ 49117 h 49370"/>
                <a:gd name="connsiteX17" fmla="*/ 12167 w 75105"/>
                <a:gd name="connsiteY17" fmla="*/ 48655 h 4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105" h="49370">
                  <a:moveTo>
                    <a:pt x="12167" y="48655"/>
                  </a:moveTo>
                  <a:lnTo>
                    <a:pt x="24661" y="42533"/>
                  </a:lnTo>
                  <a:lnTo>
                    <a:pt x="69392" y="20791"/>
                  </a:lnTo>
                  <a:cubicBezTo>
                    <a:pt x="74227" y="17892"/>
                    <a:pt x="76326" y="11970"/>
                    <a:pt x="74390" y="6672"/>
                  </a:cubicBezTo>
                  <a:cubicBezTo>
                    <a:pt x="73315" y="2036"/>
                    <a:pt x="68680" y="-850"/>
                    <a:pt x="64044" y="224"/>
                  </a:cubicBezTo>
                  <a:cubicBezTo>
                    <a:pt x="63569" y="337"/>
                    <a:pt x="63095" y="487"/>
                    <a:pt x="62645" y="674"/>
                  </a:cubicBezTo>
                  <a:lnTo>
                    <a:pt x="57522" y="3173"/>
                  </a:lnTo>
                  <a:lnTo>
                    <a:pt x="56647" y="3173"/>
                  </a:lnTo>
                  <a:lnTo>
                    <a:pt x="5419" y="28163"/>
                  </a:lnTo>
                  <a:cubicBezTo>
                    <a:pt x="5419" y="28163"/>
                    <a:pt x="4670" y="28163"/>
                    <a:pt x="4295" y="28913"/>
                  </a:cubicBezTo>
                  <a:cubicBezTo>
                    <a:pt x="3620" y="29338"/>
                    <a:pt x="2983" y="29850"/>
                    <a:pt x="2421" y="30412"/>
                  </a:cubicBezTo>
                  <a:cubicBezTo>
                    <a:pt x="972" y="31987"/>
                    <a:pt x="134" y="34024"/>
                    <a:pt x="47" y="36160"/>
                  </a:cubicBezTo>
                  <a:cubicBezTo>
                    <a:pt x="-16" y="36785"/>
                    <a:pt x="-16" y="37410"/>
                    <a:pt x="47" y="38034"/>
                  </a:cubicBezTo>
                  <a:cubicBezTo>
                    <a:pt x="-3" y="39434"/>
                    <a:pt x="209" y="40833"/>
                    <a:pt x="671" y="42158"/>
                  </a:cubicBezTo>
                  <a:lnTo>
                    <a:pt x="671" y="42158"/>
                  </a:lnTo>
                  <a:cubicBezTo>
                    <a:pt x="647" y="42445"/>
                    <a:pt x="647" y="42745"/>
                    <a:pt x="671" y="43032"/>
                  </a:cubicBezTo>
                  <a:cubicBezTo>
                    <a:pt x="1796" y="47518"/>
                    <a:pt x="6344" y="50242"/>
                    <a:pt x="10829" y="49117"/>
                  </a:cubicBezTo>
                  <a:cubicBezTo>
                    <a:pt x="11292" y="49005"/>
                    <a:pt x="11729" y="48843"/>
                    <a:pt x="12167" y="48655"/>
                  </a:cubicBezTo>
                  <a:close/>
                </a:path>
              </a:pathLst>
            </a:custGeom>
            <a:solidFill>
              <a:srgbClr val="000000"/>
            </a:solidFill>
            <a:ln w="12483" cap="flat">
              <a:noFill/>
              <a:prstDash val="solid"/>
              <a:miter/>
            </a:ln>
          </p:spPr>
          <p:txBody>
            <a:bodyPr rtlCol="0" anchor="ctr"/>
            <a:lstStyle/>
            <a:p>
              <a:endParaRPr lang="en-US"/>
            </a:p>
          </p:txBody>
        </p:sp>
        <p:sp>
          <p:nvSpPr>
            <p:cNvPr id="1789" name="Freeform: Shape 1788">
              <a:extLst>
                <a:ext uri="{FF2B5EF4-FFF2-40B4-BE49-F238E27FC236}">
                  <a16:creationId xmlns:a16="http://schemas.microsoft.com/office/drawing/2014/main" id="{8551097D-E9C2-4C4F-907D-611232292EDE}"/>
                </a:ext>
              </a:extLst>
            </p:cNvPr>
            <p:cNvSpPr/>
            <p:nvPr/>
          </p:nvSpPr>
          <p:spPr>
            <a:xfrm>
              <a:off x="9348366" y="3141129"/>
              <a:ext cx="28068" cy="34193"/>
            </a:xfrm>
            <a:custGeom>
              <a:avLst/>
              <a:gdLst>
                <a:gd name="connsiteX0" fmla="*/ 12495 w 28068"/>
                <a:gd name="connsiteY0" fmla="*/ 14994 h 34193"/>
                <a:gd name="connsiteX1" fmla="*/ 1462 w 28068"/>
                <a:gd name="connsiteY1" fmla="*/ 16456 h 34193"/>
                <a:gd name="connsiteX2" fmla="*/ 0 w 28068"/>
                <a:gd name="connsiteY2" fmla="*/ 14994 h 34193"/>
                <a:gd name="connsiteX3" fmla="*/ 4373 w 28068"/>
                <a:gd name="connsiteY3" fmla="*/ 20367 h 34193"/>
                <a:gd name="connsiteX4" fmla="*/ 10620 w 28068"/>
                <a:gd name="connsiteY4" fmla="*/ 28114 h 34193"/>
                <a:gd name="connsiteX5" fmla="*/ 12994 w 28068"/>
                <a:gd name="connsiteY5" fmla="*/ 31112 h 34193"/>
                <a:gd name="connsiteX6" fmla="*/ 24027 w 28068"/>
                <a:gd name="connsiteY6" fmla="*/ 32574 h 34193"/>
                <a:gd name="connsiteX7" fmla="*/ 25489 w 28068"/>
                <a:gd name="connsiteY7" fmla="*/ 31112 h 34193"/>
                <a:gd name="connsiteX8" fmla="*/ 27863 w 28068"/>
                <a:gd name="connsiteY8" fmla="*/ 21241 h 34193"/>
                <a:gd name="connsiteX9" fmla="*/ 27863 w 28068"/>
                <a:gd name="connsiteY9" fmla="*/ 21241 h 34193"/>
                <a:gd name="connsiteX10" fmla="*/ 27863 w 28068"/>
                <a:gd name="connsiteY10" fmla="*/ 19242 h 34193"/>
                <a:gd name="connsiteX11" fmla="*/ 26739 w 28068"/>
                <a:gd name="connsiteY11" fmla="*/ 17243 h 34193"/>
                <a:gd name="connsiteX12" fmla="*/ 26114 w 28068"/>
                <a:gd name="connsiteY12" fmla="*/ 15994 h 34193"/>
                <a:gd name="connsiteX13" fmla="*/ 20616 w 28068"/>
                <a:gd name="connsiteY13" fmla="*/ 9246 h 34193"/>
                <a:gd name="connsiteX14" fmla="*/ 17243 w 28068"/>
                <a:gd name="connsiteY14" fmla="*/ 5123 h 34193"/>
                <a:gd name="connsiteX15" fmla="*/ 13244 w 28068"/>
                <a:gd name="connsiteY15" fmla="*/ 0 h 34193"/>
                <a:gd name="connsiteX16" fmla="*/ 12495 w 28068"/>
                <a:gd name="connsiteY16" fmla="*/ 14994 h 3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068" h="34193">
                  <a:moveTo>
                    <a:pt x="12495" y="14994"/>
                  </a:moveTo>
                  <a:cubicBezTo>
                    <a:pt x="9846" y="18443"/>
                    <a:pt x="4910" y="19092"/>
                    <a:pt x="1462" y="16456"/>
                  </a:cubicBezTo>
                  <a:cubicBezTo>
                    <a:pt x="912" y="16031"/>
                    <a:pt x="425" y="15544"/>
                    <a:pt x="0" y="14994"/>
                  </a:cubicBezTo>
                  <a:lnTo>
                    <a:pt x="4373" y="20367"/>
                  </a:lnTo>
                  <a:lnTo>
                    <a:pt x="10620" y="28114"/>
                  </a:lnTo>
                  <a:lnTo>
                    <a:pt x="12994" y="31112"/>
                  </a:lnTo>
                  <a:cubicBezTo>
                    <a:pt x="15643" y="34561"/>
                    <a:pt x="20579" y="35211"/>
                    <a:pt x="24027" y="32574"/>
                  </a:cubicBezTo>
                  <a:cubicBezTo>
                    <a:pt x="24577" y="32150"/>
                    <a:pt x="25064" y="31662"/>
                    <a:pt x="25489" y="31112"/>
                  </a:cubicBezTo>
                  <a:cubicBezTo>
                    <a:pt x="27638" y="28301"/>
                    <a:pt x="28500" y="24715"/>
                    <a:pt x="27863" y="21241"/>
                  </a:cubicBezTo>
                  <a:lnTo>
                    <a:pt x="27863" y="21241"/>
                  </a:lnTo>
                  <a:lnTo>
                    <a:pt x="27863" y="19242"/>
                  </a:lnTo>
                  <a:lnTo>
                    <a:pt x="26739" y="17243"/>
                  </a:lnTo>
                  <a:cubicBezTo>
                    <a:pt x="26739" y="17243"/>
                    <a:pt x="26739" y="16368"/>
                    <a:pt x="26114" y="15994"/>
                  </a:cubicBezTo>
                  <a:lnTo>
                    <a:pt x="20616" y="9246"/>
                  </a:lnTo>
                  <a:lnTo>
                    <a:pt x="17243" y="5123"/>
                  </a:lnTo>
                  <a:lnTo>
                    <a:pt x="13244" y="0"/>
                  </a:lnTo>
                  <a:cubicBezTo>
                    <a:pt x="16355" y="4611"/>
                    <a:pt x="16056" y="10721"/>
                    <a:pt x="12495" y="14994"/>
                  </a:cubicBezTo>
                  <a:close/>
                </a:path>
              </a:pathLst>
            </a:custGeom>
            <a:solidFill>
              <a:srgbClr val="000000"/>
            </a:solidFill>
            <a:ln w="12483" cap="flat">
              <a:noFill/>
              <a:prstDash val="solid"/>
              <a:miter/>
            </a:ln>
          </p:spPr>
          <p:txBody>
            <a:bodyPr rtlCol="0" anchor="ctr"/>
            <a:lstStyle/>
            <a:p>
              <a:endParaRPr lang="en-US"/>
            </a:p>
          </p:txBody>
        </p:sp>
        <p:sp>
          <p:nvSpPr>
            <p:cNvPr id="1790" name="Freeform: Shape 1789">
              <a:extLst>
                <a:ext uri="{FF2B5EF4-FFF2-40B4-BE49-F238E27FC236}">
                  <a16:creationId xmlns:a16="http://schemas.microsoft.com/office/drawing/2014/main" id="{ED13B2B3-C1E2-4F00-80DB-A43698788A8A}"/>
                </a:ext>
              </a:extLst>
            </p:cNvPr>
            <p:cNvSpPr/>
            <p:nvPr/>
          </p:nvSpPr>
          <p:spPr>
            <a:xfrm>
              <a:off x="9281339" y="3055288"/>
              <a:ext cx="81867" cy="102791"/>
            </a:xfrm>
            <a:custGeom>
              <a:avLst/>
              <a:gdLst>
                <a:gd name="connsiteX0" fmla="*/ 17424 w 81867"/>
                <a:gd name="connsiteY0" fmla="*/ 38360 h 102791"/>
                <a:gd name="connsiteX1" fmla="*/ 57656 w 81867"/>
                <a:gd name="connsiteY1" fmla="*/ 88340 h 102791"/>
                <a:gd name="connsiteX2" fmla="*/ 66777 w 81867"/>
                <a:gd name="connsiteY2" fmla="*/ 99710 h 102791"/>
                <a:gd name="connsiteX3" fmla="*/ 77810 w 81867"/>
                <a:gd name="connsiteY3" fmla="*/ 101172 h 102791"/>
                <a:gd name="connsiteX4" fmla="*/ 79272 w 81867"/>
                <a:gd name="connsiteY4" fmla="*/ 99710 h 102791"/>
                <a:gd name="connsiteX5" fmla="*/ 79272 w 81867"/>
                <a:gd name="connsiteY5" fmla="*/ 84466 h 102791"/>
                <a:gd name="connsiteX6" fmla="*/ 13176 w 81867"/>
                <a:gd name="connsiteY6" fmla="*/ 2249 h 102791"/>
                <a:gd name="connsiteX7" fmla="*/ 13176 w 81867"/>
                <a:gd name="connsiteY7" fmla="*/ 2249 h 102791"/>
                <a:gd name="connsiteX8" fmla="*/ 11426 w 81867"/>
                <a:gd name="connsiteY8" fmla="*/ 875 h 102791"/>
                <a:gd name="connsiteX9" fmla="*/ 10302 w 81867"/>
                <a:gd name="connsiteY9" fmla="*/ 0 h 102791"/>
                <a:gd name="connsiteX10" fmla="*/ 8677 w 81867"/>
                <a:gd name="connsiteY10" fmla="*/ 0 h 102791"/>
                <a:gd name="connsiteX11" fmla="*/ 7678 w 81867"/>
                <a:gd name="connsiteY11" fmla="*/ 0 h 102791"/>
                <a:gd name="connsiteX12" fmla="*/ 6179 w 81867"/>
                <a:gd name="connsiteY12" fmla="*/ 0 h 102791"/>
                <a:gd name="connsiteX13" fmla="*/ 6179 w 81867"/>
                <a:gd name="connsiteY13" fmla="*/ 0 h 102791"/>
                <a:gd name="connsiteX14" fmla="*/ 4679 w 81867"/>
                <a:gd name="connsiteY14" fmla="*/ 0 h 102791"/>
                <a:gd name="connsiteX15" fmla="*/ 3055 w 81867"/>
                <a:gd name="connsiteY15" fmla="*/ 1250 h 102791"/>
                <a:gd name="connsiteX16" fmla="*/ 1930 w 81867"/>
                <a:gd name="connsiteY16" fmla="*/ 2124 h 102791"/>
                <a:gd name="connsiteX17" fmla="*/ 1930 w 81867"/>
                <a:gd name="connsiteY17" fmla="*/ 2124 h 102791"/>
                <a:gd name="connsiteX18" fmla="*/ 806 w 81867"/>
                <a:gd name="connsiteY18" fmla="*/ 3998 h 102791"/>
                <a:gd name="connsiteX19" fmla="*/ 56 w 81867"/>
                <a:gd name="connsiteY19" fmla="*/ 5623 h 102791"/>
                <a:gd name="connsiteX20" fmla="*/ 56 w 81867"/>
                <a:gd name="connsiteY20" fmla="*/ 7622 h 102791"/>
                <a:gd name="connsiteX21" fmla="*/ 56 w 81867"/>
                <a:gd name="connsiteY21" fmla="*/ 9871 h 102791"/>
                <a:gd name="connsiteX22" fmla="*/ 2555 w 81867"/>
                <a:gd name="connsiteY22" fmla="*/ 17118 h 102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867" h="102791">
                  <a:moveTo>
                    <a:pt x="17424" y="38360"/>
                  </a:moveTo>
                  <a:lnTo>
                    <a:pt x="57656" y="88340"/>
                  </a:lnTo>
                  <a:lnTo>
                    <a:pt x="66777" y="99710"/>
                  </a:lnTo>
                  <a:cubicBezTo>
                    <a:pt x="69426" y="103159"/>
                    <a:pt x="74362" y="103809"/>
                    <a:pt x="77810" y="101172"/>
                  </a:cubicBezTo>
                  <a:cubicBezTo>
                    <a:pt x="78360" y="100747"/>
                    <a:pt x="78847" y="100260"/>
                    <a:pt x="79272" y="99710"/>
                  </a:cubicBezTo>
                  <a:cubicBezTo>
                    <a:pt x="82733" y="95212"/>
                    <a:pt x="82733" y="88965"/>
                    <a:pt x="79272" y="84466"/>
                  </a:cubicBezTo>
                  <a:lnTo>
                    <a:pt x="13176" y="2249"/>
                  </a:lnTo>
                  <a:lnTo>
                    <a:pt x="13176" y="2249"/>
                  </a:lnTo>
                  <a:cubicBezTo>
                    <a:pt x="12676" y="1687"/>
                    <a:pt x="12088" y="1225"/>
                    <a:pt x="11426" y="875"/>
                  </a:cubicBezTo>
                  <a:cubicBezTo>
                    <a:pt x="11114" y="512"/>
                    <a:pt x="10726" y="213"/>
                    <a:pt x="10302" y="0"/>
                  </a:cubicBezTo>
                  <a:lnTo>
                    <a:pt x="8677" y="0"/>
                  </a:lnTo>
                  <a:lnTo>
                    <a:pt x="7678" y="0"/>
                  </a:lnTo>
                  <a:lnTo>
                    <a:pt x="6179" y="0"/>
                  </a:lnTo>
                  <a:lnTo>
                    <a:pt x="6179" y="0"/>
                  </a:lnTo>
                  <a:lnTo>
                    <a:pt x="4679" y="0"/>
                  </a:lnTo>
                  <a:lnTo>
                    <a:pt x="3055" y="1250"/>
                  </a:lnTo>
                  <a:lnTo>
                    <a:pt x="1930" y="2124"/>
                  </a:lnTo>
                  <a:lnTo>
                    <a:pt x="1930" y="2124"/>
                  </a:lnTo>
                  <a:cubicBezTo>
                    <a:pt x="1506" y="2724"/>
                    <a:pt x="1131" y="3349"/>
                    <a:pt x="806" y="3998"/>
                  </a:cubicBezTo>
                  <a:cubicBezTo>
                    <a:pt x="531" y="4523"/>
                    <a:pt x="281" y="5073"/>
                    <a:pt x="56" y="5623"/>
                  </a:cubicBezTo>
                  <a:cubicBezTo>
                    <a:pt x="-19" y="6285"/>
                    <a:pt x="-19" y="6960"/>
                    <a:pt x="56" y="7622"/>
                  </a:cubicBezTo>
                  <a:cubicBezTo>
                    <a:pt x="-6" y="8372"/>
                    <a:pt x="-6" y="9122"/>
                    <a:pt x="56" y="9871"/>
                  </a:cubicBezTo>
                  <a:cubicBezTo>
                    <a:pt x="-19" y="12508"/>
                    <a:pt x="868" y="15081"/>
                    <a:pt x="2555" y="17118"/>
                  </a:cubicBezTo>
                  <a:close/>
                </a:path>
              </a:pathLst>
            </a:custGeom>
            <a:solidFill>
              <a:srgbClr val="000000"/>
            </a:solidFill>
            <a:ln w="12483" cap="flat">
              <a:noFill/>
              <a:prstDash val="solid"/>
              <a:miter/>
            </a:ln>
          </p:spPr>
          <p:txBody>
            <a:bodyPr rtlCol="0" anchor="ctr"/>
            <a:lstStyle/>
            <a:p>
              <a:endParaRPr lang="en-US"/>
            </a:p>
          </p:txBody>
        </p:sp>
        <p:sp>
          <p:nvSpPr>
            <p:cNvPr id="1791" name="Freeform: Shape 1790">
              <a:extLst>
                <a:ext uri="{FF2B5EF4-FFF2-40B4-BE49-F238E27FC236}">
                  <a16:creationId xmlns:a16="http://schemas.microsoft.com/office/drawing/2014/main" id="{8D185DE1-DBD5-4C04-A09A-EB0CCC3DB43A}"/>
                </a:ext>
              </a:extLst>
            </p:cNvPr>
            <p:cNvSpPr/>
            <p:nvPr/>
          </p:nvSpPr>
          <p:spPr>
            <a:xfrm>
              <a:off x="9178922" y="5807191"/>
              <a:ext cx="164321" cy="107817"/>
            </a:xfrm>
            <a:custGeom>
              <a:avLst/>
              <a:gdLst>
                <a:gd name="connsiteX0" fmla="*/ 160073 w 164321"/>
                <a:gd name="connsiteY0" fmla="*/ 21991 h 107817"/>
                <a:gd name="connsiteX1" fmla="*/ 164321 w 164321"/>
                <a:gd name="connsiteY1" fmla="*/ 19617 h 107817"/>
                <a:gd name="connsiteX2" fmla="*/ 152701 w 164321"/>
                <a:gd name="connsiteY2" fmla="*/ 16568 h 107817"/>
                <a:gd name="connsiteX3" fmla="*/ 151827 w 164321"/>
                <a:gd name="connsiteY3" fmla="*/ 14494 h 107817"/>
                <a:gd name="connsiteX4" fmla="*/ 156075 w 164321"/>
                <a:gd name="connsiteY4" fmla="*/ 0 h 107817"/>
                <a:gd name="connsiteX5" fmla="*/ 155450 w 164321"/>
                <a:gd name="connsiteY5" fmla="*/ 0 h 107817"/>
                <a:gd name="connsiteX6" fmla="*/ 152452 w 164321"/>
                <a:gd name="connsiteY6" fmla="*/ 1749 h 107817"/>
                <a:gd name="connsiteX7" fmla="*/ 5140 w 164321"/>
                <a:gd name="connsiteY7" fmla="*/ 86965 h 107817"/>
                <a:gd name="connsiteX8" fmla="*/ 1017 w 164321"/>
                <a:gd name="connsiteY8" fmla="*/ 101459 h 107817"/>
                <a:gd name="connsiteX9" fmla="*/ 11162 w 164321"/>
                <a:gd name="connsiteY9" fmla="*/ 107569 h 107817"/>
                <a:gd name="connsiteX10" fmla="*/ 13511 w 164321"/>
                <a:gd name="connsiteY10" fmla="*/ 106582 h 107817"/>
                <a:gd name="connsiteX11" fmla="*/ 13511 w 164321"/>
                <a:gd name="connsiteY11" fmla="*/ 106582 h 10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321" h="107817">
                  <a:moveTo>
                    <a:pt x="160073" y="21991"/>
                  </a:moveTo>
                  <a:lnTo>
                    <a:pt x="164321" y="19617"/>
                  </a:lnTo>
                  <a:cubicBezTo>
                    <a:pt x="160273" y="21991"/>
                    <a:pt x="155063" y="20629"/>
                    <a:pt x="152701" y="16568"/>
                  </a:cubicBezTo>
                  <a:cubicBezTo>
                    <a:pt x="152314" y="15918"/>
                    <a:pt x="152026" y="15219"/>
                    <a:pt x="151827" y="14494"/>
                  </a:cubicBezTo>
                  <a:cubicBezTo>
                    <a:pt x="149827" y="9259"/>
                    <a:pt x="151564" y="3336"/>
                    <a:pt x="156075" y="0"/>
                  </a:cubicBezTo>
                  <a:lnTo>
                    <a:pt x="155450" y="0"/>
                  </a:lnTo>
                  <a:lnTo>
                    <a:pt x="152452" y="1749"/>
                  </a:lnTo>
                  <a:lnTo>
                    <a:pt x="5140" y="86965"/>
                  </a:lnTo>
                  <a:cubicBezTo>
                    <a:pt x="442" y="90164"/>
                    <a:pt x="-1295" y="96261"/>
                    <a:pt x="1017" y="101459"/>
                  </a:cubicBezTo>
                  <a:cubicBezTo>
                    <a:pt x="2129" y="105945"/>
                    <a:pt x="6677" y="108682"/>
                    <a:pt x="11162" y="107569"/>
                  </a:cubicBezTo>
                  <a:cubicBezTo>
                    <a:pt x="11987" y="107357"/>
                    <a:pt x="12787" y="107032"/>
                    <a:pt x="13511" y="106582"/>
                  </a:cubicBezTo>
                  <a:lnTo>
                    <a:pt x="13511" y="106582"/>
                  </a:lnTo>
                  <a:close/>
                </a:path>
              </a:pathLst>
            </a:custGeom>
            <a:solidFill>
              <a:srgbClr val="000000"/>
            </a:solidFill>
            <a:ln w="12483" cap="flat">
              <a:noFill/>
              <a:prstDash val="solid"/>
              <a:miter/>
            </a:ln>
          </p:spPr>
          <p:txBody>
            <a:bodyPr rtlCol="0" anchor="ctr"/>
            <a:lstStyle/>
            <a:p>
              <a:endParaRPr lang="en-US"/>
            </a:p>
          </p:txBody>
        </p:sp>
        <p:sp>
          <p:nvSpPr>
            <p:cNvPr id="1792" name="Freeform: Shape 1791">
              <a:extLst>
                <a:ext uri="{FF2B5EF4-FFF2-40B4-BE49-F238E27FC236}">
                  <a16:creationId xmlns:a16="http://schemas.microsoft.com/office/drawing/2014/main" id="{AE2948E4-15E6-4370-8CEE-4977BD312918}"/>
                </a:ext>
              </a:extLst>
            </p:cNvPr>
            <p:cNvSpPr/>
            <p:nvPr/>
          </p:nvSpPr>
          <p:spPr>
            <a:xfrm>
              <a:off x="9331301" y="5805317"/>
              <a:ext cx="19435" cy="21908"/>
            </a:xfrm>
            <a:custGeom>
              <a:avLst/>
              <a:gdLst>
                <a:gd name="connsiteX0" fmla="*/ 18564 w 19435"/>
                <a:gd name="connsiteY0" fmla="*/ 5748 h 21908"/>
                <a:gd name="connsiteX1" fmla="*/ 16815 w 19435"/>
                <a:gd name="connsiteY1" fmla="*/ 2999 h 21908"/>
                <a:gd name="connsiteX2" fmla="*/ 15440 w 19435"/>
                <a:gd name="connsiteY2" fmla="*/ 1624 h 21908"/>
                <a:gd name="connsiteX3" fmla="*/ 13941 w 19435"/>
                <a:gd name="connsiteY3" fmla="*/ 625 h 21908"/>
                <a:gd name="connsiteX4" fmla="*/ 12442 w 19435"/>
                <a:gd name="connsiteY4" fmla="*/ 0 h 21908"/>
                <a:gd name="connsiteX5" fmla="*/ 10692 w 19435"/>
                <a:gd name="connsiteY5" fmla="*/ 0 h 21908"/>
                <a:gd name="connsiteX6" fmla="*/ 9068 w 19435"/>
                <a:gd name="connsiteY6" fmla="*/ 0 h 21908"/>
                <a:gd name="connsiteX7" fmla="*/ 7194 w 19435"/>
                <a:gd name="connsiteY7" fmla="*/ 0 h 21908"/>
                <a:gd name="connsiteX8" fmla="*/ 7194 w 19435"/>
                <a:gd name="connsiteY8" fmla="*/ 0 h 21908"/>
                <a:gd name="connsiteX9" fmla="*/ 5070 w 19435"/>
                <a:gd name="connsiteY9" fmla="*/ 1125 h 21908"/>
                <a:gd name="connsiteX10" fmla="*/ 822 w 19435"/>
                <a:gd name="connsiteY10" fmla="*/ 15619 h 21908"/>
                <a:gd name="connsiteX11" fmla="*/ 11242 w 19435"/>
                <a:gd name="connsiteY11" fmla="*/ 21617 h 21908"/>
                <a:gd name="connsiteX12" fmla="*/ 13316 w 19435"/>
                <a:gd name="connsiteY12" fmla="*/ 20742 h 21908"/>
                <a:gd name="connsiteX13" fmla="*/ 15440 w 19435"/>
                <a:gd name="connsiteY13" fmla="*/ 19492 h 21908"/>
                <a:gd name="connsiteX14" fmla="*/ 18564 w 19435"/>
                <a:gd name="connsiteY14" fmla="*/ 5748 h 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35" h="21908">
                  <a:moveTo>
                    <a:pt x="18564" y="5748"/>
                  </a:moveTo>
                  <a:cubicBezTo>
                    <a:pt x="18214" y="4711"/>
                    <a:pt x="17615" y="3761"/>
                    <a:pt x="16815" y="2999"/>
                  </a:cubicBezTo>
                  <a:lnTo>
                    <a:pt x="15440" y="1624"/>
                  </a:lnTo>
                  <a:cubicBezTo>
                    <a:pt x="14991" y="1225"/>
                    <a:pt x="14491" y="887"/>
                    <a:pt x="13941" y="625"/>
                  </a:cubicBezTo>
                  <a:lnTo>
                    <a:pt x="12442" y="0"/>
                  </a:lnTo>
                  <a:lnTo>
                    <a:pt x="10692" y="0"/>
                  </a:lnTo>
                  <a:lnTo>
                    <a:pt x="9068" y="0"/>
                  </a:lnTo>
                  <a:lnTo>
                    <a:pt x="7194" y="0"/>
                  </a:lnTo>
                  <a:lnTo>
                    <a:pt x="7194" y="0"/>
                  </a:lnTo>
                  <a:lnTo>
                    <a:pt x="5070" y="1125"/>
                  </a:lnTo>
                  <a:cubicBezTo>
                    <a:pt x="559" y="4461"/>
                    <a:pt x="-1177" y="10384"/>
                    <a:pt x="822" y="15619"/>
                  </a:cubicBezTo>
                  <a:cubicBezTo>
                    <a:pt x="2046" y="20155"/>
                    <a:pt x="6707" y="22828"/>
                    <a:pt x="11242" y="21617"/>
                  </a:cubicBezTo>
                  <a:cubicBezTo>
                    <a:pt x="11967" y="21417"/>
                    <a:pt x="12667" y="21129"/>
                    <a:pt x="13316" y="20742"/>
                  </a:cubicBezTo>
                  <a:lnTo>
                    <a:pt x="15440" y="19492"/>
                  </a:lnTo>
                  <a:cubicBezTo>
                    <a:pt x="19214" y="15994"/>
                    <a:pt x="20451" y="10534"/>
                    <a:pt x="18564" y="5748"/>
                  </a:cubicBezTo>
                  <a:close/>
                </a:path>
              </a:pathLst>
            </a:custGeom>
            <a:solidFill>
              <a:srgbClr val="000000"/>
            </a:solidFill>
            <a:ln w="12483" cap="flat">
              <a:noFill/>
              <a:prstDash val="solid"/>
              <a:miter/>
            </a:ln>
          </p:spPr>
          <p:txBody>
            <a:bodyPr rtlCol="0" anchor="ctr"/>
            <a:lstStyle/>
            <a:p>
              <a:endParaRPr lang="en-US"/>
            </a:p>
          </p:txBody>
        </p:sp>
        <p:sp>
          <p:nvSpPr>
            <p:cNvPr id="1793" name="Freeform: Shape 1792">
              <a:extLst>
                <a:ext uri="{FF2B5EF4-FFF2-40B4-BE49-F238E27FC236}">
                  <a16:creationId xmlns:a16="http://schemas.microsoft.com/office/drawing/2014/main" id="{F709D227-2F93-4D8A-AF12-FB21D8B31278}"/>
                </a:ext>
              </a:extLst>
            </p:cNvPr>
            <p:cNvSpPr/>
            <p:nvPr/>
          </p:nvSpPr>
          <p:spPr>
            <a:xfrm>
              <a:off x="8994893" y="5280276"/>
              <a:ext cx="20663" cy="76719"/>
            </a:xfrm>
            <a:custGeom>
              <a:avLst/>
              <a:gdLst>
                <a:gd name="connsiteX0" fmla="*/ 9622 w 20663"/>
                <a:gd name="connsiteY0" fmla="*/ 11245 h 76719"/>
                <a:gd name="connsiteX1" fmla="*/ 1 w 20663"/>
                <a:gd name="connsiteY1" fmla="*/ 1374 h 76719"/>
                <a:gd name="connsiteX2" fmla="*/ 1 w 20663"/>
                <a:gd name="connsiteY2" fmla="*/ 1250 h 76719"/>
                <a:gd name="connsiteX3" fmla="*/ 1 w 20663"/>
                <a:gd name="connsiteY3" fmla="*/ 3249 h 76719"/>
                <a:gd name="connsiteX4" fmla="*/ 1 w 20663"/>
                <a:gd name="connsiteY4" fmla="*/ 7372 h 76719"/>
                <a:gd name="connsiteX5" fmla="*/ 1750 w 20663"/>
                <a:gd name="connsiteY5" fmla="*/ 33612 h 76719"/>
                <a:gd name="connsiteX6" fmla="*/ 3874 w 20663"/>
                <a:gd name="connsiteY6" fmla="*/ 67098 h 76719"/>
                <a:gd name="connsiteX7" fmla="*/ 3874 w 20663"/>
                <a:gd name="connsiteY7" fmla="*/ 68972 h 76719"/>
                <a:gd name="connsiteX8" fmla="*/ 5249 w 20663"/>
                <a:gd name="connsiteY8" fmla="*/ 72346 h 76719"/>
                <a:gd name="connsiteX9" fmla="*/ 7623 w 20663"/>
                <a:gd name="connsiteY9" fmla="*/ 75095 h 76719"/>
                <a:gd name="connsiteX10" fmla="*/ 8997 w 20663"/>
                <a:gd name="connsiteY10" fmla="*/ 76095 h 76719"/>
                <a:gd name="connsiteX11" fmla="*/ 10621 w 20663"/>
                <a:gd name="connsiteY11" fmla="*/ 76720 h 76719"/>
                <a:gd name="connsiteX12" fmla="*/ 11496 w 20663"/>
                <a:gd name="connsiteY12" fmla="*/ 76720 h 76719"/>
                <a:gd name="connsiteX13" fmla="*/ 13121 w 20663"/>
                <a:gd name="connsiteY13" fmla="*/ 76720 h 76719"/>
                <a:gd name="connsiteX14" fmla="*/ 14745 w 20663"/>
                <a:gd name="connsiteY14" fmla="*/ 76095 h 76719"/>
                <a:gd name="connsiteX15" fmla="*/ 15869 w 20663"/>
                <a:gd name="connsiteY15" fmla="*/ 76095 h 76719"/>
                <a:gd name="connsiteX16" fmla="*/ 17369 w 20663"/>
                <a:gd name="connsiteY16" fmla="*/ 75095 h 76719"/>
                <a:gd name="connsiteX17" fmla="*/ 18743 w 20663"/>
                <a:gd name="connsiteY17" fmla="*/ 73846 h 76719"/>
                <a:gd name="connsiteX18" fmla="*/ 19867 w 20663"/>
                <a:gd name="connsiteY18" fmla="*/ 72096 h 76719"/>
                <a:gd name="connsiteX19" fmla="*/ 20617 w 20663"/>
                <a:gd name="connsiteY19" fmla="*/ 70347 h 76719"/>
                <a:gd name="connsiteX20" fmla="*/ 20617 w 20663"/>
                <a:gd name="connsiteY20" fmla="*/ 68473 h 76719"/>
                <a:gd name="connsiteX21" fmla="*/ 20617 w 20663"/>
                <a:gd name="connsiteY21" fmla="*/ 66223 h 76719"/>
                <a:gd name="connsiteX22" fmla="*/ 20617 w 20663"/>
                <a:gd name="connsiteY22" fmla="*/ 65474 h 76719"/>
                <a:gd name="connsiteX23" fmla="*/ 17993 w 20663"/>
                <a:gd name="connsiteY23" fmla="*/ 0 h 76719"/>
                <a:gd name="connsiteX24" fmla="*/ 9622 w 20663"/>
                <a:gd name="connsiteY24" fmla="*/ 11245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663" h="76719">
                  <a:moveTo>
                    <a:pt x="9622" y="11245"/>
                  </a:moveTo>
                  <a:cubicBezTo>
                    <a:pt x="4237" y="11183"/>
                    <a:pt x="-74" y="6760"/>
                    <a:pt x="1" y="1374"/>
                  </a:cubicBezTo>
                  <a:cubicBezTo>
                    <a:pt x="1" y="1337"/>
                    <a:pt x="1" y="1287"/>
                    <a:pt x="1" y="1250"/>
                  </a:cubicBezTo>
                  <a:lnTo>
                    <a:pt x="1" y="3249"/>
                  </a:lnTo>
                  <a:lnTo>
                    <a:pt x="1" y="7372"/>
                  </a:lnTo>
                  <a:lnTo>
                    <a:pt x="1750" y="33612"/>
                  </a:lnTo>
                  <a:lnTo>
                    <a:pt x="3874" y="67098"/>
                  </a:lnTo>
                  <a:cubicBezTo>
                    <a:pt x="3812" y="67723"/>
                    <a:pt x="3812" y="68348"/>
                    <a:pt x="3874" y="68972"/>
                  </a:cubicBezTo>
                  <a:cubicBezTo>
                    <a:pt x="4174" y="70159"/>
                    <a:pt x="4636" y="71284"/>
                    <a:pt x="5249" y="72346"/>
                  </a:cubicBezTo>
                  <a:cubicBezTo>
                    <a:pt x="5786" y="73458"/>
                    <a:pt x="6598" y="74408"/>
                    <a:pt x="7623" y="75095"/>
                  </a:cubicBezTo>
                  <a:lnTo>
                    <a:pt x="8997" y="76095"/>
                  </a:lnTo>
                  <a:lnTo>
                    <a:pt x="10621" y="76720"/>
                  </a:lnTo>
                  <a:lnTo>
                    <a:pt x="11496" y="76720"/>
                  </a:lnTo>
                  <a:lnTo>
                    <a:pt x="13121" y="76720"/>
                  </a:lnTo>
                  <a:lnTo>
                    <a:pt x="14745" y="76095"/>
                  </a:lnTo>
                  <a:cubicBezTo>
                    <a:pt x="15120" y="76145"/>
                    <a:pt x="15495" y="76145"/>
                    <a:pt x="15869" y="76095"/>
                  </a:cubicBezTo>
                  <a:lnTo>
                    <a:pt x="17369" y="75095"/>
                  </a:lnTo>
                  <a:lnTo>
                    <a:pt x="18743" y="73846"/>
                  </a:lnTo>
                  <a:lnTo>
                    <a:pt x="19867" y="72096"/>
                  </a:lnTo>
                  <a:cubicBezTo>
                    <a:pt x="20192" y="71547"/>
                    <a:pt x="20442" y="70959"/>
                    <a:pt x="20617" y="70347"/>
                  </a:cubicBezTo>
                  <a:cubicBezTo>
                    <a:pt x="20680" y="69722"/>
                    <a:pt x="20680" y="69097"/>
                    <a:pt x="20617" y="68473"/>
                  </a:cubicBezTo>
                  <a:cubicBezTo>
                    <a:pt x="20680" y="67723"/>
                    <a:pt x="20680" y="66973"/>
                    <a:pt x="20617" y="66223"/>
                  </a:cubicBezTo>
                  <a:lnTo>
                    <a:pt x="20617" y="65474"/>
                  </a:lnTo>
                  <a:lnTo>
                    <a:pt x="17993" y="0"/>
                  </a:lnTo>
                  <a:cubicBezTo>
                    <a:pt x="18543" y="5348"/>
                    <a:pt x="14907" y="10233"/>
                    <a:pt x="9622" y="11245"/>
                  </a:cubicBezTo>
                  <a:close/>
                </a:path>
              </a:pathLst>
            </a:custGeom>
            <a:solidFill>
              <a:srgbClr val="000000"/>
            </a:solidFill>
            <a:ln w="12483" cap="flat">
              <a:noFill/>
              <a:prstDash val="solid"/>
              <a:miter/>
            </a:ln>
          </p:spPr>
          <p:txBody>
            <a:bodyPr rtlCol="0" anchor="ctr"/>
            <a:lstStyle/>
            <a:p>
              <a:endParaRPr lang="en-US"/>
            </a:p>
          </p:txBody>
        </p:sp>
        <p:sp>
          <p:nvSpPr>
            <p:cNvPr id="1794" name="Freeform: Shape 1793">
              <a:extLst>
                <a:ext uri="{FF2B5EF4-FFF2-40B4-BE49-F238E27FC236}">
                  <a16:creationId xmlns:a16="http://schemas.microsoft.com/office/drawing/2014/main" id="{3AD92FFB-78FA-4F65-81A9-FA728884D1A1}"/>
                </a:ext>
              </a:extLst>
            </p:cNvPr>
            <p:cNvSpPr/>
            <p:nvPr/>
          </p:nvSpPr>
          <p:spPr>
            <a:xfrm>
              <a:off x="8964531" y="4806340"/>
              <a:ext cx="48204" cy="484681"/>
            </a:xfrm>
            <a:custGeom>
              <a:avLst/>
              <a:gdLst>
                <a:gd name="connsiteX0" fmla="*/ 9622 w 48204"/>
                <a:gd name="connsiteY0" fmla="*/ 11620 h 484681"/>
                <a:gd name="connsiteX1" fmla="*/ 1 w 48204"/>
                <a:gd name="connsiteY1" fmla="*/ 1749 h 484681"/>
                <a:gd name="connsiteX2" fmla="*/ 1 w 48204"/>
                <a:gd name="connsiteY2" fmla="*/ 1624 h 484681"/>
                <a:gd name="connsiteX3" fmla="*/ 1 w 48204"/>
                <a:gd name="connsiteY3" fmla="*/ 5248 h 484681"/>
                <a:gd name="connsiteX4" fmla="*/ 30113 w 48204"/>
                <a:gd name="connsiteY4" fmla="*/ 474686 h 484681"/>
                <a:gd name="connsiteX5" fmla="*/ 39609 w 48204"/>
                <a:gd name="connsiteY5" fmla="*/ 484681 h 484681"/>
                <a:gd name="connsiteX6" fmla="*/ 39734 w 48204"/>
                <a:gd name="connsiteY6" fmla="*/ 484681 h 484681"/>
                <a:gd name="connsiteX7" fmla="*/ 48105 w 48204"/>
                <a:gd name="connsiteY7" fmla="*/ 473061 h 484681"/>
                <a:gd name="connsiteX8" fmla="*/ 17743 w 48204"/>
                <a:gd name="connsiteY8" fmla="*/ 0 h 484681"/>
                <a:gd name="connsiteX9" fmla="*/ 9622 w 48204"/>
                <a:gd name="connsiteY9" fmla="*/ 11620 h 48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204" h="484681">
                  <a:moveTo>
                    <a:pt x="9622" y="11620"/>
                  </a:moveTo>
                  <a:cubicBezTo>
                    <a:pt x="4237" y="11558"/>
                    <a:pt x="-74" y="7134"/>
                    <a:pt x="1" y="1749"/>
                  </a:cubicBezTo>
                  <a:cubicBezTo>
                    <a:pt x="1" y="1712"/>
                    <a:pt x="1" y="1662"/>
                    <a:pt x="1" y="1624"/>
                  </a:cubicBezTo>
                  <a:lnTo>
                    <a:pt x="1" y="5248"/>
                  </a:lnTo>
                  <a:lnTo>
                    <a:pt x="30113" y="474686"/>
                  </a:lnTo>
                  <a:cubicBezTo>
                    <a:pt x="29975" y="480071"/>
                    <a:pt x="34224" y="484544"/>
                    <a:pt x="39609" y="484681"/>
                  </a:cubicBezTo>
                  <a:cubicBezTo>
                    <a:pt x="39646" y="484681"/>
                    <a:pt x="39696" y="484681"/>
                    <a:pt x="39734" y="484681"/>
                  </a:cubicBezTo>
                  <a:cubicBezTo>
                    <a:pt x="45181" y="483669"/>
                    <a:pt x="48867" y="478546"/>
                    <a:pt x="48105" y="473061"/>
                  </a:cubicBezTo>
                  <a:lnTo>
                    <a:pt x="17743" y="0"/>
                  </a:lnTo>
                  <a:cubicBezTo>
                    <a:pt x="18518" y="5410"/>
                    <a:pt x="14969" y="10496"/>
                    <a:pt x="9622" y="11620"/>
                  </a:cubicBezTo>
                  <a:close/>
                </a:path>
              </a:pathLst>
            </a:custGeom>
            <a:solidFill>
              <a:srgbClr val="000000"/>
            </a:solidFill>
            <a:ln w="12483" cap="flat">
              <a:noFill/>
              <a:prstDash val="solid"/>
              <a:miter/>
            </a:ln>
          </p:spPr>
          <p:txBody>
            <a:bodyPr rtlCol="0" anchor="ctr"/>
            <a:lstStyle/>
            <a:p>
              <a:endParaRPr lang="en-US"/>
            </a:p>
          </p:txBody>
        </p:sp>
        <p:sp>
          <p:nvSpPr>
            <p:cNvPr id="1795" name="Freeform: Shape 1794">
              <a:extLst>
                <a:ext uri="{FF2B5EF4-FFF2-40B4-BE49-F238E27FC236}">
                  <a16:creationId xmlns:a16="http://schemas.microsoft.com/office/drawing/2014/main" id="{289DA8B6-78F1-45BF-821D-DE4A9CFB4C90}"/>
                </a:ext>
              </a:extLst>
            </p:cNvPr>
            <p:cNvSpPr/>
            <p:nvPr/>
          </p:nvSpPr>
          <p:spPr>
            <a:xfrm>
              <a:off x="11821797" y="1853480"/>
              <a:ext cx="134064" cy="81380"/>
            </a:xfrm>
            <a:custGeom>
              <a:avLst/>
              <a:gdLst>
                <a:gd name="connsiteX0" fmla="*/ 128570 w 134064"/>
                <a:gd name="connsiteY0" fmla="*/ 20279 h 81380"/>
                <a:gd name="connsiteX1" fmla="*/ 133443 w 134064"/>
                <a:gd name="connsiteY1" fmla="*/ 6035 h 81380"/>
                <a:gd name="connsiteX2" fmla="*/ 129694 w 134064"/>
                <a:gd name="connsiteY2" fmla="*/ 1162 h 81380"/>
                <a:gd name="connsiteX3" fmla="*/ 128070 w 134064"/>
                <a:gd name="connsiteY3" fmla="*/ 37 h 81380"/>
                <a:gd name="connsiteX4" fmla="*/ 126446 w 134064"/>
                <a:gd name="connsiteY4" fmla="*/ 37 h 81380"/>
                <a:gd name="connsiteX5" fmla="*/ 124696 w 134064"/>
                <a:gd name="connsiteY5" fmla="*/ 37 h 81380"/>
                <a:gd name="connsiteX6" fmla="*/ 122822 w 134064"/>
                <a:gd name="connsiteY6" fmla="*/ 37 h 81380"/>
                <a:gd name="connsiteX7" fmla="*/ 121698 w 134064"/>
                <a:gd name="connsiteY7" fmla="*/ 37 h 81380"/>
                <a:gd name="connsiteX8" fmla="*/ 13744 w 134064"/>
                <a:gd name="connsiteY8" fmla="*/ 54516 h 81380"/>
                <a:gd name="connsiteX9" fmla="*/ 0 w 134064"/>
                <a:gd name="connsiteY9" fmla="*/ 61388 h 81380"/>
                <a:gd name="connsiteX10" fmla="*/ 11233 w 134064"/>
                <a:gd name="connsiteY10" fmla="*/ 65649 h 81380"/>
                <a:gd name="connsiteX11" fmla="*/ 11745 w 134064"/>
                <a:gd name="connsiteY11" fmla="*/ 67136 h 81380"/>
                <a:gd name="connsiteX12" fmla="*/ 6997 w 134064"/>
                <a:gd name="connsiteY12" fmla="*/ 81380 h 81380"/>
                <a:gd name="connsiteX13" fmla="*/ 123571 w 134064"/>
                <a:gd name="connsiteY13" fmla="*/ 22529 h 8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064" h="81380">
                  <a:moveTo>
                    <a:pt x="128570" y="20279"/>
                  </a:moveTo>
                  <a:cubicBezTo>
                    <a:pt x="133192" y="17156"/>
                    <a:pt x="135179" y="11333"/>
                    <a:pt x="133443" y="6035"/>
                  </a:cubicBezTo>
                  <a:cubicBezTo>
                    <a:pt x="132743" y="4048"/>
                    <a:pt x="131431" y="2349"/>
                    <a:pt x="129694" y="1162"/>
                  </a:cubicBezTo>
                  <a:cubicBezTo>
                    <a:pt x="129207" y="712"/>
                    <a:pt x="128657" y="337"/>
                    <a:pt x="128070" y="37"/>
                  </a:cubicBezTo>
                  <a:lnTo>
                    <a:pt x="126446" y="37"/>
                  </a:lnTo>
                  <a:lnTo>
                    <a:pt x="124696" y="37"/>
                  </a:lnTo>
                  <a:lnTo>
                    <a:pt x="122822" y="37"/>
                  </a:lnTo>
                  <a:cubicBezTo>
                    <a:pt x="122447" y="-12"/>
                    <a:pt x="122072" y="-12"/>
                    <a:pt x="121698" y="37"/>
                  </a:cubicBezTo>
                  <a:lnTo>
                    <a:pt x="13744" y="54516"/>
                  </a:lnTo>
                  <a:lnTo>
                    <a:pt x="0" y="61388"/>
                  </a:lnTo>
                  <a:cubicBezTo>
                    <a:pt x="4273" y="59464"/>
                    <a:pt x="9308" y="61375"/>
                    <a:pt x="11233" y="65649"/>
                  </a:cubicBezTo>
                  <a:cubicBezTo>
                    <a:pt x="11445" y="66124"/>
                    <a:pt x="11620" y="66623"/>
                    <a:pt x="11745" y="67136"/>
                  </a:cubicBezTo>
                  <a:cubicBezTo>
                    <a:pt x="13794" y="72409"/>
                    <a:pt x="11807" y="78394"/>
                    <a:pt x="6997" y="81380"/>
                  </a:cubicBezTo>
                  <a:lnTo>
                    <a:pt x="123571" y="22529"/>
                  </a:lnTo>
                  <a:close/>
                </a:path>
              </a:pathLst>
            </a:custGeom>
            <a:solidFill>
              <a:srgbClr val="000000"/>
            </a:solidFill>
            <a:ln w="12483" cap="flat">
              <a:noFill/>
              <a:prstDash val="solid"/>
              <a:miter/>
            </a:ln>
          </p:spPr>
          <p:txBody>
            <a:bodyPr rtlCol="0" anchor="ctr"/>
            <a:lstStyle/>
            <a:p>
              <a:endParaRPr lang="en-US"/>
            </a:p>
          </p:txBody>
        </p:sp>
        <p:sp>
          <p:nvSpPr>
            <p:cNvPr id="1796" name="Freeform: Shape 1795">
              <a:extLst>
                <a:ext uri="{FF2B5EF4-FFF2-40B4-BE49-F238E27FC236}">
                  <a16:creationId xmlns:a16="http://schemas.microsoft.com/office/drawing/2014/main" id="{0384759D-8E1A-4EE3-A800-C77AF39261B6}"/>
                </a:ext>
              </a:extLst>
            </p:cNvPr>
            <p:cNvSpPr/>
            <p:nvPr/>
          </p:nvSpPr>
          <p:spPr>
            <a:xfrm>
              <a:off x="11514180" y="2058811"/>
              <a:ext cx="29487" cy="31362"/>
            </a:xfrm>
            <a:custGeom>
              <a:avLst/>
              <a:gdLst>
                <a:gd name="connsiteX0" fmla="*/ 8871 w 29487"/>
                <a:gd name="connsiteY0" fmla="*/ 6747 h 31362"/>
                <a:gd name="connsiteX1" fmla="*/ 4998 w 29487"/>
                <a:gd name="connsiteY1" fmla="*/ 8747 h 31362"/>
                <a:gd name="connsiteX2" fmla="*/ 0 w 29487"/>
                <a:gd name="connsiteY2" fmla="*/ 11371 h 31362"/>
                <a:gd name="connsiteX3" fmla="*/ 11233 w 29487"/>
                <a:gd name="connsiteY3" fmla="*/ 15631 h 31362"/>
                <a:gd name="connsiteX4" fmla="*/ 11745 w 29487"/>
                <a:gd name="connsiteY4" fmla="*/ 17118 h 31362"/>
                <a:gd name="connsiteX5" fmla="*/ 6872 w 29487"/>
                <a:gd name="connsiteY5" fmla="*/ 31363 h 31362"/>
                <a:gd name="connsiteX6" fmla="*/ 29487 w 29487"/>
                <a:gd name="connsiteY6" fmla="*/ 19992 h 31362"/>
                <a:gd name="connsiteX7" fmla="*/ 18030 w 29487"/>
                <a:gd name="connsiteY7" fmla="*/ 15331 h 31362"/>
                <a:gd name="connsiteX8" fmla="*/ 17617 w 29487"/>
                <a:gd name="connsiteY8" fmla="*/ 14119 h 31362"/>
                <a:gd name="connsiteX9" fmla="*/ 22491 w 29487"/>
                <a:gd name="connsiteY9" fmla="*/ 0 h 31362"/>
                <a:gd name="connsiteX10" fmla="*/ 16243 w 29487"/>
                <a:gd name="connsiteY10" fmla="*/ 3124 h 3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 h="31362">
                  <a:moveTo>
                    <a:pt x="8871" y="6747"/>
                  </a:moveTo>
                  <a:lnTo>
                    <a:pt x="4998" y="8747"/>
                  </a:lnTo>
                  <a:lnTo>
                    <a:pt x="0" y="11371"/>
                  </a:lnTo>
                  <a:cubicBezTo>
                    <a:pt x="4273" y="9446"/>
                    <a:pt x="9308" y="11358"/>
                    <a:pt x="11233" y="15631"/>
                  </a:cubicBezTo>
                  <a:cubicBezTo>
                    <a:pt x="11445" y="16106"/>
                    <a:pt x="11620" y="16606"/>
                    <a:pt x="11745" y="17118"/>
                  </a:cubicBezTo>
                  <a:cubicBezTo>
                    <a:pt x="13482" y="22416"/>
                    <a:pt x="11495" y="28239"/>
                    <a:pt x="6872" y="31363"/>
                  </a:cubicBezTo>
                  <a:lnTo>
                    <a:pt x="29487" y="19992"/>
                  </a:lnTo>
                  <a:cubicBezTo>
                    <a:pt x="25039" y="21866"/>
                    <a:pt x="19904" y="19780"/>
                    <a:pt x="18030" y="15331"/>
                  </a:cubicBezTo>
                  <a:cubicBezTo>
                    <a:pt x="17867" y="14944"/>
                    <a:pt x="17730" y="14532"/>
                    <a:pt x="17617" y="14119"/>
                  </a:cubicBezTo>
                  <a:cubicBezTo>
                    <a:pt x="15606" y="8859"/>
                    <a:pt x="17655" y="2899"/>
                    <a:pt x="22491" y="0"/>
                  </a:cubicBezTo>
                  <a:lnTo>
                    <a:pt x="16243" y="3124"/>
                  </a:lnTo>
                  <a:close/>
                </a:path>
              </a:pathLst>
            </a:custGeom>
            <a:solidFill>
              <a:srgbClr val="000000"/>
            </a:solidFill>
            <a:ln w="12483" cap="flat">
              <a:noFill/>
              <a:prstDash val="solid"/>
              <a:miter/>
            </a:ln>
          </p:spPr>
          <p:txBody>
            <a:bodyPr rtlCol="0" anchor="ctr"/>
            <a:lstStyle/>
            <a:p>
              <a:endParaRPr lang="en-US"/>
            </a:p>
          </p:txBody>
        </p:sp>
        <p:sp>
          <p:nvSpPr>
            <p:cNvPr id="1797" name="Freeform: Shape 1796">
              <a:extLst>
                <a:ext uri="{FF2B5EF4-FFF2-40B4-BE49-F238E27FC236}">
                  <a16:creationId xmlns:a16="http://schemas.microsoft.com/office/drawing/2014/main" id="{2C54857B-A433-486A-B3F1-7F50D20AE129}"/>
                </a:ext>
              </a:extLst>
            </p:cNvPr>
            <p:cNvSpPr/>
            <p:nvPr/>
          </p:nvSpPr>
          <p:spPr>
            <a:xfrm>
              <a:off x="11368687" y="2069430"/>
              <a:ext cx="157576" cy="92144"/>
            </a:xfrm>
            <a:custGeom>
              <a:avLst/>
              <a:gdLst>
                <a:gd name="connsiteX0" fmla="*/ 156864 w 157576"/>
                <a:gd name="connsiteY0" fmla="*/ 6499 h 92144"/>
                <a:gd name="connsiteX1" fmla="*/ 146605 w 157576"/>
                <a:gd name="connsiteY1" fmla="*/ 239 h 92144"/>
                <a:gd name="connsiteX2" fmla="*/ 145119 w 157576"/>
                <a:gd name="connsiteY2" fmla="*/ 751 h 92144"/>
                <a:gd name="connsiteX3" fmla="*/ 131500 w 157576"/>
                <a:gd name="connsiteY3" fmla="*/ 7499 h 92144"/>
                <a:gd name="connsiteX4" fmla="*/ 5179 w 157576"/>
                <a:gd name="connsiteY4" fmla="*/ 71348 h 92144"/>
                <a:gd name="connsiteX5" fmla="*/ 4054 w 157576"/>
                <a:gd name="connsiteY5" fmla="*/ 72223 h 92144"/>
                <a:gd name="connsiteX6" fmla="*/ 2430 w 157576"/>
                <a:gd name="connsiteY6" fmla="*/ 73597 h 92144"/>
                <a:gd name="connsiteX7" fmla="*/ 1431 w 157576"/>
                <a:gd name="connsiteY7" fmla="*/ 75222 h 92144"/>
                <a:gd name="connsiteX8" fmla="*/ 431 w 157576"/>
                <a:gd name="connsiteY8" fmla="*/ 76971 h 92144"/>
                <a:gd name="connsiteX9" fmla="*/ 431 w 157576"/>
                <a:gd name="connsiteY9" fmla="*/ 79095 h 92144"/>
                <a:gd name="connsiteX10" fmla="*/ 431 w 157576"/>
                <a:gd name="connsiteY10" fmla="*/ 85593 h 92144"/>
                <a:gd name="connsiteX11" fmla="*/ 10427 w 157576"/>
                <a:gd name="connsiteY11" fmla="*/ 91940 h 92144"/>
                <a:gd name="connsiteX12" fmla="*/ 12176 w 157576"/>
                <a:gd name="connsiteY12" fmla="*/ 91340 h 92144"/>
                <a:gd name="connsiteX13" fmla="*/ 17299 w 157576"/>
                <a:gd name="connsiteY13" fmla="*/ 88716 h 92144"/>
                <a:gd name="connsiteX14" fmla="*/ 18049 w 157576"/>
                <a:gd name="connsiteY14" fmla="*/ 88716 h 92144"/>
                <a:gd name="connsiteX15" fmla="*/ 152116 w 157576"/>
                <a:gd name="connsiteY15" fmla="*/ 20993 h 92144"/>
                <a:gd name="connsiteX16" fmla="*/ 156864 w 157576"/>
                <a:gd name="connsiteY16" fmla="*/ 6499 h 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76" h="92144">
                  <a:moveTo>
                    <a:pt x="156864" y="6499"/>
                  </a:moveTo>
                  <a:cubicBezTo>
                    <a:pt x="155764" y="1938"/>
                    <a:pt x="151166" y="-861"/>
                    <a:pt x="146605" y="239"/>
                  </a:cubicBezTo>
                  <a:cubicBezTo>
                    <a:pt x="146093" y="364"/>
                    <a:pt x="145593" y="539"/>
                    <a:pt x="145119" y="751"/>
                  </a:cubicBezTo>
                  <a:lnTo>
                    <a:pt x="131500" y="7499"/>
                  </a:lnTo>
                  <a:lnTo>
                    <a:pt x="5179" y="71348"/>
                  </a:lnTo>
                  <a:cubicBezTo>
                    <a:pt x="4779" y="71611"/>
                    <a:pt x="4404" y="71898"/>
                    <a:pt x="4054" y="72223"/>
                  </a:cubicBezTo>
                  <a:cubicBezTo>
                    <a:pt x="3455" y="72610"/>
                    <a:pt x="2917" y="73073"/>
                    <a:pt x="2430" y="73597"/>
                  </a:cubicBezTo>
                  <a:cubicBezTo>
                    <a:pt x="2030" y="74097"/>
                    <a:pt x="1693" y="74634"/>
                    <a:pt x="1431" y="75222"/>
                  </a:cubicBezTo>
                  <a:cubicBezTo>
                    <a:pt x="993" y="75746"/>
                    <a:pt x="656" y="76334"/>
                    <a:pt x="431" y="76971"/>
                  </a:cubicBezTo>
                  <a:cubicBezTo>
                    <a:pt x="356" y="77683"/>
                    <a:pt x="356" y="78383"/>
                    <a:pt x="431" y="79095"/>
                  </a:cubicBezTo>
                  <a:cubicBezTo>
                    <a:pt x="-144" y="81219"/>
                    <a:pt x="-144" y="83468"/>
                    <a:pt x="431" y="85593"/>
                  </a:cubicBezTo>
                  <a:cubicBezTo>
                    <a:pt x="1443" y="90103"/>
                    <a:pt x="5916" y="92952"/>
                    <a:pt x="10427" y="91940"/>
                  </a:cubicBezTo>
                  <a:cubicBezTo>
                    <a:pt x="11027" y="91802"/>
                    <a:pt x="11614" y="91602"/>
                    <a:pt x="12176" y="91340"/>
                  </a:cubicBezTo>
                  <a:lnTo>
                    <a:pt x="17299" y="88716"/>
                  </a:lnTo>
                  <a:lnTo>
                    <a:pt x="18049" y="88716"/>
                  </a:lnTo>
                  <a:lnTo>
                    <a:pt x="152116" y="20993"/>
                  </a:lnTo>
                  <a:cubicBezTo>
                    <a:pt x="156801" y="17794"/>
                    <a:pt x="158750" y="11847"/>
                    <a:pt x="156864" y="6499"/>
                  </a:cubicBezTo>
                  <a:close/>
                </a:path>
              </a:pathLst>
            </a:custGeom>
            <a:solidFill>
              <a:srgbClr val="000000"/>
            </a:solidFill>
            <a:ln w="12483" cap="flat">
              <a:noFill/>
              <a:prstDash val="solid"/>
              <a:miter/>
            </a:ln>
          </p:spPr>
          <p:txBody>
            <a:bodyPr rtlCol="0" anchor="ctr"/>
            <a:lstStyle/>
            <a:p>
              <a:endParaRPr lang="en-US"/>
            </a:p>
          </p:txBody>
        </p:sp>
        <p:sp>
          <p:nvSpPr>
            <p:cNvPr id="1798" name="Freeform: Shape 1797">
              <a:extLst>
                <a:ext uri="{FF2B5EF4-FFF2-40B4-BE49-F238E27FC236}">
                  <a16:creationId xmlns:a16="http://schemas.microsoft.com/office/drawing/2014/main" id="{3C6130C5-9FAF-47F4-9C23-B035726D4CBB}"/>
                </a:ext>
              </a:extLst>
            </p:cNvPr>
            <p:cNvSpPr/>
            <p:nvPr/>
          </p:nvSpPr>
          <p:spPr>
            <a:xfrm>
              <a:off x="11025797" y="2153273"/>
              <a:ext cx="260231" cy="144739"/>
            </a:xfrm>
            <a:custGeom>
              <a:avLst/>
              <a:gdLst>
                <a:gd name="connsiteX0" fmla="*/ 249861 w 260231"/>
                <a:gd name="connsiteY0" fmla="*/ 14244 h 144739"/>
                <a:gd name="connsiteX1" fmla="*/ 254609 w 260231"/>
                <a:gd name="connsiteY1" fmla="*/ 0 h 144739"/>
                <a:gd name="connsiteX2" fmla="*/ 234243 w 260231"/>
                <a:gd name="connsiteY2" fmla="*/ 10246 h 144739"/>
                <a:gd name="connsiteX3" fmla="*/ 18586 w 260231"/>
                <a:gd name="connsiteY3" fmla="*/ 118952 h 144739"/>
                <a:gd name="connsiteX4" fmla="*/ 18586 w 260231"/>
                <a:gd name="connsiteY4" fmla="*/ 118952 h 144739"/>
                <a:gd name="connsiteX5" fmla="*/ 9215 w 260231"/>
                <a:gd name="connsiteY5" fmla="*/ 129323 h 144739"/>
                <a:gd name="connsiteX6" fmla="*/ 3717 w 260231"/>
                <a:gd name="connsiteY6" fmla="*/ 126450 h 144739"/>
                <a:gd name="connsiteX7" fmla="*/ 94 w 260231"/>
                <a:gd name="connsiteY7" fmla="*/ 134696 h 144739"/>
                <a:gd name="connsiteX8" fmla="*/ 94 w 260231"/>
                <a:gd name="connsiteY8" fmla="*/ 136945 h 144739"/>
                <a:gd name="connsiteX9" fmla="*/ 94 w 260231"/>
                <a:gd name="connsiteY9" fmla="*/ 138945 h 144739"/>
                <a:gd name="connsiteX10" fmla="*/ 94 w 260231"/>
                <a:gd name="connsiteY10" fmla="*/ 138945 h 144739"/>
                <a:gd name="connsiteX11" fmla="*/ 843 w 260231"/>
                <a:gd name="connsiteY11" fmla="*/ 140194 h 144739"/>
                <a:gd name="connsiteX12" fmla="*/ 1968 w 260231"/>
                <a:gd name="connsiteY12" fmla="*/ 142318 h 144739"/>
                <a:gd name="connsiteX13" fmla="*/ 3342 w 260231"/>
                <a:gd name="connsiteY13" fmla="*/ 143568 h 144739"/>
                <a:gd name="connsiteX14" fmla="*/ 4717 w 260231"/>
                <a:gd name="connsiteY14" fmla="*/ 144692 h 144739"/>
                <a:gd name="connsiteX15" fmla="*/ 6716 w 260231"/>
                <a:gd name="connsiteY15" fmla="*/ 144692 h 144739"/>
                <a:gd name="connsiteX16" fmla="*/ 8090 w 260231"/>
                <a:gd name="connsiteY16" fmla="*/ 144692 h 144739"/>
                <a:gd name="connsiteX17" fmla="*/ 9964 w 260231"/>
                <a:gd name="connsiteY17" fmla="*/ 144692 h 144739"/>
                <a:gd name="connsiteX18" fmla="*/ 11589 w 260231"/>
                <a:gd name="connsiteY18" fmla="*/ 144692 h 144739"/>
                <a:gd name="connsiteX19" fmla="*/ 11589 w 260231"/>
                <a:gd name="connsiteY19" fmla="*/ 144692 h 144739"/>
                <a:gd name="connsiteX20" fmla="*/ 14337 w 260231"/>
                <a:gd name="connsiteY20" fmla="*/ 143193 h 144739"/>
                <a:gd name="connsiteX21" fmla="*/ 14337 w 260231"/>
                <a:gd name="connsiteY21" fmla="*/ 143193 h 144739"/>
                <a:gd name="connsiteX22" fmla="*/ 260231 w 260231"/>
                <a:gd name="connsiteY22" fmla="*/ 19242 h 144739"/>
                <a:gd name="connsiteX23" fmla="*/ 249861 w 260231"/>
                <a:gd name="connsiteY23" fmla="*/ 14244 h 1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231" h="144739">
                  <a:moveTo>
                    <a:pt x="249861" y="14244"/>
                  </a:moveTo>
                  <a:cubicBezTo>
                    <a:pt x="247812" y="8971"/>
                    <a:pt x="249798" y="2986"/>
                    <a:pt x="254609" y="0"/>
                  </a:cubicBezTo>
                  <a:lnTo>
                    <a:pt x="234243" y="10246"/>
                  </a:lnTo>
                  <a:lnTo>
                    <a:pt x="18586" y="118952"/>
                  </a:lnTo>
                  <a:lnTo>
                    <a:pt x="18586" y="118952"/>
                  </a:lnTo>
                  <a:cubicBezTo>
                    <a:pt x="18798" y="124388"/>
                    <a:pt x="14638" y="128986"/>
                    <a:pt x="9215" y="129323"/>
                  </a:cubicBezTo>
                  <a:cubicBezTo>
                    <a:pt x="7078" y="129124"/>
                    <a:pt x="5104" y="128086"/>
                    <a:pt x="3717" y="126450"/>
                  </a:cubicBezTo>
                  <a:cubicBezTo>
                    <a:pt x="1381" y="128549"/>
                    <a:pt x="69" y="131560"/>
                    <a:pt x="94" y="134696"/>
                  </a:cubicBezTo>
                  <a:cubicBezTo>
                    <a:pt x="-31" y="135446"/>
                    <a:pt x="-31" y="136196"/>
                    <a:pt x="94" y="136945"/>
                  </a:cubicBezTo>
                  <a:cubicBezTo>
                    <a:pt x="31" y="137608"/>
                    <a:pt x="31" y="138282"/>
                    <a:pt x="94" y="138945"/>
                  </a:cubicBezTo>
                  <a:lnTo>
                    <a:pt x="94" y="138945"/>
                  </a:lnTo>
                  <a:cubicBezTo>
                    <a:pt x="268" y="139407"/>
                    <a:pt x="519" y="139819"/>
                    <a:pt x="843" y="140194"/>
                  </a:cubicBezTo>
                  <a:cubicBezTo>
                    <a:pt x="1093" y="140956"/>
                    <a:pt x="1468" y="141681"/>
                    <a:pt x="1968" y="142318"/>
                  </a:cubicBezTo>
                  <a:cubicBezTo>
                    <a:pt x="2393" y="142768"/>
                    <a:pt x="2855" y="143180"/>
                    <a:pt x="3342" y="143568"/>
                  </a:cubicBezTo>
                  <a:lnTo>
                    <a:pt x="4717" y="144692"/>
                  </a:lnTo>
                  <a:lnTo>
                    <a:pt x="6716" y="144692"/>
                  </a:lnTo>
                  <a:lnTo>
                    <a:pt x="8090" y="144692"/>
                  </a:lnTo>
                  <a:lnTo>
                    <a:pt x="9964" y="144692"/>
                  </a:lnTo>
                  <a:cubicBezTo>
                    <a:pt x="10502" y="144755"/>
                    <a:pt x="11051" y="144755"/>
                    <a:pt x="11589" y="144692"/>
                  </a:cubicBezTo>
                  <a:lnTo>
                    <a:pt x="11589" y="144692"/>
                  </a:lnTo>
                  <a:lnTo>
                    <a:pt x="14337" y="143193"/>
                  </a:lnTo>
                  <a:lnTo>
                    <a:pt x="14337" y="143193"/>
                  </a:lnTo>
                  <a:lnTo>
                    <a:pt x="260231" y="19242"/>
                  </a:lnTo>
                  <a:cubicBezTo>
                    <a:pt x="255996" y="20592"/>
                    <a:pt x="251448" y="18405"/>
                    <a:pt x="249861" y="14244"/>
                  </a:cubicBezTo>
                  <a:close/>
                </a:path>
              </a:pathLst>
            </a:custGeom>
            <a:solidFill>
              <a:srgbClr val="000000"/>
            </a:solidFill>
            <a:ln w="12483" cap="flat">
              <a:noFill/>
              <a:prstDash val="solid"/>
              <a:miter/>
            </a:ln>
          </p:spPr>
          <p:txBody>
            <a:bodyPr rtlCol="0" anchor="ctr"/>
            <a:lstStyle/>
            <a:p>
              <a:endParaRPr lang="en-US"/>
            </a:p>
          </p:txBody>
        </p:sp>
        <p:sp>
          <p:nvSpPr>
            <p:cNvPr id="1799" name="Freeform: Shape 1798">
              <a:extLst>
                <a:ext uri="{FF2B5EF4-FFF2-40B4-BE49-F238E27FC236}">
                  <a16:creationId xmlns:a16="http://schemas.microsoft.com/office/drawing/2014/main" id="{2A86AD5A-4471-480F-8B7A-10F35BACA662}"/>
                </a:ext>
              </a:extLst>
            </p:cNvPr>
            <p:cNvSpPr/>
            <p:nvPr/>
          </p:nvSpPr>
          <p:spPr>
            <a:xfrm>
              <a:off x="8959159" y="4443485"/>
              <a:ext cx="8246" cy="2837"/>
            </a:xfrm>
            <a:custGeom>
              <a:avLst/>
              <a:gdLst>
                <a:gd name="connsiteX0" fmla="*/ 6247 w 8246"/>
                <a:gd name="connsiteY0" fmla="*/ 1999 h 2837"/>
                <a:gd name="connsiteX1" fmla="*/ 8246 w 8246"/>
                <a:gd name="connsiteY1" fmla="*/ 875 h 2837"/>
                <a:gd name="connsiteX2" fmla="*/ 0 w 8246"/>
                <a:gd name="connsiteY2" fmla="*/ 0 h 2837"/>
                <a:gd name="connsiteX3" fmla="*/ 0 w 8246"/>
                <a:gd name="connsiteY3" fmla="*/ 2374 h 2837"/>
                <a:gd name="connsiteX4" fmla="*/ 6247 w 8246"/>
                <a:gd name="connsiteY4" fmla="*/ 1999 h 2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 h="2837">
                  <a:moveTo>
                    <a:pt x="6247" y="1999"/>
                  </a:moveTo>
                  <a:lnTo>
                    <a:pt x="8246" y="875"/>
                  </a:lnTo>
                  <a:cubicBezTo>
                    <a:pt x="5560" y="2237"/>
                    <a:pt x="2336" y="1887"/>
                    <a:pt x="0" y="0"/>
                  </a:cubicBezTo>
                  <a:lnTo>
                    <a:pt x="0" y="2374"/>
                  </a:lnTo>
                  <a:cubicBezTo>
                    <a:pt x="2049" y="3099"/>
                    <a:pt x="4298" y="2974"/>
                    <a:pt x="6247" y="1999"/>
                  </a:cubicBezTo>
                  <a:close/>
                </a:path>
              </a:pathLst>
            </a:custGeom>
            <a:solidFill>
              <a:srgbClr val="000000"/>
            </a:solidFill>
            <a:ln w="12483" cap="flat">
              <a:noFill/>
              <a:prstDash val="solid"/>
              <a:miter/>
            </a:ln>
          </p:spPr>
          <p:txBody>
            <a:bodyPr rtlCol="0" anchor="ctr"/>
            <a:lstStyle/>
            <a:p>
              <a:endParaRPr lang="en-US"/>
            </a:p>
          </p:txBody>
        </p:sp>
        <p:sp>
          <p:nvSpPr>
            <p:cNvPr id="1800" name="Freeform: Shape 1799">
              <a:extLst>
                <a:ext uri="{FF2B5EF4-FFF2-40B4-BE49-F238E27FC236}">
                  <a16:creationId xmlns:a16="http://schemas.microsoft.com/office/drawing/2014/main" id="{D0E0AB02-0DFA-4902-931E-50FCAED08728}"/>
                </a:ext>
              </a:extLst>
            </p:cNvPr>
            <p:cNvSpPr/>
            <p:nvPr/>
          </p:nvSpPr>
          <p:spPr>
            <a:xfrm>
              <a:off x="8953287" y="4424493"/>
              <a:ext cx="6871" cy="8496"/>
            </a:xfrm>
            <a:custGeom>
              <a:avLst/>
              <a:gdLst>
                <a:gd name="connsiteX0" fmla="*/ 6872 w 6871"/>
                <a:gd name="connsiteY0" fmla="*/ 0 h 8496"/>
                <a:gd name="connsiteX1" fmla="*/ 4873 w 6871"/>
                <a:gd name="connsiteY1" fmla="*/ 1125 h 8496"/>
                <a:gd name="connsiteX2" fmla="*/ 0 w 6871"/>
                <a:gd name="connsiteY2" fmla="*/ 7372 h 8496"/>
                <a:gd name="connsiteX3" fmla="*/ 1749 w 6871"/>
                <a:gd name="connsiteY3" fmla="*/ 8497 h 8496"/>
                <a:gd name="connsiteX4" fmla="*/ 6872 w 6871"/>
                <a:gd name="connsiteY4" fmla="*/ 0 h 8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 h="8496">
                  <a:moveTo>
                    <a:pt x="6872" y="0"/>
                  </a:moveTo>
                  <a:lnTo>
                    <a:pt x="4873" y="1125"/>
                  </a:lnTo>
                  <a:cubicBezTo>
                    <a:pt x="2486" y="2474"/>
                    <a:pt x="737" y="4723"/>
                    <a:pt x="0" y="7372"/>
                  </a:cubicBezTo>
                  <a:cubicBezTo>
                    <a:pt x="650" y="7622"/>
                    <a:pt x="1250" y="8009"/>
                    <a:pt x="1749" y="8497"/>
                  </a:cubicBezTo>
                  <a:cubicBezTo>
                    <a:pt x="2049" y="5023"/>
                    <a:pt x="3936" y="1887"/>
                    <a:pt x="6872" y="0"/>
                  </a:cubicBezTo>
                  <a:close/>
                </a:path>
              </a:pathLst>
            </a:custGeom>
            <a:solidFill>
              <a:srgbClr val="000000"/>
            </a:solidFill>
            <a:ln w="12483" cap="flat">
              <a:noFill/>
              <a:prstDash val="solid"/>
              <a:miter/>
            </a:ln>
          </p:spPr>
          <p:txBody>
            <a:bodyPr rtlCol="0" anchor="ctr"/>
            <a:lstStyle/>
            <a:p>
              <a:endParaRPr lang="en-US"/>
            </a:p>
          </p:txBody>
        </p:sp>
        <p:sp>
          <p:nvSpPr>
            <p:cNvPr id="1801" name="Freeform: Shape 1800">
              <a:extLst>
                <a:ext uri="{FF2B5EF4-FFF2-40B4-BE49-F238E27FC236}">
                  <a16:creationId xmlns:a16="http://schemas.microsoft.com/office/drawing/2014/main" id="{222555EB-4EA3-4680-B6EB-2A271CEE2E5F}"/>
                </a:ext>
              </a:extLst>
            </p:cNvPr>
            <p:cNvSpPr/>
            <p:nvPr/>
          </p:nvSpPr>
          <p:spPr>
            <a:xfrm>
              <a:off x="9628595" y="5317261"/>
              <a:ext cx="18953" cy="53103"/>
            </a:xfrm>
            <a:custGeom>
              <a:avLst/>
              <a:gdLst>
                <a:gd name="connsiteX0" fmla="*/ 10270 w 18953"/>
                <a:gd name="connsiteY0" fmla="*/ 53104 h 53103"/>
                <a:gd name="connsiteX1" fmla="*/ 18891 w 18953"/>
                <a:gd name="connsiteY1" fmla="*/ 41858 h 53103"/>
                <a:gd name="connsiteX2" fmla="*/ 18891 w 18953"/>
                <a:gd name="connsiteY2" fmla="*/ 37985 h 53103"/>
                <a:gd name="connsiteX3" fmla="*/ 18891 w 18953"/>
                <a:gd name="connsiteY3" fmla="*/ 30363 h 53103"/>
                <a:gd name="connsiteX4" fmla="*/ 18016 w 18953"/>
                <a:gd name="connsiteY4" fmla="*/ 0 h 53103"/>
                <a:gd name="connsiteX5" fmla="*/ 9395 w 18953"/>
                <a:gd name="connsiteY5" fmla="*/ 11245 h 53103"/>
                <a:gd name="connsiteX6" fmla="*/ 12 w 18953"/>
                <a:gd name="connsiteY6" fmla="*/ 912 h 53103"/>
                <a:gd name="connsiteX7" fmla="*/ 24 w 18953"/>
                <a:gd name="connsiteY7" fmla="*/ 750 h 53103"/>
                <a:gd name="connsiteX8" fmla="*/ 1274 w 18953"/>
                <a:gd name="connsiteY8" fmla="*/ 42608 h 53103"/>
                <a:gd name="connsiteX9" fmla="*/ 10270 w 18953"/>
                <a:gd name="connsiteY9" fmla="*/ 53104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53" h="53103">
                  <a:moveTo>
                    <a:pt x="10270" y="53104"/>
                  </a:moveTo>
                  <a:cubicBezTo>
                    <a:pt x="15692" y="52267"/>
                    <a:pt x="19491" y="47306"/>
                    <a:pt x="18891" y="41858"/>
                  </a:cubicBezTo>
                  <a:lnTo>
                    <a:pt x="18891" y="37985"/>
                  </a:lnTo>
                  <a:lnTo>
                    <a:pt x="18891" y="30363"/>
                  </a:lnTo>
                  <a:lnTo>
                    <a:pt x="18016" y="0"/>
                  </a:lnTo>
                  <a:cubicBezTo>
                    <a:pt x="18554" y="5435"/>
                    <a:pt x="14780" y="10346"/>
                    <a:pt x="9395" y="11245"/>
                  </a:cubicBezTo>
                  <a:cubicBezTo>
                    <a:pt x="3947" y="10983"/>
                    <a:pt x="-251" y="6347"/>
                    <a:pt x="12" y="912"/>
                  </a:cubicBezTo>
                  <a:cubicBezTo>
                    <a:pt x="24" y="850"/>
                    <a:pt x="24" y="800"/>
                    <a:pt x="24" y="750"/>
                  </a:cubicBezTo>
                  <a:lnTo>
                    <a:pt x="1274" y="42608"/>
                  </a:lnTo>
                  <a:cubicBezTo>
                    <a:pt x="986" y="47956"/>
                    <a:pt x="4947" y="52579"/>
                    <a:pt x="10270" y="53104"/>
                  </a:cubicBezTo>
                  <a:close/>
                </a:path>
              </a:pathLst>
            </a:custGeom>
            <a:solidFill>
              <a:srgbClr val="000000"/>
            </a:solidFill>
            <a:ln w="12483" cap="flat">
              <a:noFill/>
              <a:prstDash val="solid"/>
              <a:miter/>
            </a:ln>
          </p:spPr>
          <p:txBody>
            <a:bodyPr rtlCol="0" anchor="ctr"/>
            <a:lstStyle/>
            <a:p>
              <a:endParaRPr lang="en-US"/>
            </a:p>
          </p:txBody>
        </p:sp>
        <p:sp>
          <p:nvSpPr>
            <p:cNvPr id="1802" name="Freeform: Shape 1801">
              <a:extLst>
                <a:ext uri="{FF2B5EF4-FFF2-40B4-BE49-F238E27FC236}">
                  <a16:creationId xmlns:a16="http://schemas.microsoft.com/office/drawing/2014/main" id="{4AB84D7C-6966-4986-8B96-0249479F8C6E}"/>
                </a:ext>
              </a:extLst>
            </p:cNvPr>
            <p:cNvSpPr/>
            <p:nvPr/>
          </p:nvSpPr>
          <p:spPr>
            <a:xfrm>
              <a:off x="9604181" y="4499713"/>
              <a:ext cx="42356" cy="828794"/>
            </a:xfrm>
            <a:custGeom>
              <a:avLst/>
              <a:gdLst>
                <a:gd name="connsiteX0" fmla="*/ 33685 w 42356"/>
                <a:gd name="connsiteY0" fmla="*/ 828794 h 828794"/>
                <a:gd name="connsiteX1" fmla="*/ 42306 w 42356"/>
                <a:gd name="connsiteY1" fmla="*/ 817549 h 828794"/>
                <a:gd name="connsiteX2" fmla="*/ 42306 w 42356"/>
                <a:gd name="connsiteY2" fmla="*/ 813676 h 828794"/>
                <a:gd name="connsiteX3" fmla="*/ 17317 w 42356"/>
                <a:gd name="connsiteY3" fmla="*/ 10496 h 828794"/>
                <a:gd name="connsiteX4" fmla="*/ 17317 w 42356"/>
                <a:gd name="connsiteY4" fmla="*/ 9122 h 828794"/>
                <a:gd name="connsiteX5" fmla="*/ 17317 w 42356"/>
                <a:gd name="connsiteY5" fmla="*/ 6747 h 828794"/>
                <a:gd name="connsiteX6" fmla="*/ 16317 w 42356"/>
                <a:gd name="connsiteY6" fmla="*/ 4873 h 828794"/>
                <a:gd name="connsiteX7" fmla="*/ 8696 w 42356"/>
                <a:gd name="connsiteY7" fmla="*/ 0 h 828794"/>
                <a:gd name="connsiteX8" fmla="*/ 75 w 42356"/>
                <a:gd name="connsiteY8" fmla="*/ 11245 h 828794"/>
                <a:gd name="connsiteX9" fmla="*/ 75 w 42356"/>
                <a:gd name="connsiteY9" fmla="*/ 18368 h 828794"/>
                <a:gd name="connsiteX10" fmla="*/ 25064 w 42356"/>
                <a:gd name="connsiteY10" fmla="*/ 818924 h 828794"/>
                <a:gd name="connsiteX11" fmla="*/ 33685 w 42356"/>
                <a:gd name="connsiteY11" fmla="*/ 828794 h 82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356" h="828794">
                  <a:moveTo>
                    <a:pt x="33685" y="828794"/>
                  </a:moveTo>
                  <a:cubicBezTo>
                    <a:pt x="39070" y="827895"/>
                    <a:pt x="42844" y="822984"/>
                    <a:pt x="42306" y="817549"/>
                  </a:cubicBezTo>
                  <a:lnTo>
                    <a:pt x="42306" y="813676"/>
                  </a:lnTo>
                  <a:lnTo>
                    <a:pt x="17317" y="10496"/>
                  </a:lnTo>
                  <a:cubicBezTo>
                    <a:pt x="17392" y="10046"/>
                    <a:pt x="17392" y="9571"/>
                    <a:pt x="17317" y="9122"/>
                  </a:cubicBezTo>
                  <a:cubicBezTo>
                    <a:pt x="17392" y="8334"/>
                    <a:pt x="17392" y="7534"/>
                    <a:pt x="17317" y="6747"/>
                  </a:cubicBezTo>
                  <a:cubicBezTo>
                    <a:pt x="17054" y="6085"/>
                    <a:pt x="16730" y="5460"/>
                    <a:pt x="16317" y="4873"/>
                  </a:cubicBezTo>
                  <a:cubicBezTo>
                    <a:pt x="14881" y="1962"/>
                    <a:pt x="11944" y="87"/>
                    <a:pt x="8696" y="0"/>
                  </a:cubicBezTo>
                  <a:cubicBezTo>
                    <a:pt x="3236" y="775"/>
                    <a:pt x="-588" y="5773"/>
                    <a:pt x="75" y="11245"/>
                  </a:cubicBezTo>
                  <a:lnTo>
                    <a:pt x="75" y="18368"/>
                  </a:lnTo>
                  <a:lnTo>
                    <a:pt x="25064" y="818924"/>
                  </a:lnTo>
                  <a:cubicBezTo>
                    <a:pt x="25026" y="823922"/>
                    <a:pt x="28725" y="828157"/>
                    <a:pt x="33685" y="828794"/>
                  </a:cubicBezTo>
                  <a:close/>
                </a:path>
              </a:pathLst>
            </a:custGeom>
            <a:solidFill>
              <a:srgbClr val="000000"/>
            </a:solidFill>
            <a:ln w="12483" cap="flat">
              <a:noFill/>
              <a:prstDash val="solid"/>
              <a:miter/>
            </a:ln>
          </p:spPr>
          <p:txBody>
            <a:bodyPr rtlCol="0" anchor="ctr"/>
            <a:lstStyle/>
            <a:p>
              <a:endParaRPr lang="en-US"/>
            </a:p>
          </p:txBody>
        </p:sp>
        <p:sp>
          <p:nvSpPr>
            <p:cNvPr id="1803" name="Freeform: Shape 1802">
              <a:extLst>
                <a:ext uri="{FF2B5EF4-FFF2-40B4-BE49-F238E27FC236}">
                  <a16:creationId xmlns:a16="http://schemas.microsoft.com/office/drawing/2014/main" id="{8798E612-8A33-474F-B9EF-17430559A9C7}"/>
                </a:ext>
              </a:extLst>
            </p:cNvPr>
            <p:cNvSpPr/>
            <p:nvPr/>
          </p:nvSpPr>
          <p:spPr>
            <a:xfrm>
              <a:off x="9409668" y="6126958"/>
              <a:ext cx="135738" cy="192528"/>
            </a:xfrm>
            <a:custGeom>
              <a:avLst/>
              <a:gdLst>
                <a:gd name="connsiteX0" fmla="*/ 123243 w 135738"/>
                <a:gd name="connsiteY0" fmla="*/ 177160 h 192528"/>
                <a:gd name="connsiteX1" fmla="*/ 134551 w 135738"/>
                <a:gd name="connsiteY1" fmla="*/ 177060 h 192528"/>
                <a:gd name="connsiteX2" fmla="*/ 135738 w 135738"/>
                <a:gd name="connsiteY2" fmla="*/ 178534 h 192528"/>
                <a:gd name="connsiteX3" fmla="*/ 22038 w 135738"/>
                <a:gd name="connsiteY3" fmla="*/ 14349 h 192528"/>
                <a:gd name="connsiteX4" fmla="*/ 14790 w 135738"/>
                <a:gd name="connsiteY4" fmla="*/ 3729 h 192528"/>
                <a:gd name="connsiteX5" fmla="*/ 3958 w 135738"/>
                <a:gd name="connsiteY5" fmla="*/ 1180 h 192528"/>
                <a:gd name="connsiteX6" fmla="*/ 3171 w 135738"/>
                <a:gd name="connsiteY6" fmla="*/ 1729 h 192528"/>
                <a:gd name="connsiteX7" fmla="*/ 2046 w 135738"/>
                <a:gd name="connsiteY7" fmla="*/ 2354 h 192528"/>
                <a:gd name="connsiteX8" fmla="*/ 2046 w 135738"/>
                <a:gd name="connsiteY8" fmla="*/ 3104 h 192528"/>
                <a:gd name="connsiteX9" fmla="*/ 922 w 135738"/>
                <a:gd name="connsiteY9" fmla="*/ 4728 h 192528"/>
                <a:gd name="connsiteX10" fmla="*/ 47 w 135738"/>
                <a:gd name="connsiteY10" fmla="*/ 6478 h 192528"/>
                <a:gd name="connsiteX11" fmla="*/ 47 w 135738"/>
                <a:gd name="connsiteY11" fmla="*/ 8477 h 192528"/>
                <a:gd name="connsiteX12" fmla="*/ 47 w 135738"/>
                <a:gd name="connsiteY12" fmla="*/ 10476 h 192528"/>
                <a:gd name="connsiteX13" fmla="*/ 47 w 135738"/>
                <a:gd name="connsiteY13" fmla="*/ 12600 h 192528"/>
                <a:gd name="connsiteX14" fmla="*/ 47 w 135738"/>
                <a:gd name="connsiteY14" fmla="*/ 14599 h 192528"/>
                <a:gd name="connsiteX15" fmla="*/ 922 w 135738"/>
                <a:gd name="connsiteY15" fmla="*/ 16473 h 192528"/>
                <a:gd name="connsiteX16" fmla="*/ 922 w 135738"/>
                <a:gd name="connsiteY16" fmla="*/ 17598 h 192528"/>
                <a:gd name="connsiteX17" fmla="*/ 121869 w 135738"/>
                <a:gd name="connsiteY17" fmla="*/ 192529 h 192528"/>
                <a:gd name="connsiteX18" fmla="*/ 123243 w 135738"/>
                <a:gd name="connsiteY18" fmla="*/ 177160 h 1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738" h="192528">
                  <a:moveTo>
                    <a:pt x="123243" y="177160"/>
                  </a:moveTo>
                  <a:cubicBezTo>
                    <a:pt x="126342" y="174011"/>
                    <a:pt x="131403" y="173961"/>
                    <a:pt x="134551" y="177060"/>
                  </a:cubicBezTo>
                  <a:cubicBezTo>
                    <a:pt x="135001" y="177497"/>
                    <a:pt x="135401" y="177997"/>
                    <a:pt x="135738" y="178534"/>
                  </a:cubicBezTo>
                  <a:lnTo>
                    <a:pt x="22038" y="14349"/>
                  </a:lnTo>
                  <a:lnTo>
                    <a:pt x="14790" y="3729"/>
                  </a:lnTo>
                  <a:cubicBezTo>
                    <a:pt x="12504" y="30"/>
                    <a:pt x="7656" y="-1107"/>
                    <a:pt x="3958" y="1180"/>
                  </a:cubicBezTo>
                  <a:cubicBezTo>
                    <a:pt x="3683" y="1342"/>
                    <a:pt x="3420" y="1530"/>
                    <a:pt x="3171" y="1729"/>
                  </a:cubicBezTo>
                  <a:lnTo>
                    <a:pt x="2046" y="2354"/>
                  </a:lnTo>
                  <a:lnTo>
                    <a:pt x="2046" y="3104"/>
                  </a:lnTo>
                  <a:cubicBezTo>
                    <a:pt x="1559" y="3566"/>
                    <a:pt x="1184" y="4116"/>
                    <a:pt x="922" y="4728"/>
                  </a:cubicBezTo>
                  <a:lnTo>
                    <a:pt x="47" y="6478"/>
                  </a:lnTo>
                  <a:cubicBezTo>
                    <a:pt x="-16" y="7140"/>
                    <a:pt x="-16" y="7814"/>
                    <a:pt x="47" y="8477"/>
                  </a:cubicBezTo>
                  <a:cubicBezTo>
                    <a:pt x="-16" y="9139"/>
                    <a:pt x="-16" y="9814"/>
                    <a:pt x="47" y="10476"/>
                  </a:cubicBezTo>
                  <a:cubicBezTo>
                    <a:pt x="-16" y="11188"/>
                    <a:pt x="-16" y="11888"/>
                    <a:pt x="47" y="12600"/>
                  </a:cubicBezTo>
                  <a:lnTo>
                    <a:pt x="47" y="14599"/>
                  </a:lnTo>
                  <a:lnTo>
                    <a:pt x="922" y="16473"/>
                  </a:lnTo>
                  <a:cubicBezTo>
                    <a:pt x="922" y="16473"/>
                    <a:pt x="922" y="17348"/>
                    <a:pt x="922" y="17598"/>
                  </a:cubicBezTo>
                  <a:lnTo>
                    <a:pt x="121869" y="192529"/>
                  </a:lnTo>
                  <a:cubicBezTo>
                    <a:pt x="118733" y="187705"/>
                    <a:pt x="119295" y="181358"/>
                    <a:pt x="123243" y="177160"/>
                  </a:cubicBezTo>
                  <a:close/>
                </a:path>
              </a:pathLst>
            </a:custGeom>
            <a:solidFill>
              <a:srgbClr val="000000"/>
            </a:solidFill>
            <a:ln w="12483" cap="flat">
              <a:noFill/>
              <a:prstDash val="solid"/>
              <a:miter/>
            </a:ln>
          </p:spPr>
          <p:txBody>
            <a:bodyPr rtlCol="0" anchor="ctr"/>
            <a:lstStyle/>
            <a:p>
              <a:endParaRPr lang="en-US"/>
            </a:p>
          </p:txBody>
        </p:sp>
        <p:sp>
          <p:nvSpPr>
            <p:cNvPr id="1804" name="Freeform: Shape 1803">
              <a:extLst>
                <a:ext uri="{FF2B5EF4-FFF2-40B4-BE49-F238E27FC236}">
                  <a16:creationId xmlns:a16="http://schemas.microsoft.com/office/drawing/2014/main" id="{17A280F1-ACEC-42C9-87F0-481FA7D1C304}"/>
                </a:ext>
              </a:extLst>
            </p:cNvPr>
            <p:cNvSpPr/>
            <p:nvPr/>
          </p:nvSpPr>
          <p:spPr>
            <a:xfrm>
              <a:off x="9108220" y="6096576"/>
              <a:ext cx="297262" cy="186550"/>
            </a:xfrm>
            <a:custGeom>
              <a:avLst/>
              <a:gdLst>
                <a:gd name="connsiteX0" fmla="*/ 296372 w 297262"/>
                <a:gd name="connsiteY0" fmla="*/ 5748 h 186550"/>
                <a:gd name="connsiteX1" fmla="*/ 294748 w 297262"/>
                <a:gd name="connsiteY1" fmla="*/ 2999 h 186550"/>
                <a:gd name="connsiteX2" fmla="*/ 293248 w 297262"/>
                <a:gd name="connsiteY2" fmla="*/ 1624 h 186550"/>
                <a:gd name="connsiteX3" fmla="*/ 291874 w 297262"/>
                <a:gd name="connsiteY3" fmla="*/ 625 h 186550"/>
                <a:gd name="connsiteX4" fmla="*/ 290125 w 297262"/>
                <a:gd name="connsiteY4" fmla="*/ 0 h 186550"/>
                <a:gd name="connsiteX5" fmla="*/ 288500 w 297262"/>
                <a:gd name="connsiteY5" fmla="*/ 0 h 186550"/>
                <a:gd name="connsiteX6" fmla="*/ 286876 w 297262"/>
                <a:gd name="connsiteY6" fmla="*/ 0 h 186550"/>
                <a:gd name="connsiteX7" fmla="*/ 285127 w 297262"/>
                <a:gd name="connsiteY7" fmla="*/ 0 h 186550"/>
                <a:gd name="connsiteX8" fmla="*/ 284377 w 297262"/>
                <a:gd name="connsiteY8" fmla="*/ 0 h 186550"/>
                <a:gd name="connsiteX9" fmla="*/ 0 w 297262"/>
                <a:gd name="connsiteY9" fmla="*/ 167059 h 186550"/>
                <a:gd name="connsiteX10" fmla="*/ 11520 w 297262"/>
                <a:gd name="connsiteY10" fmla="*/ 169782 h 186550"/>
                <a:gd name="connsiteX11" fmla="*/ 12495 w 297262"/>
                <a:gd name="connsiteY11" fmla="*/ 172057 h 186550"/>
                <a:gd name="connsiteX12" fmla="*/ 8372 w 297262"/>
                <a:gd name="connsiteY12" fmla="*/ 186551 h 186550"/>
                <a:gd name="connsiteX13" fmla="*/ 286501 w 297262"/>
                <a:gd name="connsiteY13" fmla="*/ 23116 h 186550"/>
                <a:gd name="connsiteX14" fmla="*/ 292748 w 297262"/>
                <a:gd name="connsiteY14" fmla="*/ 19493 h 186550"/>
                <a:gd name="connsiteX15" fmla="*/ 296372 w 297262"/>
                <a:gd name="connsiteY15" fmla="*/ 5748 h 18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262" h="186550">
                  <a:moveTo>
                    <a:pt x="296372" y="5748"/>
                  </a:moveTo>
                  <a:cubicBezTo>
                    <a:pt x="296010" y="4736"/>
                    <a:pt x="295460" y="3799"/>
                    <a:pt x="294748" y="2999"/>
                  </a:cubicBezTo>
                  <a:lnTo>
                    <a:pt x="293248" y="1624"/>
                  </a:lnTo>
                  <a:lnTo>
                    <a:pt x="291874" y="625"/>
                  </a:lnTo>
                  <a:lnTo>
                    <a:pt x="290125" y="0"/>
                  </a:lnTo>
                  <a:lnTo>
                    <a:pt x="288500" y="0"/>
                  </a:lnTo>
                  <a:lnTo>
                    <a:pt x="286876" y="0"/>
                  </a:lnTo>
                  <a:lnTo>
                    <a:pt x="285127" y="0"/>
                  </a:lnTo>
                  <a:lnTo>
                    <a:pt x="284377" y="0"/>
                  </a:lnTo>
                  <a:lnTo>
                    <a:pt x="0" y="167059"/>
                  </a:lnTo>
                  <a:cubicBezTo>
                    <a:pt x="3936" y="164635"/>
                    <a:pt x="9096" y="165847"/>
                    <a:pt x="11520" y="169782"/>
                  </a:cubicBezTo>
                  <a:cubicBezTo>
                    <a:pt x="11957" y="170495"/>
                    <a:pt x="12282" y="171257"/>
                    <a:pt x="12495" y="172057"/>
                  </a:cubicBezTo>
                  <a:cubicBezTo>
                    <a:pt x="14519" y="177267"/>
                    <a:pt x="12832" y="183190"/>
                    <a:pt x="8372" y="186551"/>
                  </a:cubicBezTo>
                  <a:lnTo>
                    <a:pt x="286501" y="23116"/>
                  </a:lnTo>
                  <a:lnTo>
                    <a:pt x="292748" y="19493"/>
                  </a:lnTo>
                  <a:cubicBezTo>
                    <a:pt x="296909" y="16244"/>
                    <a:pt x="298384" y="10621"/>
                    <a:pt x="296372" y="5748"/>
                  </a:cubicBezTo>
                  <a:close/>
                </a:path>
              </a:pathLst>
            </a:custGeom>
            <a:solidFill>
              <a:srgbClr val="000000"/>
            </a:solidFill>
            <a:ln w="12483" cap="flat">
              <a:noFill/>
              <a:prstDash val="solid"/>
              <a:miter/>
            </a:ln>
          </p:spPr>
          <p:txBody>
            <a:bodyPr rtlCol="0" anchor="ctr"/>
            <a:lstStyle/>
            <a:p>
              <a:endParaRPr lang="en-US"/>
            </a:p>
          </p:txBody>
        </p:sp>
        <p:sp>
          <p:nvSpPr>
            <p:cNvPr id="1805" name="Freeform: Shape 1804">
              <a:extLst>
                <a:ext uri="{FF2B5EF4-FFF2-40B4-BE49-F238E27FC236}">
                  <a16:creationId xmlns:a16="http://schemas.microsoft.com/office/drawing/2014/main" id="{E1679518-3269-43D9-9CB8-BD58799AC98D}"/>
                </a:ext>
              </a:extLst>
            </p:cNvPr>
            <p:cNvSpPr/>
            <p:nvPr/>
          </p:nvSpPr>
          <p:spPr>
            <a:xfrm>
              <a:off x="9013993" y="6263133"/>
              <a:ext cx="106973" cy="73723"/>
            </a:xfrm>
            <a:custGeom>
              <a:avLst/>
              <a:gdLst>
                <a:gd name="connsiteX0" fmla="*/ 106221 w 106973"/>
                <a:gd name="connsiteY0" fmla="*/ 6249 h 73723"/>
                <a:gd name="connsiteX1" fmla="*/ 96001 w 106973"/>
                <a:gd name="connsiteY1" fmla="*/ 277 h 73723"/>
                <a:gd name="connsiteX2" fmla="*/ 93727 w 106973"/>
                <a:gd name="connsiteY2" fmla="*/ 1251 h 73723"/>
                <a:gd name="connsiteX3" fmla="*/ 93727 w 106973"/>
                <a:gd name="connsiteY3" fmla="*/ 1251 h 73723"/>
                <a:gd name="connsiteX4" fmla="*/ 90728 w 106973"/>
                <a:gd name="connsiteY4" fmla="*/ 3000 h 73723"/>
                <a:gd name="connsiteX5" fmla="*/ 5140 w 106973"/>
                <a:gd name="connsiteY5" fmla="*/ 52980 h 73723"/>
                <a:gd name="connsiteX6" fmla="*/ 1017 w 106973"/>
                <a:gd name="connsiteY6" fmla="*/ 67475 h 73723"/>
                <a:gd name="connsiteX7" fmla="*/ 11237 w 106973"/>
                <a:gd name="connsiteY7" fmla="*/ 73447 h 73723"/>
                <a:gd name="connsiteX8" fmla="*/ 13511 w 106973"/>
                <a:gd name="connsiteY8" fmla="*/ 72473 h 73723"/>
                <a:gd name="connsiteX9" fmla="*/ 102473 w 106973"/>
                <a:gd name="connsiteY9" fmla="*/ 20118 h 73723"/>
                <a:gd name="connsiteX10" fmla="*/ 106221 w 106973"/>
                <a:gd name="connsiteY10" fmla="*/ 6249 h 7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973" h="73723">
                  <a:moveTo>
                    <a:pt x="106221" y="6249"/>
                  </a:moveTo>
                  <a:cubicBezTo>
                    <a:pt x="105047" y="1776"/>
                    <a:pt x="100474" y="-898"/>
                    <a:pt x="96001" y="277"/>
                  </a:cubicBezTo>
                  <a:cubicBezTo>
                    <a:pt x="95201" y="489"/>
                    <a:pt x="94426" y="814"/>
                    <a:pt x="93727" y="1251"/>
                  </a:cubicBezTo>
                  <a:lnTo>
                    <a:pt x="93727" y="1251"/>
                  </a:lnTo>
                  <a:lnTo>
                    <a:pt x="90728" y="3000"/>
                  </a:lnTo>
                  <a:lnTo>
                    <a:pt x="5140" y="52980"/>
                  </a:lnTo>
                  <a:cubicBezTo>
                    <a:pt x="442" y="56179"/>
                    <a:pt x="-1295" y="62277"/>
                    <a:pt x="1017" y="67475"/>
                  </a:cubicBezTo>
                  <a:cubicBezTo>
                    <a:pt x="2191" y="71948"/>
                    <a:pt x="6764" y="74622"/>
                    <a:pt x="11237" y="73447"/>
                  </a:cubicBezTo>
                  <a:cubicBezTo>
                    <a:pt x="12037" y="73235"/>
                    <a:pt x="12812" y="72910"/>
                    <a:pt x="13511" y="72473"/>
                  </a:cubicBezTo>
                  <a:lnTo>
                    <a:pt x="102473" y="20118"/>
                  </a:lnTo>
                  <a:cubicBezTo>
                    <a:pt x="106521" y="16745"/>
                    <a:pt x="108020" y="11197"/>
                    <a:pt x="106221" y="6249"/>
                  </a:cubicBezTo>
                  <a:close/>
                </a:path>
              </a:pathLst>
            </a:custGeom>
            <a:solidFill>
              <a:srgbClr val="000000"/>
            </a:solidFill>
            <a:ln w="12483" cap="flat">
              <a:noFill/>
              <a:prstDash val="solid"/>
              <a:miter/>
            </a:ln>
          </p:spPr>
          <p:txBody>
            <a:bodyPr rtlCol="0" anchor="ctr"/>
            <a:lstStyle/>
            <a:p>
              <a:endParaRPr lang="en-US"/>
            </a:p>
          </p:txBody>
        </p:sp>
        <p:sp>
          <p:nvSpPr>
            <p:cNvPr id="1806" name="Freeform: Shape 1805">
              <a:extLst>
                <a:ext uri="{FF2B5EF4-FFF2-40B4-BE49-F238E27FC236}">
                  <a16:creationId xmlns:a16="http://schemas.microsoft.com/office/drawing/2014/main" id="{A5112195-6C49-474A-8FF9-691BDC5F3B5B}"/>
                </a:ext>
              </a:extLst>
            </p:cNvPr>
            <p:cNvSpPr/>
            <p:nvPr/>
          </p:nvSpPr>
          <p:spPr>
            <a:xfrm>
              <a:off x="8421766" y="3980929"/>
              <a:ext cx="181941" cy="108447"/>
            </a:xfrm>
            <a:custGeom>
              <a:avLst/>
              <a:gdLst>
                <a:gd name="connsiteX0" fmla="*/ 11870 w 181941"/>
                <a:gd name="connsiteY0" fmla="*/ 94203 h 108447"/>
                <a:gd name="connsiteX1" fmla="*/ 7122 w 181941"/>
                <a:gd name="connsiteY1" fmla="*/ 108447 h 108447"/>
                <a:gd name="connsiteX2" fmla="*/ 176549 w 181941"/>
                <a:gd name="connsiteY2" fmla="*/ 20982 h 108447"/>
                <a:gd name="connsiteX3" fmla="*/ 181297 w 181941"/>
                <a:gd name="connsiteY3" fmla="*/ 6738 h 108447"/>
                <a:gd name="connsiteX4" fmla="*/ 173925 w 181941"/>
                <a:gd name="connsiteY4" fmla="*/ 365 h 108447"/>
                <a:gd name="connsiteX5" fmla="*/ 169427 w 181941"/>
                <a:gd name="connsiteY5" fmla="*/ 365 h 108447"/>
                <a:gd name="connsiteX6" fmla="*/ 166803 w 181941"/>
                <a:gd name="connsiteY6" fmla="*/ 1740 h 108447"/>
                <a:gd name="connsiteX7" fmla="*/ 6122 w 181941"/>
                <a:gd name="connsiteY7" fmla="*/ 84832 h 108447"/>
                <a:gd name="connsiteX8" fmla="*/ 0 w 181941"/>
                <a:gd name="connsiteY8" fmla="*/ 87955 h 108447"/>
                <a:gd name="connsiteX9" fmla="*/ 11245 w 181941"/>
                <a:gd name="connsiteY9" fmla="*/ 92191 h 108447"/>
                <a:gd name="connsiteX10" fmla="*/ 11870 w 181941"/>
                <a:gd name="connsiteY10" fmla="*/ 94203 h 10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941" h="108447">
                  <a:moveTo>
                    <a:pt x="11870" y="94203"/>
                  </a:moveTo>
                  <a:cubicBezTo>
                    <a:pt x="13632" y="99476"/>
                    <a:pt x="11695" y="105286"/>
                    <a:pt x="7122" y="108447"/>
                  </a:cubicBezTo>
                  <a:lnTo>
                    <a:pt x="176549" y="20982"/>
                  </a:lnTo>
                  <a:cubicBezTo>
                    <a:pt x="181122" y="17821"/>
                    <a:pt x="183058" y="12011"/>
                    <a:pt x="181297" y="6738"/>
                  </a:cubicBezTo>
                  <a:cubicBezTo>
                    <a:pt x="180247" y="3389"/>
                    <a:pt x="177398" y="915"/>
                    <a:pt x="173925" y="365"/>
                  </a:cubicBezTo>
                  <a:cubicBezTo>
                    <a:pt x="172463" y="-122"/>
                    <a:pt x="170889" y="-122"/>
                    <a:pt x="169427" y="365"/>
                  </a:cubicBezTo>
                  <a:lnTo>
                    <a:pt x="166803" y="1740"/>
                  </a:lnTo>
                  <a:lnTo>
                    <a:pt x="6122" y="84832"/>
                  </a:lnTo>
                  <a:lnTo>
                    <a:pt x="0" y="87955"/>
                  </a:lnTo>
                  <a:cubicBezTo>
                    <a:pt x="4273" y="86019"/>
                    <a:pt x="9309" y="87918"/>
                    <a:pt x="11245" y="92191"/>
                  </a:cubicBezTo>
                  <a:cubicBezTo>
                    <a:pt x="11533" y="92829"/>
                    <a:pt x="11745" y="93503"/>
                    <a:pt x="11870" y="94203"/>
                  </a:cubicBezTo>
                  <a:close/>
                </a:path>
              </a:pathLst>
            </a:custGeom>
            <a:solidFill>
              <a:srgbClr val="000000"/>
            </a:solidFill>
            <a:ln w="12483" cap="flat">
              <a:noFill/>
              <a:prstDash val="solid"/>
              <a:miter/>
            </a:ln>
          </p:spPr>
          <p:txBody>
            <a:bodyPr rtlCol="0" anchor="ctr"/>
            <a:lstStyle/>
            <a:p>
              <a:endParaRPr lang="en-US"/>
            </a:p>
          </p:txBody>
        </p:sp>
        <p:sp>
          <p:nvSpPr>
            <p:cNvPr id="1807" name="Freeform: Shape 1806">
              <a:extLst>
                <a:ext uri="{FF2B5EF4-FFF2-40B4-BE49-F238E27FC236}">
                  <a16:creationId xmlns:a16="http://schemas.microsoft.com/office/drawing/2014/main" id="{3A335A72-7652-4833-9F54-F3EE9D2F6278}"/>
                </a:ext>
              </a:extLst>
            </p:cNvPr>
            <p:cNvSpPr/>
            <p:nvPr/>
          </p:nvSpPr>
          <p:spPr>
            <a:xfrm>
              <a:off x="8198738" y="4068692"/>
              <a:ext cx="235555" cy="136763"/>
            </a:xfrm>
            <a:custGeom>
              <a:avLst/>
              <a:gdLst>
                <a:gd name="connsiteX0" fmla="*/ 234898 w 235555"/>
                <a:gd name="connsiteY0" fmla="*/ 6440 h 136763"/>
                <a:gd name="connsiteX1" fmla="*/ 224590 w 235555"/>
                <a:gd name="connsiteY1" fmla="*/ 255 h 136763"/>
                <a:gd name="connsiteX2" fmla="*/ 223029 w 235555"/>
                <a:gd name="connsiteY2" fmla="*/ 817 h 136763"/>
                <a:gd name="connsiteX3" fmla="*/ 211783 w 235555"/>
                <a:gd name="connsiteY3" fmla="*/ 6690 h 136763"/>
                <a:gd name="connsiteX4" fmla="*/ 0 w 235555"/>
                <a:gd name="connsiteY4" fmla="*/ 116021 h 136763"/>
                <a:gd name="connsiteX5" fmla="*/ 4373 w 235555"/>
                <a:gd name="connsiteY5" fmla="*/ 122144 h 136763"/>
                <a:gd name="connsiteX6" fmla="*/ 4373 w 235555"/>
                <a:gd name="connsiteY6" fmla="*/ 122144 h 136763"/>
                <a:gd name="connsiteX7" fmla="*/ 5248 w 235555"/>
                <a:gd name="connsiteY7" fmla="*/ 123268 h 136763"/>
                <a:gd name="connsiteX8" fmla="*/ 5248 w 235555"/>
                <a:gd name="connsiteY8" fmla="*/ 136763 h 136763"/>
                <a:gd name="connsiteX9" fmla="*/ 11995 w 235555"/>
                <a:gd name="connsiteY9" fmla="*/ 133265 h 136763"/>
                <a:gd name="connsiteX10" fmla="*/ 11995 w 235555"/>
                <a:gd name="connsiteY10" fmla="*/ 133265 h 136763"/>
                <a:gd name="connsiteX11" fmla="*/ 230025 w 235555"/>
                <a:gd name="connsiteY11" fmla="*/ 20809 h 136763"/>
                <a:gd name="connsiteX12" fmla="*/ 234898 w 235555"/>
                <a:gd name="connsiteY12" fmla="*/ 6440 h 13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555" h="136763">
                  <a:moveTo>
                    <a:pt x="234898" y="6440"/>
                  </a:moveTo>
                  <a:cubicBezTo>
                    <a:pt x="233761" y="1892"/>
                    <a:pt x="229151" y="-882"/>
                    <a:pt x="224590" y="255"/>
                  </a:cubicBezTo>
                  <a:cubicBezTo>
                    <a:pt x="224053" y="393"/>
                    <a:pt x="223528" y="580"/>
                    <a:pt x="223029" y="817"/>
                  </a:cubicBezTo>
                  <a:lnTo>
                    <a:pt x="211783" y="6690"/>
                  </a:lnTo>
                  <a:lnTo>
                    <a:pt x="0" y="116021"/>
                  </a:lnTo>
                  <a:lnTo>
                    <a:pt x="4373" y="122144"/>
                  </a:lnTo>
                  <a:lnTo>
                    <a:pt x="4373" y="122144"/>
                  </a:lnTo>
                  <a:lnTo>
                    <a:pt x="5248" y="123268"/>
                  </a:lnTo>
                  <a:cubicBezTo>
                    <a:pt x="7884" y="127379"/>
                    <a:pt x="7884" y="132652"/>
                    <a:pt x="5248" y="136763"/>
                  </a:cubicBezTo>
                  <a:lnTo>
                    <a:pt x="11995" y="133265"/>
                  </a:lnTo>
                  <a:lnTo>
                    <a:pt x="11995" y="133265"/>
                  </a:lnTo>
                  <a:lnTo>
                    <a:pt x="230025" y="20809"/>
                  </a:lnTo>
                  <a:cubicBezTo>
                    <a:pt x="234711" y="17673"/>
                    <a:pt x="236698" y="11775"/>
                    <a:pt x="234898" y="6440"/>
                  </a:cubicBezTo>
                  <a:close/>
                </a:path>
              </a:pathLst>
            </a:custGeom>
            <a:solidFill>
              <a:srgbClr val="000000"/>
            </a:solidFill>
            <a:ln w="12483" cap="flat">
              <a:noFill/>
              <a:prstDash val="solid"/>
              <a:miter/>
            </a:ln>
          </p:spPr>
          <p:txBody>
            <a:bodyPr rtlCol="0" anchor="ctr"/>
            <a:lstStyle/>
            <a:p>
              <a:endParaRPr lang="en-US"/>
            </a:p>
          </p:txBody>
        </p:sp>
        <p:sp>
          <p:nvSpPr>
            <p:cNvPr id="1808" name="Freeform: Shape 1807">
              <a:extLst>
                <a:ext uri="{FF2B5EF4-FFF2-40B4-BE49-F238E27FC236}">
                  <a16:creationId xmlns:a16="http://schemas.microsoft.com/office/drawing/2014/main" id="{12B6F525-9F8E-4FC2-A500-A8B3CA9A9936}"/>
                </a:ext>
              </a:extLst>
            </p:cNvPr>
            <p:cNvSpPr/>
            <p:nvPr/>
          </p:nvSpPr>
          <p:spPr>
            <a:xfrm>
              <a:off x="7793663" y="4999763"/>
              <a:ext cx="331981" cy="503447"/>
            </a:xfrm>
            <a:custGeom>
              <a:avLst/>
              <a:gdLst>
                <a:gd name="connsiteX0" fmla="*/ 328608 w 331981"/>
                <a:gd name="connsiteY0" fmla="*/ 500926 h 503447"/>
                <a:gd name="connsiteX1" fmla="*/ 330107 w 331981"/>
                <a:gd name="connsiteY1" fmla="*/ 485806 h 503447"/>
                <a:gd name="connsiteX2" fmla="*/ 21241 w 331981"/>
                <a:gd name="connsiteY2" fmla="*/ 10996 h 503447"/>
                <a:gd name="connsiteX3" fmla="*/ 14119 w 331981"/>
                <a:gd name="connsiteY3" fmla="*/ 0 h 503447"/>
                <a:gd name="connsiteX4" fmla="*/ 12495 w 331981"/>
                <a:gd name="connsiteY4" fmla="*/ 15244 h 503447"/>
                <a:gd name="connsiteX5" fmla="*/ 1362 w 331981"/>
                <a:gd name="connsiteY5" fmla="*/ 15219 h 503447"/>
                <a:gd name="connsiteX6" fmla="*/ 0 w 331981"/>
                <a:gd name="connsiteY6" fmla="*/ 13370 h 503447"/>
                <a:gd name="connsiteX7" fmla="*/ 315988 w 331981"/>
                <a:gd name="connsiteY7" fmla="*/ 499676 h 503447"/>
                <a:gd name="connsiteX8" fmla="*/ 327009 w 331981"/>
                <a:gd name="connsiteY8" fmla="*/ 502237 h 503447"/>
                <a:gd name="connsiteX9" fmla="*/ 328608 w 331981"/>
                <a:gd name="connsiteY9" fmla="*/ 500926 h 50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981" h="503447">
                  <a:moveTo>
                    <a:pt x="328608" y="500926"/>
                  </a:moveTo>
                  <a:cubicBezTo>
                    <a:pt x="332469" y="496802"/>
                    <a:pt x="333081" y="490604"/>
                    <a:pt x="330107" y="485806"/>
                  </a:cubicBezTo>
                  <a:lnTo>
                    <a:pt x="21241" y="10996"/>
                  </a:lnTo>
                  <a:lnTo>
                    <a:pt x="14119" y="0"/>
                  </a:lnTo>
                  <a:cubicBezTo>
                    <a:pt x="17130" y="4861"/>
                    <a:pt x="16455" y="11133"/>
                    <a:pt x="12495" y="15244"/>
                  </a:cubicBezTo>
                  <a:cubicBezTo>
                    <a:pt x="9408" y="18306"/>
                    <a:pt x="4423" y="18293"/>
                    <a:pt x="1362" y="15219"/>
                  </a:cubicBezTo>
                  <a:cubicBezTo>
                    <a:pt x="825" y="14669"/>
                    <a:pt x="362" y="14045"/>
                    <a:pt x="0" y="13370"/>
                  </a:cubicBezTo>
                  <a:lnTo>
                    <a:pt x="315988" y="499676"/>
                  </a:lnTo>
                  <a:cubicBezTo>
                    <a:pt x="318325" y="503424"/>
                    <a:pt x="323248" y="504574"/>
                    <a:pt x="327009" y="502237"/>
                  </a:cubicBezTo>
                  <a:cubicBezTo>
                    <a:pt x="327596" y="501875"/>
                    <a:pt x="328133" y="501438"/>
                    <a:pt x="328608" y="500926"/>
                  </a:cubicBezTo>
                  <a:close/>
                </a:path>
              </a:pathLst>
            </a:custGeom>
            <a:solidFill>
              <a:srgbClr val="000000"/>
            </a:solidFill>
            <a:ln w="12483" cap="flat">
              <a:noFill/>
              <a:prstDash val="solid"/>
              <a:miter/>
            </a:ln>
          </p:spPr>
          <p:txBody>
            <a:bodyPr rtlCol="0" anchor="ctr"/>
            <a:lstStyle/>
            <a:p>
              <a:endParaRPr lang="en-US"/>
            </a:p>
          </p:txBody>
        </p:sp>
        <p:sp>
          <p:nvSpPr>
            <p:cNvPr id="1809" name="Freeform: Shape 1808">
              <a:extLst>
                <a:ext uri="{FF2B5EF4-FFF2-40B4-BE49-F238E27FC236}">
                  <a16:creationId xmlns:a16="http://schemas.microsoft.com/office/drawing/2014/main" id="{26B94DEA-4F55-4003-B332-35EEB8964984}"/>
                </a:ext>
              </a:extLst>
            </p:cNvPr>
            <p:cNvSpPr/>
            <p:nvPr/>
          </p:nvSpPr>
          <p:spPr>
            <a:xfrm>
              <a:off x="11513084" y="3037625"/>
              <a:ext cx="89682" cy="99630"/>
            </a:xfrm>
            <a:custGeom>
              <a:avLst/>
              <a:gdLst>
                <a:gd name="connsiteX0" fmla="*/ 2345 w 89682"/>
                <a:gd name="connsiteY0" fmla="*/ 3169 h 99630"/>
                <a:gd name="connsiteX1" fmla="*/ 2970 w 89682"/>
                <a:gd name="connsiteY1" fmla="*/ 18538 h 99630"/>
                <a:gd name="connsiteX2" fmla="*/ 77938 w 89682"/>
                <a:gd name="connsiteY2" fmla="*/ 99631 h 99630"/>
                <a:gd name="connsiteX3" fmla="*/ 77188 w 89682"/>
                <a:gd name="connsiteY3" fmla="*/ 84262 h 99630"/>
                <a:gd name="connsiteX4" fmla="*/ 88308 w 89682"/>
                <a:gd name="connsiteY4" fmla="*/ 82187 h 99630"/>
                <a:gd name="connsiteX5" fmla="*/ 89683 w 89682"/>
                <a:gd name="connsiteY5" fmla="*/ 83387 h 99630"/>
                <a:gd name="connsiteX6" fmla="*/ 86059 w 89682"/>
                <a:gd name="connsiteY6" fmla="*/ 79514 h 99630"/>
                <a:gd name="connsiteX7" fmla="*/ 83060 w 89682"/>
                <a:gd name="connsiteY7" fmla="*/ 76390 h 99630"/>
                <a:gd name="connsiteX8" fmla="*/ 14340 w 89682"/>
                <a:gd name="connsiteY8" fmla="*/ 2419 h 99630"/>
                <a:gd name="connsiteX9" fmla="*/ 3208 w 89682"/>
                <a:gd name="connsiteY9" fmla="*/ 2194 h 99630"/>
                <a:gd name="connsiteX10" fmla="*/ 2345 w 89682"/>
                <a:gd name="connsiteY10" fmla="*/ 3169 h 9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682" h="99630">
                  <a:moveTo>
                    <a:pt x="2345" y="3169"/>
                  </a:moveTo>
                  <a:cubicBezTo>
                    <a:pt x="-1003" y="7830"/>
                    <a:pt x="-741" y="14165"/>
                    <a:pt x="2970" y="18538"/>
                  </a:cubicBezTo>
                  <a:lnTo>
                    <a:pt x="77938" y="99631"/>
                  </a:lnTo>
                  <a:cubicBezTo>
                    <a:pt x="74189" y="95282"/>
                    <a:pt x="73877" y="88947"/>
                    <a:pt x="77188" y="84262"/>
                  </a:cubicBezTo>
                  <a:cubicBezTo>
                    <a:pt x="79687" y="80626"/>
                    <a:pt x="84660" y="79689"/>
                    <a:pt x="88308" y="82187"/>
                  </a:cubicBezTo>
                  <a:cubicBezTo>
                    <a:pt x="88808" y="82537"/>
                    <a:pt x="89270" y="82937"/>
                    <a:pt x="89683" y="83387"/>
                  </a:cubicBezTo>
                  <a:lnTo>
                    <a:pt x="86059" y="79514"/>
                  </a:lnTo>
                  <a:lnTo>
                    <a:pt x="83060" y="76390"/>
                  </a:lnTo>
                  <a:lnTo>
                    <a:pt x="14340" y="2419"/>
                  </a:lnTo>
                  <a:cubicBezTo>
                    <a:pt x="11329" y="-717"/>
                    <a:pt x="6344" y="-817"/>
                    <a:pt x="3208" y="2194"/>
                  </a:cubicBezTo>
                  <a:cubicBezTo>
                    <a:pt x="2895" y="2494"/>
                    <a:pt x="2608" y="2819"/>
                    <a:pt x="2345" y="3169"/>
                  </a:cubicBezTo>
                  <a:close/>
                </a:path>
              </a:pathLst>
            </a:custGeom>
            <a:solidFill>
              <a:srgbClr val="000000"/>
            </a:solidFill>
            <a:ln w="12483" cap="flat">
              <a:noFill/>
              <a:prstDash val="solid"/>
              <a:miter/>
            </a:ln>
          </p:spPr>
          <p:txBody>
            <a:bodyPr rtlCol="0" anchor="ctr"/>
            <a:lstStyle/>
            <a:p>
              <a:endParaRPr lang="en-US"/>
            </a:p>
          </p:txBody>
        </p:sp>
        <p:sp>
          <p:nvSpPr>
            <p:cNvPr id="1810" name="Freeform: Shape 1809">
              <a:extLst>
                <a:ext uri="{FF2B5EF4-FFF2-40B4-BE49-F238E27FC236}">
                  <a16:creationId xmlns:a16="http://schemas.microsoft.com/office/drawing/2014/main" id="{224BBF0F-3A9E-4774-ABD3-C16FA08646E2}"/>
                </a:ext>
              </a:extLst>
            </p:cNvPr>
            <p:cNvSpPr/>
            <p:nvPr/>
          </p:nvSpPr>
          <p:spPr>
            <a:xfrm>
              <a:off x="11588360" y="3118778"/>
              <a:ext cx="82619" cy="90783"/>
            </a:xfrm>
            <a:custGeom>
              <a:avLst/>
              <a:gdLst>
                <a:gd name="connsiteX0" fmla="*/ 2287 w 82619"/>
                <a:gd name="connsiteY0" fmla="*/ 3109 h 90783"/>
                <a:gd name="connsiteX1" fmla="*/ 3037 w 82619"/>
                <a:gd name="connsiteY1" fmla="*/ 18478 h 90783"/>
                <a:gd name="connsiteX2" fmla="*/ 63886 w 82619"/>
                <a:gd name="connsiteY2" fmla="*/ 83952 h 90783"/>
                <a:gd name="connsiteX3" fmla="*/ 66510 w 82619"/>
                <a:gd name="connsiteY3" fmla="*/ 86826 h 90783"/>
                <a:gd name="connsiteX4" fmla="*/ 68134 w 82619"/>
                <a:gd name="connsiteY4" fmla="*/ 88575 h 90783"/>
                <a:gd name="connsiteX5" fmla="*/ 69259 w 82619"/>
                <a:gd name="connsiteY5" fmla="*/ 89325 h 90783"/>
                <a:gd name="connsiteX6" fmla="*/ 71133 w 82619"/>
                <a:gd name="connsiteY6" fmla="*/ 90699 h 90783"/>
                <a:gd name="connsiteX7" fmla="*/ 71882 w 82619"/>
                <a:gd name="connsiteY7" fmla="*/ 90699 h 90783"/>
                <a:gd name="connsiteX8" fmla="*/ 72882 w 82619"/>
                <a:gd name="connsiteY8" fmla="*/ 90699 h 90783"/>
                <a:gd name="connsiteX9" fmla="*/ 74506 w 82619"/>
                <a:gd name="connsiteY9" fmla="*/ 90699 h 90783"/>
                <a:gd name="connsiteX10" fmla="*/ 74506 w 82619"/>
                <a:gd name="connsiteY10" fmla="*/ 90699 h 90783"/>
                <a:gd name="connsiteX11" fmla="*/ 76256 w 82619"/>
                <a:gd name="connsiteY11" fmla="*/ 90699 h 90783"/>
                <a:gd name="connsiteX12" fmla="*/ 77505 w 82619"/>
                <a:gd name="connsiteY12" fmla="*/ 90699 h 90783"/>
                <a:gd name="connsiteX13" fmla="*/ 77505 w 82619"/>
                <a:gd name="connsiteY13" fmla="*/ 90699 h 90783"/>
                <a:gd name="connsiteX14" fmla="*/ 80379 w 82619"/>
                <a:gd name="connsiteY14" fmla="*/ 88075 h 90783"/>
                <a:gd name="connsiteX15" fmla="*/ 79629 w 82619"/>
                <a:gd name="connsiteY15" fmla="*/ 72831 h 90783"/>
                <a:gd name="connsiteX16" fmla="*/ 75256 w 82619"/>
                <a:gd name="connsiteY16" fmla="*/ 68083 h 90783"/>
                <a:gd name="connsiteX17" fmla="*/ 14532 w 82619"/>
                <a:gd name="connsiteY17" fmla="*/ 2609 h 90783"/>
                <a:gd name="connsiteX18" fmla="*/ 3237 w 82619"/>
                <a:gd name="connsiteY18" fmla="*/ 2084 h 90783"/>
                <a:gd name="connsiteX19" fmla="*/ 2287 w 82619"/>
                <a:gd name="connsiteY19" fmla="*/ 3109 h 9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19" h="90783">
                  <a:moveTo>
                    <a:pt x="2287" y="3109"/>
                  </a:moveTo>
                  <a:cubicBezTo>
                    <a:pt x="-1024" y="7795"/>
                    <a:pt x="-711" y="14130"/>
                    <a:pt x="3037" y="18478"/>
                  </a:cubicBezTo>
                  <a:lnTo>
                    <a:pt x="63886" y="83952"/>
                  </a:lnTo>
                  <a:lnTo>
                    <a:pt x="66510" y="86826"/>
                  </a:lnTo>
                  <a:lnTo>
                    <a:pt x="68134" y="88575"/>
                  </a:lnTo>
                  <a:cubicBezTo>
                    <a:pt x="68484" y="88862"/>
                    <a:pt x="68859" y="89125"/>
                    <a:pt x="69259" y="89325"/>
                  </a:cubicBezTo>
                  <a:cubicBezTo>
                    <a:pt x="69833" y="89849"/>
                    <a:pt x="70458" y="90312"/>
                    <a:pt x="71133" y="90699"/>
                  </a:cubicBezTo>
                  <a:lnTo>
                    <a:pt x="71882" y="90699"/>
                  </a:lnTo>
                  <a:lnTo>
                    <a:pt x="72882" y="90699"/>
                  </a:lnTo>
                  <a:lnTo>
                    <a:pt x="74506" y="90699"/>
                  </a:lnTo>
                  <a:lnTo>
                    <a:pt x="74506" y="90699"/>
                  </a:lnTo>
                  <a:cubicBezTo>
                    <a:pt x="75081" y="90812"/>
                    <a:pt x="75681" y="90812"/>
                    <a:pt x="76256" y="90699"/>
                  </a:cubicBezTo>
                  <a:cubicBezTo>
                    <a:pt x="76668" y="90749"/>
                    <a:pt x="77092" y="90749"/>
                    <a:pt x="77505" y="90699"/>
                  </a:cubicBezTo>
                  <a:lnTo>
                    <a:pt x="77505" y="90699"/>
                  </a:lnTo>
                  <a:cubicBezTo>
                    <a:pt x="78604" y="89999"/>
                    <a:pt x="79579" y="89112"/>
                    <a:pt x="80379" y="88075"/>
                  </a:cubicBezTo>
                  <a:cubicBezTo>
                    <a:pt x="83627" y="83414"/>
                    <a:pt x="83315" y="77155"/>
                    <a:pt x="79629" y="72831"/>
                  </a:cubicBezTo>
                  <a:lnTo>
                    <a:pt x="75256" y="68083"/>
                  </a:lnTo>
                  <a:lnTo>
                    <a:pt x="14532" y="2609"/>
                  </a:lnTo>
                  <a:cubicBezTo>
                    <a:pt x="11558" y="-652"/>
                    <a:pt x="6498" y="-889"/>
                    <a:pt x="3237" y="2084"/>
                  </a:cubicBezTo>
                  <a:cubicBezTo>
                    <a:pt x="2887" y="2397"/>
                    <a:pt x="2575" y="2734"/>
                    <a:pt x="2287" y="3109"/>
                  </a:cubicBezTo>
                  <a:close/>
                </a:path>
              </a:pathLst>
            </a:custGeom>
            <a:solidFill>
              <a:srgbClr val="000000"/>
            </a:solidFill>
            <a:ln w="12483" cap="flat">
              <a:noFill/>
              <a:prstDash val="solid"/>
              <a:miter/>
            </a:ln>
          </p:spPr>
          <p:txBody>
            <a:bodyPr rtlCol="0" anchor="ctr"/>
            <a:lstStyle/>
            <a:p>
              <a:endParaRPr lang="en-US"/>
            </a:p>
          </p:txBody>
        </p:sp>
        <p:sp>
          <p:nvSpPr>
            <p:cNvPr id="1811" name="Freeform: Shape 1810">
              <a:extLst>
                <a:ext uri="{FF2B5EF4-FFF2-40B4-BE49-F238E27FC236}">
                  <a16:creationId xmlns:a16="http://schemas.microsoft.com/office/drawing/2014/main" id="{3A82B011-B347-4997-A0BA-28460539D729}"/>
                </a:ext>
              </a:extLst>
            </p:cNvPr>
            <p:cNvSpPr/>
            <p:nvPr/>
          </p:nvSpPr>
          <p:spPr>
            <a:xfrm>
              <a:off x="12134184" y="3544843"/>
              <a:ext cx="24592" cy="82724"/>
            </a:xfrm>
            <a:custGeom>
              <a:avLst/>
              <a:gdLst>
                <a:gd name="connsiteX0" fmla="*/ 14722 w 24592"/>
                <a:gd name="connsiteY0" fmla="*/ 11870 h 82724"/>
                <a:gd name="connsiteX1" fmla="*/ 6850 w 24592"/>
                <a:gd name="connsiteY1" fmla="*/ 0 h 82724"/>
                <a:gd name="connsiteX2" fmla="*/ 4975 w 24592"/>
                <a:gd name="connsiteY2" fmla="*/ 19117 h 82724"/>
                <a:gd name="connsiteX3" fmla="*/ 227 w 24592"/>
                <a:gd name="connsiteY3" fmla="*/ 70222 h 82724"/>
                <a:gd name="connsiteX4" fmla="*/ 8099 w 24592"/>
                <a:gd name="connsiteY4" fmla="*/ 82717 h 82724"/>
                <a:gd name="connsiteX5" fmla="*/ 18082 w 24592"/>
                <a:gd name="connsiteY5" fmla="*/ 73483 h 82724"/>
                <a:gd name="connsiteX6" fmla="*/ 18095 w 24592"/>
                <a:gd name="connsiteY6" fmla="*/ 73096 h 82724"/>
                <a:gd name="connsiteX7" fmla="*/ 24592 w 24592"/>
                <a:gd name="connsiteY7" fmla="*/ 2874 h 82724"/>
                <a:gd name="connsiteX8" fmla="*/ 14871 w 24592"/>
                <a:gd name="connsiteY8" fmla="*/ 11883 h 82724"/>
                <a:gd name="connsiteX9" fmla="*/ 14722 w 24592"/>
                <a:gd name="connsiteY9" fmla="*/ 11870 h 8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2" h="82724">
                  <a:moveTo>
                    <a:pt x="14722" y="11870"/>
                  </a:moveTo>
                  <a:cubicBezTo>
                    <a:pt x="9324" y="10683"/>
                    <a:pt x="5850" y="5435"/>
                    <a:pt x="6850" y="0"/>
                  </a:cubicBezTo>
                  <a:lnTo>
                    <a:pt x="4975" y="19117"/>
                  </a:lnTo>
                  <a:lnTo>
                    <a:pt x="227" y="70222"/>
                  </a:lnTo>
                  <a:cubicBezTo>
                    <a:pt x="-947" y="75832"/>
                    <a:pt x="2539" y="81355"/>
                    <a:pt x="8099" y="82717"/>
                  </a:cubicBezTo>
                  <a:cubicBezTo>
                    <a:pt x="13409" y="82929"/>
                    <a:pt x="17883" y="78794"/>
                    <a:pt x="18082" y="73483"/>
                  </a:cubicBezTo>
                  <a:cubicBezTo>
                    <a:pt x="18095" y="73346"/>
                    <a:pt x="18095" y="73221"/>
                    <a:pt x="18095" y="73096"/>
                  </a:cubicBezTo>
                  <a:lnTo>
                    <a:pt x="24592" y="2874"/>
                  </a:lnTo>
                  <a:cubicBezTo>
                    <a:pt x="24392" y="8047"/>
                    <a:pt x="20044" y="12070"/>
                    <a:pt x="14871" y="11883"/>
                  </a:cubicBezTo>
                  <a:cubicBezTo>
                    <a:pt x="14822" y="11870"/>
                    <a:pt x="14771" y="11870"/>
                    <a:pt x="14722" y="11870"/>
                  </a:cubicBezTo>
                  <a:close/>
                </a:path>
              </a:pathLst>
            </a:custGeom>
            <a:solidFill>
              <a:srgbClr val="000000"/>
            </a:solidFill>
            <a:ln w="12483" cap="flat">
              <a:noFill/>
              <a:prstDash val="solid"/>
              <a:miter/>
            </a:ln>
          </p:spPr>
          <p:txBody>
            <a:bodyPr rtlCol="0" anchor="ctr"/>
            <a:lstStyle/>
            <a:p>
              <a:endParaRPr lang="en-US"/>
            </a:p>
          </p:txBody>
        </p:sp>
        <p:sp>
          <p:nvSpPr>
            <p:cNvPr id="1812" name="Freeform: Shape 1811">
              <a:extLst>
                <a:ext uri="{FF2B5EF4-FFF2-40B4-BE49-F238E27FC236}">
                  <a16:creationId xmlns:a16="http://schemas.microsoft.com/office/drawing/2014/main" id="{4B5443C5-0E9F-40B7-A3D5-0EC6285A1DA2}"/>
                </a:ext>
              </a:extLst>
            </p:cNvPr>
            <p:cNvSpPr/>
            <p:nvPr/>
          </p:nvSpPr>
          <p:spPr>
            <a:xfrm>
              <a:off x="12018962" y="1199778"/>
              <a:ext cx="186044" cy="111080"/>
            </a:xfrm>
            <a:custGeom>
              <a:avLst/>
              <a:gdLst>
                <a:gd name="connsiteX0" fmla="*/ 11620 w 186044"/>
                <a:gd name="connsiteY0" fmla="*/ 96961 h 111080"/>
                <a:gd name="connsiteX1" fmla="*/ 6748 w 186044"/>
                <a:gd name="connsiteY1" fmla="*/ 111081 h 111080"/>
                <a:gd name="connsiteX2" fmla="*/ 186045 w 186044"/>
                <a:gd name="connsiteY2" fmla="*/ 23616 h 111080"/>
                <a:gd name="connsiteX3" fmla="*/ 186045 w 186044"/>
                <a:gd name="connsiteY3" fmla="*/ 0 h 111080"/>
                <a:gd name="connsiteX4" fmla="*/ 0 w 186044"/>
                <a:gd name="connsiteY4" fmla="*/ 90964 h 111080"/>
                <a:gd name="connsiteX5" fmla="*/ 11146 w 186044"/>
                <a:gd name="connsiteY5" fmla="*/ 95463 h 111080"/>
                <a:gd name="connsiteX6" fmla="*/ 11620 w 186044"/>
                <a:gd name="connsiteY6" fmla="*/ 96961 h 11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044" h="111080">
                  <a:moveTo>
                    <a:pt x="11620" y="96961"/>
                  </a:moveTo>
                  <a:cubicBezTo>
                    <a:pt x="13582" y="102228"/>
                    <a:pt x="11545" y="108147"/>
                    <a:pt x="6748" y="111081"/>
                  </a:cubicBezTo>
                  <a:lnTo>
                    <a:pt x="186045" y="23616"/>
                  </a:lnTo>
                  <a:lnTo>
                    <a:pt x="186045" y="0"/>
                  </a:lnTo>
                  <a:lnTo>
                    <a:pt x="0" y="90964"/>
                  </a:lnTo>
                  <a:cubicBezTo>
                    <a:pt x="4323" y="89129"/>
                    <a:pt x="9308" y="91144"/>
                    <a:pt x="11146" y="95463"/>
                  </a:cubicBezTo>
                  <a:cubicBezTo>
                    <a:pt x="11345" y="95947"/>
                    <a:pt x="11508" y="96448"/>
                    <a:pt x="11620" y="96961"/>
                  </a:cubicBezTo>
                  <a:close/>
                </a:path>
              </a:pathLst>
            </a:custGeom>
            <a:solidFill>
              <a:srgbClr val="000000"/>
            </a:solidFill>
            <a:ln w="12483" cap="flat">
              <a:noFill/>
              <a:prstDash val="solid"/>
              <a:miter/>
            </a:ln>
          </p:spPr>
          <p:txBody>
            <a:bodyPr rtlCol="0" anchor="ctr"/>
            <a:lstStyle/>
            <a:p>
              <a:endParaRPr lang="en-US"/>
            </a:p>
          </p:txBody>
        </p:sp>
        <p:sp>
          <p:nvSpPr>
            <p:cNvPr id="1813" name="Freeform: Shape 1812">
              <a:extLst>
                <a:ext uri="{FF2B5EF4-FFF2-40B4-BE49-F238E27FC236}">
                  <a16:creationId xmlns:a16="http://schemas.microsoft.com/office/drawing/2014/main" id="{8CCD2EB5-44C8-4F1D-90C8-9B59910226B7}"/>
                </a:ext>
              </a:extLst>
            </p:cNvPr>
            <p:cNvSpPr/>
            <p:nvPr/>
          </p:nvSpPr>
          <p:spPr>
            <a:xfrm>
              <a:off x="11984421" y="1290564"/>
              <a:ext cx="46902" cy="35467"/>
            </a:xfrm>
            <a:custGeom>
              <a:avLst/>
              <a:gdLst>
                <a:gd name="connsiteX0" fmla="*/ 19547 w 46902"/>
                <a:gd name="connsiteY0" fmla="*/ 7426 h 35467"/>
                <a:gd name="connsiteX1" fmla="*/ 5803 w 46902"/>
                <a:gd name="connsiteY1" fmla="*/ 14173 h 35467"/>
                <a:gd name="connsiteX2" fmla="*/ 930 w 46902"/>
                <a:gd name="connsiteY2" fmla="*/ 28792 h 35467"/>
                <a:gd name="connsiteX3" fmla="*/ 11051 w 46902"/>
                <a:gd name="connsiteY3" fmla="*/ 35268 h 35467"/>
                <a:gd name="connsiteX4" fmla="*/ 12550 w 46902"/>
                <a:gd name="connsiteY4" fmla="*/ 34790 h 35467"/>
                <a:gd name="connsiteX5" fmla="*/ 41288 w 46902"/>
                <a:gd name="connsiteY5" fmla="*/ 20795 h 35467"/>
                <a:gd name="connsiteX6" fmla="*/ 46161 w 46902"/>
                <a:gd name="connsiteY6" fmla="*/ 6676 h 35467"/>
                <a:gd name="connsiteX7" fmla="*/ 36040 w 46902"/>
                <a:gd name="connsiteY7" fmla="*/ 200 h 35467"/>
                <a:gd name="connsiteX8" fmla="*/ 34541 w 46902"/>
                <a:gd name="connsiteY8" fmla="*/ 678 h 35467"/>
                <a:gd name="connsiteX9" fmla="*/ 31417 w 46902"/>
                <a:gd name="connsiteY9" fmla="*/ 2178 h 35467"/>
                <a:gd name="connsiteX10" fmla="*/ 28419 w 46902"/>
                <a:gd name="connsiteY10" fmla="*/ 3802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02" h="35467">
                  <a:moveTo>
                    <a:pt x="19547" y="7426"/>
                  </a:moveTo>
                  <a:lnTo>
                    <a:pt x="5803" y="14173"/>
                  </a:lnTo>
                  <a:cubicBezTo>
                    <a:pt x="718" y="17113"/>
                    <a:pt x="-1368" y="23388"/>
                    <a:pt x="930" y="28792"/>
                  </a:cubicBezTo>
                  <a:cubicBezTo>
                    <a:pt x="1942" y="33375"/>
                    <a:pt x="6465" y="36275"/>
                    <a:pt x="11051" y="35268"/>
                  </a:cubicBezTo>
                  <a:cubicBezTo>
                    <a:pt x="11563" y="35156"/>
                    <a:pt x="12063" y="34995"/>
                    <a:pt x="12550" y="34790"/>
                  </a:cubicBezTo>
                  <a:lnTo>
                    <a:pt x="41288" y="20795"/>
                  </a:lnTo>
                  <a:cubicBezTo>
                    <a:pt x="46086" y="17861"/>
                    <a:pt x="48123" y="11942"/>
                    <a:pt x="46161" y="6676"/>
                  </a:cubicBezTo>
                  <a:cubicBezTo>
                    <a:pt x="45149" y="2093"/>
                    <a:pt x="40626" y="-807"/>
                    <a:pt x="36040" y="200"/>
                  </a:cubicBezTo>
                  <a:cubicBezTo>
                    <a:pt x="35528" y="312"/>
                    <a:pt x="35028" y="473"/>
                    <a:pt x="34541" y="678"/>
                  </a:cubicBezTo>
                  <a:lnTo>
                    <a:pt x="31417" y="2178"/>
                  </a:lnTo>
                  <a:lnTo>
                    <a:pt x="28419" y="3802"/>
                  </a:lnTo>
                  <a:close/>
                </a:path>
              </a:pathLst>
            </a:custGeom>
            <a:solidFill>
              <a:srgbClr val="000000"/>
            </a:solidFill>
            <a:ln w="12483" cap="flat">
              <a:noFill/>
              <a:prstDash val="solid"/>
              <a:miter/>
            </a:ln>
          </p:spPr>
          <p:txBody>
            <a:bodyPr rtlCol="0" anchor="ctr"/>
            <a:lstStyle/>
            <a:p>
              <a:endParaRPr lang="en-US"/>
            </a:p>
          </p:txBody>
        </p:sp>
        <p:sp>
          <p:nvSpPr>
            <p:cNvPr id="1814" name="Freeform: Shape 1813">
              <a:extLst>
                <a:ext uri="{FF2B5EF4-FFF2-40B4-BE49-F238E27FC236}">
                  <a16:creationId xmlns:a16="http://schemas.microsoft.com/office/drawing/2014/main" id="{20CF4A01-3C9C-4BC3-9BCD-07F740B3F5B0}"/>
                </a:ext>
              </a:extLst>
            </p:cNvPr>
            <p:cNvSpPr/>
            <p:nvPr/>
          </p:nvSpPr>
          <p:spPr>
            <a:xfrm>
              <a:off x="11024889" y="2235740"/>
              <a:ext cx="19377" cy="47434"/>
            </a:xfrm>
            <a:custGeom>
              <a:avLst/>
              <a:gdLst>
                <a:gd name="connsiteX0" fmla="*/ 9998 w 19377"/>
                <a:gd name="connsiteY0" fmla="*/ 47356 h 47434"/>
                <a:gd name="connsiteX1" fmla="*/ 19369 w 19377"/>
                <a:gd name="connsiteY1" fmla="*/ 36985 h 47434"/>
                <a:gd name="connsiteX2" fmla="*/ 19369 w 19377"/>
                <a:gd name="connsiteY2" fmla="*/ 36985 h 47434"/>
                <a:gd name="connsiteX3" fmla="*/ 19369 w 19377"/>
                <a:gd name="connsiteY3" fmla="*/ 20367 h 47434"/>
                <a:gd name="connsiteX4" fmla="*/ 19369 w 19377"/>
                <a:gd name="connsiteY4" fmla="*/ 7872 h 47434"/>
                <a:gd name="connsiteX5" fmla="*/ 19369 w 19377"/>
                <a:gd name="connsiteY5" fmla="*/ 1000 h 47434"/>
                <a:gd name="connsiteX6" fmla="*/ 9998 w 19377"/>
                <a:gd name="connsiteY6" fmla="*/ 11371 h 47434"/>
                <a:gd name="connsiteX7" fmla="*/ 1377 w 19377"/>
                <a:gd name="connsiteY7" fmla="*/ 0 h 47434"/>
                <a:gd name="connsiteX8" fmla="*/ 2 w 19377"/>
                <a:gd name="connsiteY8" fmla="*/ 36611 h 47434"/>
                <a:gd name="connsiteX9" fmla="*/ 3126 w 19377"/>
                <a:gd name="connsiteY9" fmla="*/ 45107 h 47434"/>
                <a:gd name="connsiteX10" fmla="*/ 9998 w 19377"/>
                <a:gd name="connsiteY10" fmla="*/ 47356 h 4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77" h="47434">
                  <a:moveTo>
                    <a:pt x="9998" y="47356"/>
                  </a:moveTo>
                  <a:cubicBezTo>
                    <a:pt x="15421" y="47019"/>
                    <a:pt x="19582" y="42421"/>
                    <a:pt x="19369" y="36985"/>
                  </a:cubicBezTo>
                  <a:lnTo>
                    <a:pt x="19369" y="36985"/>
                  </a:lnTo>
                  <a:lnTo>
                    <a:pt x="19369" y="20367"/>
                  </a:lnTo>
                  <a:lnTo>
                    <a:pt x="19369" y="7872"/>
                  </a:lnTo>
                  <a:lnTo>
                    <a:pt x="19369" y="1000"/>
                  </a:lnTo>
                  <a:cubicBezTo>
                    <a:pt x="19582" y="6435"/>
                    <a:pt x="15421" y="11033"/>
                    <a:pt x="9998" y="11371"/>
                  </a:cubicBezTo>
                  <a:cubicBezTo>
                    <a:pt x="4526" y="10533"/>
                    <a:pt x="702" y="5498"/>
                    <a:pt x="1377" y="0"/>
                  </a:cubicBezTo>
                  <a:lnTo>
                    <a:pt x="2" y="36611"/>
                  </a:lnTo>
                  <a:cubicBezTo>
                    <a:pt x="-60" y="39734"/>
                    <a:pt x="1065" y="42770"/>
                    <a:pt x="3126" y="45107"/>
                  </a:cubicBezTo>
                  <a:cubicBezTo>
                    <a:pt x="4950" y="46869"/>
                    <a:pt x="7487" y="47706"/>
                    <a:pt x="9998" y="47356"/>
                  </a:cubicBezTo>
                  <a:close/>
                </a:path>
              </a:pathLst>
            </a:custGeom>
            <a:solidFill>
              <a:srgbClr val="000000"/>
            </a:solidFill>
            <a:ln w="12483" cap="flat">
              <a:noFill/>
              <a:prstDash val="solid"/>
              <a:miter/>
            </a:ln>
          </p:spPr>
          <p:txBody>
            <a:bodyPr rtlCol="0" anchor="ctr"/>
            <a:lstStyle/>
            <a:p>
              <a:endParaRPr lang="en-US"/>
            </a:p>
          </p:txBody>
        </p:sp>
        <p:sp>
          <p:nvSpPr>
            <p:cNvPr id="1815" name="Freeform: Shape 1814">
              <a:extLst>
                <a:ext uri="{FF2B5EF4-FFF2-40B4-BE49-F238E27FC236}">
                  <a16:creationId xmlns:a16="http://schemas.microsoft.com/office/drawing/2014/main" id="{0DCC85C2-02EF-409E-8F1A-A3371EDC3B49}"/>
                </a:ext>
              </a:extLst>
            </p:cNvPr>
            <p:cNvSpPr/>
            <p:nvPr/>
          </p:nvSpPr>
          <p:spPr>
            <a:xfrm>
              <a:off x="11027813" y="2178755"/>
              <a:ext cx="19855" cy="67730"/>
            </a:xfrm>
            <a:custGeom>
              <a:avLst/>
              <a:gdLst>
                <a:gd name="connsiteX0" fmla="*/ 1576 w 19855"/>
                <a:gd name="connsiteY0" fmla="*/ 9754 h 67730"/>
                <a:gd name="connsiteX1" fmla="*/ 1576 w 19855"/>
                <a:gd name="connsiteY1" fmla="*/ 16876 h 67730"/>
                <a:gd name="connsiteX2" fmla="*/ 77 w 19855"/>
                <a:gd name="connsiteY2" fmla="*/ 56360 h 67730"/>
                <a:gd name="connsiteX3" fmla="*/ 8698 w 19855"/>
                <a:gd name="connsiteY3" fmla="*/ 67730 h 67730"/>
                <a:gd name="connsiteX4" fmla="*/ 18069 w 19855"/>
                <a:gd name="connsiteY4" fmla="*/ 57360 h 67730"/>
                <a:gd name="connsiteX5" fmla="*/ 18694 w 19855"/>
                <a:gd name="connsiteY5" fmla="*/ 40366 h 67730"/>
                <a:gd name="connsiteX6" fmla="*/ 19818 w 19855"/>
                <a:gd name="connsiteY6" fmla="*/ 10753 h 67730"/>
                <a:gd name="connsiteX7" fmla="*/ 19818 w 19855"/>
                <a:gd name="connsiteY7" fmla="*/ 10753 h 67730"/>
                <a:gd name="connsiteX8" fmla="*/ 19818 w 19855"/>
                <a:gd name="connsiteY8" fmla="*/ 8379 h 67730"/>
                <a:gd name="connsiteX9" fmla="*/ 19818 w 19855"/>
                <a:gd name="connsiteY9" fmla="*/ 6630 h 67730"/>
                <a:gd name="connsiteX10" fmla="*/ 18944 w 19855"/>
                <a:gd name="connsiteY10" fmla="*/ 4881 h 67730"/>
                <a:gd name="connsiteX11" fmla="*/ 17819 w 19855"/>
                <a:gd name="connsiteY11" fmla="*/ 3131 h 67730"/>
                <a:gd name="connsiteX12" fmla="*/ 11947 w 19855"/>
                <a:gd name="connsiteY12" fmla="*/ 8 h 67730"/>
                <a:gd name="connsiteX13" fmla="*/ 1576 w 19855"/>
                <a:gd name="connsiteY13" fmla="*/ 9616 h 67730"/>
                <a:gd name="connsiteX14" fmla="*/ 1576 w 19855"/>
                <a:gd name="connsiteY14" fmla="*/ 9754 h 6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55" h="67730">
                  <a:moveTo>
                    <a:pt x="1576" y="9754"/>
                  </a:moveTo>
                  <a:lnTo>
                    <a:pt x="1576" y="16876"/>
                  </a:lnTo>
                  <a:lnTo>
                    <a:pt x="77" y="56360"/>
                  </a:lnTo>
                  <a:cubicBezTo>
                    <a:pt x="-598" y="61858"/>
                    <a:pt x="3226" y="66893"/>
                    <a:pt x="8698" y="67730"/>
                  </a:cubicBezTo>
                  <a:cubicBezTo>
                    <a:pt x="14121" y="67393"/>
                    <a:pt x="18282" y="62795"/>
                    <a:pt x="18069" y="57360"/>
                  </a:cubicBezTo>
                  <a:lnTo>
                    <a:pt x="18694" y="40366"/>
                  </a:lnTo>
                  <a:lnTo>
                    <a:pt x="19818" y="10753"/>
                  </a:lnTo>
                  <a:cubicBezTo>
                    <a:pt x="19818" y="10753"/>
                    <a:pt x="19818" y="10753"/>
                    <a:pt x="19818" y="10753"/>
                  </a:cubicBezTo>
                  <a:cubicBezTo>
                    <a:pt x="19868" y="9966"/>
                    <a:pt x="19868" y="9166"/>
                    <a:pt x="19818" y="8379"/>
                  </a:cubicBezTo>
                  <a:lnTo>
                    <a:pt x="19818" y="6630"/>
                  </a:lnTo>
                  <a:cubicBezTo>
                    <a:pt x="19818" y="6630"/>
                    <a:pt x="19194" y="5505"/>
                    <a:pt x="18944" y="4881"/>
                  </a:cubicBezTo>
                  <a:lnTo>
                    <a:pt x="17819" y="3131"/>
                  </a:lnTo>
                  <a:cubicBezTo>
                    <a:pt x="16357" y="1344"/>
                    <a:pt x="14246" y="220"/>
                    <a:pt x="11947" y="8"/>
                  </a:cubicBezTo>
                  <a:cubicBezTo>
                    <a:pt x="6424" y="-205"/>
                    <a:pt x="1789" y="4106"/>
                    <a:pt x="1576" y="9616"/>
                  </a:cubicBezTo>
                  <a:cubicBezTo>
                    <a:pt x="1576" y="9666"/>
                    <a:pt x="1576" y="9704"/>
                    <a:pt x="1576" y="9754"/>
                  </a:cubicBezTo>
                  <a:close/>
                </a:path>
              </a:pathLst>
            </a:custGeom>
            <a:solidFill>
              <a:srgbClr val="000000"/>
            </a:solidFill>
            <a:ln w="12483" cap="flat">
              <a:noFill/>
              <a:prstDash val="solid"/>
              <a:miter/>
            </a:ln>
          </p:spPr>
          <p:txBody>
            <a:bodyPr rtlCol="0" anchor="ctr"/>
            <a:lstStyle/>
            <a:p>
              <a:endParaRPr lang="en-US"/>
            </a:p>
          </p:txBody>
        </p:sp>
        <p:sp>
          <p:nvSpPr>
            <p:cNvPr id="1816" name="Freeform: Shape 1815">
              <a:extLst>
                <a:ext uri="{FF2B5EF4-FFF2-40B4-BE49-F238E27FC236}">
                  <a16:creationId xmlns:a16="http://schemas.microsoft.com/office/drawing/2014/main" id="{CC379879-1B0F-4ABD-ACA3-8FF7B7BC8810}"/>
                </a:ext>
              </a:extLst>
            </p:cNvPr>
            <p:cNvSpPr/>
            <p:nvPr/>
          </p:nvSpPr>
          <p:spPr>
            <a:xfrm>
              <a:off x="8709840" y="3751636"/>
              <a:ext cx="328659" cy="184053"/>
            </a:xfrm>
            <a:custGeom>
              <a:avLst/>
              <a:gdLst>
                <a:gd name="connsiteX0" fmla="*/ 316790 w 328659"/>
                <a:gd name="connsiteY0" fmla="*/ 14244 h 184053"/>
                <a:gd name="connsiteX1" fmla="*/ 321538 w 328659"/>
                <a:gd name="connsiteY1" fmla="*/ 0 h 184053"/>
                <a:gd name="connsiteX2" fmla="*/ 315665 w 328659"/>
                <a:gd name="connsiteY2" fmla="*/ 3124 h 184053"/>
                <a:gd name="connsiteX3" fmla="*/ 5549 w 328659"/>
                <a:gd name="connsiteY3" fmla="*/ 163310 h 184053"/>
                <a:gd name="connsiteX4" fmla="*/ 801 w 328659"/>
                <a:gd name="connsiteY4" fmla="*/ 177554 h 184053"/>
                <a:gd name="connsiteX5" fmla="*/ 11060 w 328659"/>
                <a:gd name="connsiteY5" fmla="*/ 183814 h 184053"/>
                <a:gd name="connsiteX6" fmla="*/ 12546 w 328659"/>
                <a:gd name="connsiteY6" fmla="*/ 183302 h 184053"/>
                <a:gd name="connsiteX7" fmla="*/ 328660 w 328659"/>
                <a:gd name="connsiteY7" fmla="*/ 19992 h 184053"/>
                <a:gd name="connsiteX8" fmla="*/ 317277 w 328659"/>
                <a:gd name="connsiteY8" fmla="*/ 15631 h 184053"/>
                <a:gd name="connsiteX9" fmla="*/ 316790 w 328659"/>
                <a:gd name="connsiteY9" fmla="*/ 14244 h 18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59" h="184053">
                  <a:moveTo>
                    <a:pt x="316790" y="14244"/>
                  </a:moveTo>
                  <a:cubicBezTo>
                    <a:pt x="315028" y="8971"/>
                    <a:pt x="316965" y="3161"/>
                    <a:pt x="321538" y="0"/>
                  </a:cubicBezTo>
                  <a:lnTo>
                    <a:pt x="315665" y="3124"/>
                  </a:lnTo>
                  <a:lnTo>
                    <a:pt x="5549" y="163310"/>
                  </a:lnTo>
                  <a:cubicBezTo>
                    <a:pt x="739" y="166296"/>
                    <a:pt x="-1248" y="172281"/>
                    <a:pt x="801" y="177554"/>
                  </a:cubicBezTo>
                  <a:cubicBezTo>
                    <a:pt x="1901" y="182115"/>
                    <a:pt x="6499" y="184914"/>
                    <a:pt x="11060" y="183814"/>
                  </a:cubicBezTo>
                  <a:cubicBezTo>
                    <a:pt x="11572" y="183689"/>
                    <a:pt x="12072" y="183514"/>
                    <a:pt x="12546" y="183302"/>
                  </a:cubicBezTo>
                  <a:lnTo>
                    <a:pt x="328660" y="19992"/>
                  </a:lnTo>
                  <a:cubicBezTo>
                    <a:pt x="324312" y="21929"/>
                    <a:pt x="319214" y="19980"/>
                    <a:pt x="317277" y="15631"/>
                  </a:cubicBezTo>
                  <a:cubicBezTo>
                    <a:pt x="317077" y="15181"/>
                    <a:pt x="316915" y="14719"/>
                    <a:pt x="316790" y="14244"/>
                  </a:cubicBezTo>
                  <a:close/>
                </a:path>
              </a:pathLst>
            </a:custGeom>
            <a:solidFill>
              <a:srgbClr val="000000"/>
            </a:solidFill>
            <a:ln w="12483" cap="flat">
              <a:noFill/>
              <a:prstDash val="solid"/>
              <a:miter/>
            </a:ln>
          </p:spPr>
          <p:txBody>
            <a:bodyPr rtlCol="0" anchor="ctr"/>
            <a:lstStyle/>
            <a:p>
              <a:endParaRPr lang="en-US"/>
            </a:p>
          </p:txBody>
        </p:sp>
        <p:sp>
          <p:nvSpPr>
            <p:cNvPr id="1817" name="Freeform: Shape 1816">
              <a:extLst>
                <a:ext uri="{FF2B5EF4-FFF2-40B4-BE49-F238E27FC236}">
                  <a16:creationId xmlns:a16="http://schemas.microsoft.com/office/drawing/2014/main" id="{EC673984-934B-451C-90E5-EFD3BDA2F9F3}"/>
                </a:ext>
              </a:extLst>
            </p:cNvPr>
            <p:cNvSpPr/>
            <p:nvPr/>
          </p:nvSpPr>
          <p:spPr>
            <a:xfrm>
              <a:off x="9026110" y="3729520"/>
              <a:ext cx="60832" cy="42863"/>
            </a:xfrm>
            <a:custGeom>
              <a:avLst/>
              <a:gdLst>
                <a:gd name="connsiteX0" fmla="*/ 59869 w 60832"/>
                <a:gd name="connsiteY0" fmla="*/ 5623 h 42863"/>
                <a:gd name="connsiteX1" fmla="*/ 57995 w 60832"/>
                <a:gd name="connsiteY1" fmla="*/ 2374 h 42863"/>
                <a:gd name="connsiteX2" fmla="*/ 56496 w 60832"/>
                <a:gd name="connsiteY2" fmla="*/ 999 h 42863"/>
                <a:gd name="connsiteX3" fmla="*/ 55121 w 60832"/>
                <a:gd name="connsiteY3" fmla="*/ 0 h 42863"/>
                <a:gd name="connsiteX4" fmla="*/ 53497 w 60832"/>
                <a:gd name="connsiteY4" fmla="*/ 0 h 42863"/>
                <a:gd name="connsiteX5" fmla="*/ 51872 w 60832"/>
                <a:gd name="connsiteY5" fmla="*/ 0 h 42863"/>
                <a:gd name="connsiteX6" fmla="*/ 50248 w 60832"/>
                <a:gd name="connsiteY6" fmla="*/ 0 h 42863"/>
                <a:gd name="connsiteX7" fmla="*/ 48374 w 60832"/>
                <a:gd name="connsiteY7" fmla="*/ 0 h 42863"/>
                <a:gd name="connsiteX8" fmla="*/ 48374 w 60832"/>
                <a:gd name="connsiteY8" fmla="*/ 0 h 42863"/>
                <a:gd name="connsiteX9" fmla="*/ 17013 w 60832"/>
                <a:gd name="connsiteY9" fmla="*/ 16118 h 42863"/>
                <a:gd name="connsiteX10" fmla="*/ 5393 w 60832"/>
                <a:gd name="connsiteY10" fmla="*/ 22116 h 42863"/>
                <a:gd name="connsiteX11" fmla="*/ 645 w 60832"/>
                <a:gd name="connsiteY11" fmla="*/ 36360 h 42863"/>
                <a:gd name="connsiteX12" fmla="*/ 11128 w 60832"/>
                <a:gd name="connsiteY12" fmla="*/ 42595 h 42863"/>
                <a:gd name="connsiteX13" fmla="*/ 12514 w 60832"/>
                <a:gd name="connsiteY13" fmla="*/ 42108 h 42863"/>
                <a:gd name="connsiteX14" fmla="*/ 49998 w 60832"/>
                <a:gd name="connsiteY14" fmla="*/ 22866 h 42863"/>
                <a:gd name="connsiteX15" fmla="*/ 55871 w 60832"/>
                <a:gd name="connsiteY15" fmla="*/ 19867 h 42863"/>
                <a:gd name="connsiteX16" fmla="*/ 59869 w 60832"/>
                <a:gd name="connsiteY16" fmla="*/ 5623 h 4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832" h="42863">
                  <a:moveTo>
                    <a:pt x="59869" y="5623"/>
                  </a:moveTo>
                  <a:cubicBezTo>
                    <a:pt x="59444" y="4435"/>
                    <a:pt x="58807" y="3336"/>
                    <a:pt x="57995" y="2374"/>
                  </a:cubicBezTo>
                  <a:cubicBezTo>
                    <a:pt x="57520" y="1886"/>
                    <a:pt x="57020" y="1424"/>
                    <a:pt x="56496" y="999"/>
                  </a:cubicBezTo>
                  <a:lnTo>
                    <a:pt x="55121" y="0"/>
                  </a:lnTo>
                  <a:lnTo>
                    <a:pt x="53497" y="0"/>
                  </a:lnTo>
                  <a:lnTo>
                    <a:pt x="51872" y="0"/>
                  </a:lnTo>
                  <a:lnTo>
                    <a:pt x="50248" y="0"/>
                  </a:lnTo>
                  <a:lnTo>
                    <a:pt x="48374" y="0"/>
                  </a:lnTo>
                  <a:lnTo>
                    <a:pt x="48374" y="0"/>
                  </a:lnTo>
                  <a:lnTo>
                    <a:pt x="17013" y="16118"/>
                  </a:lnTo>
                  <a:lnTo>
                    <a:pt x="5393" y="22116"/>
                  </a:lnTo>
                  <a:cubicBezTo>
                    <a:pt x="819" y="25277"/>
                    <a:pt x="-1117" y="31087"/>
                    <a:pt x="645" y="36360"/>
                  </a:cubicBezTo>
                  <a:cubicBezTo>
                    <a:pt x="1819" y="40971"/>
                    <a:pt x="6505" y="43770"/>
                    <a:pt x="11128" y="42595"/>
                  </a:cubicBezTo>
                  <a:cubicBezTo>
                    <a:pt x="11602" y="42470"/>
                    <a:pt x="12065" y="42308"/>
                    <a:pt x="12514" y="42108"/>
                  </a:cubicBezTo>
                  <a:lnTo>
                    <a:pt x="49998" y="22866"/>
                  </a:lnTo>
                  <a:lnTo>
                    <a:pt x="55871" y="19867"/>
                  </a:lnTo>
                  <a:cubicBezTo>
                    <a:pt x="60406" y="16656"/>
                    <a:pt x="62068" y="10720"/>
                    <a:pt x="59869" y="5623"/>
                  </a:cubicBezTo>
                  <a:close/>
                </a:path>
              </a:pathLst>
            </a:custGeom>
            <a:solidFill>
              <a:srgbClr val="000000"/>
            </a:solidFill>
            <a:ln w="12483" cap="flat">
              <a:noFill/>
              <a:prstDash val="solid"/>
              <a:miter/>
            </a:ln>
          </p:spPr>
          <p:txBody>
            <a:bodyPr rtlCol="0" anchor="ctr"/>
            <a:lstStyle/>
            <a:p>
              <a:endParaRPr lang="en-US"/>
            </a:p>
          </p:txBody>
        </p:sp>
        <p:sp>
          <p:nvSpPr>
            <p:cNvPr id="1818" name="Freeform: Shape 1817">
              <a:extLst>
                <a:ext uri="{FF2B5EF4-FFF2-40B4-BE49-F238E27FC236}">
                  <a16:creationId xmlns:a16="http://schemas.microsoft.com/office/drawing/2014/main" id="{9CE74309-E58E-433B-BC4F-8E9A9990B5BF}"/>
                </a:ext>
              </a:extLst>
            </p:cNvPr>
            <p:cNvSpPr/>
            <p:nvPr/>
          </p:nvSpPr>
          <p:spPr>
            <a:xfrm>
              <a:off x="7124617" y="2314266"/>
              <a:ext cx="70303" cy="383665"/>
            </a:xfrm>
            <a:custGeom>
              <a:avLst/>
              <a:gdLst>
                <a:gd name="connsiteX0" fmla="*/ 60058 w 70303"/>
                <a:gd name="connsiteY0" fmla="*/ 371295 h 383665"/>
                <a:gd name="connsiteX1" fmla="*/ 70254 w 70303"/>
                <a:gd name="connsiteY1" fmla="*/ 379479 h 383665"/>
                <a:gd name="connsiteX2" fmla="*/ 70304 w 70303"/>
                <a:gd name="connsiteY2" fmla="*/ 380166 h 383665"/>
                <a:gd name="connsiteX3" fmla="*/ 20326 w 70303"/>
                <a:gd name="connsiteY3" fmla="*/ 30306 h 383665"/>
                <a:gd name="connsiteX4" fmla="*/ 19326 w 70303"/>
                <a:gd name="connsiteY4" fmla="*/ 22934 h 383665"/>
                <a:gd name="connsiteX5" fmla="*/ 18576 w 70303"/>
                <a:gd name="connsiteY5" fmla="*/ 17686 h 383665"/>
                <a:gd name="connsiteX6" fmla="*/ 17327 w 70303"/>
                <a:gd name="connsiteY6" fmla="*/ 8939 h 383665"/>
                <a:gd name="connsiteX7" fmla="*/ 7781 w 70303"/>
                <a:gd name="connsiteY7" fmla="*/ 6 h 383665"/>
                <a:gd name="connsiteX8" fmla="*/ 6956 w 70303"/>
                <a:gd name="connsiteY8" fmla="*/ 68 h 383665"/>
                <a:gd name="connsiteX9" fmla="*/ 4458 w 70303"/>
                <a:gd name="connsiteY9" fmla="*/ 1193 h 383665"/>
                <a:gd name="connsiteX10" fmla="*/ 2958 w 70303"/>
                <a:gd name="connsiteY10" fmla="*/ 2317 h 383665"/>
                <a:gd name="connsiteX11" fmla="*/ 1709 w 70303"/>
                <a:gd name="connsiteY11" fmla="*/ 3692 h 383665"/>
                <a:gd name="connsiteX12" fmla="*/ 834 w 70303"/>
                <a:gd name="connsiteY12" fmla="*/ 5316 h 383665"/>
                <a:gd name="connsiteX13" fmla="*/ 84 w 70303"/>
                <a:gd name="connsiteY13" fmla="*/ 7315 h 383665"/>
                <a:gd name="connsiteX14" fmla="*/ 84 w 70303"/>
                <a:gd name="connsiteY14" fmla="*/ 9189 h 383665"/>
                <a:gd name="connsiteX15" fmla="*/ 84 w 70303"/>
                <a:gd name="connsiteY15" fmla="*/ 11438 h 383665"/>
                <a:gd name="connsiteX16" fmla="*/ 84 w 70303"/>
                <a:gd name="connsiteY16" fmla="*/ 12563 h 383665"/>
                <a:gd name="connsiteX17" fmla="*/ 51312 w 70303"/>
                <a:gd name="connsiteY17" fmla="*/ 374919 h 383665"/>
                <a:gd name="connsiteX18" fmla="*/ 52562 w 70303"/>
                <a:gd name="connsiteY18" fmla="*/ 383665 h 383665"/>
                <a:gd name="connsiteX19" fmla="*/ 60058 w 70303"/>
                <a:gd name="connsiteY19" fmla="*/ 371295 h 38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303" h="383665">
                  <a:moveTo>
                    <a:pt x="60058" y="371295"/>
                  </a:moveTo>
                  <a:cubicBezTo>
                    <a:pt x="65131" y="370745"/>
                    <a:pt x="69704" y="374406"/>
                    <a:pt x="70254" y="379479"/>
                  </a:cubicBezTo>
                  <a:cubicBezTo>
                    <a:pt x="70279" y="379704"/>
                    <a:pt x="70292" y="379942"/>
                    <a:pt x="70304" y="380166"/>
                  </a:cubicBezTo>
                  <a:lnTo>
                    <a:pt x="20326" y="30306"/>
                  </a:lnTo>
                  <a:lnTo>
                    <a:pt x="19326" y="22934"/>
                  </a:lnTo>
                  <a:lnTo>
                    <a:pt x="18576" y="17686"/>
                  </a:lnTo>
                  <a:lnTo>
                    <a:pt x="17327" y="8939"/>
                  </a:lnTo>
                  <a:cubicBezTo>
                    <a:pt x="17152" y="3842"/>
                    <a:pt x="12879" y="-170"/>
                    <a:pt x="7781" y="6"/>
                  </a:cubicBezTo>
                  <a:cubicBezTo>
                    <a:pt x="7506" y="18"/>
                    <a:pt x="7231" y="30"/>
                    <a:pt x="6956" y="68"/>
                  </a:cubicBezTo>
                  <a:cubicBezTo>
                    <a:pt x="6057" y="255"/>
                    <a:pt x="5207" y="643"/>
                    <a:pt x="4458" y="1193"/>
                  </a:cubicBezTo>
                  <a:cubicBezTo>
                    <a:pt x="3895" y="1480"/>
                    <a:pt x="3395" y="1867"/>
                    <a:pt x="2958" y="2317"/>
                  </a:cubicBezTo>
                  <a:lnTo>
                    <a:pt x="1709" y="3692"/>
                  </a:lnTo>
                  <a:cubicBezTo>
                    <a:pt x="1371" y="4204"/>
                    <a:pt x="1071" y="4754"/>
                    <a:pt x="834" y="5316"/>
                  </a:cubicBezTo>
                  <a:cubicBezTo>
                    <a:pt x="459" y="5928"/>
                    <a:pt x="197" y="6603"/>
                    <a:pt x="84" y="7315"/>
                  </a:cubicBezTo>
                  <a:cubicBezTo>
                    <a:pt x="-28" y="7940"/>
                    <a:pt x="-28" y="8565"/>
                    <a:pt x="84" y="9189"/>
                  </a:cubicBezTo>
                  <a:cubicBezTo>
                    <a:pt x="22" y="9939"/>
                    <a:pt x="22" y="10689"/>
                    <a:pt x="84" y="11438"/>
                  </a:cubicBezTo>
                  <a:cubicBezTo>
                    <a:pt x="147" y="11813"/>
                    <a:pt x="147" y="12188"/>
                    <a:pt x="84" y="12563"/>
                  </a:cubicBezTo>
                  <a:lnTo>
                    <a:pt x="51312" y="374919"/>
                  </a:lnTo>
                  <a:lnTo>
                    <a:pt x="52562" y="383665"/>
                  </a:lnTo>
                  <a:cubicBezTo>
                    <a:pt x="51500" y="378230"/>
                    <a:pt x="54748" y="372869"/>
                    <a:pt x="60058" y="371295"/>
                  </a:cubicBezTo>
                  <a:close/>
                </a:path>
              </a:pathLst>
            </a:custGeom>
            <a:solidFill>
              <a:srgbClr val="000000"/>
            </a:solidFill>
            <a:ln w="12483" cap="flat">
              <a:noFill/>
              <a:prstDash val="solid"/>
              <a:miter/>
            </a:ln>
          </p:spPr>
          <p:txBody>
            <a:bodyPr rtlCol="0" anchor="ctr"/>
            <a:lstStyle/>
            <a:p>
              <a:endParaRPr lang="en-US"/>
            </a:p>
          </p:txBody>
        </p:sp>
        <p:sp>
          <p:nvSpPr>
            <p:cNvPr id="1819" name="Freeform: Shape 1818">
              <a:extLst>
                <a:ext uri="{FF2B5EF4-FFF2-40B4-BE49-F238E27FC236}">
                  <a16:creationId xmlns:a16="http://schemas.microsoft.com/office/drawing/2014/main" id="{ADA22B99-3D3B-46CA-B32A-809D8FE57580}"/>
                </a:ext>
              </a:extLst>
            </p:cNvPr>
            <p:cNvSpPr/>
            <p:nvPr/>
          </p:nvSpPr>
          <p:spPr>
            <a:xfrm>
              <a:off x="8189367" y="4204830"/>
              <a:ext cx="5747" cy="4623"/>
            </a:xfrm>
            <a:custGeom>
              <a:avLst/>
              <a:gdLst>
                <a:gd name="connsiteX0" fmla="*/ 4873 w 5747"/>
                <a:gd name="connsiteY0" fmla="*/ 3374 h 4623"/>
                <a:gd name="connsiteX1" fmla="*/ 0 w 5747"/>
                <a:gd name="connsiteY1" fmla="*/ 0 h 4623"/>
                <a:gd name="connsiteX2" fmla="*/ 0 w 5747"/>
                <a:gd name="connsiteY2" fmla="*/ 0 h 4623"/>
                <a:gd name="connsiteX3" fmla="*/ 875 w 5747"/>
                <a:gd name="connsiteY3" fmla="*/ 1250 h 4623"/>
                <a:gd name="connsiteX4" fmla="*/ 875 w 5747"/>
                <a:gd name="connsiteY4" fmla="*/ 1250 h 4623"/>
                <a:gd name="connsiteX5" fmla="*/ 5747 w 5747"/>
                <a:gd name="connsiteY5" fmla="*/ 4623 h 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7" h="4623">
                  <a:moveTo>
                    <a:pt x="4873" y="3374"/>
                  </a:moveTo>
                  <a:cubicBezTo>
                    <a:pt x="2899" y="2874"/>
                    <a:pt x="1162" y="1674"/>
                    <a:pt x="0" y="0"/>
                  </a:cubicBezTo>
                  <a:lnTo>
                    <a:pt x="0" y="0"/>
                  </a:lnTo>
                  <a:lnTo>
                    <a:pt x="875" y="1250"/>
                  </a:lnTo>
                  <a:lnTo>
                    <a:pt x="875" y="1250"/>
                  </a:lnTo>
                  <a:cubicBezTo>
                    <a:pt x="2012" y="2949"/>
                    <a:pt x="3761" y="4148"/>
                    <a:pt x="5747" y="4623"/>
                  </a:cubicBezTo>
                  <a:close/>
                </a:path>
              </a:pathLst>
            </a:custGeom>
            <a:solidFill>
              <a:srgbClr val="000000"/>
            </a:solidFill>
            <a:ln w="12483" cap="flat">
              <a:noFill/>
              <a:prstDash val="solid"/>
              <a:miter/>
            </a:ln>
          </p:spPr>
          <p:txBody>
            <a:bodyPr rtlCol="0" anchor="ctr"/>
            <a:lstStyle/>
            <a:p>
              <a:endParaRPr lang="en-US"/>
            </a:p>
          </p:txBody>
        </p:sp>
        <p:sp>
          <p:nvSpPr>
            <p:cNvPr id="1820" name="Freeform: Shape 1819">
              <a:extLst>
                <a:ext uri="{FF2B5EF4-FFF2-40B4-BE49-F238E27FC236}">
                  <a16:creationId xmlns:a16="http://schemas.microsoft.com/office/drawing/2014/main" id="{7C922112-A89A-4204-82FE-6526E057B33E}"/>
                </a:ext>
              </a:extLst>
            </p:cNvPr>
            <p:cNvSpPr/>
            <p:nvPr/>
          </p:nvSpPr>
          <p:spPr>
            <a:xfrm>
              <a:off x="8198488" y="4191085"/>
              <a:ext cx="7474" cy="17868"/>
            </a:xfrm>
            <a:custGeom>
              <a:avLst/>
              <a:gdLst>
                <a:gd name="connsiteX0" fmla="*/ 5498 w 7474"/>
                <a:gd name="connsiteY0" fmla="*/ 14619 h 17868"/>
                <a:gd name="connsiteX1" fmla="*/ 5498 w 7474"/>
                <a:gd name="connsiteY1" fmla="*/ 1125 h 17868"/>
                <a:gd name="connsiteX2" fmla="*/ 4623 w 7474"/>
                <a:gd name="connsiteY2" fmla="*/ 0 h 17868"/>
                <a:gd name="connsiteX3" fmla="*/ 4623 w 7474"/>
                <a:gd name="connsiteY3" fmla="*/ 0 h 17868"/>
                <a:gd name="connsiteX4" fmla="*/ 3498 w 7474"/>
                <a:gd name="connsiteY4" fmla="*/ 14619 h 17868"/>
                <a:gd name="connsiteX5" fmla="*/ 0 w 7474"/>
                <a:gd name="connsiteY5" fmla="*/ 16744 h 17868"/>
                <a:gd name="connsiteX6" fmla="*/ 875 w 7474"/>
                <a:gd name="connsiteY6" fmla="*/ 17868 h 17868"/>
                <a:gd name="connsiteX7" fmla="*/ 4373 w 7474"/>
                <a:gd name="connsiteY7" fmla="*/ 15744 h 17868"/>
                <a:gd name="connsiteX8" fmla="*/ 5498 w 7474"/>
                <a:gd name="connsiteY8" fmla="*/ 14619 h 1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4" h="17868">
                  <a:moveTo>
                    <a:pt x="5498" y="14619"/>
                  </a:moveTo>
                  <a:cubicBezTo>
                    <a:pt x="8134" y="10508"/>
                    <a:pt x="8134" y="5235"/>
                    <a:pt x="5498" y="1125"/>
                  </a:cubicBezTo>
                  <a:lnTo>
                    <a:pt x="4623" y="0"/>
                  </a:lnTo>
                  <a:lnTo>
                    <a:pt x="4623" y="0"/>
                  </a:lnTo>
                  <a:cubicBezTo>
                    <a:pt x="7447" y="4598"/>
                    <a:pt x="6997" y="10496"/>
                    <a:pt x="3498" y="14619"/>
                  </a:cubicBezTo>
                  <a:cubicBezTo>
                    <a:pt x="2486" y="15557"/>
                    <a:pt x="1299" y="16281"/>
                    <a:pt x="0" y="16744"/>
                  </a:cubicBezTo>
                  <a:lnTo>
                    <a:pt x="875" y="17868"/>
                  </a:lnTo>
                  <a:cubicBezTo>
                    <a:pt x="2199" y="17481"/>
                    <a:pt x="3411" y="16744"/>
                    <a:pt x="4373" y="15744"/>
                  </a:cubicBezTo>
                  <a:cubicBezTo>
                    <a:pt x="4785" y="15406"/>
                    <a:pt x="5160" y="15032"/>
                    <a:pt x="5498" y="14619"/>
                  </a:cubicBezTo>
                  <a:close/>
                </a:path>
              </a:pathLst>
            </a:custGeom>
            <a:solidFill>
              <a:srgbClr val="000000"/>
            </a:solidFill>
            <a:ln w="12483" cap="flat">
              <a:noFill/>
              <a:prstDash val="solid"/>
              <a:miter/>
            </a:ln>
          </p:spPr>
          <p:txBody>
            <a:bodyPr rtlCol="0" anchor="ctr"/>
            <a:lstStyle/>
            <a:p>
              <a:endParaRPr lang="en-US"/>
            </a:p>
          </p:txBody>
        </p:sp>
        <p:sp>
          <p:nvSpPr>
            <p:cNvPr id="1821" name="Freeform: Shape 1820">
              <a:extLst>
                <a:ext uri="{FF2B5EF4-FFF2-40B4-BE49-F238E27FC236}">
                  <a16:creationId xmlns:a16="http://schemas.microsoft.com/office/drawing/2014/main" id="{6B3858B1-DAF3-4BCD-92F6-5111C78FB35E}"/>
                </a:ext>
              </a:extLst>
            </p:cNvPr>
            <p:cNvSpPr/>
            <p:nvPr/>
          </p:nvSpPr>
          <p:spPr>
            <a:xfrm>
              <a:off x="7711948" y="6442313"/>
              <a:ext cx="47672" cy="288820"/>
            </a:xfrm>
            <a:custGeom>
              <a:avLst/>
              <a:gdLst>
                <a:gd name="connsiteX0" fmla="*/ 875 w 47672"/>
                <a:gd name="connsiteY0" fmla="*/ 12495 h 288820"/>
                <a:gd name="connsiteX1" fmla="*/ 0 w 47672"/>
                <a:gd name="connsiteY1" fmla="*/ 12495 h 288820"/>
                <a:gd name="connsiteX2" fmla="*/ 3624 w 47672"/>
                <a:gd name="connsiteY2" fmla="*/ 19367 h 288820"/>
                <a:gd name="connsiteX3" fmla="*/ 37734 w 47672"/>
                <a:gd name="connsiteY3" fmla="*/ 260396 h 288820"/>
                <a:gd name="connsiteX4" fmla="*/ 30362 w 47672"/>
                <a:gd name="connsiteY4" fmla="*/ 272891 h 288820"/>
                <a:gd name="connsiteX5" fmla="*/ 28862 w 47672"/>
                <a:gd name="connsiteY5" fmla="*/ 272891 h 288820"/>
                <a:gd name="connsiteX6" fmla="*/ 28862 w 47672"/>
                <a:gd name="connsiteY6" fmla="*/ 272891 h 288820"/>
                <a:gd name="connsiteX7" fmla="*/ 28862 w 47672"/>
                <a:gd name="connsiteY7" fmla="*/ 274141 h 288820"/>
                <a:gd name="connsiteX8" fmla="*/ 29737 w 47672"/>
                <a:gd name="connsiteY8" fmla="*/ 279888 h 288820"/>
                <a:gd name="connsiteX9" fmla="*/ 39546 w 47672"/>
                <a:gd name="connsiteY9" fmla="*/ 288810 h 288820"/>
                <a:gd name="connsiteX10" fmla="*/ 40108 w 47672"/>
                <a:gd name="connsiteY10" fmla="*/ 288760 h 288820"/>
                <a:gd name="connsiteX11" fmla="*/ 47480 w 47672"/>
                <a:gd name="connsiteY11" fmla="*/ 276265 h 288820"/>
                <a:gd name="connsiteX12" fmla="*/ 8246 w 47672"/>
                <a:gd name="connsiteY12" fmla="*/ 0 h 288820"/>
                <a:gd name="connsiteX13" fmla="*/ 875 w 47672"/>
                <a:gd name="connsiteY13" fmla="*/ 12495 h 28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72" h="288820">
                  <a:moveTo>
                    <a:pt x="875" y="12495"/>
                  </a:moveTo>
                  <a:lnTo>
                    <a:pt x="0" y="12495"/>
                  </a:lnTo>
                  <a:cubicBezTo>
                    <a:pt x="1974" y="14294"/>
                    <a:pt x="3249" y="16731"/>
                    <a:pt x="3624" y="19367"/>
                  </a:cubicBezTo>
                  <a:lnTo>
                    <a:pt x="37734" y="260396"/>
                  </a:lnTo>
                  <a:cubicBezTo>
                    <a:pt x="38883" y="265844"/>
                    <a:pt x="35685" y="271267"/>
                    <a:pt x="30362" y="272891"/>
                  </a:cubicBezTo>
                  <a:lnTo>
                    <a:pt x="28862" y="272891"/>
                  </a:lnTo>
                  <a:lnTo>
                    <a:pt x="28862" y="272891"/>
                  </a:lnTo>
                  <a:lnTo>
                    <a:pt x="28862" y="274141"/>
                  </a:lnTo>
                  <a:lnTo>
                    <a:pt x="29737" y="279888"/>
                  </a:lnTo>
                  <a:cubicBezTo>
                    <a:pt x="29987" y="285061"/>
                    <a:pt x="34373" y="289047"/>
                    <a:pt x="39546" y="288810"/>
                  </a:cubicBezTo>
                  <a:cubicBezTo>
                    <a:pt x="39733" y="288797"/>
                    <a:pt x="39920" y="288785"/>
                    <a:pt x="40108" y="288760"/>
                  </a:cubicBezTo>
                  <a:cubicBezTo>
                    <a:pt x="45355" y="287035"/>
                    <a:pt x="48504" y="281688"/>
                    <a:pt x="47480" y="276265"/>
                  </a:cubicBezTo>
                  <a:lnTo>
                    <a:pt x="8246" y="0"/>
                  </a:lnTo>
                  <a:cubicBezTo>
                    <a:pt x="9271" y="5423"/>
                    <a:pt x="6122" y="10771"/>
                    <a:pt x="875" y="12495"/>
                  </a:cubicBezTo>
                  <a:close/>
                </a:path>
              </a:pathLst>
            </a:custGeom>
            <a:solidFill>
              <a:srgbClr val="000000"/>
            </a:solidFill>
            <a:ln w="12483" cap="flat">
              <a:noFill/>
              <a:prstDash val="solid"/>
              <a:miter/>
            </a:ln>
          </p:spPr>
          <p:txBody>
            <a:bodyPr rtlCol="0" anchor="ctr"/>
            <a:lstStyle/>
            <a:p>
              <a:endParaRPr lang="en-US"/>
            </a:p>
          </p:txBody>
        </p:sp>
        <p:sp>
          <p:nvSpPr>
            <p:cNvPr id="1822" name="Freeform: Shape 1821">
              <a:extLst>
                <a:ext uri="{FF2B5EF4-FFF2-40B4-BE49-F238E27FC236}">
                  <a16:creationId xmlns:a16="http://schemas.microsoft.com/office/drawing/2014/main" id="{0856A1DE-BE9B-46AC-A43D-796ECF7868F5}"/>
                </a:ext>
              </a:extLst>
            </p:cNvPr>
            <p:cNvSpPr/>
            <p:nvPr/>
          </p:nvSpPr>
          <p:spPr>
            <a:xfrm>
              <a:off x="7702452" y="6446186"/>
              <a:ext cx="3498" cy="7497"/>
            </a:xfrm>
            <a:custGeom>
              <a:avLst/>
              <a:gdLst>
                <a:gd name="connsiteX0" fmla="*/ 2749 w 3498"/>
                <a:gd name="connsiteY0" fmla="*/ 6747 h 7497"/>
                <a:gd name="connsiteX1" fmla="*/ 3498 w 3498"/>
                <a:gd name="connsiteY1" fmla="*/ 6747 h 7497"/>
                <a:gd name="connsiteX2" fmla="*/ 0 w 3498"/>
                <a:gd name="connsiteY2" fmla="*/ 0 h 7497"/>
                <a:gd name="connsiteX3" fmla="*/ 1124 w 3498"/>
                <a:gd name="connsiteY3" fmla="*/ 7497 h 7497"/>
                <a:gd name="connsiteX4" fmla="*/ 2749 w 3498"/>
                <a:gd name="connsiteY4" fmla="*/ 6747 h 7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 h="7497">
                  <a:moveTo>
                    <a:pt x="2749" y="6747"/>
                  </a:moveTo>
                  <a:lnTo>
                    <a:pt x="3498" y="6747"/>
                  </a:lnTo>
                  <a:cubicBezTo>
                    <a:pt x="1562" y="4986"/>
                    <a:pt x="325" y="2599"/>
                    <a:pt x="0" y="0"/>
                  </a:cubicBezTo>
                  <a:lnTo>
                    <a:pt x="1124" y="7497"/>
                  </a:lnTo>
                  <a:cubicBezTo>
                    <a:pt x="1624" y="7172"/>
                    <a:pt x="2174" y="6922"/>
                    <a:pt x="2749" y="6747"/>
                  </a:cubicBezTo>
                  <a:close/>
                </a:path>
              </a:pathLst>
            </a:custGeom>
            <a:solidFill>
              <a:srgbClr val="000000"/>
            </a:solidFill>
            <a:ln w="12483" cap="flat">
              <a:noFill/>
              <a:prstDash val="solid"/>
              <a:miter/>
            </a:ln>
          </p:spPr>
          <p:txBody>
            <a:bodyPr rtlCol="0" anchor="ctr"/>
            <a:lstStyle/>
            <a:p>
              <a:endParaRPr lang="en-US"/>
            </a:p>
          </p:txBody>
        </p:sp>
        <p:sp>
          <p:nvSpPr>
            <p:cNvPr id="1823" name="Freeform: Shape 1822">
              <a:extLst>
                <a:ext uri="{FF2B5EF4-FFF2-40B4-BE49-F238E27FC236}">
                  <a16:creationId xmlns:a16="http://schemas.microsoft.com/office/drawing/2014/main" id="{9B3FCD4E-8076-485F-874E-11B43D7D4C15}"/>
                </a:ext>
              </a:extLst>
            </p:cNvPr>
            <p:cNvSpPr/>
            <p:nvPr/>
          </p:nvSpPr>
          <p:spPr>
            <a:xfrm>
              <a:off x="8050427" y="6354973"/>
              <a:ext cx="79715" cy="517043"/>
            </a:xfrm>
            <a:custGeom>
              <a:avLst/>
              <a:gdLst>
                <a:gd name="connsiteX0" fmla="*/ 10121 w 79715"/>
                <a:gd name="connsiteY0" fmla="*/ 12370 h 517043"/>
                <a:gd name="connsiteX1" fmla="*/ 25 w 79715"/>
                <a:gd name="connsiteY1" fmla="*/ 3774 h 517043"/>
                <a:gd name="connsiteX2" fmla="*/ 0 w 79715"/>
                <a:gd name="connsiteY2" fmla="*/ 3124 h 517043"/>
                <a:gd name="connsiteX3" fmla="*/ 0 w 79715"/>
                <a:gd name="connsiteY3" fmla="*/ 4498 h 517043"/>
                <a:gd name="connsiteX4" fmla="*/ 0 w 79715"/>
                <a:gd name="connsiteY4" fmla="*/ 8497 h 517043"/>
                <a:gd name="connsiteX5" fmla="*/ 61598 w 79715"/>
                <a:gd name="connsiteY5" fmla="*/ 517044 h 517043"/>
                <a:gd name="connsiteX6" fmla="*/ 79716 w 79715"/>
                <a:gd name="connsiteY6" fmla="*/ 517044 h 517043"/>
                <a:gd name="connsiteX7" fmla="*/ 17243 w 79715"/>
                <a:gd name="connsiteY7" fmla="*/ 0 h 517043"/>
                <a:gd name="connsiteX8" fmla="*/ 10121 w 79715"/>
                <a:gd name="connsiteY8" fmla="*/ 12370 h 51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715" h="517043">
                  <a:moveTo>
                    <a:pt x="10121" y="12370"/>
                  </a:moveTo>
                  <a:cubicBezTo>
                    <a:pt x="4960" y="12782"/>
                    <a:pt x="450" y="8934"/>
                    <a:pt x="25" y="3774"/>
                  </a:cubicBezTo>
                  <a:cubicBezTo>
                    <a:pt x="13" y="3561"/>
                    <a:pt x="0" y="3336"/>
                    <a:pt x="0" y="3124"/>
                  </a:cubicBezTo>
                  <a:lnTo>
                    <a:pt x="0" y="4498"/>
                  </a:lnTo>
                  <a:lnTo>
                    <a:pt x="0" y="8497"/>
                  </a:lnTo>
                  <a:lnTo>
                    <a:pt x="61598" y="517044"/>
                  </a:lnTo>
                  <a:lnTo>
                    <a:pt x="79716" y="517044"/>
                  </a:lnTo>
                  <a:lnTo>
                    <a:pt x="17243" y="0"/>
                  </a:lnTo>
                  <a:cubicBezTo>
                    <a:pt x="18405" y="5348"/>
                    <a:pt x="15318" y="10696"/>
                    <a:pt x="10121" y="12370"/>
                  </a:cubicBezTo>
                  <a:close/>
                </a:path>
              </a:pathLst>
            </a:custGeom>
            <a:solidFill>
              <a:srgbClr val="000000"/>
            </a:solidFill>
            <a:ln w="12483" cap="flat">
              <a:noFill/>
              <a:prstDash val="solid"/>
              <a:miter/>
            </a:ln>
          </p:spPr>
          <p:txBody>
            <a:bodyPr rtlCol="0" anchor="ctr"/>
            <a:lstStyle/>
            <a:p>
              <a:endParaRPr lang="en-US"/>
            </a:p>
          </p:txBody>
        </p:sp>
        <p:sp>
          <p:nvSpPr>
            <p:cNvPr id="1824" name="Freeform: Shape 1823">
              <a:extLst>
                <a:ext uri="{FF2B5EF4-FFF2-40B4-BE49-F238E27FC236}">
                  <a16:creationId xmlns:a16="http://schemas.microsoft.com/office/drawing/2014/main" id="{33DEEB64-6AEF-4DD5-BD6E-FA0FAFB1B44A}"/>
                </a:ext>
              </a:extLst>
            </p:cNvPr>
            <p:cNvSpPr/>
            <p:nvPr/>
          </p:nvSpPr>
          <p:spPr>
            <a:xfrm>
              <a:off x="8026711" y="6151889"/>
              <a:ext cx="41696" cy="215854"/>
            </a:xfrm>
            <a:custGeom>
              <a:avLst/>
              <a:gdLst>
                <a:gd name="connsiteX0" fmla="*/ 17968 w 41696"/>
                <a:gd name="connsiteY0" fmla="*/ 9161 h 215854"/>
                <a:gd name="connsiteX1" fmla="*/ 8385 w 41696"/>
                <a:gd name="connsiteY1" fmla="*/ 2 h 215854"/>
                <a:gd name="connsiteX2" fmla="*/ 7722 w 41696"/>
                <a:gd name="connsiteY2" fmla="*/ 40 h 215854"/>
                <a:gd name="connsiteX3" fmla="*/ 226 w 41696"/>
                <a:gd name="connsiteY3" fmla="*/ 12535 h 215854"/>
                <a:gd name="connsiteX4" fmla="*/ 23715 w 41696"/>
                <a:gd name="connsiteY4" fmla="*/ 206583 h 215854"/>
                <a:gd name="connsiteX5" fmla="*/ 33186 w 41696"/>
                <a:gd name="connsiteY5" fmla="*/ 215854 h 215854"/>
                <a:gd name="connsiteX6" fmla="*/ 33836 w 41696"/>
                <a:gd name="connsiteY6" fmla="*/ 215829 h 215854"/>
                <a:gd name="connsiteX7" fmla="*/ 41458 w 41696"/>
                <a:gd name="connsiteY7" fmla="*/ 203334 h 215854"/>
                <a:gd name="connsiteX8" fmla="*/ 20842 w 41696"/>
                <a:gd name="connsiteY8" fmla="*/ 32777 h 215854"/>
                <a:gd name="connsiteX9" fmla="*/ 19842 w 41696"/>
                <a:gd name="connsiteY9" fmla="*/ 24780 h 21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6" h="215854">
                  <a:moveTo>
                    <a:pt x="17968" y="9161"/>
                  </a:moveTo>
                  <a:cubicBezTo>
                    <a:pt x="17856" y="3988"/>
                    <a:pt x="13570" y="-110"/>
                    <a:pt x="8385" y="2"/>
                  </a:cubicBezTo>
                  <a:cubicBezTo>
                    <a:pt x="8172" y="2"/>
                    <a:pt x="7947" y="15"/>
                    <a:pt x="7722" y="40"/>
                  </a:cubicBezTo>
                  <a:cubicBezTo>
                    <a:pt x="2350" y="1614"/>
                    <a:pt x="-911" y="7050"/>
                    <a:pt x="226" y="12535"/>
                  </a:cubicBezTo>
                  <a:lnTo>
                    <a:pt x="23715" y="206583"/>
                  </a:lnTo>
                  <a:cubicBezTo>
                    <a:pt x="23765" y="211756"/>
                    <a:pt x="28001" y="215916"/>
                    <a:pt x="33186" y="215854"/>
                  </a:cubicBezTo>
                  <a:cubicBezTo>
                    <a:pt x="33399" y="215854"/>
                    <a:pt x="33624" y="215841"/>
                    <a:pt x="33836" y="215829"/>
                  </a:cubicBezTo>
                  <a:cubicBezTo>
                    <a:pt x="39296" y="214354"/>
                    <a:pt x="42645" y="208869"/>
                    <a:pt x="41458" y="203334"/>
                  </a:cubicBezTo>
                  <a:lnTo>
                    <a:pt x="20842" y="32777"/>
                  </a:lnTo>
                  <a:lnTo>
                    <a:pt x="19842" y="24780"/>
                  </a:lnTo>
                  <a:close/>
                </a:path>
              </a:pathLst>
            </a:custGeom>
            <a:solidFill>
              <a:srgbClr val="000000"/>
            </a:solidFill>
            <a:ln w="12483" cap="flat">
              <a:noFill/>
              <a:prstDash val="solid"/>
              <a:miter/>
            </a:ln>
          </p:spPr>
          <p:txBody>
            <a:bodyPr rtlCol="0" anchor="ctr"/>
            <a:lstStyle/>
            <a:p>
              <a:endParaRPr lang="en-US"/>
            </a:p>
          </p:txBody>
        </p:sp>
        <p:sp>
          <p:nvSpPr>
            <p:cNvPr id="1825" name="Freeform: Shape 1824">
              <a:extLst>
                <a:ext uri="{FF2B5EF4-FFF2-40B4-BE49-F238E27FC236}">
                  <a16:creationId xmlns:a16="http://schemas.microsoft.com/office/drawing/2014/main" id="{E421EB0E-CAB7-45A5-BE86-E9248FF7A250}"/>
                </a:ext>
              </a:extLst>
            </p:cNvPr>
            <p:cNvSpPr/>
            <p:nvPr/>
          </p:nvSpPr>
          <p:spPr>
            <a:xfrm>
              <a:off x="11385486" y="3780780"/>
              <a:ext cx="165682" cy="105176"/>
            </a:xfrm>
            <a:custGeom>
              <a:avLst/>
              <a:gdLst>
                <a:gd name="connsiteX0" fmla="*/ 11745 w 165682"/>
                <a:gd name="connsiteY0" fmla="*/ 90808 h 105176"/>
                <a:gd name="connsiteX1" fmla="*/ 7372 w 165682"/>
                <a:gd name="connsiteY1" fmla="*/ 105177 h 105176"/>
                <a:gd name="connsiteX2" fmla="*/ 155058 w 165682"/>
                <a:gd name="connsiteY2" fmla="*/ 23085 h 105176"/>
                <a:gd name="connsiteX3" fmla="*/ 160556 w 165682"/>
                <a:gd name="connsiteY3" fmla="*/ 20086 h 105176"/>
                <a:gd name="connsiteX4" fmla="*/ 164929 w 165682"/>
                <a:gd name="connsiteY4" fmla="*/ 5717 h 105176"/>
                <a:gd name="connsiteX5" fmla="*/ 162805 w 165682"/>
                <a:gd name="connsiteY5" fmla="*/ 2343 h 105176"/>
                <a:gd name="connsiteX6" fmla="*/ 159806 w 165682"/>
                <a:gd name="connsiteY6" fmla="*/ 94 h 105176"/>
                <a:gd name="connsiteX7" fmla="*/ 157682 w 165682"/>
                <a:gd name="connsiteY7" fmla="*/ 94 h 105176"/>
                <a:gd name="connsiteX8" fmla="*/ 156432 w 165682"/>
                <a:gd name="connsiteY8" fmla="*/ 94 h 105176"/>
                <a:gd name="connsiteX9" fmla="*/ 153059 w 165682"/>
                <a:gd name="connsiteY9" fmla="*/ 1093 h 105176"/>
                <a:gd name="connsiteX10" fmla="*/ 153059 w 165682"/>
                <a:gd name="connsiteY10" fmla="*/ 1093 h 105176"/>
                <a:gd name="connsiteX11" fmla="*/ 5498 w 165682"/>
                <a:gd name="connsiteY11" fmla="*/ 83061 h 105176"/>
                <a:gd name="connsiteX12" fmla="*/ 0 w 165682"/>
                <a:gd name="connsiteY12" fmla="*/ 86185 h 105176"/>
                <a:gd name="connsiteX13" fmla="*/ 11282 w 165682"/>
                <a:gd name="connsiteY13" fmla="*/ 89758 h 105176"/>
                <a:gd name="connsiteX14" fmla="*/ 11745 w 165682"/>
                <a:gd name="connsiteY14" fmla="*/ 90808 h 10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682" h="105176">
                  <a:moveTo>
                    <a:pt x="11745" y="90808"/>
                  </a:moveTo>
                  <a:cubicBezTo>
                    <a:pt x="13944" y="96031"/>
                    <a:pt x="12107" y="102066"/>
                    <a:pt x="7372" y="105177"/>
                  </a:cubicBezTo>
                  <a:lnTo>
                    <a:pt x="155058" y="23085"/>
                  </a:lnTo>
                  <a:lnTo>
                    <a:pt x="160556" y="20086"/>
                  </a:lnTo>
                  <a:cubicBezTo>
                    <a:pt x="165054" y="16800"/>
                    <a:pt x="166828" y="10940"/>
                    <a:pt x="164929" y="5717"/>
                  </a:cubicBezTo>
                  <a:cubicBezTo>
                    <a:pt x="164479" y="4455"/>
                    <a:pt x="163754" y="3293"/>
                    <a:pt x="162805" y="2343"/>
                  </a:cubicBezTo>
                  <a:cubicBezTo>
                    <a:pt x="161980" y="1381"/>
                    <a:pt x="160955" y="618"/>
                    <a:pt x="159806" y="94"/>
                  </a:cubicBezTo>
                  <a:cubicBezTo>
                    <a:pt x="159106" y="-31"/>
                    <a:pt x="158382" y="-31"/>
                    <a:pt x="157682" y="94"/>
                  </a:cubicBezTo>
                  <a:cubicBezTo>
                    <a:pt x="157682" y="94"/>
                    <a:pt x="156807" y="94"/>
                    <a:pt x="156432" y="94"/>
                  </a:cubicBezTo>
                  <a:cubicBezTo>
                    <a:pt x="155233" y="119"/>
                    <a:pt x="154071" y="456"/>
                    <a:pt x="153059" y="1093"/>
                  </a:cubicBezTo>
                  <a:lnTo>
                    <a:pt x="153059" y="1093"/>
                  </a:lnTo>
                  <a:lnTo>
                    <a:pt x="5498" y="83061"/>
                  </a:lnTo>
                  <a:lnTo>
                    <a:pt x="0" y="86185"/>
                  </a:lnTo>
                  <a:cubicBezTo>
                    <a:pt x="4098" y="84048"/>
                    <a:pt x="9159" y="85647"/>
                    <a:pt x="11282" y="89758"/>
                  </a:cubicBezTo>
                  <a:cubicBezTo>
                    <a:pt x="11470" y="90095"/>
                    <a:pt x="11620" y="90445"/>
                    <a:pt x="11745" y="90808"/>
                  </a:cubicBezTo>
                  <a:close/>
                </a:path>
              </a:pathLst>
            </a:custGeom>
            <a:solidFill>
              <a:srgbClr val="000000"/>
            </a:solidFill>
            <a:ln w="12483" cap="flat">
              <a:noFill/>
              <a:prstDash val="solid"/>
              <a:miter/>
            </a:ln>
          </p:spPr>
          <p:txBody>
            <a:bodyPr rtlCol="0" anchor="ctr"/>
            <a:lstStyle/>
            <a:p>
              <a:endParaRPr lang="en-US"/>
            </a:p>
          </p:txBody>
        </p:sp>
        <p:sp>
          <p:nvSpPr>
            <p:cNvPr id="1826" name="Freeform: Shape 1825">
              <a:extLst>
                <a:ext uri="{FF2B5EF4-FFF2-40B4-BE49-F238E27FC236}">
                  <a16:creationId xmlns:a16="http://schemas.microsoft.com/office/drawing/2014/main" id="{A4AC6049-0811-4AA9-9870-83CACF5C0D24}"/>
                </a:ext>
              </a:extLst>
            </p:cNvPr>
            <p:cNvSpPr/>
            <p:nvPr/>
          </p:nvSpPr>
          <p:spPr>
            <a:xfrm>
              <a:off x="11362878" y="3865120"/>
              <a:ext cx="35275" cy="31353"/>
            </a:xfrm>
            <a:custGeom>
              <a:avLst/>
              <a:gdLst>
                <a:gd name="connsiteX0" fmla="*/ 992 w 35275"/>
                <a:gd name="connsiteY0" fmla="*/ 25086 h 31353"/>
                <a:gd name="connsiteX1" fmla="*/ 11200 w 35275"/>
                <a:gd name="connsiteY1" fmla="*/ 31083 h 31353"/>
                <a:gd name="connsiteX2" fmla="*/ 12862 w 35275"/>
                <a:gd name="connsiteY2" fmla="*/ 30458 h 31353"/>
                <a:gd name="connsiteX3" fmla="*/ 29979 w 35275"/>
                <a:gd name="connsiteY3" fmla="*/ 20837 h 31353"/>
                <a:gd name="connsiteX4" fmla="*/ 34353 w 35275"/>
                <a:gd name="connsiteY4" fmla="*/ 6468 h 31353"/>
                <a:gd name="connsiteX5" fmla="*/ 24294 w 35275"/>
                <a:gd name="connsiteY5" fmla="*/ 221 h 31353"/>
                <a:gd name="connsiteX6" fmla="*/ 21858 w 35275"/>
                <a:gd name="connsiteY6" fmla="*/ 1220 h 31353"/>
                <a:gd name="connsiteX7" fmla="*/ 9363 w 35275"/>
                <a:gd name="connsiteY7" fmla="*/ 7967 h 31353"/>
                <a:gd name="connsiteX8" fmla="*/ 4365 w 35275"/>
                <a:gd name="connsiteY8" fmla="*/ 10716 h 31353"/>
                <a:gd name="connsiteX9" fmla="*/ 992 w 35275"/>
                <a:gd name="connsiteY9" fmla="*/ 25086 h 3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75" h="31353">
                  <a:moveTo>
                    <a:pt x="992" y="25086"/>
                  </a:moveTo>
                  <a:cubicBezTo>
                    <a:pt x="2154" y="29559"/>
                    <a:pt x="6727" y="32245"/>
                    <a:pt x="11200" y="31083"/>
                  </a:cubicBezTo>
                  <a:cubicBezTo>
                    <a:pt x="11775" y="30933"/>
                    <a:pt x="12325" y="30721"/>
                    <a:pt x="12862" y="30458"/>
                  </a:cubicBezTo>
                  <a:lnTo>
                    <a:pt x="29979" y="20837"/>
                  </a:lnTo>
                  <a:cubicBezTo>
                    <a:pt x="34715" y="17726"/>
                    <a:pt x="36551" y="11691"/>
                    <a:pt x="34353" y="6468"/>
                  </a:cubicBezTo>
                  <a:cubicBezTo>
                    <a:pt x="33303" y="1970"/>
                    <a:pt x="28792" y="-829"/>
                    <a:pt x="24294" y="221"/>
                  </a:cubicBezTo>
                  <a:cubicBezTo>
                    <a:pt x="23432" y="433"/>
                    <a:pt x="22608" y="758"/>
                    <a:pt x="21858" y="1220"/>
                  </a:cubicBezTo>
                  <a:lnTo>
                    <a:pt x="9363" y="7967"/>
                  </a:lnTo>
                  <a:lnTo>
                    <a:pt x="4365" y="10716"/>
                  </a:lnTo>
                  <a:cubicBezTo>
                    <a:pt x="230" y="14265"/>
                    <a:pt x="-1132" y="20075"/>
                    <a:pt x="992" y="25086"/>
                  </a:cubicBezTo>
                  <a:close/>
                </a:path>
              </a:pathLst>
            </a:custGeom>
            <a:solidFill>
              <a:srgbClr val="000000"/>
            </a:solidFill>
            <a:ln w="12483" cap="flat">
              <a:noFill/>
              <a:prstDash val="solid"/>
              <a:miter/>
            </a:ln>
          </p:spPr>
          <p:txBody>
            <a:bodyPr rtlCol="0" anchor="ctr"/>
            <a:lstStyle/>
            <a:p>
              <a:endParaRPr lang="en-US"/>
            </a:p>
          </p:txBody>
        </p:sp>
        <p:sp>
          <p:nvSpPr>
            <p:cNvPr id="1827" name="Freeform: Shape 1826">
              <a:extLst>
                <a:ext uri="{FF2B5EF4-FFF2-40B4-BE49-F238E27FC236}">
                  <a16:creationId xmlns:a16="http://schemas.microsoft.com/office/drawing/2014/main" id="{CF6A358A-138E-4EFD-848B-54DA0A8B0B67}"/>
                </a:ext>
              </a:extLst>
            </p:cNvPr>
            <p:cNvSpPr/>
            <p:nvPr/>
          </p:nvSpPr>
          <p:spPr>
            <a:xfrm>
              <a:off x="11778744" y="4071633"/>
              <a:ext cx="57047" cy="45593"/>
            </a:xfrm>
            <a:custGeom>
              <a:avLst/>
              <a:gdLst>
                <a:gd name="connsiteX0" fmla="*/ 8194 w 57047"/>
                <a:gd name="connsiteY0" fmla="*/ 23241 h 45593"/>
                <a:gd name="connsiteX1" fmla="*/ 5070 w 57047"/>
                <a:gd name="connsiteY1" fmla="*/ 24990 h 45593"/>
                <a:gd name="connsiteX2" fmla="*/ 822 w 57047"/>
                <a:gd name="connsiteY2" fmla="*/ 39484 h 45593"/>
                <a:gd name="connsiteX3" fmla="*/ 10930 w 57047"/>
                <a:gd name="connsiteY3" fmla="*/ 45307 h 45593"/>
                <a:gd name="connsiteX4" fmla="*/ 12692 w 57047"/>
                <a:gd name="connsiteY4" fmla="*/ 44607 h 45593"/>
                <a:gd name="connsiteX5" fmla="*/ 57047 w 57047"/>
                <a:gd name="connsiteY5" fmla="*/ 19617 h 45593"/>
                <a:gd name="connsiteX6" fmla="*/ 45777 w 57047"/>
                <a:gd name="connsiteY6" fmla="*/ 15994 h 45593"/>
                <a:gd name="connsiteX7" fmla="*/ 45178 w 57047"/>
                <a:gd name="connsiteY7" fmla="*/ 14494 h 45593"/>
                <a:gd name="connsiteX8" fmla="*/ 49426 w 57047"/>
                <a:gd name="connsiteY8" fmla="*/ 0 h 45593"/>
                <a:gd name="connsiteX9" fmla="*/ 11942 w 57047"/>
                <a:gd name="connsiteY9" fmla="*/ 21617 h 4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047" h="45593">
                  <a:moveTo>
                    <a:pt x="8194" y="23241"/>
                  </a:moveTo>
                  <a:lnTo>
                    <a:pt x="5070" y="24990"/>
                  </a:lnTo>
                  <a:cubicBezTo>
                    <a:pt x="559" y="28326"/>
                    <a:pt x="-1177" y="34249"/>
                    <a:pt x="822" y="39484"/>
                  </a:cubicBezTo>
                  <a:cubicBezTo>
                    <a:pt x="2009" y="43883"/>
                    <a:pt x="6532" y="46494"/>
                    <a:pt x="10930" y="45307"/>
                  </a:cubicBezTo>
                  <a:cubicBezTo>
                    <a:pt x="11542" y="45145"/>
                    <a:pt x="12129" y="44907"/>
                    <a:pt x="12692" y="44607"/>
                  </a:cubicBezTo>
                  <a:lnTo>
                    <a:pt x="57047" y="19617"/>
                  </a:lnTo>
                  <a:cubicBezTo>
                    <a:pt x="52937" y="21729"/>
                    <a:pt x="47889" y="20117"/>
                    <a:pt x="45777" y="15994"/>
                  </a:cubicBezTo>
                  <a:cubicBezTo>
                    <a:pt x="45527" y="15519"/>
                    <a:pt x="45328" y="15019"/>
                    <a:pt x="45178" y="14494"/>
                  </a:cubicBezTo>
                  <a:cubicBezTo>
                    <a:pt x="43179" y="9259"/>
                    <a:pt x="44915" y="3336"/>
                    <a:pt x="49426" y="0"/>
                  </a:cubicBezTo>
                  <a:lnTo>
                    <a:pt x="11942" y="21617"/>
                  </a:lnTo>
                  <a:close/>
                </a:path>
              </a:pathLst>
            </a:custGeom>
            <a:solidFill>
              <a:srgbClr val="000000"/>
            </a:solidFill>
            <a:ln w="12483" cap="flat">
              <a:noFill/>
              <a:prstDash val="solid"/>
              <a:miter/>
            </a:ln>
          </p:spPr>
          <p:txBody>
            <a:bodyPr rtlCol="0" anchor="ctr"/>
            <a:lstStyle/>
            <a:p>
              <a:endParaRPr lang="en-US"/>
            </a:p>
          </p:txBody>
        </p:sp>
        <p:sp>
          <p:nvSpPr>
            <p:cNvPr id="1828" name="Freeform: Shape 1827">
              <a:extLst>
                <a:ext uri="{FF2B5EF4-FFF2-40B4-BE49-F238E27FC236}">
                  <a16:creationId xmlns:a16="http://schemas.microsoft.com/office/drawing/2014/main" id="{5959055D-0BD6-4F7E-9F86-3D08BCE4D20C}"/>
                </a:ext>
              </a:extLst>
            </p:cNvPr>
            <p:cNvSpPr/>
            <p:nvPr/>
          </p:nvSpPr>
          <p:spPr>
            <a:xfrm>
              <a:off x="12010101" y="5638883"/>
              <a:ext cx="77706" cy="617003"/>
            </a:xfrm>
            <a:custGeom>
              <a:avLst/>
              <a:gdLst>
                <a:gd name="connsiteX0" fmla="*/ 60963 w 77706"/>
                <a:gd name="connsiteY0" fmla="*/ 0 h 617003"/>
                <a:gd name="connsiteX1" fmla="*/ 115 w 77706"/>
                <a:gd name="connsiteY1" fmla="*/ 605009 h 617003"/>
                <a:gd name="connsiteX2" fmla="*/ 6362 w 77706"/>
                <a:gd name="connsiteY2" fmla="*/ 616379 h 617003"/>
                <a:gd name="connsiteX3" fmla="*/ 7986 w 77706"/>
                <a:gd name="connsiteY3" fmla="*/ 617004 h 617003"/>
                <a:gd name="connsiteX4" fmla="*/ 9486 w 77706"/>
                <a:gd name="connsiteY4" fmla="*/ 617004 h 617003"/>
                <a:gd name="connsiteX5" fmla="*/ 17982 w 77706"/>
                <a:gd name="connsiteY5" fmla="*/ 607757 h 617003"/>
                <a:gd name="connsiteX6" fmla="*/ 17982 w 77706"/>
                <a:gd name="connsiteY6" fmla="*/ 602510 h 617003"/>
                <a:gd name="connsiteX7" fmla="*/ 17982 w 77706"/>
                <a:gd name="connsiteY7" fmla="*/ 597886 h 617003"/>
                <a:gd name="connsiteX8" fmla="*/ 77706 w 77706"/>
                <a:gd name="connsiteY8" fmla="*/ 13369 h 617003"/>
                <a:gd name="connsiteX9" fmla="*/ 74958 w 77706"/>
                <a:gd name="connsiteY9" fmla="*/ 10121 h 617003"/>
                <a:gd name="connsiteX10" fmla="*/ 68711 w 77706"/>
                <a:gd name="connsiteY10" fmla="*/ 12120 h 617003"/>
                <a:gd name="connsiteX11" fmla="*/ 60963 w 77706"/>
                <a:gd name="connsiteY11" fmla="*/ 0 h 61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06" h="617003">
                  <a:moveTo>
                    <a:pt x="60963" y="0"/>
                  </a:moveTo>
                  <a:lnTo>
                    <a:pt x="115" y="605009"/>
                  </a:lnTo>
                  <a:cubicBezTo>
                    <a:pt x="-585" y="609769"/>
                    <a:pt x="1964" y="614417"/>
                    <a:pt x="6362" y="616379"/>
                  </a:cubicBezTo>
                  <a:cubicBezTo>
                    <a:pt x="6849" y="616717"/>
                    <a:pt x="7399" y="616929"/>
                    <a:pt x="7986" y="617004"/>
                  </a:cubicBezTo>
                  <a:cubicBezTo>
                    <a:pt x="7986" y="617004"/>
                    <a:pt x="8986" y="617004"/>
                    <a:pt x="9486" y="617004"/>
                  </a:cubicBezTo>
                  <a:cubicBezTo>
                    <a:pt x="14171" y="616354"/>
                    <a:pt x="17733" y="612480"/>
                    <a:pt x="17982" y="607757"/>
                  </a:cubicBezTo>
                  <a:lnTo>
                    <a:pt x="17982" y="602510"/>
                  </a:lnTo>
                  <a:lnTo>
                    <a:pt x="17982" y="597886"/>
                  </a:lnTo>
                  <a:lnTo>
                    <a:pt x="77706" y="13369"/>
                  </a:lnTo>
                  <a:lnTo>
                    <a:pt x="74958" y="10121"/>
                  </a:lnTo>
                  <a:cubicBezTo>
                    <a:pt x="73246" y="11633"/>
                    <a:pt x="70984" y="12357"/>
                    <a:pt x="68711" y="12120"/>
                  </a:cubicBezTo>
                  <a:cubicBezTo>
                    <a:pt x="63376" y="10708"/>
                    <a:pt x="60002" y="5435"/>
                    <a:pt x="60963" y="0"/>
                  </a:cubicBezTo>
                  <a:close/>
                </a:path>
              </a:pathLst>
            </a:custGeom>
            <a:solidFill>
              <a:srgbClr val="000000"/>
            </a:solidFill>
            <a:ln w="12483" cap="flat">
              <a:noFill/>
              <a:prstDash val="solid"/>
              <a:miter/>
            </a:ln>
          </p:spPr>
          <p:txBody>
            <a:bodyPr rtlCol="0" anchor="ctr"/>
            <a:lstStyle/>
            <a:p>
              <a:endParaRPr lang="en-US"/>
            </a:p>
          </p:txBody>
        </p:sp>
        <p:sp>
          <p:nvSpPr>
            <p:cNvPr id="1829" name="Freeform: Shape 1828">
              <a:extLst>
                <a:ext uri="{FF2B5EF4-FFF2-40B4-BE49-F238E27FC236}">
                  <a16:creationId xmlns:a16="http://schemas.microsoft.com/office/drawing/2014/main" id="{2583DB1E-106C-4A8F-BE0A-F88A27D82555}"/>
                </a:ext>
              </a:extLst>
            </p:cNvPr>
            <p:cNvSpPr/>
            <p:nvPr/>
          </p:nvSpPr>
          <p:spPr>
            <a:xfrm>
              <a:off x="12086807" y="5641507"/>
              <a:ext cx="1624" cy="5872"/>
            </a:xfrm>
            <a:custGeom>
              <a:avLst/>
              <a:gdLst>
                <a:gd name="connsiteX0" fmla="*/ 1000 w 1624"/>
                <a:gd name="connsiteY0" fmla="*/ 5873 h 5872"/>
                <a:gd name="connsiteX1" fmla="*/ 1624 w 1624"/>
                <a:gd name="connsiteY1" fmla="*/ 0 h 5872"/>
                <a:gd name="connsiteX2" fmla="*/ 0 w 1624"/>
                <a:gd name="connsiteY2" fmla="*/ 4748 h 5872"/>
              </a:gdLst>
              <a:ahLst/>
              <a:cxnLst>
                <a:cxn ang="0">
                  <a:pos x="connsiteX0" y="connsiteY0"/>
                </a:cxn>
                <a:cxn ang="0">
                  <a:pos x="connsiteX1" y="connsiteY1"/>
                </a:cxn>
                <a:cxn ang="0">
                  <a:pos x="connsiteX2" y="connsiteY2"/>
                </a:cxn>
              </a:cxnLst>
              <a:rect l="l" t="t" r="r" b="b"/>
              <a:pathLst>
                <a:path w="1624" h="5872">
                  <a:moveTo>
                    <a:pt x="1000" y="5873"/>
                  </a:moveTo>
                  <a:lnTo>
                    <a:pt x="1624" y="0"/>
                  </a:lnTo>
                  <a:cubicBezTo>
                    <a:pt x="1362" y="1662"/>
                    <a:pt x="812" y="3274"/>
                    <a:pt x="0" y="4748"/>
                  </a:cubicBezTo>
                  <a:close/>
                </a:path>
              </a:pathLst>
            </a:custGeom>
            <a:solidFill>
              <a:srgbClr val="000000"/>
            </a:solidFill>
            <a:ln w="12483" cap="flat">
              <a:noFill/>
              <a:prstDash val="solid"/>
              <a:miter/>
            </a:ln>
          </p:spPr>
          <p:txBody>
            <a:bodyPr rtlCol="0" anchor="ctr"/>
            <a:lstStyle/>
            <a:p>
              <a:endParaRPr lang="en-US"/>
            </a:p>
          </p:txBody>
        </p:sp>
        <p:sp>
          <p:nvSpPr>
            <p:cNvPr id="1830" name="Freeform: Shape 1829">
              <a:extLst>
                <a:ext uri="{FF2B5EF4-FFF2-40B4-BE49-F238E27FC236}">
                  <a16:creationId xmlns:a16="http://schemas.microsoft.com/office/drawing/2014/main" id="{21CF5245-4F8E-4098-A3B5-8EE28483462E}"/>
                </a:ext>
              </a:extLst>
            </p:cNvPr>
            <p:cNvSpPr/>
            <p:nvPr/>
          </p:nvSpPr>
          <p:spPr>
            <a:xfrm>
              <a:off x="12104050" y="5142831"/>
              <a:ext cx="34735" cy="170182"/>
            </a:xfrm>
            <a:custGeom>
              <a:avLst/>
              <a:gdLst>
                <a:gd name="connsiteX0" fmla="*/ 24740 w 34735"/>
                <a:gd name="connsiteY0" fmla="*/ 12495 h 170182"/>
                <a:gd name="connsiteX1" fmla="*/ 16868 w 34735"/>
                <a:gd name="connsiteY1" fmla="*/ 0 h 170182"/>
                <a:gd name="connsiteX2" fmla="*/ 0 w 34735"/>
                <a:gd name="connsiteY2" fmla="*/ 167183 h 170182"/>
                <a:gd name="connsiteX3" fmla="*/ 9484 w 34735"/>
                <a:gd name="connsiteY3" fmla="*/ 157674 h 170182"/>
                <a:gd name="connsiteX4" fmla="*/ 9996 w 34735"/>
                <a:gd name="connsiteY4" fmla="*/ 157687 h 170182"/>
                <a:gd name="connsiteX5" fmla="*/ 17867 w 34735"/>
                <a:gd name="connsiteY5" fmla="*/ 170182 h 170182"/>
                <a:gd name="connsiteX6" fmla="*/ 18617 w 34735"/>
                <a:gd name="connsiteY6" fmla="*/ 162935 h 170182"/>
                <a:gd name="connsiteX7" fmla="*/ 34735 w 34735"/>
                <a:gd name="connsiteY7" fmla="*/ 2999 h 170182"/>
                <a:gd name="connsiteX8" fmla="*/ 24752 w 34735"/>
                <a:gd name="connsiteY8" fmla="*/ 12495 h 170182"/>
                <a:gd name="connsiteX9" fmla="*/ 24740 w 34735"/>
                <a:gd name="connsiteY9" fmla="*/ 12495 h 1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35" h="170182">
                  <a:moveTo>
                    <a:pt x="24740" y="12495"/>
                  </a:moveTo>
                  <a:cubicBezTo>
                    <a:pt x="19180" y="11133"/>
                    <a:pt x="15694" y="5610"/>
                    <a:pt x="16868" y="0"/>
                  </a:cubicBezTo>
                  <a:lnTo>
                    <a:pt x="0" y="167183"/>
                  </a:lnTo>
                  <a:cubicBezTo>
                    <a:pt x="-12" y="161935"/>
                    <a:pt x="4236" y="157687"/>
                    <a:pt x="9484" y="157674"/>
                  </a:cubicBezTo>
                  <a:cubicBezTo>
                    <a:pt x="9658" y="157674"/>
                    <a:pt x="9821" y="157674"/>
                    <a:pt x="9996" y="157687"/>
                  </a:cubicBezTo>
                  <a:cubicBezTo>
                    <a:pt x="15556" y="159049"/>
                    <a:pt x="19042" y="164572"/>
                    <a:pt x="17867" y="170182"/>
                  </a:cubicBezTo>
                  <a:lnTo>
                    <a:pt x="18617" y="162935"/>
                  </a:lnTo>
                  <a:lnTo>
                    <a:pt x="34735" y="2999"/>
                  </a:lnTo>
                  <a:cubicBezTo>
                    <a:pt x="34597" y="8384"/>
                    <a:pt x="30125" y="12632"/>
                    <a:pt x="24752" y="12495"/>
                  </a:cubicBezTo>
                  <a:cubicBezTo>
                    <a:pt x="24740" y="12495"/>
                    <a:pt x="24740" y="12495"/>
                    <a:pt x="24740" y="12495"/>
                  </a:cubicBezTo>
                  <a:close/>
                </a:path>
              </a:pathLst>
            </a:custGeom>
            <a:solidFill>
              <a:srgbClr val="000000"/>
            </a:solidFill>
            <a:ln w="12483" cap="flat">
              <a:noFill/>
              <a:prstDash val="solid"/>
              <a:miter/>
            </a:ln>
          </p:spPr>
          <p:txBody>
            <a:bodyPr rtlCol="0" anchor="ctr"/>
            <a:lstStyle/>
            <a:p>
              <a:endParaRPr lang="en-US"/>
            </a:p>
          </p:txBody>
        </p:sp>
        <p:sp>
          <p:nvSpPr>
            <p:cNvPr id="1831" name="Freeform: Shape 1830">
              <a:extLst>
                <a:ext uri="{FF2B5EF4-FFF2-40B4-BE49-F238E27FC236}">
                  <a16:creationId xmlns:a16="http://schemas.microsoft.com/office/drawing/2014/main" id="{BB563CAD-CA7D-4C1D-998D-39E1DA3B197C}"/>
                </a:ext>
              </a:extLst>
            </p:cNvPr>
            <p:cNvSpPr/>
            <p:nvPr/>
          </p:nvSpPr>
          <p:spPr>
            <a:xfrm>
              <a:off x="11631536" y="4179341"/>
              <a:ext cx="351067" cy="401589"/>
            </a:xfrm>
            <a:custGeom>
              <a:avLst/>
              <a:gdLst>
                <a:gd name="connsiteX0" fmla="*/ 24208 w 351067"/>
                <a:gd name="connsiteY0" fmla="*/ 13869 h 401589"/>
                <a:gd name="connsiteX1" fmla="*/ 14712 w 351067"/>
                <a:gd name="connsiteY1" fmla="*/ 2999 h 401589"/>
                <a:gd name="connsiteX2" fmla="*/ 4842 w 351067"/>
                <a:gd name="connsiteY2" fmla="*/ 874 h 401589"/>
                <a:gd name="connsiteX3" fmla="*/ 4842 w 351067"/>
                <a:gd name="connsiteY3" fmla="*/ 874 h 401589"/>
                <a:gd name="connsiteX4" fmla="*/ 3467 w 351067"/>
                <a:gd name="connsiteY4" fmla="*/ 1999 h 401589"/>
                <a:gd name="connsiteX5" fmla="*/ 1968 w 351067"/>
                <a:gd name="connsiteY5" fmla="*/ 3248 h 401589"/>
                <a:gd name="connsiteX6" fmla="*/ 1968 w 351067"/>
                <a:gd name="connsiteY6" fmla="*/ 3248 h 401589"/>
                <a:gd name="connsiteX7" fmla="*/ 718 w 351067"/>
                <a:gd name="connsiteY7" fmla="*/ 5622 h 401589"/>
                <a:gd name="connsiteX8" fmla="*/ 94 w 351067"/>
                <a:gd name="connsiteY8" fmla="*/ 6872 h 401589"/>
                <a:gd name="connsiteX9" fmla="*/ 94 w 351067"/>
                <a:gd name="connsiteY9" fmla="*/ 8871 h 401589"/>
                <a:gd name="connsiteX10" fmla="*/ 94 w 351067"/>
                <a:gd name="connsiteY10" fmla="*/ 10246 h 401589"/>
                <a:gd name="connsiteX11" fmla="*/ 94 w 351067"/>
                <a:gd name="connsiteY11" fmla="*/ 10995 h 401589"/>
                <a:gd name="connsiteX12" fmla="*/ 94 w 351067"/>
                <a:gd name="connsiteY12" fmla="*/ 12370 h 401589"/>
                <a:gd name="connsiteX13" fmla="*/ 94 w 351067"/>
                <a:gd name="connsiteY13" fmla="*/ 12370 h 401589"/>
                <a:gd name="connsiteX14" fmla="*/ 94 w 351067"/>
                <a:gd name="connsiteY14" fmla="*/ 13245 h 401589"/>
                <a:gd name="connsiteX15" fmla="*/ 94 w 351067"/>
                <a:gd name="connsiteY15" fmla="*/ 14994 h 401589"/>
                <a:gd name="connsiteX16" fmla="*/ 1218 w 351067"/>
                <a:gd name="connsiteY16" fmla="*/ 16868 h 401589"/>
                <a:gd name="connsiteX17" fmla="*/ 1218 w 351067"/>
                <a:gd name="connsiteY17" fmla="*/ 17868 h 401589"/>
                <a:gd name="connsiteX18" fmla="*/ 1218 w 351067"/>
                <a:gd name="connsiteY18" fmla="*/ 17868 h 401589"/>
                <a:gd name="connsiteX19" fmla="*/ 1218 w 351067"/>
                <a:gd name="connsiteY19" fmla="*/ 17868 h 401589"/>
                <a:gd name="connsiteX20" fmla="*/ 338573 w 351067"/>
                <a:gd name="connsiteY20" fmla="*/ 401590 h 401589"/>
                <a:gd name="connsiteX21" fmla="*/ 338573 w 351067"/>
                <a:gd name="connsiteY21" fmla="*/ 386221 h 401589"/>
                <a:gd name="connsiteX22" fmla="*/ 349805 w 351067"/>
                <a:gd name="connsiteY22" fmla="*/ 384959 h 401589"/>
                <a:gd name="connsiteX23" fmla="*/ 351067 w 351067"/>
                <a:gd name="connsiteY23" fmla="*/ 386221 h 401589"/>
                <a:gd name="connsiteX24" fmla="*/ 337823 w 351067"/>
                <a:gd name="connsiteY24" fmla="*/ 371227 h 40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1067" h="401589">
                  <a:moveTo>
                    <a:pt x="24208" y="13869"/>
                  </a:moveTo>
                  <a:lnTo>
                    <a:pt x="14712" y="2999"/>
                  </a:lnTo>
                  <a:cubicBezTo>
                    <a:pt x="12338" y="37"/>
                    <a:pt x="8215" y="-850"/>
                    <a:pt x="4842" y="874"/>
                  </a:cubicBezTo>
                  <a:lnTo>
                    <a:pt x="4842" y="874"/>
                  </a:lnTo>
                  <a:cubicBezTo>
                    <a:pt x="4354" y="1212"/>
                    <a:pt x="3892" y="1587"/>
                    <a:pt x="3467" y="1999"/>
                  </a:cubicBezTo>
                  <a:lnTo>
                    <a:pt x="1968" y="3248"/>
                  </a:lnTo>
                  <a:lnTo>
                    <a:pt x="1968" y="3248"/>
                  </a:lnTo>
                  <a:cubicBezTo>
                    <a:pt x="1430" y="3973"/>
                    <a:pt x="1006" y="4773"/>
                    <a:pt x="718" y="5622"/>
                  </a:cubicBezTo>
                  <a:cubicBezTo>
                    <a:pt x="431" y="5997"/>
                    <a:pt x="219" y="6422"/>
                    <a:pt x="94" y="6872"/>
                  </a:cubicBezTo>
                  <a:cubicBezTo>
                    <a:pt x="-31" y="7534"/>
                    <a:pt x="-31" y="8209"/>
                    <a:pt x="94" y="8871"/>
                  </a:cubicBezTo>
                  <a:cubicBezTo>
                    <a:pt x="31" y="9333"/>
                    <a:pt x="31" y="9783"/>
                    <a:pt x="94" y="10246"/>
                  </a:cubicBezTo>
                  <a:lnTo>
                    <a:pt x="94" y="10995"/>
                  </a:lnTo>
                  <a:cubicBezTo>
                    <a:pt x="31" y="11458"/>
                    <a:pt x="31" y="11907"/>
                    <a:pt x="94" y="12370"/>
                  </a:cubicBezTo>
                  <a:lnTo>
                    <a:pt x="94" y="12370"/>
                  </a:lnTo>
                  <a:cubicBezTo>
                    <a:pt x="94" y="12370"/>
                    <a:pt x="94" y="12994"/>
                    <a:pt x="94" y="13245"/>
                  </a:cubicBezTo>
                  <a:cubicBezTo>
                    <a:pt x="44" y="13832"/>
                    <a:pt x="44" y="14406"/>
                    <a:pt x="94" y="14994"/>
                  </a:cubicBezTo>
                  <a:cubicBezTo>
                    <a:pt x="418" y="15643"/>
                    <a:pt x="793" y="16268"/>
                    <a:pt x="1218" y="16868"/>
                  </a:cubicBezTo>
                  <a:lnTo>
                    <a:pt x="1218" y="17868"/>
                  </a:lnTo>
                  <a:cubicBezTo>
                    <a:pt x="1218" y="17868"/>
                    <a:pt x="1218" y="17868"/>
                    <a:pt x="1218" y="17868"/>
                  </a:cubicBezTo>
                  <a:lnTo>
                    <a:pt x="1218" y="17868"/>
                  </a:lnTo>
                  <a:lnTo>
                    <a:pt x="338573" y="401590"/>
                  </a:lnTo>
                  <a:cubicBezTo>
                    <a:pt x="335049" y="397066"/>
                    <a:pt x="335049" y="390744"/>
                    <a:pt x="338573" y="386221"/>
                  </a:cubicBezTo>
                  <a:cubicBezTo>
                    <a:pt x="341334" y="382772"/>
                    <a:pt x="346357" y="382210"/>
                    <a:pt x="349805" y="384959"/>
                  </a:cubicBezTo>
                  <a:cubicBezTo>
                    <a:pt x="350280" y="385334"/>
                    <a:pt x="350692" y="385758"/>
                    <a:pt x="351067" y="386221"/>
                  </a:cubicBezTo>
                  <a:lnTo>
                    <a:pt x="337823" y="371227"/>
                  </a:lnTo>
                  <a:close/>
                </a:path>
              </a:pathLst>
            </a:custGeom>
            <a:solidFill>
              <a:srgbClr val="000000"/>
            </a:solidFill>
            <a:ln w="12483" cap="flat">
              <a:noFill/>
              <a:prstDash val="solid"/>
              <a:miter/>
            </a:ln>
          </p:spPr>
          <p:txBody>
            <a:bodyPr rtlCol="0" anchor="ctr"/>
            <a:lstStyle/>
            <a:p>
              <a:endParaRPr lang="en-US"/>
            </a:p>
          </p:txBody>
        </p:sp>
        <p:sp>
          <p:nvSpPr>
            <p:cNvPr id="1832" name="Freeform: Shape 1831">
              <a:extLst>
                <a:ext uri="{FF2B5EF4-FFF2-40B4-BE49-F238E27FC236}">
                  <a16:creationId xmlns:a16="http://schemas.microsoft.com/office/drawing/2014/main" id="{7D2CBA6E-22E2-454B-8674-BB4562B16EC4}"/>
                </a:ext>
              </a:extLst>
            </p:cNvPr>
            <p:cNvSpPr/>
            <p:nvPr/>
          </p:nvSpPr>
          <p:spPr>
            <a:xfrm>
              <a:off x="11968715" y="4563683"/>
              <a:ext cx="86250" cy="99343"/>
            </a:xfrm>
            <a:custGeom>
              <a:avLst/>
              <a:gdLst>
                <a:gd name="connsiteX0" fmla="*/ 15137 w 86250"/>
                <a:gd name="connsiteY0" fmla="*/ 3003 h 99343"/>
                <a:gd name="connsiteX1" fmla="*/ 3905 w 86250"/>
                <a:gd name="connsiteY1" fmla="*/ 1753 h 99343"/>
                <a:gd name="connsiteX2" fmla="*/ 2642 w 86250"/>
                <a:gd name="connsiteY2" fmla="*/ 3003 h 99343"/>
                <a:gd name="connsiteX3" fmla="*/ 2642 w 86250"/>
                <a:gd name="connsiteY3" fmla="*/ 18372 h 99343"/>
                <a:gd name="connsiteX4" fmla="*/ 71113 w 86250"/>
                <a:gd name="connsiteY4" fmla="*/ 96340 h 99343"/>
                <a:gd name="connsiteX5" fmla="*/ 82346 w 86250"/>
                <a:gd name="connsiteY5" fmla="*/ 97590 h 99343"/>
                <a:gd name="connsiteX6" fmla="*/ 83607 w 86250"/>
                <a:gd name="connsiteY6" fmla="*/ 96340 h 99343"/>
                <a:gd name="connsiteX7" fmla="*/ 83607 w 86250"/>
                <a:gd name="connsiteY7" fmla="*/ 80972 h 99343"/>
                <a:gd name="connsiteX8" fmla="*/ 71113 w 86250"/>
                <a:gd name="connsiteY8" fmla="*/ 66103 h 99343"/>
                <a:gd name="connsiteX9" fmla="*/ 19010 w 86250"/>
                <a:gd name="connsiteY9" fmla="*/ 6751 h 99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250" h="99343">
                  <a:moveTo>
                    <a:pt x="15137" y="3003"/>
                  </a:moveTo>
                  <a:cubicBezTo>
                    <a:pt x="12376" y="-446"/>
                    <a:pt x="7353" y="-1008"/>
                    <a:pt x="3905" y="1753"/>
                  </a:cubicBezTo>
                  <a:cubicBezTo>
                    <a:pt x="3429" y="2116"/>
                    <a:pt x="3018" y="2540"/>
                    <a:pt x="2642" y="3003"/>
                  </a:cubicBezTo>
                  <a:cubicBezTo>
                    <a:pt x="-881" y="7526"/>
                    <a:pt x="-881" y="13848"/>
                    <a:pt x="2642" y="18372"/>
                  </a:cubicBezTo>
                  <a:lnTo>
                    <a:pt x="71113" y="96340"/>
                  </a:lnTo>
                  <a:cubicBezTo>
                    <a:pt x="73874" y="99789"/>
                    <a:pt x="78897" y="100351"/>
                    <a:pt x="82346" y="97590"/>
                  </a:cubicBezTo>
                  <a:cubicBezTo>
                    <a:pt x="82820" y="97228"/>
                    <a:pt x="83233" y="96803"/>
                    <a:pt x="83607" y="96340"/>
                  </a:cubicBezTo>
                  <a:cubicBezTo>
                    <a:pt x="87131" y="91817"/>
                    <a:pt x="87131" y="85495"/>
                    <a:pt x="83607" y="80972"/>
                  </a:cubicBezTo>
                  <a:lnTo>
                    <a:pt x="71113" y="66103"/>
                  </a:lnTo>
                  <a:lnTo>
                    <a:pt x="19010" y="6751"/>
                  </a:lnTo>
                  <a:close/>
                </a:path>
              </a:pathLst>
            </a:custGeom>
            <a:solidFill>
              <a:srgbClr val="000000"/>
            </a:solidFill>
            <a:ln w="12483" cap="flat">
              <a:noFill/>
              <a:prstDash val="solid"/>
              <a:miter/>
            </a:ln>
          </p:spPr>
          <p:txBody>
            <a:bodyPr rtlCol="0" anchor="ctr"/>
            <a:lstStyle/>
            <a:p>
              <a:endParaRPr lang="en-US"/>
            </a:p>
          </p:txBody>
        </p:sp>
        <p:sp>
          <p:nvSpPr>
            <p:cNvPr id="1833" name="Freeform: Shape 1832">
              <a:extLst>
                <a:ext uri="{FF2B5EF4-FFF2-40B4-BE49-F238E27FC236}">
                  <a16:creationId xmlns:a16="http://schemas.microsoft.com/office/drawing/2014/main" id="{6FBE676B-7401-4161-B06C-E7922F1DC574}"/>
                </a:ext>
              </a:extLst>
            </p:cNvPr>
            <p:cNvSpPr/>
            <p:nvPr/>
          </p:nvSpPr>
          <p:spPr>
            <a:xfrm>
              <a:off x="8519974" y="5535662"/>
              <a:ext cx="16742" cy="13757"/>
            </a:xfrm>
            <a:custGeom>
              <a:avLst/>
              <a:gdLst>
                <a:gd name="connsiteX0" fmla="*/ 6871 w 16742"/>
                <a:gd name="connsiteY0" fmla="*/ 2012 h 13757"/>
                <a:gd name="connsiteX1" fmla="*/ 16742 w 16742"/>
                <a:gd name="connsiteY1" fmla="*/ 11383 h 13757"/>
                <a:gd name="connsiteX2" fmla="*/ 16742 w 16742"/>
                <a:gd name="connsiteY2" fmla="*/ 11633 h 13757"/>
                <a:gd name="connsiteX3" fmla="*/ 16742 w 16742"/>
                <a:gd name="connsiteY3" fmla="*/ 11633 h 13757"/>
                <a:gd name="connsiteX4" fmla="*/ 16742 w 16742"/>
                <a:gd name="connsiteY4" fmla="*/ 9509 h 13757"/>
                <a:gd name="connsiteX5" fmla="*/ 7259 w 16742"/>
                <a:gd name="connsiteY5" fmla="*/ 0 h 13757"/>
                <a:gd name="connsiteX6" fmla="*/ 6747 w 16742"/>
                <a:gd name="connsiteY6" fmla="*/ 13 h 13757"/>
                <a:gd name="connsiteX7" fmla="*/ 3748 w 16742"/>
                <a:gd name="connsiteY7" fmla="*/ 1137 h 13757"/>
                <a:gd name="connsiteX8" fmla="*/ 2873 w 16742"/>
                <a:gd name="connsiteY8" fmla="*/ 1887 h 13757"/>
                <a:gd name="connsiteX9" fmla="*/ 2123 w 16742"/>
                <a:gd name="connsiteY9" fmla="*/ 2512 h 13757"/>
                <a:gd name="connsiteX10" fmla="*/ 999 w 16742"/>
                <a:gd name="connsiteY10" fmla="*/ 3761 h 13757"/>
                <a:gd name="connsiteX11" fmla="*/ 999 w 16742"/>
                <a:gd name="connsiteY11" fmla="*/ 4636 h 13757"/>
                <a:gd name="connsiteX12" fmla="*/ 999 w 16742"/>
                <a:gd name="connsiteY12" fmla="*/ 4636 h 13757"/>
                <a:gd name="connsiteX13" fmla="*/ 999 w 16742"/>
                <a:gd name="connsiteY13" fmla="*/ 5260 h 13757"/>
                <a:gd name="connsiteX14" fmla="*/ 124 w 16742"/>
                <a:gd name="connsiteY14" fmla="*/ 7135 h 13757"/>
                <a:gd name="connsiteX15" fmla="*/ 124 w 16742"/>
                <a:gd name="connsiteY15" fmla="*/ 8384 h 13757"/>
                <a:gd name="connsiteX16" fmla="*/ 124 w 16742"/>
                <a:gd name="connsiteY16" fmla="*/ 9009 h 13757"/>
                <a:gd name="connsiteX17" fmla="*/ 124 w 16742"/>
                <a:gd name="connsiteY17" fmla="*/ 11258 h 13757"/>
                <a:gd name="connsiteX18" fmla="*/ 124 w 16742"/>
                <a:gd name="connsiteY18" fmla="*/ 13757 h 13757"/>
                <a:gd name="connsiteX19" fmla="*/ 124 w 16742"/>
                <a:gd name="connsiteY19" fmla="*/ 13757 h 13757"/>
                <a:gd name="connsiteX20" fmla="*/ 6871 w 16742"/>
                <a:gd name="connsiteY20" fmla="*/ 2012 h 1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42" h="13757">
                  <a:moveTo>
                    <a:pt x="6871" y="2012"/>
                  </a:moveTo>
                  <a:cubicBezTo>
                    <a:pt x="12182" y="1874"/>
                    <a:pt x="16605" y="6072"/>
                    <a:pt x="16742" y="11383"/>
                  </a:cubicBezTo>
                  <a:cubicBezTo>
                    <a:pt x="16742" y="11458"/>
                    <a:pt x="16742" y="11546"/>
                    <a:pt x="16742" y="11633"/>
                  </a:cubicBezTo>
                  <a:lnTo>
                    <a:pt x="16742" y="11633"/>
                  </a:lnTo>
                  <a:lnTo>
                    <a:pt x="16742" y="9509"/>
                  </a:lnTo>
                  <a:cubicBezTo>
                    <a:pt x="16755" y="4261"/>
                    <a:pt x="12507" y="13"/>
                    <a:pt x="7259" y="0"/>
                  </a:cubicBezTo>
                  <a:cubicBezTo>
                    <a:pt x="7084" y="0"/>
                    <a:pt x="6921" y="0"/>
                    <a:pt x="6747" y="13"/>
                  </a:cubicBezTo>
                  <a:cubicBezTo>
                    <a:pt x="5684" y="175"/>
                    <a:pt x="4660" y="562"/>
                    <a:pt x="3748" y="1137"/>
                  </a:cubicBezTo>
                  <a:lnTo>
                    <a:pt x="2873" y="1887"/>
                  </a:lnTo>
                  <a:lnTo>
                    <a:pt x="2123" y="2512"/>
                  </a:lnTo>
                  <a:lnTo>
                    <a:pt x="999" y="3761"/>
                  </a:lnTo>
                  <a:cubicBezTo>
                    <a:pt x="961" y="4048"/>
                    <a:pt x="961" y="4348"/>
                    <a:pt x="999" y="4636"/>
                  </a:cubicBezTo>
                  <a:lnTo>
                    <a:pt x="999" y="4636"/>
                  </a:lnTo>
                  <a:lnTo>
                    <a:pt x="999" y="5260"/>
                  </a:lnTo>
                  <a:cubicBezTo>
                    <a:pt x="662" y="5860"/>
                    <a:pt x="362" y="6485"/>
                    <a:pt x="124" y="7135"/>
                  </a:cubicBezTo>
                  <a:cubicBezTo>
                    <a:pt x="62" y="7547"/>
                    <a:pt x="62" y="7972"/>
                    <a:pt x="124" y="8384"/>
                  </a:cubicBezTo>
                  <a:cubicBezTo>
                    <a:pt x="124" y="8384"/>
                    <a:pt x="124" y="8384"/>
                    <a:pt x="124" y="9009"/>
                  </a:cubicBezTo>
                  <a:cubicBezTo>
                    <a:pt x="124" y="9634"/>
                    <a:pt x="124" y="10508"/>
                    <a:pt x="124" y="11258"/>
                  </a:cubicBezTo>
                  <a:lnTo>
                    <a:pt x="124" y="13757"/>
                  </a:lnTo>
                  <a:lnTo>
                    <a:pt x="124" y="13757"/>
                  </a:lnTo>
                  <a:cubicBezTo>
                    <a:pt x="-638" y="8747"/>
                    <a:pt x="2161" y="3873"/>
                    <a:pt x="6871" y="2012"/>
                  </a:cubicBezTo>
                  <a:close/>
                </a:path>
              </a:pathLst>
            </a:custGeom>
            <a:solidFill>
              <a:srgbClr val="000000"/>
            </a:solidFill>
            <a:ln w="12483" cap="flat">
              <a:noFill/>
              <a:prstDash val="solid"/>
              <a:miter/>
            </a:ln>
          </p:spPr>
          <p:txBody>
            <a:bodyPr rtlCol="0" anchor="ctr"/>
            <a:lstStyle/>
            <a:p>
              <a:endParaRPr lang="en-US"/>
            </a:p>
          </p:txBody>
        </p:sp>
        <p:sp>
          <p:nvSpPr>
            <p:cNvPr id="1834" name="Freeform: Shape 1833">
              <a:extLst>
                <a:ext uri="{FF2B5EF4-FFF2-40B4-BE49-F238E27FC236}">
                  <a16:creationId xmlns:a16="http://schemas.microsoft.com/office/drawing/2014/main" id="{8CC08BDC-5693-436D-9577-284CC89B4902}"/>
                </a:ext>
              </a:extLst>
            </p:cNvPr>
            <p:cNvSpPr/>
            <p:nvPr/>
          </p:nvSpPr>
          <p:spPr>
            <a:xfrm>
              <a:off x="8519917" y="5537174"/>
              <a:ext cx="45882" cy="335616"/>
            </a:xfrm>
            <a:custGeom>
              <a:avLst/>
              <a:gdLst>
                <a:gd name="connsiteX0" fmla="*/ 37666 w 45882"/>
                <a:gd name="connsiteY0" fmla="*/ 335616 h 335616"/>
                <a:gd name="connsiteX1" fmla="*/ 45662 w 45882"/>
                <a:gd name="connsiteY1" fmla="*/ 323121 h 335616"/>
                <a:gd name="connsiteX2" fmla="*/ 45662 w 45882"/>
                <a:gd name="connsiteY2" fmla="*/ 317873 h 335616"/>
                <a:gd name="connsiteX3" fmla="*/ 20673 w 45882"/>
                <a:gd name="connsiteY3" fmla="*/ 44357 h 335616"/>
                <a:gd name="connsiteX4" fmla="*/ 18049 w 45882"/>
                <a:gd name="connsiteY4" fmla="*/ 15369 h 335616"/>
                <a:gd name="connsiteX5" fmla="*/ 18049 w 45882"/>
                <a:gd name="connsiteY5" fmla="*/ 9621 h 335616"/>
                <a:gd name="connsiteX6" fmla="*/ 18049 w 45882"/>
                <a:gd name="connsiteY6" fmla="*/ 9621 h 335616"/>
                <a:gd name="connsiteX7" fmla="*/ 8428 w 45882"/>
                <a:gd name="connsiteY7" fmla="*/ 0 h 335616"/>
                <a:gd name="connsiteX8" fmla="*/ 8178 w 45882"/>
                <a:gd name="connsiteY8" fmla="*/ 0 h 335616"/>
                <a:gd name="connsiteX9" fmla="*/ 182 w 45882"/>
                <a:gd name="connsiteY9" fmla="*/ 12495 h 335616"/>
                <a:gd name="connsiteX10" fmla="*/ 182 w 45882"/>
                <a:gd name="connsiteY10" fmla="*/ 12495 h 335616"/>
                <a:gd name="connsiteX11" fmla="*/ 27045 w 45882"/>
                <a:gd name="connsiteY11" fmla="*/ 308877 h 335616"/>
                <a:gd name="connsiteX12" fmla="*/ 28669 w 45882"/>
                <a:gd name="connsiteY12" fmla="*/ 325870 h 335616"/>
                <a:gd name="connsiteX13" fmla="*/ 37666 w 45882"/>
                <a:gd name="connsiteY13" fmla="*/ 335616 h 33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82" h="335616">
                  <a:moveTo>
                    <a:pt x="37666" y="335616"/>
                  </a:moveTo>
                  <a:cubicBezTo>
                    <a:pt x="43276" y="334317"/>
                    <a:pt x="46824" y="328769"/>
                    <a:pt x="45662" y="323121"/>
                  </a:cubicBezTo>
                  <a:lnTo>
                    <a:pt x="45662" y="317873"/>
                  </a:lnTo>
                  <a:lnTo>
                    <a:pt x="20673" y="44357"/>
                  </a:lnTo>
                  <a:lnTo>
                    <a:pt x="18049" y="15369"/>
                  </a:lnTo>
                  <a:lnTo>
                    <a:pt x="18049" y="9621"/>
                  </a:lnTo>
                  <a:lnTo>
                    <a:pt x="18049" y="9621"/>
                  </a:lnTo>
                  <a:cubicBezTo>
                    <a:pt x="18049" y="4311"/>
                    <a:pt x="13751" y="0"/>
                    <a:pt x="8428" y="0"/>
                  </a:cubicBezTo>
                  <a:cubicBezTo>
                    <a:pt x="8341" y="0"/>
                    <a:pt x="8266" y="0"/>
                    <a:pt x="8178" y="0"/>
                  </a:cubicBezTo>
                  <a:cubicBezTo>
                    <a:pt x="2643" y="1412"/>
                    <a:pt x="-855" y="6872"/>
                    <a:pt x="182" y="12495"/>
                  </a:cubicBezTo>
                  <a:lnTo>
                    <a:pt x="182" y="12495"/>
                  </a:lnTo>
                  <a:lnTo>
                    <a:pt x="27045" y="308877"/>
                  </a:lnTo>
                  <a:lnTo>
                    <a:pt x="28669" y="325870"/>
                  </a:lnTo>
                  <a:cubicBezTo>
                    <a:pt x="28532" y="331018"/>
                    <a:pt x="32518" y="335341"/>
                    <a:pt x="37666" y="335616"/>
                  </a:cubicBezTo>
                  <a:close/>
                </a:path>
              </a:pathLst>
            </a:custGeom>
            <a:solidFill>
              <a:srgbClr val="000000"/>
            </a:solidFill>
            <a:ln w="12483" cap="flat">
              <a:noFill/>
              <a:prstDash val="solid"/>
              <a:miter/>
            </a:ln>
          </p:spPr>
          <p:txBody>
            <a:bodyPr rtlCol="0" anchor="ctr"/>
            <a:lstStyle/>
            <a:p>
              <a:endParaRPr lang="en-US"/>
            </a:p>
          </p:txBody>
        </p:sp>
        <p:sp>
          <p:nvSpPr>
            <p:cNvPr id="1835" name="Freeform: Shape 1834">
              <a:extLst>
                <a:ext uri="{FF2B5EF4-FFF2-40B4-BE49-F238E27FC236}">
                  <a16:creationId xmlns:a16="http://schemas.microsoft.com/office/drawing/2014/main" id="{A96BF060-552D-4D2C-AB1E-2DC860C0CBC6}"/>
                </a:ext>
              </a:extLst>
            </p:cNvPr>
            <p:cNvSpPr/>
            <p:nvPr/>
          </p:nvSpPr>
          <p:spPr>
            <a:xfrm>
              <a:off x="10270842" y="5249372"/>
              <a:ext cx="39115" cy="35652"/>
            </a:xfrm>
            <a:custGeom>
              <a:avLst/>
              <a:gdLst>
                <a:gd name="connsiteX0" fmla="*/ 13245 w 39115"/>
                <a:gd name="connsiteY0" fmla="*/ 21284 h 35652"/>
                <a:gd name="connsiteX1" fmla="*/ 8996 w 39115"/>
                <a:gd name="connsiteY1" fmla="*/ 35653 h 35652"/>
                <a:gd name="connsiteX2" fmla="*/ 34860 w 39115"/>
                <a:gd name="connsiteY2" fmla="*/ 20784 h 35652"/>
                <a:gd name="connsiteX3" fmla="*/ 35735 w 39115"/>
                <a:gd name="connsiteY3" fmla="*/ 20034 h 35652"/>
                <a:gd name="connsiteX4" fmla="*/ 38109 w 39115"/>
                <a:gd name="connsiteY4" fmla="*/ 17410 h 35652"/>
                <a:gd name="connsiteX5" fmla="*/ 38109 w 39115"/>
                <a:gd name="connsiteY5" fmla="*/ 16660 h 35652"/>
                <a:gd name="connsiteX6" fmla="*/ 38983 w 39115"/>
                <a:gd name="connsiteY6" fmla="*/ 14911 h 35652"/>
                <a:gd name="connsiteX7" fmla="*/ 38983 w 39115"/>
                <a:gd name="connsiteY7" fmla="*/ 12537 h 35652"/>
                <a:gd name="connsiteX8" fmla="*/ 38359 w 39115"/>
                <a:gd name="connsiteY8" fmla="*/ 6289 h 35652"/>
                <a:gd name="connsiteX9" fmla="*/ 27950 w 39115"/>
                <a:gd name="connsiteY9" fmla="*/ 292 h 35652"/>
                <a:gd name="connsiteX10" fmla="*/ 25864 w 39115"/>
                <a:gd name="connsiteY10" fmla="*/ 1166 h 35652"/>
                <a:gd name="connsiteX11" fmla="*/ 20741 w 39115"/>
                <a:gd name="connsiteY11" fmla="*/ 4165 h 35652"/>
                <a:gd name="connsiteX12" fmla="*/ 0 w 39115"/>
                <a:gd name="connsiteY12" fmla="*/ 16660 h 35652"/>
                <a:gd name="connsiteX13" fmla="*/ 11745 w 39115"/>
                <a:gd name="connsiteY13" fmla="*/ 18172 h 35652"/>
                <a:gd name="connsiteX14" fmla="*/ 13245 w 39115"/>
                <a:gd name="connsiteY14" fmla="*/ 21284 h 3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115" h="35652">
                  <a:moveTo>
                    <a:pt x="13245" y="21284"/>
                  </a:moveTo>
                  <a:cubicBezTo>
                    <a:pt x="15468" y="26469"/>
                    <a:pt x="13682" y="32504"/>
                    <a:pt x="8996" y="35653"/>
                  </a:cubicBezTo>
                  <a:lnTo>
                    <a:pt x="34860" y="20784"/>
                  </a:lnTo>
                  <a:lnTo>
                    <a:pt x="35735" y="20034"/>
                  </a:lnTo>
                  <a:cubicBezTo>
                    <a:pt x="36647" y="19272"/>
                    <a:pt x="37446" y="18397"/>
                    <a:pt x="38109" y="17410"/>
                  </a:cubicBezTo>
                  <a:lnTo>
                    <a:pt x="38109" y="16660"/>
                  </a:lnTo>
                  <a:cubicBezTo>
                    <a:pt x="38521" y="16148"/>
                    <a:pt x="38821" y="15548"/>
                    <a:pt x="38983" y="14911"/>
                  </a:cubicBezTo>
                  <a:cubicBezTo>
                    <a:pt x="39046" y="14124"/>
                    <a:pt x="39046" y="13324"/>
                    <a:pt x="38983" y="12537"/>
                  </a:cubicBezTo>
                  <a:cubicBezTo>
                    <a:pt x="39283" y="10438"/>
                    <a:pt x="39071" y="8289"/>
                    <a:pt x="38359" y="6289"/>
                  </a:cubicBezTo>
                  <a:cubicBezTo>
                    <a:pt x="37134" y="1754"/>
                    <a:pt x="32473" y="-920"/>
                    <a:pt x="27950" y="292"/>
                  </a:cubicBezTo>
                  <a:cubicBezTo>
                    <a:pt x="27213" y="492"/>
                    <a:pt x="26514" y="779"/>
                    <a:pt x="25864" y="1166"/>
                  </a:cubicBezTo>
                  <a:lnTo>
                    <a:pt x="20741" y="4165"/>
                  </a:lnTo>
                  <a:lnTo>
                    <a:pt x="0" y="16660"/>
                  </a:lnTo>
                  <a:cubicBezTo>
                    <a:pt x="3661" y="13836"/>
                    <a:pt x="8921" y="14511"/>
                    <a:pt x="11745" y="18172"/>
                  </a:cubicBezTo>
                  <a:cubicBezTo>
                    <a:pt x="12457" y="19097"/>
                    <a:pt x="12970" y="20146"/>
                    <a:pt x="13245" y="21284"/>
                  </a:cubicBezTo>
                  <a:close/>
                </a:path>
              </a:pathLst>
            </a:custGeom>
            <a:solidFill>
              <a:srgbClr val="000000"/>
            </a:solidFill>
            <a:ln w="12483" cap="flat">
              <a:noFill/>
              <a:prstDash val="solid"/>
              <a:miter/>
            </a:ln>
          </p:spPr>
          <p:txBody>
            <a:bodyPr rtlCol="0" anchor="ctr"/>
            <a:lstStyle/>
            <a:p>
              <a:endParaRPr lang="en-US"/>
            </a:p>
          </p:txBody>
        </p:sp>
        <p:sp>
          <p:nvSpPr>
            <p:cNvPr id="1836" name="Freeform: Shape 1835">
              <a:extLst>
                <a:ext uri="{FF2B5EF4-FFF2-40B4-BE49-F238E27FC236}">
                  <a16:creationId xmlns:a16="http://schemas.microsoft.com/office/drawing/2014/main" id="{D106E817-C700-4460-9E92-E066DB92E17B}"/>
                </a:ext>
              </a:extLst>
            </p:cNvPr>
            <p:cNvSpPr/>
            <p:nvPr/>
          </p:nvSpPr>
          <p:spPr>
            <a:xfrm>
              <a:off x="10252627" y="5264297"/>
              <a:ext cx="32784" cy="30333"/>
            </a:xfrm>
            <a:custGeom>
              <a:avLst/>
              <a:gdLst>
                <a:gd name="connsiteX0" fmla="*/ 10969 w 32784"/>
                <a:gd name="connsiteY0" fmla="*/ 6108 h 30333"/>
                <a:gd name="connsiteX1" fmla="*/ 4971 w 32784"/>
                <a:gd name="connsiteY1" fmla="*/ 9482 h 30333"/>
                <a:gd name="connsiteX2" fmla="*/ 848 w 32784"/>
                <a:gd name="connsiteY2" fmla="*/ 23976 h 30333"/>
                <a:gd name="connsiteX3" fmla="*/ 10994 w 32784"/>
                <a:gd name="connsiteY3" fmla="*/ 30086 h 30333"/>
                <a:gd name="connsiteX4" fmla="*/ 13343 w 32784"/>
                <a:gd name="connsiteY4" fmla="*/ 29099 h 30333"/>
                <a:gd name="connsiteX5" fmla="*/ 27586 w 32784"/>
                <a:gd name="connsiteY5" fmla="*/ 20727 h 30333"/>
                <a:gd name="connsiteX6" fmla="*/ 31835 w 32784"/>
                <a:gd name="connsiteY6" fmla="*/ 6358 h 30333"/>
                <a:gd name="connsiteX7" fmla="*/ 21689 w 32784"/>
                <a:gd name="connsiteY7" fmla="*/ 248 h 30333"/>
                <a:gd name="connsiteX8" fmla="*/ 19340 w 32784"/>
                <a:gd name="connsiteY8" fmla="*/ 1235 h 30333"/>
                <a:gd name="connsiteX9" fmla="*/ 18340 w 32784"/>
                <a:gd name="connsiteY9" fmla="*/ 1860 h 30333"/>
                <a:gd name="connsiteX10" fmla="*/ 15342 w 32784"/>
                <a:gd name="connsiteY10" fmla="*/ 3484 h 3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84" h="30333">
                  <a:moveTo>
                    <a:pt x="10969" y="6108"/>
                  </a:moveTo>
                  <a:lnTo>
                    <a:pt x="4971" y="9482"/>
                  </a:lnTo>
                  <a:cubicBezTo>
                    <a:pt x="511" y="12843"/>
                    <a:pt x="-1176" y="18765"/>
                    <a:pt x="848" y="23976"/>
                  </a:cubicBezTo>
                  <a:cubicBezTo>
                    <a:pt x="1960" y="28461"/>
                    <a:pt x="6508" y="31198"/>
                    <a:pt x="10994" y="30086"/>
                  </a:cubicBezTo>
                  <a:cubicBezTo>
                    <a:pt x="11818" y="29873"/>
                    <a:pt x="12618" y="29549"/>
                    <a:pt x="13343" y="29099"/>
                  </a:cubicBezTo>
                  <a:lnTo>
                    <a:pt x="27586" y="20727"/>
                  </a:lnTo>
                  <a:cubicBezTo>
                    <a:pt x="32272" y="17578"/>
                    <a:pt x="34059" y="11543"/>
                    <a:pt x="31835" y="6358"/>
                  </a:cubicBezTo>
                  <a:cubicBezTo>
                    <a:pt x="30723" y="1872"/>
                    <a:pt x="26175" y="-864"/>
                    <a:pt x="21689" y="248"/>
                  </a:cubicBezTo>
                  <a:cubicBezTo>
                    <a:pt x="20864" y="460"/>
                    <a:pt x="20065" y="785"/>
                    <a:pt x="19340" y="1235"/>
                  </a:cubicBezTo>
                  <a:lnTo>
                    <a:pt x="18340" y="1860"/>
                  </a:lnTo>
                  <a:lnTo>
                    <a:pt x="15342" y="3484"/>
                  </a:lnTo>
                  <a:close/>
                </a:path>
              </a:pathLst>
            </a:custGeom>
            <a:solidFill>
              <a:srgbClr val="000000"/>
            </a:solidFill>
            <a:ln w="12483" cap="flat">
              <a:noFill/>
              <a:prstDash val="solid"/>
              <a:miter/>
            </a:ln>
          </p:spPr>
          <p:txBody>
            <a:bodyPr rtlCol="0" anchor="ctr"/>
            <a:lstStyle/>
            <a:p>
              <a:endParaRPr lang="en-US"/>
            </a:p>
          </p:txBody>
        </p:sp>
        <p:sp>
          <p:nvSpPr>
            <p:cNvPr id="1837" name="Freeform: Shape 1836">
              <a:extLst>
                <a:ext uri="{FF2B5EF4-FFF2-40B4-BE49-F238E27FC236}">
                  <a16:creationId xmlns:a16="http://schemas.microsoft.com/office/drawing/2014/main" id="{27F72BD6-DD5C-4204-9D40-59D399C44856}"/>
                </a:ext>
              </a:extLst>
            </p:cNvPr>
            <p:cNvSpPr/>
            <p:nvPr/>
          </p:nvSpPr>
          <p:spPr>
            <a:xfrm>
              <a:off x="8703671" y="6507037"/>
              <a:ext cx="74940" cy="56854"/>
            </a:xfrm>
            <a:custGeom>
              <a:avLst/>
              <a:gdLst>
                <a:gd name="connsiteX0" fmla="*/ 62197 w 74940"/>
                <a:gd name="connsiteY0" fmla="*/ 14494 h 56854"/>
                <a:gd name="connsiteX1" fmla="*/ 66320 w 74940"/>
                <a:gd name="connsiteY1" fmla="*/ 0 h 56854"/>
                <a:gd name="connsiteX2" fmla="*/ 66320 w 74940"/>
                <a:gd name="connsiteY2" fmla="*/ 0 h 56854"/>
                <a:gd name="connsiteX3" fmla="*/ 63321 w 74940"/>
                <a:gd name="connsiteY3" fmla="*/ 1749 h 56854"/>
                <a:gd name="connsiteX4" fmla="*/ 16466 w 74940"/>
                <a:gd name="connsiteY4" fmla="*/ 29363 h 56854"/>
                <a:gd name="connsiteX5" fmla="*/ 4971 w 74940"/>
                <a:gd name="connsiteY5" fmla="*/ 36111 h 56854"/>
                <a:gd name="connsiteX6" fmla="*/ 848 w 74940"/>
                <a:gd name="connsiteY6" fmla="*/ 50605 h 56854"/>
                <a:gd name="connsiteX7" fmla="*/ 11069 w 74940"/>
                <a:gd name="connsiteY7" fmla="*/ 56578 h 56854"/>
                <a:gd name="connsiteX8" fmla="*/ 13343 w 74940"/>
                <a:gd name="connsiteY8" fmla="*/ 55603 h 56854"/>
                <a:gd name="connsiteX9" fmla="*/ 74941 w 74940"/>
                <a:gd name="connsiteY9" fmla="*/ 19368 h 56854"/>
                <a:gd name="connsiteX10" fmla="*/ 63334 w 74940"/>
                <a:gd name="connsiteY10" fmla="*/ 17043 h 56854"/>
                <a:gd name="connsiteX11" fmla="*/ 62197 w 74940"/>
                <a:gd name="connsiteY11" fmla="*/ 14494 h 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40" h="56854">
                  <a:moveTo>
                    <a:pt x="62197" y="14494"/>
                  </a:moveTo>
                  <a:cubicBezTo>
                    <a:pt x="59885" y="9297"/>
                    <a:pt x="61622" y="3199"/>
                    <a:pt x="66320" y="0"/>
                  </a:cubicBezTo>
                  <a:lnTo>
                    <a:pt x="66320" y="0"/>
                  </a:lnTo>
                  <a:lnTo>
                    <a:pt x="63321" y="1749"/>
                  </a:lnTo>
                  <a:lnTo>
                    <a:pt x="16466" y="29363"/>
                  </a:lnTo>
                  <a:lnTo>
                    <a:pt x="4971" y="36111"/>
                  </a:lnTo>
                  <a:cubicBezTo>
                    <a:pt x="511" y="39472"/>
                    <a:pt x="-1176" y="45394"/>
                    <a:pt x="848" y="50605"/>
                  </a:cubicBezTo>
                  <a:cubicBezTo>
                    <a:pt x="2022" y="55078"/>
                    <a:pt x="6595" y="57752"/>
                    <a:pt x="11069" y="56578"/>
                  </a:cubicBezTo>
                  <a:cubicBezTo>
                    <a:pt x="11868" y="56365"/>
                    <a:pt x="12643" y="56040"/>
                    <a:pt x="13343" y="55603"/>
                  </a:cubicBezTo>
                  <a:lnTo>
                    <a:pt x="74941" y="19368"/>
                  </a:lnTo>
                  <a:cubicBezTo>
                    <a:pt x="71093" y="21929"/>
                    <a:pt x="65895" y="20892"/>
                    <a:pt x="63334" y="17043"/>
                  </a:cubicBezTo>
                  <a:cubicBezTo>
                    <a:pt x="62809" y="16256"/>
                    <a:pt x="62434" y="15394"/>
                    <a:pt x="62197" y="14494"/>
                  </a:cubicBezTo>
                  <a:close/>
                </a:path>
              </a:pathLst>
            </a:custGeom>
            <a:solidFill>
              <a:srgbClr val="000000"/>
            </a:solidFill>
            <a:ln w="12483" cap="flat">
              <a:noFill/>
              <a:prstDash val="solid"/>
              <a:miter/>
            </a:ln>
          </p:spPr>
          <p:txBody>
            <a:bodyPr rtlCol="0" anchor="ctr"/>
            <a:lstStyle/>
            <a:p>
              <a:endParaRPr lang="en-US"/>
            </a:p>
          </p:txBody>
        </p:sp>
        <p:sp>
          <p:nvSpPr>
            <p:cNvPr id="1838" name="Freeform: Shape 1837">
              <a:extLst>
                <a:ext uri="{FF2B5EF4-FFF2-40B4-BE49-F238E27FC236}">
                  <a16:creationId xmlns:a16="http://schemas.microsoft.com/office/drawing/2014/main" id="{54B57168-98FD-4F72-86EC-08ACE715F138}"/>
                </a:ext>
              </a:extLst>
            </p:cNvPr>
            <p:cNvSpPr/>
            <p:nvPr/>
          </p:nvSpPr>
          <p:spPr>
            <a:xfrm>
              <a:off x="8764351" y="6415947"/>
              <a:ext cx="170539" cy="111833"/>
            </a:xfrm>
            <a:custGeom>
              <a:avLst/>
              <a:gdLst>
                <a:gd name="connsiteX0" fmla="*/ 170194 w 170539"/>
                <a:gd name="connsiteY0" fmla="*/ 6250 h 111833"/>
                <a:gd name="connsiteX1" fmla="*/ 159973 w 170539"/>
                <a:gd name="connsiteY1" fmla="*/ 277 h 111833"/>
                <a:gd name="connsiteX2" fmla="*/ 157699 w 170539"/>
                <a:gd name="connsiteY2" fmla="*/ 1251 h 111833"/>
                <a:gd name="connsiteX3" fmla="*/ 152076 w 170539"/>
                <a:gd name="connsiteY3" fmla="*/ 4500 h 111833"/>
                <a:gd name="connsiteX4" fmla="*/ 5140 w 170539"/>
                <a:gd name="connsiteY4" fmla="*/ 91090 h 111833"/>
                <a:gd name="connsiteX5" fmla="*/ 1017 w 170539"/>
                <a:gd name="connsiteY5" fmla="*/ 105585 h 111833"/>
                <a:gd name="connsiteX6" fmla="*/ 11237 w 170539"/>
                <a:gd name="connsiteY6" fmla="*/ 111557 h 111833"/>
                <a:gd name="connsiteX7" fmla="*/ 13511 w 170539"/>
                <a:gd name="connsiteY7" fmla="*/ 110583 h 111833"/>
                <a:gd name="connsiteX8" fmla="*/ 157449 w 170539"/>
                <a:gd name="connsiteY8" fmla="*/ 26366 h 111833"/>
                <a:gd name="connsiteX9" fmla="*/ 166070 w 170539"/>
                <a:gd name="connsiteY9" fmla="*/ 21243 h 111833"/>
                <a:gd name="connsiteX10" fmla="*/ 166070 w 170539"/>
                <a:gd name="connsiteY10" fmla="*/ 21243 h 111833"/>
                <a:gd name="connsiteX11" fmla="*/ 167695 w 170539"/>
                <a:gd name="connsiteY11" fmla="*/ 19744 h 111833"/>
                <a:gd name="connsiteX12" fmla="*/ 168819 w 170539"/>
                <a:gd name="connsiteY12" fmla="*/ 18619 h 111833"/>
                <a:gd name="connsiteX13" fmla="*/ 169569 w 170539"/>
                <a:gd name="connsiteY13" fmla="*/ 16995 h 111833"/>
                <a:gd name="connsiteX14" fmla="*/ 170443 w 170539"/>
                <a:gd name="connsiteY14" fmla="*/ 14996 h 111833"/>
                <a:gd name="connsiteX15" fmla="*/ 170443 w 170539"/>
                <a:gd name="connsiteY15" fmla="*/ 13622 h 111833"/>
                <a:gd name="connsiteX16" fmla="*/ 170443 w 170539"/>
                <a:gd name="connsiteY16" fmla="*/ 10997 h 111833"/>
                <a:gd name="connsiteX17" fmla="*/ 170443 w 170539"/>
                <a:gd name="connsiteY17" fmla="*/ 10997 h 111833"/>
                <a:gd name="connsiteX18" fmla="*/ 170194 w 170539"/>
                <a:gd name="connsiteY18" fmla="*/ 6250 h 11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0539" h="111833">
                  <a:moveTo>
                    <a:pt x="170194" y="6250"/>
                  </a:moveTo>
                  <a:cubicBezTo>
                    <a:pt x="169019" y="1776"/>
                    <a:pt x="164446" y="-898"/>
                    <a:pt x="159973" y="277"/>
                  </a:cubicBezTo>
                  <a:cubicBezTo>
                    <a:pt x="159173" y="489"/>
                    <a:pt x="158399" y="814"/>
                    <a:pt x="157699" y="1251"/>
                  </a:cubicBezTo>
                  <a:lnTo>
                    <a:pt x="152076" y="4500"/>
                  </a:lnTo>
                  <a:lnTo>
                    <a:pt x="5140" y="91090"/>
                  </a:lnTo>
                  <a:cubicBezTo>
                    <a:pt x="442" y="94289"/>
                    <a:pt x="-1295" y="100387"/>
                    <a:pt x="1017" y="105585"/>
                  </a:cubicBezTo>
                  <a:cubicBezTo>
                    <a:pt x="2191" y="110058"/>
                    <a:pt x="6764" y="112732"/>
                    <a:pt x="11237" y="111557"/>
                  </a:cubicBezTo>
                  <a:cubicBezTo>
                    <a:pt x="12037" y="111345"/>
                    <a:pt x="12812" y="111020"/>
                    <a:pt x="13511" y="110583"/>
                  </a:cubicBezTo>
                  <a:lnTo>
                    <a:pt x="157449" y="26366"/>
                  </a:lnTo>
                  <a:lnTo>
                    <a:pt x="166070" y="21243"/>
                  </a:lnTo>
                  <a:lnTo>
                    <a:pt x="166070" y="21243"/>
                  </a:lnTo>
                  <a:cubicBezTo>
                    <a:pt x="166670" y="20806"/>
                    <a:pt x="167220" y="20306"/>
                    <a:pt x="167695" y="19744"/>
                  </a:cubicBezTo>
                  <a:cubicBezTo>
                    <a:pt x="168095" y="19407"/>
                    <a:pt x="168482" y="19019"/>
                    <a:pt x="168819" y="18619"/>
                  </a:cubicBezTo>
                  <a:cubicBezTo>
                    <a:pt x="169119" y="18107"/>
                    <a:pt x="169369" y="17558"/>
                    <a:pt x="169569" y="16995"/>
                  </a:cubicBezTo>
                  <a:cubicBezTo>
                    <a:pt x="169969" y="16383"/>
                    <a:pt x="170256" y="15708"/>
                    <a:pt x="170443" y="14996"/>
                  </a:cubicBezTo>
                  <a:cubicBezTo>
                    <a:pt x="170443" y="14996"/>
                    <a:pt x="170443" y="14121"/>
                    <a:pt x="170443" y="13622"/>
                  </a:cubicBezTo>
                  <a:cubicBezTo>
                    <a:pt x="170506" y="12747"/>
                    <a:pt x="170506" y="11872"/>
                    <a:pt x="170443" y="10997"/>
                  </a:cubicBezTo>
                  <a:lnTo>
                    <a:pt x="170443" y="10997"/>
                  </a:lnTo>
                  <a:cubicBezTo>
                    <a:pt x="170631" y="9411"/>
                    <a:pt x="170543" y="7811"/>
                    <a:pt x="170194" y="6250"/>
                  </a:cubicBezTo>
                  <a:close/>
                </a:path>
              </a:pathLst>
            </a:custGeom>
            <a:solidFill>
              <a:srgbClr val="000000"/>
            </a:solidFill>
            <a:ln w="12483" cap="flat">
              <a:noFill/>
              <a:prstDash val="solid"/>
              <a:miter/>
            </a:ln>
          </p:spPr>
          <p:txBody>
            <a:bodyPr rtlCol="0" anchor="ctr"/>
            <a:lstStyle/>
            <a:p>
              <a:endParaRPr lang="en-US"/>
            </a:p>
          </p:txBody>
        </p:sp>
        <p:sp>
          <p:nvSpPr>
            <p:cNvPr id="1839" name="Freeform: Shape 1838">
              <a:extLst>
                <a:ext uri="{FF2B5EF4-FFF2-40B4-BE49-F238E27FC236}">
                  <a16:creationId xmlns:a16="http://schemas.microsoft.com/office/drawing/2014/main" id="{927A9A47-E552-481F-9B34-BC9D3F6F326F}"/>
                </a:ext>
              </a:extLst>
            </p:cNvPr>
            <p:cNvSpPr/>
            <p:nvPr/>
          </p:nvSpPr>
          <p:spPr>
            <a:xfrm>
              <a:off x="7824361" y="4943036"/>
              <a:ext cx="79504" cy="56408"/>
            </a:xfrm>
            <a:custGeom>
              <a:avLst/>
              <a:gdLst>
                <a:gd name="connsiteX0" fmla="*/ 539 w 79504"/>
                <a:gd name="connsiteY0" fmla="*/ 49855 h 56408"/>
                <a:gd name="connsiteX1" fmla="*/ 10984 w 79504"/>
                <a:gd name="connsiteY1" fmla="*/ 56152 h 56408"/>
                <a:gd name="connsiteX2" fmla="*/ 13033 w 79504"/>
                <a:gd name="connsiteY2" fmla="*/ 55353 h 56408"/>
                <a:gd name="connsiteX3" fmla="*/ 79504 w 79504"/>
                <a:gd name="connsiteY3" fmla="*/ 19867 h 56408"/>
                <a:gd name="connsiteX4" fmla="*/ 68234 w 79504"/>
                <a:gd name="connsiteY4" fmla="*/ 15694 h 56408"/>
                <a:gd name="connsiteX5" fmla="*/ 67759 w 79504"/>
                <a:gd name="connsiteY5" fmla="*/ 14369 h 56408"/>
                <a:gd name="connsiteX6" fmla="*/ 72258 w 79504"/>
                <a:gd name="connsiteY6" fmla="*/ 0 h 56408"/>
                <a:gd name="connsiteX7" fmla="*/ 72258 w 79504"/>
                <a:gd name="connsiteY7" fmla="*/ 0 h 56408"/>
                <a:gd name="connsiteX8" fmla="*/ 69259 w 79504"/>
                <a:gd name="connsiteY8" fmla="*/ 1624 h 56408"/>
                <a:gd name="connsiteX9" fmla="*/ 6786 w 79504"/>
                <a:gd name="connsiteY9" fmla="*/ 35111 h 56408"/>
                <a:gd name="connsiteX10" fmla="*/ 539 w 79504"/>
                <a:gd name="connsiteY10" fmla="*/ 49855 h 5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504" h="56408">
                  <a:moveTo>
                    <a:pt x="539" y="49855"/>
                  </a:moveTo>
                  <a:cubicBezTo>
                    <a:pt x="1688" y="54478"/>
                    <a:pt x="6361" y="57302"/>
                    <a:pt x="10984" y="56152"/>
                  </a:cubicBezTo>
                  <a:cubicBezTo>
                    <a:pt x="11696" y="55977"/>
                    <a:pt x="12383" y="55703"/>
                    <a:pt x="13033" y="55353"/>
                  </a:cubicBezTo>
                  <a:lnTo>
                    <a:pt x="79504" y="19867"/>
                  </a:lnTo>
                  <a:cubicBezTo>
                    <a:pt x="75244" y="21829"/>
                    <a:pt x="70196" y="19954"/>
                    <a:pt x="68234" y="15694"/>
                  </a:cubicBezTo>
                  <a:cubicBezTo>
                    <a:pt x="68047" y="15269"/>
                    <a:pt x="67885" y="14819"/>
                    <a:pt x="67759" y="14369"/>
                  </a:cubicBezTo>
                  <a:cubicBezTo>
                    <a:pt x="65885" y="9109"/>
                    <a:pt x="67722" y="3248"/>
                    <a:pt x="72258" y="0"/>
                  </a:cubicBezTo>
                  <a:lnTo>
                    <a:pt x="72258" y="0"/>
                  </a:lnTo>
                  <a:lnTo>
                    <a:pt x="69259" y="1624"/>
                  </a:lnTo>
                  <a:lnTo>
                    <a:pt x="6786" y="35111"/>
                  </a:lnTo>
                  <a:cubicBezTo>
                    <a:pt x="1413" y="37872"/>
                    <a:pt x="-1211" y="44082"/>
                    <a:pt x="539" y="49855"/>
                  </a:cubicBezTo>
                  <a:close/>
                </a:path>
              </a:pathLst>
            </a:custGeom>
            <a:solidFill>
              <a:srgbClr val="000000"/>
            </a:solidFill>
            <a:ln w="12483" cap="flat">
              <a:noFill/>
              <a:prstDash val="solid"/>
              <a:miter/>
            </a:ln>
          </p:spPr>
          <p:txBody>
            <a:bodyPr rtlCol="0" anchor="ctr"/>
            <a:lstStyle/>
            <a:p>
              <a:endParaRPr lang="en-US"/>
            </a:p>
          </p:txBody>
        </p:sp>
        <p:sp>
          <p:nvSpPr>
            <p:cNvPr id="1840" name="Freeform: Shape 1839">
              <a:extLst>
                <a:ext uri="{FF2B5EF4-FFF2-40B4-BE49-F238E27FC236}">
                  <a16:creationId xmlns:a16="http://schemas.microsoft.com/office/drawing/2014/main" id="{0FE30230-A74F-4032-A043-28DC8AD79DDC}"/>
                </a:ext>
              </a:extLst>
            </p:cNvPr>
            <p:cNvSpPr/>
            <p:nvPr/>
          </p:nvSpPr>
          <p:spPr>
            <a:xfrm>
              <a:off x="7890666" y="4919692"/>
              <a:ext cx="60317" cy="44237"/>
            </a:xfrm>
            <a:custGeom>
              <a:avLst/>
              <a:gdLst>
                <a:gd name="connsiteX0" fmla="*/ 830 w 60317"/>
                <a:gd name="connsiteY0" fmla="*/ 37963 h 44237"/>
                <a:gd name="connsiteX1" fmla="*/ 11250 w 60317"/>
                <a:gd name="connsiteY1" fmla="*/ 43936 h 44237"/>
                <a:gd name="connsiteX2" fmla="*/ 12575 w 60317"/>
                <a:gd name="connsiteY2" fmla="*/ 43461 h 44237"/>
                <a:gd name="connsiteX3" fmla="*/ 55056 w 60317"/>
                <a:gd name="connsiteY3" fmla="*/ 20845 h 44237"/>
                <a:gd name="connsiteX4" fmla="*/ 56931 w 60317"/>
                <a:gd name="connsiteY4" fmla="*/ 19221 h 44237"/>
                <a:gd name="connsiteX5" fmla="*/ 59679 w 60317"/>
                <a:gd name="connsiteY5" fmla="*/ 6726 h 44237"/>
                <a:gd name="connsiteX6" fmla="*/ 49596 w 60317"/>
                <a:gd name="connsiteY6" fmla="*/ 191 h 44237"/>
                <a:gd name="connsiteX7" fmla="*/ 47185 w 60317"/>
                <a:gd name="connsiteY7" fmla="*/ 1103 h 44237"/>
                <a:gd name="connsiteX8" fmla="*/ 4703 w 60317"/>
                <a:gd name="connsiteY8" fmla="*/ 23719 h 44237"/>
                <a:gd name="connsiteX9" fmla="*/ 830 w 60317"/>
                <a:gd name="connsiteY9" fmla="*/ 37963 h 4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317" h="44237">
                  <a:moveTo>
                    <a:pt x="830" y="37963"/>
                  </a:moveTo>
                  <a:cubicBezTo>
                    <a:pt x="2054" y="42486"/>
                    <a:pt x="6727" y="45173"/>
                    <a:pt x="11250" y="43936"/>
                  </a:cubicBezTo>
                  <a:cubicBezTo>
                    <a:pt x="11713" y="43811"/>
                    <a:pt x="12150" y="43661"/>
                    <a:pt x="12575" y="43461"/>
                  </a:cubicBezTo>
                  <a:lnTo>
                    <a:pt x="55056" y="20845"/>
                  </a:lnTo>
                  <a:cubicBezTo>
                    <a:pt x="55769" y="20408"/>
                    <a:pt x="56393" y="19858"/>
                    <a:pt x="56931" y="19221"/>
                  </a:cubicBezTo>
                  <a:cubicBezTo>
                    <a:pt x="60067" y="15872"/>
                    <a:pt x="61129" y="11074"/>
                    <a:pt x="59679" y="6726"/>
                  </a:cubicBezTo>
                  <a:cubicBezTo>
                    <a:pt x="58705" y="2140"/>
                    <a:pt x="54182" y="-796"/>
                    <a:pt x="49596" y="191"/>
                  </a:cubicBezTo>
                  <a:cubicBezTo>
                    <a:pt x="48747" y="366"/>
                    <a:pt x="47934" y="678"/>
                    <a:pt x="47185" y="1103"/>
                  </a:cubicBezTo>
                  <a:lnTo>
                    <a:pt x="4703" y="23719"/>
                  </a:lnTo>
                  <a:cubicBezTo>
                    <a:pt x="443" y="27118"/>
                    <a:pt x="-1119" y="32878"/>
                    <a:pt x="830" y="37963"/>
                  </a:cubicBezTo>
                  <a:close/>
                </a:path>
              </a:pathLst>
            </a:custGeom>
            <a:solidFill>
              <a:srgbClr val="000000"/>
            </a:solidFill>
            <a:ln w="12483" cap="flat">
              <a:noFill/>
              <a:prstDash val="solid"/>
              <a:miter/>
            </a:ln>
          </p:spPr>
          <p:txBody>
            <a:bodyPr rtlCol="0" anchor="ctr"/>
            <a:lstStyle/>
            <a:p>
              <a:endParaRPr lang="en-US"/>
            </a:p>
          </p:txBody>
        </p:sp>
        <p:sp>
          <p:nvSpPr>
            <p:cNvPr id="1841" name="Freeform: Shape 1840">
              <a:extLst>
                <a:ext uri="{FF2B5EF4-FFF2-40B4-BE49-F238E27FC236}">
                  <a16:creationId xmlns:a16="http://schemas.microsoft.com/office/drawing/2014/main" id="{AA947AD6-1B40-485A-AF04-B80538604CB9}"/>
                </a:ext>
              </a:extLst>
            </p:cNvPr>
            <p:cNvSpPr/>
            <p:nvPr/>
          </p:nvSpPr>
          <p:spPr>
            <a:xfrm>
              <a:off x="8558957" y="5923549"/>
              <a:ext cx="17540" cy="23086"/>
            </a:xfrm>
            <a:custGeom>
              <a:avLst/>
              <a:gdLst>
                <a:gd name="connsiteX0" fmla="*/ 16618 w 17540"/>
                <a:gd name="connsiteY0" fmla="*/ 6468 h 23086"/>
                <a:gd name="connsiteX1" fmla="*/ 6560 w 17540"/>
                <a:gd name="connsiteY1" fmla="*/ 221 h 23086"/>
                <a:gd name="connsiteX2" fmla="*/ 4123 w 17540"/>
                <a:gd name="connsiteY2" fmla="*/ 1220 h 23086"/>
                <a:gd name="connsiteX3" fmla="*/ 1249 w 17540"/>
                <a:gd name="connsiteY3" fmla="*/ 2844 h 23086"/>
                <a:gd name="connsiteX4" fmla="*/ 0 w 17540"/>
                <a:gd name="connsiteY4" fmla="*/ 3594 h 23086"/>
                <a:gd name="connsiteX5" fmla="*/ 0 w 17540"/>
                <a:gd name="connsiteY5" fmla="*/ 3594 h 23086"/>
                <a:gd name="connsiteX6" fmla="*/ 11507 w 17540"/>
                <a:gd name="connsiteY6" fmla="*/ 6368 h 23086"/>
                <a:gd name="connsiteX7" fmla="*/ 12495 w 17540"/>
                <a:gd name="connsiteY7" fmla="*/ 8717 h 23086"/>
                <a:gd name="connsiteX8" fmla="*/ 8246 w 17540"/>
                <a:gd name="connsiteY8" fmla="*/ 23086 h 23086"/>
                <a:gd name="connsiteX9" fmla="*/ 12245 w 17540"/>
                <a:gd name="connsiteY9" fmla="*/ 20837 h 23086"/>
                <a:gd name="connsiteX10" fmla="*/ 12245 w 17540"/>
                <a:gd name="connsiteY10" fmla="*/ 20837 h 23086"/>
                <a:gd name="connsiteX11" fmla="*/ 16618 w 17540"/>
                <a:gd name="connsiteY11" fmla="*/ 6468 h 2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40" h="23086">
                  <a:moveTo>
                    <a:pt x="16618" y="6468"/>
                  </a:moveTo>
                  <a:cubicBezTo>
                    <a:pt x="15568" y="1970"/>
                    <a:pt x="11058" y="-829"/>
                    <a:pt x="6560" y="221"/>
                  </a:cubicBezTo>
                  <a:cubicBezTo>
                    <a:pt x="5697" y="433"/>
                    <a:pt x="4873" y="758"/>
                    <a:pt x="4123" y="1220"/>
                  </a:cubicBezTo>
                  <a:lnTo>
                    <a:pt x="1249" y="2844"/>
                  </a:lnTo>
                  <a:lnTo>
                    <a:pt x="0" y="3594"/>
                  </a:lnTo>
                  <a:lnTo>
                    <a:pt x="0" y="3594"/>
                  </a:lnTo>
                  <a:cubicBezTo>
                    <a:pt x="3948" y="1183"/>
                    <a:pt x="9096" y="2420"/>
                    <a:pt x="11507" y="6368"/>
                  </a:cubicBezTo>
                  <a:cubicBezTo>
                    <a:pt x="11957" y="7093"/>
                    <a:pt x="12295" y="7893"/>
                    <a:pt x="12495" y="8717"/>
                  </a:cubicBezTo>
                  <a:cubicBezTo>
                    <a:pt x="14719" y="13903"/>
                    <a:pt x="12932" y="19938"/>
                    <a:pt x="8246" y="23086"/>
                  </a:cubicBezTo>
                  <a:lnTo>
                    <a:pt x="12245" y="20837"/>
                  </a:lnTo>
                  <a:lnTo>
                    <a:pt x="12245" y="20837"/>
                  </a:lnTo>
                  <a:cubicBezTo>
                    <a:pt x="16980" y="17726"/>
                    <a:pt x="18817" y="11691"/>
                    <a:pt x="16618" y="6468"/>
                  </a:cubicBezTo>
                  <a:close/>
                </a:path>
              </a:pathLst>
            </a:custGeom>
            <a:solidFill>
              <a:srgbClr val="000000"/>
            </a:solidFill>
            <a:ln w="12483" cap="flat">
              <a:noFill/>
              <a:prstDash val="solid"/>
              <a:miter/>
            </a:ln>
          </p:spPr>
          <p:txBody>
            <a:bodyPr rtlCol="0" anchor="ctr"/>
            <a:lstStyle/>
            <a:p>
              <a:endParaRPr lang="en-US"/>
            </a:p>
          </p:txBody>
        </p:sp>
        <p:sp>
          <p:nvSpPr>
            <p:cNvPr id="1842" name="Freeform: Shape 1841">
              <a:extLst>
                <a:ext uri="{FF2B5EF4-FFF2-40B4-BE49-F238E27FC236}">
                  <a16:creationId xmlns:a16="http://schemas.microsoft.com/office/drawing/2014/main" id="{251AF14C-3BC6-4454-B49B-59EDA5ECB12C}"/>
                </a:ext>
              </a:extLst>
            </p:cNvPr>
            <p:cNvSpPr/>
            <p:nvPr/>
          </p:nvSpPr>
          <p:spPr>
            <a:xfrm>
              <a:off x="8442382" y="5926408"/>
              <a:ext cx="130079" cy="86451"/>
            </a:xfrm>
            <a:custGeom>
              <a:avLst/>
              <a:gdLst>
                <a:gd name="connsiteX0" fmla="*/ 129194 w 130079"/>
                <a:gd name="connsiteY0" fmla="*/ 6358 h 86451"/>
                <a:gd name="connsiteX1" fmla="*/ 119049 w 130079"/>
                <a:gd name="connsiteY1" fmla="*/ 248 h 86451"/>
                <a:gd name="connsiteX2" fmla="*/ 116700 w 130079"/>
                <a:gd name="connsiteY2" fmla="*/ 1235 h 86451"/>
                <a:gd name="connsiteX3" fmla="*/ 116700 w 130079"/>
                <a:gd name="connsiteY3" fmla="*/ 1235 h 86451"/>
                <a:gd name="connsiteX4" fmla="*/ 114950 w 130079"/>
                <a:gd name="connsiteY4" fmla="*/ 2235 h 86451"/>
                <a:gd name="connsiteX5" fmla="*/ 0 w 130079"/>
                <a:gd name="connsiteY5" fmla="*/ 67709 h 86451"/>
                <a:gd name="connsiteX6" fmla="*/ 4373 w 130079"/>
                <a:gd name="connsiteY6" fmla="*/ 74581 h 86451"/>
                <a:gd name="connsiteX7" fmla="*/ 7247 w 130079"/>
                <a:gd name="connsiteY7" fmla="*/ 78954 h 86451"/>
                <a:gd name="connsiteX8" fmla="*/ 9121 w 130079"/>
                <a:gd name="connsiteY8" fmla="*/ 86451 h 86451"/>
                <a:gd name="connsiteX9" fmla="*/ 11245 w 130079"/>
                <a:gd name="connsiteY9" fmla="*/ 85201 h 86451"/>
                <a:gd name="connsiteX10" fmla="*/ 124446 w 130079"/>
                <a:gd name="connsiteY10" fmla="*/ 20852 h 86451"/>
                <a:gd name="connsiteX11" fmla="*/ 124446 w 130079"/>
                <a:gd name="connsiteY11" fmla="*/ 20852 h 86451"/>
                <a:gd name="connsiteX12" fmla="*/ 129194 w 130079"/>
                <a:gd name="connsiteY12" fmla="*/ 6358 h 8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079" h="86451">
                  <a:moveTo>
                    <a:pt x="129194" y="6358"/>
                  </a:moveTo>
                  <a:cubicBezTo>
                    <a:pt x="128082" y="1872"/>
                    <a:pt x="123534" y="-864"/>
                    <a:pt x="119049" y="248"/>
                  </a:cubicBezTo>
                  <a:cubicBezTo>
                    <a:pt x="118224" y="460"/>
                    <a:pt x="117424" y="785"/>
                    <a:pt x="116700" y="1235"/>
                  </a:cubicBezTo>
                  <a:lnTo>
                    <a:pt x="116700" y="1235"/>
                  </a:lnTo>
                  <a:lnTo>
                    <a:pt x="114950" y="2235"/>
                  </a:lnTo>
                  <a:lnTo>
                    <a:pt x="0" y="67709"/>
                  </a:lnTo>
                  <a:lnTo>
                    <a:pt x="4373" y="74581"/>
                  </a:lnTo>
                  <a:lnTo>
                    <a:pt x="7247" y="78954"/>
                  </a:lnTo>
                  <a:cubicBezTo>
                    <a:pt x="8646" y="81191"/>
                    <a:pt x="9308" y="83815"/>
                    <a:pt x="9121" y="86451"/>
                  </a:cubicBezTo>
                  <a:lnTo>
                    <a:pt x="11245" y="85201"/>
                  </a:lnTo>
                  <a:lnTo>
                    <a:pt x="124446" y="20852"/>
                  </a:lnTo>
                  <a:lnTo>
                    <a:pt x="124446" y="20852"/>
                  </a:lnTo>
                  <a:cubicBezTo>
                    <a:pt x="129382" y="17841"/>
                    <a:pt x="131393" y="11706"/>
                    <a:pt x="129194" y="6358"/>
                  </a:cubicBezTo>
                  <a:close/>
                </a:path>
              </a:pathLst>
            </a:custGeom>
            <a:solidFill>
              <a:srgbClr val="000000"/>
            </a:solidFill>
            <a:ln w="12483" cap="flat">
              <a:noFill/>
              <a:prstDash val="solid"/>
              <a:miter/>
            </a:ln>
          </p:spPr>
          <p:txBody>
            <a:bodyPr rtlCol="0" anchor="ctr"/>
            <a:lstStyle/>
            <a:p>
              <a:endParaRPr lang="en-US"/>
            </a:p>
          </p:txBody>
        </p:sp>
        <p:sp>
          <p:nvSpPr>
            <p:cNvPr id="1843" name="Freeform: Shape 1842">
              <a:extLst>
                <a:ext uri="{FF2B5EF4-FFF2-40B4-BE49-F238E27FC236}">
                  <a16:creationId xmlns:a16="http://schemas.microsoft.com/office/drawing/2014/main" id="{EDD4BDC4-8263-4D75-A6E3-67F0D7768CD5}"/>
                </a:ext>
              </a:extLst>
            </p:cNvPr>
            <p:cNvSpPr/>
            <p:nvPr/>
          </p:nvSpPr>
          <p:spPr>
            <a:xfrm>
              <a:off x="10961294" y="3780874"/>
              <a:ext cx="242788" cy="282719"/>
            </a:xfrm>
            <a:custGeom>
              <a:avLst/>
              <a:gdLst>
                <a:gd name="connsiteX0" fmla="*/ 12495 w 242788"/>
                <a:gd name="connsiteY0" fmla="*/ 15619 h 282719"/>
                <a:gd name="connsiteX1" fmla="*/ 1462 w 242788"/>
                <a:gd name="connsiteY1" fmla="*/ 17081 h 282719"/>
                <a:gd name="connsiteX2" fmla="*/ 0 w 242788"/>
                <a:gd name="connsiteY2" fmla="*/ 15619 h 282719"/>
                <a:gd name="connsiteX3" fmla="*/ 227652 w 242788"/>
                <a:gd name="connsiteY3" fmla="*/ 279639 h 282719"/>
                <a:gd name="connsiteX4" fmla="*/ 238684 w 242788"/>
                <a:gd name="connsiteY4" fmla="*/ 281101 h 282719"/>
                <a:gd name="connsiteX5" fmla="*/ 240146 w 242788"/>
                <a:gd name="connsiteY5" fmla="*/ 279639 h 282719"/>
                <a:gd name="connsiteX6" fmla="*/ 240146 w 242788"/>
                <a:gd name="connsiteY6" fmla="*/ 264270 h 282719"/>
                <a:gd name="connsiteX7" fmla="*/ 236148 w 242788"/>
                <a:gd name="connsiteY7" fmla="*/ 259646 h 282719"/>
                <a:gd name="connsiteX8" fmla="*/ 233149 w 242788"/>
                <a:gd name="connsiteY8" fmla="*/ 256148 h 282719"/>
                <a:gd name="connsiteX9" fmla="*/ 12370 w 242788"/>
                <a:gd name="connsiteY9" fmla="*/ 0 h 282719"/>
                <a:gd name="connsiteX10" fmla="*/ 12495 w 242788"/>
                <a:gd name="connsiteY10" fmla="*/ 15619 h 28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788" h="282719">
                  <a:moveTo>
                    <a:pt x="12495" y="15619"/>
                  </a:moveTo>
                  <a:cubicBezTo>
                    <a:pt x="9846" y="19067"/>
                    <a:pt x="4910" y="19717"/>
                    <a:pt x="1462" y="17081"/>
                  </a:cubicBezTo>
                  <a:cubicBezTo>
                    <a:pt x="912" y="16656"/>
                    <a:pt x="425" y="16169"/>
                    <a:pt x="0" y="15619"/>
                  </a:cubicBezTo>
                  <a:lnTo>
                    <a:pt x="227652" y="279639"/>
                  </a:lnTo>
                  <a:cubicBezTo>
                    <a:pt x="230301" y="283087"/>
                    <a:pt x="235236" y="283737"/>
                    <a:pt x="238684" y="281101"/>
                  </a:cubicBezTo>
                  <a:cubicBezTo>
                    <a:pt x="239234" y="280676"/>
                    <a:pt x="239721" y="280188"/>
                    <a:pt x="240146" y="279639"/>
                  </a:cubicBezTo>
                  <a:cubicBezTo>
                    <a:pt x="243670" y="275115"/>
                    <a:pt x="243670" y="268793"/>
                    <a:pt x="240146" y="264270"/>
                  </a:cubicBezTo>
                  <a:lnTo>
                    <a:pt x="236148" y="259646"/>
                  </a:lnTo>
                  <a:lnTo>
                    <a:pt x="233149" y="256148"/>
                  </a:lnTo>
                  <a:lnTo>
                    <a:pt x="12370" y="0"/>
                  </a:lnTo>
                  <a:cubicBezTo>
                    <a:pt x="16056" y="4536"/>
                    <a:pt x="16118" y="11020"/>
                    <a:pt x="12495" y="15619"/>
                  </a:cubicBezTo>
                  <a:close/>
                </a:path>
              </a:pathLst>
            </a:custGeom>
            <a:solidFill>
              <a:srgbClr val="000000"/>
            </a:solidFill>
            <a:ln w="12483" cap="flat">
              <a:noFill/>
              <a:prstDash val="solid"/>
              <a:miter/>
            </a:ln>
          </p:spPr>
          <p:txBody>
            <a:bodyPr rtlCol="0" anchor="ctr"/>
            <a:lstStyle/>
            <a:p>
              <a:endParaRPr lang="en-US"/>
            </a:p>
          </p:txBody>
        </p:sp>
        <p:sp>
          <p:nvSpPr>
            <p:cNvPr id="1844" name="Freeform: Shape 1843">
              <a:extLst>
                <a:ext uri="{FF2B5EF4-FFF2-40B4-BE49-F238E27FC236}">
                  <a16:creationId xmlns:a16="http://schemas.microsoft.com/office/drawing/2014/main" id="{A0CB3CBF-7278-46D8-8EDF-4B503DEBACB5}"/>
                </a:ext>
              </a:extLst>
            </p:cNvPr>
            <p:cNvSpPr/>
            <p:nvPr/>
          </p:nvSpPr>
          <p:spPr>
            <a:xfrm>
              <a:off x="10755133" y="3528100"/>
              <a:ext cx="221797" cy="271723"/>
            </a:xfrm>
            <a:custGeom>
              <a:avLst/>
              <a:gdLst>
                <a:gd name="connsiteX0" fmla="*/ 10746 w 221797"/>
                <a:gd name="connsiteY0" fmla="*/ 12120 h 271723"/>
                <a:gd name="connsiteX1" fmla="*/ 1124 w 221797"/>
                <a:gd name="connsiteY1" fmla="*/ 1000 h 271723"/>
                <a:gd name="connsiteX2" fmla="*/ 0 w 221797"/>
                <a:gd name="connsiteY2" fmla="*/ 0 h 271723"/>
                <a:gd name="connsiteX3" fmla="*/ 3873 w 221797"/>
                <a:gd name="connsiteY3" fmla="*/ 9121 h 271723"/>
                <a:gd name="connsiteX4" fmla="*/ 3873 w 221797"/>
                <a:gd name="connsiteY4" fmla="*/ 33487 h 271723"/>
                <a:gd name="connsiteX5" fmla="*/ 206661 w 221797"/>
                <a:gd name="connsiteY5" fmla="*/ 268643 h 271723"/>
                <a:gd name="connsiteX6" fmla="*/ 217693 w 221797"/>
                <a:gd name="connsiteY6" fmla="*/ 270105 h 271723"/>
                <a:gd name="connsiteX7" fmla="*/ 219155 w 221797"/>
                <a:gd name="connsiteY7" fmla="*/ 268643 h 271723"/>
                <a:gd name="connsiteX8" fmla="*/ 219155 w 221797"/>
                <a:gd name="connsiteY8" fmla="*/ 253274 h 271723"/>
                <a:gd name="connsiteX9" fmla="*/ 214907 w 221797"/>
                <a:gd name="connsiteY9" fmla="*/ 248401 h 271723"/>
                <a:gd name="connsiteX10" fmla="*/ 211908 w 221797"/>
                <a:gd name="connsiteY10" fmla="*/ 244902 h 27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797" h="271723">
                  <a:moveTo>
                    <a:pt x="10746" y="12120"/>
                  </a:moveTo>
                  <a:lnTo>
                    <a:pt x="1124" y="1000"/>
                  </a:lnTo>
                  <a:cubicBezTo>
                    <a:pt x="787" y="637"/>
                    <a:pt x="400" y="300"/>
                    <a:pt x="0" y="0"/>
                  </a:cubicBezTo>
                  <a:cubicBezTo>
                    <a:pt x="2574" y="2324"/>
                    <a:pt x="3986" y="5660"/>
                    <a:pt x="3873" y="9121"/>
                  </a:cubicBezTo>
                  <a:lnTo>
                    <a:pt x="3873" y="33487"/>
                  </a:lnTo>
                  <a:lnTo>
                    <a:pt x="206661" y="268643"/>
                  </a:lnTo>
                  <a:cubicBezTo>
                    <a:pt x="209310" y="272091"/>
                    <a:pt x="214245" y="272741"/>
                    <a:pt x="217693" y="270105"/>
                  </a:cubicBezTo>
                  <a:cubicBezTo>
                    <a:pt x="218243" y="269680"/>
                    <a:pt x="218731" y="269193"/>
                    <a:pt x="219155" y="268643"/>
                  </a:cubicBezTo>
                  <a:cubicBezTo>
                    <a:pt x="222679" y="264120"/>
                    <a:pt x="222679" y="257797"/>
                    <a:pt x="219155" y="253274"/>
                  </a:cubicBezTo>
                  <a:lnTo>
                    <a:pt x="214907" y="248401"/>
                  </a:lnTo>
                  <a:lnTo>
                    <a:pt x="211908" y="244902"/>
                  </a:lnTo>
                  <a:close/>
                </a:path>
              </a:pathLst>
            </a:custGeom>
            <a:solidFill>
              <a:srgbClr val="000000"/>
            </a:solidFill>
            <a:ln w="12483" cap="flat">
              <a:noFill/>
              <a:prstDash val="solid"/>
              <a:miter/>
            </a:ln>
          </p:spPr>
          <p:txBody>
            <a:bodyPr rtlCol="0" anchor="ctr"/>
            <a:lstStyle/>
            <a:p>
              <a:endParaRPr lang="en-US"/>
            </a:p>
          </p:txBody>
        </p:sp>
        <p:sp>
          <p:nvSpPr>
            <p:cNvPr id="1845" name="Freeform: Shape 1844">
              <a:extLst>
                <a:ext uri="{FF2B5EF4-FFF2-40B4-BE49-F238E27FC236}">
                  <a16:creationId xmlns:a16="http://schemas.microsoft.com/office/drawing/2014/main" id="{7CC42B58-8297-47F9-BF53-C33D4133156E}"/>
                </a:ext>
              </a:extLst>
            </p:cNvPr>
            <p:cNvSpPr/>
            <p:nvPr/>
          </p:nvSpPr>
          <p:spPr>
            <a:xfrm>
              <a:off x="10741592" y="3532723"/>
              <a:ext cx="46" cy="2249"/>
            </a:xfrm>
            <a:custGeom>
              <a:avLst/>
              <a:gdLst>
                <a:gd name="connsiteX0" fmla="*/ 47 w 46"/>
                <a:gd name="connsiteY0" fmla="*/ 250 h 2249"/>
                <a:gd name="connsiteX1" fmla="*/ 47 w 46"/>
                <a:gd name="connsiteY1" fmla="*/ 2249 h 2249"/>
                <a:gd name="connsiteX2" fmla="*/ 47 w 46"/>
                <a:gd name="connsiteY2" fmla="*/ 0 h 2249"/>
              </a:gdLst>
              <a:ahLst/>
              <a:cxnLst>
                <a:cxn ang="0">
                  <a:pos x="connsiteX0" y="connsiteY0"/>
                </a:cxn>
                <a:cxn ang="0">
                  <a:pos x="connsiteX1" y="connsiteY1"/>
                </a:cxn>
                <a:cxn ang="0">
                  <a:pos x="connsiteX2" y="connsiteY2"/>
                </a:cxn>
              </a:cxnLst>
              <a:rect l="l" t="t" r="r" b="b"/>
              <a:pathLst>
                <a:path w="46" h="2249">
                  <a:moveTo>
                    <a:pt x="47" y="250"/>
                  </a:moveTo>
                  <a:cubicBezTo>
                    <a:pt x="47" y="875"/>
                    <a:pt x="47" y="1624"/>
                    <a:pt x="47" y="2249"/>
                  </a:cubicBezTo>
                  <a:cubicBezTo>
                    <a:pt x="-16" y="1499"/>
                    <a:pt x="-16" y="750"/>
                    <a:pt x="47" y="0"/>
                  </a:cubicBezTo>
                  <a:close/>
                </a:path>
              </a:pathLst>
            </a:custGeom>
            <a:solidFill>
              <a:srgbClr val="000000"/>
            </a:solidFill>
            <a:ln w="12483" cap="flat">
              <a:noFill/>
              <a:prstDash val="solid"/>
              <a:miter/>
            </a:ln>
          </p:spPr>
          <p:txBody>
            <a:bodyPr rtlCol="0" anchor="ctr"/>
            <a:lstStyle/>
            <a:p>
              <a:endParaRPr lang="en-US"/>
            </a:p>
          </p:txBody>
        </p:sp>
        <p:sp>
          <p:nvSpPr>
            <p:cNvPr id="1846" name="Freeform: Shape 1845">
              <a:extLst>
                <a:ext uri="{FF2B5EF4-FFF2-40B4-BE49-F238E27FC236}">
                  <a16:creationId xmlns:a16="http://schemas.microsoft.com/office/drawing/2014/main" id="{F7C8DBAF-AA14-44EB-B7B8-AFE478C83C29}"/>
                </a:ext>
              </a:extLst>
            </p:cNvPr>
            <p:cNvSpPr/>
            <p:nvPr/>
          </p:nvSpPr>
          <p:spPr>
            <a:xfrm>
              <a:off x="10751509" y="3526669"/>
              <a:ext cx="1999" cy="680"/>
            </a:xfrm>
            <a:custGeom>
              <a:avLst/>
              <a:gdLst>
                <a:gd name="connsiteX0" fmla="*/ 1749 w 1999"/>
                <a:gd name="connsiteY0" fmla="*/ 56 h 680"/>
                <a:gd name="connsiteX1" fmla="*/ 0 w 1999"/>
                <a:gd name="connsiteY1" fmla="*/ 56 h 680"/>
                <a:gd name="connsiteX2" fmla="*/ 1999 w 1999"/>
                <a:gd name="connsiteY2" fmla="*/ 681 h 680"/>
              </a:gdLst>
              <a:ahLst/>
              <a:cxnLst>
                <a:cxn ang="0">
                  <a:pos x="connsiteX0" y="connsiteY0"/>
                </a:cxn>
                <a:cxn ang="0">
                  <a:pos x="connsiteX1" y="connsiteY1"/>
                </a:cxn>
                <a:cxn ang="0">
                  <a:pos x="connsiteX2" y="connsiteY2"/>
                </a:cxn>
              </a:cxnLst>
              <a:rect l="l" t="t" r="r" b="b"/>
              <a:pathLst>
                <a:path w="1999" h="680">
                  <a:moveTo>
                    <a:pt x="1749" y="56"/>
                  </a:moveTo>
                  <a:cubicBezTo>
                    <a:pt x="1162" y="-19"/>
                    <a:pt x="575" y="-19"/>
                    <a:pt x="0" y="56"/>
                  </a:cubicBezTo>
                  <a:cubicBezTo>
                    <a:pt x="700" y="131"/>
                    <a:pt x="1375" y="344"/>
                    <a:pt x="1999" y="681"/>
                  </a:cubicBezTo>
                  <a:close/>
                </a:path>
              </a:pathLst>
            </a:custGeom>
            <a:solidFill>
              <a:srgbClr val="000000"/>
            </a:solidFill>
            <a:ln w="12483" cap="flat">
              <a:noFill/>
              <a:prstDash val="solid"/>
              <a:miter/>
            </a:ln>
          </p:spPr>
          <p:txBody>
            <a:bodyPr rtlCol="0" anchor="ctr"/>
            <a:lstStyle/>
            <a:p>
              <a:endParaRPr lang="en-US"/>
            </a:p>
          </p:txBody>
        </p:sp>
        <p:sp>
          <p:nvSpPr>
            <p:cNvPr id="1847" name="Freeform: Shape 1846">
              <a:extLst>
                <a:ext uri="{FF2B5EF4-FFF2-40B4-BE49-F238E27FC236}">
                  <a16:creationId xmlns:a16="http://schemas.microsoft.com/office/drawing/2014/main" id="{97CAB1F9-4DBD-4843-ABD6-0C2552BAFC4F}"/>
                </a:ext>
              </a:extLst>
            </p:cNvPr>
            <p:cNvSpPr/>
            <p:nvPr/>
          </p:nvSpPr>
          <p:spPr>
            <a:xfrm>
              <a:off x="10742888" y="3529225"/>
              <a:ext cx="874" cy="1499"/>
            </a:xfrm>
            <a:custGeom>
              <a:avLst/>
              <a:gdLst>
                <a:gd name="connsiteX0" fmla="*/ 750 w 874"/>
                <a:gd name="connsiteY0" fmla="*/ 125 h 1499"/>
                <a:gd name="connsiteX1" fmla="*/ 0 w 874"/>
                <a:gd name="connsiteY1" fmla="*/ 1499 h 1499"/>
                <a:gd name="connsiteX2" fmla="*/ 875 w 874"/>
                <a:gd name="connsiteY2" fmla="*/ 0 h 1499"/>
              </a:gdLst>
              <a:ahLst/>
              <a:cxnLst>
                <a:cxn ang="0">
                  <a:pos x="connsiteX0" y="connsiteY0"/>
                </a:cxn>
                <a:cxn ang="0">
                  <a:pos x="connsiteX1" y="connsiteY1"/>
                </a:cxn>
                <a:cxn ang="0">
                  <a:pos x="connsiteX2" y="connsiteY2"/>
                </a:cxn>
              </a:cxnLst>
              <a:rect l="l" t="t" r="r" b="b"/>
              <a:pathLst>
                <a:path w="874" h="1499">
                  <a:moveTo>
                    <a:pt x="750" y="125"/>
                  </a:moveTo>
                  <a:cubicBezTo>
                    <a:pt x="425" y="537"/>
                    <a:pt x="175" y="1000"/>
                    <a:pt x="0" y="1499"/>
                  </a:cubicBezTo>
                  <a:cubicBezTo>
                    <a:pt x="213" y="962"/>
                    <a:pt x="512" y="450"/>
                    <a:pt x="875" y="0"/>
                  </a:cubicBezTo>
                  <a:close/>
                </a:path>
              </a:pathLst>
            </a:custGeom>
            <a:solidFill>
              <a:srgbClr val="000000"/>
            </a:solidFill>
            <a:ln w="12483" cap="flat">
              <a:noFill/>
              <a:prstDash val="solid"/>
              <a:miter/>
            </a:ln>
          </p:spPr>
          <p:txBody>
            <a:bodyPr rtlCol="0" anchor="ctr"/>
            <a:lstStyle/>
            <a:p>
              <a:endParaRPr lang="en-US"/>
            </a:p>
          </p:txBody>
        </p:sp>
        <p:sp>
          <p:nvSpPr>
            <p:cNvPr id="1848" name="Freeform: Shape 1847">
              <a:extLst>
                <a:ext uri="{FF2B5EF4-FFF2-40B4-BE49-F238E27FC236}">
                  <a16:creationId xmlns:a16="http://schemas.microsoft.com/office/drawing/2014/main" id="{A519C45B-BE28-4691-872E-C15030648EA9}"/>
                </a:ext>
              </a:extLst>
            </p:cNvPr>
            <p:cNvSpPr/>
            <p:nvPr/>
          </p:nvSpPr>
          <p:spPr>
            <a:xfrm>
              <a:off x="10738331" y="3526045"/>
              <a:ext cx="20056" cy="141000"/>
            </a:xfrm>
            <a:custGeom>
              <a:avLst/>
              <a:gdLst>
                <a:gd name="connsiteX0" fmla="*/ 8680 w 20056"/>
                <a:gd name="connsiteY0" fmla="*/ 129879 h 141000"/>
                <a:gd name="connsiteX1" fmla="*/ 17302 w 20056"/>
                <a:gd name="connsiteY1" fmla="*/ 141000 h 141000"/>
                <a:gd name="connsiteX2" fmla="*/ 20050 w 20056"/>
                <a:gd name="connsiteY2" fmla="*/ 35292 h 141000"/>
                <a:gd name="connsiteX3" fmla="*/ 20050 w 20056"/>
                <a:gd name="connsiteY3" fmla="*/ 10927 h 141000"/>
                <a:gd name="connsiteX4" fmla="*/ 16177 w 20056"/>
                <a:gd name="connsiteY4" fmla="*/ 1805 h 141000"/>
                <a:gd name="connsiteX5" fmla="*/ 14553 w 20056"/>
                <a:gd name="connsiteY5" fmla="*/ 681 h 141000"/>
                <a:gd name="connsiteX6" fmla="*/ 12554 w 20056"/>
                <a:gd name="connsiteY6" fmla="*/ 56 h 141000"/>
                <a:gd name="connsiteX7" fmla="*/ 11429 w 20056"/>
                <a:gd name="connsiteY7" fmla="*/ 56 h 141000"/>
                <a:gd name="connsiteX8" fmla="*/ 11429 w 20056"/>
                <a:gd name="connsiteY8" fmla="*/ 56 h 141000"/>
                <a:gd name="connsiteX9" fmla="*/ 9430 w 20056"/>
                <a:gd name="connsiteY9" fmla="*/ 56 h 141000"/>
                <a:gd name="connsiteX10" fmla="*/ 7931 w 20056"/>
                <a:gd name="connsiteY10" fmla="*/ 56 h 141000"/>
                <a:gd name="connsiteX11" fmla="*/ 6681 w 20056"/>
                <a:gd name="connsiteY11" fmla="*/ 1056 h 141000"/>
                <a:gd name="connsiteX12" fmla="*/ 5057 w 20056"/>
                <a:gd name="connsiteY12" fmla="*/ 2430 h 141000"/>
                <a:gd name="connsiteX13" fmla="*/ 4182 w 20056"/>
                <a:gd name="connsiteY13" fmla="*/ 3930 h 141000"/>
                <a:gd name="connsiteX14" fmla="*/ 3183 w 20056"/>
                <a:gd name="connsiteY14" fmla="*/ 5929 h 141000"/>
                <a:gd name="connsiteX15" fmla="*/ 3183 w 20056"/>
                <a:gd name="connsiteY15" fmla="*/ 8178 h 141000"/>
                <a:gd name="connsiteX16" fmla="*/ 3183 w 20056"/>
                <a:gd name="connsiteY16" fmla="*/ 9677 h 141000"/>
                <a:gd name="connsiteX17" fmla="*/ 59 w 20056"/>
                <a:gd name="connsiteY17" fmla="*/ 140625 h 141000"/>
                <a:gd name="connsiteX18" fmla="*/ 8680 w 20056"/>
                <a:gd name="connsiteY18" fmla="*/ 129879 h 14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56" h="141000">
                  <a:moveTo>
                    <a:pt x="8680" y="129879"/>
                  </a:moveTo>
                  <a:cubicBezTo>
                    <a:pt x="14078" y="130654"/>
                    <a:pt x="17901" y="135577"/>
                    <a:pt x="17302" y="141000"/>
                  </a:cubicBezTo>
                  <a:lnTo>
                    <a:pt x="20050" y="35292"/>
                  </a:lnTo>
                  <a:lnTo>
                    <a:pt x="20050" y="10927"/>
                  </a:lnTo>
                  <a:cubicBezTo>
                    <a:pt x="20163" y="7466"/>
                    <a:pt x="18751" y="4130"/>
                    <a:pt x="16177" y="1805"/>
                  </a:cubicBezTo>
                  <a:cubicBezTo>
                    <a:pt x="15690" y="1356"/>
                    <a:pt x="15140" y="981"/>
                    <a:pt x="14553" y="681"/>
                  </a:cubicBezTo>
                  <a:cubicBezTo>
                    <a:pt x="13928" y="344"/>
                    <a:pt x="13253" y="131"/>
                    <a:pt x="12554" y="56"/>
                  </a:cubicBezTo>
                  <a:cubicBezTo>
                    <a:pt x="12179" y="106"/>
                    <a:pt x="11804" y="106"/>
                    <a:pt x="11429" y="56"/>
                  </a:cubicBezTo>
                  <a:lnTo>
                    <a:pt x="11429" y="56"/>
                  </a:lnTo>
                  <a:cubicBezTo>
                    <a:pt x="10767" y="-19"/>
                    <a:pt x="10092" y="-19"/>
                    <a:pt x="9430" y="56"/>
                  </a:cubicBezTo>
                  <a:lnTo>
                    <a:pt x="7931" y="56"/>
                  </a:lnTo>
                  <a:lnTo>
                    <a:pt x="6681" y="1056"/>
                  </a:lnTo>
                  <a:cubicBezTo>
                    <a:pt x="6081" y="1443"/>
                    <a:pt x="5532" y="1905"/>
                    <a:pt x="5057" y="2430"/>
                  </a:cubicBezTo>
                  <a:cubicBezTo>
                    <a:pt x="4695" y="2880"/>
                    <a:pt x="4394" y="3392"/>
                    <a:pt x="4182" y="3930"/>
                  </a:cubicBezTo>
                  <a:cubicBezTo>
                    <a:pt x="3770" y="4554"/>
                    <a:pt x="3445" y="5229"/>
                    <a:pt x="3183" y="5929"/>
                  </a:cubicBezTo>
                  <a:cubicBezTo>
                    <a:pt x="3120" y="6679"/>
                    <a:pt x="3120" y="7428"/>
                    <a:pt x="3183" y="8178"/>
                  </a:cubicBezTo>
                  <a:cubicBezTo>
                    <a:pt x="3120" y="8678"/>
                    <a:pt x="3120" y="9178"/>
                    <a:pt x="3183" y="9677"/>
                  </a:cubicBezTo>
                  <a:lnTo>
                    <a:pt x="59" y="140625"/>
                  </a:lnTo>
                  <a:cubicBezTo>
                    <a:pt x="-528" y="135277"/>
                    <a:pt x="3333" y="130467"/>
                    <a:pt x="8680" y="129879"/>
                  </a:cubicBezTo>
                  <a:close/>
                </a:path>
              </a:pathLst>
            </a:custGeom>
            <a:solidFill>
              <a:srgbClr val="000000"/>
            </a:solidFill>
            <a:ln w="12483" cap="flat">
              <a:noFill/>
              <a:prstDash val="solid"/>
              <a:miter/>
            </a:ln>
          </p:spPr>
          <p:txBody>
            <a:bodyPr rtlCol="0" anchor="ctr"/>
            <a:lstStyle/>
            <a:p>
              <a:endParaRPr lang="en-US"/>
            </a:p>
          </p:txBody>
        </p:sp>
        <p:sp>
          <p:nvSpPr>
            <p:cNvPr id="1849" name="Freeform: Shape 1848">
              <a:extLst>
                <a:ext uri="{FF2B5EF4-FFF2-40B4-BE49-F238E27FC236}">
                  <a16:creationId xmlns:a16="http://schemas.microsoft.com/office/drawing/2014/main" id="{70CDA1EF-65C1-4F79-BD0E-15642F23F09C}"/>
                </a:ext>
              </a:extLst>
            </p:cNvPr>
            <p:cNvSpPr/>
            <p:nvPr/>
          </p:nvSpPr>
          <p:spPr>
            <a:xfrm>
              <a:off x="10735949" y="3656174"/>
              <a:ext cx="19746" cy="102459"/>
            </a:xfrm>
            <a:custGeom>
              <a:avLst/>
              <a:gdLst>
                <a:gd name="connsiteX0" fmla="*/ 8314 w 19746"/>
                <a:gd name="connsiteY0" fmla="*/ 102459 h 102459"/>
                <a:gd name="connsiteX1" fmla="*/ 17685 w 19746"/>
                <a:gd name="connsiteY1" fmla="*/ 92089 h 102459"/>
                <a:gd name="connsiteX2" fmla="*/ 19684 w 19746"/>
                <a:gd name="connsiteY2" fmla="*/ 11121 h 102459"/>
                <a:gd name="connsiteX3" fmla="*/ 11063 w 19746"/>
                <a:gd name="connsiteY3" fmla="*/ 0 h 102459"/>
                <a:gd name="connsiteX4" fmla="*/ 1804 w 19746"/>
                <a:gd name="connsiteY4" fmla="*/ 10209 h 102459"/>
                <a:gd name="connsiteX5" fmla="*/ 1817 w 19746"/>
                <a:gd name="connsiteY5" fmla="*/ 10496 h 102459"/>
                <a:gd name="connsiteX6" fmla="*/ 1817 w 19746"/>
                <a:gd name="connsiteY6" fmla="*/ 17868 h 102459"/>
                <a:gd name="connsiteX7" fmla="*/ 68 w 19746"/>
                <a:gd name="connsiteY7" fmla="*/ 84592 h 102459"/>
                <a:gd name="connsiteX8" fmla="*/ 68 w 19746"/>
                <a:gd name="connsiteY8" fmla="*/ 91339 h 102459"/>
                <a:gd name="connsiteX9" fmla="*/ 8314 w 19746"/>
                <a:gd name="connsiteY9" fmla="*/ 102459 h 10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6" h="102459">
                  <a:moveTo>
                    <a:pt x="8314" y="102459"/>
                  </a:moveTo>
                  <a:cubicBezTo>
                    <a:pt x="13737" y="102122"/>
                    <a:pt x="17897" y="97524"/>
                    <a:pt x="17685" y="92089"/>
                  </a:cubicBezTo>
                  <a:lnTo>
                    <a:pt x="19684" y="11121"/>
                  </a:lnTo>
                  <a:cubicBezTo>
                    <a:pt x="20284" y="5698"/>
                    <a:pt x="16461" y="775"/>
                    <a:pt x="11063" y="0"/>
                  </a:cubicBezTo>
                  <a:cubicBezTo>
                    <a:pt x="5690" y="262"/>
                    <a:pt x="1542" y="4823"/>
                    <a:pt x="1804" y="10209"/>
                  </a:cubicBezTo>
                  <a:cubicBezTo>
                    <a:pt x="1804" y="10296"/>
                    <a:pt x="1804" y="10396"/>
                    <a:pt x="1817" y="10496"/>
                  </a:cubicBezTo>
                  <a:lnTo>
                    <a:pt x="1817" y="17868"/>
                  </a:lnTo>
                  <a:lnTo>
                    <a:pt x="68" y="84592"/>
                  </a:lnTo>
                  <a:lnTo>
                    <a:pt x="68" y="91339"/>
                  </a:lnTo>
                  <a:cubicBezTo>
                    <a:pt x="-545" y="96637"/>
                    <a:pt x="3066" y="101510"/>
                    <a:pt x="8314" y="102459"/>
                  </a:cubicBezTo>
                  <a:close/>
                </a:path>
              </a:pathLst>
            </a:custGeom>
            <a:solidFill>
              <a:srgbClr val="000000"/>
            </a:solidFill>
            <a:ln w="12483" cap="flat">
              <a:noFill/>
              <a:prstDash val="solid"/>
              <a:miter/>
            </a:ln>
          </p:spPr>
          <p:txBody>
            <a:bodyPr rtlCol="0" anchor="ctr"/>
            <a:lstStyle/>
            <a:p>
              <a:endParaRPr lang="en-US"/>
            </a:p>
          </p:txBody>
        </p:sp>
        <p:sp>
          <p:nvSpPr>
            <p:cNvPr id="1850" name="Freeform: Shape 1849">
              <a:extLst>
                <a:ext uri="{FF2B5EF4-FFF2-40B4-BE49-F238E27FC236}">
                  <a16:creationId xmlns:a16="http://schemas.microsoft.com/office/drawing/2014/main" id="{B34FAC17-68B9-4D5E-BB5E-1FDE9CAEB546}"/>
                </a:ext>
              </a:extLst>
            </p:cNvPr>
            <p:cNvSpPr/>
            <p:nvPr/>
          </p:nvSpPr>
          <p:spPr>
            <a:xfrm>
              <a:off x="10977662" y="3376620"/>
              <a:ext cx="23671" cy="25655"/>
            </a:xfrm>
            <a:custGeom>
              <a:avLst/>
              <a:gdLst>
                <a:gd name="connsiteX0" fmla="*/ 13744 w 23671"/>
                <a:gd name="connsiteY0" fmla="*/ 41 h 25655"/>
                <a:gd name="connsiteX1" fmla="*/ 12495 w 23671"/>
                <a:gd name="connsiteY1" fmla="*/ 41 h 25655"/>
                <a:gd name="connsiteX2" fmla="*/ 12495 w 23671"/>
                <a:gd name="connsiteY2" fmla="*/ 41 h 25655"/>
                <a:gd name="connsiteX3" fmla="*/ 10746 w 23671"/>
                <a:gd name="connsiteY3" fmla="*/ 41 h 25655"/>
                <a:gd name="connsiteX4" fmla="*/ 10746 w 23671"/>
                <a:gd name="connsiteY4" fmla="*/ 41 h 25655"/>
                <a:gd name="connsiteX5" fmla="*/ 0 w 23671"/>
                <a:gd name="connsiteY5" fmla="*/ 5788 h 25655"/>
                <a:gd name="connsiteX6" fmla="*/ 0 w 23671"/>
                <a:gd name="connsiteY6" fmla="*/ 5788 h 25655"/>
                <a:gd name="connsiteX7" fmla="*/ 11695 w 23671"/>
                <a:gd name="connsiteY7" fmla="*/ 9237 h 25655"/>
                <a:gd name="connsiteX8" fmla="*/ 12495 w 23671"/>
                <a:gd name="connsiteY8" fmla="*/ 11286 h 25655"/>
                <a:gd name="connsiteX9" fmla="*/ 7872 w 23671"/>
                <a:gd name="connsiteY9" fmla="*/ 25655 h 25655"/>
                <a:gd name="connsiteX10" fmla="*/ 7872 w 23671"/>
                <a:gd name="connsiteY10" fmla="*/ 25655 h 25655"/>
                <a:gd name="connsiteX11" fmla="*/ 18242 w 23671"/>
                <a:gd name="connsiteY11" fmla="*/ 20157 h 25655"/>
                <a:gd name="connsiteX12" fmla="*/ 19492 w 23671"/>
                <a:gd name="connsiteY12" fmla="*/ 19158 h 25655"/>
                <a:gd name="connsiteX13" fmla="*/ 23615 w 23671"/>
                <a:gd name="connsiteY13" fmla="*/ 10411 h 25655"/>
                <a:gd name="connsiteX14" fmla="*/ 23615 w 23671"/>
                <a:gd name="connsiteY14" fmla="*/ 8287 h 25655"/>
                <a:gd name="connsiteX15" fmla="*/ 23615 w 23671"/>
                <a:gd name="connsiteY15" fmla="*/ 6163 h 25655"/>
                <a:gd name="connsiteX16" fmla="*/ 23615 w 23671"/>
                <a:gd name="connsiteY16" fmla="*/ 6163 h 25655"/>
                <a:gd name="connsiteX17" fmla="*/ 22865 w 23671"/>
                <a:gd name="connsiteY17" fmla="*/ 4914 h 25655"/>
                <a:gd name="connsiteX18" fmla="*/ 21741 w 23671"/>
                <a:gd name="connsiteY18" fmla="*/ 3039 h 25655"/>
                <a:gd name="connsiteX19" fmla="*/ 20366 w 23671"/>
                <a:gd name="connsiteY19" fmla="*/ 1790 h 25655"/>
                <a:gd name="connsiteX20" fmla="*/ 18867 w 23671"/>
                <a:gd name="connsiteY20" fmla="*/ 665 h 25655"/>
                <a:gd name="connsiteX21" fmla="*/ 17368 w 23671"/>
                <a:gd name="connsiteY21" fmla="*/ 665 h 25655"/>
                <a:gd name="connsiteX22" fmla="*/ 17368 w 23671"/>
                <a:gd name="connsiteY22" fmla="*/ 665 h 25655"/>
                <a:gd name="connsiteX23" fmla="*/ 13744 w 23671"/>
                <a:gd name="connsiteY23" fmla="*/ 41 h 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71" h="25655">
                  <a:moveTo>
                    <a:pt x="13744" y="41"/>
                  </a:moveTo>
                  <a:lnTo>
                    <a:pt x="12495" y="41"/>
                  </a:lnTo>
                  <a:lnTo>
                    <a:pt x="12495" y="41"/>
                  </a:lnTo>
                  <a:lnTo>
                    <a:pt x="10746" y="41"/>
                  </a:lnTo>
                  <a:lnTo>
                    <a:pt x="10746" y="41"/>
                  </a:lnTo>
                  <a:lnTo>
                    <a:pt x="0" y="5788"/>
                  </a:lnTo>
                  <a:lnTo>
                    <a:pt x="0" y="5788"/>
                  </a:lnTo>
                  <a:cubicBezTo>
                    <a:pt x="4186" y="3514"/>
                    <a:pt x="9421" y="5051"/>
                    <a:pt x="11695" y="9237"/>
                  </a:cubicBezTo>
                  <a:cubicBezTo>
                    <a:pt x="12045" y="9874"/>
                    <a:pt x="12320" y="10574"/>
                    <a:pt x="12495" y="11286"/>
                  </a:cubicBezTo>
                  <a:cubicBezTo>
                    <a:pt x="14344" y="16572"/>
                    <a:pt x="12457" y="22444"/>
                    <a:pt x="7872" y="25655"/>
                  </a:cubicBezTo>
                  <a:lnTo>
                    <a:pt x="7872" y="25655"/>
                  </a:lnTo>
                  <a:lnTo>
                    <a:pt x="18242" y="20157"/>
                  </a:lnTo>
                  <a:cubicBezTo>
                    <a:pt x="18242" y="20157"/>
                    <a:pt x="18992" y="19408"/>
                    <a:pt x="19492" y="19158"/>
                  </a:cubicBezTo>
                  <a:cubicBezTo>
                    <a:pt x="22053" y="16971"/>
                    <a:pt x="23565" y="13785"/>
                    <a:pt x="23615" y="10411"/>
                  </a:cubicBezTo>
                  <a:cubicBezTo>
                    <a:pt x="23678" y="9699"/>
                    <a:pt x="23678" y="9000"/>
                    <a:pt x="23615" y="8287"/>
                  </a:cubicBezTo>
                  <a:cubicBezTo>
                    <a:pt x="23690" y="7575"/>
                    <a:pt x="23690" y="6875"/>
                    <a:pt x="23615" y="6163"/>
                  </a:cubicBezTo>
                  <a:lnTo>
                    <a:pt x="23615" y="6163"/>
                  </a:lnTo>
                  <a:lnTo>
                    <a:pt x="22865" y="4914"/>
                  </a:lnTo>
                  <a:cubicBezTo>
                    <a:pt x="22540" y="4264"/>
                    <a:pt x="22166" y="3639"/>
                    <a:pt x="21741" y="3039"/>
                  </a:cubicBezTo>
                  <a:cubicBezTo>
                    <a:pt x="21341" y="2565"/>
                    <a:pt x="20879" y="2140"/>
                    <a:pt x="20366" y="1790"/>
                  </a:cubicBezTo>
                  <a:lnTo>
                    <a:pt x="18867" y="665"/>
                  </a:lnTo>
                  <a:cubicBezTo>
                    <a:pt x="18367" y="603"/>
                    <a:pt x="17867" y="603"/>
                    <a:pt x="17368" y="665"/>
                  </a:cubicBezTo>
                  <a:lnTo>
                    <a:pt x="17368" y="665"/>
                  </a:lnTo>
                  <a:cubicBezTo>
                    <a:pt x="16243" y="116"/>
                    <a:pt x="14981" y="-97"/>
                    <a:pt x="13744" y="41"/>
                  </a:cubicBezTo>
                  <a:close/>
                </a:path>
              </a:pathLst>
            </a:custGeom>
            <a:solidFill>
              <a:srgbClr val="000000"/>
            </a:solidFill>
            <a:ln w="12483" cap="flat">
              <a:noFill/>
              <a:prstDash val="solid"/>
              <a:miter/>
            </a:ln>
          </p:spPr>
          <p:txBody>
            <a:bodyPr rtlCol="0" anchor="ctr"/>
            <a:lstStyle/>
            <a:p>
              <a:endParaRPr lang="en-US"/>
            </a:p>
          </p:txBody>
        </p:sp>
        <p:sp>
          <p:nvSpPr>
            <p:cNvPr id="1851" name="Freeform: Shape 1850">
              <a:extLst>
                <a:ext uri="{FF2B5EF4-FFF2-40B4-BE49-F238E27FC236}">
                  <a16:creationId xmlns:a16="http://schemas.microsoft.com/office/drawing/2014/main" id="{5D67C2F1-3B49-4FBF-944A-ADFD9C34C9FC}"/>
                </a:ext>
              </a:extLst>
            </p:cNvPr>
            <p:cNvSpPr/>
            <p:nvPr/>
          </p:nvSpPr>
          <p:spPr>
            <a:xfrm>
              <a:off x="10746662" y="3382851"/>
              <a:ext cx="242822" cy="142004"/>
            </a:xfrm>
            <a:custGeom>
              <a:avLst/>
              <a:gdLst>
                <a:gd name="connsiteX0" fmla="*/ 1099 w 242822"/>
                <a:gd name="connsiteY0" fmla="*/ 135627 h 142004"/>
                <a:gd name="connsiteX1" fmla="*/ 11220 w 242822"/>
                <a:gd name="connsiteY1" fmla="*/ 141762 h 142004"/>
                <a:gd name="connsiteX2" fmla="*/ 12969 w 242822"/>
                <a:gd name="connsiteY2" fmla="*/ 141125 h 142004"/>
                <a:gd name="connsiteX3" fmla="*/ 24464 w 242822"/>
                <a:gd name="connsiteY3" fmla="*/ 135003 h 142004"/>
                <a:gd name="connsiteX4" fmla="*/ 237497 w 242822"/>
                <a:gd name="connsiteY4" fmla="*/ 20923 h 142004"/>
                <a:gd name="connsiteX5" fmla="*/ 242120 w 242822"/>
                <a:gd name="connsiteY5" fmla="*/ 6554 h 142004"/>
                <a:gd name="connsiteX6" fmla="*/ 231674 w 242822"/>
                <a:gd name="connsiteY6" fmla="*/ 256 h 142004"/>
                <a:gd name="connsiteX7" fmla="*/ 229625 w 242822"/>
                <a:gd name="connsiteY7" fmla="*/ 1056 h 142004"/>
                <a:gd name="connsiteX8" fmla="*/ 229625 w 242822"/>
                <a:gd name="connsiteY8" fmla="*/ 1056 h 142004"/>
                <a:gd name="connsiteX9" fmla="*/ 4722 w 242822"/>
                <a:gd name="connsiteY9" fmla="*/ 121258 h 142004"/>
                <a:gd name="connsiteX10" fmla="*/ 1099 w 242822"/>
                <a:gd name="connsiteY10" fmla="*/ 135627 h 14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822" h="142004">
                  <a:moveTo>
                    <a:pt x="1099" y="135627"/>
                  </a:moveTo>
                  <a:cubicBezTo>
                    <a:pt x="2199" y="140113"/>
                    <a:pt x="6734" y="142862"/>
                    <a:pt x="11220" y="141762"/>
                  </a:cubicBezTo>
                  <a:cubicBezTo>
                    <a:pt x="11832" y="141613"/>
                    <a:pt x="12407" y="141400"/>
                    <a:pt x="12969" y="141125"/>
                  </a:cubicBezTo>
                  <a:lnTo>
                    <a:pt x="24464" y="135003"/>
                  </a:lnTo>
                  <a:lnTo>
                    <a:pt x="237497" y="20923"/>
                  </a:lnTo>
                  <a:cubicBezTo>
                    <a:pt x="242082" y="17712"/>
                    <a:pt x="243969" y="11839"/>
                    <a:pt x="242120" y="6554"/>
                  </a:cubicBezTo>
                  <a:cubicBezTo>
                    <a:pt x="240970" y="1931"/>
                    <a:pt x="236297" y="-893"/>
                    <a:pt x="231674" y="256"/>
                  </a:cubicBezTo>
                  <a:cubicBezTo>
                    <a:pt x="230962" y="431"/>
                    <a:pt x="230275" y="706"/>
                    <a:pt x="229625" y="1056"/>
                  </a:cubicBezTo>
                  <a:lnTo>
                    <a:pt x="229625" y="1056"/>
                  </a:lnTo>
                  <a:lnTo>
                    <a:pt x="4722" y="121258"/>
                  </a:lnTo>
                  <a:cubicBezTo>
                    <a:pt x="262" y="124582"/>
                    <a:pt x="-1250" y="130579"/>
                    <a:pt x="1099" y="135627"/>
                  </a:cubicBezTo>
                  <a:close/>
                </a:path>
              </a:pathLst>
            </a:custGeom>
            <a:solidFill>
              <a:srgbClr val="000000"/>
            </a:solidFill>
            <a:ln w="12483" cap="flat">
              <a:noFill/>
              <a:prstDash val="solid"/>
              <a:miter/>
            </a:ln>
          </p:spPr>
          <p:txBody>
            <a:bodyPr rtlCol="0" anchor="ctr"/>
            <a:lstStyle/>
            <a:p>
              <a:endParaRPr lang="en-US"/>
            </a:p>
          </p:txBody>
        </p:sp>
        <p:sp>
          <p:nvSpPr>
            <p:cNvPr id="1852" name="Freeform: Shape 1851">
              <a:extLst>
                <a:ext uri="{FF2B5EF4-FFF2-40B4-BE49-F238E27FC236}">
                  <a16:creationId xmlns:a16="http://schemas.microsoft.com/office/drawing/2014/main" id="{9B3E699E-87DD-4D27-AC60-F793BE2A88EE}"/>
                </a:ext>
              </a:extLst>
            </p:cNvPr>
            <p:cNvSpPr/>
            <p:nvPr/>
          </p:nvSpPr>
          <p:spPr>
            <a:xfrm>
              <a:off x="9853342" y="5504062"/>
              <a:ext cx="18070" cy="40608"/>
            </a:xfrm>
            <a:custGeom>
              <a:avLst/>
              <a:gdLst>
                <a:gd name="connsiteX0" fmla="*/ 8302 w 18070"/>
                <a:gd name="connsiteY0" fmla="*/ 0 h 40608"/>
                <a:gd name="connsiteX1" fmla="*/ 3555 w 18070"/>
                <a:gd name="connsiteY1" fmla="*/ 1999 h 40608"/>
                <a:gd name="connsiteX2" fmla="*/ 1930 w 18070"/>
                <a:gd name="connsiteY2" fmla="*/ 3624 h 40608"/>
                <a:gd name="connsiteX3" fmla="*/ 931 w 18070"/>
                <a:gd name="connsiteY3" fmla="*/ 5248 h 40608"/>
                <a:gd name="connsiteX4" fmla="*/ 56 w 18070"/>
                <a:gd name="connsiteY4" fmla="*/ 7122 h 40608"/>
                <a:gd name="connsiteX5" fmla="*/ 56 w 18070"/>
                <a:gd name="connsiteY5" fmla="*/ 9621 h 40608"/>
                <a:gd name="connsiteX6" fmla="*/ 56 w 18070"/>
                <a:gd name="connsiteY6" fmla="*/ 11120 h 40608"/>
                <a:gd name="connsiteX7" fmla="*/ 56 w 18070"/>
                <a:gd name="connsiteY7" fmla="*/ 11120 h 40608"/>
                <a:gd name="connsiteX8" fmla="*/ 56 w 18070"/>
                <a:gd name="connsiteY8" fmla="*/ 11120 h 40608"/>
                <a:gd name="connsiteX9" fmla="*/ 56 w 18070"/>
                <a:gd name="connsiteY9" fmla="*/ 40609 h 40608"/>
                <a:gd name="connsiteX10" fmla="*/ 8802 w 18070"/>
                <a:gd name="connsiteY10" fmla="*/ 29488 h 40608"/>
                <a:gd name="connsiteX11" fmla="*/ 18048 w 18070"/>
                <a:gd name="connsiteY11" fmla="*/ 40109 h 40608"/>
                <a:gd name="connsiteX12" fmla="*/ 18048 w 18070"/>
                <a:gd name="connsiteY12" fmla="*/ 26115 h 40608"/>
                <a:gd name="connsiteX13" fmla="*/ 18048 w 18070"/>
                <a:gd name="connsiteY13" fmla="*/ 10371 h 40608"/>
                <a:gd name="connsiteX14" fmla="*/ 8440 w 18070"/>
                <a:gd name="connsiteY14" fmla="*/ 0 h 40608"/>
                <a:gd name="connsiteX15" fmla="*/ 8302 w 18070"/>
                <a:gd name="connsiteY15" fmla="*/ 0 h 4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70" h="40608">
                  <a:moveTo>
                    <a:pt x="8302" y="0"/>
                  </a:moveTo>
                  <a:cubicBezTo>
                    <a:pt x="6541" y="137"/>
                    <a:pt x="4879" y="837"/>
                    <a:pt x="3555" y="1999"/>
                  </a:cubicBezTo>
                  <a:cubicBezTo>
                    <a:pt x="2917" y="2437"/>
                    <a:pt x="2368" y="2986"/>
                    <a:pt x="1930" y="3624"/>
                  </a:cubicBezTo>
                  <a:lnTo>
                    <a:pt x="931" y="5248"/>
                  </a:lnTo>
                  <a:cubicBezTo>
                    <a:pt x="931" y="5873"/>
                    <a:pt x="306" y="6373"/>
                    <a:pt x="56" y="7122"/>
                  </a:cubicBezTo>
                  <a:cubicBezTo>
                    <a:pt x="-19" y="7959"/>
                    <a:pt x="-19" y="8784"/>
                    <a:pt x="56" y="9621"/>
                  </a:cubicBezTo>
                  <a:cubicBezTo>
                    <a:pt x="56" y="9621"/>
                    <a:pt x="56" y="10621"/>
                    <a:pt x="56" y="11120"/>
                  </a:cubicBezTo>
                  <a:lnTo>
                    <a:pt x="56" y="11120"/>
                  </a:lnTo>
                  <a:lnTo>
                    <a:pt x="56" y="11120"/>
                  </a:lnTo>
                  <a:lnTo>
                    <a:pt x="56" y="40609"/>
                  </a:lnTo>
                  <a:cubicBezTo>
                    <a:pt x="-469" y="35161"/>
                    <a:pt x="3380" y="30263"/>
                    <a:pt x="8802" y="29488"/>
                  </a:cubicBezTo>
                  <a:cubicBezTo>
                    <a:pt x="14275" y="29888"/>
                    <a:pt x="18411" y="34636"/>
                    <a:pt x="18048" y="40109"/>
                  </a:cubicBezTo>
                  <a:lnTo>
                    <a:pt x="18048" y="26115"/>
                  </a:lnTo>
                  <a:lnTo>
                    <a:pt x="18048" y="10371"/>
                  </a:lnTo>
                  <a:cubicBezTo>
                    <a:pt x="18261" y="4848"/>
                    <a:pt x="13950" y="212"/>
                    <a:pt x="8440" y="0"/>
                  </a:cubicBezTo>
                  <a:cubicBezTo>
                    <a:pt x="8390" y="0"/>
                    <a:pt x="8353" y="0"/>
                    <a:pt x="8302" y="0"/>
                  </a:cubicBezTo>
                  <a:close/>
                </a:path>
              </a:pathLst>
            </a:custGeom>
            <a:solidFill>
              <a:srgbClr val="000000"/>
            </a:solidFill>
            <a:ln w="12483" cap="flat">
              <a:noFill/>
              <a:prstDash val="solid"/>
              <a:miter/>
            </a:ln>
          </p:spPr>
          <p:txBody>
            <a:bodyPr rtlCol="0" anchor="ctr"/>
            <a:lstStyle/>
            <a:p>
              <a:endParaRPr lang="en-US"/>
            </a:p>
          </p:txBody>
        </p:sp>
        <p:sp>
          <p:nvSpPr>
            <p:cNvPr id="1853" name="Freeform: Shape 1852">
              <a:extLst>
                <a:ext uri="{FF2B5EF4-FFF2-40B4-BE49-F238E27FC236}">
                  <a16:creationId xmlns:a16="http://schemas.microsoft.com/office/drawing/2014/main" id="{C6C3FB55-C585-4E96-9A54-A871B4BF2479}"/>
                </a:ext>
              </a:extLst>
            </p:cNvPr>
            <p:cNvSpPr/>
            <p:nvPr/>
          </p:nvSpPr>
          <p:spPr>
            <a:xfrm>
              <a:off x="9853350" y="5533800"/>
              <a:ext cx="20084" cy="146316"/>
            </a:xfrm>
            <a:custGeom>
              <a:avLst/>
              <a:gdLst>
                <a:gd name="connsiteX0" fmla="*/ 8794 w 20084"/>
                <a:gd name="connsiteY0" fmla="*/ 0 h 146316"/>
                <a:gd name="connsiteX1" fmla="*/ 48 w 20084"/>
                <a:gd name="connsiteY1" fmla="*/ 11120 h 146316"/>
                <a:gd name="connsiteX2" fmla="*/ 48 w 20084"/>
                <a:gd name="connsiteY2" fmla="*/ 22616 h 146316"/>
                <a:gd name="connsiteX3" fmla="*/ 48 w 20084"/>
                <a:gd name="connsiteY3" fmla="*/ 23366 h 146316"/>
                <a:gd name="connsiteX4" fmla="*/ 48 w 20084"/>
                <a:gd name="connsiteY4" fmla="*/ 32987 h 146316"/>
                <a:gd name="connsiteX5" fmla="*/ 1422 w 20084"/>
                <a:gd name="connsiteY5" fmla="*/ 105958 h 146316"/>
                <a:gd name="connsiteX6" fmla="*/ 2047 w 20084"/>
                <a:gd name="connsiteY6" fmla="*/ 135696 h 146316"/>
                <a:gd name="connsiteX7" fmla="*/ 11168 w 20084"/>
                <a:gd name="connsiteY7" fmla="*/ 146317 h 146316"/>
                <a:gd name="connsiteX8" fmla="*/ 20039 w 20084"/>
                <a:gd name="connsiteY8" fmla="*/ 135196 h 146316"/>
                <a:gd name="connsiteX9" fmla="*/ 17665 w 20084"/>
                <a:gd name="connsiteY9" fmla="*/ 10246 h 146316"/>
                <a:gd name="connsiteX10" fmla="*/ 8794 w 20084"/>
                <a:gd name="connsiteY10" fmla="*/ 0 h 14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84" h="146316">
                  <a:moveTo>
                    <a:pt x="8794" y="0"/>
                  </a:moveTo>
                  <a:cubicBezTo>
                    <a:pt x="3371" y="774"/>
                    <a:pt x="-477" y="5672"/>
                    <a:pt x="48" y="11120"/>
                  </a:cubicBezTo>
                  <a:lnTo>
                    <a:pt x="48" y="22616"/>
                  </a:lnTo>
                  <a:lnTo>
                    <a:pt x="48" y="23366"/>
                  </a:lnTo>
                  <a:cubicBezTo>
                    <a:pt x="1335" y="26439"/>
                    <a:pt x="1335" y="29913"/>
                    <a:pt x="48" y="32987"/>
                  </a:cubicBezTo>
                  <a:lnTo>
                    <a:pt x="1422" y="105958"/>
                  </a:lnTo>
                  <a:lnTo>
                    <a:pt x="2047" y="135696"/>
                  </a:lnTo>
                  <a:cubicBezTo>
                    <a:pt x="1684" y="141131"/>
                    <a:pt x="5745" y="145854"/>
                    <a:pt x="11168" y="146317"/>
                  </a:cubicBezTo>
                  <a:cubicBezTo>
                    <a:pt x="16640" y="145604"/>
                    <a:pt x="20551" y="140681"/>
                    <a:pt x="20039" y="135196"/>
                  </a:cubicBezTo>
                  <a:lnTo>
                    <a:pt x="17665" y="10246"/>
                  </a:lnTo>
                  <a:cubicBezTo>
                    <a:pt x="17827" y="5035"/>
                    <a:pt x="13967" y="587"/>
                    <a:pt x="8794" y="0"/>
                  </a:cubicBezTo>
                  <a:close/>
                </a:path>
              </a:pathLst>
            </a:custGeom>
            <a:solidFill>
              <a:srgbClr val="000000"/>
            </a:solidFill>
            <a:ln w="12483" cap="flat">
              <a:noFill/>
              <a:prstDash val="solid"/>
              <a:miter/>
            </a:ln>
          </p:spPr>
          <p:txBody>
            <a:bodyPr rtlCol="0" anchor="ctr"/>
            <a:lstStyle/>
            <a:p>
              <a:endParaRPr lang="en-US"/>
            </a:p>
          </p:txBody>
        </p:sp>
        <p:sp>
          <p:nvSpPr>
            <p:cNvPr id="1854" name="Freeform: Shape 1853">
              <a:extLst>
                <a:ext uri="{FF2B5EF4-FFF2-40B4-BE49-F238E27FC236}">
                  <a16:creationId xmlns:a16="http://schemas.microsoft.com/office/drawing/2014/main" id="{4C1E7317-5E48-4571-93A3-62FDE1B27654}"/>
                </a:ext>
              </a:extLst>
            </p:cNvPr>
            <p:cNvSpPr/>
            <p:nvPr/>
          </p:nvSpPr>
          <p:spPr>
            <a:xfrm>
              <a:off x="12037300" y="3598197"/>
              <a:ext cx="24393" cy="82724"/>
            </a:xfrm>
            <a:custGeom>
              <a:avLst/>
              <a:gdLst>
                <a:gd name="connsiteX0" fmla="*/ 9650 w 24393"/>
                <a:gd name="connsiteY0" fmla="*/ 82717 h 82724"/>
                <a:gd name="connsiteX1" fmla="*/ 19508 w 24393"/>
                <a:gd name="connsiteY1" fmla="*/ 73608 h 82724"/>
                <a:gd name="connsiteX2" fmla="*/ 19521 w 24393"/>
                <a:gd name="connsiteY2" fmla="*/ 73096 h 82724"/>
                <a:gd name="connsiteX3" fmla="*/ 19521 w 24393"/>
                <a:gd name="connsiteY3" fmla="*/ 68848 h 82724"/>
                <a:gd name="connsiteX4" fmla="*/ 19521 w 24393"/>
                <a:gd name="connsiteY4" fmla="*/ 64349 h 82724"/>
                <a:gd name="connsiteX5" fmla="*/ 24393 w 24393"/>
                <a:gd name="connsiteY5" fmla="*/ 8871 h 82724"/>
                <a:gd name="connsiteX6" fmla="*/ 24393 w 24393"/>
                <a:gd name="connsiteY6" fmla="*/ 2874 h 82724"/>
                <a:gd name="connsiteX7" fmla="*/ 14523 w 24393"/>
                <a:gd name="connsiteY7" fmla="*/ 12495 h 82724"/>
                <a:gd name="connsiteX8" fmla="*/ 14523 w 24393"/>
                <a:gd name="connsiteY8" fmla="*/ 12495 h 82724"/>
                <a:gd name="connsiteX9" fmla="*/ 6526 w 24393"/>
                <a:gd name="connsiteY9" fmla="*/ 0 h 82724"/>
                <a:gd name="connsiteX10" fmla="*/ 154 w 24393"/>
                <a:gd name="connsiteY10" fmla="*/ 70347 h 82724"/>
                <a:gd name="connsiteX11" fmla="*/ 8825 w 24393"/>
                <a:gd name="connsiteY11" fmla="*/ 82604 h 82724"/>
                <a:gd name="connsiteX12" fmla="*/ 9650 w 24393"/>
                <a:gd name="connsiteY12" fmla="*/ 82717 h 8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93" h="82724">
                  <a:moveTo>
                    <a:pt x="9650" y="82717"/>
                  </a:moveTo>
                  <a:cubicBezTo>
                    <a:pt x="14885" y="82929"/>
                    <a:pt x="19308" y="78844"/>
                    <a:pt x="19508" y="73608"/>
                  </a:cubicBezTo>
                  <a:cubicBezTo>
                    <a:pt x="19521" y="73433"/>
                    <a:pt x="19521" y="73271"/>
                    <a:pt x="19521" y="73096"/>
                  </a:cubicBezTo>
                  <a:lnTo>
                    <a:pt x="19521" y="68848"/>
                  </a:lnTo>
                  <a:lnTo>
                    <a:pt x="19521" y="64349"/>
                  </a:lnTo>
                  <a:lnTo>
                    <a:pt x="24393" y="8871"/>
                  </a:lnTo>
                  <a:lnTo>
                    <a:pt x="24393" y="2874"/>
                  </a:lnTo>
                  <a:cubicBezTo>
                    <a:pt x="24318" y="8259"/>
                    <a:pt x="19908" y="12557"/>
                    <a:pt x="14523" y="12495"/>
                  </a:cubicBezTo>
                  <a:cubicBezTo>
                    <a:pt x="14523" y="12495"/>
                    <a:pt x="14523" y="12495"/>
                    <a:pt x="14523" y="12495"/>
                  </a:cubicBezTo>
                  <a:cubicBezTo>
                    <a:pt x="8913" y="11195"/>
                    <a:pt x="5364" y="5648"/>
                    <a:pt x="6526" y="0"/>
                  </a:cubicBezTo>
                  <a:lnTo>
                    <a:pt x="154" y="70347"/>
                  </a:lnTo>
                  <a:cubicBezTo>
                    <a:pt x="-833" y="76132"/>
                    <a:pt x="3040" y="81617"/>
                    <a:pt x="8825" y="82604"/>
                  </a:cubicBezTo>
                  <a:cubicBezTo>
                    <a:pt x="9100" y="82654"/>
                    <a:pt x="9375" y="82692"/>
                    <a:pt x="9650" y="82717"/>
                  </a:cubicBezTo>
                  <a:close/>
                </a:path>
              </a:pathLst>
            </a:custGeom>
            <a:solidFill>
              <a:srgbClr val="000000"/>
            </a:solidFill>
            <a:ln w="12483" cap="flat">
              <a:noFill/>
              <a:prstDash val="solid"/>
              <a:miter/>
            </a:ln>
          </p:spPr>
          <p:txBody>
            <a:bodyPr rtlCol="0" anchor="ctr"/>
            <a:lstStyle/>
            <a:p>
              <a:endParaRPr lang="en-US"/>
            </a:p>
          </p:txBody>
        </p:sp>
        <p:sp>
          <p:nvSpPr>
            <p:cNvPr id="1855" name="Freeform: Shape 1854">
              <a:extLst>
                <a:ext uri="{FF2B5EF4-FFF2-40B4-BE49-F238E27FC236}">
                  <a16:creationId xmlns:a16="http://schemas.microsoft.com/office/drawing/2014/main" id="{D1D6A5A4-5AAB-4AEC-87CB-D5A50AFE71B8}"/>
                </a:ext>
              </a:extLst>
            </p:cNvPr>
            <p:cNvSpPr/>
            <p:nvPr/>
          </p:nvSpPr>
          <p:spPr>
            <a:xfrm>
              <a:off x="7782668" y="2557862"/>
              <a:ext cx="159323" cy="1274005"/>
            </a:xfrm>
            <a:custGeom>
              <a:avLst/>
              <a:gdLst>
                <a:gd name="connsiteX0" fmla="*/ 150685 w 159323"/>
                <a:gd name="connsiteY0" fmla="*/ 1273992 h 1274005"/>
                <a:gd name="connsiteX1" fmla="*/ 150685 w 159323"/>
                <a:gd name="connsiteY1" fmla="*/ 1273992 h 1274005"/>
                <a:gd name="connsiteX2" fmla="*/ 152434 w 159323"/>
                <a:gd name="connsiteY2" fmla="*/ 1273992 h 1274005"/>
                <a:gd name="connsiteX3" fmla="*/ 159181 w 159323"/>
                <a:gd name="connsiteY3" fmla="*/ 1262122 h 1274005"/>
                <a:gd name="connsiteX4" fmla="*/ 159181 w 159323"/>
                <a:gd name="connsiteY4" fmla="*/ 1258998 h 1274005"/>
                <a:gd name="connsiteX5" fmla="*/ 17742 w 159323"/>
                <a:gd name="connsiteY5" fmla="*/ 0 h 1274005"/>
                <a:gd name="connsiteX6" fmla="*/ 10121 w 159323"/>
                <a:gd name="connsiteY6" fmla="*/ 12495 h 1274005"/>
                <a:gd name="connsiteX7" fmla="*/ 12 w 159323"/>
                <a:gd name="connsiteY7" fmla="*/ 3649 h 1274005"/>
                <a:gd name="connsiteX8" fmla="*/ 0 w 159323"/>
                <a:gd name="connsiteY8" fmla="*/ 3249 h 1274005"/>
                <a:gd name="connsiteX9" fmla="*/ 141564 w 159323"/>
                <a:gd name="connsiteY9" fmla="*/ 1265246 h 1274005"/>
                <a:gd name="connsiteX10" fmla="*/ 141564 w 159323"/>
                <a:gd name="connsiteY10" fmla="*/ 1266120 h 1274005"/>
                <a:gd name="connsiteX11" fmla="*/ 142189 w 159323"/>
                <a:gd name="connsiteY11" fmla="*/ 1268119 h 1274005"/>
                <a:gd name="connsiteX12" fmla="*/ 143063 w 159323"/>
                <a:gd name="connsiteY12" fmla="*/ 1269994 h 1274005"/>
                <a:gd name="connsiteX13" fmla="*/ 150685 w 159323"/>
                <a:gd name="connsiteY13" fmla="*/ 1273992 h 127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323" h="1274005">
                  <a:moveTo>
                    <a:pt x="150685" y="1273992"/>
                  </a:moveTo>
                  <a:cubicBezTo>
                    <a:pt x="150685" y="1273992"/>
                    <a:pt x="150685" y="1273992"/>
                    <a:pt x="150685" y="1273992"/>
                  </a:cubicBezTo>
                  <a:cubicBezTo>
                    <a:pt x="151172" y="1273517"/>
                    <a:pt x="151947" y="1273517"/>
                    <a:pt x="152434" y="1273992"/>
                  </a:cubicBezTo>
                  <a:cubicBezTo>
                    <a:pt x="157195" y="1272118"/>
                    <a:pt x="160006" y="1267170"/>
                    <a:pt x="159181" y="1262122"/>
                  </a:cubicBezTo>
                  <a:lnTo>
                    <a:pt x="159181" y="1258998"/>
                  </a:lnTo>
                  <a:lnTo>
                    <a:pt x="17742" y="0"/>
                  </a:lnTo>
                  <a:cubicBezTo>
                    <a:pt x="18929" y="5535"/>
                    <a:pt x="15581" y="11021"/>
                    <a:pt x="10121" y="12495"/>
                  </a:cubicBezTo>
                  <a:cubicBezTo>
                    <a:pt x="4885" y="12845"/>
                    <a:pt x="362" y="8884"/>
                    <a:pt x="12" y="3649"/>
                  </a:cubicBezTo>
                  <a:cubicBezTo>
                    <a:pt x="12" y="3511"/>
                    <a:pt x="0" y="3386"/>
                    <a:pt x="0" y="3249"/>
                  </a:cubicBezTo>
                  <a:lnTo>
                    <a:pt x="141564" y="1265246"/>
                  </a:lnTo>
                  <a:cubicBezTo>
                    <a:pt x="141526" y="1265533"/>
                    <a:pt x="141526" y="1265833"/>
                    <a:pt x="141564" y="1266120"/>
                  </a:cubicBezTo>
                  <a:cubicBezTo>
                    <a:pt x="141714" y="1266808"/>
                    <a:pt x="141926" y="1267470"/>
                    <a:pt x="142189" y="1268119"/>
                  </a:cubicBezTo>
                  <a:cubicBezTo>
                    <a:pt x="142376" y="1268782"/>
                    <a:pt x="142676" y="1269419"/>
                    <a:pt x="143063" y="1269994"/>
                  </a:cubicBezTo>
                  <a:cubicBezTo>
                    <a:pt x="144675" y="1272630"/>
                    <a:pt x="147599" y="1274167"/>
                    <a:pt x="150685" y="1273992"/>
                  </a:cubicBezTo>
                  <a:close/>
                </a:path>
              </a:pathLst>
            </a:custGeom>
            <a:solidFill>
              <a:srgbClr val="000000"/>
            </a:solidFill>
            <a:ln w="12483" cap="flat">
              <a:noFill/>
              <a:prstDash val="solid"/>
              <a:miter/>
            </a:ln>
          </p:spPr>
          <p:txBody>
            <a:bodyPr rtlCol="0" anchor="ctr"/>
            <a:lstStyle/>
            <a:p>
              <a:endParaRPr lang="en-US"/>
            </a:p>
          </p:txBody>
        </p:sp>
        <p:sp>
          <p:nvSpPr>
            <p:cNvPr id="1856" name="Freeform: Shape 1855">
              <a:extLst>
                <a:ext uri="{FF2B5EF4-FFF2-40B4-BE49-F238E27FC236}">
                  <a16:creationId xmlns:a16="http://schemas.microsoft.com/office/drawing/2014/main" id="{66C85776-F5E7-4781-9995-3F7ED590D340}"/>
                </a:ext>
              </a:extLst>
            </p:cNvPr>
            <p:cNvSpPr/>
            <p:nvPr/>
          </p:nvSpPr>
          <p:spPr>
            <a:xfrm>
              <a:off x="7767564" y="2412279"/>
              <a:ext cx="33084" cy="157829"/>
            </a:xfrm>
            <a:custGeom>
              <a:avLst/>
              <a:gdLst>
                <a:gd name="connsiteX0" fmla="*/ 25224 w 33084"/>
                <a:gd name="connsiteY0" fmla="*/ 157828 h 157829"/>
                <a:gd name="connsiteX1" fmla="*/ 32846 w 33084"/>
                <a:gd name="connsiteY1" fmla="*/ 145333 h 157829"/>
                <a:gd name="connsiteX2" fmla="*/ 32846 w 33084"/>
                <a:gd name="connsiteY2" fmla="*/ 145333 h 157829"/>
                <a:gd name="connsiteX3" fmla="*/ 32846 w 33084"/>
                <a:gd name="connsiteY3" fmla="*/ 141335 h 157829"/>
                <a:gd name="connsiteX4" fmla="*/ 18977 w 33084"/>
                <a:gd name="connsiteY4" fmla="*/ 17759 h 157829"/>
                <a:gd name="connsiteX5" fmla="*/ 18102 w 33084"/>
                <a:gd name="connsiteY5" fmla="*/ 9262 h 157829"/>
                <a:gd name="connsiteX6" fmla="*/ 8381 w 33084"/>
                <a:gd name="connsiteY6" fmla="*/ 3 h 157829"/>
                <a:gd name="connsiteX7" fmla="*/ 7981 w 33084"/>
                <a:gd name="connsiteY7" fmla="*/ 16 h 157829"/>
                <a:gd name="connsiteX8" fmla="*/ 235 w 33084"/>
                <a:gd name="connsiteY8" fmla="*/ 12511 h 157829"/>
                <a:gd name="connsiteX9" fmla="*/ 15603 w 33084"/>
                <a:gd name="connsiteY9" fmla="*/ 149206 h 157829"/>
                <a:gd name="connsiteX10" fmla="*/ 25224 w 33084"/>
                <a:gd name="connsiteY10" fmla="*/ 157828 h 15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084" h="157829">
                  <a:moveTo>
                    <a:pt x="25224" y="157828"/>
                  </a:moveTo>
                  <a:cubicBezTo>
                    <a:pt x="30684" y="156353"/>
                    <a:pt x="34033" y="150868"/>
                    <a:pt x="32846" y="145333"/>
                  </a:cubicBezTo>
                  <a:lnTo>
                    <a:pt x="32846" y="145333"/>
                  </a:lnTo>
                  <a:lnTo>
                    <a:pt x="32846" y="141335"/>
                  </a:lnTo>
                  <a:lnTo>
                    <a:pt x="18977" y="17759"/>
                  </a:lnTo>
                  <a:lnTo>
                    <a:pt x="18102" y="9262"/>
                  </a:lnTo>
                  <a:cubicBezTo>
                    <a:pt x="17977" y="4014"/>
                    <a:pt x="13617" y="-134"/>
                    <a:pt x="8381" y="3"/>
                  </a:cubicBezTo>
                  <a:cubicBezTo>
                    <a:pt x="8244" y="3"/>
                    <a:pt x="8119" y="3"/>
                    <a:pt x="7981" y="16"/>
                  </a:cubicBezTo>
                  <a:cubicBezTo>
                    <a:pt x="2471" y="1428"/>
                    <a:pt x="-952" y="6938"/>
                    <a:pt x="235" y="12511"/>
                  </a:cubicBezTo>
                  <a:lnTo>
                    <a:pt x="15603" y="149206"/>
                  </a:lnTo>
                  <a:cubicBezTo>
                    <a:pt x="16066" y="154154"/>
                    <a:pt x="20251" y="157915"/>
                    <a:pt x="25224" y="157828"/>
                  </a:cubicBezTo>
                  <a:close/>
                </a:path>
              </a:pathLst>
            </a:custGeom>
            <a:solidFill>
              <a:srgbClr val="000000"/>
            </a:solidFill>
            <a:ln w="12483" cap="flat">
              <a:noFill/>
              <a:prstDash val="solid"/>
              <a:miter/>
            </a:ln>
          </p:spPr>
          <p:txBody>
            <a:bodyPr rtlCol="0" anchor="ctr"/>
            <a:lstStyle/>
            <a:p>
              <a:endParaRPr lang="en-US"/>
            </a:p>
          </p:txBody>
        </p:sp>
        <p:sp>
          <p:nvSpPr>
            <p:cNvPr id="1857" name="Freeform: Shape 1856">
              <a:extLst>
                <a:ext uri="{FF2B5EF4-FFF2-40B4-BE49-F238E27FC236}">
                  <a16:creationId xmlns:a16="http://schemas.microsoft.com/office/drawing/2014/main" id="{F20B522F-9342-479E-A6C9-67F2F59A01C1}"/>
                </a:ext>
              </a:extLst>
            </p:cNvPr>
            <p:cNvSpPr/>
            <p:nvPr/>
          </p:nvSpPr>
          <p:spPr>
            <a:xfrm>
              <a:off x="11027016" y="2320027"/>
              <a:ext cx="52758" cy="41412"/>
            </a:xfrm>
            <a:custGeom>
              <a:avLst/>
              <a:gdLst>
                <a:gd name="connsiteX0" fmla="*/ 51853 w 52758"/>
                <a:gd name="connsiteY0" fmla="*/ 6552 h 41412"/>
                <a:gd name="connsiteX1" fmla="*/ 41857 w 52758"/>
                <a:gd name="connsiteY1" fmla="*/ 204 h 41412"/>
                <a:gd name="connsiteX2" fmla="*/ 40108 w 52758"/>
                <a:gd name="connsiteY2" fmla="*/ 804 h 41412"/>
                <a:gd name="connsiteX3" fmla="*/ 37734 w 52758"/>
                <a:gd name="connsiteY3" fmla="*/ 2053 h 41412"/>
                <a:gd name="connsiteX4" fmla="*/ 34485 w 52758"/>
                <a:gd name="connsiteY4" fmla="*/ 3678 h 41412"/>
                <a:gd name="connsiteX5" fmla="*/ 12495 w 52758"/>
                <a:gd name="connsiteY5" fmla="*/ 14798 h 41412"/>
                <a:gd name="connsiteX6" fmla="*/ 0 w 52758"/>
                <a:gd name="connsiteY6" fmla="*/ 21421 h 41412"/>
                <a:gd name="connsiteX7" fmla="*/ 11232 w 52758"/>
                <a:gd name="connsiteY7" fmla="*/ 25682 h 41412"/>
                <a:gd name="connsiteX8" fmla="*/ 11745 w 52758"/>
                <a:gd name="connsiteY8" fmla="*/ 27168 h 41412"/>
                <a:gd name="connsiteX9" fmla="*/ 6872 w 52758"/>
                <a:gd name="connsiteY9" fmla="*/ 41413 h 41412"/>
                <a:gd name="connsiteX10" fmla="*/ 47604 w 52758"/>
                <a:gd name="connsiteY10" fmla="*/ 20796 h 41412"/>
                <a:gd name="connsiteX11" fmla="*/ 51853 w 52758"/>
                <a:gd name="connsiteY11" fmla="*/ 6552 h 4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58" h="41412">
                  <a:moveTo>
                    <a:pt x="51853" y="6552"/>
                  </a:moveTo>
                  <a:cubicBezTo>
                    <a:pt x="50841" y="2041"/>
                    <a:pt x="46367" y="-808"/>
                    <a:pt x="41857" y="204"/>
                  </a:cubicBezTo>
                  <a:cubicBezTo>
                    <a:pt x="41257" y="342"/>
                    <a:pt x="40670" y="542"/>
                    <a:pt x="40108" y="804"/>
                  </a:cubicBezTo>
                  <a:lnTo>
                    <a:pt x="37734" y="2053"/>
                  </a:lnTo>
                  <a:lnTo>
                    <a:pt x="34485" y="3678"/>
                  </a:lnTo>
                  <a:lnTo>
                    <a:pt x="12495" y="14798"/>
                  </a:lnTo>
                  <a:lnTo>
                    <a:pt x="0" y="21421"/>
                  </a:lnTo>
                  <a:cubicBezTo>
                    <a:pt x="4273" y="19496"/>
                    <a:pt x="9308" y="21408"/>
                    <a:pt x="11232" y="25682"/>
                  </a:cubicBezTo>
                  <a:cubicBezTo>
                    <a:pt x="11445" y="26156"/>
                    <a:pt x="11620" y="26656"/>
                    <a:pt x="11745" y="27168"/>
                  </a:cubicBezTo>
                  <a:cubicBezTo>
                    <a:pt x="13481" y="32466"/>
                    <a:pt x="11495" y="38289"/>
                    <a:pt x="6872" y="41413"/>
                  </a:cubicBezTo>
                  <a:lnTo>
                    <a:pt x="47604" y="20796"/>
                  </a:lnTo>
                  <a:cubicBezTo>
                    <a:pt x="52227" y="17660"/>
                    <a:pt x="54002" y="11712"/>
                    <a:pt x="51853" y="6552"/>
                  </a:cubicBezTo>
                  <a:close/>
                </a:path>
              </a:pathLst>
            </a:custGeom>
            <a:solidFill>
              <a:srgbClr val="000000"/>
            </a:solidFill>
            <a:ln w="12483" cap="flat">
              <a:noFill/>
              <a:prstDash val="solid"/>
              <a:miter/>
            </a:ln>
          </p:spPr>
          <p:txBody>
            <a:bodyPr rtlCol="0" anchor="ctr"/>
            <a:lstStyle/>
            <a:p>
              <a:endParaRPr lang="en-US"/>
            </a:p>
          </p:txBody>
        </p:sp>
        <p:sp>
          <p:nvSpPr>
            <p:cNvPr id="1858" name="Freeform: Shape 1857">
              <a:extLst>
                <a:ext uri="{FF2B5EF4-FFF2-40B4-BE49-F238E27FC236}">
                  <a16:creationId xmlns:a16="http://schemas.microsoft.com/office/drawing/2014/main" id="{99E81033-D80F-4968-929E-7EBDC76E57F1}"/>
                </a:ext>
              </a:extLst>
            </p:cNvPr>
            <p:cNvSpPr/>
            <p:nvPr/>
          </p:nvSpPr>
          <p:spPr>
            <a:xfrm>
              <a:off x="10930251" y="2340697"/>
              <a:ext cx="108712" cy="67413"/>
            </a:xfrm>
            <a:custGeom>
              <a:avLst/>
              <a:gdLst>
                <a:gd name="connsiteX0" fmla="*/ 108010 w 108712"/>
                <a:gd name="connsiteY0" fmla="*/ 6499 h 67413"/>
                <a:gd name="connsiteX1" fmla="*/ 97751 w 108712"/>
                <a:gd name="connsiteY1" fmla="*/ 239 h 67413"/>
                <a:gd name="connsiteX2" fmla="*/ 96265 w 108712"/>
                <a:gd name="connsiteY2" fmla="*/ 751 h 67413"/>
                <a:gd name="connsiteX3" fmla="*/ 91017 w 108712"/>
                <a:gd name="connsiteY3" fmla="*/ 3375 h 67413"/>
                <a:gd name="connsiteX4" fmla="*/ 4804 w 108712"/>
                <a:gd name="connsiteY4" fmla="*/ 46858 h 67413"/>
                <a:gd name="connsiteX5" fmla="*/ 4804 w 108712"/>
                <a:gd name="connsiteY5" fmla="*/ 46858 h 67413"/>
                <a:gd name="connsiteX6" fmla="*/ 4804 w 108712"/>
                <a:gd name="connsiteY6" fmla="*/ 46858 h 67413"/>
                <a:gd name="connsiteX7" fmla="*/ 3805 w 108712"/>
                <a:gd name="connsiteY7" fmla="*/ 47608 h 67413"/>
                <a:gd name="connsiteX8" fmla="*/ 2055 w 108712"/>
                <a:gd name="connsiteY8" fmla="*/ 49107 h 67413"/>
                <a:gd name="connsiteX9" fmla="*/ 1056 w 108712"/>
                <a:gd name="connsiteY9" fmla="*/ 50731 h 67413"/>
                <a:gd name="connsiteX10" fmla="*/ 56 w 108712"/>
                <a:gd name="connsiteY10" fmla="*/ 52481 h 67413"/>
                <a:gd name="connsiteX11" fmla="*/ 56 w 108712"/>
                <a:gd name="connsiteY11" fmla="*/ 54980 h 67413"/>
                <a:gd name="connsiteX12" fmla="*/ 56 w 108712"/>
                <a:gd name="connsiteY12" fmla="*/ 56729 h 67413"/>
                <a:gd name="connsiteX13" fmla="*/ 56 w 108712"/>
                <a:gd name="connsiteY13" fmla="*/ 56729 h 67413"/>
                <a:gd name="connsiteX14" fmla="*/ 681 w 108712"/>
                <a:gd name="connsiteY14" fmla="*/ 60852 h 67413"/>
                <a:gd name="connsiteX15" fmla="*/ 11114 w 108712"/>
                <a:gd name="connsiteY15" fmla="*/ 67162 h 67413"/>
                <a:gd name="connsiteX16" fmla="*/ 12426 w 108712"/>
                <a:gd name="connsiteY16" fmla="*/ 66725 h 67413"/>
                <a:gd name="connsiteX17" fmla="*/ 17799 w 108712"/>
                <a:gd name="connsiteY17" fmla="*/ 63976 h 67413"/>
                <a:gd name="connsiteX18" fmla="*/ 17799 w 108712"/>
                <a:gd name="connsiteY18" fmla="*/ 63976 h 67413"/>
                <a:gd name="connsiteX19" fmla="*/ 103887 w 108712"/>
                <a:gd name="connsiteY19" fmla="*/ 20493 h 67413"/>
                <a:gd name="connsiteX20" fmla="*/ 108010 w 108712"/>
                <a:gd name="connsiteY20" fmla="*/ 6499 h 6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712" h="67413">
                  <a:moveTo>
                    <a:pt x="108010" y="6499"/>
                  </a:moveTo>
                  <a:cubicBezTo>
                    <a:pt x="106910" y="1938"/>
                    <a:pt x="102312" y="-861"/>
                    <a:pt x="97751" y="239"/>
                  </a:cubicBezTo>
                  <a:cubicBezTo>
                    <a:pt x="97239" y="364"/>
                    <a:pt x="96739" y="539"/>
                    <a:pt x="96265" y="751"/>
                  </a:cubicBezTo>
                  <a:lnTo>
                    <a:pt x="91017" y="3375"/>
                  </a:lnTo>
                  <a:lnTo>
                    <a:pt x="4804" y="46858"/>
                  </a:lnTo>
                  <a:lnTo>
                    <a:pt x="4804" y="46858"/>
                  </a:lnTo>
                  <a:lnTo>
                    <a:pt x="4804" y="46858"/>
                  </a:lnTo>
                  <a:cubicBezTo>
                    <a:pt x="4804" y="46858"/>
                    <a:pt x="4179" y="46858"/>
                    <a:pt x="3805" y="47608"/>
                  </a:cubicBezTo>
                  <a:cubicBezTo>
                    <a:pt x="3168" y="48045"/>
                    <a:pt x="2580" y="48545"/>
                    <a:pt x="2055" y="49107"/>
                  </a:cubicBezTo>
                  <a:cubicBezTo>
                    <a:pt x="1630" y="49594"/>
                    <a:pt x="1293" y="50144"/>
                    <a:pt x="1056" y="50731"/>
                  </a:cubicBezTo>
                  <a:cubicBezTo>
                    <a:pt x="681" y="51281"/>
                    <a:pt x="344" y="51868"/>
                    <a:pt x="56" y="52481"/>
                  </a:cubicBezTo>
                  <a:cubicBezTo>
                    <a:pt x="-19" y="53318"/>
                    <a:pt x="-19" y="54142"/>
                    <a:pt x="56" y="54980"/>
                  </a:cubicBezTo>
                  <a:cubicBezTo>
                    <a:pt x="-6" y="55567"/>
                    <a:pt x="-6" y="56142"/>
                    <a:pt x="56" y="56729"/>
                  </a:cubicBezTo>
                  <a:lnTo>
                    <a:pt x="56" y="56729"/>
                  </a:lnTo>
                  <a:cubicBezTo>
                    <a:pt x="31" y="58128"/>
                    <a:pt x="244" y="59528"/>
                    <a:pt x="681" y="60852"/>
                  </a:cubicBezTo>
                  <a:cubicBezTo>
                    <a:pt x="1818" y="65475"/>
                    <a:pt x="6491" y="68299"/>
                    <a:pt x="11114" y="67162"/>
                  </a:cubicBezTo>
                  <a:cubicBezTo>
                    <a:pt x="11564" y="67050"/>
                    <a:pt x="12001" y="66900"/>
                    <a:pt x="12426" y="66725"/>
                  </a:cubicBezTo>
                  <a:lnTo>
                    <a:pt x="17799" y="63976"/>
                  </a:lnTo>
                  <a:lnTo>
                    <a:pt x="17799" y="63976"/>
                  </a:lnTo>
                  <a:lnTo>
                    <a:pt x="103887" y="20493"/>
                  </a:lnTo>
                  <a:cubicBezTo>
                    <a:pt x="108122" y="17195"/>
                    <a:pt x="109784" y="11559"/>
                    <a:pt x="108010" y="6499"/>
                  </a:cubicBezTo>
                  <a:close/>
                </a:path>
              </a:pathLst>
            </a:custGeom>
            <a:solidFill>
              <a:srgbClr val="000000"/>
            </a:solidFill>
            <a:ln w="12483" cap="flat">
              <a:noFill/>
              <a:prstDash val="solid"/>
              <a:miter/>
            </a:ln>
          </p:spPr>
          <p:txBody>
            <a:bodyPr rtlCol="0" anchor="ctr"/>
            <a:lstStyle/>
            <a:p>
              <a:endParaRPr lang="en-US"/>
            </a:p>
          </p:txBody>
        </p:sp>
        <p:sp>
          <p:nvSpPr>
            <p:cNvPr id="1859" name="Freeform: Shape 1858">
              <a:extLst>
                <a:ext uri="{FF2B5EF4-FFF2-40B4-BE49-F238E27FC236}">
                  <a16:creationId xmlns:a16="http://schemas.microsoft.com/office/drawing/2014/main" id="{5CB38686-0B0D-49E2-BDE9-F8B9ADBADFA0}"/>
                </a:ext>
              </a:extLst>
            </p:cNvPr>
            <p:cNvSpPr/>
            <p:nvPr/>
          </p:nvSpPr>
          <p:spPr>
            <a:xfrm>
              <a:off x="8105719" y="5883411"/>
              <a:ext cx="171235" cy="109860"/>
            </a:xfrm>
            <a:custGeom>
              <a:avLst/>
              <a:gdLst>
                <a:gd name="connsiteX0" fmla="*/ 934 w 171235"/>
                <a:gd name="connsiteY0" fmla="*/ 103459 h 109860"/>
                <a:gd name="connsiteX1" fmla="*/ 11267 w 171235"/>
                <a:gd name="connsiteY1" fmla="*/ 109594 h 109860"/>
                <a:gd name="connsiteX2" fmla="*/ 13428 w 171235"/>
                <a:gd name="connsiteY2" fmla="*/ 108707 h 109860"/>
                <a:gd name="connsiteX3" fmla="*/ 171235 w 171235"/>
                <a:gd name="connsiteY3" fmla="*/ 19742 h 109860"/>
                <a:gd name="connsiteX4" fmla="*/ 171235 w 171235"/>
                <a:gd name="connsiteY4" fmla="*/ 19742 h 109860"/>
                <a:gd name="connsiteX5" fmla="*/ 159740 w 171235"/>
                <a:gd name="connsiteY5" fmla="*/ 16931 h 109860"/>
                <a:gd name="connsiteX6" fmla="*/ 158740 w 171235"/>
                <a:gd name="connsiteY6" fmla="*/ 14494 h 109860"/>
                <a:gd name="connsiteX7" fmla="*/ 162989 w 171235"/>
                <a:gd name="connsiteY7" fmla="*/ 0 h 109860"/>
                <a:gd name="connsiteX8" fmla="*/ 162989 w 171235"/>
                <a:gd name="connsiteY8" fmla="*/ 0 h 109860"/>
                <a:gd name="connsiteX9" fmla="*/ 162114 w 171235"/>
                <a:gd name="connsiteY9" fmla="*/ 0 h 109860"/>
                <a:gd name="connsiteX10" fmla="*/ 5182 w 171235"/>
                <a:gd name="connsiteY10" fmla="*/ 88590 h 109860"/>
                <a:gd name="connsiteX11" fmla="*/ 934 w 171235"/>
                <a:gd name="connsiteY11" fmla="*/ 103459 h 10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35" h="109860">
                  <a:moveTo>
                    <a:pt x="934" y="103459"/>
                  </a:moveTo>
                  <a:cubicBezTo>
                    <a:pt x="2096" y="108007"/>
                    <a:pt x="6719" y="110756"/>
                    <a:pt x="11267" y="109594"/>
                  </a:cubicBezTo>
                  <a:cubicBezTo>
                    <a:pt x="12029" y="109394"/>
                    <a:pt x="12753" y="109094"/>
                    <a:pt x="13428" y="108707"/>
                  </a:cubicBezTo>
                  <a:lnTo>
                    <a:pt x="171235" y="19742"/>
                  </a:lnTo>
                  <a:lnTo>
                    <a:pt x="171235" y="19742"/>
                  </a:lnTo>
                  <a:cubicBezTo>
                    <a:pt x="167287" y="22141"/>
                    <a:pt x="162139" y="20879"/>
                    <a:pt x="159740" y="16931"/>
                  </a:cubicBezTo>
                  <a:cubicBezTo>
                    <a:pt x="159278" y="16181"/>
                    <a:pt x="158940" y="15356"/>
                    <a:pt x="158740" y="14494"/>
                  </a:cubicBezTo>
                  <a:cubicBezTo>
                    <a:pt x="156741" y="9259"/>
                    <a:pt x="158478" y="3336"/>
                    <a:pt x="162989" y="0"/>
                  </a:cubicBezTo>
                  <a:lnTo>
                    <a:pt x="162989" y="0"/>
                  </a:lnTo>
                  <a:lnTo>
                    <a:pt x="162114" y="0"/>
                  </a:lnTo>
                  <a:lnTo>
                    <a:pt x="5182" y="88590"/>
                  </a:lnTo>
                  <a:cubicBezTo>
                    <a:pt x="496" y="91964"/>
                    <a:pt x="-1253" y="98111"/>
                    <a:pt x="934" y="103459"/>
                  </a:cubicBezTo>
                  <a:close/>
                </a:path>
              </a:pathLst>
            </a:custGeom>
            <a:solidFill>
              <a:srgbClr val="000000"/>
            </a:solidFill>
            <a:ln w="12483" cap="flat">
              <a:noFill/>
              <a:prstDash val="solid"/>
              <a:miter/>
            </a:ln>
          </p:spPr>
          <p:txBody>
            <a:bodyPr rtlCol="0" anchor="ctr"/>
            <a:lstStyle/>
            <a:p>
              <a:endParaRPr lang="en-US"/>
            </a:p>
          </p:txBody>
        </p:sp>
        <p:sp>
          <p:nvSpPr>
            <p:cNvPr id="1860" name="Freeform: Shape 1859">
              <a:extLst>
                <a:ext uri="{FF2B5EF4-FFF2-40B4-BE49-F238E27FC236}">
                  <a16:creationId xmlns:a16="http://schemas.microsoft.com/office/drawing/2014/main" id="{09756A73-A1A4-4FF2-A2B4-313BCFDA0D01}"/>
                </a:ext>
              </a:extLst>
            </p:cNvPr>
            <p:cNvSpPr/>
            <p:nvPr/>
          </p:nvSpPr>
          <p:spPr>
            <a:xfrm>
              <a:off x="8470121" y="6036225"/>
              <a:ext cx="74" cy="2124"/>
            </a:xfrm>
            <a:custGeom>
              <a:avLst/>
              <a:gdLst>
                <a:gd name="connsiteX0" fmla="*/ 0 w 74"/>
                <a:gd name="connsiteY0" fmla="*/ 999 h 2124"/>
                <a:gd name="connsiteX1" fmla="*/ 0 w 74"/>
                <a:gd name="connsiteY1" fmla="*/ 0 h 2124"/>
                <a:gd name="connsiteX2" fmla="*/ 0 w 74"/>
                <a:gd name="connsiteY2" fmla="*/ 0 h 2124"/>
                <a:gd name="connsiteX3" fmla="*/ 0 w 74"/>
                <a:gd name="connsiteY3" fmla="*/ 2124 h 2124"/>
                <a:gd name="connsiteX4" fmla="*/ 0 w 74"/>
                <a:gd name="connsiteY4" fmla="*/ 999 h 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 h="2124">
                  <a:moveTo>
                    <a:pt x="0" y="999"/>
                  </a:moveTo>
                  <a:cubicBezTo>
                    <a:pt x="0" y="999"/>
                    <a:pt x="0" y="375"/>
                    <a:pt x="0" y="0"/>
                  </a:cubicBezTo>
                  <a:lnTo>
                    <a:pt x="0" y="0"/>
                  </a:lnTo>
                  <a:cubicBezTo>
                    <a:pt x="75" y="712"/>
                    <a:pt x="75" y="1412"/>
                    <a:pt x="0" y="2124"/>
                  </a:cubicBezTo>
                  <a:cubicBezTo>
                    <a:pt x="100" y="1762"/>
                    <a:pt x="100" y="1362"/>
                    <a:pt x="0" y="999"/>
                  </a:cubicBezTo>
                  <a:close/>
                </a:path>
              </a:pathLst>
            </a:custGeom>
            <a:solidFill>
              <a:srgbClr val="000000"/>
            </a:solidFill>
            <a:ln w="12483" cap="flat">
              <a:noFill/>
              <a:prstDash val="solid"/>
              <a:miter/>
            </a:ln>
          </p:spPr>
          <p:txBody>
            <a:bodyPr rtlCol="0" anchor="ctr"/>
            <a:lstStyle/>
            <a:p>
              <a:endParaRPr lang="en-US"/>
            </a:p>
          </p:txBody>
        </p:sp>
        <p:sp>
          <p:nvSpPr>
            <p:cNvPr id="1861" name="Freeform: Shape 1860">
              <a:extLst>
                <a:ext uri="{FF2B5EF4-FFF2-40B4-BE49-F238E27FC236}">
                  <a16:creationId xmlns:a16="http://schemas.microsoft.com/office/drawing/2014/main" id="{344946C1-1A31-4E5E-BCBD-CE308EA8892A}"/>
                </a:ext>
              </a:extLst>
            </p:cNvPr>
            <p:cNvSpPr/>
            <p:nvPr/>
          </p:nvSpPr>
          <p:spPr>
            <a:xfrm>
              <a:off x="8442882" y="6030602"/>
              <a:ext cx="16617" cy="11120"/>
            </a:xfrm>
            <a:custGeom>
              <a:avLst/>
              <a:gdLst>
                <a:gd name="connsiteX0" fmla="*/ 9996 w 16617"/>
                <a:gd name="connsiteY0" fmla="*/ 11121 h 11120"/>
                <a:gd name="connsiteX1" fmla="*/ 16618 w 16617"/>
                <a:gd name="connsiteY1" fmla="*/ 0 h 11120"/>
                <a:gd name="connsiteX2" fmla="*/ 15119 w 16617"/>
                <a:gd name="connsiteY2" fmla="*/ 0 h 11120"/>
                <a:gd name="connsiteX3" fmla="*/ 4873 w 16617"/>
                <a:gd name="connsiteY3" fmla="*/ 5748 h 11120"/>
                <a:gd name="connsiteX4" fmla="*/ 0 w 16617"/>
                <a:gd name="connsiteY4" fmla="*/ 8622 h 11120"/>
                <a:gd name="connsiteX5" fmla="*/ 9996 w 16617"/>
                <a:gd name="connsiteY5" fmla="*/ 11121 h 1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 h="11120">
                  <a:moveTo>
                    <a:pt x="9996" y="11121"/>
                  </a:moveTo>
                  <a:cubicBezTo>
                    <a:pt x="9521" y="6360"/>
                    <a:pt x="12207" y="1849"/>
                    <a:pt x="16618" y="0"/>
                  </a:cubicBezTo>
                  <a:lnTo>
                    <a:pt x="15119" y="0"/>
                  </a:lnTo>
                  <a:lnTo>
                    <a:pt x="4873" y="5748"/>
                  </a:lnTo>
                  <a:lnTo>
                    <a:pt x="0" y="8622"/>
                  </a:lnTo>
                  <a:cubicBezTo>
                    <a:pt x="3486" y="6797"/>
                    <a:pt x="7784" y="7872"/>
                    <a:pt x="9996" y="11121"/>
                  </a:cubicBezTo>
                  <a:close/>
                </a:path>
              </a:pathLst>
            </a:custGeom>
            <a:solidFill>
              <a:srgbClr val="000000"/>
            </a:solidFill>
            <a:ln w="12483" cap="flat">
              <a:noFill/>
              <a:prstDash val="solid"/>
              <a:miter/>
            </a:ln>
          </p:spPr>
          <p:txBody>
            <a:bodyPr rtlCol="0" anchor="ctr"/>
            <a:lstStyle/>
            <a:p>
              <a:endParaRPr lang="en-US"/>
            </a:p>
          </p:txBody>
        </p:sp>
        <p:sp>
          <p:nvSpPr>
            <p:cNvPr id="1862" name="Freeform: Shape 1861">
              <a:extLst>
                <a:ext uri="{FF2B5EF4-FFF2-40B4-BE49-F238E27FC236}">
                  <a16:creationId xmlns:a16="http://schemas.microsoft.com/office/drawing/2014/main" id="{99FF1BCA-9535-474F-876B-5DCA8A181E2E}"/>
                </a:ext>
              </a:extLst>
            </p:cNvPr>
            <p:cNvSpPr/>
            <p:nvPr/>
          </p:nvSpPr>
          <p:spPr>
            <a:xfrm>
              <a:off x="8450504" y="6055217"/>
              <a:ext cx="3873" cy="4123"/>
            </a:xfrm>
            <a:custGeom>
              <a:avLst/>
              <a:gdLst>
                <a:gd name="connsiteX0" fmla="*/ 0 w 3873"/>
                <a:gd name="connsiteY0" fmla="*/ 4124 h 4123"/>
                <a:gd name="connsiteX1" fmla="*/ 3873 w 3873"/>
                <a:gd name="connsiteY1" fmla="*/ 1999 h 4123"/>
                <a:gd name="connsiteX2" fmla="*/ 3873 w 3873"/>
                <a:gd name="connsiteY2" fmla="*/ 0 h 4123"/>
                <a:gd name="connsiteX3" fmla="*/ 0 w 3873"/>
                <a:gd name="connsiteY3" fmla="*/ 4124 h 4123"/>
              </a:gdLst>
              <a:ahLst/>
              <a:cxnLst>
                <a:cxn ang="0">
                  <a:pos x="connsiteX0" y="connsiteY0"/>
                </a:cxn>
                <a:cxn ang="0">
                  <a:pos x="connsiteX1" y="connsiteY1"/>
                </a:cxn>
                <a:cxn ang="0">
                  <a:pos x="connsiteX2" y="connsiteY2"/>
                </a:cxn>
                <a:cxn ang="0">
                  <a:pos x="connsiteX3" y="connsiteY3"/>
                </a:cxn>
              </a:cxnLst>
              <a:rect l="l" t="t" r="r" b="b"/>
              <a:pathLst>
                <a:path w="3873" h="4123">
                  <a:moveTo>
                    <a:pt x="0" y="4124"/>
                  </a:moveTo>
                  <a:lnTo>
                    <a:pt x="3873" y="1999"/>
                  </a:lnTo>
                  <a:lnTo>
                    <a:pt x="3873" y="0"/>
                  </a:lnTo>
                  <a:cubicBezTo>
                    <a:pt x="3061" y="1749"/>
                    <a:pt x="1699" y="3199"/>
                    <a:pt x="0" y="4124"/>
                  </a:cubicBezTo>
                  <a:close/>
                </a:path>
              </a:pathLst>
            </a:custGeom>
            <a:solidFill>
              <a:srgbClr val="000000"/>
            </a:solidFill>
            <a:ln w="12483" cap="flat">
              <a:noFill/>
              <a:prstDash val="solid"/>
              <a:miter/>
            </a:ln>
          </p:spPr>
          <p:txBody>
            <a:bodyPr rtlCol="0" anchor="ctr"/>
            <a:lstStyle/>
            <a:p>
              <a:endParaRPr lang="en-US"/>
            </a:p>
          </p:txBody>
        </p:sp>
        <p:sp>
          <p:nvSpPr>
            <p:cNvPr id="1863" name="Freeform: Shape 1862">
              <a:extLst>
                <a:ext uri="{FF2B5EF4-FFF2-40B4-BE49-F238E27FC236}">
                  <a16:creationId xmlns:a16="http://schemas.microsoft.com/office/drawing/2014/main" id="{EEE3DADE-E78F-4941-AF49-6DA3DB1DC57B}"/>
                </a:ext>
              </a:extLst>
            </p:cNvPr>
            <p:cNvSpPr/>
            <p:nvPr/>
          </p:nvSpPr>
          <p:spPr>
            <a:xfrm>
              <a:off x="8401953" y="6039698"/>
              <a:ext cx="52299" cy="42369"/>
            </a:xfrm>
            <a:custGeom>
              <a:avLst/>
              <a:gdLst>
                <a:gd name="connsiteX0" fmla="*/ 37431 w 52299"/>
                <a:gd name="connsiteY0" fmla="*/ 26015 h 42369"/>
                <a:gd name="connsiteX1" fmla="*/ 48676 w 52299"/>
                <a:gd name="connsiteY1" fmla="*/ 19643 h 42369"/>
                <a:gd name="connsiteX2" fmla="*/ 52300 w 52299"/>
                <a:gd name="connsiteY2" fmla="*/ 15520 h 42369"/>
                <a:gd name="connsiteX3" fmla="*/ 51050 w 52299"/>
                <a:gd name="connsiteY3" fmla="*/ 3025 h 42369"/>
                <a:gd name="connsiteX4" fmla="*/ 51050 w 52299"/>
                <a:gd name="connsiteY4" fmla="*/ 3025 h 42369"/>
                <a:gd name="connsiteX5" fmla="*/ 41054 w 52299"/>
                <a:gd name="connsiteY5" fmla="*/ 1025 h 42369"/>
                <a:gd name="connsiteX6" fmla="*/ 5070 w 52299"/>
                <a:gd name="connsiteY6" fmla="*/ 21517 h 42369"/>
                <a:gd name="connsiteX7" fmla="*/ 822 w 52299"/>
                <a:gd name="connsiteY7" fmla="*/ 36012 h 42369"/>
                <a:gd name="connsiteX8" fmla="*/ 10967 w 52299"/>
                <a:gd name="connsiteY8" fmla="*/ 42121 h 42369"/>
                <a:gd name="connsiteX9" fmla="*/ 13316 w 52299"/>
                <a:gd name="connsiteY9" fmla="*/ 41135 h 42369"/>
                <a:gd name="connsiteX10" fmla="*/ 13316 w 52299"/>
                <a:gd name="connsiteY10" fmla="*/ 41135 h 42369"/>
                <a:gd name="connsiteX11" fmla="*/ 16315 w 52299"/>
                <a:gd name="connsiteY11" fmla="*/ 39510 h 4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99" h="42369">
                  <a:moveTo>
                    <a:pt x="37431" y="26015"/>
                  </a:moveTo>
                  <a:lnTo>
                    <a:pt x="48676" y="19643"/>
                  </a:lnTo>
                  <a:cubicBezTo>
                    <a:pt x="50288" y="18681"/>
                    <a:pt x="51550" y="17244"/>
                    <a:pt x="52300" y="15520"/>
                  </a:cubicBezTo>
                  <a:lnTo>
                    <a:pt x="51050" y="3025"/>
                  </a:lnTo>
                  <a:lnTo>
                    <a:pt x="51050" y="3025"/>
                  </a:lnTo>
                  <a:cubicBezTo>
                    <a:pt x="48689" y="-49"/>
                    <a:pt x="44415" y="-899"/>
                    <a:pt x="41054" y="1025"/>
                  </a:cubicBezTo>
                  <a:lnTo>
                    <a:pt x="5070" y="21517"/>
                  </a:lnTo>
                  <a:cubicBezTo>
                    <a:pt x="559" y="24853"/>
                    <a:pt x="-1177" y="30776"/>
                    <a:pt x="822" y="36012"/>
                  </a:cubicBezTo>
                  <a:cubicBezTo>
                    <a:pt x="1934" y="40497"/>
                    <a:pt x="6482" y="43234"/>
                    <a:pt x="10967" y="42121"/>
                  </a:cubicBezTo>
                  <a:cubicBezTo>
                    <a:pt x="11792" y="41909"/>
                    <a:pt x="12592" y="41584"/>
                    <a:pt x="13316" y="41135"/>
                  </a:cubicBezTo>
                  <a:lnTo>
                    <a:pt x="13316" y="41135"/>
                  </a:lnTo>
                  <a:lnTo>
                    <a:pt x="16315" y="39510"/>
                  </a:lnTo>
                  <a:close/>
                </a:path>
              </a:pathLst>
            </a:custGeom>
            <a:solidFill>
              <a:srgbClr val="000000"/>
            </a:solidFill>
            <a:ln w="12483" cap="flat">
              <a:noFill/>
              <a:prstDash val="solid"/>
              <a:miter/>
            </a:ln>
          </p:spPr>
          <p:txBody>
            <a:bodyPr rtlCol="0" anchor="ctr"/>
            <a:lstStyle/>
            <a:p>
              <a:endParaRPr lang="en-US"/>
            </a:p>
          </p:txBody>
        </p:sp>
        <p:sp>
          <p:nvSpPr>
            <p:cNvPr id="1864" name="Freeform: Shape 1863">
              <a:extLst>
                <a:ext uri="{FF2B5EF4-FFF2-40B4-BE49-F238E27FC236}">
                  <a16:creationId xmlns:a16="http://schemas.microsoft.com/office/drawing/2014/main" id="{E64798A8-B238-4281-93F0-78EDC4BF67B7}"/>
                </a:ext>
              </a:extLst>
            </p:cNvPr>
            <p:cNvSpPr/>
            <p:nvPr/>
          </p:nvSpPr>
          <p:spPr>
            <a:xfrm>
              <a:off x="11378980" y="4264785"/>
              <a:ext cx="18072" cy="12640"/>
            </a:xfrm>
            <a:custGeom>
              <a:avLst/>
              <a:gdLst>
                <a:gd name="connsiteX0" fmla="*/ 8 w 18072"/>
                <a:gd name="connsiteY0" fmla="*/ 10017 h 12640"/>
                <a:gd name="connsiteX1" fmla="*/ 8 w 18072"/>
                <a:gd name="connsiteY1" fmla="*/ 11142 h 12640"/>
                <a:gd name="connsiteX2" fmla="*/ 9616 w 18072"/>
                <a:gd name="connsiteY2" fmla="*/ 1021 h 12640"/>
                <a:gd name="connsiteX3" fmla="*/ 9629 w 18072"/>
                <a:gd name="connsiteY3" fmla="*/ 1021 h 12640"/>
                <a:gd name="connsiteX4" fmla="*/ 18000 w 18072"/>
                <a:gd name="connsiteY4" fmla="*/ 12641 h 12640"/>
                <a:gd name="connsiteX5" fmla="*/ 18000 w 18072"/>
                <a:gd name="connsiteY5" fmla="*/ 11142 h 12640"/>
                <a:gd name="connsiteX6" fmla="*/ 18000 w 18072"/>
                <a:gd name="connsiteY6" fmla="*/ 8768 h 12640"/>
                <a:gd name="connsiteX7" fmla="*/ 18000 w 18072"/>
                <a:gd name="connsiteY7" fmla="*/ 7018 h 12640"/>
                <a:gd name="connsiteX8" fmla="*/ 17126 w 18072"/>
                <a:gd name="connsiteY8" fmla="*/ 5269 h 12640"/>
                <a:gd name="connsiteX9" fmla="*/ 16126 w 18072"/>
                <a:gd name="connsiteY9" fmla="*/ 3395 h 12640"/>
                <a:gd name="connsiteX10" fmla="*/ 10254 w 18072"/>
                <a:gd name="connsiteY10" fmla="*/ 21 h 12640"/>
                <a:gd name="connsiteX11" fmla="*/ 21 w 18072"/>
                <a:gd name="connsiteY11" fmla="*/ 8993 h 12640"/>
                <a:gd name="connsiteX12" fmla="*/ 8 w 18072"/>
                <a:gd name="connsiteY12" fmla="*/ 10017 h 1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72" h="12640">
                  <a:moveTo>
                    <a:pt x="8" y="10017"/>
                  </a:moveTo>
                  <a:lnTo>
                    <a:pt x="8" y="11142"/>
                  </a:lnTo>
                  <a:cubicBezTo>
                    <a:pt x="-129" y="5694"/>
                    <a:pt x="4169" y="1158"/>
                    <a:pt x="9616" y="1021"/>
                  </a:cubicBezTo>
                  <a:cubicBezTo>
                    <a:pt x="9629" y="1021"/>
                    <a:pt x="9629" y="1021"/>
                    <a:pt x="9629" y="1021"/>
                  </a:cubicBezTo>
                  <a:cubicBezTo>
                    <a:pt x="15002" y="2145"/>
                    <a:pt x="18637" y="7181"/>
                    <a:pt x="18000" y="12641"/>
                  </a:cubicBezTo>
                  <a:lnTo>
                    <a:pt x="18000" y="11142"/>
                  </a:lnTo>
                  <a:cubicBezTo>
                    <a:pt x="18063" y="10355"/>
                    <a:pt x="18063" y="9555"/>
                    <a:pt x="18000" y="8768"/>
                  </a:cubicBezTo>
                  <a:lnTo>
                    <a:pt x="18000" y="7018"/>
                  </a:lnTo>
                  <a:cubicBezTo>
                    <a:pt x="17788" y="6406"/>
                    <a:pt x="17488" y="5806"/>
                    <a:pt x="17126" y="5269"/>
                  </a:cubicBezTo>
                  <a:cubicBezTo>
                    <a:pt x="16863" y="4607"/>
                    <a:pt x="16538" y="3982"/>
                    <a:pt x="16126" y="3395"/>
                  </a:cubicBezTo>
                  <a:cubicBezTo>
                    <a:pt x="14714" y="1521"/>
                    <a:pt x="12590" y="296"/>
                    <a:pt x="10254" y="21"/>
                  </a:cubicBezTo>
                  <a:cubicBezTo>
                    <a:pt x="4956" y="-329"/>
                    <a:pt x="371" y="3682"/>
                    <a:pt x="21" y="8993"/>
                  </a:cubicBezTo>
                  <a:cubicBezTo>
                    <a:pt x="-4" y="9330"/>
                    <a:pt x="-4" y="9680"/>
                    <a:pt x="8" y="10017"/>
                  </a:cubicBezTo>
                  <a:close/>
                </a:path>
              </a:pathLst>
            </a:custGeom>
            <a:solidFill>
              <a:srgbClr val="000000"/>
            </a:solidFill>
            <a:ln w="12483" cap="flat">
              <a:noFill/>
              <a:prstDash val="solid"/>
              <a:miter/>
            </a:ln>
          </p:spPr>
          <p:txBody>
            <a:bodyPr rtlCol="0" anchor="ctr"/>
            <a:lstStyle/>
            <a:p>
              <a:endParaRPr lang="en-US"/>
            </a:p>
          </p:txBody>
        </p:sp>
        <p:sp>
          <p:nvSpPr>
            <p:cNvPr id="1865" name="Freeform: Shape 1864">
              <a:extLst>
                <a:ext uri="{FF2B5EF4-FFF2-40B4-BE49-F238E27FC236}">
                  <a16:creationId xmlns:a16="http://schemas.microsoft.com/office/drawing/2014/main" id="{BAC5ABC3-80D0-43BA-85AF-E7ED28AC1A9C}"/>
                </a:ext>
              </a:extLst>
            </p:cNvPr>
            <p:cNvSpPr/>
            <p:nvPr/>
          </p:nvSpPr>
          <p:spPr>
            <a:xfrm>
              <a:off x="11377018" y="4265806"/>
              <a:ext cx="19049" cy="48855"/>
            </a:xfrm>
            <a:custGeom>
              <a:avLst/>
              <a:gdLst>
                <a:gd name="connsiteX0" fmla="*/ 11092 w 19049"/>
                <a:gd name="connsiteY0" fmla="*/ 0 h 48855"/>
                <a:gd name="connsiteX1" fmla="*/ 1471 w 19049"/>
                <a:gd name="connsiteY1" fmla="*/ 10108 h 48855"/>
                <a:gd name="connsiteX2" fmla="*/ 1471 w 19049"/>
                <a:gd name="connsiteY2" fmla="*/ 10121 h 48855"/>
                <a:gd name="connsiteX3" fmla="*/ 1471 w 19049"/>
                <a:gd name="connsiteY3" fmla="*/ 14119 h 48855"/>
                <a:gd name="connsiteX4" fmla="*/ 96 w 19049"/>
                <a:gd name="connsiteY4" fmla="*/ 37360 h 48855"/>
                <a:gd name="connsiteX5" fmla="*/ 8468 w 19049"/>
                <a:gd name="connsiteY5" fmla="*/ 48856 h 48855"/>
                <a:gd name="connsiteX6" fmla="*/ 18101 w 19049"/>
                <a:gd name="connsiteY6" fmla="*/ 39247 h 48855"/>
                <a:gd name="connsiteX7" fmla="*/ 18089 w 19049"/>
                <a:gd name="connsiteY7" fmla="*/ 38860 h 48855"/>
                <a:gd name="connsiteX8" fmla="*/ 18963 w 19049"/>
                <a:gd name="connsiteY8" fmla="*/ 23116 h 48855"/>
                <a:gd name="connsiteX9" fmla="*/ 18963 w 19049"/>
                <a:gd name="connsiteY9" fmla="*/ 18118 h 48855"/>
                <a:gd name="connsiteX10" fmla="*/ 18963 w 19049"/>
                <a:gd name="connsiteY10" fmla="*/ 11620 h 48855"/>
                <a:gd name="connsiteX11" fmla="*/ 11092 w 19049"/>
                <a:gd name="connsiteY11" fmla="*/ 0 h 48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49" h="48855">
                  <a:moveTo>
                    <a:pt x="11092" y="0"/>
                  </a:moveTo>
                  <a:cubicBezTo>
                    <a:pt x="5644" y="138"/>
                    <a:pt x="1333" y="4661"/>
                    <a:pt x="1471" y="10108"/>
                  </a:cubicBezTo>
                  <a:cubicBezTo>
                    <a:pt x="1471" y="10121"/>
                    <a:pt x="1471" y="10121"/>
                    <a:pt x="1471" y="10121"/>
                  </a:cubicBezTo>
                  <a:lnTo>
                    <a:pt x="1471" y="14119"/>
                  </a:lnTo>
                  <a:lnTo>
                    <a:pt x="96" y="37360"/>
                  </a:lnTo>
                  <a:cubicBezTo>
                    <a:pt x="-653" y="42820"/>
                    <a:pt x="3045" y="47894"/>
                    <a:pt x="8468" y="48856"/>
                  </a:cubicBezTo>
                  <a:cubicBezTo>
                    <a:pt x="13778" y="48856"/>
                    <a:pt x="18089" y="44557"/>
                    <a:pt x="18101" y="39247"/>
                  </a:cubicBezTo>
                  <a:cubicBezTo>
                    <a:pt x="18101" y="39109"/>
                    <a:pt x="18089" y="38984"/>
                    <a:pt x="18089" y="38860"/>
                  </a:cubicBezTo>
                  <a:lnTo>
                    <a:pt x="18963" y="23116"/>
                  </a:lnTo>
                  <a:lnTo>
                    <a:pt x="18963" y="18118"/>
                  </a:lnTo>
                  <a:lnTo>
                    <a:pt x="18963" y="11620"/>
                  </a:lnTo>
                  <a:cubicBezTo>
                    <a:pt x="19638" y="6323"/>
                    <a:pt x="16265" y="1337"/>
                    <a:pt x="11092" y="0"/>
                  </a:cubicBezTo>
                  <a:close/>
                </a:path>
              </a:pathLst>
            </a:custGeom>
            <a:solidFill>
              <a:srgbClr val="000000"/>
            </a:solidFill>
            <a:ln w="12483" cap="flat">
              <a:noFill/>
              <a:prstDash val="solid"/>
              <a:miter/>
            </a:ln>
          </p:spPr>
          <p:txBody>
            <a:bodyPr rtlCol="0" anchor="ctr"/>
            <a:lstStyle/>
            <a:p>
              <a:endParaRPr lang="en-US"/>
            </a:p>
          </p:txBody>
        </p:sp>
        <p:sp>
          <p:nvSpPr>
            <p:cNvPr id="1866" name="Freeform: Shape 1865">
              <a:extLst>
                <a:ext uri="{FF2B5EF4-FFF2-40B4-BE49-F238E27FC236}">
                  <a16:creationId xmlns:a16="http://schemas.microsoft.com/office/drawing/2014/main" id="{C2B8CBD9-F596-4618-A631-1EF64ACC5928}"/>
                </a:ext>
              </a:extLst>
            </p:cNvPr>
            <p:cNvSpPr/>
            <p:nvPr/>
          </p:nvSpPr>
          <p:spPr>
            <a:xfrm>
              <a:off x="8433261" y="6000614"/>
              <a:ext cx="18537" cy="21828"/>
            </a:xfrm>
            <a:custGeom>
              <a:avLst/>
              <a:gdLst>
                <a:gd name="connsiteX0" fmla="*/ 12495 w 18537"/>
                <a:gd name="connsiteY0" fmla="*/ 15494 h 21828"/>
                <a:gd name="connsiteX1" fmla="*/ 1187 w 18537"/>
                <a:gd name="connsiteY1" fmla="*/ 15319 h 21828"/>
                <a:gd name="connsiteX2" fmla="*/ 0 w 18537"/>
                <a:gd name="connsiteY2" fmla="*/ 13745 h 21828"/>
                <a:gd name="connsiteX3" fmla="*/ 625 w 18537"/>
                <a:gd name="connsiteY3" fmla="*/ 14619 h 21828"/>
                <a:gd name="connsiteX4" fmla="*/ 2624 w 18537"/>
                <a:gd name="connsiteY4" fmla="*/ 17743 h 21828"/>
                <a:gd name="connsiteX5" fmla="*/ 2624 w 18537"/>
                <a:gd name="connsiteY5" fmla="*/ 17743 h 21828"/>
                <a:gd name="connsiteX6" fmla="*/ 13507 w 18537"/>
                <a:gd name="connsiteY6" fmla="*/ 20804 h 21828"/>
                <a:gd name="connsiteX7" fmla="*/ 15119 w 18537"/>
                <a:gd name="connsiteY7" fmla="*/ 19617 h 21828"/>
                <a:gd name="connsiteX8" fmla="*/ 16618 w 18537"/>
                <a:gd name="connsiteY8" fmla="*/ 4373 h 21828"/>
                <a:gd name="connsiteX9" fmla="*/ 13744 w 18537"/>
                <a:gd name="connsiteY9" fmla="*/ 0 h 21828"/>
                <a:gd name="connsiteX10" fmla="*/ 12495 w 18537"/>
                <a:gd name="connsiteY10" fmla="*/ 15494 h 2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7" h="21828">
                  <a:moveTo>
                    <a:pt x="12495" y="15494"/>
                  </a:moveTo>
                  <a:cubicBezTo>
                    <a:pt x="9321" y="18568"/>
                    <a:pt x="4261" y="18493"/>
                    <a:pt x="1187" y="15319"/>
                  </a:cubicBezTo>
                  <a:cubicBezTo>
                    <a:pt x="725" y="14844"/>
                    <a:pt x="325" y="14319"/>
                    <a:pt x="0" y="13745"/>
                  </a:cubicBezTo>
                  <a:lnTo>
                    <a:pt x="625" y="14619"/>
                  </a:lnTo>
                  <a:lnTo>
                    <a:pt x="2624" y="17743"/>
                  </a:lnTo>
                  <a:lnTo>
                    <a:pt x="2624" y="17743"/>
                  </a:lnTo>
                  <a:cubicBezTo>
                    <a:pt x="4786" y="21591"/>
                    <a:pt x="9658" y="22966"/>
                    <a:pt x="13507" y="20804"/>
                  </a:cubicBezTo>
                  <a:cubicBezTo>
                    <a:pt x="14094" y="20479"/>
                    <a:pt x="14631" y="20079"/>
                    <a:pt x="15119" y="19617"/>
                  </a:cubicBezTo>
                  <a:cubicBezTo>
                    <a:pt x="19042" y="15469"/>
                    <a:pt x="19654" y="9196"/>
                    <a:pt x="16618" y="4373"/>
                  </a:cubicBezTo>
                  <a:lnTo>
                    <a:pt x="13744" y="0"/>
                  </a:lnTo>
                  <a:cubicBezTo>
                    <a:pt x="16980" y="4823"/>
                    <a:pt x="16468" y="11245"/>
                    <a:pt x="12495" y="15494"/>
                  </a:cubicBezTo>
                  <a:close/>
                </a:path>
              </a:pathLst>
            </a:custGeom>
            <a:solidFill>
              <a:srgbClr val="000000"/>
            </a:solidFill>
            <a:ln w="12483" cap="flat">
              <a:noFill/>
              <a:prstDash val="solid"/>
              <a:miter/>
            </a:ln>
          </p:spPr>
          <p:txBody>
            <a:bodyPr rtlCol="0" anchor="ctr"/>
            <a:lstStyle/>
            <a:p>
              <a:endParaRPr lang="en-US"/>
            </a:p>
          </p:txBody>
        </p:sp>
        <p:sp>
          <p:nvSpPr>
            <p:cNvPr id="1867" name="Freeform: Shape 1866">
              <a:extLst>
                <a:ext uri="{FF2B5EF4-FFF2-40B4-BE49-F238E27FC236}">
                  <a16:creationId xmlns:a16="http://schemas.microsoft.com/office/drawing/2014/main" id="{F6DD8943-36E1-44ED-9148-30822907AA4D}"/>
                </a:ext>
              </a:extLst>
            </p:cNvPr>
            <p:cNvSpPr/>
            <p:nvPr/>
          </p:nvSpPr>
          <p:spPr>
            <a:xfrm>
              <a:off x="8398480" y="5946674"/>
              <a:ext cx="50649" cy="72061"/>
            </a:xfrm>
            <a:custGeom>
              <a:avLst/>
              <a:gdLst>
                <a:gd name="connsiteX0" fmla="*/ 15914 w 50649"/>
                <a:gd name="connsiteY0" fmla="*/ 4085 h 72061"/>
                <a:gd name="connsiteX1" fmla="*/ 15914 w 50649"/>
                <a:gd name="connsiteY1" fmla="*/ 4085 h 72061"/>
                <a:gd name="connsiteX2" fmla="*/ 5031 w 50649"/>
                <a:gd name="connsiteY2" fmla="*/ 1024 h 72061"/>
                <a:gd name="connsiteX3" fmla="*/ 3419 w 50649"/>
                <a:gd name="connsiteY3" fmla="*/ 2211 h 72061"/>
                <a:gd name="connsiteX4" fmla="*/ 1920 w 50649"/>
                <a:gd name="connsiteY4" fmla="*/ 17455 h 72061"/>
                <a:gd name="connsiteX5" fmla="*/ 34781 w 50649"/>
                <a:gd name="connsiteY5" fmla="*/ 68059 h 72061"/>
                <a:gd name="connsiteX6" fmla="*/ 45701 w 50649"/>
                <a:gd name="connsiteY6" fmla="*/ 70996 h 72061"/>
                <a:gd name="connsiteX7" fmla="*/ 47275 w 50649"/>
                <a:gd name="connsiteY7" fmla="*/ 69809 h 72061"/>
                <a:gd name="connsiteX8" fmla="*/ 48775 w 50649"/>
                <a:gd name="connsiteY8" fmla="*/ 54690 h 72061"/>
                <a:gd name="connsiteX9" fmla="*/ 44402 w 50649"/>
                <a:gd name="connsiteY9" fmla="*/ 47818 h 72061"/>
                <a:gd name="connsiteX10" fmla="*/ 18163 w 50649"/>
                <a:gd name="connsiteY10" fmla="*/ 7584 h 7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49" h="72061">
                  <a:moveTo>
                    <a:pt x="15914" y="4085"/>
                  </a:moveTo>
                  <a:lnTo>
                    <a:pt x="15914" y="4085"/>
                  </a:lnTo>
                  <a:cubicBezTo>
                    <a:pt x="13752" y="236"/>
                    <a:pt x="8880" y="-1138"/>
                    <a:pt x="5031" y="1024"/>
                  </a:cubicBezTo>
                  <a:cubicBezTo>
                    <a:pt x="4444" y="1349"/>
                    <a:pt x="3907" y="1748"/>
                    <a:pt x="3419" y="2211"/>
                  </a:cubicBezTo>
                  <a:cubicBezTo>
                    <a:pt x="-504" y="6359"/>
                    <a:pt x="-1116" y="12631"/>
                    <a:pt x="1920" y="17455"/>
                  </a:cubicBezTo>
                  <a:lnTo>
                    <a:pt x="34781" y="68059"/>
                  </a:lnTo>
                  <a:cubicBezTo>
                    <a:pt x="36980" y="71883"/>
                    <a:pt x="41878" y="73195"/>
                    <a:pt x="45701" y="70996"/>
                  </a:cubicBezTo>
                  <a:cubicBezTo>
                    <a:pt x="46276" y="70671"/>
                    <a:pt x="46801" y="70271"/>
                    <a:pt x="47275" y="69809"/>
                  </a:cubicBezTo>
                  <a:cubicBezTo>
                    <a:pt x="51136" y="65685"/>
                    <a:pt x="51748" y="59488"/>
                    <a:pt x="48775" y="54690"/>
                  </a:cubicBezTo>
                  <a:lnTo>
                    <a:pt x="44402" y="47818"/>
                  </a:lnTo>
                  <a:lnTo>
                    <a:pt x="18163" y="7584"/>
                  </a:lnTo>
                  <a:close/>
                </a:path>
              </a:pathLst>
            </a:custGeom>
            <a:solidFill>
              <a:srgbClr val="000000"/>
            </a:solidFill>
            <a:ln w="12483" cap="flat">
              <a:noFill/>
              <a:prstDash val="solid"/>
              <a:miter/>
            </a:ln>
          </p:spPr>
          <p:txBody>
            <a:bodyPr rtlCol="0" anchor="ctr"/>
            <a:lstStyle/>
            <a:p>
              <a:endParaRPr lang="en-US"/>
            </a:p>
          </p:txBody>
        </p:sp>
        <p:sp>
          <p:nvSpPr>
            <p:cNvPr id="1868" name="Freeform: Shape 1867">
              <a:extLst>
                <a:ext uri="{FF2B5EF4-FFF2-40B4-BE49-F238E27FC236}">
                  <a16:creationId xmlns:a16="http://schemas.microsoft.com/office/drawing/2014/main" id="{3459A106-1E1E-458A-BEBC-E87328D14F53}"/>
                </a:ext>
              </a:extLst>
            </p:cNvPr>
            <p:cNvSpPr/>
            <p:nvPr/>
          </p:nvSpPr>
          <p:spPr>
            <a:xfrm>
              <a:off x="8531249" y="6258739"/>
              <a:ext cx="51698" cy="377495"/>
            </a:xfrm>
            <a:custGeom>
              <a:avLst/>
              <a:gdLst>
                <a:gd name="connsiteX0" fmla="*/ 17338 w 51698"/>
                <a:gd name="connsiteY0" fmla="*/ 9518 h 377495"/>
                <a:gd name="connsiteX1" fmla="*/ 17338 w 51698"/>
                <a:gd name="connsiteY1" fmla="*/ 8768 h 377495"/>
                <a:gd name="connsiteX2" fmla="*/ 17338 w 51698"/>
                <a:gd name="connsiteY2" fmla="*/ 6769 h 377495"/>
                <a:gd name="connsiteX3" fmla="*/ 16588 w 51698"/>
                <a:gd name="connsiteY3" fmla="*/ 4895 h 377495"/>
                <a:gd name="connsiteX4" fmla="*/ 8217 w 51698"/>
                <a:gd name="connsiteY4" fmla="*/ 22 h 377495"/>
                <a:gd name="connsiteX5" fmla="*/ 220 w 51698"/>
                <a:gd name="connsiteY5" fmla="*/ 12517 h 377495"/>
                <a:gd name="connsiteX6" fmla="*/ 220 w 51698"/>
                <a:gd name="connsiteY6" fmla="*/ 14266 h 377495"/>
                <a:gd name="connsiteX7" fmla="*/ 220 w 51698"/>
                <a:gd name="connsiteY7" fmla="*/ 18264 h 377495"/>
                <a:gd name="connsiteX8" fmla="*/ 33831 w 51698"/>
                <a:gd name="connsiteY8" fmla="*/ 377496 h 377495"/>
                <a:gd name="connsiteX9" fmla="*/ 41702 w 51698"/>
                <a:gd name="connsiteY9" fmla="*/ 365001 h 377495"/>
                <a:gd name="connsiteX10" fmla="*/ 51686 w 51698"/>
                <a:gd name="connsiteY10" fmla="*/ 374235 h 377495"/>
                <a:gd name="connsiteX11" fmla="*/ 51698 w 51698"/>
                <a:gd name="connsiteY11" fmla="*/ 374622 h 377495"/>
                <a:gd name="connsiteX12" fmla="*/ 50199 w 51698"/>
                <a:gd name="connsiteY12" fmla="*/ 359378 h 37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98" h="377495">
                  <a:moveTo>
                    <a:pt x="17338" y="9518"/>
                  </a:moveTo>
                  <a:cubicBezTo>
                    <a:pt x="17338" y="9518"/>
                    <a:pt x="17338" y="9518"/>
                    <a:pt x="17338" y="8768"/>
                  </a:cubicBezTo>
                  <a:cubicBezTo>
                    <a:pt x="17375" y="8106"/>
                    <a:pt x="17375" y="7431"/>
                    <a:pt x="17338" y="6769"/>
                  </a:cubicBezTo>
                  <a:cubicBezTo>
                    <a:pt x="17163" y="6119"/>
                    <a:pt x="16913" y="5482"/>
                    <a:pt x="16588" y="4895"/>
                  </a:cubicBezTo>
                  <a:cubicBezTo>
                    <a:pt x="15064" y="1709"/>
                    <a:pt x="11740" y="-228"/>
                    <a:pt x="8217" y="22"/>
                  </a:cubicBezTo>
                  <a:cubicBezTo>
                    <a:pt x="2607" y="1321"/>
                    <a:pt x="-942" y="6869"/>
                    <a:pt x="220" y="12517"/>
                  </a:cubicBezTo>
                  <a:lnTo>
                    <a:pt x="220" y="14266"/>
                  </a:lnTo>
                  <a:lnTo>
                    <a:pt x="220" y="18264"/>
                  </a:lnTo>
                  <a:lnTo>
                    <a:pt x="33831" y="377496"/>
                  </a:lnTo>
                  <a:cubicBezTo>
                    <a:pt x="32719" y="371898"/>
                    <a:pt x="36180" y="366413"/>
                    <a:pt x="41702" y="365001"/>
                  </a:cubicBezTo>
                  <a:cubicBezTo>
                    <a:pt x="47013" y="364789"/>
                    <a:pt x="51486" y="368925"/>
                    <a:pt x="51686" y="374235"/>
                  </a:cubicBezTo>
                  <a:cubicBezTo>
                    <a:pt x="51698" y="374372"/>
                    <a:pt x="51698" y="374497"/>
                    <a:pt x="51698" y="374622"/>
                  </a:cubicBezTo>
                  <a:lnTo>
                    <a:pt x="50199" y="359378"/>
                  </a:lnTo>
                  <a:close/>
                </a:path>
              </a:pathLst>
            </a:custGeom>
            <a:solidFill>
              <a:srgbClr val="000000"/>
            </a:solidFill>
            <a:ln w="12483" cap="flat">
              <a:noFill/>
              <a:prstDash val="solid"/>
              <a:miter/>
            </a:ln>
          </p:spPr>
          <p:txBody>
            <a:bodyPr rtlCol="0" anchor="ctr"/>
            <a:lstStyle/>
            <a:p>
              <a:endParaRPr lang="en-US"/>
            </a:p>
          </p:txBody>
        </p:sp>
        <p:sp>
          <p:nvSpPr>
            <p:cNvPr id="1869" name="Freeform: Shape 1868">
              <a:extLst>
                <a:ext uri="{FF2B5EF4-FFF2-40B4-BE49-F238E27FC236}">
                  <a16:creationId xmlns:a16="http://schemas.microsoft.com/office/drawing/2014/main" id="{12B9ADC0-E9C4-4929-A688-C1E62EABB0D0}"/>
                </a:ext>
              </a:extLst>
            </p:cNvPr>
            <p:cNvSpPr/>
            <p:nvPr/>
          </p:nvSpPr>
          <p:spPr>
            <a:xfrm>
              <a:off x="8564747" y="6624103"/>
              <a:ext cx="40440" cy="249037"/>
            </a:xfrm>
            <a:custGeom>
              <a:avLst/>
              <a:gdLst>
                <a:gd name="connsiteX0" fmla="*/ 39940 w 40440"/>
                <a:gd name="connsiteY0" fmla="*/ 243040 h 249037"/>
                <a:gd name="connsiteX1" fmla="*/ 18824 w 40440"/>
                <a:gd name="connsiteY1" fmla="*/ 17255 h 249037"/>
                <a:gd name="connsiteX2" fmla="*/ 18075 w 40440"/>
                <a:gd name="connsiteY2" fmla="*/ 9634 h 249037"/>
                <a:gd name="connsiteX3" fmla="*/ 8466 w 40440"/>
                <a:gd name="connsiteY3" fmla="*/ 0 h 249037"/>
                <a:gd name="connsiteX4" fmla="*/ 8079 w 40440"/>
                <a:gd name="connsiteY4" fmla="*/ 12 h 249037"/>
                <a:gd name="connsiteX5" fmla="*/ 208 w 40440"/>
                <a:gd name="connsiteY5" fmla="*/ 12507 h 249037"/>
                <a:gd name="connsiteX6" fmla="*/ 22323 w 40440"/>
                <a:gd name="connsiteY6" fmla="*/ 249038 h 249037"/>
                <a:gd name="connsiteX7" fmla="*/ 40440 w 40440"/>
                <a:gd name="connsiteY7" fmla="*/ 249038 h 249037"/>
                <a:gd name="connsiteX8" fmla="*/ 40440 w 40440"/>
                <a:gd name="connsiteY8" fmla="*/ 247538 h 24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40" h="249037">
                  <a:moveTo>
                    <a:pt x="39940" y="243040"/>
                  </a:moveTo>
                  <a:lnTo>
                    <a:pt x="18824" y="17255"/>
                  </a:lnTo>
                  <a:lnTo>
                    <a:pt x="18075" y="9634"/>
                  </a:lnTo>
                  <a:cubicBezTo>
                    <a:pt x="18075" y="4323"/>
                    <a:pt x="13777" y="12"/>
                    <a:pt x="8466" y="0"/>
                  </a:cubicBezTo>
                  <a:cubicBezTo>
                    <a:pt x="8329" y="0"/>
                    <a:pt x="8204" y="12"/>
                    <a:pt x="8079" y="12"/>
                  </a:cubicBezTo>
                  <a:cubicBezTo>
                    <a:pt x="2557" y="1424"/>
                    <a:pt x="-904" y="6909"/>
                    <a:pt x="208" y="12507"/>
                  </a:cubicBezTo>
                  <a:lnTo>
                    <a:pt x="22323" y="249038"/>
                  </a:lnTo>
                  <a:lnTo>
                    <a:pt x="40440" y="249038"/>
                  </a:lnTo>
                  <a:lnTo>
                    <a:pt x="40440" y="247538"/>
                  </a:lnTo>
                  <a:close/>
                </a:path>
              </a:pathLst>
            </a:custGeom>
            <a:solidFill>
              <a:srgbClr val="000000"/>
            </a:solidFill>
            <a:ln w="12483" cap="flat">
              <a:noFill/>
              <a:prstDash val="solid"/>
              <a:miter/>
            </a:ln>
          </p:spPr>
          <p:txBody>
            <a:bodyPr rtlCol="0" anchor="ctr"/>
            <a:lstStyle/>
            <a:p>
              <a:endParaRPr lang="en-US"/>
            </a:p>
          </p:txBody>
        </p:sp>
        <p:sp>
          <p:nvSpPr>
            <p:cNvPr id="1870" name="Freeform: Shape 1869">
              <a:extLst>
                <a:ext uri="{FF2B5EF4-FFF2-40B4-BE49-F238E27FC236}">
                  <a16:creationId xmlns:a16="http://schemas.microsoft.com/office/drawing/2014/main" id="{5A2E2854-55E8-40EB-B741-04C370C45D9A}"/>
                </a:ext>
              </a:extLst>
            </p:cNvPr>
            <p:cNvSpPr/>
            <p:nvPr/>
          </p:nvSpPr>
          <p:spPr>
            <a:xfrm>
              <a:off x="10514858" y="1137678"/>
              <a:ext cx="19540" cy="145067"/>
            </a:xfrm>
            <a:custGeom>
              <a:avLst/>
              <a:gdLst>
                <a:gd name="connsiteX0" fmla="*/ 9125 w 19540"/>
                <a:gd name="connsiteY0" fmla="*/ 133947 h 145067"/>
                <a:gd name="connsiteX1" fmla="*/ 17872 w 19540"/>
                <a:gd name="connsiteY1" fmla="*/ 145067 h 145067"/>
                <a:gd name="connsiteX2" fmla="*/ 17872 w 19540"/>
                <a:gd name="connsiteY2" fmla="*/ 138570 h 145067"/>
                <a:gd name="connsiteX3" fmla="*/ 19496 w 19540"/>
                <a:gd name="connsiteY3" fmla="*/ 18368 h 145067"/>
                <a:gd name="connsiteX4" fmla="*/ 19496 w 19540"/>
                <a:gd name="connsiteY4" fmla="*/ 10996 h 145067"/>
                <a:gd name="connsiteX5" fmla="*/ 10625 w 19540"/>
                <a:gd name="connsiteY5" fmla="*/ 0 h 145067"/>
                <a:gd name="connsiteX6" fmla="*/ 1504 w 19540"/>
                <a:gd name="connsiteY6" fmla="*/ 10565 h 145067"/>
                <a:gd name="connsiteX7" fmla="*/ 1504 w 19540"/>
                <a:gd name="connsiteY7" fmla="*/ 10621 h 145067"/>
                <a:gd name="connsiteX8" fmla="*/ 4 w 19540"/>
                <a:gd name="connsiteY8" fmla="*/ 144193 h 145067"/>
                <a:gd name="connsiteX9" fmla="*/ 9125 w 19540"/>
                <a:gd name="connsiteY9" fmla="*/ 133947 h 14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40" h="145067">
                  <a:moveTo>
                    <a:pt x="9125" y="133947"/>
                  </a:moveTo>
                  <a:cubicBezTo>
                    <a:pt x="14548" y="134723"/>
                    <a:pt x="18396" y="139619"/>
                    <a:pt x="17872" y="145067"/>
                  </a:cubicBezTo>
                  <a:lnTo>
                    <a:pt x="17872" y="138570"/>
                  </a:lnTo>
                  <a:lnTo>
                    <a:pt x="19496" y="18368"/>
                  </a:lnTo>
                  <a:lnTo>
                    <a:pt x="19496" y="10996"/>
                  </a:lnTo>
                  <a:cubicBezTo>
                    <a:pt x="20008" y="5532"/>
                    <a:pt x="16072" y="653"/>
                    <a:pt x="10625" y="0"/>
                  </a:cubicBezTo>
                  <a:cubicBezTo>
                    <a:pt x="5189" y="397"/>
                    <a:pt x="1104" y="5127"/>
                    <a:pt x="1504" y="10565"/>
                  </a:cubicBezTo>
                  <a:cubicBezTo>
                    <a:pt x="1504" y="10583"/>
                    <a:pt x="1504" y="10602"/>
                    <a:pt x="1504" y="10621"/>
                  </a:cubicBezTo>
                  <a:lnTo>
                    <a:pt x="4" y="144193"/>
                  </a:lnTo>
                  <a:cubicBezTo>
                    <a:pt x="-146" y="138901"/>
                    <a:pt x="3853" y="134408"/>
                    <a:pt x="9125" y="133947"/>
                  </a:cubicBezTo>
                  <a:close/>
                </a:path>
              </a:pathLst>
            </a:custGeom>
            <a:solidFill>
              <a:srgbClr val="000000"/>
            </a:solidFill>
            <a:ln w="12483" cap="flat">
              <a:noFill/>
              <a:prstDash val="solid"/>
              <a:miter/>
            </a:ln>
          </p:spPr>
          <p:txBody>
            <a:bodyPr rtlCol="0" anchor="ctr"/>
            <a:lstStyle/>
            <a:p>
              <a:endParaRPr lang="en-US"/>
            </a:p>
          </p:txBody>
        </p:sp>
        <p:sp>
          <p:nvSpPr>
            <p:cNvPr id="1871" name="Freeform: Shape 1870">
              <a:extLst>
                <a:ext uri="{FF2B5EF4-FFF2-40B4-BE49-F238E27FC236}">
                  <a16:creationId xmlns:a16="http://schemas.microsoft.com/office/drawing/2014/main" id="{D44CB606-A819-494B-9E64-652038B720C7}"/>
                </a:ext>
              </a:extLst>
            </p:cNvPr>
            <p:cNvSpPr/>
            <p:nvPr/>
          </p:nvSpPr>
          <p:spPr>
            <a:xfrm>
              <a:off x="10509239" y="1271375"/>
              <a:ext cx="23287" cy="420082"/>
            </a:xfrm>
            <a:custGeom>
              <a:avLst/>
              <a:gdLst>
                <a:gd name="connsiteX0" fmla="*/ 1749 w 23287"/>
                <a:gd name="connsiteY0" fmla="*/ 415084 h 420082"/>
                <a:gd name="connsiteX1" fmla="*/ 1749 w 23287"/>
                <a:gd name="connsiteY1" fmla="*/ 415084 h 420082"/>
                <a:gd name="connsiteX2" fmla="*/ 2874 w 23287"/>
                <a:gd name="connsiteY2" fmla="*/ 416959 h 420082"/>
                <a:gd name="connsiteX3" fmla="*/ 8871 w 23287"/>
                <a:gd name="connsiteY3" fmla="*/ 420082 h 420082"/>
                <a:gd name="connsiteX4" fmla="*/ 17992 w 23287"/>
                <a:gd name="connsiteY4" fmla="*/ 409337 h 420082"/>
                <a:gd name="connsiteX5" fmla="*/ 17992 w 23287"/>
                <a:gd name="connsiteY5" fmla="*/ 404339 h 420082"/>
                <a:gd name="connsiteX6" fmla="*/ 23240 w 23287"/>
                <a:gd name="connsiteY6" fmla="*/ 11121 h 420082"/>
                <a:gd name="connsiteX7" fmla="*/ 14494 w 23287"/>
                <a:gd name="connsiteY7" fmla="*/ 0 h 420082"/>
                <a:gd name="connsiteX8" fmla="*/ 5373 w 23287"/>
                <a:gd name="connsiteY8" fmla="*/ 10746 h 420082"/>
                <a:gd name="connsiteX9" fmla="*/ 0 w 23287"/>
                <a:gd name="connsiteY9" fmla="*/ 409087 h 420082"/>
                <a:gd name="connsiteX10" fmla="*/ 0 w 23287"/>
                <a:gd name="connsiteY10" fmla="*/ 409087 h 420082"/>
                <a:gd name="connsiteX11" fmla="*/ 0 w 23287"/>
                <a:gd name="connsiteY11" fmla="*/ 410961 h 420082"/>
                <a:gd name="connsiteX12" fmla="*/ 1749 w 23287"/>
                <a:gd name="connsiteY12" fmla="*/ 415084 h 42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287" h="420082">
                  <a:moveTo>
                    <a:pt x="1749" y="415084"/>
                  </a:moveTo>
                  <a:lnTo>
                    <a:pt x="1749" y="415084"/>
                  </a:lnTo>
                  <a:cubicBezTo>
                    <a:pt x="2074" y="415740"/>
                    <a:pt x="2449" y="416368"/>
                    <a:pt x="2874" y="416959"/>
                  </a:cubicBezTo>
                  <a:cubicBezTo>
                    <a:pt x="4361" y="418773"/>
                    <a:pt x="6535" y="419901"/>
                    <a:pt x="8871" y="420082"/>
                  </a:cubicBezTo>
                  <a:cubicBezTo>
                    <a:pt x="14344" y="419619"/>
                    <a:pt x="18430" y="414817"/>
                    <a:pt x="17992" y="409337"/>
                  </a:cubicBezTo>
                  <a:lnTo>
                    <a:pt x="17992" y="404339"/>
                  </a:lnTo>
                  <a:lnTo>
                    <a:pt x="23240" y="11121"/>
                  </a:lnTo>
                  <a:cubicBezTo>
                    <a:pt x="23765" y="5673"/>
                    <a:pt x="19916" y="776"/>
                    <a:pt x="14494" y="0"/>
                  </a:cubicBezTo>
                  <a:cubicBezTo>
                    <a:pt x="9021" y="463"/>
                    <a:pt x="4935" y="5265"/>
                    <a:pt x="5373" y="10746"/>
                  </a:cubicBezTo>
                  <a:lnTo>
                    <a:pt x="0" y="409087"/>
                  </a:lnTo>
                  <a:lnTo>
                    <a:pt x="0" y="409087"/>
                  </a:lnTo>
                  <a:cubicBezTo>
                    <a:pt x="0" y="409087"/>
                    <a:pt x="0" y="410336"/>
                    <a:pt x="0" y="410961"/>
                  </a:cubicBezTo>
                  <a:cubicBezTo>
                    <a:pt x="312" y="412435"/>
                    <a:pt x="912" y="413835"/>
                    <a:pt x="1749" y="415084"/>
                  </a:cubicBezTo>
                  <a:close/>
                </a:path>
              </a:pathLst>
            </a:custGeom>
            <a:solidFill>
              <a:srgbClr val="000000"/>
            </a:solidFill>
            <a:ln w="12483" cap="flat">
              <a:noFill/>
              <a:prstDash val="solid"/>
              <a:miter/>
            </a:ln>
          </p:spPr>
          <p:txBody>
            <a:bodyPr rtlCol="0" anchor="ctr"/>
            <a:lstStyle/>
            <a:p>
              <a:endParaRPr lang="en-US"/>
            </a:p>
          </p:txBody>
        </p:sp>
        <p:sp>
          <p:nvSpPr>
            <p:cNvPr id="1872" name="Freeform: Shape 1871">
              <a:extLst>
                <a:ext uri="{FF2B5EF4-FFF2-40B4-BE49-F238E27FC236}">
                  <a16:creationId xmlns:a16="http://schemas.microsoft.com/office/drawing/2014/main" id="{E96B53DB-EE00-4712-97C8-43F7AD8C9CD7}"/>
                </a:ext>
              </a:extLst>
            </p:cNvPr>
            <p:cNvSpPr/>
            <p:nvPr/>
          </p:nvSpPr>
          <p:spPr>
            <a:xfrm>
              <a:off x="10190880" y="1288861"/>
              <a:ext cx="18241" cy="144948"/>
            </a:xfrm>
            <a:custGeom>
              <a:avLst/>
              <a:gdLst>
                <a:gd name="connsiteX0" fmla="*/ 9118 w 18241"/>
                <a:gd name="connsiteY0" fmla="*/ 134078 h 144948"/>
                <a:gd name="connsiteX1" fmla="*/ 18114 w 18241"/>
                <a:gd name="connsiteY1" fmla="*/ 144949 h 144948"/>
                <a:gd name="connsiteX2" fmla="*/ 18114 w 18241"/>
                <a:gd name="connsiteY2" fmla="*/ 10627 h 144948"/>
                <a:gd name="connsiteX3" fmla="*/ 10617 w 18241"/>
                <a:gd name="connsiteY3" fmla="*/ 126 h 144948"/>
                <a:gd name="connsiteX4" fmla="*/ 122 w 18241"/>
                <a:gd name="connsiteY4" fmla="*/ 7618 h 144948"/>
                <a:gd name="connsiteX5" fmla="*/ 122 w 18241"/>
                <a:gd name="connsiteY5" fmla="*/ 10627 h 144948"/>
                <a:gd name="connsiteX6" fmla="*/ 122 w 18241"/>
                <a:gd name="connsiteY6" fmla="*/ 144949 h 144948"/>
                <a:gd name="connsiteX7" fmla="*/ 9118 w 18241"/>
                <a:gd name="connsiteY7" fmla="*/ 134078 h 1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41" h="144948">
                  <a:moveTo>
                    <a:pt x="9118" y="134078"/>
                  </a:moveTo>
                  <a:cubicBezTo>
                    <a:pt x="14566" y="134669"/>
                    <a:pt x="18551" y="139487"/>
                    <a:pt x="18114" y="144949"/>
                  </a:cubicBezTo>
                  <a:lnTo>
                    <a:pt x="18114" y="10627"/>
                  </a:lnTo>
                  <a:cubicBezTo>
                    <a:pt x="18951" y="5659"/>
                    <a:pt x="15590" y="957"/>
                    <a:pt x="10617" y="126"/>
                  </a:cubicBezTo>
                  <a:cubicBezTo>
                    <a:pt x="5657" y="-705"/>
                    <a:pt x="959" y="2649"/>
                    <a:pt x="122" y="7618"/>
                  </a:cubicBezTo>
                  <a:cubicBezTo>
                    <a:pt x="-41" y="8614"/>
                    <a:pt x="-41" y="9631"/>
                    <a:pt x="122" y="10627"/>
                  </a:cubicBezTo>
                  <a:lnTo>
                    <a:pt x="122" y="144949"/>
                  </a:lnTo>
                  <a:cubicBezTo>
                    <a:pt x="-316" y="139487"/>
                    <a:pt x="3670" y="134669"/>
                    <a:pt x="9118" y="134078"/>
                  </a:cubicBezTo>
                  <a:close/>
                </a:path>
              </a:pathLst>
            </a:custGeom>
            <a:solidFill>
              <a:srgbClr val="000000"/>
            </a:solidFill>
            <a:ln w="12483" cap="flat">
              <a:noFill/>
              <a:prstDash val="solid"/>
              <a:miter/>
            </a:ln>
          </p:spPr>
          <p:txBody>
            <a:bodyPr rtlCol="0" anchor="ctr"/>
            <a:lstStyle/>
            <a:p>
              <a:endParaRPr lang="en-US"/>
            </a:p>
          </p:txBody>
        </p:sp>
        <p:sp>
          <p:nvSpPr>
            <p:cNvPr id="1873" name="Freeform: Shape 1872">
              <a:extLst>
                <a:ext uri="{FF2B5EF4-FFF2-40B4-BE49-F238E27FC236}">
                  <a16:creationId xmlns:a16="http://schemas.microsoft.com/office/drawing/2014/main" id="{8805E0D8-4946-43E1-9427-F4BB12356FD5}"/>
                </a:ext>
              </a:extLst>
            </p:cNvPr>
            <p:cNvSpPr/>
            <p:nvPr/>
          </p:nvSpPr>
          <p:spPr>
            <a:xfrm>
              <a:off x="8963781" y="4793845"/>
              <a:ext cx="18842" cy="24115"/>
            </a:xfrm>
            <a:custGeom>
              <a:avLst/>
              <a:gdLst>
                <a:gd name="connsiteX0" fmla="*/ 9622 w 18842"/>
                <a:gd name="connsiteY0" fmla="*/ 11620 h 24115"/>
                <a:gd name="connsiteX1" fmla="*/ 1 w 18842"/>
                <a:gd name="connsiteY1" fmla="*/ 1749 h 24115"/>
                <a:gd name="connsiteX2" fmla="*/ 1 w 18842"/>
                <a:gd name="connsiteY2" fmla="*/ 1624 h 24115"/>
                <a:gd name="connsiteX3" fmla="*/ 751 w 18842"/>
                <a:gd name="connsiteY3" fmla="*/ 14119 h 24115"/>
                <a:gd name="connsiteX4" fmla="*/ 10247 w 18842"/>
                <a:gd name="connsiteY4" fmla="*/ 24115 h 24115"/>
                <a:gd name="connsiteX5" fmla="*/ 10371 w 18842"/>
                <a:gd name="connsiteY5" fmla="*/ 24115 h 24115"/>
                <a:gd name="connsiteX6" fmla="*/ 18743 w 18842"/>
                <a:gd name="connsiteY6" fmla="*/ 12495 h 24115"/>
                <a:gd name="connsiteX7" fmla="*/ 17868 w 18842"/>
                <a:gd name="connsiteY7" fmla="*/ 0 h 24115"/>
                <a:gd name="connsiteX8" fmla="*/ 9622 w 18842"/>
                <a:gd name="connsiteY8" fmla="*/ 11620 h 2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42" h="24115">
                  <a:moveTo>
                    <a:pt x="9622" y="11620"/>
                  </a:moveTo>
                  <a:cubicBezTo>
                    <a:pt x="4237" y="11558"/>
                    <a:pt x="-74" y="7134"/>
                    <a:pt x="1" y="1749"/>
                  </a:cubicBezTo>
                  <a:cubicBezTo>
                    <a:pt x="1" y="1712"/>
                    <a:pt x="1" y="1662"/>
                    <a:pt x="1" y="1624"/>
                  </a:cubicBezTo>
                  <a:lnTo>
                    <a:pt x="751" y="14119"/>
                  </a:lnTo>
                  <a:cubicBezTo>
                    <a:pt x="613" y="19505"/>
                    <a:pt x="4861" y="23978"/>
                    <a:pt x="10247" y="24115"/>
                  </a:cubicBezTo>
                  <a:cubicBezTo>
                    <a:pt x="10284" y="24115"/>
                    <a:pt x="10334" y="24115"/>
                    <a:pt x="10371" y="24115"/>
                  </a:cubicBezTo>
                  <a:cubicBezTo>
                    <a:pt x="15819" y="23103"/>
                    <a:pt x="19505" y="17980"/>
                    <a:pt x="18743" y="12495"/>
                  </a:cubicBezTo>
                  <a:lnTo>
                    <a:pt x="17868" y="0"/>
                  </a:lnTo>
                  <a:cubicBezTo>
                    <a:pt x="18630" y="5448"/>
                    <a:pt x="15019" y="10546"/>
                    <a:pt x="9622" y="11620"/>
                  </a:cubicBezTo>
                  <a:close/>
                </a:path>
              </a:pathLst>
            </a:custGeom>
            <a:solidFill>
              <a:srgbClr val="000000"/>
            </a:solidFill>
            <a:ln w="12483" cap="flat">
              <a:noFill/>
              <a:prstDash val="solid"/>
              <a:miter/>
            </a:ln>
          </p:spPr>
          <p:txBody>
            <a:bodyPr rtlCol="0" anchor="ctr"/>
            <a:lstStyle/>
            <a:p>
              <a:endParaRPr lang="en-US"/>
            </a:p>
          </p:txBody>
        </p:sp>
        <p:sp>
          <p:nvSpPr>
            <p:cNvPr id="1874" name="Freeform: Shape 1873">
              <a:extLst>
                <a:ext uri="{FF2B5EF4-FFF2-40B4-BE49-F238E27FC236}">
                  <a16:creationId xmlns:a16="http://schemas.microsoft.com/office/drawing/2014/main" id="{DCBC8A39-A578-45C1-9444-3455BA8A0D95}"/>
                </a:ext>
              </a:extLst>
            </p:cNvPr>
            <p:cNvSpPr/>
            <p:nvPr/>
          </p:nvSpPr>
          <p:spPr>
            <a:xfrm>
              <a:off x="8960409" y="4742865"/>
              <a:ext cx="20717" cy="63100"/>
            </a:xfrm>
            <a:custGeom>
              <a:avLst/>
              <a:gdLst>
                <a:gd name="connsiteX0" fmla="*/ 9746 w 20717"/>
                <a:gd name="connsiteY0" fmla="*/ 11621 h 63100"/>
                <a:gd name="connsiteX1" fmla="*/ 0 w 20717"/>
                <a:gd name="connsiteY1" fmla="*/ 1875 h 63100"/>
                <a:gd name="connsiteX2" fmla="*/ 0 w 20717"/>
                <a:gd name="connsiteY2" fmla="*/ 1624 h 63100"/>
                <a:gd name="connsiteX3" fmla="*/ 1999 w 20717"/>
                <a:gd name="connsiteY3" fmla="*/ 32737 h 63100"/>
                <a:gd name="connsiteX4" fmla="*/ 1999 w 20717"/>
                <a:gd name="connsiteY4" fmla="*/ 35236 h 63100"/>
                <a:gd name="connsiteX5" fmla="*/ 1999 w 20717"/>
                <a:gd name="connsiteY5" fmla="*/ 41733 h 63100"/>
                <a:gd name="connsiteX6" fmla="*/ 2749 w 20717"/>
                <a:gd name="connsiteY6" fmla="*/ 53104 h 63100"/>
                <a:gd name="connsiteX7" fmla="*/ 12244 w 20717"/>
                <a:gd name="connsiteY7" fmla="*/ 63100 h 63100"/>
                <a:gd name="connsiteX8" fmla="*/ 12370 w 20717"/>
                <a:gd name="connsiteY8" fmla="*/ 63100 h 63100"/>
                <a:gd name="connsiteX9" fmla="*/ 20616 w 20717"/>
                <a:gd name="connsiteY9" fmla="*/ 51479 h 63100"/>
                <a:gd name="connsiteX10" fmla="*/ 17367 w 20717"/>
                <a:gd name="connsiteY10" fmla="*/ 0 h 63100"/>
                <a:gd name="connsiteX11" fmla="*/ 9746 w 20717"/>
                <a:gd name="connsiteY11" fmla="*/ 11621 h 6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717" h="63100">
                  <a:moveTo>
                    <a:pt x="9746" y="11621"/>
                  </a:moveTo>
                  <a:cubicBezTo>
                    <a:pt x="4361" y="11621"/>
                    <a:pt x="0" y="7260"/>
                    <a:pt x="0" y="1875"/>
                  </a:cubicBezTo>
                  <a:cubicBezTo>
                    <a:pt x="0" y="1799"/>
                    <a:pt x="0" y="1712"/>
                    <a:pt x="0" y="1624"/>
                  </a:cubicBezTo>
                  <a:lnTo>
                    <a:pt x="1999" y="32737"/>
                  </a:lnTo>
                  <a:lnTo>
                    <a:pt x="1999" y="35236"/>
                  </a:lnTo>
                  <a:lnTo>
                    <a:pt x="1999" y="41733"/>
                  </a:lnTo>
                  <a:lnTo>
                    <a:pt x="2749" y="53104"/>
                  </a:lnTo>
                  <a:cubicBezTo>
                    <a:pt x="2611" y="58489"/>
                    <a:pt x="6859" y="62962"/>
                    <a:pt x="12244" y="63100"/>
                  </a:cubicBezTo>
                  <a:cubicBezTo>
                    <a:pt x="12282" y="63100"/>
                    <a:pt x="12332" y="63100"/>
                    <a:pt x="12370" y="63100"/>
                  </a:cubicBezTo>
                  <a:cubicBezTo>
                    <a:pt x="17767" y="62026"/>
                    <a:pt x="21378" y="56927"/>
                    <a:pt x="20616" y="51479"/>
                  </a:cubicBezTo>
                  <a:lnTo>
                    <a:pt x="17367" y="0"/>
                  </a:lnTo>
                  <a:cubicBezTo>
                    <a:pt x="18179" y="5261"/>
                    <a:pt x="14893" y="10271"/>
                    <a:pt x="9746" y="11621"/>
                  </a:cubicBezTo>
                  <a:close/>
                </a:path>
              </a:pathLst>
            </a:custGeom>
            <a:solidFill>
              <a:srgbClr val="000000"/>
            </a:solidFill>
            <a:ln w="12483" cap="flat">
              <a:noFill/>
              <a:prstDash val="solid"/>
              <a:miter/>
            </a:ln>
          </p:spPr>
          <p:txBody>
            <a:bodyPr rtlCol="0" anchor="ctr"/>
            <a:lstStyle/>
            <a:p>
              <a:endParaRPr lang="en-US"/>
            </a:p>
          </p:txBody>
        </p:sp>
        <p:sp>
          <p:nvSpPr>
            <p:cNvPr id="1875" name="Freeform: Shape 1874">
              <a:extLst>
                <a:ext uri="{FF2B5EF4-FFF2-40B4-BE49-F238E27FC236}">
                  <a16:creationId xmlns:a16="http://schemas.microsoft.com/office/drawing/2014/main" id="{B822C81B-EEF6-46C1-9EE5-6CD0FBAD3429}"/>
                </a:ext>
              </a:extLst>
            </p:cNvPr>
            <p:cNvSpPr/>
            <p:nvPr/>
          </p:nvSpPr>
          <p:spPr>
            <a:xfrm>
              <a:off x="11701224" y="1914367"/>
              <a:ext cx="132494" cy="81344"/>
            </a:xfrm>
            <a:custGeom>
              <a:avLst/>
              <a:gdLst>
                <a:gd name="connsiteX0" fmla="*/ 0 w 132494"/>
                <a:gd name="connsiteY0" fmla="*/ 61352 h 81344"/>
                <a:gd name="connsiteX1" fmla="*/ 11145 w 132494"/>
                <a:gd name="connsiteY1" fmla="*/ 65350 h 81344"/>
                <a:gd name="connsiteX2" fmla="*/ 11745 w 132494"/>
                <a:gd name="connsiteY2" fmla="*/ 67100 h 81344"/>
                <a:gd name="connsiteX3" fmla="*/ 6997 w 132494"/>
                <a:gd name="connsiteY3" fmla="*/ 81344 h 81344"/>
                <a:gd name="connsiteX4" fmla="*/ 126945 w 132494"/>
                <a:gd name="connsiteY4" fmla="*/ 20743 h 81344"/>
                <a:gd name="connsiteX5" fmla="*/ 131693 w 132494"/>
                <a:gd name="connsiteY5" fmla="*/ 6499 h 81344"/>
                <a:gd name="connsiteX6" fmla="*/ 121435 w 132494"/>
                <a:gd name="connsiteY6" fmla="*/ 239 h 81344"/>
                <a:gd name="connsiteX7" fmla="*/ 119948 w 132494"/>
                <a:gd name="connsiteY7" fmla="*/ 751 h 81344"/>
                <a:gd name="connsiteX8" fmla="*/ 114950 w 132494"/>
                <a:gd name="connsiteY8" fmla="*/ 3250 h 81344"/>
                <a:gd name="connsiteX9" fmla="*/ 3873 w 132494"/>
                <a:gd name="connsiteY9" fmla="*/ 59353 h 81344"/>
                <a:gd name="connsiteX10" fmla="*/ 500 w 132494"/>
                <a:gd name="connsiteY10" fmla="*/ 61102 h 8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494" h="81344">
                  <a:moveTo>
                    <a:pt x="0" y="61352"/>
                  </a:moveTo>
                  <a:cubicBezTo>
                    <a:pt x="4186" y="59378"/>
                    <a:pt x="9171" y="61165"/>
                    <a:pt x="11145" y="65350"/>
                  </a:cubicBezTo>
                  <a:cubicBezTo>
                    <a:pt x="11408" y="65913"/>
                    <a:pt x="11608" y="66500"/>
                    <a:pt x="11745" y="67100"/>
                  </a:cubicBezTo>
                  <a:cubicBezTo>
                    <a:pt x="13507" y="72373"/>
                    <a:pt x="11570" y="78183"/>
                    <a:pt x="6997" y="81344"/>
                  </a:cubicBezTo>
                  <a:lnTo>
                    <a:pt x="126945" y="20743"/>
                  </a:lnTo>
                  <a:cubicBezTo>
                    <a:pt x="131756" y="17757"/>
                    <a:pt x="133742" y="11772"/>
                    <a:pt x="131693" y="6499"/>
                  </a:cubicBezTo>
                  <a:cubicBezTo>
                    <a:pt x="130594" y="1938"/>
                    <a:pt x="125996" y="-861"/>
                    <a:pt x="121435" y="239"/>
                  </a:cubicBezTo>
                  <a:cubicBezTo>
                    <a:pt x="120923" y="364"/>
                    <a:pt x="120423" y="539"/>
                    <a:pt x="119948" y="751"/>
                  </a:cubicBezTo>
                  <a:lnTo>
                    <a:pt x="114950" y="3250"/>
                  </a:lnTo>
                  <a:lnTo>
                    <a:pt x="3873" y="59353"/>
                  </a:lnTo>
                  <a:lnTo>
                    <a:pt x="500" y="61102"/>
                  </a:lnTo>
                  <a:close/>
                </a:path>
              </a:pathLst>
            </a:custGeom>
            <a:solidFill>
              <a:srgbClr val="000000"/>
            </a:solidFill>
            <a:ln w="12483" cap="flat">
              <a:noFill/>
              <a:prstDash val="solid"/>
              <a:miter/>
            </a:ln>
          </p:spPr>
          <p:txBody>
            <a:bodyPr rtlCol="0" anchor="ctr"/>
            <a:lstStyle/>
            <a:p>
              <a:endParaRPr lang="en-US"/>
            </a:p>
          </p:txBody>
        </p:sp>
        <p:sp>
          <p:nvSpPr>
            <p:cNvPr id="1876" name="Freeform: Shape 1875">
              <a:extLst>
                <a:ext uri="{FF2B5EF4-FFF2-40B4-BE49-F238E27FC236}">
                  <a16:creationId xmlns:a16="http://schemas.microsoft.com/office/drawing/2014/main" id="{810D4510-2534-40EB-A102-EB042E8BE744}"/>
                </a:ext>
              </a:extLst>
            </p:cNvPr>
            <p:cNvSpPr/>
            <p:nvPr/>
          </p:nvSpPr>
          <p:spPr>
            <a:xfrm>
              <a:off x="11531029" y="1975040"/>
              <a:ext cx="182551" cy="104452"/>
            </a:xfrm>
            <a:custGeom>
              <a:avLst/>
              <a:gdLst>
                <a:gd name="connsiteX0" fmla="*/ 10014 w 182551"/>
                <a:gd name="connsiteY0" fmla="*/ 81522 h 104452"/>
                <a:gd name="connsiteX1" fmla="*/ 5641 w 182551"/>
                <a:gd name="connsiteY1" fmla="*/ 83771 h 104452"/>
                <a:gd name="connsiteX2" fmla="*/ 768 w 182551"/>
                <a:gd name="connsiteY2" fmla="*/ 97890 h 104452"/>
                <a:gd name="connsiteX3" fmla="*/ 11426 w 182551"/>
                <a:gd name="connsiteY3" fmla="*/ 104175 h 104452"/>
                <a:gd name="connsiteX4" fmla="*/ 12638 w 182551"/>
                <a:gd name="connsiteY4" fmla="*/ 103763 h 104452"/>
                <a:gd name="connsiteX5" fmla="*/ 177192 w 182551"/>
                <a:gd name="connsiteY5" fmla="*/ 20671 h 104452"/>
                <a:gd name="connsiteX6" fmla="*/ 181940 w 182551"/>
                <a:gd name="connsiteY6" fmla="*/ 6552 h 104452"/>
                <a:gd name="connsiteX7" fmla="*/ 171944 w 182551"/>
                <a:gd name="connsiteY7" fmla="*/ 204 h 104452"/>
                <a:gd name="connsiteX8" fmla="*/ 170195 w 182551"/>
                <a:gd name="connsiteY8" fmla="*/ 804 h 104452"/>
                <a:gd name="connsiteX9" fmla="*/ 10639 w 182551"/>
                <a:gd name="connsiteY9" fmla="*/ 81522 h 10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551" h="104452">
                  <a:moveTo>
                    <a:pt x="10014" y="81522"/>
                  </a:moveTo>
                  <a:lnTo>
                    <a:pt x="5641" y="83771"/>
                  </a:lnTo>
                  <a:cubicBezTo>
                    <a:pt x="805" y="86670"/>
                    <a:pt x="-1244" y="92630"/>
                    <a:pt x="768" y="97890"/>
                  </a:cubicBezTo>
                  <a:cubicBezTo>
                    <a:pt x="1980" y="102564"/>
                    <a:pt x="6740" y="105375"/>
                    <a:pt x="11426" y="104175"/>
                  </a:cubicBezTo>
                  <a:cubicBezTo>
                    <a:pt x="11838" y="104063"/>
                    <a:pt x="12238" y="103925"/>
                    <a:pt x="12638" y="103763"/>
                  </a:cubicBezTo>
                  <a:lnTo>
                    <a:pt x="177192" y="20671"/>
                  </a:lnTo>
                  <a:cubicBezTo>
                    <a:pt x="181715" y="17522"/>
                    <a:pt x="183639" y="11787"/>
                    <a:pt x="181940" y="6552"/>
                  </a:cubicBezTo>
                  <a:cubicBezTo>
                    <a:pt x="180928" y="2041"/>
                    <a:pt x="176455" y="-808"/>
                    <a:pt x="171944" y="204"/>
                  </a:cubicBezTo>
                  <a:cubicBezTo>
                    <a:pt x="171344" y="342"/>
                    <a:pt x="170757" y="542"/>
                    <a:pt x="170195" y="804"/>
                  </a:cubicBezTo>
                  <a:lnTo>
                    <a:pt x="10639" y="81522"/>
                  </a:lnTo>
                  <a:close/>
                </a:path>
              </a:pathLst>
            </a:custGeom>
            <a:solidFill>
              <a:srgbClr val="000000"/>
            </a:solidFill>
            <a:ln w="12483" cap="flat">
              <a:noFill/>
              <a:prstDash val="solid"/>
              <a:miter/>
            </a:ln>
          </p:spPr>
          <p:txBody>
            <a:bodyPr rtlCol="0" anchor="ctr"/>
            <a:lstStyle/>
            <a:p>
              <a:endParaRPr lang="en-US"/>
            </a:p>
          </p:txBody>
        </p:sp>
        <p:sp>
          <p:nvSpPr>
            <p:cNvPr id="1877" name="Freeform: Shape 1876">
              <a:extLst>
                <a:ext uri="{FF2B5EF4-FFF2-40B4-BE49-F238E27FC236}">
                  <a16:creationId xmlns:a16="http://schemas.microsoft.com/office/drawing/2014/main" id="{72F35BFA-18CF-4440-9232-794866D63B6F}"/>
                </a:ext>
              </a:extLst>
            </p:cNvPr>
            <p:cNvSpPr/>
            <p:nvPr/>
          </p:nvSpPr>
          <p:spPr>
            <a:xfrm>
              <a:off x="11291651" y="2046722"/>
              <a:ext cx="212164" cy="121045"/>
            </a:xfrm>
            <a:custGeom>
              <a:avLst/>
              <a:gdLst>
                <a:gd name="connsiteX0" fmla="*/ 211534 w 212164"/>
                <a:gd name="connsiteY0" fmla="*/ 6091 h 121045"/>
                <a:gd name="connsiteX1" fmla="*/ 207785 w 212164"/>
                <a:gd name="connsiteY1" fmla="*/ 1093 h 121045"/>
                <a:gd name="connsiteX2" fmla="*/ 206161 w 212164"/>
                <a:gd name="connsiteY2" fmla="*/ 94 h 121045"/>
                <a:gd name="connsiteX3" fmla="*/ 204537 w 212164"/>
                <a:gd name="connsiteY3" fmla="*/ 94 h 121045"/>
                <a:gd name="connsiteX4" fmla="*/ 202788 w 212164"/>
                <a:gd name="connsiteY4" fmla="*/ 94 h 121045"/>
                <a:gd name="connsiteX5" fmla="*/ 201038 w 212164"/>
                <a:gd name="connsiteY5" fmla="*/ 94 h 121045"/>
                <a:gd name="connsiteX6" fmla="*/ 199789 w 212164"/>
                <a:gd name="connsiteY6" fmla="*/ 94 h 121045"/>
                <a:gd name="connsiteX7" fmla="*/ 1874 w 212164"/>
                <a:gd name="connsiteY7" fmla="*/ 100054 h 121045"/>
                <a:gd name="connsiteX8" fmla="*/ 0 w 212164"/>
                <a:gd name="connsiteY8" fmla="*/ 101054 h 121045"/>
                <a:gd name="connsiteX9" fmla="*/ 11232 w 212164"/>
                <a:gd name="connsiteY9" fmla="*/ 105314 h 121045"/>
                <a:gd name="connsiteX10" fmla="*/ 11745 w 212164"/>
                <a:gd name="connsiteY10" fmla="*/ 106801 h 121045"/>
                <a:gd name="connsiteX11" fmla="*/ 6872 w 212164"/>
                <a:gd name="connsiteY11" fmla="*/ 121045 h 121045"/>
                <a:gd name="connsiteX12" fmla="*/ 201538 w 212164"/>
                <a:gd name="connsiteY12" fmla="*/ 22335 h 121045"/>
                <a:gd name="connsiteX13" fmla="*/ 206661 w 212164"/>
                <a:gd name="connsiteY13" fmla="*/ 19836 h 121045"/>
                <a:gd name="connsiteX14" fmla="*/ 211534 w 212164"/>
                <a:gd name="connsiteY14" fmla="*/ 6091 h 12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164" h="121045">
                  <a:moveTo>
                    <a:pt x="211534" y="6091"/>
                  </a:moveTo>
                  <a:cubicBezTo>
                    <a:pt x="210796" y="4092"/>
                    <a:pt x="209497" y="2368"/>
                    <a:pt x="207785" y="1093"/>
                  </a:cubicBezTo>
                  <a:cubicBezTo>
                    <a:pt x="207285" y="693"/>
                    <a:pt x="206748" y="356"/>
                    <a:pt x="206161" y="94"/>
                  </a:cubicBezTo>
                  <a:cubicBezTo>
                    <a:pt x="205624" y="19"/>
                    <a:pt x="205074" y="19"/>
                    <a:pt x="204537" y="94"/>
                  </a:cubicBezTo>
                  <a:lnTo>
                    <a:pt x="202788" y="94"/>
                  </a:lnTo>
                  <a:cubicBezTo>
                    <a:pt x="202213" y="-31"/>
                    <a:pt x="201613" y="-31"/>
                    <a:pt x="201038" y="94"/>
                  </a:cubicBezTo>
                  <a:cubicBezTo>
                    <a:pt x="201038" y="94"/>
                    <a:pt x="200163" y="94"/>
                    <a:pt x="199789" y="94"/>
                  </a:cubicBezTo>
                  <a:lnTo>
                    <a:pt x="1874" y="100054"/>
                  </a:lnTo>
                  <a:lnTo>
                    <a:pt x="0" y="101054"/>
                  </a:lnTo>
                  <a:cubicBezTo>
                    <a:pt x="4273" y="99129"/>
                    <a:pt x="9308" y="101041"/>
                    <a:pt x="11232" y="105314"/>
                  </a:cubicBezTo>
                  <a:cubicBezTo>
                    <a:pt x="11445" y="105789"/>
                    <a:pt x="11620" y="106289"/>
                    <a:pt x="11745" y="106801"/>
                  </a:cubicBezTo>
                  <a:cubicBezTo>
                    <a:pt x="13482" y="112099"/>
                    <a:pt x="11495" y="117922"/>
                    <a:pt x="6872" y="121045"/>
                  </a:cubicBezTo>
                  <a:lnTo>
                    <a:pt x="201538" y="22335"/>
                  </a:lnTo>
                  <a:lnTo>
                    <a:pt x="206661" y="19836"/>
                  </a:lnTo>
                  <a:cubicBezTo>
                    <a:pt x="211271" y="16937"/>
                    <a:pt x="213296" y="11252"/>
                    <a:pt x="211534" y="6091"/>
                  </a:cubicBezTo>
                  <a:close/>
                </a:path>
              </a:pathLst>
            </a:custGeom>
            <a:solidFill>
              <a:srgbClr val="000000"/>
            </a:solidFill>
            <a:ln w="12483" cap="flat">
              <a:noFill/>
              <a:prstDash val="solid"/>
              <a:miter/>
            </a:ln>
          </p:spPr>
          <p:txBody>
            <a:bodyPr rtlCol="0" anchor="ctr"/>
            <a:lstStyle/>
            <a:p>
              <a:endParaRPr lang="en-US"/>
            </a:p>
          </p:txBody>
        </p:sp>
        <p:sp>
          <p:nvSpPr>
            <p:cNvPr id="1878" name="Freeform: Shape 1877">
              <a:extLst>
                <a:ext uri="{FF2B5EF4-FFF2-40B4-BE49-F238E27FC236}">
                  <a16:creationId xmlns:a16="http://schemas.microsoft.com/office/drawing/2014/main" id="{254A732D-2E34-4049-B949-518AC14EB590}"/>
                </a:ext>
              </a:extLst>
            </p:cNvPr>
            <p:cNvSpPr/>
            <p:nvPr/>
          </p:nvSpPr>
          <p:spPr>
            <a:xfrm>
              <a:off x="11274732" y="2146899"/>
              <a:ext cx="29286" cy="27170"/>
            </a:xfrm>
            <a:custGeom>
              <a:avLst/>
              <a:gdLst>
                <a:gd name="connsiteX0" fmla="*/ 28664 w 29286"/>
                <a:gd name="connsiteY0" fmla="*/ 6499 h 27170"/>
                <a:gd name="connsiteX1" fmla="*/ 18406 w 29286"/>
                <a:gd name="connsiteY1" fmla="*/ 239 h 27170"/>
                <a:gd name="connsiteX2" fmla="*/ 16920 w 29286"/>
                <a:gd name="connsiteY2" fmla="*/ 751 h 27170"/>
                <a:gd name="connsiteX3" fmla="*/ 5549 w 29286"/>
                <a:gd name="connsiteY3" fmla="*/ 6374 h 27170"/>
                <a:gd name="connsiteX4" fmla="*/ 801 w 29286"/>
                <a:gd name="connsiteY4" fmla="*/ 20618 h 27170"/>
                <a:gd name="connsiteX5" fmla="*/ 10797 w 29286"/>
                <a:gd name="connsiteY5" fmla="*/ 26966 h 27170"/>
                <a:gd name="connsiteX6" fmla="*/ 12546 w 29286"/>
                <a:gd name="connsiteY6" fmla="*/ 26366 h 27170"/>
                <a:gd name="connsiteX7" fmla="*/ 23791 w 29286"/>
                <a:gd name="connsiteY7" fmla="*/ 20743 h 27170"/>
                <a:gd name="connsiteX8" fmla="*/ 28664 w 29286"/>
                <a:gd name="connsiteY8" fmla="*/ 6499 h 2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86" h="27170">
                  <a:moveTo>
                    <a:pt x="28664" y="6499"/>
                  </a:moveTo>
                  <a:cubicBezTo>
                    <a:pt x="27565" y="1938"/>
                    <a:pt x="22967" y="-861"/>
                    <a:pt x="18406" y="239"/>
                  </a:cubicBezTo>
                  <a:cubicBezTo>
                    <a:pt x="17894" y="364"/>
                    <a:pt x="17394" y="539"/>
                    <a:pt x="16920" y="751"/>
                  </a:cubicBezTo>
                  <a:lnTo>
                    <a:pt x="5549" y="6374"/>
                  </a:lnTo>
                  <a:cubicBezTo>
                    <a:pt x="739" y="9360"/>
                    <a:pt x="-1248" y="15345"/>
                    <a:pt x="801" y="20618"/>
                  </a:cubicBezTo>
                  <a:cubicBezTo>
                    <a:pt x="1814" y="25129"/>
                    <a:pt x="6286" y="27978"/>
                    <a:pt x="10797" y="26966"/>
                  </a:cubicBezTo>
                  <a:cubicBezTo>
                    <a:pt x="11397" y="26828"/>
                    <a:pt x="11984" y="26628"/>
                    <a:pt x="12546" y="26366"/>
                  </a:cubicBezTo>
                  <a:lnTo>
                    <a:pt x="23791" y="20743"/>
                  </a:lnTo>
                  <a:cubicBezTo>
                    <a:pt x="28415" y="17620"/>
                    <a:pt x="30401" y="11797"/>
                    <a:pt x="28664" y="6499"/>
                  </a:cubicBezTo>
                  <a:close/>
                </a:path>
              </a:pathLst>
            </a:custGeom>
            <a:solidFill>
              <a:srgbClr val="000000"/>
            </a:solidFill>
            <a:ln w="12483" cap="flat">
              <a:noFill/>
              <a:prstDash val="solid"/>
              <a:miter/>
            </a:ln>
          </p:spPr>
          <p:txBody>
            <a:bodyPr rtlCol="0" anchor="ctr"/>
            <a:lstStyle/>
            <a:p>
              <a:endParaRPr lang="en-US"/>
            </a:p>
          </p:txBody>
        </p:sp>
        <p:sp>
          <p:nvSpPr>
            <p:cNvPr id="1879" name="Freeform: Shape 1878">
              <a:extLst>
                <a:ext uri="{FF2B5EF4-FFF2-40B4-BE49-F238E27FC236}">
                  <a16:creationId xmlns:a16="http://schemas.microsoft.com/office/drawing/2014/main" id="{861BCB1D-435A-4FAB-A9AB-7BB79011E768}"/>
                </a:ext>
              </a:extLst>
            </p:cNvPr>
            <p:cNvSpPr/>
            <p:nvPr/>
          </p:nvSpPr>
          <p:spPr>
            <a:xfrm>
              <a:off x="8980650" y="4200123"/>
              <a:ext cx="412603" cy="233741"/>
            </a:xfrm>
            <a:custGeom>
              <a:avLst/>
              <a:gdLst>
                <a:gd name="connsiteX0" fmla="*/ 411697 w 412603"/>
                <a:gd name="connsiteY0" fmla="*/ 5582 h 233741"/>
                <a:gd name="connsiteX1" fmla="*/ 409823 w 412603"/>
                <a:gd name="connsiteY1" fmla="*/ 2458 h 233741"/>
                <a:gd name="connsiteX2" fmla="*/ 408198 w 412603"/>
                <a:gd name="connsiteY2" fmla="*/ 959 h 233741"/>
                <a:gd name="connsiteX3" fmla="*/ 406949 w 412603"/>
                <a:gd name="connsiteY3" fmla="*/ 84 h 233741"/>
                <a:gd name="connsiteX4" fmla="*/ 405075 w 412603"/>
                <a:gd name="connsiteY4" fmla="*/ 84 h 233741"/>
                <a:gd name="connsiteX5" fmla="*/ 403575 w 412603"/>
                <a:gd name="connsiteY5" fmla="*/ 84 h 233741"/>
                <a:gd name="connsiteX6" fmla="*/ 401951 w 412603"/>
                <a:gd name="connsiteY6" fmla="*/ 84 h 233741"/>
                <a:gd name="connsiteX7" fmla="*/ 400202 w 412603"/>
                <a:gd name="connsiteY7" fmla="*/ 84 h 233741"/>
                <a:gd name="connsiteX8" fmla="*/ 400202 w 412603"/>
                <a:gd name="connsiteY8" fmla="*/ 84 h 233741"/>
                <a:gd name="connsiteX9" fmla="*/ 5997 w 412603"/>
                <a:gd name="connsiteY9" fmla="*/ 210625 h 233741"/>
                <a:gd name="connsiteX10" fmla="*/ 0 w 412603"/>
                <a:gd name="connsiteY10" fmla="*/ 213874 h 233741"/>
                <a:gd name="connsiteX11" fmla="*/ 11320 w 412603"/>
                <a:gd name="connsiteY11" fmla="*/ 217885 h 233741"/>
                <a:gd name="connsiteX12" fmla="*/ 11870 w 412603"/>
                <a:gd name="connsiteY12" fmla="*/ 219372 h 233741"/>
                <a:gd name="connsiteX13" fmla="*/ 7247 w 412603"/>
                <a:gd name="connsiteY13" fmla="*/ 233741 h 233741"/>
                <a:gd name="connsiteX14" fmla="*/ 401576 w 412603"/>
                <a:gd name="connsiteY14" fmla="*/ 23075 h 233741"/>
                <a:gd name="connsiteX15" fmla="*/ 407449 w 412603"/>
                <a:gd name="connsiteY15" fmla="*/ 19827 h 233741"/>
                <a:gd name="connsiteX16" fmla="*/ 411697 w 412603"/>
                <a:gd name="connsiteY16" fmla="*/ 5582 h 23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2603" h="233741">
                  <a:moveTo>
                    <a:pt x="411697" y="5582"/>
                  </a:moveTo>
                  <a:cubicBezTo>
                    <a:pt x="411247" y="4445"/>
                    <a:pt x="410622" y="3383"/>
                    <a:pt x="409823" y="2458"/>
                  </a:cubicBezTo>
                  <a:cubicBezTo>
                    <a:pt x="409311" y="1921"/>
                    <a:pt x="408773" y="1421"/>
                    <a:pt x="408198" y="959"/>
                  </a:cubicBezTo>
                  <a:lnTo>
                    <a:pt x="406949" y="84"/>
                  </a:lnTo>
                  <a:cubicBezTo>
                    <a:pt x="406324" y="-28"/>
                    <a:pt x="405700" y="-28"/>
                    <a:pt x="405075" y="84"/>
                  </a:cubicBezTo>
                  <a:lnTo>
                    <a:pt x="403575" y="84"/>
                  </a:lnTo>
                  <a:lnTo>
                    <a:pt x="401951" y="84"/>
                  </a:lnTo>
                  <a:lnTo>
                    <a:pt x="400202" y="84"/>
                  </a:lnTo>
                  <a:lnTo>
                    <a:pt x="400202" y="84"/>
                  </a:lnTo>
                  <a:lnTo>
                    <a:pt x="5997" y="210625"/>
                  </a:lnTo>
                  <a:lnTo>
                    <a:pt x="0" y="213874"/>
                  </a:lnTo>
                  <a:cubicBezTo>
                    <a:pt x="4236" y="211850"/>
                    <a:pt x="9308" y="213649"/>
                    <a:pt x="11320" y="217885"/>
                  </a:cubicBezTo>
                  <a:cubicBezTo>
                    <a:pt x="11557" y="218360"/>
                    <a:pt x="11732" y="218860"/>
                    <a:pt x="11870" y="219372"/>
                  </a:cubicBezTo>
                  <a:cubicBezTo>
                    <a:pt x="13719" y="224657"/>
                    <a:pt x="11832" y="230530"/>
                    <a:pt x="7247" y="233741"/>
                  </a:cubicBezTo>
                  <a:lnTo>
                    <a:pt x="401576" y="23075"/>
                  </a:lnTo>
                  <a:lnTo>
                    <a:pt x="407449" y="19827"/>
                  </a:lnTo>
                  <a:cubicBezTo>
                    <a:pt x="412072" y="16690"/>
                    <a:pt x="413846" y="10743"/>
                    <a:pt x="411697" y="5582"/>
                  </a:cubicBezTo>
                  <a:close/>
                </a:path>
              </a:pathLst>
            </a:custGeom>
            <a:solidFill>
              <a:srgbClr val="000000"/>
            </a:solidFill>
            <a:ln w="12483" cap="flat">
              <a:noFill/>
              <a:prstDash val="solid"/>
              <a:miter/>
            </a:ln>
          </p:spPr>
          <p:txBody>
            <a:bodyPr rtlCol="0" anchor="ctr"/>
            <a:lstStyle/>
            <a:p>
              <a:endParaRPr lang="en-US"/>
            </a:p>
          </p:txBody>
        </p:sp>
        <p:sp>
          <p:nvSpPr>
            <p:cNvPr id="1880" name="Freeform: Shape 1879">
              <a:extLst>
                <a:ext uri="{FF2B5EF4-FFF2-40B4-BE49-F238E27FC236}">
                  <a16:creationId xmlns:a16="http://schemas.microsoft.com/office/drawing/2014/main" id="{6209E6B7-6E20-4AC1-803F-DCDE5D7B11E6}"/>
                </a:ext>
              </a:extLst>
            </p:cNvPr>
            <p:cNvSpPr/>
            <p:nvPr/>
          </p:nvSpPr>
          <p:spPr>
            <a:xfrm>
              <a:off x="8955036" y="4412913"/>
              <a:ext cx="37812" cy="32310"/>
            </a:xfrm>
            <a:custGeom>
              <a:avLst/>
              <a:gdLst>
                <a:gd name="connsiteX0" fmla="*/ 12370 w 37812"/>
                <a:gd name="connsiteY0" fmla="*/ 31447 h 32310"/>
                <a:gd name="connsiteX1" fmla="*/ 32486 w 37812"/>
                <a:gd name="connsiteY1" fmla="*/ 20701 h 32310"/>
                <a:gd name="connsiteX2" fmla="*/ 37109 w 37812"/>
                <a:gd name="connsiteY2" fmla="*/ 6332 h 32310"/>
                <a:gd name="connsiteX3" fmla="*/ 26726 w 37812"/>
                <a:gd name="connsiteY3" fmla="*/ 284 h 32310"/>
                <a:gd name="connsiteX4" fmla="*/ 25239 w 37812"/>
                <a:gd name="connsiteY4" fmla="*/ 834 h 32310"/>
                <a:gd name="connsiteX5" fmla="*/ 14119 w 37812"/>
                <a:gd name="connsiteY5" fmla="*/ 6831 h 32310"/>
                <a:gd name="connsiteX6" fmla="*/ 11120 w 37812"/>
                <a:gd name="connsiteY6" fmla="*/ 8331 h 32310"/>
                <a:gd name="connsiteX7" fmla="*/ 5123 w 37812"/>
                <a:gd name="connsiteY7" fmla="*/ 11580 h 32310"/>
                <a:gd name="connsiteX8" fmla="*/ 0 w 37812"/>
                <a:gd name="connsiteY8" fmla="*/ 20076 h 32310"/>
                <a:gd name="connsiteX9" fmla="*/ 3998 w 37812"/>
                <a:gd name="connsiteY9" fmla="*/ 28073 h 32310"/>
                <a:gd name="connsiteX10" fmla="*/ 3998 w 37812"/>
                <a:gd name="connsiteY10" fmla="*/ 30572 h 32310"/>
                <a:gd name="connsiteX11" fmla="*/ 12370 w 37812"/>
                <a:gd name="connsiteY11" fmla="*/ 31447 h 3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812" h="32310">
                  <a:moveTo>
                    <a:pt x="12370" y="31447"/>
                  </a:moveTo>
                  <a:lnTo>
                    <a:pt x="32486" y="20701"/>
                  </a:lnTo>
                  <a:cubicBezTo>
                    <a:pt x="37072" y="17490"/>
                    <a:pt x="38958" y="11617"/>
                    <a:pt x="37109" y="6332"/>
                  </a:cubicBezTo>
                  <a:cubicBezTo>
                    <a:pt x="35910" y="1796"/>
                    <a:pt x="31262" y="-915"/>
                    <a:pt x="26726" y="284"/>
                  </a:cubicBezTo>
                  <a:cubicBezTo>
                    <a:pt x="26214" y="422"/>
                    <a:pt x="25714" y="609"/>
                    <a:pt x="25239" y="834"/>
                  </a:cubicBezTo>
                  <a:lnTo>
                    <a:pt x="14119" y="6831"/>
                  </a:lnTo>
                  <a:lnTo>
                    <a:pt x="11120" y="8331"/>
                  </a:lnTo>
                  <a:lnTo>
                    <a:pt x="5123" y="11580"/>
                  </a:lnTo>
                  <a:cubicBezTo>
                    <a:pt x="2187" y="13466"/>
                    <a:pt x="300" y="16602"/>
                    <a:pt x="0" y="20076"/>
                  </a:cubicBezTo>
                  <a:cubicBezTo>
                    <a:pt x="2362" y="22088"/>
                    <a:pt x="3799" y="24974"/>
                    <a:pt x="3998" y="28073"/>
                  </a:cubicBezTo>
                  <a:lnTo>
                    <a:pt x="3998" y="30572"/>
                  </a:lnTo>
                  <a:cubicBezTo>
                    <a:pt x="6360" y="32521"/>
                    <a:pt x="9658" y="32859"/>
                    <a:pt x="12370" y="31447"/>
                  </a:cubicBezTo>
                  <a:close/>
                </a:path>
              </a:pathLst>
            </a:custGeom>
            <a:solidFill>
              <a:srgbClr val="000000"/>
            </a:solidFill>
            <a:ln w="12483" cap="flat">
              <a:noFill/>
              <a:prstDash val="solid"/>
              <a:miter/>
            </a:ln>
          </p:spPr>
          <p:txBody>
            <a:bodyPr rtlCol="0" anchor="ctr"/>
            <a:lstStyle/>
            <a:p>
              <a:endParaRPr lang="en-US"/>
            </a:p>
          </p:txBody>
        </p:sp>
        <p:sp>
          <p:nvSpPr>
            <p:cNvPr id="1881" name="Freeform: Shape 1880">
              <a:extLst>
                <a:ext uri="{FF2B5EF4-FFF2-40B4-BE49-F238E27FC236}">
                  <a16:creationId xmlns:a16="http://schemas.microsoft.com/office/drawing/2014/main" id="{C42E5A2F-31B2-4A39-A6CA-DF2E5A6DA4B9}"/>
                </a:ext>
              </a:extLst>
            </p:cNvPr>
            <p:cNvSpPr/>
            <p:nvPr/>
          </p:nvSpPr>
          <p:spPr>
            <a:xfrm>
              <a:off x="9598133" y="6401829"/>
              <a:ext cx="97995" cy="132197"/>
            </a:xfrm>
            <a:custGeom>
              <a:avLst/>
              <a:gdLst>
                <a:gd name="connsiteX0" fmla="*/ 15743 w 97995"/>
                <a:gd name="connsiteY0" fmla="*/ 2999 h 132197"/>
                <a:gd name="connsiteX1" fmla="*/ 13619 w 97995"/>
                <a:gd name="connsiteY1" fmla="*/ 0 h 132197"/>
                <a:gd name="connsiteX2" fmla="*/ 13619 w 97995"/>
                <a:gd name="connsiteY2" fmla="*/ 0 h 132197"/>
                <a:gd name="connsiteX3" fmla="*/ 12495 w 97995"/>
                <a:gd name="connsiteY3" fmla="*/ 15244 h 132197"/>
                <a:gd name="connsiteX4" fmla="*/ 1187 w 97995"/>
                <a:gd name="connsiteY4" fmla="*/ 15344 h 132197"/>
                <a:gd name="connsiteX5" fmla="*/ 0 w 97995"/>
                <a:gd name="connsiteY5" fmla="*/ 13869 h 132197"/>
                <a:gd name="connsiteX6" fmla="*/ 81590 w 97995"/>
                <a:gd name="connsiteY6" fmla="*/ 131573 h 132197"/>
                <a:gd name="connsiteX7" fmla="*/ 81590 w 97995"/>
                <a:gd name="connsiteY7" fmla="*/ 132197 h 132197"/>
                <a:gd name="connsiteX8" fmla="*/ 81590 w 97995"/>
                <a:gd name="connsiteY8" fmla="*/ 127949 h 132197"/>
                <a:gd name="connsiteX9" fmla="*/ 90211 w 97995"/>
                <a:gd name="connsiteY9" fmla="*/ 116703 h 132197"/>
                <a:gd name="connsiteX10" fmla="*/ 97958 w 97995"/>
                <a:gd name="connsiteY10" fmla="*/ 121826 h 132197"/>
                <a:gd name="connsiteX11" fmla="*/ 97958 w 97995"/>
                <a:gd name="connsiteY11" fmla="*/ 120577 h 13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95" h="132197">
                  <a:moveTo>
                    <a:pt x="15743" y="2999"/>
                  </a:moveTo>
                  <a:lnTo>
                    <a:pt x="13619" y="0"/>
                  </a:lnTo>
                  <a:lnTo>
                    <a:pt x="13619" y="0"/>
                  </a:lnTo>
                  <a:cubicBezTo>
                    <a:pt x="16755" y="4748"/>
                    <a:pt x="16293" y="11008"/>
                    <a:pt x="12495" y="15244"/>
                  </a:cubicBezTo>
                  <a:cubicBezTo>
                    <a:pt x="9396" y="18392"/>
                    <a:pt x="4336" y="18442"/>
                    <a:pt x="1187" y="15344"/>
                  </a:cubicBezTo>
                  <a:cubicBezTo>
                    <a:pt x="737" y="14906"/>
                    <a:pt x="337" y="14407"/>
                    <a:pt x="0" y="13869"/>
                  </a:cubicBezTo>
                  <a:lnTo>
                    <a:pt x="81590" y="131573"/>
                  </a:lnTo>
                  <a:lnTo>
                    <a:pt x="81590" y="132197"/>
                  </a:lnTo>
                  <a:lnTo>
                    <a:pt x="81590" y="127949"/>
                  </a:lnTo>
                  <a:cubicBezTo>
                    <a:pt x="81052" y="122514"/>
                    <a:pt x="84826" y="117603"/>
                    <a:pt x="90211" y="116703"/>
                  </a:cubicBezTo>
                  <a:cubicBezTo>
                    <a:pt x="93585" y="116728"/>
                    <a:pt x="96621" y="118727"/>
                    <a:pt x="97958" y="121826"/>
                  </a:cubicBezTo>
                  <a:cubicBezTo>
                    <a:pt x="98008" y="121414"/>
                    <a:pt x="98008" y="120989"/>
                    <a:pt x="97958" y="120577"/>
                  </a:cubicBezTo>
                  <a:close/>
                </a:path>
              </a:pathLst>
            </a:custGeom>
            <a:solidFill>
              <a:srgbClr val="000000"/>
            </a:solidFill>
            <a:ln w="12483" cap="flat">
              <a:noFill/>
              <a:prstDash val="solid"/>
              <a:miter/>
            </a:ln>
          </p:spPr>
          <p:txBody>
            <a:bodyPr rtlCol="0" anchor="ctr"/>
            <a:lstStyle/>
            <a:p>
              <a:endParaRPr lang="en-US"/>
            </a:p>
          </p:txBody>
        </p:sp>
        <p:sp>
          <p:nvSpPr>
            <p:cNvPr id="1882" name="Freeform: Shape 1881">
              <a:extLst>
                <a:ext uri="{FF2B5EF4-FFF2-40B4-BE49-F238E27FC236}">
                  <a16:creationId xmlns:a16="http://schemas.microsoft.com/office/drawing/2014/main" id="{0B07CFCC-8BAA-44EA-8835-3E042B86B61D}"/>
                </a:ext>
              </a:extLst>
            </p:cNvPr>
            <p:cNvSpPr/>
            <p:nvPr/>
          </p:nvSpPr>
          <p:spPr>
            <a:xfrm>
              <a:off x="9530339" y="6302221"/>
              <a:ext cx="83735" cy="116749"/>
            </a:xfrm>
            <a:custGeom>
              <a:avLst/>
              <a:gdLst>
                <a:gd name="connsiteX0" fmla="*/ 15691 w 83735"/>
                <a:gd name="connsiteY0" fmla="*/ 3772 h 116749"/>
                <a:gd name="connsiteX1" fmla="*/ 15691 w 83735"/>
                <a:gd name="connsiteY1" fmla="*/ 3772 h 116749"/>
                <a:gd name="connsiteX2" fmla="*/ 4671 w 83735"/>
                <a:gd name="connsiteY2" fmla="*/ 1210 h 116749"/>
                <a:gd name="connsiteX3" fmla="*/ 3197 w 83735"/>
                <a:gd name="connsiteY3" fmla="*/ 2397 h 116749"/>
                <a:gd name="connsiteX4" fmla="*/ 2072 w 83735"/>
                <a:gd name="connsiteY4" fmla="*/ 17641 h 116749"/>
                <a:gd name="connsiteX5" fmla="*/ 68044 w 83735"/>
                <a:gd name="connsiteY5" fmla="*/ 112978 h 116749"/>
                <a:gd name="connsiteX6" fmla="*/ 79064 w 83735"/>
                <a:gd name="connsiteY6" fmla="*/ 115540 h 116749"/>
                <a:gd name="connsiteX7" fmla="*/ 80538 w 83735"/>
                <a:gd name="connsiteY7" fmla="*/ 114353 h 116749"/>
                <a:gd name="connsiteX8" fmla="*/ 81663 w 83735"/>
                <a:gd name="connsiteY8" fmla="*/ 99109 h 116749"/>
                <a:gd name="connsiteX9" fmla="*/ 18065 w 83735"/>
                <a:gd name="connsiteY9" fmla="*/ 7270 h 1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5" h="116749">
                  <a:moveTo>
                    <a:pt x="15691" y="3772"/>
                  </a:moveTo>
                  <a:lnTo>
                    <a:pt x="15691" y="3772"/>
                  </a:lnTo>
                  <a:cubicBezTo>
                    <a:pt x="13355" y="23"/>
                    <a:pt x="8419" y="-1126"/>
                    <a:pt x="4671" y="1210"/>
                  </a:cubicBezTo>
                  <a:cubicBezTo>
                    <a:pt x="4134" y="1547"/>
                    <a:pt x="3646" y="1947"/>
                    <a:pt x="3197" y="2397"/>
                  </a:cubicBezTo>
                  <a:cubicBezTo>
                    <a:pt x="-602" y="6633"/>
                    <a:pt x="-1064" y="12893"/>
                    <a:pt x="2072" y="17641"/>
                  </a:cubicBezTo>
                  <a:lnTo>
                    <a:pt x="68044" y="112978"/>
                  </a:lnTo>
                  <a:cubicBezTo>
                    <a:pt x="70380" y="116727"/>
                    <a:pt x="75316" y="117876"/>
                    <a:pt x="79064" y="115540"/>
                  </a:cubicBezTo>
                  <a:cubicBezTo>
                    <a:pt x="79601" y="115202"/>
                    <a:pt x="80088" y="114803"/>
                    <a:pt x="80538" y="114353"/>
                  </a:cubicBezTo>
                  <a:cubicBezTo>
                    <a:pt x="84337" y="110117"/>
                    <a:pt x="84799" y="103857"/>
                    <a:pt x="81663" y="99109"/>
                  </a:cubicBezTo>
                  <a:lnTo>
                    <a:pt x="18065" y="7270"/>
                  </a:lnTo>
                  <a:close/>
                </a:path>
              </a:pathLst>
            </a:custGeom>
            <a:solidFill>
              <a:srgbClr val="000000"/>
            </a:solidFill>
            <a:ln w="12483" cap="flat">
              <a:noFill/>
              <a:prstDash val="solid"/>
              <a:miter/>
            </a:ln>
          </p:spPr>
          <p:txBody>
            <a:bodyPr rtlCol="0" anchor="ctr"/>
            <a:lstStyle/>
            <a:p>
              <a:endParaRPr lang="en-US"/>
            </a:p>
          </p:txBody>
        </p:sp>
        <p:sp>
          <p:nvSpPr>
            <p:cNvPr id="1883" name="Freeform: Shape 1882">
              <a:extLst>
                <a:ext uri="{FF2B5EF4-FFF2-40B4-BE49-F238E27FC236}">
                  <a16:creationId xmlns:a16="http://schemas.microsoft.com/office/drawing/2014/main" id="{C7198BAB-EF90-43FB-A9EE-A14D43683043}"/>
                </a:ext>
              </a:extLst>
            </p:cNvPr>
            <p:cNvSpPr/>
            <p:nvPr/>
          </p:nvSpPr>
          <p:spPr>
            <a:xfrm>
              <a:off x="7689833" y="4838952"/>
              <a:ext cx="119822" cy="177539"/>
            </a:xfrm>
            <a:custGeom>
              <a:avLst/>
              <a:gdLst>
                <a:gd name="connsiteX0" fmla="*/ 116325 w 119822"/>
                <a:gd name="connsiteY0" fmla="*/ 175555 h 177539"/>
                <a:gd name="connsiteX1" fmla="*/ 117949 w 119822"/>
                <a:gd name="connsiteY1" fmla="*/ 160311 h 177539"/>
                <a:gd name="connsiteX2" fmla="*/ 113576 w 119822"/>
                <a:gd name="connsiteY2" fmla="*/ 153689 h 177539"/>
                <a:gd name="connsiteX3" fmla="*/ 16118 w 119822"/>
                <a:gd name="connsiteY3" fmla="*/ 3749 h 177539"/>
                <a:gd name="connsiteX4" fmla="*/ 13994 w 119822"/>
                <a:gd name="connsiteY4" fmla="*/ 625 h 177539"/>
                <a:gd name="connsiteX5" fmla="*/ 13994 w 119822"/>
                <a:gd name="connsiteY5" fmla="*/ 0 h 177539"/>
                <a:gd name="connsiteX6" fmla="*/ 12495 w 119822"/>
                <a:gd name="connsiteY6" fmla="*/ 15244 h 177539"/>
                <a:gd name="connsiteX7" fmla="*/ 1187 w 119822"/>
                <a:gd name="connsiteY7" fmla="*/ 14982 h 177539"/>
                <a:gd name="connsiteX8" fmla="*/ 0 w 119822"/>
                <a:gd name="connsiteY8" fmla="*/ 13370 h 177539"/>
                <a:gd name="connsiteX9" fmla="*/ 104330 w 119822"/>
                <a:gd name="connsiteY9" fmla="*/ 173681 h 177539"/>
                <a:gd name="connsiteX10" fmla="*/ 115113 w 119822"/>
                <a:gd name="connsiteY10" fmla="*/ 176442 h 177539"/>
                <a:gd name="connsiteX11" fmla="*/ 116325 w 119822"/>
                <a:gd name="connsiteY11" fmla="*/ 175555 h 1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822" h="177539">
                  <a:moveTo>
                    <a:pt x="116325" y="175555"/>
                  </a:moveTo>
                  <a:cubicBezTo>
                    <a:pt x="120286" y="171444"/>
                    <a:pt x="120960" y="165172"/>
                    <a:pt x="117949" y="160311"/>
                  </a:cubicBezTo>
                  <a:lnTo>
                    <a:pt x="113576" y="153689"/>
                  </a:lnTo>
                  <a:lnTo>
                    <a:pt x="16118" y="3749"/>
                  </a:lnTo>
                  <a:lnTo>
                    <a:pt x="13994" y="625"/>
                  </a:lnTo>
                  <a:lnTo>
                    <a:pt x="13994" y="0"/>
                  </a:lnTo>
                  <a:cubicBezTo>
                    <a:pt x="17030" y="4823"/>
                    <a:pt x="16418" y="11096"/>
                    <a:pt x="12495" y="15244"/>
                  </a:cubicBezTo>
                  <a:cubicBezTo>
                    <a:pt x="9296" y="18293"/>
                    <a:pt x="4236" y="18168"/>
                    <a:pt x="1187" y="14982"/>
                  </a:cubicBezTo>
                  <a:cubicBezTo>
                    <a:pt x="725" y="14494"/>
                    <a:pt x="325" y="13957"/>
                    <a:pt x="0" y="13370"/>
                  </a:cubicBezTo>
                  <a:lnTo>
                    <a:pt x="104330" y="173681"/>
                  </a:lnTo>
                  <a:cubicBezTo>
                    <a:pt x="106542" y="177417"/>
                    <a:pt x="111377" y="178654"/>
                    <a:pt x="115113" y="176442"/>
                  </a:cubicBezTo>
                  <a:cubicBezTo>
                    <a:pt x="115550" y="176180"/>
                    <a:pt x="115950" y="175892"/>
                    <a:pt x="116325" y="175555"/>
                  </a:cubicBezTo>
                  <a:close/>
                </a:path>
              </a:pathLst>
            </a:custGeom>
            <a:solidFill>
              <a:schemeClr val="accent2">
                <a:lumMod val="50000"/>
              </a:schemeClr>
            </a:solidFill>
            <a:ln w="12483" cap="flat">
              <a:noFill/>
              <a:prstDash val="solid"/>
              <a:miter/>
            </a:ln>
          </p:spPr>
          <p:txBody>
            <a:bodyPr rtlCol="0" anchor="ctr"/>
            <a:lstStyle/>
            <a:p>
              <a:endParaRPr lang="en-US"/>
            </a:p>
          </p:txBody>
        </p:sp>
        <p:sp>
          <p:nvSpPr>
            <p:cNvPr id="1884" name="Freeform: Shape 1883">
              <a:extLst>
                <a:ext uri="{FF2B5EF4-FFF2-40B4-BE49-F238E27FC236}">
                  <a16:creationId xmlns:a16="http://schemas.microsoft.com/office/drawing/2014/main" id="{A676AB93-271E-49BF-B301-EE2F04228314}"/>
                </a:ext>
              </a:extLst>
            </p:cNvPr>
            <p:cNvSpPr/>
            <p:nvPr/>
          </p:nvSpPr>
          <p:spPr>
            <a:xfrm>
              <a:off x="12141362" y="3168493"/>
              <a:ext cx="53148" cy="388233"/>
            </a:xfrm>
            <a:custGeom>
              <a:avLst/>
              <a:gdLst>
                <a:gd name="connsiteX0" fmla="*/ 171 w 53148"/>
                <a:gd name="connsiteY0" fmla="*/ 370227 h 388233"/>
                <a:gd name="connsiteX1" fmla="*/ 171 w 53148"/>
                <a:gd name="connsiteY1" fmla="*/ 376350 h 388233"/>
                <a:gd name="connsiteX2" fmla="*/ 8043 w 53148"/>
                <a:gd name="connsiteY2" fmla="*/ 388220 h 388233"/>
                <a:gd name="connsiteX3" fmla="*/ 17901 w 53148"/>
                <a:gd name="connsiteY3" fmla="*/ 379361 h 388233"/>
                <a:gd name="connsiteX4" fmla="*/ 17913 w 53148"/>
                <a:gd name="connsiteY4" fmla="*/ 378724 h 388233"/>
                <a:gd name="connsiteX5" fmla="*/ 53148 w 53148"/>
                <a:gd name="connsiteY5" fmla="*/ 2999 h 388233"/>
                <a:gd name="connsiteX6" fmla="*/ 43665 w 53148"/>
                <a:gd name="connsiteY6" fmla="*/ 12507 h 388233"/>
                <a:gd name="connsiteX7" fmla="*/ 43278 w 53148"/>
                <a:gd name="connsiteY7" fmla="*/ 12495 h 388233"/>
                <a:gd name="connsiteX8" fmla="*/ 35369 w 53148"/>
                <a:gd name="connsiteY8" fmla="*/ 137 h 388233"/>
                <a:gd name="connsiteX9" fmla="*/ 35406 w 53148"/>
                <a:gd name="connsiteY9" fmla="*/ 0 h 388233"/>
                <a:gd name="connsiteX10" fmla="*/ 35406 w 53148"/>
                <a:gd name="connsiteY10" fmla="*/ 4248 h 388233"/>
                <a:gd name="connsiteX11" fmla="*/ 35406 w 53148"/>
                <a:gd name="connsiteY11" fmla="*/ 8746 h 38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8" h="388233">
                  <a:moveTo>
                    <a:pt x="171" y="370227"/>
                  </a:moveTo>
                  <a:lnTo>
                    <a:pt x="171" y="376350"/>
                  </a:lnTo>
                  <a:cubicBezTo>
                    <a:pt x="-828" y="381785"/>
                    <a:pt x="2645" y="387033"/>
                    <a:pt x="8043" y="388220"/>
                  </a:cubicBezTo>
                  <a:cubicBezTo>
                    <a:pt x="13216" y="388495"/>
                    <a:pt x="17627" y="384534"/>
                    <a:pt x="17901" y="379361"/>
                  </a:cubicBezTo>
                  <a:cubicBezTo>
                    <a:pt x="17913" y="379149"/>
                    <a:pt x="17913" y="378936"/>
                    <a:pt x="17913" y="378724"/>
                  </a:cubicBezTo>
                  <a:lnTo>
                    <a:pt x="53148" y="2999"/>
                  </a:lnTo>
                  <a:cubicBezTo>
                    <a:pt x="53148" y="8247"/>
                    <a:pt x="48901" y="12495"/>
                    <a:pt x="43665" y="12507"/>
                  </a:cubicBezTo>
                  <a:cubicBezTo>
                    <a:pt x="43528" y="12507"/>
                    <a:pt x="43403" y="12495"/>
                    <a:pt x="43278" y="12495"/>
                  </a:cubicBezTo>
                  <a:cubicBezTo>
                    <a:pt x="37680" y="11270"/>
                    <a:pt x="34144" y="5735"/>
                    <a:pt x="35369" y="137"/>
                  </a:cubicBezTo>
                  <a:cubicBezTo>
                    <a:pt x="35381" y="87"/>
                    <a:pt x="35394" y="50"/>
                    <a:pt x="35406" y="0"/>
                  </a:cubicBezTo>
                  <a:lnTo>
                    <a:pt x="35406" y="4248"/>
                  </a:lnTo>
                  <a:lnTo>
                    <a:pt x="35406" y="8746"/>
                  </a:lnTo>
                  <a:close/>
                </a:path>
              </a:pathLst>
            </a:custGeom>
            <a:solidFill>
              <a:srgbClr val="000000"/>
            </a:solidFill>
            <a:ln w="12483" cap="flat">
              <a:noFill/>
              <a:prstDash val="solid"/>
              <a:miter/>
            </a:ln>
          </p:spPr>
          <p:txBody>
            <a:bodyPr rtlCol="0" anchor="ctr"/>
            <a:lstStyle/>
            <a:p>
              <a:endParaRPr lang="en-US"/>
            </a:p>
          </p:txBody>
        </p:sp>
        <p:sp>
          <p:nvSpPr>
            <p:cNvPr id="1885" name="Freeform: Shape 1884">
              <a:extLst>
                <a:ext uri="{FF2B5EF4-FFF2-40B4-BE49-F238E27FC236}">
                  <a16:creationId xmlns:a16="http://schemas.microsoft.com/office/drawing/2014/main" id="{5446C1CB-0E3D-4573-AD77-3D76832D8DA1}"/>
                </a:ext>
              </a:extLst>
            </p:cNvPr>
            <p:cNvSpPr/>
            <p:nvPr/>
          </p:nvSpPr>
          <p:spPr>
            <a:xfrm>
              <a:off x="7197171" y="2831253"/>
              <a:ext cx="128060" cy="797499"/>
            </a:xfrm>
            <a:custGeom>
              <a:avLst/>
              <a:gdLst>
                <a:gd name="connsiteX0" fmla="*/ 108953 w 128060"/>
                <a:gd name="connsiteY0" fmla="*/ 779939 h 797499"/>
                <a:gd name="connsiteX1" fmla="*/ 110202 w 128060"/>
                <a:gd name="connsiteY1" fmla="*/ 788561 h 797499"/>
                <a:gd name="connsiteX2" fmla="*/ 119748 w 128060"/>
                <a:gd name="connsiteY2" fmla="*/ 797494 h 797499"/>
                <a:gd name="connsiteX3" fmla="*/ 120573 w 128060"/>
                <a:gd name="connsiteY3" fmla="*/ 797432 h 797499"/>
                <a:gd name="connsiteX4" fmla="*/ 127820 w 128060"/>
                <a:gd name="connsiteY4" fmla="*/ 784937 h 797499"/>
                <a:gd name="connsiteX5" fmla="*/ 17742 w 128060"/>
                <a:gd name="connsiteY5" fmla="*/ 0 h 797499"/>
                <a:gd name="connsiteX6" fmla="*/ 10371 w 128060"/>
                <a:gd name="connsiteY6" fmla="*/ 12495 h 797499"/>
                <a:gd name="connsiteX7" fmla="*/ 63 w 128060"/>
                <a:gd name="connsiteY7" fmla="*/ 4448 h 797499"/>
                <a:gd name="connsiteX8" fmla="*/ 0 w 128060"/>
                <a:gd name="connsiteY8" fmla="*/ 3749 h 797499"/>
                <a:gd name="connsiteX9" fmla="*/ 0 w 128060"/>
                <a:gd name="connsiteY9" fmla="*/ 3749 h 797499"/>
                <a:gd name="connsiteX10" fmla="*/ 0 w 128060"/>
                <a:gd name="connsiteY10" fmla="*/ 7622 h 7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060" h="797499">
                  <a:moveTo>
                    <a:pt x="108953" y="779939"/>
                  </a:moveTo>
                  <a:lnTo>
                    <a:pt x="110202" y="788561"/>
                  </a:lnTo>
                  <a:cubicBezTo>
                    <a:pt x="110365" y="793659"/>
                    <a:pt x="114650" y="797670"/>
                    <a:pt x="119748" y="797494"/>
                  </a:cubicBezTo>
                  <a:cubicBezTo>
                    <a:pt x="120023" y="797482"/>
                    <a:pt x="120298" y="797470"/>
                    <a:pt x="120573" y="797432"/>
                  </a:cubicBezTo>
                  <a:cubicBezTo>
                    <a:pt x="125846" y="795758"/>
                    <a:pt x="128982" y="790347"/>
                    <a:pt x="127820" y="784937"/>
                  </a:cubicBezTo>
                  <a:lnTo>
                    <a:pt x="17742" y="0"/>
                  </a:lnTo>
                  <a:cubicBezTo>
                    <a:pt x="19017" y="5460"/>
                    <a:pt x="15768" y="10971"/>
                    <a:pt x="10371" y="12495"/>
                  </a:cubicBezTo>
                  <a:cubicBezTo>
                    <a:pt x="5298" y="13120"/>
                    <a:pt x="687" y="9521"/>
                    <a:pt x="63" y="4448"/>
                  </a:cubicBezTo>
                  <a:cubicBezTo>
                    <a:pt x="25" y="4223"/>
                    <a:pt x="12" y="3986"/>
                    <a:pt x="0" y="3749"/>
                  </a:cubicBezTo>
                  <a:lnTo>
                    <a:pt x="0" y="3749"/>
                  </a:lnTo>
                  <a:lnTo>
                    <a:pt x="0" y="7622"/>
                  </a:lnTo>
                  <a:close/>
                </a:path>
              </a:pathLst>
            </a:custGeom>
            <a:solidFill>
              <a:srgbClr val="000000"/>
            </a:solidFill>
            <a:ln w="12483" cap="flat">
              <a:noFill/>
              <a:prstDash val="solid"/>
              <a:miter/>
            </a:ln>
          </p:spPr>
          <p:txBody>
            <a:bodyPr rtlCol="0" anchor="ctr"/>
            <a:lstStyle/>
            <a:p>
              <a:endParaRPr lang="en-US"/>
            </a:p>
          </p:txBody>
        </p:sp>
        <p:sp>
          <p:nvSpPr>
            <p:cNvPr id="1886" name="Freeform: Shape 1885">
              <a:extLst>
                <a:ext uri="{FF2B5EF4-FFF2-40B4-BE49-F238E27FC236}">
                  <a16:creationId xmlns:a16="http://schemas.microsoft.com/office/drawing/2014/main" id="{21676B29-56A6-45A4-94A6-EF3977BE3330}"/>
                </a:ext>
              </a:extLst>
            </p:cNvPr>
            <p:cNvSpPr/>
            <p:nvPr/>
          </p:nvSpPr>
          <p:spPr>
            <a:xfrm>
              <a:off x="7177071" y="2684881"/>
              <a:ext cx="37493" cy="158937"/>
            </a:xfrm>
            <a:custGeom>
              <a:avLst/>
              <a:gdLst>
                <a:gd name="connsiteX0" fmla="*/ 29846 w 37493"/>
                <a:gd name="connsiteY0" fmla="*/ 158867 h 158937"/>
                <a:gd name="connsiteX1" fmla="*/ 37217 w 37493"/>
                <a:gd name="connsiteY1" fmla="*/ 146372 h 158937"/>
                <a:gd name="connsiteX2" fmla="*/ 17851 w 37493"/>
                <a:gd name="connsiteY2" fmla="*/ 8927 h 158937"/>
                <a:gd name="connsiteX3" fmla="*/ 8292 w 37493"/>
                <a:gd name="connsiteY3" fmla="*/ 6 h 158937"/>
                <a:gd name="connsiteX4" fmla="*/ 7605 w 37493"/>
                <a:gd name="connsiteY4" fmla="*/ 55 h 158937"/>
                <a:gd name="connsiteX5" fmla="*/ 233 w 37493"/>
                <a:gd name="connsiteY5" fmla="*/ 12550 h 158937"/>
                <a:gd name="connsiteX6" fmla="*/ 2107 w 37493"/>
                <a:gd name="connsiteY6" fmla="*/ 25046 h 158937"/>
                <a:gd name="connsiteX7" fmla="*/ 19475 w 37493"/>
                <a:gd name="connsiteY7" fmla="*/ 148996 h 158937"/>
                <a:gd name="connsiteX8" fmla="*/ 27996 w 37493"/>
                <a:gd name="connsiteY8" fmla="*/ 158917 h 158937"/>
                <a:gd name="connsiteX9" fmla="*/ 29846 w 37493"/>
                <a:gd name="connsiteY9" fmla="*/ 158867 h 15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3" h="158937">
                  <a:moveTo>
                    <a:pt x="29846" y="158867"/>
                  </a:moveTo>
                  <a:cubicBezTo>
                    <a:pt x="35243" y="157343"/>
                    <a:pt x="38492" y="151833"/>
                    <a:pt x="37217" y="146372"/>
                  </a:cubicBezTo>
                  <a:lnTo>
                    <a:pt x="17851" y="8927"/>
                  </a:lnTo>
                  <a:cubicBezTo>
                    <a:pt x="17676" y="3829"/>
                    <a:pt x="13390" y="-169"/>
                    <a:pt x="8292" y="6"/>
                  </a:cubicBezTo>
                  <a:cubicBezTo>
                    <a:pt x="8067" y="18"/>
                    <a:pt x="7830" y="30"/>
                    <a:pt x="7605" y="55"/>
                  </a:cubicBezTo>
                  <a:cubicBezTo>
                    <a:pt x="2283" y="1680"/>
                    <a:pt x="-916" y="7103"/>
                    <a:pt x="233" y="12550"/>
                  </a:cubicBezTo>
                  <a:lnTo>
                    <a:pt x="2107" y="25046"/>
                  </a:lnTo>
                  <a:lnTo>
                    <a:pt x="19475" y="148996"/>
                  </a:lnTo>
                  <a:cubicBezTo>
                    <a:pt x="19088" y="154094"/>
                    <a:pt x="22911" y="158530"/>
                    <a:pt x="27996" y="158917"/>
                  </a:cubicBezTo>
                  <a:cubicBezTo>
                    <a:pt x="28609" y="158955"/>
                    <a:pt x="29233" y="158942"/>
                    <a:pt x="29846" y="158867"/>
                  </a:cubicBezTo>
                  <a:close/>
                </a:path>
              </a:pathLst>
            </a:custGeom>
            <a:solidFill>
              <a:srgbClr val="000000"/>
            </a:solidFill>
            <a:ln w="12483" cap="flat">
              <a:noFill/>
              <a:prstDash val="solid"/>
              <a:miter/>
            </a:ln>
          </p:spPr>
          <p:txBody>
            <a:bodyPr rtlCol="0" anchor="ctr"/>
            <a:lstStyle/>
            <a:p>
              <a:endParaRPr lang="en-US"/>
            </a:p>
          </p:txBody>
        </p:sp>
        <p:sp>
          <p:nvSpPr>
            <p:cNvPr id="1887" name="Freeform: Shape 1886">
              <a:extLst>
                <a:ext uri="{FF2B5EF4-FFF2-40B4-BE49-F238E27FC236}">
                  <a16:creationId xmlns:a16="http://schemas.microsoft.com/office/drawing/2014/main" id="{92000249-C987-4729-A18F-31550A24B601}"/>
                </a:ext>
              </a:extLst>
            </p:cNvPr>
            <p:cNvSpPr/>
            <p:nvPr/>
          </p:nvSpPr>
          <p:spPr>
            <a:xfrm>
              <a:off x="8161129" y="4164846"/>
              <a:ext cx="33110" cy="43357"/>
            </a:xfrm>
            <a:custGeom>
              <a:avLst/>
              <a:gdLst>
                <a:gd name="connsiteX0" fmla="*/ 33111 w 33110"/>
                <a:gd name="connsiteY0" fmla="*/ 43358 h 43357"/>
                <a:gd name="connsiteX1" fmla="*/ 4998 w 33110"/>
                <a:gd name="connsiteY1" fmla="*/ 3374 h 43357"/>
                <a:gd name="connsiteX2" fmla="*/ 0 w 33110"/>
                <a:gd name="connsiteY2" fmla="*/ 0 h 43357"/>
                <a:gd name="connsiteX3" fmla="*/ 28238 w 33110"/>
                <a:gd name="connsiteY3" fmla="*/ 40359 h 43357"/>
                <a:gd name="connsiteX4" fmla="*/ 28238 w 33110"/>
                <a:gd name="connsiteY4" fmla="*/ 40359 h 43357"/>
                <a:gd name="connsiteX5" fmla="*/ 33111 w 33110"/>
                <a:gd name="connsiteY5" fmla="*/ 43358 h 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0" h="43357">
                  <a:moveTo>
                    <a:pt x="33111" y="43358"/>
                  </a:moveTo>
                  <a:lnTo>
                    <a:pt x="4998" y="3374"/>
                  </a:lnTo>
                  <a:cubicBezTo>
                    <a:pt x="2986" y="2874"/>
                    <a:pt x="1212" y="1687"/>
                    <a:pt x="0" y="0"/>
                  </a:cubicBezTo>
                  <a:lnTo>
                    <a:pt x="28238" y="40359"/>
                  </a:lnTo>
                  <a:lnTo>
                    <a:pt x="28238" y="40359"/>
                  </a:lnTo>
                  <a:cubicBezTo>
                    <a:pt x="29462" y="41896"/>
                    <a:pt x="31187" y="42945"/>
                    <a:pt x="33111" y="43358"/>
                  </a:cubicBezTo>
                  <a:close/>
                </a:path>
              </a:pathLst>
            </a:custGeom>
            <a:solidFill>
              <a:srgbClr val="000000"/>
            </a:solidFill>
            <a:ln w="12483" cap="flat">
              <a:noFill/>
              <a:prstDash val="solid"/>
              <a:miter/>
            </a:ln>
          </p:spPr>
          <p:txBody>
            <a:bodyPr rtlCol="0" anchor="ctr"/>
            <a:lstStyle/>
            <a:p>
              <a:endParaRPr lang="en-US"/>
            </a:p>
          </p:txBody>
        </p:sp>
        <p:sp>
          <p:nvSpPr>
            <p:cNvPr id="1888" name="Freeform: Shape 1887">
              <a:extLst>
                <a:ext uri="{FF2B5EF4-FFF2-40B4-BE49-F238E27FC236}">
                  <a16:creationId xmlns:a16="http://schemas.microsoft.com/office/drawing/2014/main" id="{AF8B9B88-C7AB-4440-81B4-2386D16432C7}"/>
                </a:ext>
              </a:extLst>
            </p:cNvPr>
            <p:cNvSpPr/>
            <p:nvPr/>
          </p:nvSpPr>
          <p:spPr>
            <a:xfrm>
              <a:off x="8170250" y="4150477"/>
              <a:ext cx="34794" cy="57851"/>
            </a:xfrm>
            <a:custGeom>
              <a:avLst/>
              <a:gdLst>
                <a:gd name="connsiteX0" fmla="*/ 32861 w 34794"/>
                <a:gd name="connsiteY0" fmla="*/ 40359 h 57851"/>
                <a:gd name="connsiteX1" fmla="*/ 32861 w 34794"/>
                <a:gd name="connsiteY1" fmla="*/ 40359 h 57851"/>
                <a:gd name="connsiteX2" fmla="*/ 28488 w 34794"/>
                <a:gd name="connsiteY2" fmla="*/ 34237 h 57851"/>
                <a:gd name="connsiteX3" fmla="*/ 12495 w 34794"/>
                <a:gd name="connsiteY3" fmla="*/ 11246 h 57851"/>
                <a:gd name="connsiteX4" fmla="*/ 4623 w 34794"/>
                <a:gd name="connsiteY4" fmla="*/ 0 h 57851"/>
                <a:gd name="connsiteX5" fmla="*/ 3498 w 34794"/>
                <a:gd name="connsiteY5" fmla="*/ 15244 h 57851"/>
                <a:gd name="connsiteX6" fmla="*/ 0 w 34794"/>
                <a:gd name="connsiteY6" fmla="*/ 17368 h 57851"/>
                <a:gd name="connsiteX7" fmla="*/ 28238 w 34794"/>
                <a:gd name="connsiteY7" fmla="*/ 57852 h 57851"/>
                <a:gd name="connsiteX8" fmla="*/ 31736 w 34794"/>
                <a:gd name="connsiteY8" fmla="*/ 55228 h 57851"/>
                <a:gd name="connsiteX9" fmla="*/ 32861 w 34794"/>
                <a:gd name="connsiteY9" fmla="*/ 40359 h 5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94" h="57851">
                  <a:moveTo>
                    <a:pt x="32861" y="40359"/>
                  </a:moveTo>
                  <a:lnTo>
                    <a:pt x="32861" y="40359"/>
                  </a:lnTo>
                  <a:lnTo>
                    <a:pt x="28488" y="34237"/>
                  </a:lnTo>
                  <a:lnTo>
                    <a:pt x="12495" y="11246"/>
                  </a:lnTo>
                  <a:lnTo>
                    <a:pt x="4623" y="0"/>
                  </a:lnTo>
                  <a:cubicBezTo>
                    <a:pt x="7759" y="4748"/>
                    <a:pt x="7297" y="11008"/>
                    <a:pt x="3498" y="15244"/>
                  </a:cubicBezTo>
                  <a:cubicBezTo>
                    <a:pt x="2561" y="16269"/>
                    <a:pt x="1349" y="17006"/>
                    <a:pt x="0" y="17368"/>
                  </a:cubicBezTo>
                  <a:lnTo>
                    <a:pt x="28238" y="57852"/>
                  </a:lnTo>
                  <a:cubicBezTo>
                    <a:pt x="29587" y="57240"/>
                    <a:pt x="30774" y="56353"/>
                    <a:pt x="31736" y="55228"/>
                  </a:cubicBezTo>
                  <a:cubicBezTo>
                    <a:pt x="35347" y="51067"/>
                    <a:pt x="35809" y="45020"/>
                    <a:pt x="32861" y="40359"/>
                  </a:cubicBezTo>
                  <a:close/>
                </a:path>
              </a:pathLst>
            </a:custGeom>
            <a:solidFill>
              <a:srgbClr val="000000"/>
            </a:solidFill>
            <a:ln w="12483" cap="flat">
              <a:noFill/>
              <a:prstDash val="solid"/>
              <a:miter/>
            </a:ln>
          </p:spPr>
          <p:txBody>
            <a:bodyPr rtlCol="0" anchor="ctr"/>
            <a:lstStyle/>
            <a:p>
              <a:endParaRPr lang="en-US"/>
            </a:p>
          </p:txBody>
        </p:sp>
        <p:sp>
          <p:nvSpPr>
            <p:cNvPr id="1889" name="Freeform: Shape 1888">
              <a:extLst>
                <a:ext uri="{FF2B5EF4-FFF2-40B4-BE49-F238E27FC236}">
                  <a16:creationId xmlns:a16="http://schemas.microsoft.com/office/drawing/2014/main" id="{0F052631-4C2F-441C-A5FB-9151115AF003}"/>
                </a:ext>
              </a:extLst>
            </p:cNvPr>
            <p:cNvSpPr/>
            <p:nvPr/>
          </p:nvSpPr>
          <p:spPr>
            <a:xfrm>
              <a:off x="7958841" y="3858568"/>
              <a:ext cx="218103" cy="309651"/>
            </a:xfrm>
            <a:custGeom>
              <a:avLst/>
              <a:gdLst>
                <a:gd name="connsiteX0" fmla="*/ 2374 w 218103"/>
                <a:gd name="connsiteY0" fmla="*/ 2774 h 309651"/>
                <a:gd name="connsiteX1" fmla="*/ 0 w 218103"/>
                <a:gd name="connsiteY1" fmla="*/ 6522 h 309651"/>
                <a:gd name="connsiteX2" fmla="*/ 211409 w 218103"/>
                <a:gd name="connsiteY2" fmla="*/ 309652 h 309651"/>
                <a:gd name="connsiteX3" fmla="*/ 214907 w 218103"/>
                <a:gd name="connsiteY3" fmla="*/ 307527 h 309651"/>
                <a:gd name="connsiteX4" fmla="*/ 216032 w 218103"/>
                <a:gd name="connsiteY4" fmla="*/ 292283 h 309651"/>
                <a:gd name="connsiteX5" fmla="*/ 211784 w 218103"/>
                <a:gd name="connsiteY5" fmla="*/ 286161 h 309651"/>
                <a:gd name="connsiteX6" fmla="*/ 18242 w 218103"/>
                <a:gd name="connsiteY6" fmla="*/ 8147 h 309651"/>
                <a:gd name="connsiteX7" fmla="*/ 16118 w 218103"/>
                <a:gd name="connsiteY7" fmla="*/ 5148 h 309651"/>
                <a:gd name="connsiteX8" fmla="*/ 15368 w 218103"/>
                <a:gd name="connsiteY8" fmla="*/ 4024 h 309651"/>
                <a:gd name="connsiteX9" fmla="*/ 4461 w 218103"/>
                <a:gd name="connsiteY9" fmla="*/ 1062 h 309651"/>
                <a:gd name="connsiteX10" fmla="*/ 2374 w 218103"/>
                <a:gd name="connsiteY10" fmla="*/ 2774 h 3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103" h="309651">
                  <a:moveTo>
                    <a:pt x="2374" y="2774"/>
                  </a:moveTo>
                  <a:cubicBezTo>
                    <a:pt x="1324" y="3849"/>
                    <a:pt x="512" y="5123"/>
                    <a:pt x="0" y="6522"/>
                  </a:cubicBezTo>
                  <a:lnTo>
                    <a:pt x="211409" y="309652"/>
                  </a:lnTo>
                  <a:cubicBezTo>
                    <a:pt x="212758" y="309289"/>
                    <a:pt x="213970" y="308552"/>
                    <a:pt x="214907" y="307527"/>
                  </a:cubicBezTo>
                  <a:cubicBezTo>
                    <a:pt x="218706" y="303292"/>
                    <a:pt x="219168" y="297032"/>
                    <a:pt x="216032" y="292283"/>
                  </a:cubicBezTo>
                  <a:lnTo>
                    <a:pt x="211784" y="286161"/>
                  </a:lnTo>
                  <a:lnTo>
                    <a:pt x="18242" y="8147"/>
                  </a:lnTo>
                  <a:lnTo>
                    <a:pt x="16118" y="5148"/>
                  </a:lnTo>
                  <a:lnTo>
                    <a:pt x="15368" y="4024"/>
                  </a:lnTo>
                  <a:cubicBezTo>
                    <a:pt x="13169" y="188"/>
                    <a:pt x="8284" y="-1137"/>
                    <a:pt x="4461" y="1062"/>
                  </a:cubicBezTo>
                  <a:cubicBezTo>
                    <a:pt x="3673" y="1512"/>
                    <a:pt x="2961" y="2087"/>
                    <a:pt x="2374" y="2774"/>
                  </a:cubicBezTo>
                  <a:close/>
                </a:path>
              </a:pathLst>
            </a:custGeom>
            <a:solidFill>
              <a:srgbClr val="000000"/>
            </a:solidFill>
            <a:ln w="12483" cap="flat">
              <a:noFill/>
              <a:prstDash val="solid"/>
              <a:miter/>
            </a:ln>
          </p:spPr>
          <p:txBody>
            <a:bodyPr rtlCol="0" anchor="ctr"/>
            <a:lstStyle/>
            <a:p>
              <a:endParaRPr lang="en-US"/>
            </a:p>
          </p:txBody>
        </p:sp>
        <p:sp>
          <p:nvSpPr>
            <p:cNvPr id="1890" name="Freeform: Shape 1889">
              <a:extLst>
                <a:ext uri="{FF2B5EF4-FFF2-40B4-BE49-F238E27FC236}">
                  <a16:creationId xmlns:a16="http://schemas.microsoft.com/office/drawing/2014/main" id="{B5F6586C-D41F-46E5-980F-8BA47B91B928}"/>
                </a:ext>
              </a:extLst>
            </p:cNvPr>
            <p:cNvSpPr/>
            <p:nvPr/>
          </p:nvSpPr>
          <p:spPr>
            <a:xfrm>
              <a:off x="7958092" y="3870339"/>
              <a:ext cx="208035" cy="297881"/>
            </a:xfrm>
            <a:custGeom>
              <a:avLst/>
              <a:gdLst>
                <a:gd name="connsiteX0" fmla="*/ 208035 w 208035"/>
                <a:gd name="connsiteY0" fmla="*/ 297881 h 297881"/>
                <a:gd name="connsiteX1" fmla="*/ 0 w 208035"/>
                <a:gd name="connsiteY1" fmla="*/ 0 h 297881"/>
                <a:gd name="connsiteX2" fmla="*/ 1999 w 208035"/>
                <a:gd name="connsiteY2" fmla="*/ 6622 h 297881"/>
                <a:gd name="connsiteX3" fmla="*/ 203037 w 208035"/>
                <a:gd name="connsiteY3" fmla="*/ 294008 h 297881"/>
                <a:gd name="connsiteX4" fmla="*/ 208035 w 208035"/>
                <a:gd name="connsiteY4" fmla="*/ 297881 h 297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5" h="297881">
                  <a:moveTo>
                    <a:pt x="208035" y="297881"/>
                  </a:moveTo>
                  <a:lnTo>
                    <a:pt x="0" y="0"/>
                  </a:lnTo>
                  <a:cubicBezTo>
                    <a:pt x="25" y="2349"/>
                    <a:pt x="725" y="4648"/>
                    <a:pt x="1999" y="6622"/>
                  </a:cubicBezTo>
                  <a:lnTo>
                    <a:pt x="203037" y="294008"/>
                  </a:lnTo>
                  <a:cubicBezTo>
                    <a:pt x="204162" y="295882"/>
                    <a:pt x="205949" y="297257"/>
                    <a:pt x="208035" y="297881"/>
                  </a:cubicBezTo>
                  <a:close/>
                </a:path>
              </a:pathLst>
            </a:custGeom>
            <a:solidFill>
              <a:srgbClr val="000000"/>
            </a:solidFill>
            <a:ln w="12483" cap="flat">
              <a:noFill/>
              <a:prstDash val="solid"/>
              <a:miter/>
            </a:ln>
          </p:spPr>
          <p:txBody>
            <a:bodyPr rtlCol="0" anchor="ctr"/>
            <a:lstStyle/>
            <a:p>
              <a:endParaRPr lang="en-US"/>
            </a:p>
          </p:txBody>
        </p:sp>
        <p:sp>
          <p:nvSpPr>
            <p:cNvPr id="1891" name="Freeform: Shape 1890">
              <a:extLst>
                <a:ext uri="{FF2B5EF4-FFF2-40B4-BE49-F238E27FC236}">
                  <a16:creationId xmlns:a16="http://schemas.microsoft.com/office/drawing/2014/main" id="{C311E5EB-2DBE-47F3-9605-EF4EE34A9D0C}"/>
                </a:ext>
              </a:extLst>
            </p:cNvPr>
            <p:cNvSpPr/>
            <p:nvPr/>
          </p:nvSpPr>
          <p:spPr>
            <a:xfrm>
              <a:off x="7661298" y="6140466"/>
              <a:ext cx="56272" cy="285477"/>
            </a:xfrm>
            <a:custGeom>
              <a:avLst/>
              <a:gdLst>
                <a:gd name="connsiteX0" fmla="*/ 18664 w 56272"/>
                <a:gd name="connsiteY0" fmla="*/ 17085 h 285477"/>
                <a:gd name="connsiteX1" fmla="*/ 17414 w 56272"/>
                <a:gd name="connsiteY1" fmla="*/ 8838 h 285477"/>
                <a:gd name="connsiteX2" fmla="*/ 8006 w 56272"/>
                <a:gd name="connsiteY2" fmla="*/ 4 h 285477"/>
                <a:gd name="connsiteX3" fmla="*/ 7044 w 56272"/>
                <a:gd name="connsiteY3" fmla="*/ 92 h 285477"/>
                <a:gd name="connsiteX4" fmla="*/ 4295 w 56272"/>
                <a:gd name="connsiteY4" fmla="*/ 1341 h 285477"/>
                <a:gd name="connsiteX5" fmla="*/ 2921 w 56272"/>
                <a:gd name="connsiteY5" fmla="*/ 2591 h 285477"/>
                <a:gd name="connsiteX6" fmla="*/ 1671 w 56272"/>
                <a:gd name="connsiteY6" fmla="*/ 3965 h 285477"/>
                <a:gd name="connsiteX7" fmla="*/ 796 w 56272"/>
                <a:gd name="connsiteY7" fmla="*/ 5714 h 285477"/>
                <a:gd name="connsiteX8" fmla="*/ 47 w 56272"/>
                <a:gd name="connsiteY8" fmla="*/ 7589 h 285477"/>
                <a:gd name="connsiteX9" fmla="*/ 47 w 56272"/>
                <a:gd name="connsiteY9" fmla="*/ 9588 h 285477"/>
                <a:gd name="connsiteX10" fmla="*/ 47 w 56272"/>
                <a:gd name="connsiteY10" fmla="*/ 11837 h 285477"/>
                <a:gd name="connsiteX11" fmla="*/ 47 w 56272"/>
                <a:gd name="connsiteY11" fmla="*/ 12587 h 285477"/>
                <a:gd name="connsiteX12" fmla="*/ 37531 w 56272"/>
                <a:gd name="connsiteY12" fmla="*/ 277606 h 285477"/>
                <a:gd name="connsiteX13" fmla="*/ 37531 w 56272"/>
                <a:gd name="connsiteY13" fmla="*/ 277606 h 285477"/>
                <a:gd name="connsiteX14" fmla="*/ 38655 w 56272"/>
                <a:gd name="connsiteY14" fmla="*/ 285478 h 285477"/>
                <a:gd name="connsiteX15" fmla="*/ 45902 w 56272"/>
                <a:gd name="connsiteY15" fmla="*/ 272983 h 285477"/>
                <a:gd name="connsiteX16" fmla="*/ 56210 w 56272"/>
                <a:gd name="connsiteY16" fmla="*/ 281030 h 285477"/>
                <a:gd name="connsiteX17" fmla="*/ 56272 w 56272"/>
                <a:gd name="connsiteY17" fmla="*/ 281854 h 285477"/>
                <a:gd name="connsiteX18" fmla="*/ 21288 w 56272"/>
                <a:gd name="connsiteY18" fmla="*/ 34203 h 285477"/>
                <a:gd name="connsiteX19" fmla="*/ 20163 w 56272"/>
                <a:gd name="connsiteY19" fmla="*/ 25706 h 28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272" h="285477">
                  <a:moveTo>
                    <a:pt x="18664" y="17085"/>
                  </a:moveTo>
                  <a:lnTo>
                    <a:pt x="17414" y="8838"/>
                  </a:lnTo>
                  <a:cubicBezTo>
                    <a:pt x="17252" y="3803"/>
                    <a:pt x="13041" y="-146"/>
                    <a:pt x="8006" y="4"/>
                  </a:cubicBezTo>
                  <a:cubicBezTo>
                    <a:pt x="7681" y="17"/>
                    <a:pt x="7369" y="42"/>
                    <a:pt x="7044" y="92"/>
                  </a:cubicBezTo>
                  <a:cubicBezTo>
                    <a:pt x="6032" y="267"/>
                    <a:pt x="5095" y="704"/>
                    <a:pt x="4295" y="1341"/>
                  </a:cubicBezTo>
                  <a:cubicBezTo>
                    <a:pt x="3783" y="1691"/>
                    <a:pt x="3320" y="2116"/>
                    <a:pt x="2921" y="2591"/>
                  </a:cubicBezTo>
                  <a:lnTo>
                    <a:pt x="1671" y="3965"/>
                  </a:lnTo>
                  <a:cubicBezTo>
                    <a:pt x="1334" y="4527"/>
                    <a:pt x="1034" y="5102"/>
                    <a:pt x="796" y="5714"/>
                  </a:cubicBezTo>
                  <a:lnTo>
                    <a:pt x="47" y="7589"/>
                  </a:lnTo>
                  <a:cubicBezTo>
                    <a:pt x="47" y="8214"/>
                    <a:pt x="47" y="8963"/>
                    <a:pt x="47" y="9588"/>
                  </a:cubicBezTo>
                  <a:cubicBezTo>
                    <a:pt x="-16" y="10338"/>
                    <a:pt x="-16" y="11088"/>
                    <a:pt x="47" y="11837"/>
                  </a:cubicBezTo>
                  <a:cubicBezTo>
                    <a:pt x="47" y="11837"/>
                    <a:pt x="47" y="11837"/>
                    <a:pt x="47" y="12587"/>
                  </a:cubicBezTo>
                  <a:lnTo>
                    <a:pt x="37531" y="277606"/>
                  </a:lnTo>
                  <a:lnTo>
                    <a:pt x="37531" y="277606"/>
                  </a:lnTo>
                  <a:lnTo>
                    <a:pt x="38655" y="285478"/>
                  </a:lnTo>
                  <a:cubicBezTo>
                    <a:pt x="37493" y="280067"/>
                    <a:pt x="40629" y="274657"/>
                    <a:pt x="45902" y="272983"/>
                  </a:cubicBezTo>
                  <a:cubicBezTo>
                    <a:pt x="50975" y="272358"/>
                    <a:pt x="55585" y="275957"/>
                    <a:pt x="56210" y="281030"/>
                  </a:cubicBezTo>
                  <a:cubicBezTo>
                    <a:pt x="56247" y="281304"/>
                    <a:pt x="56260" y="281579"/>
                    <a:pt x="56272" y="281854"/>
                  </a:cubicBezTo>
                  <a:lnTo>
                    <a:pt x="21288" y="34203"/>
                  </a:lnTo>
                  <a:lnTo>
                    <a:pt x="20163" y="25706"/>
                  </a:lnTo>
                  <a:close/>
                </a:path>
              </a:pathLst>
            </a:custGeom>
            <a:solidFill>
              <a:srgbClr val="000000"/>
            </a:solidFill>
            <a:ln w="12483" cap="flat">
              <a:noFill/>
              <a:prstDash val="solid"/>
              <a:miter/>
            </a:ln>
          </p:spPr>
          <p:txBody>
            <a:bodyPr rtlCol="0" anchor="ctr"/>
            <a:lstStyle/>
            <a:p>
              <a:endParaRPr lang="en-US"/>
            </a:p>
          </p:txBody>
        </p:sp>
        <p:sp>
          <p:nvSpPr>
            <p:cNvPr id="1892" name="Freeform: Shape 1891">
              <a:extLst>
                <a:ext uri="{FF2B5EF4-FFF2-40B4-BE49-F238E27FC236}">
                  <a16:creationId xmlns:a16="http://schemas.microsoft.com/office/drawing/2014/main" id="{C256F78A-B69D-447D-A94A-5A721F52B809}"/>
                </a:ext>
              </a:extLst>
            </p:cNvPr>
            <p:cNvSpPr/>
            <p:nvPr/>
          </p:nvSpPr>
          <p:spPr>
            <a:xfrm>
              <a:off x="7699462" y="6413631"/>
              <a:ext cx="20925" cy="41301"/>
            </a:xfrm>
            <a:custGeom>
              <a:avLst/>
              <a:gdLst>
                <a:gd name="connsiteX0" fmla="*/ 7488 w 20925"/>
                <a:gd name="connsiteY0" fmla="*/ 68 h 41301"/>
                <a:gd name="connsiteX1" fmla="*/ 241 w 20925"/>
                <a:gd name="connsiteY1" fmla="*/ 12563 h 41301"/>
                <a:gd name="connsiteX2" fmla="*/ 2990 w 20925"/>
                <a:gd name="connsiteY2" fmla="*/ 32555 h 41301"/>
                <a:gd name="connsiteX3" fmla="*/ 6489 w 20925"/>
                <a:gd name="connsiteY3" fmla="*/ 39303 h 41301"/>
                <a:gd name="connsiteX4" fmla="*/ 12486 w 20925"/>
                <a:gd name="connsiteY4" fmla="*/ 41302 h 41301"/>
                <a:gd name="connsiteX5" fmla="*/ 13361 w 20925"/>
                <a:gd name="connsiteY5" fmla="*/ 41302 h 41301"/>
                <a:gd name="connsiteX6" fmla="*/ 20732 w 20925"/>
                <a:gd name="connsiteY6" fmla="*/ 28807 h 41301"/>
                <a:gd name="connsiteX7" fmla="*/ 17859 w 20925"/>
                <a:gd name="connsiteY7" fmla="*/ 8940 h 41301"/>
                <a:gd name="connsiteX8" fmla="*/ 8313 w 20925"/>
                <a:gd name="connsiteY8" fmla="*/ 5 h 41301"/>
                <a:gd name="connsiteX9" fmla="*/ 7488 w 20925"/>
                <a:gd name="connsiteY9" fmla="*/ 68 h 4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25" h="41301">
                  <a:moveTo>
                    <a:pt x="7488" y="68"/>
                  </a:moveTo>
                  <a:cubicBezTo>
                    <a:pt x="2215" y="1742"/>
                    <a:pt x="-921" y="7153"/>
                    <a:pt x="241" y="12563"/>
                  </a:cubicBezTo>
                  <a:lnTo>
                    <a:pt x="2990" y="32555"/>
                  </a:lnTo>
                  <a:cubicBezTo>
                    <a:pt x="3315" y="35154"/>
                    <a:pt x="4552" y="37541"/>
                    <a:pt x="6489" y="39303"/>
                  </a:cubicBezTo>
                  <a:cubicBezTo>
                    <a:pt x="8675" y="39115"/>
                    <a:pt x="10849" y="39840"/>
                    <a:pt x="12486" y="41302"/>
                  </a:cubicBezTo>
                  <a:lnTo>
                    <a:pt x="13361" y="41302"/>
                  </a:lnTo>
                  <a:cubicBezTo>
                    <a:pt x="18608" y="39578"/>
                    <a:pt x="21757" y="34230"/>
                    <a:pt x="20732" y="28807"/>
                  </a:cubicBezTo>
                  <a:lnTo>
                    <a:pt x="17859" y="8940"/>
                  </a:lnTo>
                  <a:cubicBezTo>
                    <a:pt x="17696" y="3842"/>
                    <a:pt x="13411" y="-169"/>
                    <a:pt x="8313" y="5"/>
                  </a:cubicBezTo>
                  <a:cubicBezTo>
                    <a:pt x="8038" y="18"/>
                    <a:pt x="7763" y="31"/>
                    <a:pt x="7488" y="68"/>
                  </a:cubicBezTo>
                  <a:close/>
                </a:path>
              </a:pathLst>
            </a:custGeom>
            <a:solidFill>
              <a:srgbClr val="000000"/>
            </a:solidFill>
            <a:ln w="12483" cap="flat">
              <a:noFill/>
              <a:prstDash val="solid"/>
              <a:miter/>
            </a:ln>
          </p:spPr>
          <p:txBody>
            <a:bodyPr rtlCol="0" anchor="ctr"/>
            <a:lstStyle/>
            <a:p>
              <a:endParaRPr lang="en-US"/>
            </a:p>
          </p:txBody>
        </p:sp>
        <p:sp>
          <p:nvSpPr>
            <p:cNvPr id="1893" name="Freeform: Shape 1892">
              <a:extLst>
                <a:ext uri="{FF2B5EF4-FFF2-40B4-BE49-F238E27FC236}">
                  <a16:creationId xmlns:a16="http://schemas.microsoft.com/office/drawing/2014/main" id="{956A0914-EBEC-4329-A5D4-CACB9BE8D0AF}"/>
                </a:ext>
              </a:extLst>
            </p:cNvPr>
            <p:cNvSpPr/>
            <p:nvPr/>
          </p:nvSpPr>
          <p:spPr>
            <a:xfrm>
              <a:off x="11823099" y="3963801"/>
              <a:ext cx="201485" cy="128127"/>
            </a:xfrm>
            <a:custGeom>
              <a:avLst/>
              <a:gdLst>
                <a:gd name="connsiteX0" fmla="*/ 5070 w 201485"/>
                <a:gd name="connsiteY0" fmla="*/ 107582 h 128127"/>
                <a:gd name="connsiteX1" fmla="*/ 822 w 201485"/>
                <a:gd name="connsiteY1" fmla="*/ 122076 h 128127"/>
                <a:gd name="connsiteX2" fmla="*/ 11192 w 201485"/>
                <a:gd name="connsiteY2" fmla="*/ 127799 h 128127"/>
                <a:gd name="connsiteX3" fmla="*/ 12691 w 201485"/>
                <a:gd name="connsiteY3" fmla="*/ 127199 h 128127"/>
                <a:gd name="connsiteX4" fmla="*/ 198486 w 201485"/>
                <a:gd name="connsiteY4" fmla="*/ 21366 h 128127"/>
                <a:gd name="connsiteX5" fmla="*/ 201485 w 201485"/>
                <a:gd name="connsiteY5" fmla="*/ 19617 h 128127"/>
                <a:gd name="connsiteX6" fmla="*/ 190090 w 201485"/>
                <a:gd name="connsiteY6" fmla="*/ 17130 h 128127"/>
                <a:gd name="connsiteX7" fmla="*/ 188990 w 201485"/>
                <a:gd name="connsiteY7" fmla="*/ 14494 h 128127"/>
                <a:gd name="connsiteX8" fmla="*/ 193239 w 201485"/>
                <a:gd name="connsiteY8" fmla="*/ 0 h 128127"/>
                <a:gd name="connsiteX9" fmla="*/ 188615 w 201485"/>
                <a:gd name="connsiteY9" fmla="*/ 2624 h 128127"/>
                <a:gd name="connsiteX10" fmla="*/ 11567 w 201485"/>
                <a:gd name="connsiteY10" fmla="*/ 104458 h 128127"/>
                <a:gd name="connsiteX11" fmla="*/ 8194 w 201485"/>
                <a:gd name="connsiteY11" fmla="*/ 106332 h 12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485" h="128127">
                  <a:moveTo>
                    <a:pt x="5070" y="107582"/>
                  </a:moveTo>
                  <a:cubicBezTo>
                    <a:pt x="559" y="110918"/>
                    <a:pt x="-1177" y="116841"/>
                    <a:pt x="822" y="122076"/>
                  </a:cubicBezTo>
                  <a:cubicBezTo>
                    <a:pt x="2109" y="126524"/>
                    <a:pt x="6744" y="129073"/>
                    <a:pt x="11192" y="127799"/>
                  </a:cubicBezTo>
                  <a:cubicBezTo>
                    <a:pt x="11705" y="127649"/>
                    <a:pt x="12217" y="127449"/>
                    <a:pt x="12691" y="127199"/>
                  </a:cubicBezTo>
                  <a:lnTo>
                    <a:pt x="198486" y="21366"/>
                  </a:lnTo>
                  <a:lnTo>
                    <a:pt x="201485" y="19617"/>
                  </a:lnTo>
                  <a:cubicBezTo>
                    <a:pt x="197649" y="22079"/>
                    <a:pt x="192551" y="20966"/>
                    <a:pt x="190090" y="17130"/>
                  </a:cubicBezTo>
                  <a:cubicBezTo>
                    <a:pt x="189578" y="16318"/>
                    <a:pt x="189202" y="15431"/>
                    <a:pt x="188990" y="14494"/>
                  </a:cubicBezTo>
                  <a:cubicBezTo>
                    <a:pt x="186992" y="9259"/>
                    <a:pt x="188728" y="3336"/>
                    <a:pt x="193239" y="0"/>
                  </a:cubicBezTo>
                  <a:lnTo>
                    <a:pt x="188615" y="2624"/>
                  </a:lnTo>
                  <a:lnTo>
                    <a:pt x="11567" y="104458"/>
                  </a:lnTo>
                  <a:lnTo>
                    <a:pt x="8194" y="106332"/>
                  </a:lnTo>
                  <a:close/>
                </a:path>
              </a:pathLst>
            </a:custGeom>
            <a:solidFill>
              <a:srgbClr val="000000"/>
            </a:solidFill>
            <a:ln w="12483" cap="flat">
              <a:noFill/>
              <a:prstDash val="solid"/>
              <a:miter/>
            </a:ln>
          </p:spPr>
          <p:txBody>
            <a:bodyPr rtlCol="0" anchor="ctr"/>
            <a:lstStyle/>
            <a:p>
              <a:endParaRPr lang="en-US"/>
            </a:p>
          </p:txBody>
        </p:sp>
        <p:sp>
          <p:nvSpPr>
            <p:cNvPr id="1894" name="Freeform: Shape 1893">
              <a:extLst>
                <a:ext uri="{FF2B5EF4-FFF2-40B4-BE49-F238E27FC236}">
                  <a16:creationId xmlns:a16="http://schemas.microsoft.com/office/drawing/2014/main" id="{DD14F174-39D8-4091-B8AB-919AA7C75080}"/>
                </a:ext>
              </a:extLst>
            </p:cNvPr>
            <p:cNvSpPr/>
            <p:nvPr/>
          </p:nvSpPr>
          <p:spPr>
            <a:xfrm>
              <a:off x="12011893" y="3956679"/>
              <a:ext cx="29856" cy="28046"/>
            </a:xfrm>
            <a:custGeom>
              <a:avLst/>
              <a:gdLst>
                <a:gd name="connsiteX0" fmla="*/ 5070 w 29856"/>
                <a:gd name="connsiteY0" fmla="*/ 7122 h 28046"/>
                <a:gd name="connsiteX1" fmla="*/ 822 w 29856"/>
                <a:gd name="connsiteY1" fmla="*/ 21616 h 28046"/>
                <a:gd name="connsiteX2" fmla="*/ 10680 w 29856"/>
                <a:gd name="connsiteY2" fmla="*/ 27839 h 28046"/>
                <a:gd name="connsiteX3" fmla="*/ 13316 w 29856"/>
                <a:gd name="connsiteY3" fmla="*/ 26739 h 28046"/>
                <a:gd name="connsiteX4" fmla="*/ 24811 w 29856"/>
                <a:gd name="connsiteY4" fmla="*/ 20242 h 28046"/>
                <a:gd name="connsiteX5" fmla="*/ 29809 w 29856"/>
                <a:gd name="connsiteY5" fmla="*/ 10746 h 28046"/>
                <a:gd name="connsiteX6" fmla="*/ 29809 w 29856"/>
                <a:gd name="connsiteY6" fmla="*/ 8746 h 28046"/>
                <a:gd name="connsiteX7" fmla="*/ 29809 w 29856"/>
                <a:gd name="connsiteY7" fmla="*/ 6622 h 28046"/>
                <a:gd name="connsiteX8" fmla="*/ 29809 w 29856"/>
                <a:gd name="connsiteY8" fmla="*/ 5748 h 28046"/>
                <a:gd name="connsiteX9" fmla="*/ 29185 w 29856"/>
                <a:gd name="connsiteY9" fmla="*/ 4873 h 28046"/>
                <a:gd name="connsiteX10" fmla="*/ 28185 w 29856"/>
                <a:gd name="connsiteY10" fmla="*/ 2999 h 28046"/>
                <a:gd name="connsiteX11" fmla="*/ 26811 w 29856"/>
                <a:gd name="connsiteY11" fmla="*/ 1749 h 28046"/>
                <a:gd name="connsiteX12" fmla="*/ 25436 w 29856"/>
                <a:gd name="connsiteY12" fmla="*/ 750 h 28046"/>
                <a:gd name="connsiteX13" fmla="*/ 23687 w 29856"/>
                <a:gd name="connsiteY13" fmla="*/ 0 h 28046"/>
                <a:gd name="connsiteX14" fmla="*/ 22063 w 29856"/>
                <a:gd name="connsiteY14" fmla="*/ 0 h 28046"/>
                <a:gd name="connsiteX15" fmla="*/ 20813 w 29856"/>
                <a:gd name="connsiteY15" fmla="*/ 0 h 28046"/>
                <a:gd name="connsiteX16" fmla="*/ 17939 w 29856"/>
                <a:gd name="connsiteY16" fmla="*/ 875 h 2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56" h="28046">
                  <a:moveTo>
                    <a:pt x="5070" y="7122"/>
                  </a:moveTo>
                  <a:cubicBezTo>
                    <a:pt x="559" y="10458"/>
                    <a:pt x="-1177" y="16381"/>
                    <a:pt x="822" y="21616"/>
                  </a:cubicBezTo>
                  <a:cubicBezTo>
                    <a:pt x="1821" y="26065"/>
                    <a:pt x="6245" y="28851"/>
                    <a:pt x="10680" y="27839"/>
                  </a:cubicBezTo>
                  <a:cubicBezTo>
                    <a:pt x="11617" y="27626"/>
                    <a:pt x="12504" y="27252"/>
                    <a:pt x="13316" y="26739"/>
                  </a:cubicBezTo>
                  <a:lnTo>
                    <a:pt x="24811" y="20242"/>
                  </a:lnTo>
                  <a:cubicBezTo>
                    <a:pt x="27973" y="18130"/>
                    <a:pt x="29860" y="14556"/>
                    <a:pt x="29809" y="10746"/>
                  </a:cubicBezTo>
                  <a:cubicBezTo>
                    <a:pt x="29872" y="10084"/>
                    <a:pt x="29872" y="9409"/>
                    <a:pt x="29809" y="8746"/>
                  </a:cubicBezTo>
                  <a:lnTo>
                    <a:pt x="29809" y="6622"/>
                  </a:lnTo>
                  <a:cubicBezTo>
                    <a:pt x="29809" y="6622"/>
                    <a:pt x="29809" y="5997"/>
                    <a:pt x="29809" y="5748"/>
                  </a:cubicBezTo>
                  <a:cubicBezTo>
                    <a:pt x="29672" y="5410"/>
                    <a:pt x="29459" y="5110"/>
                    <a:pt x="29185" y="4873"/>
                  </a:cubicBezTo>
                  <a:cubicBezTo>
                    <a:pt x="28922" y="4211"/>
                    <a:pt x="28597" y="3586"/>
                    <a:pt x="28185" y="2999"/>
                  </a:cubicBezTo>
                  <a:cubicBezTo>
                    <a:pt x="27785" y="2524"/>
                    <a:pt x="27323" y="2099"/>
                    <a:pt x="26811" y="1749"/>
                  </a:cubicBezTo>
                  <a:lnTo>
                    <a:pt x="25436" y="750"/>
                  </a:lnTo>
                  <a:lnTo>
                    <a:pt x="23687" y="0"/>
                  </a:lnTo>
                  <a:lnTo>
                    <a:pt x="22063" y="0"/>
                  </a:lnTo>
                  <a:lnTo>
                    <a:pt x="20813" y="0"/>
                  </a:lnTo>
                  <a:cubicBezTo>
                    <a:pt x="19814" y="100"/>
                    <a:pt x="18827" y="400"/>
                    <a:pt x="17939" y="875"/>
                  </a:cubicBezTo>
                  <a:close/>
                </a:path>
              </a:pathLst>
            </a:custGeom>
            <a:solidFill>
              <a:srgbClr val="000000"/>
            </a:solidFill>
            <a:ln w="12483" cap="flat">
              <a:noFill/>
              <a:prstDash val="solid"/>
              <a:miter/>
            </a:ln>
          </p:spPr>
          <p:txBody>
            <a:bodyPr rtlCol="0" anchor="ctr"/>
            <a:lstStyle/>
            <a:p>
              <a:endParaRPr lang="en-US"/>
            </a:p>
          </p:txBody>
        </p:sp>
        <p:sp>
          <p:nvSpPr>
            <p:cNvPr id="1895" name="Freeform: Shape 1894">
              <a:extLst>
                <a:ext uri="{FF2B5EF4-FFF2-40B4-BE49-F238E27FC236}">
                  <a16:creationId xmlns:a16="http://schemas.microsoft.com/office/drawing/2014/main" id="{05B00921-E03E-4A61-A1E0-5AEB60C52B34}"/>
                </a:ext>
              </a:extLst>
            </p:cNvPr>
            <p:cNvSpPr/>
            <p:nvPr/>
          </p:nvSpPr>
          <p:spPr>
            <a:xfrm>
              <a:off x="12070829" y="5528427"/>
              <a:ext cx="28112" cy="122620"/>
            </a:xfrm>
            <a:custGeom>
              <a:avLst/>
              <a:gdLst>
                <a:gd name="connsiteX0" fmla="*/ 19102 w 28112"/>
                <a:gd name="connsiteY0" fmla="*/ 12495 h 122620"/>
                <a:gd name="connsiteX1" fmla="*/ 11355 w 28112"/>
                <a:gd name="connsiteY1" fmla="*/ 0 h 122620"/>
                <a:gd name="connsiteX2" fmla="*/ 235 w 28112"/>
                <a:gd name="connsiteY2" fmla="*/ 110081 h 122620"/>
                <a:gd name="connsiteX3" fmla="*/ 7982 w 28112"/>
                <a:gd name="connsiteY3" fmla="*/ 122576 h 122620"/>
                <a:gd name="connsiteX4" fmla="*/ 14229 w 28112"/>
                <a:gd name="connsiteY4" fmla="*/ 120577 h 122620"/>
                <a:gd name="connsiteX5" fmla="*/ 7982 w 28112"/>
                <a:gd name="connsiteY5" fmla="*/ 113080 h 122620"/>
                <a:gd name="connsiteX6" fmla="*/ 7982 w 28112"/>
                <a:gd name="connsiteY6" fmla="*/ 110456 h 122620"/>
                <a:gd name="connsiteX7" fmla="*/ 10093 w 28112"/>
                <a:gd name="connsiteY7" fmla="*/ 110319 h 122620"/>
                <a:gd name="connsiteX8" fmla="*/ 10231 w 28112"/>
                <a:gd name="connsiteY8" fmla="*/ 110456 h 122620"/>
                <a:gd name="connsiteX9" fmla="*/ 16478 w 28112"/>
                <a:gd name="connsiteY9" fmla="*/ 117953 h 122620"/>
                <a:gd name="connsiteX10" fmla="*/ 18103 w 28112"/>
                <a:gd name="connsiteY10" fmla="*/ 113205 h 122620"/>
                <a:gd name="connsiteX11" fmla="*/ 28098 w 28112"/>
                <a:gd name="connsiteY11" fmla="*/ 13245 h 122620"/>
                <a:gd name="connsiteX12" fmla="*/ 28098 w 28112"/>
                <a:gd name="connsiteY12" fmla="*/ 8372 h 122620"/>
                <a:gd name="connsiteX13" fmla="*/ 28098 w 28112"/>
                <a:gd name="connsiteY13" fmla="*/ 2499 h 122620"/>
                <a:gd name="connsiteX14" fmla="*/ 19127 w 28112"/>
                <a:gd name="connsiteY14" fmla="*/ 12495 h 122620"/>
                <a:gd name="connsiteX15" fmla="*/ 19102 w 28112"/>
                <a:gd name="connsiteY15" fmla="*/ 12495 h 12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12" h="122620">
                  <a:moveTo>
                    <a:pt x="19102" y="12495"/>
                  </a:moveTo>
                  <a:cubicBezTo>
                    <a:pt x="13592" y="11083"/>
                    <a:pt x="10169" y="5573"/>
                    <a:pt x="11355" y="0"/>
                  </a:cubicBezTo>
                  <a:lnTo>
                    <a:pt x="235" y="110081"/>
                  </a:lnTo>
                  <a:cubicBezTo>
                    <a:pt x="-952" y="115654"/>
                    <a:pt x="2471" y="121164"/>
                    <a:pt x="7982" y="122576"/>
                  </a:cubicBezTo>
                  <a:cubicBezTo>
                    <a:pt x="10255" y="122814"/>
                    <a:pt x="12517" y="122089"/>
                    <a:pt x="14229" y="120577"/>
                  </a:cubicBezTo>
                  <a:lnTo>
                    <a:pt x="7982" y="113080"/>
                  </a:lnTo>
                  <a:cubicBezTo>
                    <a:pt x="7382" y="112305"/>
                    <a:pt x="7382" y="111231"/>
                    <a:pt x="7982" y="110456"/>
                  </a:cubicBezTo>
                  <a:cubicBezTo>
                    <a:pt x="8531" y="109831"/>
                    <a:pt x="9481" y="109781"/>
                    <a:pt x="10093" y="110319"/>
                  </a:cubicBezTo>
                  <a:cubicBezTo>
                    <a:pt x="10143" y="110369"/>
                    <a:pt x="10193" y="110406"/>
                    <a:pt x="10231" y="110456"/>
                  </a:cubicBezTo>
                  <a:lnTo>
                    <a:pt x="16478" y="117953"/>
                  </a:lnTo>
                  <a:cubicBezTo>
                    <a:pt x="17303" y="116479"/>
                    <a:pt x="17853" y="114867"/>
                    <a:pt x="18103" y="113205"/>
                  </a:cubicBezTo>
                  <a:lnTo>
                    <a:pt x="28098" y="13245"/>
                  </a:lnTo>
                  <a:lnTo>
                    <a:pt x="28098" y="8372"/>
                  </a:lnTo>
                  <a:lnTo>
                    <a:pt x="28098" y="2499"/>
                  </a:lnTo>
                  <a:cubicBezTo>
                    <a:pt x="28386" y="7735"/>
                    <a:pt x="24362" y="12208"/>
                    <a:pt x="19127" y="12495"/>
                  </a:cubicBezTo>
                  <a:cubicBezTo>
                    <a:pt x="19115" y="12495"/>
                    <a:pt x="19115" y="12495"/>
                    <a:pt x="19102" y="12495"/>
                  </a:cubicBezTo>
                  <a:close/>
                </a:path>
              </a:pathLst>
            </a:custGeom>
            <a:solidFill>
              <a:srgbClr val="000000"/>
            </a:solidFill>
            <a:ln w="12483" cap="flat">
              <a:noFill/>
              <a:prstDash val="solid"/>
              <a:miter/>
            </a:ln>
          </p:spPr>
          <p:txBody>
            <a:bodyPr rtlCol="0" anchor="ctr"/>
            <a:lstStyle/>
            <a:p>
              <a:endParaRPr lang="en-US"/>
            </a:p>
          </p:txBody>
        </p:sp>
        <p:sp>
          <p:nvSpPr>
            <p:cNvPr id="1896" name="Freeform: Shape 1895">
              <a:extLst>
                <a:ext uri="{FF2B5EF4-FFF2-40B4-BE49-F238E27FC236}">
                  <a16:creationId xmlns:a16="http://schemas.microsoft.com/office/drawing/2014/main" id="{176CB804-396C-4E80-B021-1651976F9388}"/>
                </a:ext>
              </a:extLst>
            </p:cNvPr>
            <p:cNvSpPr/>
            <p:nvPr/>
          </p:nvSpPr>
          <p:spPr>
            <a:xfrm>
              <a:off x="12081950" y="5301005"/>
              <a:ext cx="40194" cy="240305"/>
            </a:xfrm>
            <a:custGeom>
              <a:avLst/>
              <a:gdLst>
                <a:gd name="connsiteX0" fmla="*/ 32096 w 40194"/>
                <a:gd name="connsiteY0" fmla="*/ 13 h 240305"/>
                <a:gd name="connsiteX1" fmla="*/ 22113 w 40194"/>
                <a:gd name="connsiteY1" fmla="*/ 8997 h 240305"/>
                <a:gd name="connsiteX2" fmla="*/ 22100 w 40194"/>
                <a:gd name="connsiteY2" fmla="*/ 9510 h 240305"/>
                <a:gd name="connsiteX3" fmla="*/ 235 w 40194"/>
                <a:gd name="connsiteY3" fmla="*/ 227798 h 240305"/>
                <a:gd name="connsiteX4" fmla="*/ 7981 w 40194"/>
                <a:gd name="connsiteY4" fmla="*/ 240293 h 240305"/>
                <a:gd name="connsiteX5" fmla="*/ 17965 w 40194"/>
                <a:gd name="connsiteY5" fmla="*/ 231308 h 240305"/>
                <a:gd name="connsiteX6" fmla="*/ 17977 w 40194"/>
                <a:gd name="connsiteY6" fmla="*/ 230796 h 240305"/>
                <a:gd name="connsiteX7" fmla="*/ 39968 w 40194"/>
                <a:gd name="connsiteY7" fmla="*/ 12508 h 240305"/>
                <a:gd name="connsiteX8" fmla="*/ 32096 w 40194"/>
                <a:gd name="connsiteY8" fmla="*/ 13 h 24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4" h="240305">
                  <a:moveTo>
                    <a:pt x="32096" y="13"/>
                  </a:moveTo>
                  <a:cubicBezTo>
                    <a:pt x="26861" y="-262"/>
                    <a:pt x="22388" y="3762"/>
                    <a:pt x="22113" y="8997"/>
                  </a:cubicBezTo>
                  <a:cubicBezTo>
                    <a:pt x="22100" y="9172"/>
                    <a:pt x="22100" y="9335"/>
                    <a:pt x="22100" y="9510"/>
                  </a:cubicBezTo>
                  <a:lnTo>
                    <a:pt x="235" y="227798"/>
                  </a:lnTo>
                  <a:cubicBezTo>
                    <a:pt x="-952" y="233370"/>
                    <a:pt x="2472" y="238881"/>
                    <a:pt x="7981" y="240293"/>
                  </a:cubicBezTo>
                  <a:cubicBezTo>
                    <a:pt x="13217" y="240567"/>
                    <a:pt x="17690" y="236544"/>
                    <a:pt x="17965" y="231308"/>
                  </a:cubicBezTo>
                  <a:cubicBezTo>
                    <a:pt x="17977" y="231134"/>
                    <a:pt x="17977" y="230971"/>
                    <a:pt x="17977" y="230796"/>
                  </a:cubicBezTo>
                  <a:lnTo>
                    <a:pt x="39968" y="12508"/>
                  </a:lnTo>
                  <a:cubicBezTo>
                    <a:pt x="41142" y="6898"/>
                    <a:pt x="37656" y="1375"/>
                    <a:pt x="32096" y="13"/>
                  </a:cubicBezTo>
                  <a:close/>
                </a:path>
              </a:pathLst>
            </a:custGeom>
            <a:solidFill>
              <a:srgbClr val="000000"/>
            </a:solidFill>
            <a:ln w="12483" cap="flat">
              <a:noFill/>
              <a:prstDash val="solid"/>
              <a:miter/>
            </a:ln>
          </p:spPr>
          <p:txBody>
            <a:bodyPr rtlCol="0" anchor="ctr"/>
            <a:lstStyle/>
            <a:p>
              <a:endParaRPr lang="en-US"/>
            </a:p>
          </p:txBody>
        </p:sp>
        <p:sp>
          <p:nvSpPr>
            <p:cNvPr id="1897" name="Freeform: Shape 1896">
              <a:extLst>
                <a:ext uri="{FF2B5EF4-FFF2-40B4-BE49-F238E27FC236}">
                  <a16:creationId xmlns:a16="http://schemas.microsoft.com/office/drawing/2014/main" id="{283EC24E-C5B3-47AC-BAF4-F95D74C18EEA}"/>
                </a:ext>
              </a:extLst>
            </p:cNvPr>
            <p:cNvSpPr/>
            <p:nvPr/>
          </p:nvSpPr>
          <p:spPr>
            <a:xfrm>
              <a:off x="12120691" y="4860444"/>
              <a:ext cx="45583" cy="294885"/>
            </a:xfrm>
            <a:custGeom>
              <a:avLst/>
              <a:gdLst>
                <a:gd name="connsiteX0" fmla="*/ 36461 w 45583"/>
                <a:gd name="connsiteY0" fmla="*/ 12495 h 294885"/>
                <a:gd name="connsiteX1" fmla="*/ 28590 w 45583"/>
                <a:gd name="connsiteY1" fmla="*/ 0 h 294885"/>
                <a:gd name="connsiteX2" fmla="*/ 227 w 45583"/>
                <a:gd name="connsiteY2" fmla="*/ 282387 h 294885"/>
                <a:gd name="connsiteX3" fmla="*/ 8099 w 45583"/>
                <a:gd name="connsiteY3" fmla="*/ 294883 h 294885"/>
                <a:gd name="connsiteX4" fmla="*/ 18095 w 45583"/>
                <a:gd name="connsiteY4" fmla="*/ 285399 h 294885"/>
                <a:gd name="connsiteX5" fmla="*/ 18095 w 45583"/>
                <a:gd name="connsiteY5" fmla="*/ 285386 h 294885"/>
                <a:gd name="connsiteX6" fmla="*/ 18095 w 45583"/>
                <a:gd name="connsiteY6" fmla="*/ 280513 h 294885"/>
                <a:gd name="connsiteX7" fmla="*/ 18095 w 45583"/>
                <a:gd name="connsiteY7" fmla="*/ 275890 h 294885"/>
                <a:gd name="connsiteX8" fmla="*/ 44832 w 45583"/>
                <a:gd name="connsiteY8" fmla="*/ 10871 h 294885"/>
                <a:gd name="connsiteX9" fmla="*/ 45583 w 45583"/>
                <a:gd name="connsiteY9" fmla="*/ 2874 h 294885"/>
                <a:gd name="connsiteX10" fmla="*/ 45583 w 45583"/>
                <a:gd name="connsiteY10" fmla="*/ 2874 h 294885"/>
                <a:gd name="connsiteX11" fmla="*/ 36461 w 45583"/>
                <a:gd name="connsiteY11" fmla="*/ 12495 h 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83" h="294885">
                  <a:moveTo>
                    <a:pt x="36461" y="12495"/>
                  </a:moveTo>
                  <a:cubicBezTo>
                    <a:pt x="30938" y="11083"/>
                    <a:pt x="27478" y="5598"/>
                    <a:pt x="28590" y="0"/>
                  </a:cubicBezTo>
                  <a:lnTo>
                    <a:pt x="227" y="282387"/>
                  </a:lnTo>
                  <a:cubicBezTo>
                    <a:pt x="-947" y="287998"/>
                    <a:pt x="2539" y="293520"/>
                    <a:pt x="8099" y="294883"/>
                  </a:cubicBezTo>
                  <a:cubicBezTo>
                    <a:pt x="13484" y="295020"/>
                    <a:pt x="17957" y="290772"/>
                    <a:pt x="18095" y="285399"/>
                  </a:cubicBezTo>
                  <a:cubicBezTo>
                    <a:pt x="18095" y="285386"/>
                    <a:pt x="18095" y="285386"/>
                    <a:pt x="18095" y="285386"/>
                  </a:cubicBezTo>
                  <a:lnTo>
                    <a:pt x="18095" y="280513"/>
                  </a:lnTo>
                  <a:lnTo>
                    <a:pt x="18095" y="275890"/>
                  </a:lnTo>
                  <a:lnTo>
                    <a:pt x="44832" y="10871"/>
                  </a:lnTo>
                  <a:lnTo>
                    <a:pt x="45583" y="2874"/>
                  </a:lnTo>
                  <a:lnTo>
                    <a:pt x="45583" y="2874"/>
                  </a:lnTo>
                  <a:cubicBezTo>
                    <a:pt x="45658" y="8022"/>
                    <a:pt x="41609" y="12295"/>
                    <a:pt x="36461" y="12495"/>
                  </a:cubicBezTo>
                  <a:close/>
                </a:path>
              </a:pathLst>
            </a:custGeom>
            <a:solidFill>
              <a:srgbClr val="000000"/>
            </a:solidFill>
            <a:ln w="12483" cap="flat">
              <a:noFill/>
              <a:prstDash val="solid"/>
              <a:miter/>
            </a:ln>
          </p:spPr>
          <p:txBody>
            <a:bodyPr rtlCol="0" anchor="ctr"/>
            <a:lstStyle/>
            <a:p>
              <a:endParaRPr lang="en-US"/>
            </a:p>
          </p:txBody>
        </p:sp>
        <p:sp>
          <p:nvSpPr>
            <p:cNvPr id="1898" name="Freeform: Shape 1897">
              <a:extLst>
                <a:ext uri="{FF2B5EF4-FFF2-40B4-BE49-F238E27FC236}">
                  <a16:creationId xmlns:a16="http://schemas.microsoft.com/office/drawing/2014/main" id="{D78D97AC-DF72-49C3-8E49-F5EB495AD1A1}"/>
                </a:ext>
              </a:extLst>
            </p:cNvPr>
            <p:cNvSpPr/>
            <p:nvPr/>
          </p:nvSpPr>
          <p:spPr>
            <a:xfrm>
              <a:off x="12150073" y="4777730"/>
              <a:ext cx="25493" cy="95596"/>
            </a:xfrm>
            <a:custGeom>
              <a:avLst/>
              <a:gdLst>
                <a:gd name="connsiteX0" fmla="*/ 6705 w 25493"/>
                <a:gd name="connsiteY0" fmla="*/ 9368 h 95596"/>
                <a:gd name="connsiteX1" fmla="*/ 6705 w 25493"/>
                <a:gd name="connsiteY1" fmla="*/ 14741 h 95596"/>
                <a:gd name="connsiteX2" fmla="*/ 6705 w 25493"/>
                <a:gd name="connsiteY2" fmla="*/ 18739 h 95596"/>
                <a:gd name="connsiteX3" fmla="*/ 208 w 25493"/>
                <a:gd name="connsiteY3" fmla="*/ 83088 h 95596"/>
                <a:gd name="connsiteX4" fmla="*/ 8079 w 25493"/>
                <a:gd name="connsiteY4" fmla="*/ 95583 h 95596"/>
                <a:gd name="connsiteX5" fmla="*/ 18063 w 25493"/>
                <a:gd name="connsiteY5" fmla="*/ 86600 h 95596"/>
                <a:gd name="connsiteX6" fmla="*/ 18075 w 25493"/>
                <a:gd name="connsiteY6" fmla="*/ 86088 h 95596"/>
                <a:gd name="connsiteX7" fmla="*/ 18075 w 25493"/>
                <a:gd name="connsiteY7" fmla="*/ 86088 h 95596"/>
                <a:gd name="connsiteX8" fmla="*/ 25447 w 25493"/>
                <a:gd name="connsiteY8" fmla="*/ 12367 h 95596"/>
                <a:gd name="connsiteX9" fmla="*/ 25447 w 25493"/>
                <a:gd name="connsiteY9" fmla="*/ 11617 h 95596"/>
                <a:gd name="connsiteX10" fmla="*/ 25447 w 25493"/>
                <a:gd name="connsiteY10" fmla="*/ 9243 h 95596"/>
                <a:gd name="connsiteX11" fmla="*/ 25447 w 25493"/>
                <a:gd name="connsiteY11" fmla="*/ 7369 h 95596"/>
                <a:gd name="connsiteX12" fmla="*/ 24697 w 25493"/>
                <a:gd name="connsiteY12" fmla="*/ 5620 h 95596"/>
                <a:gd name="connsiteX13" fmla="*/ 23572 w 25493"/>
                <a:gd name="connsiteY13" fmla="*/ 3745 h 95596"/>
                <a:gd name="connsiteX14" fmla="*/ 18200 w 25493"/>
                <a:gd name="connsiteY14" fmla="*/ 246 h 95596"/>
                <a:gd name="connsiteX15" fmla="*/ 6954 w 25493"/>
                <a:gd name="connsiteY15" fmla="*/ 7256 h 95596"/>
                <a:gd name="connsiteX16" fmla="*/ 6705 w 25493"/>
                <a:gd name="connsiteY16" fmla="*/ 9368 h 9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93" h="95596">
                  <a:moveTo>
                    <a:pt x="6705" y="9368"/>
                  </a:moveTo>
                  <a:lnTo>
                    <a:pt x="6705" y="14741"/>
                  </a:lnTo>
                  <a:lnTo>
                    <a:pt x="6705" y="18739"/>
                  </a:lnTo>
                  <a:lnTo>
                    <a:pt x="208" y="83088"/>
                  </a:lnTo>
                  <a:cubicBezTo>
                    <a:pt x="-904" y="88686"/>
                    <a:pt x="2556" y="94171"/>
                    <a:pt x="8079" y="95583"/>
                  </a:cubicBezTo>
                  <a:cubicBezTo>
                    <a:pt x="13315" y="95858"/>
                    <a:pt x="17787" y="91835"/>
                    <a:pt x="18063" y="86600"/>
                  </a:cubicBezTo>
                  <a:cubicBezTo>
                    <a:pt x="18075" y="86425"/>
                    <a:pt x="18075" y="86262"/>
                    <a:pt x="18075" y="86088"/>
                  </a:cubicBezTo>
                  <a:lnTo>
                    <a:pt x="18075" y="86088"/>
                  </a:lnTo>
                  <a:lnTo>
                    <a:pt x="25447" y="12367"/>
                  </a:lnTo>
                  <a:cubicBezTo>
                    <a:pt x="25447" y="12367"/>
                    <a:pt x="25447" y="12367"/>
                    <a:pt x="25447" y="11617"/>
                  </a:cubicBezTo>
                  <a:cubicBezTo>
                    <a:pt x="25509" y="10830"/>
                    <a:pt x="25509" y="10030"/>
                    <a:pt x="25447" y="9243"/>
                  </a:cubicBezTo>
                  <a:lnTo>
                    <a:pt x="25447" y="7369"/>
                  </a:lnTo>
                  <a:lnTo>
                    <a:pt x="24697" y="5620"/>
                  </a:lnTo>
                  <a:cubicBezTo>
                    <a:pt x="24372" y="4970"/>
                    <a:pt x="23997" y="4345"/>
                    <a:pt x="23572" y="3745"/>
                  </a:cubicBezTo>
                  <a:cubicBezTo>
                    <a:pt x="22261" y="1971"/>
                    <a:pt x="20349" y="722"/>
                    <a:pt x="18200" y="246"/>
                  </a:cubicBezTo>
                  <a:cubicBezTo>
                    <a:pt x="13164" y="-928"/>
                    <a:pt x="8117" y="2208"/>
                    <a:pt x="6954" y="7256"/>
                  </a:cubicBezTo>
                  <a:cubicBezTo>
                    <a:pt x="6792" y="7943"/>
                    <a:pt x="6705" y="8656"/>
                    <a:pt x="6705" y="9368"/>
                  </a:cubicBezTo>
                  <a:close/>
                </a:path>
              </a:pathLst>
            </a:custGeom>
            <a:solidFill>
              <a:srgbClr val="000000"/>
            </a:solidFill>
            <a:ln w="12483" cap="flat">
              <a:noFill/>
              <a:prstDash val="solid"/>
              <a:miter/>
            </a:ln>
          </p:spPr>
          <p:txBody>
            <a:bodyPr rtlCol="0" anchor="ctr"/>
            <a:lstStyle/>
            <a:p>
              <a:endParaRPr lang="en-US"/>
            </a:p>
          </p:txBody>
        </p:sp>
        <p:sp>
          <p:nvSpPr>
            <p:cNvPr id="1899" name="Freeform: Shape 1898">
              <a:extLst>
                <a:ext uri="{FF2B5EF4-FFF2-40B4-BE49-F238E27FC236}">
                  <a16:creationId xmlns:a16="http://schemas.microsoft.com/office/drawing/2014/main" id="{BC9B5EA4-2BA4-427A-8B23-465601961931}"/>
                </a:ext>
              </a:extLst>
            </p:cNvPr>
            <p:cNvSpPr/>
            <p:nvPr/>
          </p:nvSpPr>
          <p:spPr>
            <a:xfrm>
              <a:off x="10043190" y="5741967"/>
              <a:ext cx="34360" cy="34361"/>
            </a:xfrm>
            <a:custGeom>
              <a:avLst/>
              <a:gdLst>
                <a:gd name="connsiteX0" fmla="*/ 21866 w 34360"/>
                <a:gd name="connsiteY0" fmla="*/ 14494 h 34361"/>
                <a:gd name="connsiteX1" fmla="*/ 25989 w 34360"/>
                <a:gd name="connsiteY1" fmla="*/ 0 h 34361"/>
                <a:gd name="connsiteX2" fmla="*/ 25239 w 34360"/>
                <a:gd name="connsiteY2" fmla="*/ 0 h 34361"/>
                <a:gd name="connsiteX3" fmla="*/ 22241 w 34360"/>
                <a:gd name="connsiteY3" fmla="*/ 1749 h 34361"/>
                <a:gd name="connsiteX4" fmla="*/ 0 w 34360"/>
                <a:gd name="connsiteY4" fmla="*/ 14869 h 34361"/>
                <a:gd name="connsiteX5" fmla="*/ 11520 w 34360"/>
                <a:gd name="connsiteY5" fmla="*/ 17593 h 34361"/>
                <a:gd name="connsiteX6" fmla="*/ 12495 w 34360"/>
                <a:gd name="connsiteY6" fmla="*/ 19867 h 34361"/>
                <a:gd name="connsiteX7" fmla="*/ 8372 w 34360"/>
                <a:gd name="connsiteY7" fmla="*/ 34361 h 34361"/>
                <a:gd name="connsiteX8" fmla="*/ 34360 w 34360"/>
                <a:gd name="connsiteY8" fmla="*/ 18992 h 34361"/>
                <a:gd name="connsiteX9" fmla="*/ 22790 w 34360"/>
                <a:gd name="connsiteY9" fmla="*/ 16468 h 34361"/>
                <a:gd name="connsiteX10" fmla="*/ 21866 w 34360"/>
                <a:gd name="connsiteY10" fmla="*/ 14494 h 3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60" h="34361">
                  <a:moveTo>
                    <a:pt x="21866" y="14494"/>
                  </a:moveTo>
                  <a:cubicBezTo>
                    <a:pt x="19842" y="9284"/>
                    <a:pt x="21528" y="3361"/>
                    <a:pt x="25989" y="0"/>
                  </a:cubicBezTo>
                  <a:lnTo>
                    <a:pt x="25239" y="0"/>
                  </a:lnTo>
                  <a:lnTo>
                    <a:pt x="22241" y="1749"/>
                  </a:lnTo>
                  <a:lnTo>
                    <a:pt x="0" y="14869"/>
                  </a:lnTo>
                  <a:cubicBezTo>
                    <a:pt x="3936" y="12445"/>
                    <a:pt x="9096" y="13657"/>
                    <a:pt x="11520" y="17593"/>
                  </a:cubicBezTo>
                  <a:cubicBezTo>
                    <a:pt x="11957" y="18305"/>
                    <a:pt x="12282" y="19067"/>
                    <a:pt x="12495" y="19867"/>
                  </a:cubicBezTo>
                  <a:cubicBezTo>
                    <a:pt x="14519" y="25077"/>
                    <a:pt x="12832" y="31000"/>
                    <a:pt x="8372" y="34361"/>
                  </a:cubicBezTo>
                  <a:lnTo>
                    <a:pt x="34360" y="18992"/>
                  </a:lnTo>
                  <a:cubicBezTo>
                    <a:pt x="30475" y="21491"/>
                    <a:pt x="25289" y="20354"/>
                    <a:pt x="22790" y="16468"/>
                  </a:cubicBezTo>
                  <a:cubicBezTo>
                    <a:pt x="22403" y="15856"/>
                    <a:pt x="22091" y="15194"/>
                    <a:pt x="21866" y="14494"/>
                  </a:cubicBezTo>
                  <a:close/>
                </a:path>
              </a:pathLst>
            </a:custGeom>
            <a:solidFill>
              <a:srgbClr val="000000"/>
            </a:solidFill>
            <a:ln w="12483" cap="flat">
              <a:noFill/>
              <a:prstDash val="solid"/>
              <a:miter/>
            </a:ln>
          </p:spPr>
          <p:txBody>
            <a:bodyPr rtlCol="0" anchor="ctr"/>
            <a:lstStyle/>
            <a:p>
              <a:endParaRPr lang="en-US"/>
            </a:p>
          </p:txBody>
        </p:sp>
        <p:sp>
          <p:nvSpPr>
            <p:cNvPr id="1900" name="Freeform: Shape 1899">
              <a:extLst>
                <a:ext uri="{FF2B5EF4-FFF2-40B4-BE49-F238E27FC236}">
                  <a16:creationId xmlns:a16="http://schemas.microsoft.com/office/drawing/2014/main" id="{685621AA-92DE-47F1-8055-0A704C095A85}"/>
                </a:ext>
              </a:extLst>
            </p:cNvPr>
            <p:cNvSpPr/>
            <p:nvPr/>
          </p:nvSpPr>
          <p:spPr>
            <a:xfrm>
              <a:off x="10064208" y="5496440"/>
              <a:ext cx="430412" cy="266895"/>
            </a:xfrm>
            <a:custGeom>
              <a:avLst/>
              <a:gdLst>
                <a:gd name="connsiteX0" fmla="*/ 417918 w 430412"/>
                <a:gd name="connsiteY0" fmla="*/ 14494 h 266895"/>
                <a:gd name="connsiteX1" fmla="*/ 422041 w 430412"/>
                <a:gd name="connsiteY1" fmla="*/ 0 h 266895"/>
                <a:gd name="connsiteX2" fmla="*/ 421041 w 430412"/>
                <a:gd name="connsiteY2" fmla="*/ 0 h 266895"/>
                <a:gd name="connsiteX3" fmla="*/ 418043 w 430412"/>
                <a:gd name="connsiteY3" fmla="*/ 1875 h 266895"/>
                <a:gd name="connsiteX4" fmla="*/ 4971 w 430412"/>
                <a:gd name="connsiteY4" fmla="*/ 246152 h 266895"/>
                <a:gd name="connsiteX5" fmla="*/ 848 w 430412"/>
                <a:gd name="connsiteY5" fmla="*/ 260646 h 266895"/>
                <a:gd name="connsiteX6" fmla="*/ 11069 w 430412"/>
                <a:gd name="connsiteY6" fmla="*/ 266619 h 266895"/>
                <a:gd name="connsiteX7" fmla="*/ 13343 w 430412"/>
                <a:gd name="connsiteY7" fmla="*/ 265644 h 266895"/>
                <a:gd name="connsiteX8" fmla="*/ 430412 w 430412"/>
                <a:gd name="connsiteY8" fmla="*/ 20117 h 266895"/>
                <a:gd name="connsiteX9" fmla="*/ 418942 w 430412"/>
                <a:gd name="connsiteY9" fmla="*/ 17193 h 266895"/>
                <a:gd name="connsiteX10" fmla="*/ 417918 w 430412"/>
                <a:gd name="connsiteY10" fmla="*/ 14494 h 26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412" h="266895">
                  <a:moveTo>
                    <a:pt x="417918" y="14494"/>
                  </a:moveTo>
                  <a:cubicBezTo>
                    <a:pt x="415606" y="9297"/>
                    <a:pt x="417343" y="3199"/>
                    <a:pt x="422041" y="0"/>
                  </a:cubicBezTo>
                  <a:lnTo>
                    <a:pt x="421041" y="0"/>
                  </a:lnTo>
                  <a:lnTo>
                    <a:pt x="418043" y="1875"/>
                  </a:lnTo>
                  <a:lnTo>
                    <a:pt x="4971" y="246152"/>
                  </a:lnTo>
                  <a:cubicBezTo>
                    <a:pt x="511" y="249513"/>
                    <a:pt x="-1176" y="255436"/>
                    <a:pt x="848" y="260646"/>
                  </a:cubicBezTo>
                  <a:cubicBezTo>
                    <a:pt x="2023" y="265120"/>
                    <a:pt x="6596" y="267793"/>
                    <a:pt x="11069" y="266619"/>
                  </a:cubicBezTo>
                  <a:cubicBezTo>
                    <a:pt x="11868" y="266406"/>
                    <a:pt x="12643" y="266082"/>
                    <a:pt x="13343" y="265644"/>
                  </a:cubicBezTo>
                  <a:lnTo>
                    <a:pt x="430412" y="20117"/>
                  </a:lnTo>
                  <a:cubicBezTo>
                    <a:pt x="426439" y="22479"/>
                    <a:pt x="421304" y="21167"/>
                    <a:pt x="418942" y="17193"/>
                  </a:cubicBezTo>
                  <a:cubicBezTo>
                    <a:pt x="418443" y="16356"/>
                    <a:pt x="418105" y="15444"/>
                    <a:pt x="417918" y="14494"/>
                  </a:cubicBezTo>
                  <a:close/>
                </a:path>
              </a:pathLst>
            </a:custGeom>
            <a:solidFill>
              <a:srgbClr val="000000"/>
            </a:solidFill>
            <a:ln w="12483" cap="flat">
              <a:noFill/>
              <a:prstDash val="solid"/>
              <a:miter/>
            </a:ln>
          </p:spPr>
          <p:txBody>
            <a:bodyPr rtlCol="0" anchor="ctr"/>
            <a:lstStyle/>
            <a:p>
              <a:endParaRPr lang="en-US"/>
            </a:p>
          </p:txBody>
        </p:sp>
        <p:sp>
          <p:nvSpPr>
            <p:cNvPr id="1901" name="Freeform: Shape 1900">
              <a:extLst>
                <a:ext uri="{FF2B5EF4-FFF2-40B4-BE49-F238E27FC236}">
                  <a16:creationId xmlns:a16="http://schemas.microsoft.com/office/drawing/2014/main" id="{7F7119DD-B0F1-4893-AF58-AC1BA0F36C08}"/>
                </a:ext>
              </a:extLst>
            </p:cNvPr>
            <p:cNvSpPr/>
            <p:nvPr/>
          </p:nvSpPr>
          <p:spPr>
            <a:xfrm>
              <a:off x="10628813" y="4802107"/>
              <a:ext cx="96510" cy="68457"/>
            </a:xfrm>
            <a:custGeom>
              <a:avLst/>
              <a:gdLst>
                <a:gd name="connsiteX0" fmla="*/ 95459 w 96510"/>
                <a:gd name="connsiteY0" fmla="*/ 16853 h 68457"/>
                <a:gd name="connsiteX1" fmla="*/ 95459 w 96510"/>
                <a:gd name="connsiteY1" fmla="*/ 16853 h 68457"/>
                <a:gd name="connsiteX2" fmla="*/ 96333 w 96510"/>
                <a:gd name="connsiteY2" fmla="*/ 15104 h 68457"/>
                <a:gd name="connsiteX3" fmla="*/ 96333 w 96510"/>
                <a:gd name="connsiteY3" fmla="*/ 12855 h 68457"/>
                <a:gd name="connsiteX4" fmla="*/ 95709 w 96510"/>
                <a:gd name="connsiteY4" fmla="*/ 6358 h 68457"/>
                <a:gd name="connsiteX5" fmla="*/ 85563 w 96510"/>
                <a:gd name="connsiteY5" fmla="*/ 248 h 68457"/>
                <a:gd name="connsiteX6" fmla="*/ 83214 w 96510"/>
                <a:gd name="connsiteY6" fmla="*/ 1235 h 68457"/>
                <a:gd name="connsiteX7" fmla="*/ 78341 w 96510"/>
                <a:gd name="connsiteY7" fmla="*/ 3984 h 68457"/>
                <a:gd name="connsiteX8" fmla="*/ 0 w 96510"/>
                <a:gd name="connsiteY8" fmla="*/ 48841 h 68457"/>
                <a:gd name="connsiteX9" fmla="*/ 11607 w 96510"/>
                <a:gd name="connsiteY9" fmla="*/ 51927 h 68457"/>
                <a:gd name="connsiteX10" fmla="*/ 12495 w 96510"/>
                <a:gd name="connsiteY10" fmla="*/ 54089 h 68457"/>
                <a:gd name="connsiteX11" fmla="*/ 8121 w 96510"/>
                <a:gd name="connsiteY11" fmla="*/ 68458 h 68457"/>
                <a:gd name="connsiteX12" fmla="*/ 91460 w 96510"/>
                <a:gd name="connsiteY12" fmla="*/ 20727 h 68457"/>
                <a:gd name="connsiteX13" fmla="*/ 92460 w 96510"/>
                <a:gd name="connsiteY13" fmla="*/ 19853 h 68457"/>
                <a:gd name="connsiteX14" fmla="*/ 93959 w 96510"/>
                <a:gd name="connsiteY14" fmla="*/ 18478 h 68457"/>
                <a:gd name="connsiteX15" fmla="*/ 95459 w 96510"/>
                <a:gd name="connsiteY15" fmla="*/ 16853 h 6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10" h="68457">
                  <a:moveTo>
                    <a:pt x="95459" y="16853"/>
                  </a:moveTo>
                  <a:lnTo>
                    <a:pt x="95459" y="16853"/>
                  </a:lnTo>
                  <a:cubicBezTo>
                    <a:pt x="95796" y="16291"/>
                    <a:pt x="96096" y="15717"/>
                    <a:pt x="96333" y="15104"/>
                  </a:cubicBezTo>
                  <a:cubicBezTo>
                    <a:pt x="96396" y="14355"/>
                    <a:pt x="96396" y="13605"/>
                    <a:pt x="96333" y="12855"/>
                  </a:cubicBezTo>
                  <a:cubicBezTo>
                    <a:pt x="96708" y="10668"/>
                    <a:pt x="96483" y="8432"/>
                    <a:pt x="95709" y="6358"/>
                  </a:cubicBezTo>
                  <a:cubicBezTo>
                    <a:pt x="94596" y="1872"/>
                    <a:pt x="90049" y="-864"/>
                    <a:pt x="85563" y="248"/>
                  </a:cubicBezTo>
                  <a:cubicBezTo>
                    <a:pt x="84738" y="460"/>
                    <a:pt x="83939" y="785"/>
                    <a:pt x="83214" y="1235"/>
                  </a:cubicBezTo>
                  <a:lnTo>
                    <a:pt x="78341" y="3984"/>
                  </a:lnTo>
                  <a:lnTo>
                    <a:pt x="0" y="48841"/>
                  </a:lnTo>
                  <a:cubicBezTo>
                    <a:pt x="4061" y="46492"/>
                    <a:pt x="9258" y="47866"/>
                    <a:pt x="11607" y="51927"/>
                  </a:cubicBezTo>
                  <a:cubicBezTo>
                    <a:pt x="12007" y="52602"/>
                    <a:pt x="12307" y="53326"/>
                    <a:pt x="12495" y="54089"/>
                  </a:cubicBezTo>
                  <a:cubicBezTo>
                    <a:pt x="14394" y="59324"/>
                    <a:pt x="12619" y="65172"/>
                    <a:pt x="8121" y="68458"/>
                  </a:cubicBezTo>
                  <a:lnTo>
                    <a:pt x="91460" y="20727"/>
                  </a:lnTo>
                  <a:cubicBezTo>
                    <a:pt x="91460" y="20727"/>
                    <a:pt x="91460" y="20102"/>
                    <a:pt x="92460" y="19853"/>
                  </a:cubicBezTo>
                  <a:cubicBezTo>
                    <a:pt x="93022" y="19465"/>
                    <a:pt x="93522" y="19003"/>
                    <a:pt x="93959" y="18478"/>
                  </a:cubicBezTo>
                  <a:cubicBezTo>
                    <a:pt x="94534" y="18016"/>
                    <a:pt x="95046" y="17466"/>
                    <a:pt x="95459" y="16853"/>
                  </a:cubicBezTo>
                  <a:close/>
                </a:path>
              </a:pathLst>
            </a:custGeom>
            <a:solidFill>
              <a:srgbClr val="000000"/>
            </a:solidFill>
            <a:ln w="12483" cap="flat">
              <a:noFill/>
              <a:prstDash val="solid"/>
              <a:miter/>
            </a:ln>
          </p:spPr>
          <p:txBody>
            <a:bodyPr rtlCol="0" anchor="ctr"/>
            <a:lstStyle/>
            <a:p>
              <a:endParaRPr lang="en-US"/>
            </a:p>
          </p:txBody>
        </p:sp>
        <p:sp>
          <p:nvSpPr>
            <p:cNvPr id="1902" name="Freeform: Shape 1901">
              <a:extLst>
                <a:ext uri="{FF2B5EF4-FFF2-40B4-BE49-F238E27FC236}">
                  <a16:creationId xmlns:a16="http://schemas.microsoft.com/office/drawing/2014/main" id="{636108CE-0173-4D57-A502-8F4C6DAA597F}"/>
                </a:ext>
              </a:extLst>
            </p:cNvPr>
            <p:cNvSpPr/>
            <p:nvPr/>
          </p:nvSpPr>
          <p:spPr>
            <a:xfrm>
              <a:off x="10564840" y="4849044"/>
              <a:ext cx="77734" cy="57755"/>
            </a:xfrm>
            <a:custGeom>
              <a:avLst/>
              <a:gdLst>
                <a:gd name="connsiteX0" fmla="*/ 77092 w 77734"/>
                <a:gd name="connsiteY0" fmla="*/ 6401 h 57755"/>
                <a:gd name="connsiteX1" fmla="*/ 66759 w 77734"/>
                <a:gd name="connsiteY1" fmla="*/ 266 h 57755"/>
                <a:gd name="connsiteX2" fmla="*/ 64597 w 77734"/>
                <a:gd name="connsiteY2" fmla="*/ 1153 h 57755"/>
                <a:gd name="connsiteX3" fmla="*/ 63348 w 77734"/>
                <a:gd name="connsiteY3" fmla="*/ 1903 h 57755"/>
                <a:gd name="connsiteX4" fmla="*/ 60349 w 77734"/>
                <a:gd name="connsiteY4" fmla="*/ 3653 h 57755"/>
                <a:gd name="connsiteX5" fmla="*/ 0 w 77734"/>
                <a:gd name="connsiteY5" fmla="*/ 38139 h 57755"/>
                <a:gd name="connsiteX6" fmla="*/ 11495 w 77734"/>
                <a:gd name="connsiteY6" fmla="*/ 40950 h 57755"/>
                <a:gd name="connsiteX7" fmla="*/ 12495 w 77734"/>
                <a:gd name="connsiteY7" fmla="*/ 43387 h 57755"/>
                <a:gd name="connsiteX8" fmla="*/ 8246 w 77734"/>
                <a:gd name="connsiteY8" fmla="*/ 57756 h 57755"/>
                <a:gd name="connsiteX9" fmla="*/ 72844 w 77734"/>
                <a:gd name="connsiteY9" fmla="*/ 20271 h 57755"/>
                <a:gd name="connsiteX10" fmla="*/ 77092 w 77734"/>
                <a:gd name="connsiteY10" fmla="*/ 6401 h 5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34" h="57755">
                  <a:moveTo>
                    <a:pt x="77092" y="6401"/>
                  </a:moveTo>
                  <a:cubicBezTo>
                    <a:pt x="75930" y="1853"/>
                    <a:pt x="71307" y="-896"/>
                    <a:pt x="66759" y="266"/>
                  </a:cubicBezTo>
                  <a:cubicBezTo>
                    <a:pt x="65997" y="466"/>
                    <a:pt x="65272" y="766"/>
                    <a:pt x="64597" y="1153"/>
                  </a:cubicBezTo>
                  <a:lnTo>
                    <a:pt x="63348" y="1903"/>
                  </a:lnTo>
                  <a:lnTo>
                    <a:pt x="60349" y="3653"/>
                  </a:lnTo>
                  <a:lnTo>
                    <a:pt x="0" y="38139"/>
                  </a:lnTo>
                  <a:cubicBezTo>
                    <a:pt x="3948" y="35740"/>
                    <a:pt x="9096" y="37002"/>
                    <a:pt x="11495" y="40950"/>
                  </a:cubicBezTo>
                  <a:cubicBezTo>
                    <a:pt x="11957" y="41700"/>
                    <a:pt x="12295" y="42524"/>
                    <a:pt x="12495" y="43387"/>
                  </a:cubicBezTo>
                  <a:cubicBezTo>
                    <a:pt x="14719" y="48572"/>
                    <a:pt x="12932" y="54607"/>
                    <a:pt x="8246" y="57756"/>
                  </a:cubicBezTo>
                  <a:lnTo>
                    <a:pt x="72844" y="20271"/>
                  </a:lnTo>
                  <a:cubicBezTo>
                    <a:pt x="77067" y="17022"/>
                    <a:pt x="78779" y="11462"/>
                    <a:pt x="77092" y="6401"/>
                  </a:cubicBezTo>
                  <a:close/>
                </a:path>
              </a:pathLst>
            </a:custGeom>
            <a:solidFill>
              <a:srgbClr val="000000"/>
            </a:solidFill>
            <a:ln w="12483" cap="flat">
              <a:noFill/>
              <a:prstDash val="solid"/>
              <a:miter/>
            </a:ln>
          </p:spPr>
          <p:txBody>
            <a:bodyPr rtlCol="0" anchor="ctr"/>
            <a:lstStyle/>
            <a:p>
              <a:endParaRPr lang="en-US"/>
            </a:p>
          </p:txBody>
        </p:sp>
        <p:sp>
          <p:nvSpPr>
            <p:cNvPr id="1903" name="Freeform: Shape 1902">
              <a:extLst>
                <a:ext uri="{FF2B5EF4-FFF2-40B4-BE49-F238E27FC236}">
                  <a16:creationId xmlns:a16="http://schemas.microsoft.com/office/drawing/2014/main" id="{D2C81462-9922-42D1-936C-0AC750DAA0BB}"/>
                </a:ext>
              </a:extLst>
            </p:cNvPr>
            <p:cNvSpPr/>
            <p:nvPr/>
          </p:nvSpPr>
          <p:spPr>
            <a:xfrm>
              <a:off x="10420403" y="4886463"/>
              <a:ext cx="157730" cy="103429"/>
            </a:xfrm>
            <a:custGeom>
              <a:avLst/>
              <a:gdLst>
                <a:gd name="connsiteX0" fmla="*/ 156807 w 157730"/>
                <a:gd name="connsiteY0" fmla="*/ 6468 h 103429"/>
                <a:gd name="connsiteX1" fmla="*/ 146749 w 157730"/>
                <a:gd name="connsiteY1" fmla="*/ 221 h 103429"/>
                <a:gd name="connsiteX2" fmla="*/ 144313 w 157730"/>
                <a:gd name="connsiteY2" fmla="*/ 1220 h 103429"/>
                <a:gd name="connsiteX3" fmla="*/ 141564 w 157730"/>
                <a:gd name="connsiteY3" fmla="*/ 2844 h 103429"/>
                <a:gd name="connsiteX4" fmla="*/ 0 w 157730"/>
                <a:gd name="connsiteY4" fmla="*/ 83937 h 103429"/>
                <a:gd name="connsiteX5" fmla="*/ 11508 w 157730"/>
                <a:gd name="connsiteY5" fmla="*/ 86711 h 103429"/>
                <a:gd name="connsiteX6" fmla="*/ 12495 w 157730"/>
                <a:gd name="connsiteY6" fmla="*/ 89060 h 103429"/>
                <a:gd name="connsiteX7" fmla="*/ 8122 w 157730"/>
                <a:gd name="connsiteY7" fmla="*/ 103429 h 103429"/>
                <a:gd name="connsiteX8" fmla="*/ 152434 w 157730"/>
                <a:gd name="connsiteY8" fmla="*/ 20837 h 103429"/>
                <a:gd name="connsiteX9" fmla="*/ 156807 w 157730"/>
                <a:gd name="connsiteY9" fmla="*/ 6468 h 1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730" h="103429">
                  <a:moveTo>
                    <a:pt x="156807" y="6468"/>
                  </a:moveTo>
                  <a:cubicBezTo>
                    <a:pt x="155758" y="1970"/>
                    <a:pt x="151247" y="-829"/>
                    <a:pt x="146749" y="221"/>
                  </a:cubicBezTo>
                  <a:cubicBezTo>
                    <a:pt x="145887" y="433"/>
                    <a:pt x="145063" y="758"/>
                    <a:pt x="144313" y="1220"/>
                  </a:cubicBezTo>
                  <a:lnTo>
                    <a:pt x="141564" y="2844"/>
                  </a:lnTo>
                  <a:lnTo>
                    <a:pt x="0" y="83937"/>
                  </a:lnTo>
                  <a:cubicBezTo>
                    <a:pt x="3948" y="81525"/>
                    <a:pt x="9096" y="82762"/>
                    <a:pt x="11508" y="86711"/>
                  </a:cubicBezTo>
                  <a:cubicBezTo>
                    <a:pt x="11957" y="87436"/>
                    <a:pt x="12282" y="88236"/>
                    <a:pt x="12495" y="89060"/>
                  </a:cubicBezTo>
                  <a:cubicBezTo>
                    <a:pt x="14394" y="94295"/>
                    <a:pt x="12620" y="100143"/>
                    <a:pt x="8122" y="103429"/>
                  </a:cubicBezTo>
                  <a:lnTo>
                    <a:pt x="152434" y="20837"/>
                  </a:lnTo>
                  <a:cubicBezTo>
                    <a:pt x="157170" y="17726"/>
                    <a:pt x="159006" y="11691"/>
                    <a:pt x="156807" y="6468"/>
                  </a:cubicBezTo>
                  <a:close/>
                </a:path>
              </a:pathLst>
            </a:custGeom>
            <a:solidFill>
              <a:srgbClr val="000000"/>
            </a:solidFill>
            <a:ln w="12483" cap="flat">
              <a:noFill/>
              <a:prstDash val="solid"/>
              <a:miter/>
            </a:ln>
          </p:spPr>
          <p:txBody>
            <a:bodyPr rtlCol="0" anchor="ctr"/>
            <a:lstStyle/>
            <a:p>
              <a:endParaRPr lang="en-US"/>
            </a:p>
          </p:txBody>
        </p:sp>
        <p:sp>
          <p:nvSpPr>
            <p:cNvPr id="1904" name="Freeform: Shape 1903">
              <a:extLst>
                <a:ext uri="{FF2B5EF4-FFF2-40B4-BE49-F238E27FC236}">
                  <a16:creationId xmlns:a16="http://schemas.microsoft.com/office/drawing/2014/main" id="{D6636422-35A9-48EB-9D7C-219BFADCB582}"/>
                </a:ext>
              </a:extLst>
            </p:cNvPr>
            <p:cNvSpPr/>
            <p:nvPr/>
          </p:nvSpPr>
          <p:spPr>
            <a:xfrm>
              <a:off x="10322494" y="4969040"/>
              <a:ext cx="111184" cy="74868"/>
            </a:xfrm>
            <a:custGeom>
              <a:avLst/>
              <a:gdLst>
                <a:gd name="connsiteX0" fmla="*/ 110528 w 111184"/>
                <a:gd name="connsiteY0" fmla="*/ 6358 h 74868"/>
                <a:gd name="connsiteX1" fmla="*/ 100382 w 111184"/>
                <a:gd name="connsiteY1" fmla="*/ 248 h 74868"/>
                <a:gd name="connsiteX2" fmla="*/ 98033 w 111184"/>
                <a:gd name="connsiteY2" fmla="*/ 1235 h 74868"/>
                <a:gd name="connsiteX3" fmla="*/ 96909 w 111184"/>
                <a:gd name="connsiteY3" fmla="*/ 1860 h 74868"/>
                <a:gd name="connsiteX4" fmla="*/ 93910 w 111184"/>
                <a:gd name="connsiteY4" fmla="*/ 3609 h 74868"/>
                <a:gd name="connsiteX5" fmla="*/ 5198 w 111184"/>
                <a:gd name="connsiteY5" fmla="*/ 54339 h 74868"/>
                <a:gd name="connsiteX6" fmla="*/ 950 w 111184"/>
                <a:gd name="connsiteY6" fmla="*/ 68708 h 74868"/>
                <a:gd name="connsiteX7" fmla="*/ 11233 w 111184"/>
                <a:gd name="connsiteY7" fmla="*/ 74568 h 74868"/>
                <a:gd name="connsiteX8" fmla="*/ 12820 w 111184"/>
                <a:gd name="connsiteY8" fmla="*/ 73956 h 74868"/>
                <a:gd name="connsiteX9" fmla="*/ 105655 w 111184"/>
                <a:gd name="connsiteY9" fmla="*/ 20727 h 74868"/>
                <a:gd name="connsiteX10" fmla="*/ 110528 w 111184"/>
                <a:gd name="connsiteY10" fmla="*/ 6358 h 7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184" h="74868">
                  <a:moveTo>
                    <a:pt x="110528" y="6358"/>
                  </a:moveTo>
                  <a:cubicBezTo>
                    <a:pt x="109416" y="1872"/>
                    <a:pt x="104868" y="-864"/>
                    <a:pt x="100382" y="248"/>
                  </a:cubicBezTo>
                  <a:cubicBezTo>
                    <a:pt x="99558" y="460"/>
                    <a:pt x="98758" y="785"/>
                    <a:pt x="98033" y="1235"/>
                  </a:cubicBezTo>
                  <a:lnTo>
                    <a:pt x="96909" y="1860"/>
                  </a:lnTo>
                  <a:lnTo>
                    <a:pt x="93910" y="3609"/>
                  </a:lnTo>
                  <a:lnTo>
                    <a:pt x="5198" y="54339"/>
                  </a:lnTo>
                  <a:cubicBezTo>
                    <a:pt x="513" y="57487"/>
                    <a:pt x="-1274" y="63522"/>
                    <a:pt x="950" y="68708"/>
                  </a:cubicBezTo>
                  <a:cubicBezTo>
                    <a:pt x="2175" y="73169"/>
                    <a:pt x="6773" y="75793"/>
                    <a:pt x="11233" y="74568"/>
                  </a:cubicBezTo>
                  <a:cubicBezTo>
                    <a:pt x="11783" y="74418"/>
                    <a:pt x="12320" y="74218"/>
                    <a:pt x="12820" y="73956"/>
                  </a:cubicBezTo>
                  <a:lnTo>
                    <a:pt x="105655" y="20727"/>
                  </a:lnTo>
                  <a:cubicBezTo>
                    <a:pt x="110340" y="17591"/>
                    <a:pt x="112327" y="11693"/>
                    <a:pt x="110528" y="6358"/>
                  </a:cubicBezTo>
                  <a:close/>
                </a:path>
              </a:pathLst>
            </a:custGeom>
            <a:solidFill>
              <a:srgbClr val="000000"/>
            </a:solidFill>
            <a:ln w="12483" cap="flat">
              <a:noFill/>
              <a:prstDash val="solid"/>
              <a:miter/>
            </a:ln>
          </p:spPr>
          <p:txBody>
            <a:bodyPr rtlCol="0" anchor="ctr"/>
            <a:lstStyle/>
            <a:p>
              <a:endParaRPr lang="en-US"/>
            </a:p>
          </p:txBody>
        </p:sp>
        <p:sp>
          <p:nvSpPr>
            <p:cNvPr id="1905" name="Freeform: Shape 1904">
              <a:extLst>
                <a:ext uri="{FF2B5EF4-FFF2-40B4-BE49-F238E27FC236}">
                  <a16:creationId xmlns:a16="http://schemas.microsoft.com/office/drawing/2014/main" id="{AC5E477E-8EC5-447F-83CB-3CEF34BECBF5}"/>
                </a:ext>
              </a:extLst>
            </p:cNvPr>
            <p:cNvSpPr/>
            <p:nvPr/>
          </p:nvSpPr>
          <p:spPr>
            <a:xfrm>
              <a:off x="9680833" y="6570887"/>
              <a:ext cx="27002" cy="301379"/>
            </a:xfrm>
            <a:custGeom>
              <a:avLst/>
              <a:gdLst>
                <a:gd name="connsiteX0" fmla="*/ 9385 w 27002"/>
                <a:gd name="connsiteY0" fmla="*/ 11245 h 301379"/>
                <a:gd name="connsiteX1" fmla="*/ 14 w 27002"/>
                <a:gd name="connsiteY1" fmla="*/ 750 h 301379"/>
                <a:gd name="connsiteX2" fmla="*/ 9010 w 27002"/>
                <a:gd name="connsiteY2" fmla="*/ 301379 h 301379"/>
                <a:gd name="connsiteX3" fmla="*/ 27002 w 27002"/>
                <a:gd name="connsiteY3" fmla="*/ 301379 h 301379"/>
                <a:gd name="connsiteX4" fmla="*/ 18006 w 27002"/>
                <a:gd name="connsiteY4" fmla="*/ 0 h 301379"/>
                <a:gd name="connsiteX5" fmla="*/ 9385 w 27002"/>
                <a:gd name="connsiteY5" fmla="*/ 11245 h 301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02" h="301379">
                  <a:moveTo>
                    <a:pt x="9385" y="11245"/>
                  </a:moveTo>
                  <a:cubicBezTo>
                    <a:pt x="3912" y="10908"/>
                    <a:pt x="-273" y="6222"/>
                    <a:pt x="14" y="750"/>
                  </a:cubicBezTo>
                  <a:lnTo>
                    <a:pt x="9010" y="301379"/>
                  </a:lnTo>
                  <a:lnTo>
                    <a:pt x="27002" y="301379"/>
                  </a:lnTo>
                  <a:lnTo>
                    <a:pt x="18006" y="0"/>
                  </a:lnTo>
                  <a:cubicBezTo>
                    <a:pt x="18543" y="5435"/>
                    <a:pt x="14770" y="10346"/>
                    <a:pt x="9385" y="11245"/>
                  </a:cubicBezTo>
                  <a:close/>
                </a:path>
              </a:pathLst>
            </a:custGeom>
            <a:solidFill>
              <a:srgbClr val="000000"/>
            </a:solidFill>
            <a:ln w="12483" cap="flat">
              <a:noFill/>
              <a:prstDash val="solid"/>
              <a:miter/>
            </a:ln>
          </p:spPr>
          <p:txBody>
            <a:bodyPr rtlCol="0" anchor="ctr"/>
            <a:lstStyle/>
            <a:p>
              <a:endParaRPr lang="en-US"/>
            </a:p>
          </p:txBody>
        </p:sp>
        <p:sp>
          <p:nvSpPr>
            <p:cNvPr id="1906" name="Freeform: Shape 1905">
              <a:extLst>
                <a:ext uri="{FF2B5EF4-FFF2-40B4-BE49-F238E27FC236}">
                  <a16:creationId xmlns:a16="http://schemas.microsoft.com/office/drawing/2014/main" id="{2B217718-7CD5-45A0-BC06-60A887B92460}"/>
                </a:ext>
              </a:extLst>
            </p:cNvPr>
            <p:cNvSpPr/>
            <p:nvPr/>
          </p:nvSpPr>
          <p:spPr>
            <a:xfrm>
              <a:off x="9680297" y="6518158"/>
              <a:ext cx="19093" cy="63974"/>
            </a:xfrm>
            <a:custGeom>
              <a:avLst/>
              <a:gdLst>
                <a:gd name="connsiteX0" fmla="*/ 17294 w 19093"/>
                <a:gd name="connsiteY0" fmla="*/ 10496 h 63974"/>
                <a:gd name="connsiteX1" fmla="*/ 17294 w 19093"/>
                <a:gd name="connsiteY1" fmla="*/ 9121 h 63974"/>
                <a:gd name="connsiteX2" fmla="*/ 17294 w 19093"/>
                <a:gd name="connsiteY2" fmla="*/ 6997 h 63974"/>
                <a:gd name="connsiteX3" fmla="*/ 16419 w 19093"/>
                <a:gd name="connsiteY3" fmla="*/ 5123 h 63974"/>
                <a:gd name="connsiteX4" fmla="*/ 8672 w 19093"/>
                <a:gd name="connsiteY4" fmla="*/ 0 h 63974"/>
                <a:gd name="connsiteX5" fmla="*/ 51 w 19093"/>
                <a:gd name="connsiteY5" fmla="*/ 11245 h 63974"/>
                <a:gd name="connsiteX6" fmla="*/ 51 w 19093"/>
                <a:gd name="connsiteY6" fmla="*/ 18243 h 63974"/>
                <a:gd name="connsiteX7" fmla="*/ 1050 w 19093"/>
                <a:gd name="connsiteY7" fmla="*/ 53479 h 63974"/>
                <a:gd name="connsiteX8" fmla="*/ 10421 w 19093"/>
                <a:gd name="connsiteY8" fmla="*/ 63974 h 63974"/>
                <a:gd name="connsiteX9" fmla="*/ 19043 w 19093"/>
                <a:gd name="connsiteY9" fmla="*/ 52729 h 63974"/>
                <a:gd name="connsiteX10" fmla="*/ 19043 w 19093"/>
                <a:gd name="connsiteY10" fmla="*/ 45607 h 6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93" h="63974">
                  <a:moveTo>
                    <a:pt x="17294" y="10496"/>
                  </a:moveTo>
                  <a:cubicBezTo>
                    <a:pt x="17294" y="10496"/>
                    <a:pt x="17294" y="9496"/>
                    <a:pt x="17294" y="9121"/>
                  </a:cubicBezTo>
                  <a:cubicBezTo>
                    <a:pt x="17368" y="8409"/>
                    <a:pt x="17368" y="7709"/>
                    <a:pt x="17294" y="6997"/>
                  </a:cubicBezTo>
                  <a:cubicBezTo>
                    <a:pt x="17131" y="6322"/>
                    <a:pt x="16831" y="5685"/>
                    <a:pt x="16419" y="5123"/>
                  </a:cubicBezTo>
                  <a:cubicBezTo>
                    <a:pt x="15082" y="2024"/>
                    <a:pt x="12046" y="25"/>
                    <a:pt x="8672" y="0"/>
                  </a:cubicBezTo>
                  <a:cubicBezTo>
                    <a:pt x="3287" y="900"/>
                    <a:pt x="-486" y="5810"/>
                    <a:pt x="51" y="11245"/>
                  </a:cubicBezTo>
                  <a:lnTo>
                    <a:pt x="51" y="18243"/>
                  </a:lnTo>
                  <a:lnTo>
                    <a:pt x="1050" y="53479"/>
                  </a:lnTo>
                  <a:cubicBezTo>
                    <a:pt x="763" y="58951"/>
                    <a:pt x="4949" y="63637"/>
                    <a:pt x="10421" y="63974"/>
                  </a:cubicBezTo>
                  <a:cubicBezTo>
                    <a:pt x="15806" y="63075"/>
                    <a:pt x="19580" y="58164"/>
                    <a:pt x="19043" y="52729"/>
                  </a:cubicBezTo>
                  <a:lnTo>
                    <a:pt x="19043" y="45607"/>
                  </a:lnTo>
                  <a:close/>
                </a:path>
              </a:pathLst>
            </a:custGeom>
            <a:solidFill>
              <a:srgbClr val="000000"/>
            </a:solidFill>
            <a:ln w="12483" cap="flat">
              <a:noFill/>
              <a:prstDash val="solid"/>
              <a:miter/>
            </a:ln>
          </p:spPr>
          <p:txBody>
            <a:bodyPr rtlCol="0" anchor="ctr"/>
            <a:lstStyle/>
            <a:p>
              <a:endParaRPr lang="en-US"/>
            </a:p>
          </p:txBody>
        </p:sp>
        <p:sp>
          <p:nvSpPr>
            <p:cNvPr id="1907" name="Freeform: Shape 1906">
              <a:extLst>
                <a:ext uri="{FF2B5EF4-FFF2-40B4-BE49-F238E27FC236}">
                  <a16:creationId xmlns:a16="http://schemas.microsoft.com/office/drawing/2014/main" id="{49D7103E-CB85-4A51-991E-7461F67A88E6}"/>
                </a:ext>
              </a:extLst>
            </p:cNvPr>
            <p:cNvSpPr/>
            <p:nvPr/>
          </p:nvSpPr>
          <p:spPr>
            <a:xfrm>
              <a:off x="8273955" y="5844342"/>
              <a:ext cx="75886" cy="55937"/>
            </a:xfrm>
            <a:custGeom>
              <a:avLst/>
              <a:gdLst>
                <a:gd name="connsiteX0" fmla="*/ 11870 w 75886"/>
                <a:gd name="connsiteY0" fmla="*/ 41568 h 55937"/>
                <a:gd name="connsiteX1" fmla="*/ 7622 w 75886"/>
                <a:gd name="connsiteY1" fmla="*/ 55937 h 55937"/>
                <a:gd name="connsiteX2" fmla="*/ 64347 w 75886"/>
                <a:gd name="connsiteY2" fmla="*/ 23950 h 55937"/>
                <a:gd name="connsiteX3" fmla="*/ 70719 w 75886"/>
                <a:gd name="connsiteY3" fmla="*/ 20326 h 55937"/>
                <a:gd name="connsiteX4" fmla="*/ 75093 w 75886"/>
                <a:gd name="connsiteY4" fmla="*/ 5832 h 55937"/>
                <a:gd name="connsiteX5" fmla="*/ 73468 w 75886"/>
                <a:gd name="connsiteY5" fmla="*/ 3208 h 55937"/>
                <a:gd name="connsiteX6" fmla="*/ 72094 w 75886"/>
                <a:gd name="connsiteY6" fmla="*/ 1709 h 55937"/>
                <a:gd name="connsiteX7" fmla="*/ 70595 w 75886"/>
                <a:gd name="connsiteY7" fmla="*/ 709 h 55937"/>
                <a:gd name="connsiteX8" fmla="*/ 68970 w 75886"/>
                <a:gd name="connsiteY8" fmla="*/ 84 h 55937"/>
                <a:gd name="connsiteX9" fmla="*/ 67346 w 75886"/>
                <a:gd name="connsiteY9" fmla="*/ 84 h 55937"/>
                <a:gd name="connsiteX10" fmla="*/ 65722 w 75886"/>
                <a:gd name="connsiteY10" fmla="*/ 84 h 55937"/>
                <a:gd name="connsiteX11" fmla="*/ 63847 w 75886"/>
                <a:gd name="connsiteY11" fmla="*/ 84 h 55937"/>
                <a:gd name="connsiteX12" fmla="*/ 63098 w 75886"/>
                <a:gd name="connsiteY12" fmla="*/ 84 h 55937"/>
                <a:gd name="connsiteX13" fmla="*/ 11120 w 75886"/>
                <a:gd name="connsiteY13" fmla="*/ 29323 h 55937"/>
                <a:gd name="connsiteX14" fmla="*/ 0 w 75886"/>
                <a:gd name="connsiteY14" fmla="*/ 35570 h 55937"/>
                <a:gd name="connsiteX15" fmla="*/ 11183 w 75886"/>
                <a:gd name="connsiteY15" fmla="*/ 39469 h 55937"/>
                <a:gd name="connsiteX16" fmla="*/ 11870 w 75886"/>
                <a:gd name="connsiteY16" fmla="*/ 41568 h 5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886" h="55937">
                  <a:moveTo>
                    <a:pt x="11870" y="41568"/>
                  </a:moveTo>
                  <a:cubicBezTo>
                    <a:pt x="14094" y="46753"/>
                    <a:pt x="12307" y="52789"/>
                    <a:pt x="7622" y="55937"/>
                  </a:cubicBezTo>
                  <a:lnTo>
                    <a:pt x="64347" y="23950"/>
                  </a:lnTo>
                  <a:lnTo>
                    <a:pt x="70719" y="20326"/>
                  </a:lnTo>
                  <a:cubicBezTo>
                    <a:pt x="75268" y="17028"/>
                    <a:pt x="77067" y="11093"/>
                    <a:pt x="75093" y="5832"/>
                  </a:cubicBezTo>
                  <a:cubicBezTo>
                    <a:pt x="74705" y="4870"/>
                    <a:pt x="74156" y="3983"/>
                    <a:pt x="73468" y="3208"/>
                  </a:cubicBezTo>
                  <a:lnTo>
                    <a:pt x="72094" y="1709"/>
                  </a:lnTo>
                  <a:lnTo>
                    <a:pt x="70595" y="709"/>
                  </a:lnTo>
                  <a:lnTo>
                    <a:pt x="68970" y="84"/>
                  </a:lnTo>
                  <a:lnTo>
                    <a:pt x="67346" y="84"/>
                  </a:lnTo>
                  <a:lnTo>
                    <a:pt x="65722" y="84"/>
                  </a:lnTo>
                  <a:cubicBezTo>
                    <a:pt x="65097" y="-28"/>
                    <a:pt x="64472" y="-28"/>
                    <a:pt x="63847" y="84"/>
                  </a:cubicBezTo>
                  <a:cubicBezTo>
                    <a:pt x="63847" y="84"/>
                    <a:pt x="63847" y="84"/>
                    <a:pt x="63098" y="84"/>
                  </a:cubicBezTo>
                  <a:lnTo>
                    <a:pt x="11120" y="29323"/>
                  </a:lnTo>
                  <a:lnTo>
                    <a:pt x="0" y="35570"/>
                  </a:lnTo>
                  <a:cubicBezTo>
                    <a:pt x="4161" y="33559"/>
                    <a:pt x="9171" y="35308"/>
                    <a:pt x="11183" y="39469"/>
                  </a:cubicBezTo>
                  <a:cubicBezTo>
                    <a:pt x="11495" y="40131"/>
                    <a:pt x="11733" y="40843"/>
                    <a:pt x="11870" y="41568"/>
                  </a:cubicBezTo>
                  <a:close/>
                </a:path>
              </a:pathLst>
            </a:custGeom>
            <a:solidFill>
              <a:srgbClr val="000000"/>
            </a:solidFill>
            <a:ln w="12483" cap="flat">
              <a:noFill/>
              <a:prstDash val="solid"/>
              <a:miter/>
            </a:ln>
          </p:spPr>
          <p:txBody>
            <a:bodyPr rtlCol="0" anchor="ctr"/>
            <a:lstStyle/>
            <a:p>
              <a:endParaRPr lang="en-US"/>
            </a:p>
          </p:txBody>
        </p:sp>
        <p:sp>
          <p:nvSpPr>
            <p:cNvPr id="1908" name="Freeform: Shape 1907">
              <a:extLst>
                <a:ext uri="{FF2B5EF4-FFF2-40B4-BE49-F238E27FC236}">
                  <a16:creationId xmlns:a16="http://schemas.microsoft.com/office/drawing/2014/main" id="{00047996-90CF-48D7-BF28-26B619C10420}"/>
                </a:ext>
              </a:extLst>
            </p:cNvPr>
            <p:cNvSpPr/>
            <p:nvPr/>
          </p:nvSpPr>
          <p:spPr>
            <a:xfrm>
              <a:off x="8263263" y="5879338"/>
              <a:ext cx="23579" cy="25034"/>
            </a:xfrm>
            <a:custGeom>
              <a:avLst/>
              <a:gdLst>
                <a:gd name="connsiteX0" fmla="*/ 22562 w 23579"/>
                <a:gd name="connsiteY0" fmla="*/ 6572 h 25034"/>
                <a:gd name="connsiteX1" fmla="*/ 12592 w 23579"/>
                <a:gd name="connsiteY1" fmla="*/ 199 h 25034"/>
                <a:gd name="connsiteX2" fmla="*/ 10068 w 23579"/>
                <a:gd name="connsiteY2" fmla="*/ 1199 h 25034"/>
                <a:gd name="connsiteX3" fmla="*/ 10068 w 23579"/>
                <a:gd name="connsiteY3" fmla="*/ 1199 h 25034"/>
                <a:gd name="connsiteX4" fmla="*/ 5070 w 23579"/>
                <a:gd name="connsiteY4" fmla="*/ 4073 h 25034"/>
                <a:gd name="connsiteX5" fmla="*/ 5070 w 23579"/>
                <a:gd name="connsiteY5" fmla="*/ 4073 h 25034"/>
                <a:gd name="connsiteX6" fmla="*/ 822 w 23579"/>
                <a:gd name="connsiteY6" fmla="*/ 18567 h 25034"/>
                <a:gd name="connsiteX7" fmla="*/ 10880 w 23579"/>
                <a:gd name="connsiteY7" fmla="*/ 24814 h 25034"/>
                <a:gd name="connsiteX8" fmla="*/ 13316 w 23579"/>
                <a:gd name="connsiteY8" fmla="*/ 23815 h 25034"/>
                <a:gd name="connsiteX9" fmla="*/ 13316 w 23579"/>
                <a:gd name="connsiteY9" fmla="*/ 23815 h 25034"/>
                <a:gd name="connsiteX10" fmla="*/ 18439 w 23579"/>
                <a:gd name="connsiteY10" fmla="*/ 21066 h 25034"/>
                <a:gd name="connsiteX11" fmla="*/ 22562 w 23579"/>
                <a:gd name="connsiteY11" fmla="*/ 6572 h 2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79" h="25034">
                  <a:moveTo>
                    <a:pt x="22562" y="6572"/>
                  </a:moveTo>
                  <a:cubicBezTo>
                    <a:pt x="21575" y="2061"/>
                    <a:pt x="17102" y="-800"/>
                    <a:pt x="12592" y="199"/>
                  </a:cubicBezTo>
                  <a:cubicBezTo>
                    <a:pt x="11705" y="387"/>
                    <a:pt x="10842" y="724"/>
                    <a:pt x="10068" y="1199"/>
                  </a:cubicBezTo>
                  <a:lnTo>
                    <a:pt x="10068" y="1199"/>
                  </a:lnTo>
                  <a:lnTo>
                    <a:pt x="5070" y="4073"/>
                  </a:lnTo>
                  <a:lnTo>
                    <a:pt x="5070" y="4073"/>
                  </a:lnTo>
                  <a:cubicBezTo>
                    <a:pt x="559" y="7409"/>
                    <a:pt x="-1177" y="13331"/>
                    <a:pt x="822" y="18567"/>
                  </a:cubicBezTo>
                  <a:cubicBezTo>
                    <a:pt x="1871" y="23065"/>
                    <a:pt x="6382" y="25864"/>
                    <a:pt x="10880" y="24814"/>
                  </a:cubicBezTo>
                  <a:cubicBezTo>
                    <a:pt x="11742" y="24602"/>
                    <a:pt x="12567" y="24277"/>
                    <a:pt x="13316" y="23815"/>
                  </a:cubicBezTo>
                  <a:lnTo>
                    <a:pt x="13316" y="23815"/>
                  </a:lnTo>
                  <a:lnTo>
                    <a:pt x="18439" y="21066"/>
                  </a:lnTo>
                  <a:cubicBezTo>
                    <a:pt x="23137" y="17867"/>
                    <a:pt x="24874" y="11769"/>
                    <a:pt x="22562" y="6572"/>
                  </a:cubicBezTo>
                  <a:close/>
                </a:path>
              </a:pathLst>
            </a:custGeom>
            <a:solidFill>
              <a:srgbClr val="000000"/>
            </a:solidFill>
            <a:ln w="12483" cap="flat">
              <a:noFill/>
              <a:prstDash val="solid"/>
              <a:miter/>
            </a:ln>
          </p:spPr>
          <p:txBody>
            <a:bodyPr rtlCol="0" anchor="ctr"/>
            <a:lstStyle/>
            <a:p>
              <a:endParaRPr lang="en-US"/>
            </a:p>
          </p:txBody>
        </p:sp>
        <p:sp>
          <p:nvSpPr>
            <p:cNvPr id="1909" name="Freeform: Shape 1908">
              <a:extLst>
                <a:ext uri="{FF2B5EF4-FFF2-40B4-BE49-F238E27FC236}">
                  <a16:creationId xmlns:a16="http://schemas.microsoft.com/office/drawing/2014/main" id="{3F85402B-DE41-4E39-AB7F-10BD5B3BBE79}"/>
                </a:ext>
              </a:extLst>
            </p:cNvPr>
            <p:cNvSpPr/>
            <p:nvPr/>
          </p:nvSpPr>
          <p:spPr>
            <a:xfrm>
              <a:off x="10191005" y="1423183"/>
              <a:ext cx="18301" cy="317379"/>
            </a:xfrm>
            <a:custGeom>
              <a:avLst/>
              <a:gdLst>
                <a:gd name="connsiteX0" fmla="*/ 247 w 18301"/>
                <a:gd name="connsiteY0" fmla="*/ 310008 h 317379"/>
                <a:gd name="connsiteX1" fmla="*/ 247 w 18301"/>
                <a:gd name="connsiteY1" fmla="*/ 317380 h 317379"/>
                <a:gd name="connsiteX2" fmla="*/ 7344 w 18301"/>
                <a:gd name="connsiteY2" fmla="*/ 306609 h 317379"/>
                <a:gd name="connsiteX3" fmla="*/ 18114 w 18301"/>
                <a:gd name="connsiteY3" fmla="*/ 313706 h 317379"/>
                <a:gd name="connsiteX4" fmla="*/ 18114 w 18301"/>
                <a:gd name="connsiteY4" fmla="*/ 317380 h 317379"/>
                <a:gd name="connsiteX5" fmla="*/ 18114 w 18301"/>
                <a:gd name="connsiteY5" fmla="*/ 10627 h 317379"/>
                <a:gd name="connsiteX6" fmla="*/ 10617 w 18301"/>
                <a:gd name="connsiteY6" fmla="*/ 126 h 317379"/>
                <a:gd name="connsiteX7" fmla="*/ 122 w 18301"/>
                <a:gd name="connsiteY7" fmla="*/ 7618 h 317379"/>
                <a:gd name="connsiteX8" fmla="*/ 122 w 18301"/>
                <a:gd name="connsiteY8" fmla="*/ 10627 h 317379"/>
                <a:gd name="connsiteX9" fmla="*/ 122 w 18301"/>
                <a:gd name="connsiteY9" fmla="*/ 16875 h 31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01" h="317379">
                  <a:moveTo>
                    <a:pt x="247" y="310008"/>
                  </a:moveTo>
                  <a:lnTo>
                    <a:pt x="247" y="317380"/>
                  </a:lnTo>
                  <a:cubicBezTo>
                    <a:pt x="-765" y="312444"/>
                    <a:pt x="2408" y="307621"/>
                    <a:pt x="7344" y="306609"/>
                  </a:cubicBezTo>
                  <a:cubicBezTo>
                    <a:pt x="12279" y="305585"/>
                    <a:pt x="17102" y="308771"/>
                    <a:pt x="18114" y="313706"/>
                  </a:cubicBezTo>
                  <a:cubicBezTo>
                    <a:pt x="18364" y="314918"/>
                    <a:pt x="18364" y="316168"/>
                    <a:pt x="18114" y="317380"/>
                  </a:cubicBezTo>
                  <a:lnTo>
                    <a:pt x="18114" y="10627"/>
                  </a:lnTo>
                  <a:cubicBezTo>
                    <a:pt x="18951" y="5659"/>
                    <a:pt x="15590" y="957"/>
                    <a:pt x="10617" y="126"/>
                  </a:cubicBezTo>
                  <a:cubicBezTo>
                    <a:pt x="5657" y="-705"/>
                    <a:pt x="959" y="2649"/>
                    <a:pt x="122" y="7618"/>
                  </a:cubicBezTo>
                  <a:cubicBezTo>
                    <a:pt x="-41" y="8614"/>
                    <a:pt x="-41" y="9631"/>
                    <a:pt x="122" y="10627"/>
                  </a:cubicBezTo>
                  <a:lnTo>
                    <a:pt x="122" y="16875"/>
                  </a:lnTo>
                  <a:close/>
                </a:path>
              </a:pathLst>
            </a:custGeom>
            <a:solidFill>
              <a:srgbClr val="000000"/>
            </a:solidFill>
            <a:ln w="12483" cap="flat">
              <a:noFill/>
              <a:prstDash val="solid"/>
              <a:miter/>
            </a:ln>
          </p:spPr>
          <p:txBody>
            <a:bodyPr rtlCol="0" anchor="ctr"/>
            <a:lstStyle/>
            <a:p>
              <a:endParaRPr lang="en-US"/>
            </a:p>
          </p:txBody>
        </p:sp>
        <p:sp>
          <p:nvSpPr>
            <p:cNvPr id="1910" name="Freeform: Shape 1909">
              <a:extLst>
                <a:ext uri="{FF2B5EF4-FFF2-40B4-BE49-F238E27FC236}">
                  <a16:creationId xmlns:a16="http://schemas.microsoft.com/office/drawing/2014/main" id="{A375E800-A159-44FC-BBF7-2775E2C0DD40}"/>
                </a:ext>
              </a:extLst>
            </p:cNvPr>
            <p:cNvSpPr/>
            <p:nvPr/>
          </p:nvSpPr>
          <p:spPr>
            <a:xfrm>
              <a:off x="10191196" y="1729692"/>
              <a:ext cx="17718" cy="103083"/>
            </a:xfrm>
            <a:custGeom>
              <a:avLst/>
              <a:gdLst>
                <a:gd name="connsiteX0" fmla="*/ 8927 w 17718"/>
                <a:gd name="connsiteY0" fmla="*/ 0 h 103083"/>
                <a:gd name="connsiteX1" fmla="*/ 56 w 17718"/>
                <a:gd name="connsiteY1" fmla="*/ 10871 h 103083"/>
                <a:gd name="connsiteX2" fmla="*/ 56 w 17718"/>
                <a:gd name="connsiteY2" fmla="*/ 92713 h 103083"/>
                <a:gd name="connsiteX3" fmla="*/ 56 w 17718"/>
                <a:gd name="connsiteY3" fmla="*/ 94712 h 103083"/>
                <a:gd name="connsiteX4" fmla="*/ 1181 w 17718"/>
                <a:gd name="connsiteY4" fmla="*/ 98336 h 103083"/>
                <a:gd name="connsiteX5" fmla="*/ 7053 w 17718"/>
                <a:gd name="connsiteY5" fmla="*/ 103084 h 103083"/>
                <a:gd name="connsiteX6" fmla="*/ 7053 w 17718"/>
                <a:gd name="connsiteY6" fmla="*/ 92713 h 103083"/>
                <a:gd name="connsiteX7" fmla="*/ 8677 w 17718"/>
                <a:gd name="connsiteY7" fmla="*/ 91089 h 103083"/>
                <a:gd name="connsiteX8" fmla="*/ 10302 w 17718"/>
                <a:gd name="connsiteY8" fmla="*/ 92713 h 103083"/>
                <a:gd name="connsiteX9" fmla="*/ 10302 w 17718"/>
                <a:gd name="connsiteY9" fmla="*/ 103084 h 103083"/>
                <a:gd name="connsiteX10" fmla="*/ 17673 w 17718"/>
                <a:gd name="connsiteY10" fmla="*/ 92713 h 103083"/>
                <a:gd name="connsiteX11" fmla="*/ 17673 w 17718"/>
                <a:gd name="connsiteY11" fmla="*/ 10871 h 103083"/>
                <a:gd name="connsiteX12" fmla="*/ 8927 w 17718"/>
                <a:gd name="connsiteY12" fmla="*/ 0 h 10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18" h="103083">
                  <a:moveTo>
                    <a:pt x="8927" y="0"/>
                  </a:moveTo>
                  <a:cubicBezTo>
                    <a:pt x="3492" y="587"/>
                    <a:pt x="-456" y="5435"/>
                    <a:pt x="56" y="10871"/>
                  </a:cubicBezTo>
                  <a:lnTo>
                    <a:pt x="56" y="92713"/>
                  </a:lnTo>
                  <a:cubicBezTo>
                    <a:pt x="-19" y="93375"/>
                    <a:pt x="-19" y="94050"/>
                    <a:pt x="56" y="94712"/>
                  </a:cubicBezTo>
                  <a:cubicBezTo>
                    <a:pt x="281" y="95962"/>
                    <a:pt x="656" y="97174"/>
                    <a:pt x="1181" y="98336"/>
                  </a:cubicBezTo>
                  <a:cubicBezTo>
                    <a:pt x="2330" y="100710"/>
                    <a:pt x="4492" y="102459"/>
                    <a:pt x="7053" y="103084"/>
                  </a:cubicBezTo>
                  <a:lnTo>
                    <a:pt x="7053" y="92713"/>
                  </a:lnTo>
                  <a:cubicBezTo>
                    <a:pt x="7053" y="91813"/>
                    <a:pt x="7778" y="91089"/>
                    <a:pt x="8677" y="91089"/>
                  </a:cubicBezTo>
                  <a:cubicBezTo>
                    <a:pt x="9577" y="91089"/>
                    <a:pt x="10302" y="91813"/>
                    <a:pt x="10302" y="92713"/>
                  </a:cubicBezTo>
                  <a:lnTo>
                    <a:pt x="10302" y="103084"/>
                  </a:lnTo>
                  <a:cubicBezTo>
                    <a:pt x="14862" y="101759"/>
                    <a:pt x="17924" y="97461"/>
                    <a:pt x="17673" y="92713"/>
                  </a:cubicBezTo>
                  <a:lnTo>
                    <a:pt x="17673" y="10871"/>
                  </a:lnTo>
                  <a:cubicBezTo>
                    <a:pt x="18186" y="5473"/>
                    <a:pt x="14313" y="650"/>
                    <a:pt x="8927" y="0"/>
                  </a:cubicBezTo>
                  <a:close/>
                </a:path>
              </a:pathLst>
            </a:custGeom>
            <a:solidFill>
              <a:srgbClr val="000000"/>
            </a:solidFill>
            <a:ln w="12483" cap="flat">
              <a:noFill/>
              <a:prstDash val="solid"/>
              <a:miter/>
            </a:ln>
          </p:spPr>
          <p:txBody>
            <a:bodyPr rtlCol="0" anchor="ctr"/>
            <a:lstStyle/>
            <a:p>
              <a:endParaRPr lang="en-US"/>
            </a:p>
          </p:txBody>
        </p:sp>
        <p:sp>
          <p:nvSpPr>
            <p:cNvPr id="1911" name="Freeform: Shape 1910">
              <a:extLst>
                <a:ext uri="{FF2B5EF4-FFF2-40B4-BE49-F238E27FC236}">
                  <a16:creationId xmlns:a16="http://schemas.microsoft.com/office/drawing/2014/main" id="{CD82CE2F-B251-4F40-A42C-45D9F8765500}"/>
                </a:ext>
              </a:extLst>
            </p:cNvPr>
            <p:cNvSpPr/>
            <p:nvPr/>
          </p:nvSpPr>
          <p:spPr>
            <a:xfrm>
              <a:off x="6992453" y="3762506"/>
              <a:ext cx="463855" cy="708967"/>
            </a:xfrm>
            <a:custGeom>
              <a:avLst/>
              <a:gdLst>
                <a:gd name="connsiteX0" fmla="*/ 451361 w 463855"/>
                <a:gd name="connsiteY0" fmla="*/ 694598 h 708967"/>
                <a:gd name="connsiteX1" fmla="*/ 462669 w 463855"/>
                <a:gd name="connsiteY1" fmla="*/ 694860 h 708967"/>
                <a:gd name="connsiteX2" fmla="*/ 463856 w 463855"/>
                <a:gd name="connsiteY2" fmla="*/ 696472 h 708967"/>
                <a:gd name="connsiteX3" fmla="*/ 20922 w 463855"/>
                <a:gd name="connsiteY3" fmla="*/ 15244 h 708967"/>
                <a:gd name="connsiteX4" fmla="*/ 13550 w 463855"/>
                <a:gd name="connsiteY4" fmla="*/ 3998 h 708967"/>
                <a:gd name="connsiteX5" fmla="*/ 12676 w 463855"/>
                <a:gd name="connsiteY5" fmla="*/ 2999 h 708967"/>
                <a:gd name="connsiteX6" fmla="*/ 11176 w 463855"/>
                <a:gd name="connsiteY6" fmla="*/ 1499 h 708967"/>
                <a:gd name="connsiteX7" fmla="*/ 9552 w 463855"/>
                <a:gd name="connsiteY7" fmla="*/ 625 h 708967"/>
                <a:gd name="connsiteX8" fmla="*/ 8053 w 463855"/>
                <a:gd name="connsiteY8" fmla="*/ 0 h 708967"/>
                <a:gd name="connsiteX9" fmla="*/ 4554 w 463855"/>
                <a:gd name="connsiteY9" fmla="*/ 0 h 708967"/>
                <a:gd name="connsiteX10" fmla="*/ 2805 w 463855"/>
                <a:gd name="connsiteY10" fmla="*/ 875 h 708967"/>
                <a:gd name="connsiteX11" fmla="*/ 1306 w 463855"/>
                <a:gd name="connsiteY11" fmla="*/ 1749 h 708967"/>
                <a:gd name="connsiteX12" fmla="*/ 1306 w 463855"/>
                <a:gd name="connsiteY12" fmla="*/ 1749 h 708967"/>
                <a:gd name="connsiteX13" fmla="*/ 1306 w 463855"/>
                <a:gd name="connsiteY13" fmla="*/ 1749 h 708967"/>
                <a:gd name="connsiteX14" fmla="*/ 1306 w 463855"/>
                <a:gd name="connsiteY14" fmla="*/ 2374 h 708967"/>
                <a:gd name="connsiteX15" fmla="*/ 56 w 463855"/>
                <a:gd name="connsiteY15" fmla="*/ 4123 h 708967"/>
                <a:gd name="connsiteX16" fmla="*/ 56 w 463855"/>
                <a:gd name="connsiteY16" fmla="*/ 4998 h 708967"/>
                <a:gd name="connsiteX17" fmla="*/ 56 w 463855"/>
                <a:gd name="connsiteY17" fmla="*/ 5998 h 708967"/>
                <a:gd name="connsiteX18" fmla="*/ 56 w 463855"/>
                <a:gd name="connsiteY18" fmla="*/ 7997 h 708967"/>
                <a:gd name="connsiteX19" fmla="*/ 56 w 463855"/>
                <a:gd name="connsiteY19" fmla="*/ 8996 h 708967"/>
                <a:gd name="connsiteX20" fmla="*/ 56 w 463855"/>
                <a:gd name="connsiteY20" fmla="*/ 10246 h 708967"/>
                <a:gd name="connsiteX21" fmla="*/ 1805 w 463855"/>
                <a:gd name="connsiteY21" fmla="*/ 16494 h 708967"/>
                <a:gd name="connsiteX22" fmla="*/ 24671 w 463855"/>
                <a:gd name="connsiteY22" fmla="*/ 51479 h 708967"/>
                <a:gd name="connsiteX23" fmla="*/ 452111 w 463855"/>
                <a:gd name="connsiteY23" fmla="*/ 708967 h 708967"/>
                <a:gd name="connsiteX24" fmla="*/ 451361 w 463855"/>
                <a:gd name="connsiteY24" fmla="*/ 694598 h 70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3855" h="708967">
                  <a:moveTo>
                    <a:pt x="451361" y="694598"/>
                  </a:moveTo>
                  <a:cubicBezTo>
                    <a:pt x="454560" y="691549"/>
                    <a:pt x="459620" y="691674"/>
                    <a:pt x="462669" y="694860"/>
                  </a:cubicBezTo>
                  <a:cubicBezTo>
                    <a:pt x="463131" y="695348"/>
                    <a:pt x="463531" y="695885"/>
                    <a:pt x="463856" y="696472"/>
                  </a:cubicBezTo>
                  <a:lnTo>
                    <a:pt x="20922" y="15244"/>
                  </a:lnTo>
                  <a:lnTo>
                    <a:pt x="13550" y="3998"/>
                  </a:lnTo>
                  <a:cubicBezTo>
                    <a:pt x="13326" y="3611"/>
                    <a:pt x="13026" y="3274"/>
                    <a:pt x="12676" y="2999"/>
                  </a:cubicBezTo>
                  <a:lnTo>
                    <a:pt x="11176" y="1499"/>
                  </a:lnTo>
                  <a:lnTo>
                    <a:pt x="9552" y="625"/>
                  </a:lnTo>
                  <a:lnTo>
                    <a:pt x="8053" y="0"/>
                  </a:lnTo>
                  <a:lnTo>
                    <a:pt x="4554" y="0"/>
                  </a:lnTo>
                  <a:cubicBezTo>
                    <a:pt x="3930" y="188"/>
                    <a:pt x="3330" y="487"/>
                    <a:pt x="2805" y="875"/>
                  </a:cubicBezTo>
                  <a:lnTo>
                    <a:pt x="1306" y="1749"/>
                  </a:lnTo>
                  <a:lnTo>
                    <a:pt x="1306" y="1749"/>
                  </a:lnTo>
                  <a:cubicBezTo>
                    <a:pt x="1306" y="1749"/>
                    <a:pt x="1306" y="1749"/>
                    <a:pt x="1306" y="1749"/>
                  </a:cubicBezTo>
                  <a:cubicBezTo>
                    <a:pt x="1306" y="1749"/>
                    <a:pt x="1306" y="1749"/>
                    <a:pt x="1306" y="2374"/>
                  </a:cubicBezTo>
                  <a:lnTo>
                    <a:pt x="56" y="4123"/>
                  </a:lnTo>
                  <a:lnTo>
                    <a:pt x="56" y="4998"/>
                  </a:lnTo>
                  <a:cubicBezTo>
                    <a:pt x="19" y="5335"/>
                    <a:pt x="19" y="5660"/>
                    <a:pt x="56" y="5998"/>
                  </a:cubicBezTo>
                  <a:cubicBezTo>
                    <a:pt x="-19" y="6660"/>
                    <a:pt x="-19" y="7335"/>
                    <a:pt x="56" y="7997"/>
                  </a:cubicBezTo>
                  <a:lnTo>
                    <a:pt x="56" y="8996"/>
                  </a:lnTo>
                  <a:cubicBezTo>
                    <a:pt x="-6" y="9409"/>
                    <a:pt x="-6" y="9833"/>
                    <a:pt x="56" y="10246"/>
                  </a:cubicBezTo>
                  <a:cubicBezTo>
                    <a:pt x="119" y="12445"/>
                    <a:pt x="718" y="14582"/>
                    <a:pt x="1805" y="16494"/>
                  </a:cubicBezTo>
                  <a:lnTo>
                    <a:pt x="24671" y="51479"/>
                  </a:lnTo>
                  <a:lnTo>
                    <a:pt x="452111" y="708967"/>
                  </a:lnTo>
                  <a:cubicBezTo>
                    <a:pt x="448850" y="704819"/>
                    <a:pt x="448550" y="699071"/>
                    <a:pt x="451361" y="694598"/>
                  </a:cubicBezTo>
                  <a:close/>
                </a:path>
              </a:pathLst>
            </a:custGeom>
            <a:solidFill>
              <a:srgbClr val="000000"/>
            </a:solidFill>
            <a:ln w="12483" cap="flat">
              <a:noFill/>
              <a:prstDash val="solid"/>
              <a:miter/>
            </a:ln>
          </p:spPr>
          <p:txBody>
            <a:bodyPr rtlCol="0" anchor="ctr"/>
            <a:lstStyle/>
            <a:p>
              <a:endParaRPr lang="en-US"/>
            </a:p>
          </p:txBody>
        </p:sp>
        <p:sp>
          <p:nvSpPr>
            <p:cNvPr id="1912" name="Freeform: Shape 1911">
              <a:extLst>
                <a:ext uri="{FF2B5EF4-FFF2-40B4-BE49-F238E27FC236}">
                  <a16:creationId xmlns:a16="http://schemas.microsoft.com/office/drawing/2014/main" id="{F143C04B-CC68-4DF5-B9F1-AC71C4205B60}"/>
                </a:ext>
              </a:extLst>
            </p:cNvPr>
            <p:cNvSpPr/>
            <p:nvPr/>
          </p:nvSpPr>
          <p:spPr>
            <a:xfrm>
              <a:off x="12175992" y="2861991"/>
              <a:ext cx="29014" cy="319130"/>
            </a:xfrm>
            <a:custGeom>
              <a:avLst/>
              <a:gdLst>
                <a:gd name="connsiteX0" fmla="*/ 8149 w 29014"/>
                <a:gd name="connsiteY0" fmla="*/ 319123 h 319130"/>
                <a:gd name="connsiteX1" fmla="*/ 18007 w 29014"/>
                <a:gd name="connsiteY1" fmla="*/ 310014 h 319130"/>
                <a:gd name="connsiteX2" fmla="*/ 18019 w 29014"/>
                <a:gd name="connsiteY2" fmla="*/ 309627 h 319130"/>
                <a:gd name="connsiteX3" fmla="*/ 29015 w 29014"/>
                <a:gd name="connsiteY3" fmla="*/ 192923 h 319130"/>
                <a:gd name="connsiteX4" fmla="*/ 29015 w 29014"/>
                <a:gd name="connsiteY4" fmla="*/ 0 h 319130"/>
                <a:gd name="connsiteX5" fmla="*/ 277 w 29014"/>
                <a:gd name="connsiteY5" fmla="*/ 306628 h 319130"/>
                <a:gd name="connsiteX6" fmla="*/ 8011 w 29014"/>
                <a:gd name="connsiteY6" fmla="*/ 319085 h 319130"/>
                <a:gd name="connsiteX7" fmla="*/ 8149 w 29014"/>
                <a:gd name="connsiteY7" fmla="*/ 319123 h 31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4" h="319130">
                  <a:moveTo>
                    <a:pt x="8149" y="319123"/>
                  </a:moveTo>
                  <a:cubicBezTo>
                    <a:pt x="13384" y="319335"/>
                    <a:pt x="17807" y="315249"/>
                    <a:pt x="18007" y="310014"/>
                  </a:cubicBezTo>
                  <a:cubicBezTo>
                    <a:pt x="18019" y="309876"/>
                    <a:pt x="18019" y="309751"/>
                    <a:pt x="18019" y="309627"/>
                  </a:cubicBezTo>
                  <a:lnTo>
                    <a:pt x="29015" y="192923"/>
                  </a:lnTo>
                  <a:lnTo>
                    <a:pt x="29015" y="0"/>
                  </a:lnTo>
                  <a:lnTo>
                    <a:pt x="277" y="306628"/>
                  </a:lnTo>
                  <a:cubicBezTo>
                    <a:pt x="-1035" y="312200"/>
                    <a:pt x="2439" y="317786"/>
                    <a:pt x="8011" y="319085"/>
                  </a:cubicBezTo>
                  <a:cubicBezTo>
                    <a:pt x="8061" y="319098"/>
                    <a:pt x="8099" y="319110"/>
                    <a:pt x="8149" y="319123"/>
                  </a:cubicBezTo>
                  <a:close/>
                </a:path>
              </a:pathLst>
            </a:custGeom>
            <a:solidFill>
              <a:srgbClr val="000000"/>
            </a:solidFill>
            <a:ln w="12483" cap="flat">
              <a:noFill/>
              <a:prstDash val="solid"/>
              <a:miter/>
            </a:ln>
          </p:spPr>
          <p:txBody>
            <a:bodyPr rtlCol="0" anchor="ctr"/>
            <a:lstStyle/>
            <a:p>
              <a:endParaRPr lang="en-US"/>
            </a:p>
          </p:txBody>
        </p:sp>
        <p:sp>
          <p:nvSpPr>
            <p:cNvPr id="1913" name="Freeform: Shape 1912">
              <a:extLst>
                <a:ext uri="{FF2B5EF4-FFF2-40B4-BE49-F238E27FC236}">
                  <a16:creationId xmlns:a16="http://schemas.microsoft.com/office/drawing/2014/main" id="{B05F61EE-F72C-4F89-86A2-3601AF9A936C}"/>
                </a:ext>
              </a:extLst>
            </p:cNvPr>
            <p:cNvSpPr/>
            <p:nvPr/>
          </p:nvSpPr>
          <p:spPr>
            <a:xfrm>
              <a:off x="9515070" y="5818187"/>
              <a:ext cx="433786" cy="268269"/>
            </a:xfrm>
            <a:custGeom>
              <a:avLst/>
              <a:gdLst>
                <a:gd name="connsiteX0" fmla="*/ 420667 w 433786"/>
                <a:gd name="connsiteY0" fmla="*/ 14494 h 268269"/>
                <a:gd name="connsiteX1" fmla="*/ 424790 w 433786"/>
                <a:gd name="connsiteY1" fmla="*/ 0 h 268269"/>
                <a:gd name="connsiteX2" fmla="*/ 424040 w 433786"/>
                <a:gd name="connsiteY2" fmla="*/ 0 h 268269"/>
                <a:gd name="connsiteX3" fmla="*/ 421166 w 433786"/>
                <a:gd name="connsiteY3" fmla="*/ 1749 h 268269"/>
                <a:gd name="connsiteX4" fmla="*/ 11344 w 433786"/>
                <a:gd name="connsiteY4" fmla="*/ 243778 h 268269"/>
                <a:gd name="connsiteX5" fmla="*/ 4971 w 433786"/>
                <a:gd name="connsiteY5" fmla="*/ 247526 h 268269"/>
                <a:gd name="connsiteX6" fmla="*/ 848 w 433786"/>
                <a:gd name="connsiteY6" fmla="*/ 262021 h 268269"/>
                <a:gd name="connsiteX7" fmla="*/ 11069 w 433786"/>
                <a:gd name="connsiteY7" fmla="*/ 267993 h 268269"/>
                <a:gd name="connsiteX8" fmla="*/ 13343 w 433786"/>
                <a:gd name="connsiteY8" fmla="*/ 267019 h 268269"/>
                <a:gd name="connsiteX9" fmla="*/ 433786 w 433786"/>
                <a:gd name="connsiteY9" fmla="*/ 19492 h 268269"/>
                <a:gd name="connsiteX10" fmla="*/ 422091 w 433786"/>
                <a:gd name="connsiteY10" fmla="*/ 17668 h 268269"/>
                <a:gd name="connsiteX11" fmla="*/ 420667 w 433786"/>
                <a:gd name="connsiteY11" fmla="*/ 14494 h 26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3786" h="268269">
                  <a:moveTo>
                    <a:pt x="420667" y="14494"/>
                  </a:moveTo>
                  <a:cubicBezTo>
                    <a:pt x="418643" y="9284"/>
                    <a:pt x="420329" y="3361"/>
                    <a:pt x="424790" y="0"/>
                  </a:cubicBezTo>
                  <a:lnTo>
                    <a:pt x="424040" y="0"/>
                  </a:lnTo>
                  <a:lnTo>
                    <a:pt x="421166" y="1749"/>
                  </a:lnTo>
                  <a:lnTo>
                    <a:pt x="11344" y="243778"/>
                  </a:lnTo>
                  <a:lnTo>
                    <a:pt x="4971" y="247526"/>
                  </a:lnTo>
                  <a:cubicBezTo>
                    <a:pt x="511" y="250888"/>
                    <a:pt x="-1176" y="256810"/>
                    <a:pt x="848" y="262021"/>
                  </a:cubicBezTo>
                  <a:cubicBezTo>
                    <a:pt x="2023" y="266494"/>
                    <a:pt x="6596" y="269168"/>
                    <a:pt x="11069" y="267993"/>
                  </a:cubicBezTo>
                  <a:cubicBezTo>
                    <a:pt x="11868" y="267781"/>
                    <a:pt x="12643" y="267456"/>
                    <a:pt x="13343" y="267019"/>
                  </a:cubicBezTo>
                  <a:lnTo>
                    <a:pt x="433786" y="19492"/>
                  </a:lnTo>
                  <a:cubicBezTo>
                    <a:pt x="430050" y="22216"/>
                    <a:pt x="424815" y="21404"/>
                    <a:pt x="422091" y="17668"/>
                  </a:cubicBezTo>
                  <a:cubicBezTo>
                    <a:pt x="421404" y="16718"/>
                    <a:pt x="420917" y="15644"/>
                    <a:pt x="420667" y="14494"/>
                  </a:cubicBezTo>
                  <a:close/>
                </a:path>
              </a:pathLst>
            </a:custGeom>
            <a:solidFill>
              <a:srgbClr val="000000"/>
            </a:solidFill>
            <a:ln w="12483" cap="flat">
              <a:noFill/>
              <a:prstDash val="solid"/>
              <a:miter/>
            </a:ln>
          </p:spPr>
          <p:txBody>
            <a:bodyPr rtlCol="0" anchor="ctr"/>
            <a:lstStyle/>
            <a:p>
              <a:endParaRPr lang="en-US"/>
            </a:p>
          </p:txBody>
        </p:sp>
        <p:sp>
          <p:nvSpPr>
            <p:cNvPr id="1914" name="Freeform: Shape 1913">
              <a:extLst>
                <a:ext uri="{FF2B5EF4-FFF2-40B4-BE49-F238E27FC236}">
                  <a16:creationId xmlns:a16="http://schemas.microsoft.com/office/drawing/2014/main" id="{8766A3A4-CFC9-4C85-A2B0-7E9DA47CE43B}"/>
                </a:ext>
              </a:extLst>
            </p:cNvPr>
            <p:cNvSpPr/>
            <p:nvPr/>
          </p:nvSpPr>
          <p:spPr>
            <a:xfrm>
              <a:off x="9934014" y="5756085"/>
              <a:ext cx="121800" cy="82345"/>
            </a:xfrm>
            <a:custGeom>
              <a:avLst/>
              <a:gdLst>
                <a:gd name="connsiteX0" fmla="*/ 121171 w 121800"/>
                <a:gd name="connsiteY0" fmla="*/ 6249 h 82345"/>
                <a:gd name="connsiteX1" fmla="*/ 110951 w 121800"/>
                <a:gd name="connsiteY1" fmla="*/ 277 h 82345"/>
                <a:gd name="connsiteX2" fmla="*/ 108677 w 121800"/>
                <a:gd name="connsiteY2" fmla="*/ 1251 h 82345"/>
                <a:gd name="connsiteX3" fmla="*/ 107927 w 121800"/>
                <a:gd name="connsiteY3" fmla="*/ 1251 h 82345"/>
                <a:gd name="connsiteX4" fmla="*/ 104928 w 121800"/>
                <a:gd name="connsiteY4" fmla="*/ 3001 h 82345"/>
                <a:gd name="connsiteX5" fmla="*/ 4971 w 121800"/>
                <a:gd name="connsiteY5" fmla="*/ 61602 h 82345"/>
                <a:gd name="connsiteX6" fmla="*/ 848 w 121800"/>
                <a:gd name="connsiteY6" fmla="*/ 76097 h 82345"/>
                <a:gd name="connsiteX7" fmla="*/ 11069 w 121800"/>
                <a:gd name="connsiteY7" fmla="*/ 82069 h 82345"/>
                <a:gd name="connsiteX8" fmla="*/ 13343 w 121800"/>
                <a:gd name="connsiteY8" fmla="*/ 81095 h 82345"/>
                <a:gd name="connsiteX9" fmla="*/ 116673 w 121800"/>
                <a:gd name="connsiteY9" fmla="*/ 20244 h 82345"/>
                <a:gd name="connsiteX10" fmla="*/ 121171 w 121800"/>
                <a:gd name="connsiteY10" fmla="*/ 6249 h 8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00" h="82345">
                  <a:moveTo>
                    <a:pt x="121171" y="6249"/>
                  </a:moveTo>
                  <a:cubicBezTo>
                    <a:pt x="119997" y="1776"/>
                    <a:pt x="115423" y="-898"/>
                    <a:pt x="110951" y="277"/>
                  </a:cubicBezTo>
                  <a:cubicBezTo>
                    <a:pt x="110151" y="489"/>
                    <a:pt x="109376" y="814"/>
                    <a:pt x="108677" y="1251"/>
                  </a:cubicBezTo>
                  <a:lnTo>
                    <a:pt x="107927" y="1251"/>
                  </a:lnTo>
                  <a:lnTo>
                    <a:pt x="104928" y="3001"/>
                  </a:lnTo>
                  <a:lnTo>
                    <a:pt x="4971" y="61602"/>
                  </a:lnTo>
                  <a:cubicBezTo>
                    <a:pt x="511" y="64963"/>
                    <a:pt x="-1176" y="70886"/>
                    <a:pt x="848" y="76097"/>
                  </a:cubicBezTo>
                  <a:cubicBezTo>
                    <a:pt x="2022" y="80570"/>
                    <a:pt x="6595" y="83244"/>
                    <a:pt x="11069" y="82069"/>
                  </a:cubicBezTo>
                  <a:cubicBezTo>
                    <a:pt x="11868" y="81857"/>
                    <a:pt x="12643" y="81532"/>
                    <a:pt x="13343" y="81095"/>
                  </a:cubicBezTo>
                  <a:lnTo>
                    <a:pt x="116673" y="20244"/>
                  </a:lnTo>
                  <a:cubicBezTo>
                    <a:pt x="121046" y="17045"/>
                    <a:pt x="122870" y="11397"/>
                    <a:pt x="121171" y="6249"/>
                  </a:cubicBezTo>
                  <a:close/>
                </a:path>
              </a:pathLst>
            </a:custGeom>
            <a:solidFill>
              <a:srgbClr val="000000"/>
            </a:solidFill>
            <a:ln w="12483" cap="flat">
              <a:noFill/>
              <a:prstDash val="solid"/>
              <a:miter/>
            </a:ln>
          </p:spPr>
          <p:txBody>
            <a:bodyPr rtlCol="0" anchor="ctr"/>
            <a:lstStyle/>
            <a:p>
              <a:endParaRPr lang="en-US"/>
            </a:p>
          </p:txBody>
        </p:sp>
        <p:sp>
          <p:nvSpPr>
            <p:cNvPr id="1915" name="Freeform: Shape 1914">
              <a:extLst>
                <a:ext uri="{FF2B5EF4-FFF2-40B4-BE49-F238E27FC236}">
                  <a16:creationId xmlns:a16="http://schemas.microsoft.com/office/drawing/2014/main" id="{92A10CE6-05A0-42AD-BC8D-3CCB73B20016}"/>
                </a:ext>
              </a:extLst>
            </p:cNvPr>
            <p:cNvSpPr/>
            <p:nvPr/>
          </p:nvSpPr>
          <p:spPr>
            <a:xfrm>
              <a:off x="10481109" y="5429342"/>
              <a:ext cx="127462" cy="87841"/>
            </a:xfrm>
            <a:custGeom>
              <a:avLst/>
              <a:gdLst>
                <a:gd name="connsiteX0" fmla="*/ 114967 w 127462"/>
                <a:gd name="connsiteY0" fmla="*/ 14494 h 87841"/>
                <a:gd name="connsiteX1" fmla="*/ 119091 w 127462"/>
                <a:gd name="connsiteY1" fmla="*/ 0 h 87841"/>
                <a:gd name="connsiteX2" fmla="*/ 118091 w 127462"/>
                <a:gd name="connsiteY2" fmla="*/ 625 h 87841"/>
                <a:gd name="connsiteX3" fmla="*/ 115092 w 127462"/>
                <a:gd name="connsiteY3" fmla="*/ 2374 h 87841"/>
                <a:gd name="connsiteX4" fmla="*/ 5140 w 127462"/>
                <a:gd name="connsiteY4" fmla="*/ 67098 h 87841"/>
                <a:gd name="connsiteX5" fmla="*/ 1017 w 127462"/>
                <a:gd name="connsiteY5" fmla="*/ 81592 h 87841"/>
                <a:gd name="connsiteX6" fmla="*/ 11238 w 127462"/>
                <a:gd name="connsiteY6" fmla="*/ 87565 h 87841"/>
                <a:gd name="connsiteX7" fmla="*/ 13511 w 127462"/>
                <a:gd name="connsiteY7" fmla="*/ 86590 h 87841"/>
                <a:gd name="connsiteX8" fmla="*/ 127462 w 127462"/>
                <a:gd name="connsiteY8" fmla="*/ 19492 h 87841"/>
                <a:gd name="connsiteX9" fmla="*/ 115942 w 127462"/>
                <a:gd name="connsiteY9" fmla="*/ 16768 h 87841"/>
                <a:gd name="connsiteX10" fmla="*/ 114967 w 127462"/>
                <a:gd name="connsiteY10" fmla="*/ 14494 h 8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62" h="87841">
                  <a:moveTo>
                    <a:pt x="114967" y="14494"/>
                  </a:moveTo>
                  <a:cubicBezTo>
                    <a:pt x="112656" y="9297"/>
                    <a:pt x="114393" y="3199"/>
                    <a:pt x="119091" y="0"/>
                  </a:cubicBezTo>
                  <a:lnTo>
                    <a:pt x="118091" y="625"/>
                  </a:lnTo>
                  <a:lnTo>
                    <a:pt x="115092" y="2374"/>
                  </a:lnTo>
                  <a:lnTo>
                    <a:pt x="5140" y="67098"/>
                  </a:lnTo>
                  <a:cubicBezTo>
                    <a:pt x="442" y="70297"/>
                    <a:pt x="-1295" y="76395"/>
                    <a:pt x="1017" y="81592"/>
                  </a:cubicBezTo>
                  <a:cubicBezTo>
                    <a:pt x="2192" y="86066"/>
                    <a:pt x="6764" y="88740"/>
                    <a:pt x="11238" y="87565"/>
                  </a:cubicBezTo>
                  <a:cubicBezTo>
                    <a:pt x="12037" y="87353"/>
                    <a:pt x="12812" y="87028"/>
                    <a:pt x="13511" y="86590"/>
                  </a:cubicBezTo>
                  <a:lnTo>
                    <a:pt x="127462" y="19492"/>
                  </a:lnTo>
                  <a:cubicBezTo>
                    <a:pt x="123527" y="21916"/>
                    <a:pt x="118366" y="20704"/>
                    <a:pt x="115942" y="16768"/>
                  </a:cubicBezTo>
                  <a:cubicBezTo>
                    <a:pt x="115505" y="16056"/>
                    <a:pt x="115180" y="15294"/>
                    <a:pt x="114967" y="14494"/>
                  </a:cubicBezTo>
                  <a:close/>
                </a:path>
              </a:pathLst>
            </a:custGeom>
            <a:solidFill>
              <a:srgbClr val="000000"/>
            </a:solidFill>
            <a:ln w="12483" cap="flat">
              <a:noFill/>
              <a:prstDash val="solid"/>
              <a:miter/>
            </a:ln>
          </p:spPr>
          <p:txBody>
            <a:bodyPr rtlCol="0" anchor="ctr"/>
            <a:lstStyle/>
            <a:p>
              <a:endParaRPr lang="en-US"/>
            </a:p>
          </p:txBody>
        </p:sp>
        <p:sp>
          <p:nvSpPr>
            <p:cNvPr id="1916" name="Freeform: Shape 1915">
              <a:extLst>
                <a:ext uri="{FF2B5EF4-FFF2-40B4-BE49-F238E27FC236}">
                  <a16:creationId xmlns:a16="http://schemas.microsoft.com/office/drawing/2014/main" id="{EAA3CF76-E001-4D4E-BA2C-6FCD879EA98E}"/>
                </a:ext>
              </a:extLst>
            </p:cNvPr>
            <p:cNvSpPr/>
            <p:nvPr/>
          </p:nvSpPr>
          <p:spPr>
            <a:xfrm>
              <a:off x="10593811" y="5305390"/>
              <a:ext cx="227623" cy="145195"/>
            </a:xfrm>
            <a:custGeom>
              <a:avLst/>
              <a:gdLst>
                <a:gd name="connsiteX0" fmla="*/ 225795 w 227623"/>
                <a:gd name="connsiteY0" fmla="*/ 17995 h 145195"/>
                <a:gd name="connsiteX1" fmla="*/ 226669 w 227623"/>
                <a:gd name="connsiteY1" fmla="*/ 16870 h 145195"/>
                <a:gd name="connsiteX2" fmla="*/ 226669 w 227623"/>
                <a:gd name="connsiteY2" fmla="*/ 16870 h 145195"/>
                <a:gd name="connsiteX3" fmla="*/ 227419 w 227623"/>
                <a:gd name="connsiteY3" fmla="*/ 15121 h 145195"/>
                <a:gd name="connsiteX4" fmla="*/ 227419 w 227623"/>
                <a:gd name="connsiteY4" fmla="*/ 12996 h 145195"/>
                <a:gd name="connsiteX5" fmla="*/ 226794 w 227623"/>
                <a:gd name="connsiteY5" fmla="*/ 6249 h 145195"/>
                <a:gd name="connsiteX6" fmla="*/ 216573 w 227623"/>
                <a:gd name="connsiteY6" fmla="*/ 277 h 145195"/>
                <a:gd name="connsiteX7" fmla="*/ 214299 w 227623"/>
                <a:gd name="connsiteY7" fmla="*/ 1251 h 145195"/>
                <a:gd name="connsiteX8" fmla="*/ 209427 w 227623"/>
                <a:gd name="connsiteY8" fmla="*/ 4125 h 145195"/>
                <a:gd name="connsiteX9" fmla="*/ 5140 w 227623"/>
                <a:gd name="connsiteY9" fmla="*/ 124452 h 145195"/>
                <a:gd name="connsiteX10" fmla="*/ 1017 w 227623"/>
                <a:gd name="connsiteY10" fmla="*/ 138946 h 145195"/>
                <a:gd name="connsiteX11" fmla="*/ 11237 w 227623"/>
                <a:gd name="connsiteY11" fmla="*/ 144919 h 145195"/>
                <a:gd name="connsiteX12" fmla="*/ 13511 w 227623"/>
                <a:gd name="connsiteY12" fmla="*/ 143944 h 145195"/>
                <a:gd name="connsiteX13" fmla="*/ 222671 w 227623"/>
                <a:gd name="connsiteY13" fmla="*/ 20744 h 145195"/>
                <a:gd name="connsiteX14" fmla="*/ 223546 w 227623"/>
                <a:gd name="connsiteY14" fmla="*/ 19994 h 145195"/>
                <a:gd name="connsiteX15" fmla="*/ 223546 w 227623"/>
                <a:gd name="connsiteY15" fmla="*/ 19994 h 145195"/>
                <a:gd name="connsiteX16" fmla="*/ 225795 w 227623"/>
                <a:gd name="connsiteY16" fmla="*/ 17995 h 14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623" h="145195">
                  <a:moveTo>
                    <a:pt x="225795" y="17995"/>
                  </a:moveTo>
                  <a:lnTo>
                    <a:pt x="226669" y="16870"/>
                  </a:lnTo>
                  <a:cubicBezTo>
                    <a:pt x="226669" y="16870"/>
                    <a:pt x="226669" y="16870"/>
                    <a:pt x="226669" y="16870"/>
                  </a:cubicBezTo>
                  <a:cubicBezTo>
                    <a:pt x="226969" y="16308"/>
                    <a:pt x="227219" y="15720"/>
                    <a:pt x="227419" y="15121"/>
                  </a:cubicBezTo>
                  <a:cubicBezTo>
                    <a:pt x="227469" y="14408"/>
                    <a:pt x="227469" y="13709"/>
                    <a:pt x="227419" y="12996"/>
                  </a:cubicBezTo>
                  <a:cubicBezTo>
                    <a:pt x="227831" y="10735"/>
                    <a:pt x="227619" y="8398"/>
                    <a:pt x="226794" y="6249"/>
                  </a:cubicBezTo>
                  <a:cubicBezTo>
                    <a:pt x="225620" y="1776"/>
                    <a:pt x="221047" y="-898"/>
                    <a:pt x="216573" y="277"/>
                  </a:cubicBezTo>
                  <a:cubicBezTo>
                    <a:pt x="215774" y="489"/>
                    <a:pt x="214999" y="814"/>
                    <a:pt x="214299" y="1251"/>
                  </a:cubicBezTo>
                  <a:lnTo>
                    <a:pt x="209427" y="4125"/>
                  </a:lnTo>
                  <a:lnTo>
                    <a:pt x="5140" y="124452"/>
                  </a:lnTo>
                  <a:cubicBezTo>
                    <a:pt x="442" y="127651"/>
                    <a:pt x="-1295" y="133748"/>
                    <a:pt x="1017" y="138946"/>
                  </a:cubicBezTo>
                  <a:cubicBezTo>
                    <a:pt x="2191" y="143420"/>
                    <a:pt x="6764" y="146093"/>
                    <a:pt x="11237" y="144919"/>
                  </a:cubicBezTo>
                  <a:cubicBezTo>
                    <a:pt x="12037" y="144707"/>
                    <a:pt x="12812" y="144382"/>
                    <a:pt x="13511" y="143944"/>
                  </a:cubicBezTo>
                  <a:lnTo>
                    <a:pt x="222671" y="20744"/>
                  </a:lnTo>
                  <a:cubicBezTo>
                    <a:pt x="222671" y="20744"/>
                    <a:pt x="223295" y="20744"/>
                    <a:pt x="223546" y="19994"/>
                  </a:cubicBezTo>
                  <a:lnTo>
                    <a:pt x="223546" y="19994"/>
                  </a:lnTo>
                  <a:cubicBezTo>
                    <a:pt x="224358" y="19406"/>
                    <a:pt x="225120" y="18744"/>
                    <a:pt x="225795" y="17995"/>
                  </a:cubicBezTo>
                  <a:close/>
                </a:path>
              </a:pathLst>
            </a:custGeom>
            <a:solidFill>
              <a:srgbClr val="000000"/>
            </a:solidFill>
            <a:ln w="12483" cap="flat">
              <a:noFill/>
              <a:prstDash val="solid"/>
              <a:miter/>
            </a:ln>
          </p:spPr>
          <p:txBody>
            <a:bodyPr rtlCol="0" anchor="ctr"/>
            <a:lstStyle/>
            <a:p>
              <a:endParaRPr lang="en-US"/>
            </a:p>
          </p:txBody>
        </p:sp>
        <p:sp>
          <p:nvSpPr>
            <p:cNvPr id="1917" name="Freeform: Shape 1916">
              <a:extLst>
                <a:ext uri="{FF2B5EF4-FFF2-40B4-BE49-F238E27FC236}">
                  <a16:creationId xmlns:a16="http://schemas.microsoft.com/office/drawing/2014/main" id="{C4FF3A4B-4E7D-4BA2-89AD-5C5957E5320B}"/>
                </a:ext>
              </a:extLst>
            </p:cNvPr>
            <p:cNvSpPr/>
            <p:nvPr/>
          </p:nvSpPr>
          <p:spPr>
            <a:xfrm>
              <a:off x="7518532" y="4576057"/>
              <a:ext cx="187090" cy="280345"/>
            </a:xfrm>
            <a:custGeom>
              <a:avLst/>
              <a:gdLst>
                <a:gd name="connsiteX0" fmla="*/ 183671 w 187090"/>
                <a:gd name="connsiteY0" fmla="*/ 278139 h 280345"/>
                <a:gd name="connsiteX1" fmla="*/ 185170 w 187090"/>
                <a:gd name="connsiteY1" fmla="*/ 262895 h 280345"/>
                <a:gd name="connsiteX2" fmla="*/ 21241 w 187090"/>
                <a:gd name="connsiteY2" fmla="*/ 11120 h 280345"/>
                <a:gd name="connsiteX3" fmla="*/ 13994 w 187090"/>
                <a:gd name="connsiteY3" fmla="*/ 0 h 280345"/>
                <a:gd name="connsiteX4" fmla="*/ 12495 w 187090"/>
                <a:gd name="connsiteY4" fmla="*/ 15244 h 280345"/>
                <a:gd name="connsiteX5" fmla="*/ 1187 w 187090"/>
                <a:gd name="connsiteY5" fmla="*/ 14981 h 280345"/>
                <a:gd name="connsiteX6" fmla="*/ 0 w 187090"/>
                <a:gd name="connsiteY6" fmla="*/ 13369 h 280345"/>
                <a:gd name="connsiteX7" fmla="*/ 170926 w 187090"/>
                <a:gd name="connsiteY7" fmla="*/ 275765 h 280345"/>
                <a:gd name="connsiteX8" fmla="*/ 181572 w 187090"/>
                <a:gd name="connsiteY8" fmla="*/ 279576 h 280345"/>
                <a:gd name="connsiteX9" fmla="*/ 183671 w 187090"/>
                <a:gd name="connsiteY9" fmla="*/ 278139 h 28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090" h="280345">
                  <a:moveTo>
                    <a:pt x="183671" y="278139"/>
                  </a:moveTo>
                  <a:cubicBezTo>
                    <a:pt x="187594" y="273990"/>
                    <a:pt x="188206" y="267718"/>
                    <a:pt x="185170" y="262895"/>
                  </a:cubicBezTo>
                  <a:lnTo>
                    <a:pt x="21241" y="11120"/>
                  </a:lnTo>
                  <a:lnTo>
                    <a:pt x="13994" y="0"/>
                  </a:lnTo>
                  <a:cubicBezTo>
                    <a:pt x="17030" y="4823"/>
                    <a:pt x="16418" y="11096"/>
                    <a:pt x="12495" y="15244"/>
                  </a:cubicBezTo>
                  <a:cubicBezTo>
                    <a:pt x="9296" y="18293"/>
                    <a:pt x="4236" y="18168"/>
                    <a:pt x="1187" y="14981"/>
                  </a:cubicBezTo>
                  <a:cubicBezTo>
                    <a:pt x="725" y="14494"/>
                    <a:pt x="325" y="13957"/>
                    <a:pt x="0" y="13369"/>
                  </a:cubicBezTo>
                  <a:lnTo>
                    <a:pt x="170926" y="275765"/>
                  </a:lnTo>
                  <a:cubicBezTo>
                    <a:pt x="172813" y="279763"/>
                    <a:pt x="177586" y="281462"/>
                    <a:pt x="181572" y="279576"/>
                  </a:cubicBezTo>
                  <a:cubicBezTo>
                    <a:pt x="182346" y="279213"/>
                    <a:pt x="183058" y="278726"/>
                    <a:pt x="183671" y="278139"/>
                  </a:cubicBezTo>
                  <a:close/>
                </a:path>
              </a:pathLst>
            </a:custGeom>
            <a:solidFill>
              <a:srgbClr val="000000"/>
            </a:solidFill>
            <a:ln w="12483" cap="flat">
              <a:noFill/>
              <a:prstDash val="solid"/>
              <a:miter/>
            </a:ln>
          </p:spPr>
          <p:txBody>
            <a:bodyPr rtlCol="0" anchor="ctr"/>
            <a:lstStyle/>
            <a:p>
              <a:endParaRPr lang="en-US"/>
            </a:p>
          </p:txBody>
        </p:sp>
        <p:sp>
          <p:nvSpPr>
            <p:cNvPr id="1918" name="Freeform: Shape 1917">
              <a:extLst>
                <a:ext uri="{FF2B5EF4-FFF2-40B4-BE49-F238E27FC236}">
                  <a16:creationId xmlns:a16="http://schemas.microsoft.com/office/drawing/2014/main" id="{FAB1ACD2-7EE1-4372-A2F7-714FC2C7FF3D}"/>
                </a:ext>
              </a:extLst>
            </p:cNvPr>
            <p:cNvSpPr/>
            <p:nvPr/>
          </p:nvSpPr>
          <p:spPr>
            <a:xfrm>
              <a:off x="7441019" y="4454894"/>
              <a:ext cx="93426" cy="138329"/>
            </a:xfrm>
            <a:custGeom>
              <a:avLst/>
              <a:gdLst>
                <a:gd name="connsiteX0" fmla="*/ 90007 w 93426"/>
                <a:gd name="connsiteY0" fmla="*/ 136407 h 138329"/>
                <a:gd name="connsiteX1" fmla="*/ 91506 w 93426"/>
                <a:gd name="connsiteY1" fmla="*/ 121164 h 138329"/>
                <a:gd name="connsiteX2" fmla="*/ 87258 w 93426"/>
                <a:gd name="connsiteY2" fmla="*/ 114666 h 138329"/>
                <a:gd name="connsiteX3" fmla="*/ 17913 w 93426"/>
                <a:gd name="connsiteY3" fmla="*/ 7958 h 138329"/>
                <a:gd name="connsiteX4" fmla="*/ 15914 w 93426"/>
                <a:gd name="connsiteY4" fmla="*/ 4835 h 138329"/>
                <a:gd name="connsiteX5" fmla="*/ 15914 w 93426"/>
                <a:gd name="connsiteY5" fmla="*/ 4085 h 138329"/>
                <a:gd name="connsiteX6" fmla="*/ 5031 w 93426"/>
                <a:gd name="connsiteY6" fmla="*/ 1024 h 138329"/>
                <a:gd name="connsiteX7" fmla="*/ 3419 w 93426"/>
                <a:gd name="connsiteY7" fmla="*/ 2211 h 138329"/>
                <a:gd name="connsiteX8" fmla="*/ 1920 w 93426"/>
                <a:gd name="connsiteY8" fmla="*/ 17455 h 138329"/>
                <a:gd name="connsiteX9" fmla="*/ 78012 w 93426"/>
                <a:gd name="connsiteY9" fmla="*/ 134533 h 138329"/>
                <a:gd name="connsiteX10" fmla="*/ 89020 w 93426"/>
                <a:gd name="connsiteY10" fmla="*/ 137132 h 138329"/>
                <a:gd name="connsiteX11" fmla="*/ 90007 w 93426"/>
                <a:gd name="connsiteY11" fmla="*/ 136407 h 13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26" h="138329">
                  <a:moveTo>
                    <a:pt x="90007" y="136407"/>
                  </a:moveTo>
                  <a:cubicBezTo>
                    <a:pt x="93930" y="132259"/>
                    <a:pt x="94542" y="125986"/>
                    <a:pt x="91506" y="121164"/>
                  </a:cubicBezTo>
                  <a:lnTo>
                    <a:pt x="87258" y="114666"/>
                  </a:lnTo>
                  <a:lnTo>
                    <a:pt x="17913" y="7958"/>
                  </a:lnTo>
                  <a:lnTo>
                    <a:pt x="15914" y="4835"/>
                  </a:lnTo>
                  <a:lnTo>
                    <a:pt x="15914" y="4085"/>
                  </a:lnTo>
                  <a:cubicBezTo>
                    <a:pt x="13753" y="237"/>
                    <a:pt x="8880" y="-1138"/>
                    <a:pt x="5031" y="1024"/>
                  </a:cubicBezTo>
                  <a:cubicBezTo>
                    <a:pt x="4444" y="1349"/>
                    <a:pt x="3907" y="1749"/>
                    <a:pt x="3419" y="2211"/>
                  </a:cubicBezTo>
                  <a:cubicBezTo>
                    <a:pt x="-504" y="6359"/>
                    <a:pt x="-1116" y="12632"/>
                    <a:pt x="1920" y="17455"/>
                  </a:cubicBezTo>
                  <a:lnTo>
                    <a:pt x="78012" y="134533"/>
                  </a:lnTo>
                  <a:cubicBezTo>
                    <a:pt x="80336" y="138294"/>
                    <a:pt x="85259" y="139456"/>
                    <a:pt x="89020" y="137132"/>
                  </a:cubicBezTo>
                  <a:cubicBezTo>
                    <a:pt x="89370" y="136920"/>
                    <a:pt x="89695" y="136670"/>
                    <a:pt x="90007" y="136407"/>
                  </a:cubicBezTo>
                  <a:close/>
                </a:path>
              </a:pathLst>
            </a:custGeom>
            <a:solidFill>
              <a:srgbClr val="000000"/>
            </a:solidFill>
            <a:ln w="12483" cap="flat">
              <a:noFill/>
              <a:prstDash val="solid"/>
              <a:miter/>
            </a:ln>
          </p:spPr>
          <p:txBody>
            <a:bodyPr rtlCol="0" anchor="ctr"/>
            <a:lstStyle/>
            <a:p>
              <a:endParaRPr lang="en-US"/>
            </a:p>
          </p:txBody>
        </p:sp>
        <p:sp>
          <p:nvSpPr>
            <p:cNvPr id="1919" name="Freeform: Shape 1918">
              <a:extLst>
                <a:ext uri="{FF2B5EF4-FFF2-40B4-BE49-F238E27FC236}">
                  <a16:creationId xmlns:a16="http://schemas.microsoft.com/office/drawing/2014/main" id="{2EFBA1AA-69BC-4A78-A5C5-015C0602FE08}"/>
                </a:ext>
              </a:extLst>
            </p:cNvPr>
            <p:cNvSpPr/>
            <p:nvPr/>
          </p:nvSpPr>
          <p:spPr>
            <a:xfrm>
              <a:off x="7001553" y="5485681"/>
              <a:ext cx="739007" cy="1233846"/>
            </a:xfrm>
            <a:custGeom>
              <a:avLst/>
              <a:gdLst>
                <a:gd name="connsiteX0" fmla="*/ 736758 w 739007"/>
                <a:gd name="connsiteY0" fmla="*/ 1232272 h 1233846"/>
                <a:gd name="connsiteX1" fmla="*/ 737508 w 739007"/>
                <a:gd name="connsiteY1" fmla="*/ 1232272 h 1233846"/>
                <a:gd name="connsiteX2" fmla="*/ 738133 w 739007"/>
                <a:gd name="connsiteY2" fmla="*/ 1231523 h 1233846"/>
                <a:gd name="connsiteX3" fmla="*/ 739007 w 739007"/>
                <a:gd name="connsiteY3" fmla="*/ 1230398 h 1233846"/>
                <a:gd name="connsiteX4" fmla="*/ 739007 w 739007"/>
                <a:gd name="connsiteY4" fmla="*/ 1230398 h 1233846"/>
                <a:gd name="connsiteX5" fmla="*/ 730136 w 739007"/>
                <a:gd name="connsiteY5" fmla="*/ 1221652 h 1233846"/>
                <a:gd name="connsiteX6" fmla="*/ 726638 w 739007"/>
                <a:gd name="connsiteY6" fmla="*/ 1196662 h 1233846"/>
                <a:gd name="connsiteX7" fmla="*/ 17319 w 739007"/>
                <a:gd name="connsiteY7" fmla="*/ 6386 h 1233846"/>
                <a:gd name="connsiteX8" fmla="*/ 16195 w 739007"/>
                <a:gd name="connsiteY8" fmla="*/ 4512 h 1233846"/>
                <a:gd name="connsiteX9" fmla="*/ 5512 w 739007"/>
                <a:gd name="connsiteY9" fmla="*/ 801 h 1233846"/>
                <a:gd name="connsiteX10" fmla="*/ 3700 w 739007"/>
                <a:gd name="connsiteY10" fmla="*/ 2013 h 1233846"/>
                <a:gd name="connsiteX11" fmla="*/ 202 w 739007"/>
                <a:gd name="connsiteY11" fmla="*/ 13133 h 1233846"/>
                <a:gd name="connsiteX12" fmla="*/ 951 w 739007"/>
                <a:gd name="connsiteY12" fmla="*/ 15133 h 1233846"/>
                <a:gd name="connsiteX13" fmla="*/ 1701 w 739007"/>
                <a:gd name="connsiteY13" fmla="*/ 17007 h 1233846"/>
                <a:gd name="connsiteX14" fmla="*/ 1701 w 739007"/>
                <a:gd name="connsiteY14" fmla="*/ 17007 h 1233846"/>
                <a:gd name="connsiteX15" fmla="*/ 718766 w 739007"/>
                <a:gd name="connsiteY15" fmla="*/ 1219028 h 1233846"/>
                <a:gd name="connsiteX16" fmla="*/ 725013 w 739007"/>
                <a:gd name="connsiteY16" fmla="*/ 1229524 h 1233846"/>
                <a:gd name="connsiteX17" fmla="*/ 735584 w 739007"/>
                <a:gd name="connsiteY17" fmla="*/ 1232997 h 1233846"/>
                <a:gd name="connsiteX18" fmla="*/ 736758 w 739007"/>
                <a:gd name="connsiteY18" fmla="*/ 1232272 h 123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9007" h="1233846">
                  <a:moveTo>
                    <a:pt x="736758" y="1232272"/>
                  </a:moveTo>
                  <a:cubicBezTo>
                    <a:pt x="736758" y="1232272"/>
                    <a:pt x="736758" y="1232272"/>
                    <a:pt x="737508" y="1232272"/>
                  </a:cubicBezTo>
                  <a:lnTo>
                    <a:pt x="738133" y="1231523"/>
                  </a:lnTo>
                  <a:lnTo>
                    <a:pt x="739007" y="1230398"/>
                  </a:lnTo>
                  <a:lnTo>
                    <a:pt x="739007" y="1230398"/>
                  </a:lnTo>
                  <a:cubicBezTo>
                    <a:pt x="734284" y="1230098"/>
                    <a:pt x="730499" y="1226375"/>
                    <a:pt x="730136" y="1221652"/>
                  </a:cubicBezTo>
                  <a:lnTo>
                    <a:pt x="726638" y="1196662"/>
                  </a:lnTo>
                  <a:lnTo>
                    <a:pt x="17319" y="6386"/>
                  </a:lnTo>
                  <a:lnTo>
                    <a:pt x="16195" y="4512"/>
                  </a:lnTo>
                  <a:cubicBezTo>
                    <a:pt x="14270" y="539"/>
                    <a:pt x="9485" y="-1123"/>
                    <a:pt x="5512" y="801"/>
                  </a:cubicBezTo>
                  <a:cubicBezTo>
                    <a:pt x="4849" y="1126"/>
                    <a:pt x="4250" y="1526"/>
                    <a:pt x="3700" y="2013"/>
                  </a:cubicBezTo>
                  <a:cubicBezTo>
                    <a:pt x="776" y="4912"/>
                    <a:pt x="-536" y="9073"/>
                    <a:pt x="202" y="13133"/>
                  </a:cubicBezTo>
                  <a:cubicBezTo>
                    <a:pt x="414" y="13808"/>
                    <a:pt x="664" y="14483"/>
                    <a:pt x="951" y="15133"/>
                  </a:cubicBezTo>
                  <a:cubicBezTo>
                    <a:pt x="1126" y="15782"/>
                    <a:pt x="1376" y="16420"/>
                    <a:pt x="1701" y="17007"/>
                  </a:cubicBezTo>
                  <a:lnTo>
                    <a:pt x="1701" y="17007"/>
                  </a:lnTo>
                  <a:lnTo>
                    <a:pt x="718766" y="1219028"/>
                  </a:lnTo>
                  <a:lnTo>
                    <a:pt x="725013" y="1229524"/>
                  </a:lnTo>
                  <a:cubicBezTo>
                    <a:pt x="726975" y="1233410"/>
                    <a:pt x="731710" y="1234959"/>
                    <a:pt x="735584" y="1232997"/>
                  </a:cubicBezTo>
                  <a:cubicBezTo>
                    <a:pt x="735996" y="1232785"/>
                    <a:pt x="736396" y="1232547"/>
                    <a:pt x="736758" y="1232272"/>
                  </a:cubicBezTo>
                  <a:close/>
                </a:path>
              </a:pathLst>
            </a:custGeom>
            <a:solidFill>
              <a:srgbClr val="000000"/>
            </a:solidFill>
            <a:ln w="12483" cap="flat">
              <a:noFill/>
              <a:prstDash val="solid"/>
              <a:miter/>
            </a:ln>
          </p:spPr>
          <p:txBody>
            <a:bodyPr rtlCol="0" anchor="ctr"/>
            <a:lstStyle/>
            <a:p>
              <a:endParaRPr lang="en-US"/>
            </a:p>
          </p:txBody>
        </p:sp>
        <p:sp>
          <p:nvSpPr>
            <p:cNvPr id="1920" name="Freeform: Shape 1919">
              <a:extLst>
                <a:ext uri="{FF2B5EF4-FFF2-40B4-BE49-F238E27FC236}">
                  <a16:creationId xmlns:a16="http://schemas.microsoft.com/office/drawing/2014/main" id="{0469A2FA-8AC8-4162-A810-FB1591A5BFCC}"/>
                </a:ext>
              </a:extLst>
            </p:cNvPr>
            <p:cNvSpPr/>
            <p:nvPr/>
          </p:nvSpPr>
          <p:spPr>
            <a:xfrm>
              <a:off x="8942119" y="4430971"/>
              <a:ext cx="37007" cy="323140"/>
            </a:xfrm>
            <a:custGeom>
              <a:avLst/>
              <a:gdLst>
                <a:gd name="connsiteX0" fmla="*/ 17415 w 37007"/>
                <a:gd name="connsiteY0" fmla="*/ 17637 h 323140"/>
                <a:gd name="connsiteX1" fmla="*/ 17415 w 37007"/>
                <a:gd name="connsiteY1" fmla="*/ 14888 h 323140"/>
                <a:gd name="connsiteX2" fmla="*/ 17415 w 37007"/>
                <a:gd name="connsiteY2" fmla="*/ 10015 h 323140"/>
                <a:gd name="connsiteX3" fmla="*/ 13416 w 37007"/>
                <a:gd name="connsiteY3" fmla="*/ 2018 h 323140"/>
                <a:gd name="connsiteX4" fmla="*/ 11667 w 37007"/>
                <a:gd name="connsiteY4" fmla="*/ 894 h 323140"/>
                <a:gd name="connsiteX5" fmla="*/ 7669 w 37007"/>
                <a:gd name="connsiteY5" fmla="*/ 19 h 323140"/>
                <a:gd name="connsiteX6" fmla="*/ 7669 w 37007"/>
                <a:gd name="connsiteY6" fmla="*/ 19 h 323140"/>
                <a:gd name="connsiteX7" fmla="*/ 4545 w 37007"/>
                <a:gd name="connsiteY7" fmla="*/ 1143 h 323140"/>
                <a:gd name="connsiteX8" fmla="*/ 3046 w 37007"/>
                <a:gd name="connsiteY8" fmla="*/ 2393 h 323140"/>
                <a:gd name="connsiteX9" fmla="*/ 1796 w 37007"/>
                <a:gd name="connsiteY9" fmla="*/ 3642 h 323140"/>
                <a:gd name="connsiteX10" fmla="*/ 922 w 37007"/>
                <a:gd name="connsiteY10" fmla="*/ 5267 h 323140"/>
                <a:gd name="connsiteX11" fmla="*/ 47 w 37007"/>
                <a:gd name="connsiteY11" fmla="*/ 7141 h 323140"/>
                <a:gd name="connsiteX12" fmla="*/ 47 w 37007"/>
                <a:gd name="connsiteY12" fmla="*/ 9015 h 323140"/>
                <a:gd name="connsiteX13" fmla="*/ 47 w 37007"/>
                <a:gd name="connsiteY13" fmla="*/ 11264 h 323140"/>
                <a:gd name="connsiteX14" fmla="*/ 47 w 37007"/>
                <a:gd name="connsiteY14" fmla="*/ 11264 h 323140"/>
                <a:gd name="connsiteX15" fmla="*/ 18289 w 37007"/>
                <a:gd name="connsiteY15" fmla="*/ 295276 h 323140"/>
                <a:gd name="connsiteX16" fmla="*/ 18289 w 37007"/>
                <a:gd name="connsiteY16" fmla="*/ 301773 h 323140"/>
                <a:gd name="connsiteX17" fmla="*/ 18914 w 37007"/>
                <a:gd name="connsiteY17" fmla="*/ 313144 h 323140"/>
                <a:gd name="connsiteX18" fmla="*/ 28410 w 37007"/>
                <a:gd name="connsiteY18" fmla="*/ 323140 h 323140"/>
                <a:gd name="connsiteX19" fmla="*/ 28660 w 37007"/>
                <a:gd name="connsiteY19" fmla="*/ 323140 h 323140"/>
                <a:gd name="connsiteX20" fmla="*/ 36906 w 37007"/>
                <a:gd name="connsiteY20" fmla="*/ 311519 h 323140"/>
                <a:gd name="connsiteX21" fmla="*/ 18664 w 37007"/>
                <a:gd name="connsiteY21" fmla="*/ 27133 h 323140"/>
                <a:gd name="connsiteX22" fmla="*/ 18664 w 37007"/>
                <a:gd name="connsiteY22" fmla="*/ 20761 h 32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7" h="323140">
                  <a:moveTo>
                    <a:pt x="17415" y="17637"/>
                  </a:moveTo>
                  <a:lnTo>
                    <a:pt x="17415" y="14888"/>
                  </a:lnTo>
                  <a:lnTo>
                    <a:pt x="17415" y="10015"/>
                  </a:lnTo>
                  <a:cubicBezTo>
                    <a:pt x="17215" y="6916"/>
                    <a:pt x="15778" y="4030"/>
                    <a:pt x="13416" y="2018"/>
                  </a:cubicBezTo>
                  <a:cubicBezTo>
                    <a:pt x="12916" y="1531"/>
                    <a:pt x="12317" y="1143"/>
                    <a:pt x="11667" y="894"/>
                  </a:cubicBezTo>
                  <a:cubicBezTo>
                    <a:pt x="10442" y="219"/>
                    <a:pt x="9056" y="-81"/>
                    <a:pt x="7669" y="19"/>
                  </a:cubicBezTo>
                  <a:lnTo>
                    <a:pt x="7669" y="19"/>
                  </a:lnTo>
                  <a:cubicBezTo>
                    <a:pt x="6557" y="144"/>
                    <a:pt x="5482" y="531"/>
                    <a:pt x="4545" y="1143"/>
                  </a:cubicBezTo>
                  <a:cubicBezTo>
                    <a:pt x="3970" y="1456"/>
                    <a:pt x="3458" y="1880"/>
                    <a:pt x="3046" y="2393"/>
                  </a:cubicBezTo>
                  <a:cubicBezTo>
                    <a:pt x="2546" y="2705"/>
                    <a:pt x="2109" y="3143"/>
                    <a:pt x="1796" y="3642"/>
                  </a:cubicBezTo>
                  <a:cubicBezTo>
                    <a:pt x="1459" y="4155"/>
                    <a:pt x="1159" y="4704"/>
                    <a:pt x="922" y="5267"/>
                  </a:cubicBezTo>
                  <a:cubicBezTo>
                    <a:pt x="534" y="5842"/>
                    <a:pt x="235" y="6479"/>
                    <a:pt x="47" y="7141"/>
                  </a:cubicBezTo>
                  <a:cubicBezTo>
                    <a:pt x="-16" y="7766"/>
                    <a:pt x="-16" y="8391"/>
                    <a:pt x="47" y="9015"/>
                  </a:cubicBezTo>
                  <a:cubicBezTo>
                    <a:pt x="-16" y="9765"/>
                    <a:pt x="-16" y="10515"/>
                    <a:pt x="47" y="11264"/>
                  </a:cubicBezTo>
                  <a:lnTo>
                    <a:pt x="47" y="11264"/>
                  </a:lnTo>
                  <a:lnTo>
                    <a:pt x="18289" y="295276"/>
                  </a:lnTo>
                  <a:lnTo>
                    <a:pt x="18289" y="301773"/>
                  </a:lnTo>
                  <a:lnTo>
                    <a:pt x="18914" y="313144"/>
                  </a:lnTo>
                  <a:cubicBezTo>
                    <a:pt x="18777" y="318529"/>
                    <a:pt x="23025" y="323002"/>
                    <a:pt x="28410" y="323140"/>
                  </a:cubicBezTo>
                  <a:cubicBezTo>
                    <a:pt x="28485" y="323140"/>
                    <a:pt x="28572" y="323140"/>
                    <a:pt x="28660" y="323140"/>
                  </a:cubicBezTo>
                  <a:cubicBezTo>
                    <a:pt x="34057" y="322065"/>
                    <a:pt x="37668" y="316967"/>
                    <a:pt x="36906" y="311519"/>
                  </a:cubicBezTo>
                  <a:lnTo>
                    <a:pt x="18664" y="27133"/>
                  </a:lnTo>
                  <a:lnTo>
                    <a:pt x="18664" y="20761"/>
                  </a:lnTo>
                  <a:close/>
                </a:path>
              </a:pathLst>
            </a:custGeom>
            <a:solidFill>
              <a:srgbClr val="000000"/>
            </a:solidFill>
            <a:ln w="12483" cap="flat">
              <a:noFill/>
              <a:prstDash val="solid"/>
              <a:miter/>
            </a:ln>
          </p:spPr>
          <p:txBody>
            <a:bodyPr rtlCol="0" anchor="ctr"/>
            <a:lstStyle/>
            <a:p>
              <a:endParaRPr lang="en-US"/>
            </a:p>
          </p:txBody>
        </p:sp>
        <p:sp>
          <p:nvSpPr>
            <p:cNvPr id="1921" name="Freeform: Shape 1920">
              <a:extLst>
                <a:ext uri="{FF2B5EF4-FFF2-40B4-BE49-F238E27FC236}">
                  <a16:creationId xmlns:a16="http://schemas.microsoft.com/office/drawing/2014/main" id="{4D6A1C59-9191-4278-9C14-94C13363E9E2}"/>
                </a:ext>
              </a:extLst>
            </p:cNvPr>
            <p:cNvSpPr/>
            <p:nvPr/>
          </p:nvSpPr>
          <p:spPr>
            <a:xfrm>
              <a:off x="9749086" y="5211943"/>
              <a:ext cx="469854" cy="281675"/>
            </a:xfrm>
            <a:custGeom>
              <a:avLst/>
              <a:gdLst>
                <a:gd name="connsiteX0" fmla="*/ 1107 w 469854"/>
                <a:gd name="connsiteY0" fmla="*/ 275625 h 281675"/>
                <a:gd name="connsiteX1" fmla="*/ 11477 w 469854"/>
                <a:gd name="connsiteY1" fmla="*/ 281348 h 281675"/>
                <a:gd name="connsiteX2" fmla="*/ 12976 w 469854"/>
                <a:gd name="connsiteY2" fmla="*/ 280748 h 281675"/>
                <a:gd name="connsiteX3" fmla="*/ 462782 w 469854"/>
                <a:gd name="connsiteY3" fmla="*/ 21852 h 281675"/>
                <a:gd name="connsiteX4" fmla="*/ 464656 w 469854"/>
                <a:gd name="connsiteY4" fmla="*/ 20727 h 281675"/>
                <a:gd name="connsiteX5" fmla="*/ 468904 w 469854"/>
                <a:gd name="connsiteY5" fmla="*/ 6358 h 281675"/>
                <a:gd name="connsiteX6" fmla="*/ 458759 w 469854"/>
                <a:gd name="connsiteY6" fmla="*/ 248 h 281675"/>
                <a:gd name="connsiteX7" fmla="*/ 456410 w 469854"/>
                <a:gd name="connsiteY7" fmla="*/ 1235 h 281675"/>
                <a:gd name="connsiteX8" fmla="*/ 445540 w 469854"/>
                <a:gd name="connsiteY8" fmla="*/ 7482 h 281675"/>
                <a:gd name="connsiteX9" fmla="*/ 11227 w 469854"/>
                <a:gd name="connsiteY9" fmla="*/ 257383 h 281675"/>
                <a:gd name="connsiteX10" fmla="*/ 5230 w 469854"/>
                <a:gd name="connsiteY10" fmla="*/ 260881 h 281675"/>
                <a:gd name="connsiteX11" fmla="*/ 1107 w 469854"/>
                <a:gd name="connsiteY11" fmla="*/ 275625 h 28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854" h="281675">
                  <a:moveTo>
                    <a:pt x="1107" y="275625"/>
                  </a:moveTo>
                  <a:cubicBezTo>
                    <a:pt x="2393" y="280061"/>
                    <a:pt x="7029" y="282623"/>
                    <a:pt x="11477" y="281348"/>
                  </a:cubicBezTo>
                  <a:cubicBezTo>
                    <a:pt x="11989" y="281198"/>
                    <a:pt x="12501" y="280998"/>
                    <a:pt x="12976" y="280748"/>
                  </a:cubicBezTo>
                  <a:lnTo>
                    <a:pt x="462782" y="21852"/>
                  </a:lnTo>
                  <a:lnTo>
                    <a:pt x="464656" y="20727"/>
                  </a:lnTo>
                  <a:cubicBezTo>
                    <a:pt x="469342" y="17578"/>
                    <a:pt x="471129" y="11543"/>
                    <a:pt x="468904" y="6358"/>
                  </a:cubicBezTo>
                  <a:cubicBezTo>
                    <a:pt x="467792" y="1872"/>
                    <a:pt x="463244" y="-864"/>
                    <a:pt x="458759" y="248"/>
                  </a:cubicBezTo>
                  <a:cubicBezTo>
                    <a:pt x="457934" y="460"/>
                    <a:pt x="457134" y="785"/>
                    <a:pt x="456410" y="1235"/>
                  </a:cubicBezTo>
                  <a:lnTo>
                    <a:pt x="445540" y="7482"/>
                  </a:lnTo>
                  <a:lnTo>
                    <a:pt x="11227" y="257383"/>
                  </a:lnTo>
                  <a:lnTo>
                    <a:pt x="5230" y="260881"/>
                  </a:lnTo>
                  <a:cubicBezTo>
                    <a:pt x="407" y="264105"/>
                    <a:pt x="-1355" y="270365"/>
                    <a:pt x="1107" y="275625"/>
                  </a:cubicBezTo>
                  <a:close/>
                </a:path>
              </a:pathLst>
            </a:custGeom>
            <a:solidFill>
              <a:srgbClr val="000000"/>
            </a:solidFill>
            <a:ln w="12483" cap="flat">
              <a:noFill/>
              <a:prstDash val="solid"/>
              <a:miter/>
            </a:ln>
          </p:spPr>
          <p:txBody>
            <a:bodyPr rtlCol="0" anchor="ctr"/>
            <a:lstStyle/>
            <a:p>
              <a:endParaRPr lang="en-US"/>
            </a:p>
          </p:txBody>
        </p:sp>
        <p:sp>
          <p:nvSpPr>
            <p:cNvPr id="1922" name="Freeform: Shape 1921">
              <a:extLst>
                <a:ext uri="{FF2B5EF4-FFF2-40B4-BE49-F238E27FC236}">
                  <a16:creationId xmlns:a16="http://schemas.microsoft.com/office/drawing/2014/main" id="{51DC47F3-1C4F-4B8C-853B-526DDFF8A1B2}"/>
                </a:ext>
              </a:extLst>
            </p:cNvPr>
            <p:cNvSpPr/>
            <p:nvPr/>
          </p:nvSpPr>
          <p:spPr>
            <a:xfrm>
              <a:off x="7933602" y="3831872"/>
              <a:ext cx="266209" cy="380917"/>
            </a:xfrm>
            <a:custGeom>
              <a:avLst/>
              <a:gdLst>
                <a:gd name="connsiteX0" fmla="*/ 260637 w 266209"/>
                <a:gd name="connsiteY0" fmla="*/ 376331 h 380917"/>
                <a:gd name="connsiteX1" fmla="*/ 261512 w 266209"/>
                <a:gd name="connsiteY1" fmla="*/ 377581 h 380917"/>
                <a:gd name="connsiteX2" fmla="*/ 263511 w 266209"/>
                <a:gd name="connsiteY2" fmla="*/ 380330 h 380917"/>
                <a:gd name="connsiteX3" fmla="*/ 265423 w 266209"/>
                <a:gd name="connsiteY3" fmla="*/ 380667 h 380917"/>
                <a:gd name="connsiteX4" fmla="*/ 265760 w 266209"/>
                <a:gd name="connsiteY4" fmla="*/ 380330 h 380917"/>
                <a:gd name="connsiteX5" fmla="*/ 265760 w 266209"/>
                <a:gd name="connsiteY5" fmla="*/ 377706 h 380917"/>
                <a:gd name="connsiteX6" fmla="*/ 265760 w 266209"/>
                <a:gd name="connsiteY6" fmla="*/ 377706 h 380917"/>
                <a:gd name="connsiteX7" fmla="*/ 264886 w 266209"/>
                <a:gd name="connsiteY7" fmla="*/ 376581 h 380917"/>
                <a:gd name="connsiteX8" fmla="*/ 236648 w 266209"/>
                <a:gd name="connsiteY8" fmla="*/ 336347 h 380917"/>
                <a:gd name="connsiteX9" fmla="*/ 25239 w 266209"/>
                <a:gd name="connsiteY9" fmla="*/ 33593 h 380917"/>
                <a:gd name="connsiteX10" fmla="*/ 2124 w 266209"/>
                <a:gd name="connsiteY10" fmla="*/ 356 h 380917"/>
                <a:gd name="connsiteX11" fmla="*/ 2124 w 266209"/>
                <a:gd name="connsiteY11" fmla="*/ 356 h 380917"/>
                <a:gd name="connsiteX12" fmla="*/ 375 w 266209"/>
                <a:gd name="connsiteY12" fmla="*/ 356 h 380917"/>
                <a:gd name="connsiteX13" fmla="*/ 375 w 266209"/>
                <a:gd name="connsiteY13" fmla="*/ 356 h 380917"/>
                <a:gd name="connsiteX14" fmla="*/ 375 w 266209"/>
                <a:gd name="connsiteY14" fmla="*/ 2855 h 380917"/>
                <a:gd name="connsiteX15" fmla="*/ 25364 w 266209"/>
                <a:gd name="connsiteY15" fmla="*/ 38466 h 380917"/>
                <a:gd name="connsiteX16" fmla="*/ 232525 w 266209"/>
                <a:gd name="connsiteY16" fmla="*/ 336347 h 38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209" h="380917">
                  <a:moveTo>
                    <a:pt x="260637" y="376331"/>
                  </a:moveTo>
                  <a:lnTo>
                    <a:pt x="261512" y="377581"/>
                  </a:lnTo>
                  <a:lnTo>
                    <a:pt x="263511" y="380330"/>
                  </a:lnTo>
                  <a:cubicBezTo>
                    <a:pt x="263949" y="380955"/>
                    <a:pt x="264811" y="381104"/>
                    <a:pt x="265423" y="380667"/>
                  </a:cubicBezTo>
                  <a:cubicBezTo>
                    <a:pt x="265560" y="380567"/>
                    <a:pt x="265673" y="380455"/>
                    <a:pt x="265760" y="380330"/>
                  </a:cubicBezTo>
                  <a:cubicBezTo>
                    <a:pt x="266360" y="379555"/>
                    <a:pt x="266360" y="378481"/>
                    <a:pt x="265760" y="377706"/>
                  </a:cubicBezTo>
                  <a:lnTo>
                    <a:pt x="265760" y="377706"/>
                  </a:lnTo>
                  <a:lnTo>
                    <a:pt x="264886" y="376581"/>
                  </a:lnTo>
                  <a:lnTo>
                    <a:pt x="236648" y="336347"/>
                  </a:lnTo>
                  <a:lnTo>
                    <a:pt x="25239" y="33593"/>
                  </a:lnTo>
                  <a:lnTo>
                    <a:pt x="2124" y="356"/>
                  </a:lnTo>
                  <a:lnTo>
                    <a:pt x="2124" y="356"/>
                  </a:lnTo>
                  <a:cubicBezTo>
                    <a:pt x="1637" y="-119"/>
                    <a:pt x="862" y="-119"/>
                    <a:pt x="375" y="356"/>
                  </a:cubicBezTo>
                  <a:cubicBezTo>
                    <a:pt x="375" y="356"/>
                    <a:pt x="375" y="356"/>
                    <a:pt x="375" y="356"/>
                  </a:cubicBezTo>
                  <a:cubicBezTo>
                    <a:pt x="-125" y="1118"/>
                    <a:pt x="-125" y="2093"/>
                    <a:pt x="375" y="2855"/>
                  </a:cubicBezTo>
                  <a:lnTo>
                    <a:pt x="25364" y="38466"/>
                  </a:lnTo>
                  <a:lnTo>
                    <a:pt x="232525" y="336347"/>
                  </a:lnTo>
                  <a:close/>
                </a:path>
              </a:pathLst>
            </a:custGeom>
            <a:solidFill>
              <a:srgbClr val="000000"/>
            </a:solidFill>
            <a:ln w="12483" cap="flat">
              <a:noFill/>
              <a:prstDash val="solid"/>
              <a:miter/>
            </a:ln>
          </p:spPr>
          <p:txBody>
            <a:bodyPr rtlCol="0" anchor="ctr"/>
            <a:lstStyle/>
            <a:p>
              <a:endParaRPr lang="en-US"/>
            </a:p>
          </p:txBody>
        </p:sp>
        <p:sp>
          <p:nvSpPr>
            <p:cNvPr id="1923" name="Freeform: Shape 1922">
              <a:extLst>
                <a:ext uri="{FF2B5EF4-FFF2-40B4-BE49-F238E27FC236}">
                  <a16:creationId xmlns:a16="http://schemas.microsoft.com/office/drawing/2014/main" id="{A7464C7B-6719-4F44-8DD1-7D5679FCA8B9}"/>
                </a:ext>
              </a:extLst>
            </p:cNvPr>
            <p:cNvSpPr/>
            <p:nvPr/>
          </p:nvSpPr>
          <p:spPr>
            <a:xfrm>
              <a:off x="12045105" y="3320050"/>
              <a:ext cx="42748" cy="290767"/>
            </a:xfrm>
            <a:custGeom>
              <a:avLst/>
              <a:gdLst>
                <a:gd name="connsiteX0" fmla="*/ 220 w 42748"/>
                <a:gd name="connsiteY0" fmla="*/ 278272 h 290767"/>
                <a:gd name="connsiteX1" fmla="*/ 8217 w 42748"/>
                <a:gd name="connsiteY1" fmla="*/ 290767 h 290767"/>
                <a:gd name="connsiteX2" fmla="*/ 18088 w 42748"/>
                <a:gd name="connsiteY2" fmla="*/ 281146 h 290767"/>
                <a:gd name="connsiteX3" fmla="*/ 18088 w 42748"/>
                <a:gd name="connsiteY3" fmla="*/ 281146 h 290767"/>
                <a:gd name="connsiteX4" fmla="*/ 19712 w 42748"/>
                <a:gd name="connsiteY4" fmla="*/ 262028 h 290767"/>
                <a:gd name="connsiteX5" fmla="*/ 42702 w 42748"/>
                <a:gd name="connsiteY5" fmla="*/ 11004 h 290767"/>
                <a:gd name="connsiteX6" fmla="*/ 42702 w 42748"/>
                <a:gd name="connsiteY6" fmla="*/ 11004 h 290767"/>
                <a:gd name="connsiteX7" fmla="*/ 42702 w 42748"/>
                <a:gd name="connsiteY7" fmla="*/ 8879 h 290767"/>
                <a:gd name="connsiteX8" fmla="*/ 42702 w 42748"/>
                <a:gd name="connsiteY8" fmla="*/ 6880 h 290767"/>
                <a:gd name="connsiteX9" fmla="*/ 41952 w 42748"/>
                <a:gd name="connsiteY9" fmla="*/ 5131 h 290767"/>
                <a:gd name="connsiteX10" fmla="*/ 40828 w 42748"/>
                <a:gd name="connsiteY10" fmla="*/ 3382 h 290767"/>
                <a:gd name="connsiteX11" fmla="*/ 35330 w 42748"/>
                <a:gd name="connsiteY11" fmla="*/ 8 h 290767"/>
                <a:gd name="connsiteX12" fmla="*/ 25459 w 42748"/>
                <a:gd name="connsiteY12" fmla="*/ 9117 h 290767"/>
                <a:gd name="connsiteX13" fmla="*/ 25459 w 42748"/>
                <a:gd name="connsiteY13" fmla="*/ 9629 h 290767"/>
                <a:gd name="connsiteX14" fmla="*/ 25459 w 42748"/>
                <a:gd name="connsiteY14" fmla="*/ 15252 h 290767"/>
                <a:gd name="connsiteX15" fmla="*/ 25459 w 42748"/>
                <a:gd name="connsiteY15" fmla="*/ 18251 h 29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748" h="290767">
                  <a:moveTo>
                    <a:pt x="220" y="278272"/>
                  </a:moveTo>
                  <a:cubicBezTo>
                    <a:pt x="-941" y="283920"/>
                    <a:pt x="2607" y="289468"/>
                    <a:pt x="8217" y="290767"/>
                  </a:cubicBezTo>
                  <a:cubicBezTo>
                    <a:pt x="13602" y="290842"/>
                    <a:pt x="18013" y="286531"/>
                    <a:pt x="18088" y="281146"/>
                  </a:cubicBezTo>
                  <a:cubicBezTo>
                    <a:pt x="18088" y="281146"/>
                    <a:pt x="18088" y="281146"/>
                    <a:pt x="18088" y="281146"/>
                  </a:cubicBezTo>
                  <a:lnTo>
                    <a:pt x="19712" y="262028"/>
                  </a:lnTo>
                  <a:lnTo>
                    <a:pt x="42702" y="11004"/>
                  </a:lnTo>
                  <a:lnTo>
                    <a:pt x="42702" y="11004"/>
                  </a:lnTo>
                  <a:cubicBezTo>
                    <a:pt x="42765" y="10291"/>
                    <a:pt x="42765" y="9592"/>
                    <a:pt x="42702" y="8879"/>
                  </a:cubicBezTo>
                  <a:lnTo>
                    <a:pt x="42702" y="6880"/>
                  </a:lnTo>
                  <a:lnTo>
                    <a:pt x="41952" y="5131"/>
                  </a:lnTo>
                  <a:lnTo>
                    <a:pt x="40828" y="3382"/>
                  </a:lnTo>
                  <a:cubicBezTo>
                    <a:pt x="39504" y="1582"/>
                    <a:pt x="37529" y="383"/>
                    <a:pt x="35330" y="8"/>
                  </a:cubicBezTo>
                  <a:cubicBezTo>
                    <a:pt x="30095" y="-204"/>
                    <a:pt x="25672" y="3881"/>
                    <a:pt x="25459" y="9117"/>
                  </a:cubicBezTo>
                  <a:cubicBezTo>
                    <a:pt x="25459" y="9292"/>
                    <a:pt x="25459" y="9454"/>
                    <a:pt x="25459" y="9629"/>
                  </a:cubicBezTo>
                  <a:lnTo>
                    <a:pt x="25459" y="15252"/>
                  </a:lnTo>
                  <a:lnTo>
                    <a:pt x="25459" y="18251"/>
                  </a:lnTo>
                  <a:close/>
                </a:path>
              </a:pathLst>
            </a:custGeom>
            <a:solidFill>
              <a:srgbClr val="000000"/>
            </a:solidFill>
            <a:ln w="12483" cap="flat">
              <a:noFill/>
              <a:prstDash val="solid"/>
              <a:miter/>
            </a:ln>
          </p:spPr>
          <p:txBody>
            <a:bodyPr rtlCol="0" anchor="ctr"/>
            <a:lstStyle/>
            <a:p>
              <a:endParaRPr lang="en-US"/>
            </a:p>
          </p:txBody>
        </p:sp>
        <p:sp>
          <p:nvSpPr>
            <p:cNvPr id="1924" name="Freeform: Shape 1923">
              <a:extLst>
                <a:ext uri="{FF2B5EF4-FFF2-40B4-BE49-F238E27FC236}">
                  <a16:creationId xmlns:a16="http://schemas.microsoft.com/office/drawing/2014/main" id="{B5B83879-74E3-462B-B47D-6343FAD4C58A}"/>
                </a:ext>
              </a:extLst>
            </p:cNvPr>
            <p:cNvSpPr/>
            <p:nvPr/>
          </p:nvSpPr>
          <p:spPr>
            <a:xfrm>
              <a:off x="7697660" y="6452405"/>
              <a:ext cx="52255" cy="262424"/>
            </a:xfrm>
            <a:custGeom>
              <a:avLst/>
              <a:gdLst>
                <a:gd name="connsiteX0" fmla="*/ 5917 w 52255"/>
                <a:gd name="connsiteY0" fmla="*/ 1279 h 262424"/>
                <a:gd name="connsiteX1" fmla="*/ 169 w 52255"/>
                <a:gd name="connsiteY1" fmla="*/ 13024 h 262424"/>
                <a:gd name="connsiteX2" fmla="*/ 30781 w 52255"/>
                <a:gd name="connsiteY2" fmla="*/ 228688 h 262424"/>
                <a:gd name="connsiteX3" fmla="*/ 34280 w 52255"/>
                <a:gd name="connsiteY3" fmla="*/ 253678 h 262424"/>
                <a:gd name="connsiteX4" fmla="*/ 43151 w 52255"/>
                <a:gd name="connsiteY4" fmla="*/ 262424 h 262424"/>
                <a:gd name="connsiteX5" fmla="*/ 44650 w 52255"/>
                <a:gd name="connsiteY5" fmla="*/ 262424 h 262424"/>
                <a:gd name="connsiteX6" fmla="*/ 52022 w 52255"/>
                <a:gd name="connsiteY6" fmla="*/ 249929 h 262424"/>
                <a:gd name="connsiteX7" fmla="*/ 17912 w 52255"/>
                <a:gd name="connsiteY7" fmla="*/ 8900 h 262424"/>
                <a:gd name="connsiteX8" fmla="*/ 14288 w 52255"/>
                <a:gd name="connsiteY8" fmla="*/ 2028 h 262424"/>
                <a:gd name="connsiteX9" fmla="*/ 8291 w 52255"/>
                <a:gd name="connsiteY9" fmla="*/ 29 h 262424"/>
                <a:gd name="connsiteX10" fmla="*/ 7541 w 52255"/>
                <a:gd name="connsiteY10" fmla="*/ 29 h 262424"/>
                <a:gd name="connsiteX11" fmla="*/ 5917 w 52255"/>
                <a:gd name="connsiteY11" fmla="*/ 1279 h 26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55" h="262424">
                  <a:moveTo>
                    <a:pt x="5917" y="1279"/>
                  </a:moveTo>
                  <a:cubicBezTo>
                    <a:pt x="1656" y="3540"/>
                    <a:pt x="-668" y="8276"/>
                    <a:pt x="169" y="13024"/>
                  </a:cubicBezTo>
                  <a:lnTo>
                    <a:pt x="30781" y="228688"/>
                  </a:lnTo>
                  <a:lnTo>
                    <a:pt x="34280" y="253678"/>
                  </a:lnTo>
                  <a:cubicBezTo>
                    <a:pt x="34642" y="258401"/>
                    <a:pt x="38428" y="262125"/>
                    <a:pt x="43151" y="262424"/>
                  </a:cubicBezTo>
                  <a:lnTo>
                    <a:pt x="44650" y="262424"/>
                  </a:lnTo>
                  <a:cubicBezTo>
                    <a:pt x="49973" y="260800"/>
                    <a:pt x="53171" y="255377"/>
                    <a:pt x="52022" y="249929"/>
                  </a:cubicBezTo>
                  <a:lnTo>
                    <a:pt x="17912" y="8900"/>
                  </a:lnTo>
                  <a:cubicBezTo>
                    <a:pt x="17537" y="6264"/>
                    <a:pt x="16262" y="3828"/>
                    <a:pt x="14288" y="2028"/>
                  </a:cubicBezTo>
                  <a:cubicBezTo>
                    <a:pt x="12651" y="566"/>
                    <a:pt x="10477" y="-158"/>
                    <a:pt x="8291" y="29"/>
                  </a:cubicBezTo>
                  <a:lnTo>
                    <a:pt x="7541" y="29"/>
                  </a:lnTo>
                  <a:cubicBezTo>
                    <a:pt x="6941" y="354"/>
                    <a:pt x="6392" y="779"/>
                    <a:pt x="5917" y="1279"/>
                  </a:cubicBezTo>
                  <a:close/>
                </a:path>
              </a:pathLst>
            </a:custGeom>
            <a:solidFill>
              <a:srgbClr val="000000"/>
            </a:solidFill>
            <a:ln w="12483" cap="flat">
              <a:noFill/>
              <a:prstDash val="solid"/>
              <a:miter/>
            </a:ln>
          </p:spPr>
          <p:txBody>
            <a:bodyPr rtlCol="0" anchor="ctr"/>
            <a:lstStyle/>
            <a:p>
              <a:endParaRPr lang="en-US"/>
            </a:p>
          </p:txBody>
        </p:sp>
        <p:sp>
          <p:nvSpPr>
            <p:cNvPr id="1925" name="Freeform: Shape 1924">
              <a:extLst>
                <a:ext uri="{FF2B5EF4-FFF2-40B4-BE49-F238E27FC236}">
                  <a16:creationId xmlns:a16="http://schemas.microsoft.com/office/drawing/2014/main" id="{1B6F5F50-3B24-4200-88B5-4B52CA6F09CA}"/>
                </a:ext>
              </a:extLst>
            </p:cNvPr>
            <p:cNvSpPr/>
            <p:nvPr/>
          </p:nvSpPr>
          <p:spPr>
            <a:xfrm>
              <a:off x="10865960" y="6622491"/>
              <a:ext cx="12119" cy="249774"/>
            </a:xfrm>
            <a:custGeom>
              <a:avLst/>
              <a:gdLst>
                <a:gd name="connsiteX0" fmla="*/ 11995 w 12119"/>
                <a:gd name="connsiteY0" fmla="*/ 12620 h 249774"/>
                <a:gd name="connsiteX1" fmla="*/ 11995 w 12119"/>
                <a:gd name="connsiteY1" fmla="*/ 2124 h 249774"/>
                <a:gd name="connsiteX2" fmla="*/ 10495 w 12119"/>
                <a:gd name="connsiteY2" fmla="*/ 0 h 249774"/>
                <a:gd name="connsiteX3" fmla="*/ 8871 w 12119"/>
                <a:gd name="connsiteY3" fmla="*/ 1862 h 249774"/>
                <a:gd name="connsiteX4" fmla="*/ 8871 w 12119"/>
                <a:gd name="connsiteY4" fmla="*/ 1874 h 249774"/>
                <a:gd name="connsiteX5" fmla="*/ 8871 w 12119"/>
                <a:gd name="connsiteY5" fmla="*/ 12370 h 249774"/>
                <a:gd name="connsiteX6" fmla="*/ 8871 w 12119"/>
                <a:gd name="connsiteY6" fmla="*/ 15494 h 249774"/>
                <a:gd name="connsiteX7" fmla="*/ 0 w 12119"/>
                <a:gd name="connsiteY7" fmla="*/ 249775 h 249774"/>
                <a:gd name="connsiteX8" fmla="*/ 3249 w 12119"/>
                <a:gd name="connsiteY8" fmla="*/ 249775 h 249774"/>
                <a:gd name="connsiteX9" fmla="*/ 12120 w 12119"/>
                <a:gd name="connsiteY9" fmla="*/ 13494 h 2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9" h="249774">
                  <a:moveTo>
                    <a:pt x="11995" y="12620"/>
                  </a:moveTo>
                  <a:lnTo>
                    <a:pt x="11995" y="2124"/>
                  </a:lnTo>
                  <a:cubicBezTo>
                    <a:pt x="12082" y="1149"/>
                    <a:pt x="11445" y="237"/>
                    <a:pt x="10495" y="0"/>
                  </a:cubicBezTo>
                  <a:cubicBezTo>
                    <a:pt x="9533" y="62"/>
                    <a:pt x="8809" y="900"/>
                    <a:pt x="8871" y="1862"/>
                  </a:cubicBezTo>
                  <a:cubicBezTo>
                    <a:pt x="8871" y="1874"/>
                    <a:pt x="8871" y="1874"/>
                    <a:pt x="8871" y="1874"/>
                  </a:cubicBezTo>
                  <a:lnTo>
                    <a:pt x="8871" y="12370"/>
                  </a:lnTo>
                  <a:lnTo>
                    <a:pt x="8871" y="15494"/>
                  </a:lnTo>
                  <a:lnTo>
                    <a:pt x="0" y="249775"/>
                  </a:lnTo>
                  <a:lnTo>
                    <a:pt x="3249" y="249775"/>
                  </a:lnTo>
                  <a:lnTo>
                    <a:pt x="12120" y="13494"/>
                  </a:lnTo>
                  <a:close/>
                </a:path>
              </a:pathLst>
            </a:custGeom>
            <a:solidFill>
              <a:srgbClr val="000000"/>
            </a:solidFill>
            <a:ln w="12483" cap="flat">
              <a:noFill/>
              <a:prstDash val="solid"/>
              <a:miter/>
            </a:ln>
          </p:spPr>
          <p:txBody>
            <a:bodyPr rtlCol="0" anchor="ctr"/>
            <a:lstStyle/>
            <a:p>
              <a:endParaRPr lang="en-US"/>
            </a:p>
          </p:txBody>
        </p:sp>
        <p:sp>
          <p:nvSpPr>
            <p:cNvPr id="1926" name="Freeform: Shape 1925">
              <a:extLst>
                <a:ext uri="{FF2B5EF4-FFF2-40B4-BE49-F238E27FC236}">
                  <a16:creationId xmlns:a16="http://schemas.microsoft.com/office/drawing/2014/main" id="{CEA58CE4-DE2B-46D1-A60F-AC542C88BB7D}"/>
                </a:ext>
              </a:extLst>
            </p:cNvPr>
            <p:cNvSpPr/>
            <p:nvPr/>
          </p:nvSpPr>
          <p:spPr>
            <a:xfrm>
              <a:off x="12078861" y="5638251"/>
              <a:ext cx="126145" cy="154321"/>
            </a:xfrm>
            <a:custGeom>
              <a:avLst/>
              <a:gdLst>
                <a:gd name="connsiteX0" fmla="*/ 8946 w 126145"/>
                <a:gd name="connsiteY0" fmla="*/ 8004 h 154321"/>
                <a:gd name="connsiteX1" fmla="*/ 2699 w 126145"/>
                <a:gd name="connsiteY1" fmla="*/ 507 h 154321"/>
                <a:gd name="connsiteX2" fmla="*/ 587 w 126145"/>
                <a:gd name="connsiteY2" fmla="*/ 370 h 154321"/>
                <a:gd name="connsiteX3" fmla="*/ 450 w 126145"/>
                <a:gd name="connsiteY3" fmla="*/ 507 h 154321"/>
                <a:gd name="connsiteX4" fmla="*/ 450 w 126145"/>
                <a:gd name="connsiteY4" fmla="*/ 3131 h 154321"/>
                <a:gd name="connsiteX5" fmla="*/ 6697 w 126145"/>
                <a:gd name="connsiteY5" fmla="*/ 10628 h 154321"/>
                <a:gd name="connsiteX6" fmla="*/ 9446 w 126145"/>
                <a:gd name="connsiteY6" fmla="*/ 13877 h 154321"/>
                <a:gd name="connsiteX7" fmla="*/ 126146 w 126145"/>
                <a:gd name="connsiteY7" fmla="*/ 154321 h 154321"/>
                <a:gd name="connsiteX8" fmla="*/ 126146 w 126145"/>
                <a:gd name="connsiteY8" fmla="*/ 148948 h 154321"/>
                <a:gd name="connsiteX9" fmla="*/ 8946 w 126145"/>
                <a:gd name="connsiteY9" fmla="*/ 9129 h 15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145" h="154321">
                  <a:moveTo>
                    <a:pt x="8946" y="8004"/>
                  </a:moveTo>
                  <a:lnTo>
                    <a:pt x="2699" y="507"/>
                  </a:lnTo>
                  <a:cubicBezTo>
                    <a:pt x="2149" y="-117"/>
                    <a:pt x="1200" y="-168"/>
                    <a:pt x="587" y="370"/>
                  </a:cubicBezTo>
                  <a:cubicBezTo>
                    <a:pt x="538" y="420"/>
                    <a:pt x="487" y="457"/>
                    <a:pt x="450" y="507"/>
                  </a:cubicBezTo>
                  <a:cubicBezTo>
                    <a:pt x="-150" y="1282"/>
                    <a:pt x="-150" y="2357"/>
                    <a:pt x="450" y="3131"/>
                  </a:cubicBezTo>
                  <a:lnTo>
                    <a:pt x="6697" y="10628"/>
                  </a:lnTo>
                  <a:lnTo>
                    <a:pt x="9446" y="13877"/>
                  </a:lnTo>
                  <a:lnTo>
                    <a:pt x="126146" y="154321"/>
                  </a:lnTo>
                  <a:lnTo>
                    <a:pt x="126146" y="148948"/>
                  </a:lnTo>
                  <a:lnTo>
                    <a:pt x="8946" y="9129"/>
                  </a:lnTo>
                  <a:close/>
                </a:path>
              </a:pathLst>
            </a:custGeom>
            <a:solidFill>
              <a:srgbClr val="000000"/>
            </a:solidFill>
            <a:ln w="12483" cap="flat">
              <a:noFill/>
              <a:prstDash val="solid"/>
              <a:miter/>
            </a:ln>
          </p:spPr>
          <p:txBody>
            <a:bodyPr rtlCol="0" anchor="ctr"/>
            <a:lstStyle/>
            <a:p>
              <a:endParaRPr lang="en-US"/>
            </a:p>
          </p:txBody>
        </p:sp>
        <p:sp>
          <p:nvSpPr>
            <p:cNvPr id="1927" name="Freeform: Shape 1926">
              <a:extLst>
                <a:ext uri="{FF2B5EF4-FFF2-40B4-BE49-F238E27FC236}">
                  <a16:creationId xmlns:a16="http://schemas.microsoft.com/office/drawing/2014/main" id="{DFC2AFCA-7EAA-4024-A913-DBB11347E943}"/>
                </a:ext>
              </a:extLst>
            </p:cNvPr>
            <p:cNvSpPr/>
            <p:nvPr/>
          </p:nvSpPr>
          <p:spPr>
            <a:xfrm>
              <a:off x="8134621" y="6320986"/>
              <a:ext cx="67364" cy="551280"/>
            </a:xfrm>
            <a:custGeom>
              <a:avLst/>
              <a:gdLst>
                <a:gd name="connsiteX0" fmla="*/ 2893 w 67364"/>
                <a:gd name="connsiteY0" fmla="*/ 2625 h 551280"/>
                <a:gd name="connsiteX1" fmla="*/ 2893 w 67364"/>
                <a:gd name="connsiteY1" fmla="*/ 1250 h 551280"/>
                <a:gd name="connsiteX2" fmla="*/ 2893 w 67364"/>
                <a:gd name="connsiteY2" fmla="*/ 1250 h 551280"/>
                <a:gd name="connsiteX3" fmla="*/ 1269 w 67364"/>
                <a:gd name="connsiteY3" fmla="*/ 1 h 551280"/>
                <a:gd name="connsiteX4" fmla="*/ 19 w 67364"/>
                <a:gd name="connsiteY4" fmla="*/ 2250 h 551280"/>
                <a:gd name="connsiteX5" fmla="*/ 19 w 67364"/>
                <a:gd name="connsiteY5" fmla="*/ 2250 h 551280"/>
                <a:gd name="connsiteX6" fmla="*/ 1143 w 67364"/>
                <a:gd name="connsiteY6" fmla="*/ 12121 h 551280"/>
                <a:gd name="connsiteX7" fmla="*/ 63616 w 67364"/>
                <a:gd name="connsiteY7" fmla="*/ 551281 h 551280"/>
                <a:gd name="connsiteX8" fmla="*/ 67365 w 67364"/>
                <a:gd name="connsiteY8" fmla="*/ 551281 h 551280"/>
                <a:gd name="connsiteX9" fmla="*/ 4892 w 67364"/>
                <a:gd name="connsiteY9" fmla="*/ 11621 h 55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64" h="551280">
                  <a:moveTo>
                    <a:pt x="2893" y="2625"/>
                  </a:moveTo>
                  <a:lnTo>
                    <a:pt x="2893" y="1250"/>
                  </a:lnTo>
                  <a:lnTo>
                    <a:pt x="2893" y="1250"/>
                  </a:lnTo>
                  <a:cubicBezTo>
                    <a:pt x="2718" y="500"/>
                    <a:pt x="2043" y="-24"/>
                    <a:pt x="1269" y="1"/>
                  </a:cubicBezTo>
                  <a:cubicBezTo>
                    <a:pt x="394" y="1"/>
                    <a:pt x="-106" y="1125"/>
                    <a:pt x="19" y="2250"/>
                  </a:cubicBezTo>
                  <a:lnTo>
                    <a:pt x="19" y="2250"/>
                  </a:lnTo>
                  <a:lnTo>
                    <a:pt x="1143" y="12121"/>
                  </a:lnTo>
                  <a:lnTo>
                    <a:pt x="63616" y="551281"/>
                  </a:lnTo>
                  <a:lnTo>
                    <a:pt x="67365" y="551281"/>
                  </a:lnTo>
                  <a:lnTo>
                    <a:pt x="4892" y="11621"/>
                  </a:lnTo>
                  <a:close/>
                </a:path>
              </a:pathLst>
            </a:custGeom>
            <a:solidFill>
              <a:srgbClr val="000000"/>
            </a:solidFill>
            <a:ln w="12483" cap="flat">
              <a:noFill/>
              <a:prstDash val="solid"/>
              <a:miter/>
            </a:ln>
          </p:spPr>
          <p:txBody>
            <a:bodyPr rtlCol="0" anchor="ctr"/>
            <a:lstStyle/>
            <a:p>
              <a:endParaRPr lang="en-US"/>
            </a:p>
          </p:txBody>
        </p:sp>
        <p:sp>
          <p:nvSpPr>
            <p:cNvPr id="1928" name="Freeform: Shape 1927">
              <a:extLst>
                <a:ext uri="{FF2B5EF4-FFF2-40B4-BE49-F238E27FC236}">
                  <a16:creationId xmlns:a16="http://schemas.microsoft.com/office/drawing/2014/main" id="{D8503479-A504-4A7E-AEB1-2D6A24C703EB}"/>
                </a:ext>
              </a:extLst>
            </p:cNvPr>
            <p:cNvSpPr/>
            <p:nvPr/>
          </p:nvSpPr>
          <p:spPr>
            <a:xfrm>
              <a:off x="10198567" y="1820406"/>
              <a:ext cx="2808" cy="324598"/>
            </a:xfrm>
            <a:custGeom>
              <a:avLst/>
              <a:gdLst>
                <a:gd name="connsiteX0" fmla="*/ 1680 w 2808"/>
                <a:gd name="connsiteY0" fmla="*/ 0 h 324598"/>
                <a:gd name="connsiteX1" fmla="*/ 56 w 2808"/>
                <a:gd name="connsiteY1" fmla="*/ 1999 h 324598"/>
                <a:gd name="connsiteX2" fmla="*/ 56 w 2808"/>
                <a:gd name="connsiteY2" fmla="*/ 12370 h 324598"/>
                <a:gd name="connsiteX3" fmla="*/ 56 w 2808"/>
                <a:gd name="connsiteY3" fmla="*/ 322122 h 324598"/>
                <a:gd name="connsiteX4" fmla="*/ 56 w 2808"/>
                <a:gd name="connsiteY4" fmla="*/ 323621 h 324598"/>
                <a:gd name="connsiteX5" fmla="*/ 56 w 2808"/>
                <a:gd name="connsiteY5" fmla="*/ 323621 h 324598"/>
                <a:gd name="connsiteX6" fmla="*/ 56 w 2808"/>
                <a:gd name="connsiteY6" fmla="*/ 324496 h 324598"/>
                <a:gd name="connsiteX7" fmla="*/ 1181 w 2808"/>
                <a:gd name="connsiteY7" fmla="*/ 324496 h 324598"/>
                <a:gd name="connsiteX8" fmla="*/ 2805 w 2808"/>
                <a:gd name="connsiteY8" fmla="*/ 322634 h 324598"/>
                <a:gd name="connsiteX9" fmla="*/ 2805 w 2808"/>
                <a:gd name="connsiteY9" fmla="*/ 322621 h 324598"/>
                <a:gd name="connsiteX10" fmla="*/ 2805 w 2808"/>
                <a:gd name="connsiteY10" fmla="*/ 321747 h 324598"/>
                <a:gd name="connsiteX11" fmla="*/ 2805 w 2808"/>
                <a:gd name="connsiteY11" fmla="*/ 11495 h 324598"/>
                <a:gd name="connsiteX12" fmla="*/ 2805 w 2808"/>
                <a:gd name="connsiteY12" fmla="*/ 1125 h 324598"/>
                <a:gd name="connsiteX13" fmla="*/ 1680 w 2808"/>
                <a:gd name="connsiteY13" fmla="*/ 0 h 3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8" h="324598">
                  <a:moveTo>
                    <a:pt x="1680" y="0"/>
                  </a:moveTo>
                  <a:cubicBezTo>
                    <a:pt x="694" y="125"/>
                    <a:pt x="-19" y="1012"/>
                    <a:pt x="56" y="1999"/>
                  </a:cubicBezTo>
                  <a:lnTo>
                    <a:pt x="56" y="12370"/>
                  </a:lnTo>
                  <a:lnTo>
                    <a:pt x="56" y="322122"/>
                  </a:lnTo>
                  <a:lnTo>
                    <a:pt x="56" y="323621"/>
                  </a:lnTo>
                  <a:lnTo>
                    <a:pt x="56" y="323621"/>
                  </a:lnTo>
                  <a:cubicBezTo>
                    <a:pt x="-19" y="323908"/>
                    <a:pt x="-19" y="324208"/>
                    <a:pt x="56" y="324496"/>
                  </a:cubicBezTo>
                  <a:cubicBezTo>
                    <a:pt x="419" y="324633"/>
                    <a:pt x="818" y="324633"/>
                    <a:pt x="1181" y="324496"/>
                  </a:cubicBezTo>
                  <a:cubicBezTo>
                    <a:pt x="2143" y="324433"/>
                    <a:pt x="2867" y="323596"/>
                    <a:pt x="2805" y="322634"/>
                  </a:cubicBezTo>
                  <a:cubicBezTo>
                    <a:pt x="2805" y="322621"/>
                    <a:pt x="2805" y="322621"/>
                    <a:pt x="2805" y="322621"/>
                  </a:cubicBezTo>
                  <a:lnTo>
                    <a:pt x="2805" y="321747"/>
                  </a:lnTo>
                  <a:lnTo>
                    <a:pt x="2805" y="11495"/>
                  </a:lnTo>
                  <a:lnTo>
                    <a:pt x="2805" y="1125"/>
                  </a:lnTo>
                  <a:cubicBezTo>
                    <a:pt x="2618" y="600"/>
                    <a:pt x="2205" y="187"/>
                    <a:pt x="1680" y="0"/>
                  </a:cubicBezTo>
                  <a:close/>
                </a:path>
              </a:pathLst>
            </a:custGeom>
            <a:solidFill>
              <a:srgbClr val="000000"/>
            </a:solidFill>
            <a:ln w="12483" cap="flat">
              <a:noFill/>
              <a:prstDash val="solid"/>
              <a:miter/>
            </a:ln>
          </p:spPr>
          <p:txBody>
            <a:bodyPr rtlCol="0" anchor="ctr"/>
            <a:lstStyle/>
            <a:p>
              <a:endParaRPr lang="en-US"/>
            </a:p>
          </p:txBody>
        </p:sp>
        <p:sp>
          <p:nvSpPr>
            <p:cNvPr id="1929" name="Freeform: Shape 1928">
              <a:extLst>
                <a:ext uri="{FF2B5EF4-FFF2-40B4-BE49-F238E27FC236}">
                  <a16:creationId xmlns:a16="http://schemas.microsoft.com/office/drawing/2014/main" id="{D471B71E-2986-40F3-8FC3-69E8B30D4686}"/>
                </a:ext>
              </a:extLst>
            </p:cNvPr>
            <p:cNvSpPr/>
            <p:nvPr/>
          </p:nvSpPr>
          <p:spPr>
            <a:xfrm>
              <a:off x="8618915" y="3951489"/>
              <a:ext cx="36644" cy="31458"/>
            </a:xfrm>
            <a:custGeom>
              <a:avLst/>
              <a:gdLst>
                <a:gd name="connsiteX0" fmla="*/ 16758 w 36644"/>
                <a:gd name="connsiteY0" fmla="*/ 28181 h 31458"/>
                <a:gd name="connsiteX1" fmla="*/ 22756 w 36644"/>
                <a:gd name="connsiteY1" fmla="*/ 25058 h 31458"/>
                <a:gd name="connsiteX2" fmla="*/ 25255 w 36644"/>
                <a:gd name="connsiteY2" fmla="*/ 23808 h 31458"/>
                <a:gd name="connsiteX3" fmla="*/ 31252 w 36644"/>
                <a:gd name="connsiteY3" fmla="*/ 20684 h 31458"/>
                <a:gd name="connsiteX4" fmla="*/ 36000 w 36644"/>
                <a:gd name="connsiteY4" fmla="*/ 6440 h 31458"/>
                <a:gd name="connsiteX5" fmla="*/ 25692 w 36644"/>
                <a:gd name="connsiteY5" fmla="*/ 255 h 31458"/>
                <a:gd name="connsiteX6" fmla="*/ 24130 w 36644"/>
                <a:gd name="connsiteY6" fmla="*/ 817 h 31458"/>
                <a:gd name="connsiteX7" fmla="*/ 4389 w 36644"/>
                <a:gd name="connsiteY7" fmla="*/ 11063 h 31458"/>
                <a:gd name="connsiteX8" fmla="*/ 4389 w 36644"/>
                <a:gd name="connsiteY8" fmla="*/ 11063 h 31458"/>
                <a:gd name="connsiteX9" fmla="*/ 3639 w 36644"/>
                <a:gd name="connsiteY9" fmla="*/ 11688 h 31458"/>
                <a:gd name="connsiteX10" fmla="*/ 2140 w 36644"/>
                <a:gd name="connsiteY10" fmla="*/ 12937 h 31458"/>
                <a:gd name="connsiteX11" fmla="*/ 2140 w 36644"/>
                <a:gd name="connsiteY11" fmla="*/ 13562 h 31458"/>
                <a:gd name="connsiteX12" fmla="*/ 1515 w 36644"/>
                <a:gd name="connsiteY12" fmla="*/ 14812 h 31458"/>
                <a:gd name="connsiteX13" fmla="*/ 515 w 36644"/>
                <a:gd name="connsiteY13" fmla="*/ 16436 h 31458"/>
                <a:gd name="connsiteX14" fmla="*/ 515 w 36644"/>
                <a:gd name="connsiteY14" fmla="*/ 16436 h 31458"/>
                <a:gd name="connsiteX15" fmla="*/ 515 w 36644"/>
                <a:gd name="connsiteY15" fmla="*/ 17935 h 31458"/>
                <a:gd name="connsiteX16" fmla="*/ 515 w 36644"/>
                <a:gd name="connsiteY16" fmla="*/ 17935 h 31458"/>
                <a:gd name="connsiteX17" fmla="*/ 515 w 36644"/>
                <a:gd name="connsiteY17" fmla="*/ 25058 h 31458"/>
                <a:gd name="connsiteX18" fmla="*/ 10848 w 36644"/>
                <a:gd name="connsiteY18" fmla="*/ 31193 h 31458"/>
                <a:gd name="connsiteX19" fmla="*/ 12010 w 36644"/>
                <a:gd name="connsiteY19" fmla="*/ 30805 h 31458"/>
                <a:gd name="connsiteX20" fmla="*/ 12010 w 36644"/>
                <a:gd name="connsiteY20" fmla="*/ 30805 h 3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644" h="31458">
                  <a:moveTo>
                    <a:pt x="16758" y="28181"/>
                  </a:moveTo>
                  <a:lnTo>
                    <a:pt x="22756" y="25058"/>
                  </a:lnTo>
                  <a:lnTo>
                    <a:pt x="25255" y="23808"/>
                  </a:lnTo>
                  <a:lnTo>
                    <a:pt x="31252" y="20684"/>
                  </a:lnTo>
                  <a:cubicBezTo>
                    <a:pt x="35825" y="17523"/>
                    <a:pt x="37762" y="11713"/>
                    <a:pt x="36000" y="6440"/>
                  </a:cubicBezTo>
                  <a:cubicBezTo>
                    <a:pt x="34863" y="1892"/>
                    <a:pt x="30253" y="-882"/>
                    <a:pt x="25692" y="255"/>
                  </a:cubicBezTo>
                  <a:cubicBezTo>
                    <a:pt x="25155" y="392"/>
                    <a:pt x="24630" y="580"/>
                    <a:pt x="24130" y="817"/>
                  </a:cubicBezTo>
                  <a:lnTo>
                    <a:pt x="4389" y="11063"/>
                  </a:lnTo>
                  <a:lnTo>
                    <a:pt x="4389" y="11063"/>
                  </a:lnTo>
                  <a:cubicBezTo>
                    <a:pt x="4389" y="11063"/>
                    <a:pt x="4389" y="11063"/>
                    <a:pt x="3639" y="11688"/>
                  </a:cubicBezTo>
                  <a:cubicBezTo>
                    <a:pt x="3064" y="12000"/>
                    <a:pt x="2552" y="12425"/>
                    <a:pt x="2140" y="12937"/>
                  </a:cubicBezTo>
                  <a:lnTo>
                    <a:pt x="2140" y="13562"/>
                  </a:lnTo>
                  <a:cubicBezTo>
                    <a:pt x="1852" y="13937"/>
                    <a:pt x="1640" y="14362"/>
                    <a:pt x="1515" y="14812"/>
                  </a:cubicBezTo>
                  <a:cubicBezTo>
                    <a:pt x="1115" y="15312"/>
                    <a:pt x="778" y="15849"/>
                    <a:pt x="515" y="16436"/>
                  </a:cubicBezTo>
                  <a:lnTo>
                    <a:pt x="515" y="16436"/>
                  </a:lnTo>
                  <a:cubicBezTo>
                    <a:pt x="515" y="16436"/>
                    <a:pt x="515" y="17435"/>
                    <a:pt x="515" y="17935"/>
                  </a:cubicBezTo>
                  <a:lnTo>
                    <a:pt x="515" y="17935"/>
                  </a:lnTo>
                  <a:cubicBezTo>
                    <a:pt x="-172" y="20259"/>
                    <a:pt x="-172" y="22733"/>
                    <a:pt x="515" y="25058"/>
                  </a:cubicBezTo>
                  <a:cubicBezTo>
                    <a:pt x="1678" y="29606"/>
                    <a:pt x="6300" y="32355"/>
                    <a:pt x="10848" y="31193"/>
                  </a:cubicBezTo>
                  <a:cubicBezTo>
                    <a:pt x="11248" y="31093"/>
                    <a:pt x="11636" y="30968"/>
                    <a:pt x="12010" y="30805"/>
                  </a:cubicBezTo>
                  <a:lnTo>
                    <a:pt x="12010" y="30805"/>
                  </a:lnTo>
                  <a:close/>
                </a:path>
              </a:pathLst>
            </a:custGeom>
            <a:solidFill>
              <a:srgbClr val="000000"/>
            </a:solidFill>
            <a:ln w="12483" cap="flat">
              <a:noFill/>
              <a:prstDash val="solid"/>
              <a:miter/>
            </a:ln>
          </p:spPr>
          <p:txBody>
            <a:bodyPr rtlCol="0" anchor="ctr"/>
            <a:lstStyle/>
            <a:p>
              <a:endParaRPr lang="en-US"/>
            </a:p>
          </p:txBody>
        </p:sp>
        <p:sp>
          <p:nvSpPr>
            <p:cNvPr id="1930" name="Freeform: Shape 1929">
              <a:extLst>
                <a:ext uri="{FF2B5EF4-FFF2-40B4-BE49-F238E27FC236}">
                  <a16:creationId xmlns:a16="http://schemas.microsoft.com/office/drawing/2014/main" id="{8D4D0F09-DC19-461F-BFE2-AEC440D7C18E}"/>
                </a:ext>
              </a:extLst>
            </p:cNvPr>
            <p:cNvSpPr/>
            <p:nvPr/>
          </p:nvSpPr>
          <p:spPr>
            <a:xfrm>
              <a:off x="9815945" y="5551167"/>
              <a:ext cx="38042" cy="33888"/>
            </a:xfrm>
            <a:custGeom>
              <a:avLst/>
              <a:gdLst>
                <a:gd name="connsiteX0" fmla="*/ 31205 w 38042"/>
                <a:gd name="connsiteY0" fmla="*/ 126 h 33888"/>
                <a:gd name="connsiteX1" fmla="*/ 26207 w 38042"/>
                <a:gd name="connsiteY1" fmla="*/ 876 h 33888"/>
                <a:gd name="connsiteX2" fmla="*/ 5091 w 38042"/>
                <a:gd name="connsiteY2" fmla="*/ 13371 h 33888"/>
                <a:gd name="connsiteX3" fmla="*/ 1343 w 38042"/>
                <a:gd name="connsiteY3" fmla="*/ 17619 h 33888"/>
                <a:gd name="connsiteX4" fmla="*/ 94 w 38042"/>
                <a:gd name="connsiteY4" fmla="*/ 22617 h 33888"/>
                <a:gd name="connsiteX5" fmla="*/ 94 w 38042"/>
                <a:gd name="connsiteY5" fmla="*/ 25866 h 33888"/>
                <a:gd name="connsiteX6" fmla="*/ 94 w 38042"/>
                <a:gd name="connsiteY6" fmla="*/ 25866 h 33888"/>
                <a:gd name="connsiteX7" fmla="*/ 94 w 38042"/>
                <a:gd name="connsiteY7" fmla="*/ 27740 h 33888"/>
                <a:gd name="connsiteX8" fmla="*/ 1093 w 38042"/>
                <a:gd name="connsiteY8" fmla="*/ 29364 h 33888"/>
                <a:gd name="connsiteX9" fmla="*/ 11564 w 38042"/>
                <a:gd name="connsiteY9" fmla="*/ 33138 h 33888"/>
                <a:gd name="connsiteX10" fmla="*/ 12089 w 38042"/>
                <a:gd name="connsiteY10" fmla="*/ 32863 h 33888"/>
                <a:gd name="connsiteX11" fmla="*/ 33204 w 38042"/>
                <a:gd name="connsiteY11" fmla="*/ 20368 h 33888"/>
                <a:gd name="connsiteX12" fmla="*/ 37078 w 38042"/>
                <a:gd name="connsiteY12" fmla="*/ 15495 h 33888"/>
                <a:gd name="connsiteX13" fmla="*/ 37078 w 38042"/>
                <a:gd name="connsiteY13" fmla="*/ 5874 h 33888"/>
                <a:gd name="connsiteX14" fmla="*/ 37078 w 38042"/>
                <a:gd name="connsiteY14" fmla="*/ 5124 h 33888"/>
                <a:gd name="connsiteX15" fmla="*/ 34704 w 38042"/>
                <a:gd name="connsiteY15" fmla="*/ 1875 h 33888"/>
                <a:gd name="connsiteX16" fmla="*/ 31205 w 38042"/>
                <a:gd name="connsiteY16" fmla="*/ 126 h 3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42" h="33888">
                  <a:moveTo>
                    <a:pt x="31205" y="126"/>
                  </a:moveTo>
                  <a:cubicBezTo>
                    <a:pt x="29506" y="-186"/>
                    <a:pt x="27744" y="89"/>
                    <a:pt x="26207" y="876"/>
                  </a:cubicBezTo>
                  <a:lnTo>
                    <a:pt x="5091" y="13371"/>
                  </a:lnTo>
                  <a:cubicBezTo>
                    <a:pt x="3442" y="14383"/>
                    <a:pt x="2143" y="15857"/>
                    <a:pt x="1343" y="17619"/>
                  </a:cubicBezTo>
                  <a:cubicBezTo>
                    <a:pt x="618" y="19193"/>
                    <a:pt x="193" y="20893"/>
                    <a:pt x="94" y="22617"/>
                  </a:cubicBezTo>
                  <a:cubicBezTo>
                    <a:pt x="-31" y="23691"/>
                    <a:pt x="-31" y="24791"/>
                    <a:pt x="94" y="25866"/>
                  </a:cubicBezTo>
                  <a:lnTo>
                    <a:pt x="94" y="25866"/>
                  </a:lnTo>
                  <a:cubicBezTo>
                    <a:pt x="31" y="26490"/>
                    <a:pt x="31" y="27115"/>
                    <a:pt x="94" y="27740"/>
                  </a:cubicBezTo>
                  <a:cubicBezTo>
                    <a:pt x="356" y="28327"/>
                    <a:pt x="693" y="28864"/>
                    <a:pt x="1093" y="29364"/>
                  </a:cubicBezTo>
                  <a:cubicBezTo>
                    <a:pt x="2942" y="33300"/>
                    <a:pt x="7640" y="34987"/>
                    <a:pt x="11564" y="33138"/>
                  </a:cubicBezTo>
                  <a:cubicBezTo>
                    <a:pt x="11739" y="33051"/>
                    <a:pt x="11914" y="32963"/>
                    <a:pt x="12089" y="32863"/>
                  </a:cubicBezTo>
                  <a:lnTo>
                    <a:pt x="33204" y="20368"/>
                  </a:lnTo>
                  <a:cubicBezTo>
                    <a:pt x="34954" y="19156"/>
                    <a:pt x="36290" y="17469"/>
                    <a:pt x="37078" y="15495"/>
                  </a:cubicBezTo>
                  <a:cubicBezTo>
                    <a:pt x="38365" y="12421"/>
                    <a:pt x="38365" y="8947"/>
                    <a:pt x="37078" y="5874"/>
                  </a:cubicBezTo>
                  <a:lnTo>
                    <a:pt x="37078" y="5124"/>
                  </a:lnTo>
                  <a:cubicBezTo>
                    <a:pt x="36465" y="3924"/>
                    <a:pt x="35666" y="2825"/>
                    <a:pt x="34704" y="1875"/>
                  </a:cubicBezTo>
                  <a:cubicBezTo>
                    <a:pt x="33679" y="1038"/>
                    <a:pt x="32492" y="438"/>
                    <a:pt x="31205" y="126"/>
                  </a:cubicBezTo>
                  <a:close/>
                </a:path>
              </a:pathLst>
            </a:custGeom>
            <a:solidFill>
              <a:srgbClr val="000000"/>
            </a:solidFill>
            <a:ln w="12483" cap="flat">
              <a:noFill/>
              <a:prstDash val="solid"/>
              <a:miter/>
            </a:ln>
          </p:spPr>
          <p:txBody>
            <a:bodyPr rtlCol="0" anchor="ctr"/>
            <a:lstStyle/>
            <a:p>
              <a:endParaRPr lang="en-US"/>
            </a:p>
          </p:txBody>
        </p:sp>
        <p:sp>
          <p:nvSpPr>
            <p:cNvPr id="1931" name="Freeform: Shape 1930">
              <a:extLst>
                <a:ext uri="{FF2B5EF4-FFF2-40B4-BE49-F238E27FC236}">
                  <a16:creationId xmlns:a16="http://schemas.microsoft.com/office/drawing/2014/main" id="{6E05B628-5C5C-43CE-A13B-F5A13D0FBBD3}"/>
                </a:ext>
              </a:extLst>
            </p:cNvPr>
            <p:cNvSpPr/>
            <p:nvPr/>
          </p:nvSpPr>
          <p:spPr>
            <a:xfrm>
              <a:off x="8131517" y="6214135"/>
              <a:ext cx="31158" cy="147360"/>
            </a:xfrm>
            <a:custGeom>
              <a:avLst/>
              <a:gdLst>
                <a:gd name="connsiteX0" fmla="*/ 30362 w 31158"/>
                <a:gd name="connsiteY0" fmla="*/ 142712 h 147360"/>
                <a:gd name="connsiteX1" fmla="*/ 31112 w 31158"/>
                <a:gd name="connsiteY1" fmla="*/ 140962 h 147360"/>
                <a:gd name="connsiteX2" fmla="*/ 31112 w 31158"/>
                <a:gd name="connsiteY2" fmla="*/ 138963 h 147360"/>
                <a:gd name="connsiteX3" fmla="*/ 31112 w 31158"/>
                <a:gd name="connsiteY3" fmla="*/ 136714 h 147360"/>
                <a:gd name="connsiteX4" fmla="*/ 31112 w 31158"/>
                <a:gd name="connsiteY4" fmla="*/ 134840 h 147360"/>
                <a:gd name="connsiteX5" fmla="*/ 31112 w 31158"/>
                <a:gd name="connsiteY5" fmla="*/ 130841 h 147360"/>
                <a:gd name="connsiteX6" fmla="*/ 27238 w 31158"/>
                <a:gd name="connsiteY6" fmla="*/ 97480 h 147360"/>
                <a:gd name="connsiteX7" fmla="*/ 27238 w 31158"/>
                <a:gd name="connsiteY7" fmla="*/ 93481 h 147360"/>
                <a:gd name="connsiteX8" fmla="*/ 18367 w 31158"/>
                <a:gd name="connsiteY8" fmla="*/ 17136 h 147360"/>
                <a:gd name="connsiteX9" fmla="*/ 17492 w 31158"/>
                <a:gd name="connsiteY9" fmla="*/ 9265 h 147360"/>
                <a:gd name="connsiteX10" fmla="*/ 7522 w 31158"/>
                <a:gd name="connsiteY10" fmla="*/ 6 h 147360"/>
                <a:gd name="connsiteX11" fmla="*/ 7372 w 31158"/>
                <a:gd name="connsiteY11" fmla="*/ 18 h 147360"/>
                <a:gd name="connsiteX12" fmla="*/ 4373 w 31158"/>
                <a:gd name="connsiteY12" fmla="*/ 1268 h 147360"/>
                <a:gd name="connsiteX13" fmla="*/ 2874 w 31158"/>
                <a:gd name="connsiteY13" fmla="*/ 2643 h 147360"/>
                <a:gd name="connsiteX14" fmla="*/ 1624 w 31158"/>
                <a:gd name="connsiteY14" fmla="*/ 4017 h 147360"/>
                <a:gd name="connsiteX15" fmla="*/ 875 w 31158"/>
                <a:gd name="connsiteY15" fmla="*/ 5641 h 147360"/>
                <a:gd name="connsiteX16" fmla="*/ 0 w 31158"/>
                <a:gd name="connsiteY16" fmla="*/ 7640 h 147360"/>
                <a:gd name="connsiteX17" fmla="*/ 0 w 31158"/>
                <a:gd name="connsiteY17" fmla="*/ 9515 h 147360"/>
                <a:gd name="connsiteX18" fmla="*/ 0 w 31158"/>
                <a:gd name="connsiteY18" fmla="*/ 11764 h 147360"/>
                <a:gd name="connsiteX19" fmla="*/ 0 w 31158"/>
                <a:gd name="connsiteY19" fmla="*/ 11764 h 147360"/>
                <a:gd name="connsiteX20" fmla="*/ 10620 w 31158"/>
                <a:gd name="connsiteY20" fmla="*/ 102727 h 147360"/>
                <a:gd name="connsiteX21" fmla="*/ 10620 w 31158"/>
                <a:gd name="connsiteY21" fmla="*/ 106726 h 147360"/>
                <a:gd name="connsiteX22" fmla="*/ 11620 w 31158"/>
                <a:gd name="connsiteY22" fmla="*/ 114973 h 147360"/>
                <a:gd name="connsiteX23" fmla="*/ 11620 w 31158"/>
                <a:gd name="connsiteY23" fmla="*/ 114973 h 147360"/>
                <a:gd name="connsiteX24" fmla="*/ 12619 w 31158"/>
                <a:gd name="connsiteY24" fmla="*/ 122720 h 147360"/>
                <a:gd name="connsiteX25" fmla="*/ 13494 w 31158"/>
                <a:gd name="connsiteY25" fmla="*/ 130966 h 147360"/>
                <a:gd name="connsiteX26" fmla="*/ 14369 w 31158"/>
                <a:gd name="connsiteY26" fmla="*/ 138089 h 147360"/>
                <a:gd name="connsiteX27" fmla="*/ 23840 w 31158"/>
                <a:gd name="connsiteY27" fmla="*/ 147360 h 147360"/>
                <a:gd name="connsiteX28" fmla="*/ 24490 w 31158"/>
                <a:gd name="connsiteY28" fmla="*/ 147335 h 147360"/>
                <a:gd name="connsiteX29" fmla="*/ 27488 w 31158"/>
                <a:gd name="connsiteY29" fmla="*/ 146085 h 147360"/>
                <a:gd name="connsiteX30" fmla="*/ 28987 w 31158"/>
                <a:gd name="connsiteY30" fmla="*/ 144711 h 147360"/>
                <a:gd name="connsiteX31" fmla="*/ 30112 w 31158"/>
                <a:gd name="connsiteY31" fmla="*/ 143461 h 147360"/>
                <a:gd name="connsiteX32" fmla="*/ 30362 w 31158"/>
                <a:gd name="connsiteY32" fmla="*/ 142712 h 14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158" h="147360">
                  <a:moveTo>
                    <a:pt x="30362" y="142712"/>
                  </a:moveTo>
                  <a:cubicBezTo>
                    <a:pt x="30662" y="142149"/>
                    <a:pt x="30912" y="141562"/>
                    <a:pt x="31112" y="140962"/>
                  </a:cubicBezTo>
                  <a:cubicBezTo>
                    <a:pt x="31174" y="140300"/>
                    <a:pt x="31174" y="139625"/>
                    <a:pt x="31112" y="138963"/>
                  </a:cubicBezTo>
                  <a:cubicBezTo>
                    <a:pt x="31174" y="138213"/>
                    <a:pt x="31174" y="137464"/>
                    <a:pt x="31112" y="136714"/>
                  </a:cubicBezTo>
                  <a:lnTo>
                    <a:pt x="31112" y="134840"/>
                  </a:lnTo>
                  <a:lnTo>
                    <a:pt x="31112" y="130841"/>
                  </a:lnTo>
                  <a:lnTo>
                    <a:pt x="27238" y="97480"/>
                  </a:lnTo>
                  <a:lnTo>
                    <a:pt x="27238" y="93481"/>
                  </a:lnTo>
                  <a:lnTo>
                    <a:pt x="18367" y="17136"/>
                  </a:lnTo>
                  <a:lnTo>
                    <a:pt x="17492" y="9265"/>
                  </a:lnTo>
                  <a:cubicBezTo>
                    <a:pt x="17293" y="3954"/>
                    <a:pt x="12832" y="-181"/>
                    <a:pt x="7522" y="6"/>
                  </a:cubicBezTo>
                  <a:cubicBezTo>
                    <a:pt x="7472" y="18"/>
                    <a:pt x="7422" y="18"/>
                    <a:pt x="7372" y="18"/>
                  </a:cubicBezTo>
                  <a:cubicBezTo>
                    <a:pt x="6310" y="281"/>
                    <a:pt x="5310" y="706"/>
                    <a:pt x="4373" y="1268"/>
                  </a:cubicBezTo>
                  <a:cubicBezTo>
                    <a:pt x="3811" y="1655"/>
                    <a:pt x="3311" y="2117"/>
                    <a:pt x="2874" y="2643"/>
                  </a:cubicBezTo>
                  <a:cubicBezTo>
                    <a:pt x="2399" y="3042"/>
                    <a:pt x="1974" y="3505"/>
                    <a:pt x="1624" y="4017"/>
                  </a:cubicBezTo>
                  <a:cubicBezTo>
                    <a:pt x="1299" y="4517"/>
                    <a:pt x="1050" y="5067"/>
                    <a:pt x="875" y="5641"/>
                  </a:cubicBezTo>
                  <a:cubicBezTo>
                    <a:pt x="512" y="6266"/>
                    <a:pt x="212" y="6941"/>
                    <a:pt x="0" y="7640"/>
                  </a:cubicBezTo>
                  <a:cubicBezTo>
                    <a:pt x="0" y="7640"/>
                    <a:pt x="0" y="8765"/>
                    <a:pt x="0" y="9515"/>
                  </a:cubicBezTo>
                  <a:cubicBezTo>
                    <a:pt x="0" y="10264"/>
                    <a:pt x="0" y="11014"/>
                    <a:pt x="0" y="11764"/>
                  </a:cubicBezTo>
                  <a:cubicBezTo>
                    <a:pt x="0" y="12513"/>
                    <a:pt x="0" y="11764"/>
                    <a:pt x="0" y="11764"/>
                  </a:cubicBezTo>
                  <a:lnTo>
                    <a:pt x="10620" y="102727"/>
                  </a:lnTo>
                  <a:lnTo>
                    <a:pt x="10620" y="106726"/>
                  </a:lnTo>
                  <a:lnTo>
                    <a:pt x="11620" y="114973"/>
                  </a:lnTo>
                  <a:lnTo>
                    <a:pt x="11620" y="114973"/>
                  </a:lnTo>
                  <a:lnTo>
                    <a:pt x="12619" y="122720"/>
                  </a:lnTo>
                  <a:lnTo>
                    <a:pt x="13494" y="130966"/>
                  </a:lnTo>
                  <a:lnTo>
                    <a:pt x="14369" y="138089"/>
                  </a:lnTo>
                  <a:cubicBezTo>
                    <a:pt x="14419" y="143261"/>
                    <a:pt x="18654" y="147422"/>
                    <a:pt x="23840" y="147360"/>
                  </a:cubicBezTo>
                  <a:cubicBezTo>
                    <a:pt x="24052" y="147360"/>
                    <a:pt x="24277" y="147347"/>
                    <a:pt x="24490" y="147335"/>
                  </a:cubicBezTo>
                  <a:cubicBezTo>
                    <a:pt x="25576" y="147160"/>
                    <a:pt x="26601" y="146735"/>
                    <a:pt x="27488" y="146085"/>
                  </a:cubicBezTo>
                  <a:lnTo>
                    <a:pt x="28987" y="144711"/>
                  </a:lnTo>
                  <a:cubicBezTo>
                    <a:pt x="29425" y="144361"/>
                    <a:pt x="29800" y="143936"/>
                    <a:pt x="30112" y="143461"/>
                  </a:cubicBezTo>
                  <a:cubicBezTo>
                    <a:pt x="30199" y="143212"/>
                    <a:pt x="30287" y="142961"/>
                    <a:pt x="30362" y="142712"/>
                  </a:cubicBezTo>
                  <a:close/>
                </a:path>
              </a:pathLst>
            </a:custGeom>
            <a:solidFill>
              <a:srgbClr val="000000"/>
            </a:solidFill>
            <a:ln w="12483" cap="flat">
              <a:noFill/>
              <a:prstDash val="solid"/>
              <a:miter/>
            </a:ln>
          </p:spPr>
          <p:txBody>
            <a:bodyPr rtlCol="0" anchor="ctr"/>
            <a:lstStyle/>
            <a:p>
              <a:endParaRPr lang="en-US"/>
            </a:p>
          </p:txBody>
        </p:sp>
        <p:sp>
          <p:nvSpPr>
            <p:cNvPr id="1932" name="Freeform: Shape 1931">
              <a:extLst>
                <a:ext uri="{FF2B5EF4-FFF2-40B4-BE49-F238E27FC236}">
                  <a16:creationId xmlns:a16="http://schemas.microsoft.com/office/drawing/2014/main" id="{17C4FBEB-B6AE-4966-BCCC-68DF4EF9CE39}"/>
                </a:ext>
              </a:extLst>
            </p:cNvPr>
            <p:cNvSpPr/>
            <p:nvPr/>
          </p:nvSpPr>
          <p:spPr>
            <a:xfrm>
              <a:off x="8453199" y="6030508"/>
              <a:ext cx="28098" cy="146535"/>
            </a:xfrm>
            <a:custGeom>
              <a:avLst/>
              <a:gdLst>
                <a:gd name="connsiteX0" fmla="*/ 14298 w 28098"/>
                <a:gd name="connsiteY0" fmla="*/ 2093 h 146535"/>
                <a:gd name="connsiteX1" fmla="*/ 12924 w 28098"/>
                <a:gd name="connsiteY1" fmla="*/ 1218 h 146535"/>
                <a:gd name="connsiteX2" fmla="*/ 11299 w 28098"/>
                <a:gd name="connsiteY2" fmla="*/ 94 h 146535"/>
                <a:gd name="connsiteX3" fmla="*/ 9925 w 28098"/>
                <a:gd name="connsiteY3" fmla="*/ 94 h 146535"/>
                <a:gd name="connsiteX4" fmla="*/ 7926 w 28098"/>
                <a:gd name="connsiteY4" fmla="*/ 94 h 146535"/>
                <a:gd name="connsiteX5" fmla="*/ 7926 w 28098"/>
                <a:gd name="connsiteY5" fmla="*/ 94 h 146535"/>
                <a:gd name="connsiteX6" fmla="*/ 6676 w 28098"/>
                <a:gd name="connsiteY6" fmla="*/ 94 h 146535"/>
                <a:gd name="connsiteX7" fmla="*/ 54 w 28098"/>
                <a:gd name="connsiteY7" fmla="*/ 11214 h 146535"/>
                <a:gd name="connsiteX8" fmla="*/ 54 w 28098"/>
                <a:gd name="connsiteY8" fmla="*/ 11214 h 146535"/>
                <a:gd name="connsiteX9" fmla="*/ 1304 w 28098"/>
                <a:gd name="connsiteY9" fmla="*/ 23709 h 146535"/>
                <a:gd name="connsiteX10" fmla="*/ 1304 w 28098"/>
                <a:gd name="connsiteY10" fmla="*/ 25709 h 146535"/>
                <a:gd name="connsiteX11" fmla="*/ 9800 w 28098"/>
                <a:gd name="connsiteY11" fmla="*/ 113174 h 146535"/>
                <a:gd name="connsiteX12" fmla="*/ 12049 w 28098"/>
                <a:gd name="connsiteY12" fmla="*/ 137289 h 146535"/>
                <a:gd name="connsiteX13" fmla="*/ 12049 w 28098"/>
                <a:gd name="connsiteY13" fmla="*/ 138788 h 146535"/>
                <a:gd name="connsiteX14" fmla="*/ 13298 w 28098"/>
                <a:gd name="connsiteY14" fmla="*/ 142287 h 146535"/>
                <a:gd name="connsiteX15" fmla="*/ 14173 w 28098"/>
                <a:gd name="connsiteY15" fmla="*/ 143536 h 146535"/>
                <a:gd name="connsiteX16" fmla="*/ 15672 w 28098"/>
                <a:gd name="connsiteY16" fmla="*/ 144911 h 146535"/>
                <a:gd name="connsiteX17" fmla="*/ 17047 w 28098"/>
                <a:gd name="connsiteY17" fmla="*/ 145911 h 146535"/>
                <a:gd name="connsiteX18" fmla="*/ 18671 w 28098"/>
                <a:gd name="connsiteY18" fmla="*/ 146535 h 146535"/>
                <a:gd name="connsiteX19" fmla="*/ 21545 w 28098"/>
                <a:gd name="connsiteY19" fmla="*/ 146535 h 146535"/>
                <a:gd name="connsiteX20" fmla="*/ 21545 w 28098"/>
                <a:gd name="connsiteY20" fmla="*/ 146535 h 146535"/>
                <a:gd name="connsiteX21" fmla="*/ 23294 w 28098"/>
                <a:gd name="connsiteY21" fmla="*/ 145911 h 146535"/>
                <a:gd name="connsiteX22" fmla="*/ 24793 w 28098"/>
                <a:gd name="connsiteY22" fmla="*/ 144911 h 146535"/>
                <a:gd name="connsiteX23" fmla="*/ 26168 w 28098"/>
                <a:gd name="connsiteY23" fmla="*/ 143662 h 146535"/>
                <a:gd name="connsiteX24" fmla="*/ 27292 w 28098"/>
                <a:gd name="connsiteY24" fmla="*/ 141912 h 146535"/>
                <a:gd name="connsiteX25" fmla="*/ 28042 w 28098"/>
                <a:gd name="connsiteY25" fmla="*/ 140163 h 146535"/>
                <a:gd name="connsiteX26" fmla="*/ 28042 w 28098"/>
                <a:gd name="connsiteY26" fmla="*/ 138164 h 146535"/>
                <a:gd name="connsiteX27" fmla="*/ 28042 w 28098"/>
                <a:gd name="connsiteY27" fmla="*/ 136039 h 146535"/>
                <a:gd name="connsiteX28" fmla="*/ 28042 w 28098"/>
                <a:gd name="connsiteY28" fmla="*/ 134790 h 146535"/>
                <a:gd name="connsiteX29" fmla="*/ 28042 w 28098"/>
                <a:gd name="connsiteY29" fmla="*/ 131791 h 146535"/>
                <a:gd name="connsiteX30" fmla="*/ 15547 w 28098"/>
                <a:gd name="connsiteY30" fmla="*/ 7591 h 146535"/>
                <a:gd name="connsiteX31" fmla="*/ 15547 w 28098"/>
                <a:gd name="connsiteY31" fmla="*/ 7591 h 146535"/>
                <a:gd name="connsiteX32" fmla="*/ 15547 w 28098"/>
                <a:gd name="connsiteY32" fmla="*/ 6716 h 146535"/>
                <a:gd name="connsiteX33" fmla="*/ 15547 w 28098"/>
                <a:gd name="connsiteY33" fmla="*/ 4592 h 146535"/>
                <a:gd name="connsiteX34" fmla="*/ 14923 w 28098"/>
                <a:gd name="connsiteY34" fmla="*/ 3592 h 146535"/>
                <a:gd name="connsiteX35" fmla="*/ 14923 w 28098"/>
                <a:gd name="connsiteY35" fmla="*/ 2842 h 146535"/>
                <a:gd name="connsiteX36" fmla="*/ 14298 w 28098"/>
                <a:gd name="connsiteY36" fmla="*/ 2093 h 14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98" h="146535">
                  <a:moveTo>
                    <a:pt x="14298" y="2093"/>
                  </a:moveTo>
                  <a:cubicBezTo>
                    <a:pt x="13886" y="1731"/>
                    <a:pt x="13423" y="1431"/>
                    <a:pt x="12924" y="1218"/>
                  </a:cubicBezTo>
                  <a:cubicBezTo>
                    <a:pt x="12436" y="768"/>
                    <a:pt x="11887" y="394"/>
                    <a:pt x="11299" y="94"/>
                  </a:cubicBezTo>
                  <a:lnTo>
                    <a:pt x="9925" y="94"/>
                  </a:lnTo>
                  <a:cubicBezTo>
                    <a:pt x="9263" y="-31"/>
                    <a:pt x="8588" y="-31"/>
                    <a:pt x="7926" y="94"/>
                  </a:cubicBezTo>
                  <a:lnTo>
                    <a:pt x="7926" y="94"/>
                  </a:lnTo>
                  <a:lnTo>
                    <a:pt x="6676" y="94"/>
                  </a:lnTo>
                  <a:cubicBezTo>
                    <a:pt x="2266" y="1943"/>
                    <a:pt x="-421" y="6454"/>
                    <a:pt x="54" y="11214"/>
                  </a:cubicBezTo>
                  <a:lnTo>
                    <a:pt x="54" y="11214"/>
                  </a:lnTo>
                  <a:lnTo>
                    <a:pt x="1304" y="23709"/>
                  </a:lnTo>
                  <a:lnTo>
                    <a:pt x="1304" y="25709"/>
                  </a:lnTo>
                  <a:lnTo>
                    <a:pt x="9800" y="113174"/>
                  </a:lnTo>
                  <a:lnTo>
                    <a:pt x="12049" y="137289"/>
                  </a:lnTo>
                  <a:cubicBezTo>
                    <a:pt x="12049" y="137289"/>
                    <a:pt x="12049" y="138288"/>
                    <a:pt x="12049" y="138788"/>
                  </a:cubicBezTo>
                  <a:cubicBezTo>
                    <a:pt x="12261" y="140013"/>
                    <a:pt x="12674" y="141200"/>
                    <a:pt x="13298" y="142287"/>
                  </a:cubicBezTo>
                  <a:cubicBezTo>
                    <a:pt x="13636" y="142674"/>
                    <a:pt x="13923" y="143087"/>
                    <a:pt x="14173" y="143536"/>
                  </a:cubicBezTo>
                  <a:cubicBezTo>
                    <a:pt x="14610" y="144061"/>
                    <a:pt x="15110" y="144524"/>
                    <a:pt x="15672" y="144911"/>
                  </a:cubicBezTo>
                  <a:lnTo>
                    <a:pt x="17047" y="145911"/>
                  </a:lnTo>
                  <a:lnTo>
                    <a:pt x="18671" y="146535"/>
                  </a:lnTo>
                  <a:lnTo>
                    <a:pt x="21545" y="146535"/>
                  </a:lnTo>
                  <a:lnTo>
                    <a:pt x="21545" y="146535"/>
                  </a:lnTo>
                  <a:lnTo>
                    <a:pt x="23294" y="145911"/>
                  </a:lnTo>
                  <a:lnTo>
                    <a:pt x="24793" y="144911"/>
                  </a:lnTo>
                  <a:lnTo>
                    <a:pt x="26168" y="143662"/>
                  </a:lnTo>
                  <a:lnTo>
                    <a:pt x="27292" y="141912"/>
                  </a:lnTo>
                  <a:lnTo>
                    <a:pt x="28042" y="140163"/>
                  </a:lnTo>
                  <a:cubicBezTo>
                    <a:pt x="28117" y="139501"/>
                    <a:pt x="28117" y="138826"/>
                    <a:pt x="28042" y="138164"/>
                  </a:cubicBezTo>
                  <a:cubicBezTo>
                    <a:pt x="28104" y="137451"/>
                    <a:pt x="28104" y="136752"/>
                    <a:pt x="28042" y="136039"/>
                  </a:cubicBezTo>
                  <a:cubicBezTo>
                    <a:pt x="28104" y="135627"/>
                    <a:pt x="28104" y="135202"/>
                    <a:pt x="28042" y="134790"/>
                  </a:cubicBezTo>
                  <a:lnTo>
                    <a:pt x="28042" y="131791"/>
                  </a:lnTo>
                  <a:lnTo>
                    <a:pt x="15547" y="7591"/>
                  </a:lnTo>
                  <a:cubicBezTo>
                    <a:pt x="15547" y="7591"/>
                    <a:pt x="15547" y="7591"/>
                    <a:pt x="15547" y="7591"/>
                  </a:cubicBezTo>
                  <a:cubicBezTo>
                    <a:pt x="15622" y="7303"/>
                    <a:pt x="15622" y="7003"/>
                    <a:pt x="15547" y="6716"/>
                  </a:cubicBezTo>
                  <a:cubicBezTo>
                    <a:pt x="15622" y="6004"/>
                    <a:pt x="15622" y="5304"/>
                    <a:pt x="15547" y="4592"/>
                  </a:cubicBezTo>
                  <a:cubicBezTo>
                    <a:pt x="15372" y="4242"/>
                    <a:pt x="15160" y="3905"/>
                    <a:pt x="14923" y="3592"/>
                  </a:cubicBezTo>
                  <a:cubicBezTo>
                    <a:pt x="14923" y="3592"/>
                    <a:pt x="14923" y="3592"/>
                    <a:pt x="14923" y="2842"/>
                  </a:cubicBezTo>
                  <a:cubicBezTo>
                    <a:pt x="14735" y="2580"/>
                    <a:pt x="14523" y="2330"/>
                    <a:pt x="14298" y="2093"/>
                  </a:cubicBezTo>
                  <a:close/>
                </a:path>
              </a:pathLst>
            </a:custGeom>
            <a:solidFill>
              <a:srgbClr val="000000"/>
            </a:solidFill>
            <a:ln w="12483" cap="flat">
              <a:noFill/>
              <a:prstDash val="solid"/>
              <a:miter/>
            </a:ln>
          </p:spPr>
          <p:txBody>
            <a:bodyPr rtlCol="0" anchor="ctr"/>
            <a:lstStyle/>
            <a:p>
              <a:endParaRPr lang="en-US"/>
            </a:p>
          </p:txBody>
        </p:sp>
      </p:grpSp>
    </p:spTree>
    <p:extLst>
      <p:ext uri="{BB962C8B-B14F-4D97-AF65-F5344CB8AC3E}">
        <p14:creationId xmlns:p14="http://schemas.microsoft.com/office/powerpoint/2010/main" val="31612302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Summary2">
    <p:spTree>
      <p:nvGrpSpPr>
        <p:cNvPr id="1" name=""/>
        <p:cNvGrpSpPr/>
        <p:nvPr/>
      </p:nvGrpSpPr>
      <p:grpSpPr>
        <a:xfrm>
          <a:off x="0" y="0"/>
          <a:ext cx="0" cy="0"/>
          <a:chOff x="0" y="0"/>
          <a:chExt cx="0" cy="0"/>
        </a:xfrm>
      </p:grpSpPr>
      <p:grpSp>
        <p:nvGrpSpPr>
          <p:cNvPr id="8" name="Picture Placeholder 20" descr="abstract colorful illustration of buildings">
            <a:extLst>
              <a:ext uri="{FF2B5EF4-FFF2-40B4-BE49-F238E27FC236}">
                <a16:creationId xmlns:a16="http://schemas.microsoft.com/office/drawing/2014/main" id="{0447870E-BFC1-4D1D-BE02-989006BEFA7E}"/>
              </a:ext>
            </a:extLst>
          </p:cNvPr>
          <p:cNvGrpSpPr/>
          <p:nvPr userDrawn="1"/>
        </p:nvGrpSpPr>
        <p:grpSpPr>
          <a:xfrm>
            <a:off x="0" y="603504"/>
            <a:ext cx="5438616" cy="6260724"/>
            <a:chOff x="0" y="603504"/>
            <a:chExt cx="5438616" cy="6260724"/>
          </a:xfrm>
        </p:grpSpPr>
        <p:sp>
          <p:nvSpPr>
            <p:cNvPr id="9" name="Freeform: Shape 8">
              <a:extLst>
                <a:ext uri="{FF2B5EF4-FFF2-40B4-BE49-F238E27FC236}">
                  <a16:creationId xmlns:a16="http://schemas.microsoft.com/office/drawing/2014/main" id="{EBD67F3E-46C0-4A26-B11A-648E008CC28F}"/>
                </a:ext>
              </a:extLst>
            </p:cNvPr>
            <p:cNvSpPr/>
            <p:nvPr/>
          </p:nvSpPr>
          <p:spPr>
            <a:xfrm>
              <a:off x="2419091" y="1922287"/>
              <a:ext cx="454549" cy="1366454"/>
            </a:xfrm>
            <a:custGeom>
              <a:avLst/>
              <a:gdLst>
                <a:gd name="connsiteX0" fmla="*/ 166689 w 454549"/>
                <a:gd name="connsiteY0" fmla="*/ 56952 h 1366454"/>
                <a:gd name="connsiteX1" fmla="*/ 166689 w 454549"/>
                <a:gd name="connsiteY1" fmla="*/ 60384 h 1366454"/>
                <a:gd name="connsiteX2" fmla="*/ 76034 w 454549"/>
                <a:gd name="connsiteY2" fmla="*/ 727022 h 1366454"/>
                <a:gd name="connsiteX3" fmla="*/ 83408 w 454549"/>
                <a:gd name="connsiteY3" fmla="*/ 733378 h 1366454"/>
                <a:gd name="connsiteX4" fmla="*/ 83408 w 454549"/>
                <a:gd name="connsiteY4" fmla="*/ 734141 h 1366454"/>
                <a:gd name="connsiteX5" fmla="*/ 84680 w 454549"/>
                <a:gd name="connsiteY5" fmla="*/ 735666 h 1366454"/>
                <a:gd name="connsiteX6" fmla="*/ 85315 w 454549"/>
                <a:gd name="connsiteY6" fmla="*/ 737192 h 1366454"/>
                <a:gd name="connsiteX7" fmla="*/ 85315 w 454549"/>
                <a:gd name="connsiteY7" fmla="*/ 738971 h 1366454"/>
                <a:gd name="connsiteX8" fmla="*/ 85315 w 454549"/>
                <a:gd name="connsiteY8" fmla="*/ 740751 h 1366454"/>
                <a:gd name="connsiteX9" fmla="*/ 85315 w 454549"/>
                <a:gd name="connsiteY9" fmla="*/ 741895 h 1366454"/>
                <a:gd name="connsiteX10" fmla="*/ 41450 w 454549"/>
                <a:gd name="connsiteY10" fmla="*/ 1063264 h 1366454"/>
                <a:gd name="connsiteX11" fmla="*/ 0 w 454549"/>
                <a:gd name="connsiteY11" fmla="*/ 1366455 h 1366454"/>
                <a:gd name="connsiteX12" fmla="*/ 234586 w 454549"/>
                <a:gd name="connsiteY12" fmla="*/ 1249882 h 1366454"/>
                <a:gd name="connsiteX13" fmla="*/ 240561 w 454549"/>
                <a:gd name="connsiteY13" fmla="*/ 1209584 h 1366454"/>
                <a:gd name="connsiteX14" fmla="*/ 240561 w 454549"/>
                <a:gd name="connsiteY14" fmla="*/ 1208694 h 1366454"/>
                <a:gd name="connsiteX15" fmla="*/ 240561 w 454549"/>
                <a:gd name="connsiteY15" fmla="*/ 1207042 h 1366454"/>
                <a:gd name="connsiteX16" fmla="*/ 241452 w 454549"/>
                <a:gd name="connsiteY16" fmla="*/ 1205516 h 1366454"/>
                <a:gd name="connsiteX17" fmla="*/ 242596 w 454549"/>
                <a:gd name="connsiteY17" fmla="*/ 1204245 h 1366454"/>
                <a:gd name="connsiteX18" fmla="*/ 243994 w 454549"/>
                <a:gd name="connsiteY18" fmla="*/ 1203101 h 1366454"/>
                <a:gd name="connsiteX19" fmla="*/ 244630 w 454549"/>
                <a:gd name="connsiteY19" fmla="*/ 1203101 h 1366454"/>
                <a:gd name="connsiteX20" fmla="*/ 328293 w 454549"/>
                <a:gd name="connsiteY20" fmla="*/ 1161658 h 1366454"/>
                <a:gd name="connsiteX21" fmla="*/ 375210 w 454549"/>
                <a:gd name="connsiteY21" fmla="*/ 867748 h 1366454"/>
                <a:gd name="connsiteX22" fmla="*/ 375210 w 454549"/>
                <a:gd name="connsiteY22" fmla="*/ 866985 h 1366454"/>
                <a:gd name="connsiteX23" fmla="*/ 375846 w 454549"/>
                <a:gd name="connsiteY23" fmla="*/ 865205 h 1366454"/>
                <a:gd name="connsiteX24" fmla="*/ 376736 w 454549"/>
                <a:gd name="connsiteY24" fmla="*/ 863680 h 1366454"/>
                <a:gd name="connsiteX25" fmla="*/ 377880 w 454549"/>
                <a:gd name="connsiteY25" fmla="*/ 862409 h 1366454"/>
                <a:gd name="connsiteX26" fmla="*/ 379406 w 454549"/>
                <a:gd name="connsiteY26" fmla="*/ 861265 h 1366454"/>
                <a:gd name="connsiteX27" fmla="*/ 379406 w 454549"/>
                <a:gd name="connsiteY27" fmla="*/ 861265 h 1366454"/>
                <a:gd name="connsiteX28" fmla="*/ 417550 w 454549"/>
                <a:gd name="connsiteY28" fmla="*/ 842831 h 1366454"/>
                <a:gd name="connsiteX29" fmla="*/ 454549 w 454549"/>
                <a:gd name="connsiteY29" fmla="*/ 606635 h 1366454"/>
                <a:gd name="connsiteX30" fmla="*/ 205978 w 454549"/>
                <a:gd name="connsiteY30" fmla="*/ 725877 h 1366454"/>
                <a:gd name="connsiteX31" fmla="*/ 205978 w 454549"/>
                <a:gd name="connsiteY31" fmla="*/ 729818 h 1366454"/>
                <a:gd name="connsiteX32" fmla="*/ 195933 w 454549"/>
                <a:gd name="connsiteY32" fmla="*/ 737700 h 1366454"/>
                <a:gd name="connsiteX33" fmla="*/ 195933 w 454549"/>
                <a:gd name="connsiteY33" fmla="*/ 737700 h 1366454"/>
                <a:gd name="connsiteX34" fmla="*/ 188431 w 454549"/>
                <a:gd name="connsiteY34" fmla="*/ 727149 h 1366454"/>
                <a:gd name="connsiteX35" fmla="*/ 233568 w 454549"/>
                <a:gd name="connsiteY35" fmla="*/ 411881 h 1366454"/>
                <a:gd name="connsiteX36" fmla="*/ 292437 w 454549"/>
                <a:gd name="connsiteY36" fmla="*/ 0 h 1366454"/>
                <a:gd name="connsiteX37" fmla="*/ 166562 w 454549"/>
                <a:gd name="connsiteY37" fmla="*/ 57587 h 1366454"/>
                <a:gd name="connsiteX38" fmla="*/ 166689 w 454549"/>
                <a:gd name="connsiteY38" fmla="*/ 56952 h 136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4549" h="1366454">
                  <a:moveTo>
                    <a:pt x="166689" y="56952"/>
                  </a:moveTo>
                  <a:lnTo>
                    <a:pt x="166689" y="60384"/>
                  </a:lnTo>
                  <a:lnTo>
                    <a:pt x="76034" y="727022"/>
                  </a:lnTo>
                  <a:lnTo>
                    <a:pt x="83408" y="733378"/>
                  </a:lnTo>
                  <a:cubicBezTo>
                    <a:pt x="83446" y="733632"/>
                    <a:pt x="83446" y="733886"/>
                    <a:pt x="83408" y="734141"/>
                  </a:cubicBezTo>
                  <a:lnTo>
                    <a:pt x="84680" y="735666"/>
                  </a:lnTo>
                  <a:cubicBezTo>
                    <a:pt x="84947" y="736149"/>
                    <a:pt x="85163" y="736658"/>
                    <a:pt x="85315" y="737192"/>
                  </a:cubicBezTo>
                  <a:cubicBezTo>
                    <a:pt x="85392" y="737776"/>
                    <a:pt x="85392" y="738387"/>
                    <a:pt x="85315" y="738971"/>
                  </a:cubicBezTo>
                  <a:cubicBezTo>
                    <a:pt x="85379" y="739569"/>
                    <a:pt x="85379" y="740154"/>
                    <a:pt x="85315" y="740751"/>
                  </a:cubicBezTo>
                  <a:cubicBezTo>
                    <a:pt x="85379" y="741132"/>
                    <a:pt x="85379" y="741514"/>
                    <a:pt x="85315" y="741895"/>
                  </a:cubicBezTo>
                  <a:lnTo>
                    <a:pt x="41450" y="1063264"/>
                  </a:lnTo>
                  <a:lnTo>
                    <a:pt x="0" y="1366455"/>
                  </a:lnTo>
                  <a:lnTo>
                    <a:pt x="234586" y="1249882"/>
                  </a:lnTo>
                  <a:lnTo>
                    <a:pt x="240561" y="1209584"/>
                  </a:lnTo>
                  <a:lnTo>
                    <a:pt x="240561" y="1208694"/>
                  </a:lnTo>
                  <a:cubicBezTo>
                    <a:pt x="240511" y="1208147"/>
                    <a:pt x="240511" y="1207588"/>
                    <a:pt x="240561" y="1207042"/>
                  </a:cubicBezTo>
                  <a:cubicBezTo>
                    <a:pt x="240829" y="1206520"/>
                    <a:pt x="241121" y="1206012"/>
                    <a:pt x="241452" y="1205516"/>
                  </a:cubicBezTo>
                  <a:lnTo>
                    <a:pt x="242596" y="1204245"/>
                  </a:lnTo>
                  <a:lnTo>
                    <a:pt x="243994" y="1203101"/>
                  </a:lnTo>
                  <a:lnTo>
                    <a:pt x="244630" y="1203101"/>
                  </a:lnTo>
                  <a:lnTo>
                    <a:pt x="328293" y="1161658"/>
                  </a:lnTo>
                  <a:lnTo>
                    <a:pt x="375210" y="867748"/>
                  </a:lnTo>
                  <a:cubicBezTo>
                    <a:pt x="375210" y="867748"/>
                    <a:pt x="375210" y="867748"/>
                    <a:pt x="375210" y="866985"/>
                  </a:cubicBezTo>
                  <a:cubicBezTo>
                    <a:pt x="375210" y="866222"/>
                    <a:pt x="375210" y="865714"/>
                    <a:pt x="375846" y="865205"/>
                  </a:cubicBezTo>
                  <a:cubicBezTo>
                    <a:pt x="376100" y="864671"/>
                    <a:pt x="376392" y="864163"/>
                    <a:pt x="376736" y="863680"/>
                  </a:cubicBezTo>
                  <a:lnTo>
                    <a:pt x="377880" y="862409"/>
                  </a:lnTo>
                  <a:lnTo>
                    <a:pt x="379406" y="861265"/>
                  </a:lnTo>
                  <a:lnTo>
                    <a:pt x="379406" y="861265"/>
                  </a:lnTo>
                  <a:lnTo>
                    <a:pt x="417550" y="842831"/>
                  </a:lnTo>
                  <a:lnTo>
                    <a:pt x="454549" y="606635"/>
                  </a:lnTo>
                  <a:lnTo>
                    <a:pt x="205978" y="725877"/>
                  </a:lnTo>
                  <a:lnTo>
                    <a:pt x="205978" y="729818"/>
                  </a:lnTo>
                  <a:cubicBezTo>
                    <a:pt x="205380" y="734764"/>
                    <a:pt x="200892" y="738298"/>
                    <a:pt x="195933" y="737700"/>
                  </a:cubicBezTo>
                  <a:cubicBezTo>
                    <a:pt x="195933" y="737700"/>
                    <a:pt x="195933" y="737700"/>
                    <a:pt x="195933" y="737700"/>
                  </a:cubicBezTo>
                  <a:cubicBezTo>
                    <a:pt x="191025" y="736734"/>
                    <a:pt x="187732" y="732094"/>
                    <a:pt x="188431" y="727149"/>
                  </a:cubicBezTo>
                  <a:lnTo>
                    <a:pt x="233568" y="411881"/>
                  </a:lnTo>
                  <a:lnTo>
                    <a:pt x="292437" y="0"/>
                  </a:lnTo>
                  <a:lnTo>
                    <a:pt x="166562" y="57587"/>
                  </a:lnTo>
                  <a:cubicBezTo>
                    <a:pt x="166562" y="57587"/>
                    <a:pt x="166689" y="56824"/>
                    <a:pt x="166689" y="56952"/>
                  </a:cubicBezTo>
                  <a:close/>
                </a:path>
              </a:pathLst>
            </a:custGeom>
            <a:solidFill>
              <a:schemeClr val="accent4"/>
            </a:solidFill>
            <a:ln w="1268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549B0E93-BA41-43FA-967F-D1E61C37B5C1}"/>
                </a:ext>
              </a:extLst>
            </p:cNvPr>
            <p:cNvSpPr/>
            <p:nvPr/>
          </p:nvSpPr>
          <p:spPr>
            <a:xfrm>
              <a:off x="1465492" y="806902"/>
              <a:ext cx="3338488" cy="3750155"/>
            </a:xfrm>
            <a:custGeom>
              <a:avLst/>
              <a:gdLst>
                <a:gd name="connsiteX0" fmla="*/ 0 w 3338488"/>
                <a:gd name="connsiteY0" fmla="*/ 1096952 h 3750155"/>
                <a:gd name="connsiteX1" fmla="*/ 109219 w 3338488"/>
                <a:gd name="connsiteY1" fmla="*/ 1048899 h 3750155"/>
                <a:gd name="connsiteX2" fmla="*/ 147363 w 3338488"/>
                <a:gd name="connsiteY2" fmla="*/ 585406 h 3750155"/>
                <a:gd name="connsiteX3" fmla="*/ 147363 w 3338488"/>
                <a:gd name="connsiteY3" fmla="*/ 584261 h 3750155"/>
                <a:gd name="connsiteX4" fmla="*/ 147363 w 3338488"/>
                <a:gd name="connsiteY4" fmla="*/ 582227 h 3750155"/>
                <a:gd name="connsiteX5" fmla="*/ 148380 w 3338488"/>
                <a:gd name="connsiteY5" fmla="*/ 580829 h 3750155"/>
                <a:gd name="connsiteX6" fmla="*/ 149397 w 3338488"/>
                <a:gd name="connsiteY6" fmla="*/ 579431 h 3750155"/>
                <a:gd name="connsiteX7" fmla="*/ 151050 w 3338488"/>
                <a:gd name="connsiteY7" fmla="*/ 578287 h 3750155"/>
                <a:gd name="connsiteX8" fmla="*/ 152067 w 3338488"/>
                <a:gd name="connsiteY8" fmla="*/ 577651 h 3750155"/>
                <a:gd name="connsiteX9" fmla="*/ 274255 w 3338488"/>
                <a:gd name="connsiteY9" fmla="*/ 525403 h 3750155"/>
                <a:gd name="connsiteX10" fmla="*/ 276671 w 3338488"/>
                <a:gd name="connsiteY10" fmla="*/ 498326 h 3750155"/>
                <a:gd name="connsiteX11" fmla="*/ 276671 w 3338488"/>
                <a:gd name="connsiteY11" fmla="*/ 497054 h 3750155"/>
                <a:gd name="connsiteX12" fmla="*/ 278197 w 3338488"/>
                <a:gd name="connsiteY12" fmla="*/ 493622 h 3750155"/>
                <a:gd name="connsiteX13" fmla="*/ 279214 w 3338488"/>
                <a:gd name="connsiteY13" fmla="*/ 492351 h 3750155"/>
                <a:gd name="connsiteX14" fmla="*/ 280867 w 3338488"/>
                <a:gd name="connsiteY14" fmla="*/ 491207 h 3750155"/>
                <a:gd name="connsiteX15" fmla="*/ 281757 w 3338488"/>
                <a:gd name="connsiteY15" fmla="*/ 491207 h 3750155"/>
                <a:gd name="connsiteX16" fmla="*/ 543933 w 3338488"/>
                <a:gd name="connsiteY16" fmla="*/ 379719 h 3750155"/>
                <a:gd name="connsiteX17" fmla="*/ 544950 w 3338488"/>
                <a:gd name="connsiteY17" fmla="*/ 379719 h 3750155"/>
                <a:gd name="connsiteX18" fmla="*/ 546730 w 3338488"/>
                <a:gd name="connsiteY18" fmla="*/ 379719 h 3750155"/>
                <a:gd name="connsiteX19" fmla="*/ 548383 w 3338488"/>
                <a:gd name="connsiteY19" fmla="*/ 379719 h 3750155"/>
                <a:gd name="connsiteX20" fmla="*/ 550036 w 3338488"/>
                <a:gd name="connsiteY20" fmla="*/ 379719 h 3750155"/>
                <a:gd name="connsiteX21" fmla="*/ 551562 w 3338488"/>
                <a:gd name="connsiteY21" fmla="*/ 380609 h 3750155"/>
                <a:gd name="connsiteX22" fmla="*/ 552579 w 3338488"/>
                <a:gd name="connsiteY22" fmla="*/ 380609 h 3750155"/>
                <a:gd name="connsiteX23" fmla="*/ 881635 w 3338488"/>
                <a:gd name="connsiteY23" fmla="*/ 645154 h 3750155"/>
                <a:gd name="connsiteX24" fmla="*/ 882398 w 3338488"/>
                <a:gd name="connsiteY24" fmla="*/ 646044 h 3750155"/>
                <a:gd name="connsiteX25" fmla="*/ 883542 w 3338488"/>
                <a:gd name="connsiteY25" fmla="*/ 647442 h 3750155"/>
                <a:gd name="connsiteX26" fmla="*/ 884305 w 3338488"/>
                <a:gd name="connsiteY26" fmla="*/ 648968 h 3750155"/>
                <a:gd name="connsiteX27" fmla="*/ 884305 w 3338488"/>
                <a:gd name="connsiteY27" fmla="*/ 650620 h 3750155"/>
                <a:gd name="connsiteX28" fmla="*/ 884305 w 3338488"/>
                <a:gd name="connsiteY28" fmla="*/ 652527 h 3750155"/>
                <a:gd name="connsiteX29" fmla="*/ 884305 w 3338488"/>
                <a:gd name="connsiteY29" fmla="*/ 653671 h 3750155"/>
                <a:gd name="connsiteX30" fmla="*/ 855061 w 3338488"/>
                <a:gd name="connsiteY30" fmla="*/ 915292 h 3750155"/>
                <a:gd name="connsiteX31" fmla="*/ 965043 w 3338488"/>
                <a:gd name="connsiteY31" fmla="*/ 866222 h 3750155"/>
                <a:gd name="connsiteX32" fmla="*/ 966187 w 3338488"/>
                <a:gd name="connsiteY32" fmla="*/ 866222 h 3750155"/>
                <a:gd name="connsiteX33" fmla="*/ 967967 w 3338488"/>
                <a:gd name="connsiteY33" fmla="*/ 866222 h 3750155"/>
                <a:gd name="connsiteX34" fmla="*/ 969620 w 3338488"/>
                <a:gd name="connsiteY34" fmla="*/ 866222 h 3750155"/>
                <a:gd name="connsiteX35" fmla="*/ 971273 w 3338488"/>
                <a:gd name="connsiteY35" fmla="*/ 866222 h 3750155"/>
                <a:gd name="connsiteX36" fmla="*/ 972926 w 3338488"/>
                <a:gd name="connsiteY36" fmla="*/ 867112 h 3750155"/>
                <a:gd name="connsiteX37" fmla="*/ 973943 w 3338488"/>
                <a:gd name="connsiteY37" fmla="*/ 867112 h 3750155"/>
                <a:gd name="connsiteX38" fmla="*/ 1261295 w 3338488"/>
                <a:gd name="connsiteY38" fmla="*/ 1100512 h 3750155"/>
                <a:gd name="connsiteX39" fmla="*/ 1262057 w 3338488"/>
                <a:gd name="connsiteY39" fmla="*/ 1101402 h 3750155"/>
                <a:gd name="connsiteX40" fmla="*/ 1263202 w 3338488"/>
                <a:gd name="connsiteY40" fmla="*/ 1102927 h 3750155"/>
                <a:gd name="connsiteX41" fmla="*/ 1263965 w 3338488"/>
                <a:gd name="connsiteY41" fmla="*/ 1104452 h 3750155"/>
                <a:gd name="connsiteX42" fmla="*/ 1263965 w 3338488"/>
                <a:gd name="connsiteY42" fmla="*/ 1106105 h 3750155"/>
                <a:gd name="connsiteX43" fmla="*/ 1263965 w 3338488"/>
                <a:gd name="connsiteY43" fmla="*/ 1107885 h 3750155"/>
                <a:gd name="connsiteX44" fmla="*/ 1263965 w 3338488"/>
                <a:gd name="connsiteY44" fmla="*/ 1109283 h 3750155"/>
                <a:gd name="connsiteX45" fmla="*/ 1204714 w 3338488"/>
                <a:gd name="connsiteY45" fmla="*/ 1523453 h 3750155"/>
                <a:gd name="connsiteX46" fmla="*/ 1423534 w 3338488"/>
                <a:gd name="connsiteY46" fmla="*/ 1706893 h 3750155"/>
                <a:gd name="connsiteX47" fmla="*/ 1424297 w 3338488"/>
                <a:gd name="connsiteY47" fmla="*/ 1707910 h 3750155"/>
                <a:gd name="connsiteX48" fmla="*/ 1425441 w 3338488"/>
                <a:gd name="connsiteY48" fmla="*/ 1709308 h 3750155"/>
                <a:gd name="connsiteX49" fmla="*/ 1426204 w 3338488"/>
                <a:gd name="connsiteY49" fmla="*/ 1710961 h 3750155"/>
                <a:gd name="connsiteX50" fmla="*/ 1426204 w 3338488"/>
                <a:gd name="connsiteY50" fmla="*/ 1712613 h 3750155"/>
                <a:gd name="connsiteX51" fmla="*/ 1426204 w 3338488"/>
                <a:gd name="connsiteY51" fmla="*/ 1714520 h 3750155"/>
                <a:gd name="connsiteX52" fmla="*/ 1426204 w 3338488"/>
                <a:gd name="connsiteY52" fmla="*/ 1715664 h 3750155"/>
                <a:gd name="connsiteX53" fmla="*/ 1389967 w 3338488"/>
                <a:gd name="connsiteY53" fmla="*/ 1947538 h 3750155"/>
                <a:gd name="connsiteX54" fmla="*/ 1521564 w 3338488"/>
                <a:gd name="connsiteY54" fmla="*/ 1883976 h 3750155"/>
                <a:gd name="connsiteX55" fmla="*/ 1522835 w 3338488"/>
                <a:gd name="connsiteY55" fmla="*/ 1883976 h 3750155"/>
                <a:gd name="connsiteX56" fmla="*/ 1524615 w 3338488"/>
                <a:gd name="connsiteY56" fmla="*/ 1883976 h 3750155"/>
                <a:gd name="connsiteX57" fmla="*/ 1526395 w 3338488"/>
                <a:gd name="connsiteY57" fmla="*/ 1883976 h 3750155"/>
                <a:gd name="connsiteX58" fmla="*/ 1527921 w 3338488"/>
                <a:gd name="connsiteY58" fmla="*/ 1883976 h 3750155"/>
                <a:gd name="connsiteX59" fmla="*/ 1529701 w 3338488"/>
                <a:gd name="connsiteY59" fmla="*/ 1884993 h 3750155"/>
                <a:gd name="connsiteX60" fmla="*/ 1530845 w 3338488"/>
                <a:gd name="connsiteY60" fmla="*/ 1884993 h 3750155"/>
                <a:gd name="connsiteX61" fmla="*/ 1590859 w 3338488"/>
                <a:gd name="connsiteY61" fmla="*/ 1935843 h 3750155"/>
                <a:gd name="connsiteX62" fmla="*/ 1628367 w 3338488"/>
                <a:gd name="connsiteY62" fmla="*/ 1712868 h 3750155"/>
                <a:gd name="connsiteX63" fmla="*/ 1628367 w 3338488"/>
                <a:gd name="connsiteY63" fmla="*/ 1712105 h 3750155"/>
                <a:gd name="connsiteX64" fmla="*/ 1629003 w 3338488"/>
                <a:gd name="connsiteY64" fmla="*/ 1710325 h 3750155"/>
                <a:gd name="connsiteX65" fmla="*/ 1629893 w 3338488"/>
                <a:gd name="connsiteY65" fmla="*/ 1708800 h 3750155"/>
                <a:gd name="connsiteX66" fmla="*/ 1631037 w 3338488"/>
                <a:gd name="connsiteY66" fmla="*/ 1707655 h 3750155"/>
                <a:gd name="connsiteX67" fmla="*/ 1632563 w 3338488"/>
                <a:gd name="connsiteY67" fmla="*/ 1706511 h 3750155"/>
                <a:gd name="connsiteX68" fmla="*/ 1632563 w 3338488"/>
                <a:gd name="connsiteY68" fmla="*/ 1706511 h 3750155"/>
                <a:gd name="connsiteX69" fmla="*/ 1937715 w 3338488"/>
                <a:gd name="connsiteY69" fmla="*/ 1559429 h 3750155"/>
                <a:gd name="connsiteX70" fmla="*/ 1938732 w 3338488"/>
                <a:gd name="connsiteY70" fmla="*/ 1559429 h 3750155"/>
                <a:gd name="connsiteX71" fmla="*/ 1940639 w 3338488"/>
                <a:gd name="connsiteY71" fmla="*/ 1559429 h 3750155"/>
                <a:gd name="connsiteX72" fmla="*/ 1942292 w 3338488"/>
                <a:gd name="connsiteY72" fmla="*/ 1559429 h 3750155"/>
                <a:gd name="connsiteX73" fmla="*/ 1943945 w 3338488"/>
                <a:gd name="connsiteY73" fmla="*/ 1559429 h 3750155"/>
                <a:gd name="connsiteX74" fmla="*/ 1945598 w 3338488"/>
                <a:gd name="connsiteY74" fmla="*/ 1560319 h 3750155"/>
                <a:gd name="connsiteX75" fmla="*/ 1946742 w 3338488"/>
                <a:gd name="connsiteY75" fmla="*/ 1560319 h 3750155"/>
                <a:gd name="connsiteX76" fmla="*/ 2158187 w 3338488"/>
                <a:gd name="connsiteY76" fmla="*/ 1728885 h 3750155"/>
                <a:gd name="connsiteX77" fmla="*/ 2159077 w 3338488"/>
                <a:gd name="connsiteY77" fmla="*/ 1729902 h 3750155"/>
                <a:gd name="connsiteX78" fmla="*/ 2160349 w 3338488"/>
                <a:gd name="connsiteY78" fmla="*/ 1731555 h 3750155"/>
                <a:gd name="connsiteX79" fmla="*/ 2160984 w 3338488"/>
                <a:gd name="connsiteY79" fmla="*/ 1733080 h 3750155"/>
                <a:gd name="connsiteX80" fmla="*/ 2160984 w 3338488"/>
                <a:gd name="connsiteY80" fmla="*/ 1734860 h 3750155"/>
                <a:gd name="connsiteX81" fmla="*/ 2160984 w 3338488"/>
                <a:gd name="connsiteY81" fmla="*/ 1736640 h 3750155"/>
                <a:gd name="connsiteX82" fmla="*/ 2160984 w 3338488"/>
                <a:gd name="connsiteY82" fmla="*/ 1738165 h 3750155"/>
                <a:gd name="connsiteX83" fmla="*/ 2064861 w 3338488"/>
                <a:gd name="connsiteY83" fmla="*/ 2227211 h 3750155"/>
                <a:gd name="connsiteX84" fmla="*/ 2215149 w 3338488"/>
                <a:gd name="connsiteY84" fmla="*/ 2353064 h 3750155"/>
                <a:gd name="connsiteX85" fmla="*/ 2216038 w 3338488"/>
                <a:gd name="connsiteY85" fmla="*/ 2354208 h 3750155"/>
                <a:gd name="connsiteX86" fmla="*/ 2217310 w 3338488"/>
                <a:gd name="connsiteY86" fmla="*/ 2355733 h 3750155"/>
                <a:gd name="connsiteX87" fmla="*/ 2217946 w 3338488"/>
                <a:gd name="connsiteY87" fmla="*/ 2357386 h 3750155"/>
                <a:gd name="connsiteX88" fmla="*/ 2217946 w 3338488"/>
                <a:gd name="connsiteY88" fmla="*/ 2359038 h 3750155"/>
                <a:gd name="connsiteX89" fmla="*/ 2217946 w 3338488"/>
                <a:gd name="connsiteY89" fmla="*/ 2361072 h 3750155"/>
                <a:gd name="connsiteX90" fmla="*/ 2217946 w 3338488"/>
                <a:gd name="connsiteY90" fmla="*/ 2362344 h 3750155"/>
                <a:gd name="connsiteX91" fmla="*/ 2196712 w 3338488"/>
                <a:gd name="connsiteY91" fmla="*/ 2464933 h 3750155"/>
                <a:gd name="connsiteX92" fmla="*/ 2296141 w 3338488"/>
                <a:gd name="connsiteY92" fmla="*/ 2548834 h 3750155"/>
                <a:gd name="connsiteX93" fmla="*/ 2297031 w 3338488"/>
                <a:gd name="connsiteY93" fmla="*/ 2549851 h 3750155"/>
                <a:gd name="connsiteX94" fmla="*/ 2298302 w 3338488"/>
                <a:gd name="connsiteY94" fmla="*/ 2551377 h 3750155"/>
                <a:gd name="connsiteX95" fmla="*/ 2298302 w 3338488"/>
                <a:gd name="connsiteY95" fmla="*/ 2553157 h 3750155"/>
                <a:gd name="connsiteX96" fmla="*/ 2298302 w 3338488"/>
                <a:gd name="connsiteY96" fmla="*/ 2554809 h 3750155"/>
                <a:gd name="connsiteX97" fmla="*/ 2298302 w 3338488"/>
                <a:gd name="connsiteY97" fmla="*/ 2556716 h 3750155"/>
                <a:gd name="connsiteX98" fmla="*/ 2298302 w 3338488"/>
                <a:gd name="connsiteY98" fmla="*/ 2558114 h 3750155"/>
                <a:gd name="connsiteX99" fmla="*/ 2265499 w 3338488"/>
                <a:gd name="connsiteY99" fmla="*/ 2710663 h 3750155"/>
                <a:gd name="connsiteX100" fmla="*/ 2451260 w 3338488"/>
                <a:gd name="connsiteY100" fmla="*/ 2869314 h 3750155"/>
                <a:gd name="connsiteX101" fmla="*/ 2537847 w 3338488"/>
                <a:gd name="connsiteY101" fmla="*/ 2943173 h 3750155"/>
                <a:gd name="connsiteX102" fmla="*/ 2538610 w 3338488"/>
                <a:gd name="connsiteY102" fmla="*/ 2944317 h 3750155"/>
                <a:gd name="connsiteX103" fmla="*/ 2539881 w 3338488"/>
                <a:gd name="connsiteY103" fmla="*/ 2945842 h 3750155"/>
                <a:gd name="connsiteX104" fmla="*/ 2540517 w 3338488"/>
                <a:gd name="connsiteY104" fmla="*/ 2947622 h 3750155"/>
                <a:gd name="connsiteX105" fmla="*/ 2540517 w 3338488"/>
                <a:gd name="connsiteY105" fmla="*/ 2949275 h 3750155"/>
                <a:gd name="connsiteX106" fmla="*/ 2540517 w 3338488"/>
                <a:gd name="connsiteY106" fmla="*/ 2951309 h 3750155"/>
                <a:gd name="connsiteX107" fmla="*/ 2540517 w 3338488"/>
                <a:gd name="connsiteY107" fmla="*/ 2952707 h 3750155"/>
                <a:gd name="connsiteX108" fmla="*/ 2468933 w 3338488"/>
                <a:gd name="connsiteY108" fmla="*/ 3260474 h 3750155"/>
                <a:gd name="connsiteX109" fmla="*/ 2468933 w 3338488"/>
                <a:gd name="connsiteY109" fmla="*/ 3263144 h 3750155"/>
                <a:gd name="connsiteX110" fmla="*/ 3026471 w 3338488"/>
                <a:gd name="connsiteY110" fmla="*/ 3750155 h 3750155"/>
                <a:gd name="connsiteX111" fmla="*/ 3117000 w 3338488"/>
                <a:gd name="connsiteY111" fmla="*/ 3419633 h 3750155"/>
                <a:gd name="connsiteX112" fmla="*/ 3338489 w 3338488"/>
                <a:gd name="connsiteY112" fmla="*/ 2612142 h 3750155"/>
                <a:gd name="connsiteX113" fmla="*/ 84298 w 3338488"/>
                <a:gd name="connsiteY113" fmla="*/ 0 h 375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3338488" h="3750155">
                  <a:moveTo>
                    <a:pt x="0" y="1096952"/>
                  </a:moveTo>
                  <a:lnTo>
                    <a:pt x="109219" y="1048899"/>
                  </a:lnTo>
                  <a:lnTo>
                    <a:pt x="147363" y="585406"/>
                  </a:lnTo>
                  <a:cubicBezTo>
                    <a:pt x="147299" y="585027"/>
                    <a:pt x="147299" y="584640"/>
                    <a:pt x="147363" y="584261"/>
                  </a:cubicBezTo>
                  <a:cubicBezTo>
                    <a:pt x="147287" y="583585"/>
                    <a:pt x="147287" y="582904"/>
                    <a:pt x="147363" y="582227"/>
                  </a:cubicBezTo>
                  <a:cubicBezTo>
                    <a:pt x="147630" y="581711"/>
                    <a:pt x="147973" y="581240"/>
                    <a:pt x="148380" y="580829"/>
                  </a:cubicBezTo>
                  <a:cubicBezTo>
                    <a:pt x="148647" y="580313"/>
                    <a:pt x="148990" y="579841"/>
                    <a:pt x="149397" y="579431"/>
                  </a:cubicBezTo>
                  <a:cubicBezTo>
                    <a:pt x="149893" y="578978"/>
                    <a:pt x="150453" y="578593"/>
                    <a:pt x="151050" y="578287"/>
                  </a:cubicBezTo>
                  <a:lnTo>
                    <a:pt x="152067" y="577651"/>
                  </a:lnTo>
                  <a:lnTo>
                    <a:pt x="274255" y="525403"/>
                  </a:lnTo>
                  <a:lnTo>
                    <a:pt x="276671" y="498326"/>
                  </a:lnTo>
                  <a:lnTo>
                    <a:pt x="276671" y="497054"/>
                  </a:lnTo>
                  <a:cubicBezTo>
                    <a:pt x="276786" y="495774"/>
                    <a:pt x="277319" y="494568"/>
                    <a:pt x="278197" y="493622"/>
                  </a:cubicBezTo>
                  <a:lnTo>
                    <a:pt x="279214" y="492351"/>
                  </a:lnTo>
                  <a:cubicBezTo>
                    <a:pt x="279710" y="491898"/>
                    <a:pt x="280269" y="491513"/>
                    <a:pt x="280867" y="491207"/>
                  </a:cubicBezTo>
                  <a:cubicBezTo>
                    <a:pt x="281159" y="491148"/>
                    <a:pt x="281465" y="491148"/>
                    <a:pt x="281757" y="491207"/>
                  </a:cubicBezTo>
                  <a:lnTo>
                    <a:pt x="543933" y="379719"/>
                  </a:lnTo>
                  <a:lnTo>
                    <a:pt x="544950" y="379719"/>
                  </a:lnTo>
                  <a:lnTo>
                    <a:pt x="546730" y="379719"/>
                  </a:lnTo>
                  <a:lnTo>
                    <a:pt x="548383" y="379719"/>
                  </a:lnTo>
                  <a:lnTo>
                    <a:pt x="550036" y="379719"/>
                  </a:lnTo>
                  <a:lnTo>
                    <a:pt x="551562" y="380609"/>
                  </a:lnTo>
                  <a:lnTo>
                    <a:pt x="552579" y="380609"/>
                  </a:lnTo>
                  <a:lnTo>
                    <a:pt x="881635" y="645154"/>
                  </a:lnTo>
                  <a:cubicBezTo>
                    <a:pt x="881635" y="645154"/>
                    <a:pt x="881635" y="645154"/>
                    <a:pt x="882398" y="646044"/>
                  </a:cubicBezTo>
                  <a:cubicBezTo>
                    <a:pt x="882881" y="646415"/>
                    <a:pt x="883275" y="646894"/>
                    <a:pt x="883542" y="647442"/>
                  </a:cubicBezTo>
                  <a:cubicBezTo>
                    <a:pt x="883898" y="647895"/>
                    <a:pt x="884152" y="648413"/>
                    <a:pt x="884305" y="648968"/>
                  </a:cubicBezTo>
                  <a:cubicBezTo>
                    <a:pt x="884381" y="649517"/>
                    <a:pt x="884381" y="650072"/>
                    <a:pt x="884305" y="650620"/>
                  </a:cubicBezTo>
                  <a:cubicBezTo>
                    <a:pt x="884368" y="651254"/>
                    <a:pt x="884368" y="651893"/>
                    <a:pt x="884305" y="652527"/>
                  </a:cubicBezTo>
                  <a:cubicBezTo>
                    <a:pt x="884305" y="652527"/>
                    <a:pt x="884305" y="653290"/>
                    <a:pt x="884305" y="653671"/>
                  </a:cubicBezTo>
                  <a:lnTo>
                    <a:pt x="855061" y="915292"/>
                  </a:lnTo>
                  <a:lnTo>
                    <a:pt x="965043" y="866222"/>
                  </a:lnTo>
                  <a:cubicBezTo>
                    <a:pt x="965043" y="866222"/>
                    <a:pt x="965806" y="866222"/>
                    <a:pt x="966187" y="866222"/>
                  </a:cubicBezTo>
                  <a:cubicBezTo>
                    <a:pt x="966772" y="866103"/>
                    <a:pt x="967382" y="866103"/>
                    <a:pt x="967967" y="866222"/>
                  </a:cubicBezTo>
                  <a:cubicBezTo>
                    <a:pt x="968514" y="866098"/>
                    <a:pt x="969074" y="866098"/>
                    <a:pt x="969620" y="866222"/>
                  </a:cubicBezTo>
                  <a:lnTo>
                    <a:pt x="971273" y="866222"/>
                  </a:lnTo>
                  <a:lnTo>
                    <a:pt x="972926" y="867112"/>
                  </a:lnTo>
                  <a:lnTo>
                    <a:pt x="973943" y="867112"/>
                  </a:lnTo>
                  <a:lnTo>
                    <a:pt x="1261295" y="1100512"/>
                  </a:lnTo>
                  <a:lnTo>
                    <a:pt x="1262057" y="1101402"/>
                  </a:lnTo>
                  <a:cubicBezTo>
                    <a:pt x="1262502" y="1101859"/>
                    <a:pt x="1262897" y="1102368"/>
                    <a:pt x="1263202" y="1102927"/>
                  </a:cubicBezTo>
                  <a:cubicBezTo>
                    <a:pt x="1263558" y="1103385"/>
                    <a:pt x="1263812" y="1103893"/>
                    <a:pt x="1263965" y="1104452"/>
                  </a:cubicBezTo>
                  <a:cubicBezTo>
                    <a:pt x="1263965" y="1104452"/>
                    <a:pt x="1263965" y="1105470"/>
                    <a:pt x="1263965" y="1106105"/>
                  </a:cubicBezTo>
                  <a:cubicBezTo>
                    <a:pt x="1264028" y="1106703"/>
                    <a:pt x="1264028" y="1107287"/>
                    <a:pt x="1263965" y="1107885"/>
                  </a:cubicBezTo>
                  <a:cubicBezTo>
                    <a:pt x="1264028" y="1108355"/>
                    <a:pt x="1264028" y="1108826"/>
                    <a:pt x="1263965" y="1109283"/>
                  </a:cubicBezTo>
                  <a:lnTo>
                    <a:pt x="1204714" y="1523453"/>
                  </a:lnTo>
                  <a:lnTo>
                    <a:pt x="1423534" y="1706893"/>
                  </a:lnTo>
                  <a:cubicBezTo>
                    <a:pt x="1423851" y="1707172"/>
                    <a:pt x="1424119" y="1707516"/>
                    <a:pt x="1424297" y="1707910"/>
                  </a:cubicBezTo>
                  <a:cubicBezTo>
                    <a:pt x="1424742" y="1708317"/>
                    <a:pt x="1425136" y="1708787"/>
                    <a:pt x="1425441" y="1709308"/>
                  </a:cubicBezTo>
                  <a:cubicBezTo>
                    <a:pt x="1425771" y="1709817"/>
                    <a:pt x="1426026" y="1710376"/>
                    <a:pt x="1426204" y="1710961"/>
                  </a:cubicBezTo>
                  <a:cubicBezTo>
                    <a:pt x="1426204" y="1710961"/>
                    <a:pt x="1426204" y="1711978"/>
                    <a:pt x="1426204" y="1712613"/>
                  </a:cubicBezTo>
                  <a:lnTo>
                    <a:pt x="1426204" y="1714520"/>
                  </a:lnTo>
                  <a:cubicBezTo>
                    <a:pt x="1426267" y="1714901"/>
                    <a:pt x="1426267" y="1715283"/>
                    <a:pt x="1426204" y="1715664"/>
                  </a:cubicBezTo>
                  <a:lnTo>
                    <a:pt x="1389967" y="1947538"/>
                  </a:lnTo>
                  <a:lnTo>
                    <a:pt x="1521564" y="1883976"/>
                  </a:lnTo>
                  <a:cubicBezTo>
                    <a:pt x="1521564" y="1883976"/>
                    <a:pt x="1522454" y="1883976"/>
                    <a:pt x="1522835" y="1883976"/>
                  </a:cubicBezTo>
                  <a:cubicBezTo>
                    <a:pt x="1523420" y="1883862"/>
                    <a:pt x="1524030" y="1883862"/>
                    <a:pt x="1524615" y="1883976"/>
                  </a:cubicBezTo>
                  <a:lnTo>
                    <a:pt x="1526395" y="1883976"/>
                  </a:lnTo>
                  <a:lnTo>
                    <a:pt x="1527921" y="1883976"/>
                  </a:lnTo>
                  <a:lnTo>
                    <a:pt x="1529701" y="1884993"/>
                  </a:lnTo>
                  <a:lnTo>
                    <a:pt x="1530845" y="1884993"/>
                  </a:lnTo>
                  <a:lnTo>
                    <a:pt x="1590859" y="1935843"/>
                  </a:lnTo>
                  <a:lnTo>
                    <a:pt x="1628367" y="1712868"/>
                  </a:lnTo>
                  <a:cubicBezTo>
                    <a:pt x="1628367" y="1712868"/>
                    <a:pt x="1628367" y="1712868"/>
                    <a:pt x="1628367" y="1712105"/>
                  </a:cubicBezTo>
                  <a:lnTo>
                    <a:pt x="1629003" y="1710325"/>
                  </a:lnTo>
                  <a:lnTo>
                    <a:pt x="1629893" y="1708800"/>
                  </a:lnTo>
                  <a:lnTo>
                    <a:pt x="1631037" y="1707655"/>
                  </a:lnTo>
                  <a:cubicBezTo>
                    <a:pt x="1631457" y="1707160"/>
                    <a:pt x="1631978" y="1706778"/>
                    <a:pt x="1632563" y="1706511"/>
                  </a:cubicBezTo>
                  <a:lnTo>
                    <a:pt x="1632563" y="1706511"/>
                  </a:lnTo>
                  <a:lnTo>
                    <a:pt x="1937715" y="1559429"/>
                  </a:lnTo>
                  <a:lnTo>
                    <a:pt x="1938732" y="1559429"/>
                  </a:lnTo>
                  <a:cubicBezTo>
                    <a:pt x="1939368" y="1559315"/>
                    <a:pt x="1940003" y="1559315"/>
                    <a:pt x="1940639" y="1559429"/>
                  </a:cubicBezTo>
                  <a:lnTo>
                    <a:pt x="1942292" y="1559429"/>
                  </a:lnTo>
                  <a:lnTo>
                    <a:pt x="1943945" y="1559429"/>
                  </a:lnTo>
                  <a:lnTo>
                    <a:pt x="1945598" y="1560319"/>
                  </a:lnTo>
                  <a:lnTo>
                    <a:pt x="1946742" y="1560319"/>
                  </a:lnTo>
                  <a:lnTo>
                    <a:pt x="2158187" y="1728885"/>
                  </a:lnTo>
                  <a:cubicBezTo>
                    <a:pt x="2158187" y="1728885"/>
                    <a:pt x="2158187" y="1729648"/>
                    <a:pt x="2159077" y="1729902"/>
                  </a:cubicBezTo>
                  <a:cubicBezTo>
                    <a:pt x="2159535" y="1730423"/>
                    <a:pt x="2159954" y="1730983"/>
                    <a:pt x="2160349" y="1731555"/>
                  </a:cubicBezTo>
                  <a:cubicBezTo>
                    <a:pt x="2160349" y="1731555"/>
                    <a:pt x="2160349" y="1732572"/>
                    <a:pt x="2160984" y="1733080"/>
                  </a:cubicBezTo>
                  <a:cubicBezTo>
                    <a:pt x="2161111" y="1733665"/>
                    <a:pt x="2161111" y="1734275"/>
                    <a:pt x="2160984" y="1734860"/>
                  </a:cubicBezTo>
                  <a:cubicBezTo>
                    <a:pt x="2161048" y="1735457"/>
                    <a:pt x="2161048" y="1736042"/>
                    <a:pt x="2160984" y="1736640"/>
                  </a:cubicBezTo>
                  <a:cubicBezTo>
                    <a:pt x="2161048" y="1737148"/>
                    <a:pt x="2161048" y="1737657"/>
                    <a:pt x="2160984" y="1738165"/>
                  </a:cubicBezTo>
                  <a:lnTo>
                    <a:pt x="2064861" y="2227211"/>
                  </a:lnTo>
                  <a:lnTo>
                    <a:pt x="2215149" y="2353064"/>
                  </a:lnTo>
                  <a:lnTo>
                    <a:pt x="2216038" y="2354208"/>
                  </a:lnTo>
                  <a:cubicBezTo>
                    <a:pt x="2216534" y="2354653"/>
                    <a:pt x="2216954" y="2355174"/>
                    <a:pt x="2217310" y="2355733"/>
                  </a:cubicBezTo>
                  <a:cubicBezTo>
                    <a:pt x="2217310" y="2355733"/>
                    <a:pt x="2217310" y="2356750"/>
                    <a:pt x="2217946" y="2357386"/>
                  </a:cubicBezTo>
                  <a:cubicBezTo>
                    <a:pt x="2218582" y="2358021"/>
                    <a:pt x="2217946" y="2358403"/>
                    <a:pt x="2217946" y="2359038"/>
                  </a:cubicBezTo>
                  <a:cubicBezTo>
                    <a:pt x="2218009" y="2359712"/>
                    <a:pt x="2218009" y="2360399"/>
                    <a:pt x="2217946" y="2361072"/>
                  </a:cubicBezTo>
                  <a:cubicBezTo>
                    <a:pt x="2218009" y="2361492"/>
                    <a:pt x="2218009" y="2361924"/>
                    <a:pt x="2217946" y="2362344"/>
                  </a:cubicBezTo>
                  <a:lnTo>
                    <a:pt x="2196712" y="2464933"/>
                  </a:lnTo>
                  <a:lnTo>
                    <a:pt x="2296141" y="2548834"/>
                  </a:lnTo>
                  <a:cubicBezTo>
                    <a:pt x="2296472" y="2549139"/>
                    <a:pt x="2296777" y="2549483"/>
                    <a:pt x="2297031" y="2549851"/>
                  </a:cubicBezTo>
                  <a:lnTo>
                    <a:pt x="2298302" y="2551377"/>
                  </a:lnTo>
                  <a:cubicBezTo>
                    <a:pt x="2298353" y="2551974"/>
                    <a:pt x="2298353" y="2552559"/>
                    <a:pt x="2298302" y="2553157"/>
                  </a:cubicBezTo>
                  <a:cubicBezTo>
                    <a:pt x="2298430" y="2553703"/>
                    <a:pt x="2298430" y="2554263"/>
                    <a:pt x="2298302" y="2554809"/>
                  </a:cubicBezTo>
                  <a:cubicBezTo>
                    <a:pt x="2298366" y="2555445"/>
                    <a:pt x="2298366" y="2556081"/>
                    <a:pt x="2298302" y="2556716"/>
                  </a:cubicBezTo>
                  <a:cubicBezTo>
                    <a:pt x="2298366" y="2557174"/>
                    <a:pt x="2298366" y="2557644"/>
                    <a:pt x="2298302" y="2558114"/>
                  </a:cubicBezTo>
                  <a:lnTo>
                    <a:pt x="2265499" y="2710663"/>
                  </a:lnTo>
                  <a:lnTo>
                    <a:pt x="2451260" y="2869314"/>
                  </a:lnTo>
                  <a:lnTo>
                    <a:pt x="2537847" y="2943173"/>
                  </a:lnTo>
                  <a:lnTo>
                    <a:pt x="2538610" y="2944317"/>
                  </a:lnTo>
                  <a:lnTo>
                    <a:pt x="2539881" y="2945842"/>
                  </a:lnTo>
                  <a:cubicBezTo>
                    <a:pt x="2539881" y="2945842"/>
                    <a:pt x="2539881" y="2946987"/>
                    <a:pt x="2540517" y="2947622"/>
                  </a:cubicBezTo>
                  <a:cubicBezTo>
                    <a:pt x="2540593" y="2948169"/>
                    <a:pt x="2540593" y="2948728"/>
                    <a:pt x="2540517" y="2949275"/>
                  </a:cubicBezTo>
                  <a:cubicBezTo>
                    <a:pt x="2540581" y="2949948"/>
                    <a:pt x="2540581" y="2950635"/>
                    <a:pt x="2540517" y="2951309"/>
                  </a:cubicBezTo>
                  <a:cubicBezTo>
                    <a:pt x="2540517" y="2951309"/>
                    <a:pt x="2540517" y="2952198"/>
                    <a:pt x="2540517" y="2952707"/>
                  </a:cubicBezTo>
                  <a:lnTo>
                    <a:pt x="2468933" y="3260474"/>
                  </a:lnTo>
                  <a:lnTo>
                    <a:pt x="2468933" y="3263144"/>
                  </a:lnTo>
                  <a:lnTo>
                    <a:pt x="3026471" y="3750155"/>
                  </a:lnTo>
                  <a:lnTo>
                    <a:pt x="3117000" y="3419633"/>
                  </a:lnTo>
                  <a:lnTo>
                    <a:pt x="3338489" y="2612142"/>
                  </a:lnTo>
                  <a:lnTo>
                    <a:pt x="84298" y="0"/>
                  </a:lnTo>
                  <a:close/>
                </a:path>
              </a:pathLst>
            </a:custGeom>
            <a:solidFill>
              <a:schemeClr val="accent2"/>
            </a:solidFill>
            <a:ln w="1268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2E09EDF-639E-45EE-B04A-2C8F2D3CF5C8}"/>
                </a:ext>
              </a:extLst>
            </p:cNvPr>
            <p:cNvSpPr/>
            <p:nvPr/>
          </p:nvSpPr>
          <p:spPr>
            <a:xfrm>
              <a:off x="2298048" y="1465022"/>
              <a:ext cx="35600" cy="267214"/>
            </a:xfrm>
            <a:custGeom>
              <a:avLst/>
              <a:gdLst>
                <a:gd name="connsiteX0" fmla="*/ 0 w 35600"/>
                <a:gd name="connsiteY0" fmla="*/ 267215 h 267214"/>
                <a:gd name="connsiteX1" fmla="*/ 3687 w 35600"/>
                <a:gd name="connsiteY1" fmla="*/ 265562 h 267214"/>
                <a:gd name="connsiteX2" fmla="*/ 35601 w 35600"/>
                <a:gd name="connsiteY2" fmla="*/ 0 h 267214"/>
                <a:gd name="connsiteX3" fmla="*/ 31787 w 35600"/>
                <a:gd name="connsiteY3" fmla="*/ 1780 h 267214"/>
                <a:gd name="connsiteX4" fmla="*/ 0 w 35600"/>
                <a:gd name="connsiteY4" fmla="*/ 267215 h 26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00" h="267214">
                  <a:moveTo>
                    <a:pt x="0" y="267215"/>
                  </a:moveTo>
                  <a:lnTo>
                    <a:pt x="3687" y="265562"/>
                  </a:lnTo>
                  <a:lnTo>
                    <a:pt x="35601" y="0"/>
                  </a:lnTo>
                  <a:lnTo>
                    <a:pt x="31787" y="1780"/>
                  </a:lnTo>
                  <a:lnTo>
                    <a:pt x="0" y="267215"/>
                  </a:lnTo>
                  <a:close/>
                </a:path>
              </a:pathLst>
            </a:custGeom>
            <a:solidFill>
              <a:srgbClr val="F1F2F2"/>
            </a:solidFill>
            <a:ln w="1268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151C1B6-A74B-428B-93DB-6E90EA41DA97}"/>
                </a:ext>
              </a:extLst>
            </p:cNvPr>
            <p:cNvSpPr/>
            <p:nvPr/>
          </p:nvSpPr>
          <p:spPr>
            <a:xfrm>
              <a:off x="2626086" y="2351839"/>
              <a:ext cx="247681" cy="291367"/>
            </a:xfrm>
            <a:custGeom>
              <a:avLst/>
              <a:gdLst>
                <a:gd name="connsiteX0" fmla="*/ 247682 w 247681"/>
                <a:gd name="connsiteY0" fmla="*/ 172634 h 291367"/>
                <a:gd name="connsiteX1" fmla="*/ 41704 w 247681"/>
                <a:gd name="connsiteY1" fmla="*/ 0 h 291367"/>
                <a:gd name="connsiteX2" fmla="*/ 0 w 247681"/>
                <a:gd name="connsiteY2" fmla="*/ 291368 h 291367"/>
                <a:gd name="connsiteX3" fmla="*/ 247682 w 247681"/>
                <a:gd name="connsiteY3" fmla="*/ 172634 h 291367"/>
              </a:gdLst>
              <a:ahLst/>
              <a:cxnLst>
                <a:cxn ang="0">
                  <a:pos x="connsiteX0" y="connsiteY0"/>
                </a:cxn>
                <a:cxn ang="0">
                  <a:pos x="connsiteX1" y="connsiteY1"/>
                </a:cxn>
                <a:cxn ang="0">
                  <a:pos x="connsiteX2" y="connsiteY2"/>
                </a:cxn>
                <a:cxn ang="0">
                  <a:pos x="connsiteX3" y="connsiteY3"/>
                </a:cxn>
              </a:cxnLst>
              <a:rect l="l" t="t" r="r" b="b"/>
              <a:pathLst>
                <a:path w="247681" h="291367">
                  <a:moveTo>
                    <a:pt x="247682" y="172634"/>
                  </a:moveTo>
                  <a:lnTo>
                    <a:pt x="41704" y="0"/>
                  </a:lnTo>
                  <a:lnTo>
                    <a:pt x="0" y="291368"/>
                  </a:lnTo>
                  <a:lnTo>
                    <a:pt x="247682" y="172634"/>
                  </a:lnTo>
                  <a:close/>
                </a:path>
              </a:pathLst>
            </a:custGeom>
            <a:solidFill>
              <a:schemeClr val="accent5"/>
            </a:solidFill>
            <a:ln w="1268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3D94367D-F9C5-48A1-8416-CB1F8DC4B957}"/>
                </a:ext>
              </a:extLst>
            </p:cNvPr>
            <p:cNvSpPr/>
            <p:nvPr/>
          </p:nvSpPr>
          <p:spPr>
            <a:xfrm>
              <a:off x="1759327" y="1314762"/>
              <a:ext cx="8391" cy="9788"/>
            </a:xfrm>
            <a:custGeom>
              <a:avLst/>
              <a:gdLst>
                <a:gd name="connsiteX0" fmla="*/ 890 w 8391"/>
                <a:gd name="connsiteY0" fmla="*/ 0 h 9788"/>
                <a:gd name="connsiteX1" fmla="*/ 0 w 8391"/>
                <a:gd name="connsiteY1" fmla="*/ 9789 h 9788"/>
                <a:gd name="connsiteX2" fmla="*/ 8392 w 8391"/>
                <a:gd name="connsiteY2" fmla="*/ 6229 h 9788"/>
                <a:gd name="connsiteX3" fmla="*/ 890 w 8391"/>
                <a:gd name="connsiteY3" fmla="*/ 0 h 9788"/>
              </a:gdLst>
              <a:ahLst/>
              <a:cxnLst>
                <a:cxn ang="0">
                  <a:pos x="connsiteX0" y="connsiteY0"/>
                </a:cxn>
                <a:cxn ang="0">
                  <a:pos x="connsiteX1" y="connsiteY1"/>
                </a:cxn>
                <a:cxn ang="0">
                  <a:pos x="connsiteX2" y="connsiteY2"/>
                </a:cxn>
                <a:cxn ang="0">
                  <a:pos x="connsiteX3" y="connsiteY3"/>
                </a:cxn>
              </a:cxnLst>
              <a:rect l="l" t="t" r="r" b="b"/>
              <a:pathLst>
                <a:path w="8391" h="9788">
                  <a:moveTo>
                    <a:pt x="890" y="0"/>
                  </a:moveTo>
                  <a:lnTo>
                    <a:pt x="0" y="9789"/>
                  </a:lnTo>
                  <a:lnTo>
                    <a:pt x="8392" y="6229"/>
                  </a:lnTo>
                  <a:lnTo>
                    <a:pt x="890" y="0"/>
                  </a:lnTo>
                  <a:close/>
                </a:path>
              </a:pathLst>
            </a:custGeom>
            <a:solidFill>
              <a:srgbClr val="F9AA19"/>
            </a:solidFill>
            <a:ln w="1268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B5CA6FD9-A8BD-4510-89AA-9E187D68AC8C}"/>
                </a:ext>
              </a:extLst>
            </p:cNvPr>
            <p:cNvSpPr/>
            <p:nvPr/>
          </p:nvSpPr>
          <p:spPr>
            <a:xfrm>
              <a:off x="1760726" y="1205435"/>
              <a:ext cx="570634" cy="344887"/>
            </a:xfrm>
            <a:custGeom>
              <a:avLst/>
              <a:gdLst>
                <a:gd name="connsiteX0" fmla="*/ 13350 w 570634"/>
                <a:gd name="connsiteY0" fmla="*/ 112759 h 344887"/>
                <a:gd name="connsiteX1" fmla="*/ 207885 w 570634"/>
                <a:gd name="connsiteY1" fmla="*/ 29874 h 344887"/>
                <a:gd name="connsiteX2" fmla="*/ 208902 w 570634"/>
                <a:gd name="connsiteY2" fmla="*/ 29874 h 344887"/>
                <a:gd name="connsiteX3" fmla="*/ 210682 w 570634"/>
                <a:gd name="connsiteY3" fmla="*/ 29874 h 344887"/>
                <a:gd name="connsiteX4" fmla="*/ 212335 w 570634"/>
                <a:gd name="connsiteY4" fmla="*/ 29874 h 344887"/>
                <a:gd name="connsiteX5" fmla="*/ 213988 w 570634"/>
                <a:gd name="connsiteY5" fmla="*/ 29874 h 344887"/>
                <a:gd name="connsiteX6" fmla="*/ 215513 w 570634"/>
                <a:gd name="connsiteY6" fmla="*/ 30764 h 344887"/>
                <a:gd name="connsiteX7" fmla="*/ 216531 w 570634"/>
                <a:gd name="connsiteY7" fmla="*/ 30764 h 344887"/>
                <a:gd name="connsiteX8" fmla="*/ 388052 w 570634"/>
                <a:gd name="connsiteY8" fmla="*/ 170092 h 344887"/>
                <a:gd name="connsiteX9" fmla="*/ 388687 w 570634"/>
                <a:gd name="connsiteY9" fmla="*/ 170855 h 344887"/>
                <a:gd name="connsiteX10" fmla="*/ 389959 w 570634"/>
                <a:gd name="connsiteY10" fmla="*/ 172253 h 344887"/>
                <a:gd name="connsiteX11" fmla="*/ 390722 w 570634"/>
                <a:gd name="connsiteY11" fmla="*/ 173906 h 344887"/>
                <a:gd name="connsiteX12" fmla="*/ 390722 w 570634"/>
                <a:gd name="connsiteY12" fmla="*/ 175558 h 344887"/>
                <a:gd name="connsiteX13" fmla="*/ 390722 w 570634"/>
                <a:gd name="connsiteY13" fmla="*/ 177465 h 344887"/>
                <a:gd name="connsiteX14" fmla="*/ 390722 w 570634"/>
                <a:gd name="connsiteY14" fmla="*/ 178482 h 344887"/>
                <a:gd name="connsiteX15" fmla="*/ 372413 w 570634"/>
                <a:gd name="connsiteY15" fmla="*/ 344887 h 344887"/>
                <a:gd name="connsiteX16" fmla="*/ 548002 w 570634"/>
                <a:gd name="connsiteY16" fmla="*/ 268613 h 344887"/>
                <a:gd name="connsiteX17" fmla="*/ 549146 w 570634"/>
                <a:gd name="connsiteY17" fmla="*/ 259714 h 344887"/>
                <a:gd name="connsiteX18" fmla="*/ 560717 w 570634"/>
                <a:gd name="connsiteY18" fmla="*/ 257071 h 344887"/>
                <a:gd name="connsiteX19" fmla="*/ 561861 w 570634"/>
                <a:gd name="connsiteY19" fmla="*/ 257934 h 344887"/>
                <a:gd name="connsiteX20" fmla="*/ 563133 w 570634"/>
                <a:gd name="connsiteY20" fmla="*/ 258951 h 344887"/>
                <a:gd name="connsiteX21" fmla="*/ 563895 w 570634"/>
                <a:gd name="connsiteY21" fmla="*/ 259714 h 344887"/>
                <a:gd name="connsiteX22" fmla="*/ 563895 w 570634"/>
                <a:gd name="connsiteY22" fmla="*/ 259714 h 344887"/>
                <a:gd name="connsiteX23" fmla="*/ 565803 w 570634"/>
                <a:gd name="connsiteY23" fmla="*/ 258951 h 344887"/>
                <a:gd name="connsiteX24" fmla="*/ 570634 w 570634"/>
                <a:gd name="connsiteY24" fmla="*/ 256790 h 344887"/>
                <a:gd name="connsiteX25" fmla="*/ 250988 w 570634"/>
                <a:gd name="connsiteY25" fmla="*/ 0 h 344887"/>
                <a:gd name="connsiteX26" fmla="*/ 0 w 570634"/>
                <a:gd name="connsiteY26" fmla="*/ 106784 h 344887"/>
                <a:gd name="connsiteX27" fmla="*/ 9155 w 570634"/>
                <a:gd name="connsiteY27" fmla="*/ 114284 h 34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0634" h="344887">
                  <a:moveTo>
                    <a:pt x="13350" y="112759"/>
                  </a:moveTo>
                  <a:lnTo>
                    <a:pt x="207885" y="29874"/>
                  </a:lnTo>
                  <a:lnTo>
                    <a:pt x="208902" y="29874"/>
                  </a:lnTo>
                  <a:cubicBezTo>
                    <a:pt x="209487" y="29743"/>
                    <a:pt x="210097" y="29743"/>
                    <a:pt x="210682" y="29874"/>
                  </a:cubicBezTo>
                  <a:lnTo>
                    <a:pt x="212335" y="29874"/>
                  </a:lnTo>
                  <a:lnTo>
                    <a:pt x="213988" y="29874"/>
                  </a:lnTo>
                  <a:lnTo>
                    <a:pt x="215513" y="30764"/>
                  </a:lnTo>
                  <a:cubicBezTo>
                    <a:pt x="215844" y="30695"/>
                    <a:pt x="216200" y="30695"/>
                    <a:pt x="216531" y="30764"/>
                  </a:cubicBezTo>
                  <a:lnTo>
                    <a:pt x="388052" y="170092"/>
                  </a:lnTo>
                  <a:lnTo>
                    <a:pt x="388687" y="170855"/>
                  </a:lnTo>
                  <a:lnTo>
                    <a:pt x="389959" y="172253"/>
                  </a:lnTo>
                  <a:lnTo>
                    <a:pt x="390722" y="173906"/>
                  </a:lnTo>
                  <a:cubicBezTo>
                    <a:pt x="390722" y="173906"/>
                    <a:pt x="390722" y="174923"/>
                    <a:pt x="390722" y="175558"/>
                  </a:cubicBezTo>
                  <a:cubicBezTo>
                    <a:pt x="390785" y="176192"/>
                    <a:pt x="390785" y="176831"/>
                    <a:pt x="390722" y="177465"/>
                  </a:cubicBezTo>
                  <a:cubicBezTo>
                    <a:pt x="390722" y="177465"/>
                    <a:pt x="390722" y="177465"/>
                    <a:pt x="390722" y="178482"/>
                  </a:cubicBezTo>
                  <a:lnTo>
                    <a:pt x="372413" y="344887"/>
                  </a:lnTo>
                  <a:lnTo>
                    <a:pt x="548002" y="268613"/>
                  </a:lnTo>
                  <a:cubicBezTo>
                    <a:pt x="546896" y="265638"/>
                    <a:pt x="547328" y="262313"/>
                    <a:pt x="549146" y="259714"/>
                  </a:cubicBezTo>
                  <a:cubicBezTo>
                    <a:pt x="551613" y="255790"/>
                    <a:pt x="556788" y="254606"/>
                    <a:pt x="560717" y="257071"/>
                  </a:cubicBezTo>
                  <a:cubicBezTo>
                    <a:pt x="561124" y="257326"/>
                    <a:pt x="561505" y="257614"/>
                    <a:pt x="561861" y="257934"/>
                  </a:cubicBezTo>
                  <a:lnTo>
                    <a:pt x="563133" y="258951"/>
                  </a:lnTo>
                  <a:lnTo>
                    <a:pt x="563895" y="259714"/>
                  </a:lnTo>
                  <a:lnTo>
                    <a:pt x="563895" y="259714"/>
                  </a:lnTo>
                  <a:lnTo>
                    <a:pt x="565803" y="258951"/>
                  </a:lnTo>
                  <a:lnTo>
                    <a:pt x="570634" y="256790"/>
                  </a:lnTo>
                  <a:lnTo>
                    <a:pt x="250988" y="0"/>
                  </a:lnTo>
                  <a:lnTo>
                    <a:pt x="0" y="106784"/>
                  </a:lnTo>
                  <a:lnTo>
                    <a:pt x="9155" y="114284"/>
                  </a:lnTo>
                  <a:close/>
                </a:path>
              </a:pathLst>
            </a:custGeom>
            <a:solidFill>
              <a:schemeClr val="accent2">
                <a:lumMod val="75000"/>
              </a:schemeClr>
            </a:solidFill>
            <a:ln w="1268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D49BB72-7A25-4FCF-8D04-FADC7385A787}"/>
                </a:ext>
              </a:extLst>
            </p:cNvPr>
            <p:cNvSpPr/>
            <p:nvPr/>
          </p:nvSpPr>
          <p:spPr>
            <a:xfrm>
              <a:off x="2678089" y="3105683"/>
              <a:ext cx="67387" cy="47035"/>
            </a:xfrm>
            <a:custGeom>
              <a:avLst/>
              <a:gdLst>
                <a:gd name="connsiteX0" fmla="*/ 17546 w 67387"/>
                <a:gd name="connsiteY0" fmla="*/ 46019 h 47035"/>
                <a:gd name="connsiteX1" fmla="*/ 63827 w 67387"/>
                <a:gd name="connsiteY1" fmla="*/ 23009 h 47035"/>
                <a:gd name="connsiteX2" fmla="*/ 67388 w 67387"/>
                <a:gd name="connsiteY2" fmla="*/ 0 h 47035"/>
                <a:gd name="connsiteX3" fmla="*/ 0 w 67387"/>
                <a:gd name="connsiteY3" fmla="*/ 33434 h 47035"/>
                <a:gd name="connsiteX4" fmla="*/ 15385 w 67387"/>
                <a:gd name="connsiteY4" fmla="*/ 47036 h 47035"/>
                <a:gd name="connsiteX5" fmla="*/ 17546 w 67387"/>
                <a:gd name="connsiteY5" fmla="*/ 46019 h 4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87" h="47035">
                  <a:moveTo>
                    <a:pt x="17546" y="46019"/>
                  </a:moveTo>
                  <a:lnTo>
                    <a:pt x="63827" y="23009"/>
                  </a:lnTo>
                  <a:lnTo>
                    <a:pt x="67388" y="0"/>
                  </a:lnTo>
                  <a:lnTo>
                    <a:pt x="0" y="33434"/>
                  </a:lnTo>
                  <a:lnTo>
                    <a:pt x="15385" y="47036"/>
                  </a:lnTo>
                  <a:lnTo>
                    <a:pt x="17546" y="46019"/>
                  </a:lnTo>
                  <a:close/>
                </a:path>
              </a:pathLst>
            </a:custGeom>
            <a:solidFill>
              <a:srgbClr val="F1F2F2"/>
            </a:solidFill>
            <a:ln w="1268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1901014-39DE-4C12-8070-B1AF3D7D4769}"/>
                </a:ext>
              </a:extLst>
            </p:cNvPr>
            <p:cNvSpPr/>
            <p:nvPr/>
          </p:nvSpPr>
          <p:spPr>
            <a:xfrm>
              <a:off x="2673639" y="3142168"/>
              <a:ext cx="16783" cy="20466"/>
            </a:xfrm>
            <a:custGeom>
              <a:avLst/>
              <a:gdLst>
                <a:gd name="connsiteX0" fmla="*/ 3052 w 16783"/>
                <a:gd name="connsiteY0" fmla="*/ 0 h 20466"/>
                <a:gd name="connsiteX1" fmla="*/ 0 w 16783"/>
                <a:gd name="connsiteY1" fmla="*/ 20467 h 20466"/>
                <a:gd name="connsiteX2" fmla="*/ 16783 w 16783"/>
                <a:gd name="connsiteY2" fmla="*/ 12077 h 20466"/>
                <a:gd name="connsiteX3" fmla="*/ 3052 w 16783"/>
                <a:gd name="connsiteY3" fmla="*/ 0 h 20466"/>
              </a:gdLst>
              <a:ahLst/>
              <a:cxnLst>
                <a:cxn ang="0">
                  <a:pos x="connsiteX0" y="connsiteY0"/>
                </a:cxn>
                <a:cxn ang="0">
                  <a:pos x="connsiteX1" y="connsiteY1"/>
                </a:cxn>
                <a:cxn ang="0">
                  <a:pos x="connsiteX2" y="connsiteY2"/>
                </a:cxn>
                <a:cxn ang="0">
                  <a:pos x="connsiteX3" y="connsiteY3"/>
                </a:cxn>
              </a:cxnLst>
              <a:rect l="l" t="t" r="r" b="b"/>
              <a:pathLst>
                <a:path w="16783" h="20466">
                  <a:moveTo>
                    <a:pt x="3052" y="0"/>
                  </a:moveTo>
                  <a:lnTo>
                    <a:pt x="0" y="20467"/>
                  </a:lnTo>
                  <a:lnTo>
                    <a:pt x="16783" y="12077"/>
                  </a:lnTo>
                  <a:lnTo>
                    <a:pt x="3052" y="0"/>
                  </a:lnTo>
                  <a:close/>
                </a:path>
              </a:pathLst>
            </a:custGeom>
            <a:solidFill>
              <a:srgbClr val="F2494C"/>
            </a:solidFill>
            <a:ln w="1268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C4280F2-9F02-4AC0-8868-C6418CBE94EC}"/>
                </a:ext>
              </a:extLst>
            </p:cNvPr>
            <p:cNvSpPr/>
            <p:nvPr/>
          </p:nvSpPr>
          <p:spPr>
            <a:xfrm>
              <a:off x="1631545" y="1254505"/>
              <a:ext cx="501339" cy="278655"/>
            </a:xfrm>
            <a:custGeom>
              <a:avLst/>
              <a:gdLst>
                <a:gd name="connsiteX0" fmla="*/ 501339 w 501339"/>
                <a:gd name="connsiteY0" fmla="*/ 131319 h 278655"/>
                <a:gd name="connsiteX1" fmla="*/ 338973 w 501339"/>
                <a:gd name="connsiteY1" fmla="*/ 0 h 278655"/>
                <a:gd name="connsiteX2" fmla="*/ 149143 w 501339"/>
                <a:gd name="connsiteY2" fmla="*/ 80978 h 278655"/>
                <a:gd name="connsiteX3" fmla="*/ 121043 w 501339"/>
                <a:gd name="connsiteY3" fmla="*/ 92928 h 278655"/>
                <a:gd name="connsiteX4" fmla="*/ 0 w 501339"/>
                <a:gd name="connsiteY4" fmla="*/ 144540 h 278655"/>
                <a:gd name="connsiteX5" fmla="*/ 160840 w 501339"/>
                <a:gd name="connsiteY5" fmla="*/ 278656 h 278655"/>
                <a:gd name="connsiteX6" fmla="*/ 501339 w 501339"/>
                <a:gd name="connsiteY6" fmla="*/ 131319 h 27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339" h="278655">
                  <a:moveTo>
                    <a:pt x="501339" y="131319"/>
                  </a:moveTo>
                  <a:lnTo>
                    <a:pt x="338973" y="0"/>
                  </a:lnTo>
                  <a:lnTo>
                    <a:pt x="149143" y="80978"/>
                  </a:lnTo>
                  <a:lnTo>
                    <a:pt x="121043" y="92928"/>
                  </a:lnTo>
                  <a:lnTo>
                    <a:pt x="0" y="144540"/>
                  </a:lnTo>
                  <a:lnTo>
                    <a:pt x="160840" y="278656"/>
                  </a:lnTo>
                  <a:lnTo>
                    <a:pt x="501339" y="131319"/>
                  </a:lnTo>
                  <a:close/>
                </a:path>
              </a:pathLst>
            </a:custGeom>
            <a:solidFill>
              <a:schemeClr val="accent5"/>
            </a:solidFill>
            <a:ln w="1268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EFA0019-32F3-49FD-A268-56AB631F79E4}"/>
                </a:ext>
              </a:extLst>
            </p:cNvPr>
            <p:cNvSpPr/>
            <p:nvPr/>
          </p:nvSpPr>
          <p:spPr>
            <a:xfrm>
              <a:off x="1764540" y="1389129"/>
              <a:ext cx="367453" cy="836856"/>
            </a:xfrm>
            <a:custGeom>
              <a:avLst/>
              <a:gdLst>
                <a:gd name="connsiteX0" fmla="*/ 115068 w 367453"/>
                <a:gd name="connsiteY0" fmla="*/ 561888 h 836856"/>
                <a:gd name="connsiteX1" fmla="*/ 115068 w 367453"/>
                <a:gd name="connsiteY1" fmla="*/ 563540 h 836856"/>
                <a:gd name="connsiteX2" fmla="*/ 115068 w 367453"/>
                <a:gd name="connsiteY2" fmla="*/ 565447 h 836856"/>
                <a:gd name="connsiteX3" fmla="*/ 115068 w 367453"/>
                <a:gd name="connsiteY3" fmla="*/ 566337 h 836856"/>
                <a:gd name="connsiteX4" fmla="*/ 100319 w 367453"/>
                <a:gd name="connsiteY4" fmla="*/ 716597 h 836856"/>
                <a:gd name="connsiteX5" fmla="*/ 239290 w 367453"/>
                <a:gd name="connsiteY5" fmla="*/ 836857 h 836856"/>
                <a:gd name="connsiteX6" fmla="*/ 270822 w 367453"/>
                <a:gd name="connsiteY6" fmla="*/ 549175 h 836856"/>
                <a:gd name="connsiteX7" fmla="*/ 270822 w 367453"/>
                <a:gd name="connsiteY7" fmla="*/ 548031 h 836856"/>
                <a:gd name="connsiteX8" fmla="*/ 270822 w 367453"/>
                <a:gd name="connsiteY8" fmla="*/ 546251 h 836856"/>
                <a:gd name="connsiteX9" fmla="*/ 271712 w 367453"/>
                <a:gd name="connsiteY9" fmla="*/ 544853 h 836856"/>
                <a:gd name="connsiteX10" fmla="*/ 272857 w 367453"/>
                <a:gd name="connsiteY10" fmla="*/ 543455 h 836856"/>
                <a:gd name="connsiteX11" fmla="*/ 274255 w 367453"/>
                <a:gd name="connsiteY11" fmla="*/ 542438 h 836856"/>
                <a:gd name="connsiteX12" fmla="*/ 275272 w 367453"/>
                <a:gd name="connsiteY12" fmla="*/ 541675 h 836856"/>
                <a:gd name="connsiteX13" fmla="*/ 305915 w 367453"/>
                <a:gd name="connsiteY13" fmla="*/ 527946 h 836856"/>
                <a:gd name="connsiteX14" fmla="*/ 314942 w 367453"/>
                <a:gd name="connsiteY14" fmla="*/ 445442 h 836856"/>
                <a:gd name="connsiteX15" fmla="*/ 314942 w 367453"/>
                <a:gd name="connsiteY15" fmla="*/ 444425 h 836856"/>
                <a:gd name="connsiteX16" fmla="*/ 314942 w 367453"/>
                <a:gd name="connsiteY16" fmla="*/ 442518 h 836856"/>
                <a:gd name="connsiteX17" fmla="*/ 315832 w 367453"/>
                <a:gd name="connsiteY17" fmla="*/ 441120 h 836856"/>
                <a:gd name="connsiteX18" fmla="*/ 316977 w 367453"/>
                <a:gd name="connsiteY18" fmla="*/ 439722 h 836856"/>
                <a:gd name="connsiteX19" fmla="*/ 318502 w 367453"/>
                <a:gd name="connsiteY19" fmla="*/ 438705 h 836856"/>
                <a:gd name="connsiteX20" fmla="*/ 319392 w 367453"/>
                <a:gd name="connsiteY20" fmla="*/ 437942 h 836856"/>
                <a:gd name="connsiteX21" fmla="*/ 319392 w 367453"/>
                <a:gd name="connsiteY21" fmla="*/ 437942 h 836856"/>
                <a:gd name="connsiteX22" fmla="*/ 349145 w 367453"/>
                <a:gd name="connsiteY22" fmla="*/ 166405 h 836856"/>
                <a:gd name="connsiteX23" fmla="*/ 367454 w 367453"/>
                <a:gd name="connsiteY23" fmla="*/ 0 h 836856"/>
                <a:gd name="connsiteX24" fmla="*/ 26828 w 367453"/>
                <a:gd name="connsiteY24" fmla="*/ 147464 h 836856"/>
                <a:gd name="connsiteX25" fmla="*/ 0 w 367453"/>
                <a:gd name="connsiteY25" fmla="*/ 461460 h 836856"/>
                <a:gd name="connsiteX26" fmla="*/ 3179 w 367453"/>
                <a:gd name="connsiteY26" fmla="*/ 464002 h 836856"/>
                <a:gd name="connsiteX27" fmla="*/ 112525 w 367453"/>
                <a:gd name="connsiteY27" fmla="*/ 557566 h 836856"/>
                <a:gd name="connsiteX28" fmla="*/ 113160 w 367453"/>
                <a:gd name="connsiteY28" fmla="*/ 558328 h 836856"/>
                <a:gd name="connsiteX29" fmla="*/ 114178 w 367453"/>
                <a:gd name="connsiteY29" fmla="*/ 559727 h 836856"/>
                <a:gd name="connsiteX30" fmla="*/ 115068 w 367453"/>
                <a:gd name="connsiteY30" fmla="*/ 561888 h 83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7453" h="836856">
                  <a:moveTo>
                    <a:pt x="115068" y="561888"/>
                  </a:moveTo>
                  <a:lnTo>
                    <a:pt x="115068" y="563540"/>
                  </a:lnTo>
                  <a:cubicBezTo>
                    <a:pt x="115131" y="564176"/>
                    <a:pt x="115131" y="564812"/>
                    <a:pt x="115068" y="565447"/>
                  </a:cubicBezTo>
                  <a:cubicBezTo>
                    <a:pt x="115068" y="565447"/>
                    <a:pt x="115068" y="565447"/>
                    <a:pt x="115068" y="566337"/>
                  </a:cubicBezTo>
                  <a:lnTo>
                    <a:pt x="100319" y="716597"/>
                  </a:lnTo>
                  <a:lnTo>
                    <a:pt x="239290" y="836857"/>
                  </a:lnTo>
                  <a:lnTo>
                    <a:pt x="270822" y="549175"/>
                  </a:lnTo>
                  <a:cubicBezTo>
                    <a:pt x="270772" y="548794"/>
                    <a:pt x="270772" y="548413"/>
                    <a:pt x="270822" y="548031"/>
                  </a:cubicBezTo>
                  <a:cubicBezTo>
                    <a:pt x="270772" y="547434"/>
                    <a:pt x="270772" y="546849"/>
                    <a:pt x="270822" y="546251"/>
                  </a:cubicBezTo>
                  <a:cubicBezTo>
                    <a:pt x="271038" y="545743"/>
                    <a:pt x="271344" y="545273"/>
                    <a:pt x="271712" y="544853"/>
                  </a:cubicBezTo>
                  <a:cubicBezTo>
                    <a:pt x="272017" y="544332"/>
                    <a:pt x="272412" y="543862"/>
                    <a:pt x="272857" y="543455"/>
                  </a:cubicBezTo>
                  <a:lnTo>
                    <a:pt x="274255" y="542438"/>
                  </a:lnTo>
                  <a:lnTo>
                    <a:pt x="275272" y="541675"/>
                  </a:lnTo>
                  <a:lnTo>
                    <a:pt x="305915" y="527946"/>
                  </a:lnTo>
                  <a:lnTo>
                    <a:pt x="314942" y="445442"/>
                  </a:lnTo>
                  <a:cubicBezTo>
                    <a:pt x="314942" y="445442"/>
                    <a:pt x="314942" y="445442"/>
                    <a:pt x="314942" y="444425"/>
                  </a:cubicBezTo>
                  <a:cubicBezTo>
                    <a:pt x="314879" y="443791"/>
                    <a:pt x="314879" y="443153"/>
                    <a:pt x="314942" y="442518"/>
                  </a:cubicBezTo>
                  <a:lnTo>
                    <a:pt x="315832" y="441120"/>
                  </a:lnTo>
                  <a:cubicBezTo>
                    <a:pt x="316137" y="440600"/>
                    <a:pt x="316532" y="440128"/>
                    <a:pt x="316977" y="439722"/>
                  </a:cubicBezTo>
                  <a:cubicBezTo>
                    <a:pt x="317409" y="439283"/>
                    <a:pt x="317930" y="438937"/>
                    <a:pt x="318502" y="438705"/>
                  </a:cubicBezTo>
                  <a:lnTo>
                    <a:pt x="319392" y="437942"/>
                  </a:lnTo>
                  <a:lnTo>
                    <a:pt x="319392" y="437942"/>
                  </a:lnTo>
                  <a:lnTo>
                    <a:pt x="349145" y="166405"/>
                  </a:lnTo>
                  <a:lnTo>
                    <a:pt x="367454" y="0"/>
                  </a:lnTo>
                  <a:lnTo>
                    <a:pt x="26828" y="147464"/>
                  </a:lnTo>
                  <a:lnTo>
                    <a:pt x="0" y="461460"/>
                  </a:lnTo>
                  <a:lnTo>
                    <a:pt x="3179" y="464002"/>
                  </a:lnTo>
                  <a:lnTo>
                    <a:pt x="112525" y="557566"/>
                  </a:lnTo>
                  <a:lnTo>
                    <a:pt x="113160" y="558328"/>
                  </a:lnTo>
                  <a:cubicBezTo>
                    <a:pt x="113567" y="558735"/>
                    <a:pt x="113911" y="559205"/>
                    <a:pt x="114178" y="559727"/>
                  </a:cubicBezTo>
                  <a:cubicBezTo>
                    <a:pt x="114559" y="560413"/>
                    <a:pt x="114864" y="561138"/>
                    <a:pt x="115068" y="561888"/>
                  </a:cubicBezTo>
                  <a:close/>
                </a:path>
              </a:pathLst>
            </a:custGeom>
            <a:solidFill>
              <a:schemeClr val="bg1">
                <a:lumMod val="95000"/>
              </a:schemeClr>
            </a:solidFill>
            <a:ln w="1268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D71B662-6BA3-42DA-88B2-A5F05AE5EBC1}"/>
                </a:ext>
              </a:extLst>
            </p:cNvPr>
            <p:cNvSpPr/>
            <p:nvPr/>
          </p:nvSpPr>
          <p:spPr>
            <a:xfrm>
              <a:off x="1593147" y="1401969"/>
              <a:ext cx="197204" cy="445696"/>
            </a:xfrm>
            <a:custGeom>
              <a:avLst/>
              <a:gdLst>
                <a:gd name="connsiteX0" fmla="*/ 107312 w 197204"/>
                <a:gd name="connsiteY0" fmla="*/ 398788 h 445696"/>
                <a:gd name="connsiteX1" fmla="*/ 109092 w 197204"/>
                <a:gd name="connsiteY1" fmla="*/ 398788 h 445696"/>
                <a:gd name="connsiteX2" fmla="*/ 110618 w 197204"/>
                <a:gd name="connsiteY2" fmla="*/ 398788 h 445696"/>
                <a:gd name="connsiteX3" fmla="*/ 112270 w 197204"/>
                <a:gd name="connsiteY3" fmla="*/ 398788 h 445696"/>
                <a:gd name="connsiteX4" fmla="*/ 113923 w 197204"/>
                <a:gd name="connsiteY4" fmla="*/ 399678 h 445696"/>
                <a:gd name="connsiteX5" fmla="*/ 114940 w 197204"/>
                <a:gd name="connsiteY5" fmla="*/ 399678 h 445696"/>
                <a:gd name="connsiteX6" fmla="*/ 168469 w 197204"/>
                <a:gd name="connsiteY6" fmla="*/ 445315 h 445696"/>
                <a:gd name="connsiteX7" fmla="*/ 197204 w 197204"/>
                <a:gd name="connsiteY7" fmla="*/ 133099 h 445696"/>
                <a:gd name="connsiteX8" fmla="*/ 37000 w 197204"/>
                <a:gd name="connsiteY8" fmla="*/ 0 h 445696"/>
                <a:gd name="connsiteX9" fmla="*/ 0 w 197204"/>
                <a:gd name="connsiteY9" fmla="*/ 445696 h 445696"/>
                <a:gd name="connsiteX10" fmla="*/ 106040 w 197204"/>
                <a:gd name="connsiteY10" fmla="*/ 399042 h 44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04" h="445696">
                  <a:moveTo>
                    <a:pt x="107312" y="398788"/>
                  </a:moveTo>
                  <a:cubicBezTo>
                    <a:pt x="107897" y="398715"/>
                    <a:pt x="108507" y="398715"/>
                    <a:pt x="109092" y="398788"/>
                  </a:cubicBezTo>
                  <a:lnTo>
                    <a:pt x="110618" y="398788"/>
                  </a:lnTo>
                  <a:cubicBezTo>
                    <a:pt x="111164" y="398715"/>
                    <a:pt x="111724" y="398715"/>
                    <a:pt x="112270" y="398788"/>
                  </a:cubicBezTo>
                  <a:lnTo>
                    <a:pt x="113923" y="399678"/>
                  </a:lnTo>
                  <a:cubicBezTo>
                    <a:pt x="113923" y="399678"/>
                    <a:pt x="114686" y="399678"/>
                    <a:pt x="114940" y="399678"/>
                  </a:cubicBezTo>
                  <a:lnTo>
                    <a:pt x="168469" y="445315"/>
                  </a:lnTo>
                  <a:lnTo>
                    <a:pt x="197204" y="133099"/>
                  </a:lnTo>
                  <a:lnTo>
                    <a:pt x="37000" y="0"/>
                  </a:lnTo>
                  <a:lnTo>
                    <a:pt x="0" y="445696"/>
                  </a:lnTo>
                  <a:lnTo>
                    <a:pt x="106040" y="399042"/>
                  </a:lnTo>
                  <a:close/>
                </a:path>
              </a:pathLst>
            </a:custGeom>
            <a:solidFill>
              <a:schemeClr val="accent6">
                <a:lumMod val="60000"/>
                <a:lumOff val="40000"/>
              </a:schemeClr>
            </a:solidFill>
            <a:ln w="1268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559C0099-13CB-4571-A09E-529C2F80F780}"/>
                </a:ext>
              </a:extLst>
            </p:cNvPr>
            <p:cNvSpPr/>
            <p:nvPr/>
          </p:nvSpPr>
          <p:spPr>
            <a:xfrm>
              <a:off x="2099063" y="1692320"/>
              <a:ext cx="611066" cy="282723"/>
            </a:xfrm>
            <a:custGeom>
              <a:avLst/>
              <a:gdLst>
                <a:gd name="connsiteX0" fmla="*/ 190720 w 611066"/>
                <a:gd name="connsiteY0" fmla="*/ 63816 h 282723"/>
                <a:gd name="connsiteX1" fmla="*/ 0 w 611066"/>
                <a:gd name="connsiteY1" fmla="*/ 149116 h 282723"/>
                <a:gd name="connsiteX2" fmla="*/ 49206 w 611066"/>
                <a:gd name="connsiteY2" fmla="*/ 190305 h 282723"/>
                <a:gd name="connsiteX3" fmla="*/ 51876 w 611066"/>
                <a:gd name="connsiteY3" fmla="*/ 189033 h 282723"/>
                <a:gd name="connsiteX4" fmla="*/ 256201 w 611066"/>
                <a:gd name="connsiteY4" fmla="*/ 97377 h 282723"/>
                <a:gd name="connsiteX5" fmla="*/ 257472 w 611066"/>
                <a:gd name="connsiteY5" fmla="*/ 97377 h 282723"/>
                <a:gd name="connsiteX6" fmla="*/ 259125 w 611066"/>
                <a:gd name="connsiteY6" fmla="*/ 97377 h 282723"/>
                <a:gd name="connsiteX7" fmla="*/ 260905 w 611066"/>
                <a:gd name="connsiteY7" fmla="*/ 97377 h 282723"/>
                <a:gd name="connsiteX8" fmla="*/ 262431 w 611066"/>
                <a:gd name="connsiteY8" fmla="*/ 97377 h 282723"/>
                <a:gd name="connsiteX9" fmla="*/ 264084 w 611066"/>
                <a:gd name="connsiteY9" fmla="*/ 98267 h 282723"/>
                <a:gd name="connsiteX10" fmla="*/ 265101 w 611066"/>
                <a:gd name="connsiteY10" fmla="*/ 98267 h 282723"/>
                <a:gd name="connsiteX11" fmla="*/ 483793 w 611066"/>
                <a:gd name="connsiteY11" fmla="*/ 277893 h 282723"/>
                <a:gd name="connsiteX12" fmla="*/ 483793 w 611066"/>
                <a:gd name="connsiteY12" fmla="*/ 278783 h 282723"/>
                <a:gd name="connsiteX13" fmla="*/ 485065 w 611066"/>
                <a:gd name="connsiteY13" fmla="*/ 280308 h 282723"/>
                <a:gd name="connsiteX14" fmla="*/ 485700 w 611066"/>
                <a:gd name="connsiteY14" fmla="*/ 281834 h 282723"/>
                <a:gd name="connsiteX15" fmla="*/ 485700 w 611066"/>
                <a:gd name="connsiteY15" fmla="*/ 282724 h 282723"/>
                <a:gd name="connsiteX16" fmla="*/ 611067 w 611066"/>
                <a:gd name="connsiteY16" fmla="*/ 225391 h 282723"/>
                <a:gd name="connsiteX17" fmla="*/ 333633 w 611066"/>
                <a:gd name="connsiteY17" fmla="*/ 0 h 282723"/>
                <a:gd name="connsiteX18" fmla="*/ 214242 w 611066"/>
                <a:gd name="connsiteY18" fmla="*/ 53265 h 282723"/>
                <a:gd name="connsiteX19" fmla="*/ 199493 w 611066"/>
                <a:gd name="connsiteY19" fmla="*/ 59875 h 28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066" h="282723">
                  <a:moveTo>
                    <a:pt x="190720" y="63816"/>
                  </a:moveTo>
                  <a:lnTo>
                    <a:pt x="0" y="149116"/>
                  </a:lnTo>
                  <a:lnTo>
                    <a:pt x="49206" y="190305"/>
                  </a:lnTo>
                  <a:lnTo>
                    <a:pt x="51876" y="189033"/>
                  </a:lnTo>
                  <a:lnTo>
                    <a:pt x="256201" y="97377"/>
                  </a:lnTo>
                  <a:cubicBezTo>
                    <a:pt x="256201" y="97377"/>
                    <a:pt x="257090" y="97377"/>
                    <a:pt x="257472" y="97377"/>
                  </a:cubicBezTo>
                  <a:cubicBezTo>
                    <a:pt x="258019" y="97247"/>
                    <a:pt x="258578" y="97247"/>
                    <a:pt x="259125" y="97377"/>
                  </a:cubicBezTo>
                  <a:lnTo>
                    <a:pt x="260905" y="97377"/>
                  </a:lnTo>
                  <a:lnTo>
                    <a:pt x="262431" y="97377"/>
                  </a:lnTo>
                  <a:lnTo>
                    <a:pt x="264084" y="98267"/>
                  </a:lnTo>
                  <a:lnTo>
                    <a:pt x="265101" y="98267"/>
                  </a:lnTo>
                  <a:lnTo>
                    <a:pt x="483793" y="277893"/>
                  </a:lnTo>
                  <a:lnTo>
                    <a:pt x="483793" y="278783"/>
                  </a:lnTo>
                  <a:lnTo>
                    <a:pt x="485065" y="280308"/>
                  </a:lnTo>
                  <a:cubicBezTo>
                    <a:pt x="485331" y="280791"/>
                    <a:pt x="485548" y="281300"/>
                    <a:pt x="485700" y="281834"/>
                  </a:cubicBezTo>
                  <a:cubicBezTo>
                    <a:pt x="485777" y="282126"/>
                    <a:pt x="485777" y="282431"/>
                    <a:pt x="485700" y="282724"/>
                  </a:cubicBezTo>
                  <a:lnTo>
                    <a:pt x="611067" y="225391"/>
                  </a:lnTo>
                  <a:lnTo>
                    <a:pt x="333633" y="0"/>
                  </a:lnTo>
                  <a:lnTo>
                    <a:pt x="214242" y="53265"/>
                  </a:lnTo>
                  <a:lnTo>
                    <a:pt x="199493" y="59875"/>
                  </a:lnTo>
                  <a:close/>
                </a:path>
              </a:pathLst>
            </a:custGeom>
            <a:solidFill>
              <a:schemeClr val="bg1">
                <a:lumMod val="95000"/>
              </a:schemeClr>
            </a:solidFill>
            <a:ln w="1268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096786B-EBDE-406D-B6B5-924178D5C8E3}"/>
                </a:ext>
              </a:extLst>
            </p:cNvPr>
            <p:cNvSpPr/>
            <p:nvPr/>
          </p:nvSpPr>
          <p:spPr>
            <a:xfrm>
              <a:off x="2053545" y="1808892"/>
              <a:ext cx="512782" cy="311834"/>
            </a:xfrm>
            <a:custGeom>
              <a:avLst/>
              <a:gdLst>
                <a:gd name="connsiteX0" fmla="*/ 207630 w 512782"/>
                <a:gd name="connsiteY0" fmla="*/ 311835 h 311834"/>
                <a:gd name="connsiteX1" fmla="*/ 512782 w 512782"/>
                <a:gd name="connsiteY1" fmla="*/ 172126 h 311834"/>
                <a:gd name="connsiteX2" fmla="*/ 303499 w 512782"/>
                <a:gd name="connsiteY2" fmla="*/ 0 h 311834"/>
                <a:gd name="connsiteX3" fmla="*/ 104006 w 512782"/>
                <a:gd name="connsiteY3" fmla="*/ 89622 h 311834"/>
                <a:gd name="connsiteX4" fmla="*/ 29498 w 512782"/>
                <a:gd name="connsiteY4" fmla="*/ 123056 h 311834"/>
                <a:gd name="connsiteX5" fmla="*/ 0 w 512782"/>
                <a:gd name="connsiteY5" fmla="*/ 136277 h 311834"/>
                <a:gd name="connsiteX6" fmla="*/ 207630 w 512782"/>
                <a:gd name="connsiteY6" fmla="*/ 311835 h 31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782" h="311834">
                  <a:moveTo>
                    <a:pt x="207630" y="311835"/>
                  </a:moveTo>
                  <a:lnTo>
                    <a:pt x="512782" y="172126"/>
                  </a:lnTo>
                  <a:lnTo>
                    <a:pt x="303499" y="0"/>
                  </a:lnTo>
                  <a:lnTo>
                    <a:pt x="104006" y="89622"/>
                  </a:lnTo>
                  <a:lnTo>
                    <a:pt x="29498" y="123056"/>
                  </a:lnTo>
                  <a:lnTo>
                    <a:pt x="0" y="136277"/>
                  </a:lnTo>
                  <a:lnTo>
                    <a:pt x="207630" y="311835"/>
                  </a:lnTo>
                  <a:close/>
                </a:path>
              </a:pathLst>
            </a:custGeom>
            <a:solidFill>
              <a:schemeClr val="bg1">
                <a:lumMod val="95000"/>
              </a:schemeClr>
            </a:solidFill>
            <a:ln w="1268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8B4047D-EF0F-49EC-A029-AC418021A526}"/>
                </a:ext>
              </a:extLst>
            </p:cNvPr>
            <p:cNvSpPr/>
            <p:nvPr/>
          </p:nvSpPr>
          <p:spPr>
            <a:xfrm>
              <a:off x="1810440" y="1948093"/>
              <a:ext cx="448827" cy="2500908"/>
            </a:xfrm>
            <a:custGeom>
              <a:avLst/>
              <a:gdLst>
                <a:gd name="connsiteX0" fmla="*/ 448828 w 448827"/>
                <a:gd name="connsiteY0" fmla="*/ 175177 h 2500908"/>
                <a:gd name="connsiteX1" fmla="*/ 241579 w 448827"/>
                <a:gd name="connsiteY1" fmla="*/ 0 h 2500908"/>
                <a:gd name="connsiteX2" fmla="*/ 209792 w 448827"/>
                <a:gd name="connsiteY2" fmla="*/ 296326 h 2500908"/>
                <a:gd name="connsiteX3" fmla="*/ 184363 w 448827"/>
                <a:gd name="connsiteY3" fmla="*/ 535192 h 2500908"/>
                <a:gd name="connsiteX4" fmla="*/ 172792 w 448827"/>
                <a:gd name="connsiteY4" fmla="*/ 642484 h 2500908"/>
                <a:gd name="connsiteX5" fmla="*/ 136174 w 448827"/>
                <a:gd name="connsiteY5" fmla="*/ 982795 h 2500908"/>
                <a:gd name="connsiteX6" fmla="*/ 101463 w 448827"/>
                <a:gd name="connsiteY6" fmla="*/ 1305054 h 2500908"/>
                <a:gd name="connsiteX7" fmla="*/ 94979 w 448827"/>
                <a:gd name="connsiteY7" fmla="*/ 1365311 h 2500908"/>
                <a:gd name="connsiteX8" fmla="*/ 0 w 448827"/>
                <a:gd name="connsiteY8" fmla="*/ 2249204 h 2500908"/>
                <a:gd name="connsiteX9" fmla="*/ 114432 w 448827"/>
                <a:gd name="connsiteY9" fmla="*/ 2362598 h 2500908"/>
                <a:gd name="connsiteX10" fmla="*/ 114432 w 448827"/>
                <a:gd name="connsiteY10" fmla="*/ 2362598 h 2500908"/>
                <a:gd name="connsiteX11" fmla="*/ 115449 w 448827"/>
                <a:gd name="connsiteY11" fmla="*/ 2364123 h 2500908"/>
                <a:gd name="connsiteX12" fmla="*/ 116212 w 448827"/>
                <a:gd name="connsiteY12" fmla="*/ 2365649 h 2500908"/>
                <a:gd name="connsiteX13" fmla="*/ 116212 w 448827"/>
                <a:gd name="connsiteY13" fmla="*/ 2367301 h 2500908"/>
                <a:gd name="connsiteX14" fmla="*/ 116212 w 448827"/>
                <a:gd name="connsiteY14" fmla="*/ 2369209 h 2500908"/>
                <a:gd name="connsiteX15" fmla="*/ 116212 w 448827"/>
                <a:gd name="connsiteY15" fmla="*/ 2369971 h 2500908"/>
                <a:gd name="connsiteX16" fmla="*/ 108965 w 448827"/>
                <a:gd name="connsiteY16" fmla="*/ 2433533 h 2500908"/>
                <a:gd name="connsiteX17" fmla="*/ 108965 w 448827"/>
                <a:gd name="connsiteY17" fmla="*/ 2433533 h 2500908"/>
                <a:gd name="connsiteX18" fmla="*/ 108202 w 448827"/>
                <a:gd name="connsiteY18" fmla="*/ 2440398 h 2500908"/>
                <a:gd name="connsiteX19" fmla="*/ 168978 w 448827"/>
                <a:gd name="connsiteY19" fmla="*/ 2500909 h 250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8827" h="2500908">
                  <a:moveTo>
                    <a:pt x="448828" y="175177"/>
                  </a:moveTo>
                  <a:lnTo>
                    <a:pt x="241579" y="0"/>
                  </a:lnTo>
                  <a:lnTo>
                    <a:pt x="209792" y="296326"/>
                  </a:lnTo>
                  <a:lnTo>
                    <a:pt x="184363" y="535192"/>
                  </a:lnTo>
                  <a:lnTo>
                    <a:pt x="172792" y="642484"/>
                  </a:lnTo>
                  <a:lnTo>
                    <a:pt x="136174" y="982795"/>
                  </a:lnTo>
                  <a:lnTo>
                    <a:pt x="101463" y="1305054"/>
                  </a:lnTo>
                  <a:lnTo>
                    <a:pt x="94979" y="1365311"/>
                  </a:lnTo>
                  <a:lnTo>
                    <a:pt x="0" y="2249204"/>
                  </a:lnTo>
                  <a:lnTo>
                    <a:pt x="114432" y="2362598"/>
                  </a:lnTo>
                  <a:lnTo>
                    <a:pt x="114432" y="2362598"/>
                  </a:lnTo>
                  <a:lnTo>
                    <a:pt x="115449" y="2364123"/>
                  </a:lnTo>
                  <a:lnTo>
                    <a:pt x="116212" y="2365649"/>
                  </a:lnTo>
                  <a:lnTo>
                    <a:pt x="116212" y="2367301"/>
                  </a:lnTo>
                  <a:cubicBezTo>
                    <a:pt x="116212" y="2367937"/>
                    <a:pt x="116212" y="2368573"/>
                    <a:pt x="116212" y="2369209"/>
                  </a:cubicBezTo>
                  <a:lnTo>
                    <a:pt x="116212" y="2369971"/>
                  </a:lnTo>
                  <a:lnTo>
                    <a:pt x="108965" y="2433533"/>
                  </a:lnTo>
                  <a:lnTo>
                    <a:pt x="108965" y="2433533"/>
                  </a:lnTo>
                  <a:lnTo>
                    <a:pt x="108202" y="2440398"/>
                  </a:lnTo>
                  <a:lnTo>
                    <a:pt x="168978" y="2500909"/>
                  </a:lnTo>
                  <a:close/>
                </a:path>
              </a:pathLst>
            </a:custGeom>
            <a:solidFill>
              <a:schemeClr val="accent2">
                <a:lumMod val="75000"/>
              </a:schemeClr>
            </a:solidFill>
            <a:ln w="1268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59643EA-C3CA-4DD1-9B25-67D26F2572F4}"/>
                </a:ext>
              </a:extLst>
            </p:cNvPr>
            <p:cNvSpPr/>
            <p:nvPr/>
          </p:nvSpPr>
          <p:spPr>
            <a:xfrm>
              <a:off x="1893213" y="4148480"/>
              <a:ext cx="766694" cy="467434"/>
            </a:xfrm>
            <a:custGeom>
              <a:avLst/>
              <a:gdLst>
                <a:gd name="connsiteX0" fmla="*/ 701341 w 766694"/>
                <a:gd name="connsiteY0" fmla="*/ 254 h 467434"/>
                <a:gd name="connsiteX1" fmla="*/ 700070 w 766694"/>
                <a:gd name="connsiteY1" fmla="*/ 890 h 467434"/>
                <a:gd name="connsiteX2" fmla="*/ 698925 w 766694"/>
                <a:gd name="connsiteY2" fmla="*/ 0 h 467434"/>
                <a:gd name="connsiteX3" fmla="*/ 390213 w 766694"/>
                <a:gd name="connsiteY3" fmla="*/ 162465 h 467434"/>
                <a:gd name="connsiteX4" fmla="*/ 389323 w 766694"/>
                <a:gd name="connsiteY4" fmla="*/ 168821 h 467434"/>
                <a:gd name="connsiteX5" fmla="*/ 379533 w 766694"/>
                <a:gd name="connsiteY5" fmla="*/ 176728 h 467434"/>
                <a:gd name="connsiteX6" fmla="*/ 379278 w 766694"/>
                <a:gd name="connsiteY6" fmla="*/ 176703 h 467434"/>
                <a:gd name="connsiteX7" fmla="*/ 371904 w 766694"/>
                <a:gd name="connsiteY7" fmla="*/ 166151 h 467434"/>
                <a:gd name="connsiteX8" fmla="*/ 371904 w 766694"/>
                <a:gd name="connsiteY8" fmla="*/ 162846 h 467434"/>
                <a:gd name="connsiteX9" fmla="*/ 366182 w 766694"/>
                <a:gd name="connsiteY9" fmla="*/ 164244 h 467434"/>
                <a:gd name="connsiteX10" fmla="*/ 359571 w 766694"/>
                <a:gd name="connsiteY10" fmla="*/ 159159 h 467434"/>
                <a:gd name="connsiteX11" fmla="*/ 90274 w 766694"/>
                <a:gd name="connsiteY11" fmla="*/ 301157 h 467434"/>
                <a:gd name="connsiteX12" fmla="*/ 90274 w 766694"/>
                <a:gd name="connsiteY12" fmla="*/ 302174 h 467434"/>
                <a:gd name="connsiteX13" fmla="*/ 88507 w 766694"/>
                <a:gd name="connsiteY13" fmla="*/ 303699 h 467434"/>
                <a:gd name="connsiteX14" fmla="*/ 88494 w 766694"/>
                <a:gd name="connsiteY14" fmla="*/ 303699 h 467434"/>
                <a:gd name="connsiteX15" fmla="*/ 87096 w 766694"/>
                <a:gd name="connsiteY15" fmla="*/ 301792 h 467434"/>
                <a:gd name="connsiteX16" fmla="*/ 87096 w 766694"/>
                <a:gd name="connsiteY16" fmla="*/ 300648 h 467434"/>
                <a:gd name="connsiteX17" fmla="*/ 26319 w 766694"/>
                <a:gd name="connsiteY17" fmla="*/ 240137 h 467434"/>
                <a:gd name="connsiteX18" fmla="*/ 0 w 766694"/>
                <a:gd name="connsiteY18" fmla="*/ 467435 h 467434"/>
                <a:gd name="connsiteX19" fmla="*/ 766694 w 766694"/>
                <a:gd name="connsiteY19" fmla="*/ 61655 h 46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6694" h="467434">
                  <a:moveTo>
                    <a:pt x="701341" y="254"/>
                  </a:moveTo>
                  <a:cubicBezTo>
                    <a:pt x="701112" y="737"/>
                    <a:pt x="700591" y="1004"/>
                    <a:pt x="700070" y="890"/>
                  </a:cubicBezTo>
                  <a:cubicBezTo>
                    <a:pt x="699586" y="750"/>
                    <a:pt x="699179" y="433"/>
                    <a:pt x="698925" y="0"/>
                  </a:cubicBezTo>
                  <a:lnTo>
                    <a:pt x="390213" y="162465"/>
                  </a:lnTo>
                  <a:lnTo>
                    <a:pt x="389323" y="168821"/>
                  </a:lnTo>
                  <a:cubicBezTo>
                    <a:pt x="388802" y="173702"/>
                    <a:pt x="384428" y="177249"/>
                    <a:pt x="379533" y="176728"/>
                  </a:cubicBezTo>
                  <a:cubicBezTo>
                    <a:pt x="379444" y="176728"/>
                    <a:pt x="379367" y="176715"/>
                    <a:pt x="379278" y="176703"/>
                  </a:cubicBezTo>
                  <a:cubicBezTo>
                    <a:pt x="374345" y="175800"/>
                    <a:pt x="371052" y="171096"/>
                    <a:pt x="371904" y="166151"/>
                  </a:cubicBezTo>
                  <a:lnTo>
                    <a:pt x="371904" y="162846"/>
                  </a:lnTo>
                  <a:cubicBezTo>
                    <a:pt x="370213" y="163939"/>
                    <a:pt x="368191" y="164435"/>
                    <a:pt x="366182" y="164244"/>
                  </a:cubicBezTo>
                  <a:cubicBezTo>
                    <a:pt x="363283" y="163710"/>
                    <a:pt x="360830" y="161816"/>
                    <a:pt x="359571" y="159159"/>
                  </a:cubicBezTo>
                  <a:lnTo>
                    <a:pt x="90274" y="301157"/>
                  </a:lnTo>
                  <a:lnTo>
                    <a:pt x="90274" y="302174"/>
                  </a:lnTo>
                  <a:cubicBezTo>
                    <a:pt x="90211" y="303089"/>
                    <a:pt x="89410" y="303763"/>
                    <a:pt x="88507" y="303699"/>
                  </a:cubicBezTo>
                  <a:cubicBezTo>
                    <a:pt x="88507" y="303699"/>
                    <a:pt x="88494" y="303699"/>
                    <a:pt x="88494" y="303699"/>
                  </a:cubicBezTo>
                  <a:cubicBezTo>
                    <a:pt x="87617" y="303508"/>
                    <a:pt x="87006" y="302695"/>
                    <a:pt x="87096" y="301792"/>
                  </a:cubicBezTo>
                  <a:lnTo>
                    <a:pt x="87096" y="300648"/>
                  </a:lnTo>
                  <a:lnTo>
                    <a:pt x="26319" y="240137"/>
                  </a:lnTo>
                  <a:lnTo>
                    <a:pt x="0" y="467435"/>
                  </a:lnTo>
                  <a:lnTo>
                    <a:pt x="766694" y="61655"/>
                  </a:lnTo>
                  <a:close/>
                </a:path>
              </a:pathLst>
            </a:custGeom>
            <a:solidFill>
              <a:schemeClr val="accent3">
                <a:lumMod val="75000"/>
              </a:schemeClr>
            </a:solidFill>
            <a:ln w="1268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748A5A5-235B-4AF7-8184-F268AC2B983E}"/>
                </a:ext>
              </a:extLst>
            </p:cNvPr>
            <p:cNvSpPr/>
            <p:nvPr/>
          </p:nvSpPr>
          <p:spPr>
            <a:xfrm>
              <a:off x="1982343" y="1984196"/>
              <a:ext cx="584874" cy="2466203"/>
            </a:xfrm>
            <a:custGeom>
              <a:avLst/>
              <a:gdLst>
                <a:gd name="connsiteX0" fmla="*/ 351306 w 584874"/>
                <a:gd name="connsiteY0" fmla="*/ 1718588 h 2466203"/>
                <a:gd name="connsiteX1" fmla="*/ 366691 w 584874"/>
                <a:gd name="connsiteY1" fmla="*/ 1606083 h 2466203"/>
                <a:gd name="connsiteX2" fmla="*/ 448319 w 584874"/>
                <a:gd name="connsiteY2" fmla="*/ 1005169 h 2466203"/>
                <a:gd name="connsiteX3" fmla="*/ 491930 w 584874"/>
                <a:gd name="connsiteY3" fmla="*/ 683672 h 2466203"/>
                <a:gd name="connsiteX4" fmla="*/ 494092 w 584874"/>
                <a:gd name="connsiteY4" fmla="*/ 667655 h 2466203"/>
                <a:gd name="connsiteX5" fmla="*/ 584875 w 584874"/>
                <a:gd name="connsiteY5" fmla="*/ 0 h 2466203"/>
                <a:gd name="connsiteX6" fmla="*/ 279723 w 584874"/>
                <a:gd name="connsiteY6" fmla="*/ 139836 h 2466203"/>
                <a:gd name="connsiteX7" fmla="*/ 0 w 584874"/>
                <a:gd name="connsiteY7" fmla="*/ 2466204 h 2466203"/>
                <a:gd name="connsiteX8" fmla="*/ 270187 w 584874"/>
                <a:gd name="connsiteY8" fmla="*/ 2324206 h 2466203"/>
                <a:gd name="connsiteX9" fmla="*/ 269296 w 584874"/>
                <a:gd name="connsiteY9" fmla="*/ 2318740 h 246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874" h="2466203">
                  <a:moveTo>
                    <a:pt x="351306" y="1718588"/>
                  </a:moveTo>
                  <a:lnTo>
                    <a:pt x="366691" y="1606083"/>
                  </a:lnTo>
                  <a:lnTo>
                    <a:pt x="448319" y="1005169"/>
                  </a:lnTo>
                  <a:lnTo>
                    <a:pt x="491930" y="683672"/>
                  </a:lnTo>
                  <a:lnTo>
                    <a:pt x="494092" y="667655"/>
                  </a:lnTo>
                  <a:lnTo>
                    <a:pt x="584875" y="0"/>
                  </a:lnTo>
                  <a:lnTo>
                    <a:pt x="279723" y="139836"/>
                  </a:lnTo>
                  <a:lnTo>
                    <a:pt x="0" y="2466204"/>
                  </a:lnTo>
                  <a:lnTo>
                    <a:pt x="270187" y="2324206"/>
                  </a:lnTo>
                  <a:cubicBezTo>
                    <a:pt x="269386" y="2322503"/>
                    <a:pt x="269080" y="2320609"/>
                    <a:pt x="269296" y="2318740"/>
                  </a:cubicBezTo>
                  <a:close/>
                </a:path>
              </a:pathLst>
            </a:custGeom>
            <a:solidFill>
              <a:schemeClr val="accent2"/>
            </a:solidFill>
            <a:ln w="1268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3DC6CF0-F605-47C3-B6BD-DBF9D975179C}"/>
                </a:ext>
              </a:extLst>
            </p:cNvPr>
            <p:cNvSpPr/>
            <p:nvPr/>
          </p:nvSpPr>
          <p:spPr>
            <a:xfrm>
              <a:off x="2595062" y="2799569"/>
              <a:ext cx="754106" cy="2054576"/>
            </a:xfrm>
            <a:custGeom>
              <a:avLst/>
              <a:gdLst>
                <a:gd name="connsiteX0" fmla="*/ 170503 w 754106"/>
                <a:gd name="connsiteY0" fmla="*/ 291749 h 2054576"/>
                <a:gd name="connsiteX1" fmla="*/ 163511 w 754106"/>
                <a:gd name="connsiteY1" fmla="*/ 336878 h 2054576"/>
                <a:gd name="connsiteX2" fmla="*/ 163511 w 754106"/>
                <a:gd name="connsiteY2" fmla="*/ 337641 h 2054576"/>
                <a:gd name="connsiteX3" fmla="*/ 162875 w 754106"/>
                <a:gd name="connsiteY3" fmla="*/ 339421 h 2054576"/>
                <a:gd name="connsiteX4" fmla="*/ 162112 w 754106"/>
                <a:gd name="connsiteY4" fmla="*/ 340946 h 2054576"/>
                <a:gd name="connsiteX5" fmla="*/ 160967 w 754106"/>
                <a:gd name="connsiteY5" fmla="*/ 342218 h 2054576"/>
                <a:gd name="connsiteX6" fmla="*/ 159442 w 754106"/>
                <a:gd name="connsiteY6" fmla="*/ 343362 h 2054576"/>
                <a:gd name="connsiteX7" fmla="*/ 159442 w 754106"/>
                <a:gd name="connsiteY7" fmla="*/ 343362 h 2054576"/>
                <a:gd name="connsiteX8" fmla="*/ 155627 w 754106"/>
                <a:gd name="connsiteY8" fmla="*/ 345269 h 2054576"/>
                <a:gd name="connsiteX9" fmla="*/ 0 w 754106"/>
                <a:gd name="connsiteY9" fmla="*/ 1348403 h 2054576"/>
                <a:gd name="connsiteX10" fmla="*/ 0 w 754106"/>
                <a:gd name="connsiteY10" fmla="*/ 1349166 h 2054576"/>
                <a:gd name="connsiteX11" fmla="*/ 64972 w 754106"/>
                <a:gd name="connsiteY11" fmla="*/ 1410567 h 2054576"/>
                <a:gd name="connsiteX12" fmla="*/ 64972 w 754106"/>
                <a:gd name="connsiteY12" fmla="*/ 1410567 h 2054576"/>
                <a:gd name="connsiteX13" fmla="*/ 67133 w 754106"/>
                <a:gd name="connsiteY13" fmla="*/ 1411329 h 2054576"/>
                <a:gd name="connsiteX14" fmla="*/ 66371 w 754106"/>
                <a:gd name="connsiteY14" fmla="*/ 1413618 h 2054576"/>
                <a:gd name="connsiteX15" fmla="*/ 65353 w 754106"/>
                <a:gd name="connsiteY15" fmla="*/ 1413618 h 2054576"/>
                <a:gd name="connsiteX16" fmla="*/ 36110 w 754106"/>
                <a:gd name="connsiteY16" fmla="*/ 1597693 h 2054576"/>
                <a:gd name="connsiteX17" fmla="*/ 42594 w 754106"/>
                <a:gd name="connsiteY17" fmla="*/ 1602524 h 2054576"/>
                <a:gd name="connsiteX18" fmla="*/ 38652 w 754106"/>
                <a:gd name="connsiteY18" fmla="*/ 1615236 h 2054576"/>
                <a:gd name="connsiteX19" fmla="*/ 10044 w 754106"/>
                <a:gd name="connsiteY19" fmla="*/ 1630364 h 2054576"/>
                <a:gd name="connsiteX20" fmla="*/ 452260 w 754106"/>
                <a:gd name="connsiteY20" fmla="*/ 2054577 h 2054576"/>
                <a:gd name="connsiteX21" fmla="*/ 754107 w 754106"/>
                <a:gd name="connsiteY21" fmla="*/ 461714 h 2054576"/>
                <a:gd name="connsiteX22" fmla="*/ 215513 w 754106"/>
                <a:gd name="connsiteY22" fmla="*/ 0 h 205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4106" h="2054576">
                  <a:moveTo>
                    <a:pt x="170503" y="291749"/>
                  </a:moveTo>
                  <a:lnTo>
                    <a:pt x="163511" y="336878"/>
                  </a:lnTo>
                  <a:cubicBezTo>
                    <a:pt x="163561" y="337133"/>
                    <a:pt x="163561" y="337387"/>
                    <a:pt x="163511" y="337641"/>
                  </a:cubicBezTo>
                  <a:cubicBezTo>
                    <a:pt x="163371" y="338264"/>
                    <a:pt x="163167" y="338862"/>
                    <a:pt x="162875" y="339421"/>
                  </a:cubicBezTo>
                  <a:lnTo>
                    <a:pt x="162112" y="340946"/>
                  </a:lnTo>
                  <a:lnTo>
                    <a:pt x="160967" y="342218"/>
                  </a:lnTo>
                  <a:lnTo>
                    <a:pt x="159442" y="343362"/>
                  </a:lnTo>
                  <a:lnTo>
                    <a:pt x="159442" y="343362"/>
                  </a:lnTo>
                  <a:lnTo>
                    <a:pt x="155627" y="345269"/>
                  </a:lnTo>
                  <a:lnTo>
                    <a:pt x="0" y="1348403"/>
                  </a:lnTo>
                  <a:cubicBezTo>
                    <a:pt x="114" y="1348645"/>
                    <a:pt x="114" y="1348924"/>
                    <a:pt x="0" y="1349166"/>
                  </a:cubicBezTo>
                  <a:lnTo>
                    <a:pt x="64972" y="1410567"/>
                  </a:lnTo>
                  <a:lnTo>
                    <a:pt x="64972" y="1410567"/>
                  </a:lnTo>
                  <a:cubicBezTo>
                    <a:pt x="65786" y="1410198"/>
                    <a:pt x="66739" y="1410542"/>
                    <a:pt x="67133" y="1411329"/>
                  </a:cubicBezTo>
                  <a:cubicBezTo>
                    <a:pt x="67451" y="1412181"/>
                    <a:pt x="67133" y="1413135"/>
                    <a:pt x="66371" y="1413618"/>
                  </a:cubicBezTo>
                  <a:lnTo>
                    <a:pt x="65353" y="1413618"/>
                  </a:lnTo>
                  <a:lnTo>
                    <a:pt x="36110" y="1597693"/>
                  </a:lnTo>
                  <a:cubicBezTo>
                    <a:pt x="38907" y="1598215"/>
                    <a:pt x="41297" y="1599994"/>
                    <a:pt x="42594" y="1602524"/>
                  </a:cubicBezTo>
                  <a:cubicBezTo>
                    <a:pt x="44946" y="1607126"/>
                    <a:pt x="43192" y="1612770"/>
                    <a:pt x="38652" y="1615236"/>
                  </a:cubicBezTo>
                  <a:lnTo>
                    <a:pt x="10044" y="1630364"/>
                  </a:lnTo>
                  <a:lnTo>
                    <a:pt x="452260" y="2054577"/>
                  </a:lnTo>
                  <a:lnTo>
                    <a:pt x="754107" y="461714"/>
                  </a:lnTo>
                  <a:lnTo>
                    <a:pt x="215513" y="0"/>
                  </a:lnTo>
                  <a:close/>
                </a:path>
              </a:pathLst>
            </a:custGeom>
            <a:solidFill>
              <a:schemeClr val="accent1">
                <a:lumMod val="75000"/>
              </a:schemeClr>
            </a:solidFill>
            <a:ln w="1268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FE0B598-8CCA-47BF-A8B9-DEA4A9F832FE}"/>
                </a:ext>
              </a:extLst>
            </p:cNvPr>
            <p:cNvSpPr/>
            <p:nvPr/>
          </p:nvSpPr>
          <p:spPr>
            <a:xfrm>
              <a:off x="1877065" y="4213822"/>
              <a:ext cx="783858" cy="548030"/>
            </a:xfrm>
            <a:custGeom>
              <a:avLst/>
              <a:gdLst>
                <a:gd name="connsiteX0" fmla="*/ 437003 w 783858"/>
                <a:gd name="connsiteY0" fmla="*/ 304081 h 548030"/>
                <a:gd name="connsiteX1" fmla="*/ 449031 w 783858"/>
                <a:gd name="connsiteY1" fmla="*/ 303394 h 548030"/>
                <a:gd name="connsiteX2" fmla="*/ 449718 w 783858"/>
                <a:gd name="connsiteY2" fmla="*/ 304081 h 548030"/>
                <a:gd name="connsiteX3" fmla="*/ 476800 w 783858"/>
                <a:gd name="connsiteY3" fmla="*/ 330522 h 548030"/>
                <a:gd name="connsiteX4" fmla="*/ 716090 w 783858"/>
                <a:gd name="connsiteY4" fmla="*/ 202508 h 548030"/>
                <a:gd name="connsiteX5" fmla="*/ 749148 w 783858"/>
                <a:gd name="connsiteY5" fmla="*/ 184838 h 548030"/>
                <a:gd name="connsiteX6" fmla="*/ 754615 w 783858"/>
                <a:gd name="connsiteY6" fmla="*/ 184076 h 548030"/>
                <a:gd name="connsiteX7" fmla="*/ 783859 w 783858"/>
                <a:gd name="connsiteY7" fmla="*/ 0 h 548030"/>
                <a:gd name="connsiteX8" fmla="*/ 15893 w 783858"/>
                <a:gd name="connsiteY8" fmla="*/ 406797 h 548030"/>
                <a:gd name="connsiteX9" fmla="*/ 15893 w 783858"/>
                <a:gd name="connsiteY9" fmla="*/ 410991 h 548030"/>
                <a:gd name="connsiteX10" fmla="*/ 0 w 783858"/>
                <a:gd name="connsiteY10" fmla="*/ 548031 h 548030"/>
                <a:gd name="connsiteX11" fmla="*/ 436367 w 783858"/>
                <a:gd name="connsiteY11" fmla="*/ 315267 h 548030"/>
                <a:gd name="connsiteX12" fmla="*/ 437003 w 783858"/>
                <a:gd name="connsiteY12" fmla="*/ 304081 h 54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3858" h="548030">
                  <a:moveTo>
                    <a:pt x="437003" y="304081"/>
                  </a:moveTo>
                  <a:cubicBezTo>
                    <a:pt x="440131" y="300572"/>
                    <a:pt x="445522" y="300267"/>
                    <a:pt x="449031" y="303394"/>
                  </a:cubicBezTo>
                  <a:cubicBezTo>
                    <a:pt x="449273" y="303610"/>
                    <a:pt x="449501" y="303839"/>
                    <a:pt x="449718" y="304081"/>
                  </a:cubicBezTo>
                  <a:lnTo>
                    <a:pt x="476800" y="330522"/>
                  </a:lnTo>
                  <a:lnTo>
                    <a:pt x="716090" y="202508"/>
                  </a:lnTo>
                  <a:lnTo>
                    <a:pt x="749148" y="184838"/>
                  </a:lnTo>
                  <a:cubicBezTo>
                    <a:pt x="750852" y="184025"/>
                    <a:pt x="752759" y="183757"/>
                    <a:pt x="754615" y="184076"/>
                  </a:cubicBezTo>
                  <a:lnTo>
                    <a:pt x="783859" y="0"/>
                  </a:lnTo>
                  <a:lnTo>
                    <a:pt x="15893" y="406797"/>
                  </a:lnTo>
                  <a:lnTo>
                    <a:pt x="15893" y="410991"/>
                  </a:lnTo>
                  <a:lnTo>
                    <a:pt x="0" y="548031"/>
                  </a:lnTo>
                  <a:lnTo>
                    <a:pt x="436367" y="315267"/>
                  </a:lnTo>
                  <a:cubicBezTo>
                    <a:pt x="434218" y="311771"/>
                    <a:pt x="434460" y="307309"/>
                    <a:pt x="437003" y="304081"/>
                  </a:cubicBezTo>
                  <a:close/>
                </a:path>
              </a:pathLst>
            </a:custGeom>
            <a:solidFill>
              <a:schemeClr val="accent1"/>
            </a:solidFill>
            <a:ln w="1268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E988402-F0E6-4A47-ABF6-C183A2BD0641}"/>
                </a:ext>
              </a:extLst>
            </p:cNvPr>
            <p:cNvSpPr/>
            <p:nvPr/>
          </p:nvSpPr>
          <p:spPr>
            <a:xfrm>
              <a:off x="1853670" y="4528963"/>
              <a:ext cx="722701" cy="577396"/>
            </a:xfrm>
            <a:custGeom>
              <a:avLst/>
              <a:gdLst>
                <a:gd name="connsiteX0" fmla="*/ 722702 w 722701"/>
                <a:gd name="connsiteY0" fmla="*/ 258951 h 577396"/>
                <a:gd name="connsiteX1" fmla="*/ 492058 w 722701"/>
                <a:gd name="connsiteY1" fmla="*/ 32925 h 577396"/>
                <a:gd name="connsiteX2" fmla="*/ 460398 w 722701"/>
                <a:gd name="connsiteY2" fmla="*/ 2669 h 577396"/>
                <a:gd name="connsiteX3" fmla="*/ 458618 w 722701"/>
                <a:gd name="connsiteY3" fmla="*/ 0 h 577396"/>
                <a:gd name="connsiteX4" fmla="*/ 22251 w 722701"/>
                <a:gd name="connsiteY4" fmla="*/ 232764 h 577396"/>
                <a:gd name="connsiteX5" fmla="*/ 21615 w 722701"/>
                <a:gd name="connsiteY5" fmla="*/ 238993 h 577396"/>
                <a:gd name="connsiteX6" fmla="*/ 0 w 722701"/>
                <a:gd name="connsiteY6" fmla="*/ 426246 h 577396"/>
                <a:gd name="connsiteX7" fmla="*/ 0 w 722701"/>
                <a:gd name="connsiteY7" fmla="*/ 431204 h 577396"/>
                <a:gd name="connsiteX8" fmla="*/ 141260 w 722701"/>
                <a:gd name="connsiteY8" fmla="*/ 577397 h 57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701" h="577396">
                  <a:moveTo>
                    <a:pt x="722702" y="258951"/>
                  </a:moveTo>
                  <a:lnTo>
                    <a:pt x="492058" y="32925"/>
                  </a:lnTo>
                  <a:lnTo>
                    <a:pt x="460398" y="2669"/>
                  </a:lnTo>
                  <a:cubicBezTo>
                    <a:pt x="459661" y="1881"/>
                    <a:pt x="459063" y="979"/>
                    <a:pt x="458618" y="0"/>
                  </a:cubicBezTo>
                  <a:lnTo>
                    <a:pt x="22251" y="232764"/>
                  </a:lnTo>
                  <a:lnTo>
                    <a:pt x="21615" y="238993"/>
                  </a:lnTo>
                  <a:lnTo>
                    <a:pt x="0" y="426246"/>
                  </a:lnTo>
                  <a:lnTo>
                    <a:pt x="0" y="431204"/>
                  </a:lnTo>
                  <a:lnTo>
                    <a:pt x="141260" y="577397"/>
                  </a:lnTo>
                  <a:close/>
                </a:path>
              </a:pathLst>
            </a:custGeom>
            <a:solidFill>
              <a:schemeClr val="accent3">
                <a:lumMod val="75000"/>
              </a:schemeClr>
            </a:solidFill>
            <a:ln w="1268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E7ADC74B-B9D1-4A3C-8EF2-F31032319339}"/>
                </a:ext>
              </a:extLst>
            </p:cNvPr>
            <p:cNvSpPr/>
            <p:nvPr/>
          </p:nvSpPr>
          <p:spPr>
            <a:xfrm>
              <a:off x="2283807" y="3146999"/>
              <a:ext cx="462559" cy="1164073"/>
            </a:xfrm>
            <a:custGeom>
              <a:avLst/>
              <a:gdLst>
                <a:gd name="connsiteX0" fmla="*/ 462560 w 462559"/>
                <a:gd name="connsiteY0" fmla="*/ 0 h 1164073"/>
                <a:gd name="connsiteX1" fmla="*/ 419202 w 462559"/>
                <a:gd name="connsiteY1" fmla="*/ 21484 h 1164073"/>
                <a:gd name="connsiteX2" fmla="*/ 382076 w 462559"/>
                <a:gd name="connsiteY2" fmla="*/ 39917 h 1164073"/>
                <a:gd name="connsiteX3" fmla="*/ 136556 w 462559"/>
                <a:gd name="connsiteY3" fmla="*/ 161829 h 1164073"/>
                <a:gd name="connsiteX4" fmla="*/ 116212 w 462559"/>
                <a:gd name="connsiteY4" fmla="*/ 310437 h 1164073"/>
                <a:gd name="connsiteX5" fmla="*/ 96632 w 462559"/>
                <a:gd name="connsiteY5" fmla="*/ 453832 h 1164073"/>
                <a:gd name="connsiteX6" fmla="*/ 96632 w 462559"/>
                <a:gd name="connsiteY6" fmla="*/ 458409 h 1164073"/>
                <a:gd name="connsiteX7" fmla="*/ 81120 w 462559"/>
                <a:gd name="connsiteY7" fmla="*/ 571041 h 1164073"/>
                <a:gd name="connsiteX8" fmla="*/ 0 w 462559"/>
                <a:gd name="connsiteY8" fmla="*/ 1164074 h 1164073"/>
                <a:gd name="connsiteX9" fmla="*/ 308712 w 462559"/>
                <a:gd name="connsiteY9" fmla="*/ 1001609 h 1164073"/>
                <a:gd name="connsiteX10" fmla="*/ 308712 w 462559"/>
                <a:gd name="connsiteY10" fmla="*/ 1000592 h 116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2559" h="1164073">
                  <a:moveTo>
                    <a:pt x="462560" y="0"/>
                  </a:moveTo>
                  <a:lnTo>
                    <a:pt x="419202" y="21484"/>
                  </a:lnTo>
                  <a:lnTo>
                    <a:pt x="382076" y="39917"/>
                  </a:lnTo>
                  <a:lnTo>
                    <a:pt x="136556" y="161829"/>
                  </a:lnTo>
                  <a:lnTo>
                    <a:pt x="116212" y="310437"/>
                  </a:lnTo>
                  <a:lnTo>
                    <a:pt x="96632" y="453832"/>
                  </a:lnTo>
                  <a:lnTo>
                    <a:pt x="96632" y="458409"/>
                  </a:lnTo>
                  <a:lnTo>
                    <a:pt x="81120" y="571041"/>
                  </a:lnTo>
                  <a:lnTo>
                    <a:pt x="0" y="1164074"/>
                  </a:lnTo>
                  <a:lnTo>
                    <a:pt x="308712" y="1001609"/>
                  </a:lnTo>
                  <a:cubicBezTo>
                    <a:pt x="308585" y="1001279"/>
                    <a:pt x="308585" y="1000923"/>
                    <a:pt x="308712" y="1000592"/>
                  </a:cubicBezTo>
                  <a:close/>
                </a:path>
              </a:pathLst>
            </a:custGeom>
            <a:solidFill>
              <a:schemeClr val="accent6"/>
            </a:solidFill>
            <a:ln w="1268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A23B0BA0-0867-44AC-833D-E8F99137B10F}"/>
                </a:ext>
              </a:extLst>
            </p:cNvPr>
            <p:cNvSpPr/>
            <p:nvPr/>
          </p:nvSpPr>
          <p:spPr>
            <a:xfrm>
              <a:off x="2090036" y="1844360"/>
              <a:ext cx="54545" cy="64197"/>
            </a:xfrm>
            <a:custGeom>
              <a:avLst/>
              <a:gdLst>
                <a:gd name="connsiteX0" fmla="*/ 54546 w 54545"/>
                <a:gd name="connsiteY0" fmla="*/ 39663 h 64197"/>
                <a:gd name="connsiteX1" fmla="*/ 6993 w 54545"/>
                <a:gd name="connsiteY1" fmla="*/ 0 h 64197"/>
                <a:gd name="connsiteX2" fmla="*/ 0 w 54545"/>
                <a:gd name="connsiteY2" fmla="*/ 64198 h 64197"/>
                <a:gd name="connsiteX3" fmla="*/ 54546 w 54545"/>
                <a:gd name="connsiteY3" fmla="*/ 39663 h 64197"/>
              </a:gdLst>
              <a:ahLst/>
              <a:cxnLst>
                <a:cxn ang="0">
                  <a:pos x="connsiteX0" y="connsiteY0"/>
                </a:cxn>
                <a:cxn ang="0">
                  <a:pos x="connsiteX1" y="connsiteY1"/>
                </a:cxn>
                <a:cxn ang="0">
                  <a:pos x="connsiteX2" y="connsiteY2"/>
                </a:cxn>
                <a:cxn ang="0">
                  <a:pos x="connsiteX3" y="connsiteY3"/>
                </a:cxn>
              </a:cxnLst>
              <a:rect l="l" t="t" r="r" b="b"/>
              <a:pathLst>
                <a:path w="54545" h="64197">
                  <a:moveTo>
                    <a:pt x="54546" y="39663"/>
                  </a:moveTo>
                  <a:lnTo>
                    <a:pt x="6993" y="0"/>
                  </a:lnTo>
                  <a:lnTo>
                    <a:pt x="0" y="64198"/>
                  </a:lnTo>
                  <a:lnTo>
                    <a:pt x="54546" y="39663"/>
                  </a:lnTo>
                  <a:close/>
                </a:path>
              </a:pathLst>
            </a:custGeom>
            <a:solidFill>
              <a:srgbClr val="9FD1D0"/>
            </a:solidFill>
            <a:ln w="1268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5AA65C3-834E-47F5-ABAE-A4AD247EFD9B}"/>
                </a:ext>
              </a:extLst>
            </p:cNvPr>
            <p:cNvSpPr/>
            <p:nvPr/>
          </p:nvSpPr>
          <p:spPr>
            <a:xfrm>
              <a:off x="3630799" y="3291920"/>
              <a:ext cx="115957" cy="134624"/>
            </a:xfrm>
            <a:custGeom>
              <a:avLst/>
              <a:gdLst>
                <a:gd name="connsiteX0" fmla="*/ 115958 w 115957"/>
                <a:gd name="connsiteY0" fmla="*/ 74368 h 134624"/>
                <a:gd name="connsiteX1" fmla="*/ 27845 w 115957"/>
                <a:gd name="connsiteY1" fmla="*/ 0 h 134624"/>
                <a:gd name="connsiteX2" fmla="*/ 0 w 115957"/>
                <a:gd name="connsiteY2" fmla="*/ 134624 h 134624"/>
                <a:gd name="connsiteX3" fmla="*/ 115958 w 115957"/>
                <a:gd name="connsiteY3" fmla="*/ 74368 h 134624"/>
              </a:gdLst>
              <a:ahLst/>
              <a:cxnLst>
                <a:cxn ang="0">
                  <a:pos x="connsiteX0" y="connsiteY0"/>
                </a:cxn>
                <a:cxn ang="0">
                  <a:pos x="connsiteX1" y="connsiteY1"/>
                </a:cxn>
                <a:cxn ang="0">
                  <a:pos x="connsiteX2" y="connsiteY2"/>
                </a:cxn>
                <a:cxn ang="0">
                  <a:pos x="connsiteX3" y="connsiteY3"/>
                </a:cxn>
              </a:cxnLst>
              <a:rect l="l" t="t" r="r" b="b"/>
              <a:pathLst>
                <a:path w="115957" h="134624">
                  <a:moveTo>
                    <a:pt x="115958" y="74368"/>
                  </a:moveTo>
                  <a:lnTo>
                    <a:pt x="27845" y="0"/>
                  </a:lnTo>
                  <a:lnTo>
                    <a:pt x="0" y="134624"/>
                  </a:lnTo>
                  <a:lnTo>
                    <a:pt x="115958" y="74368"/>
                  </a:lnTo>
                  <a:close/>
                </a:path>
              </a:pathLst>
            </a:custGeom>
            <a:solidFill>
              <a:schemeClr val="accent1">
                <a:lumMod val="75000"/>
              </a:schemeClr>
            </a:solidFill>
            <a:ln w="1268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94C3DDF-4E82-4D9A-879C-00090ED6260C}"/>
                </a:ext>
              </a:extLst>
            </p:cNvPr>
            <p:cNvSpPr/>
            <p:nvPr/>
          </p:nvSpPr>
          <p:spPr>
            <a:xfrm>
              <a:off x="3630290" y="3370228"/>
              <a:ext cx="115830" cy="134624"/>
            </a:xfrm>
            <a:custGeom>
              <a:avLst/>
              <a:gdLst>
                <a:gd name="connsiteX0" fmla="*/ 87096 w 115830"/>
                <a:gd name="connsiteY0" fmla="*/ 134624 h 134624"/>
                <a:gd name="connsiteX1" fmla="*/ 115831 w 115830"/>
                <a:gd name="connsiteY1" fmla="*/ 0 h 134624"/>
                <a:gd name="connsiteX2" fmla="*/ 0 w 115830"/>
                <a:gd name="connsiteY2" fmla="*/ 60257 h 134624"/>
                <a:gd name="connsiteX3" fmla="*/ 87096 w 115830"/>
                <a:gd name="connsiteY3" fmla="*/ 134624 h 134624"/>
              </a:gdLst>
              <a:ahLst/>
              <a:cxnLst>
                <a:cxn ang="0">
                  <a:pos x="connsiteX0" y="connsiteY0"/>
                </a:cxn>
                <a:cxn ang="0">
                  <a:pos x="connsiteX1" y="connsiteY1"/>
                </a:cxn>
                <a:cxn ang="0">
                  <a:pos x="connsiteX2" y="connsiteY2"/>
                </a:cxn>
                <a:cxn ang="0">
                  <a:pos x="connsiteX3" y="connsiteY3"/>
                </a:cxn>
              </a:cxnLst>
              <a:rect l="l" t="t" r="r" b="b"/>
              <a:pathLst>
                <a:path w="115830" h="134624">
                  <a:moveTo>
                    <a:pt x="87096" y="134624"/>
                  </a:moveTo>
                  <a:lnTo>
                    <a:pt x="115831" y="0"/>
                  </a:lnTo>
                  <a:lnTo>
                    <a:pt x="0" y="60257"/>
                  </a:lnTo>
                  <a:lnTo>
                    <a:pt x="87096" y="134624"/>
                  </a:lnTo>
                  <a:close/>
                </a:path>
              </a:pathLst>
            </a:custGeom>
            <a:solidFill>
              <a:srgbClr val="0A4054"/>
            </a:solidFill>
            <a:ln w="1268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83DE17BD-6EDF-4595-A0A3-6A582254F994}"/>
                </a:ext>
              </a:extLst>
            </p:cNvPr>
            <p:cNvSpPr/>
            <p:nvPr/>
          </p:nvSpPr>
          <p:spPr>
            <a:xfrm>
              <a:off x="3113057" y="2384764"/>
              <a:ext cx="494600" cy="306877"/>
            </a:xfrm>
            <a:custGeom>
              <a:avLst/>
              <a:gdLst>
                <a:gd name="connsiteX0" fmla="*/ 494600 w 494600"/>
                <a:gd name="connsiteY0" fmla="*/ 161575 h 306877"/>
                <a:gd name="connsiteX1" fmla="*/ 294344 w 494600"/>
                <a:gd name="connsiteY1" fmla="*/ 0 h 306877"/>
                <a:gd name="connsiteX2" fmla="*/ 0 w 494600"/>
                <a:gd name="connsiteY2" fmla="*/ 141997 h 306877"/>
                <a:gd name="connsiteX3" fmla="*/ 199112 w 494600"/>
                <a:gd name="connsiteY3" fmla="*/ 306877 h 306877"/>
                <a:gd name="connsiteX4" fmla="*/ 494600 w 494600"/>
                <a:gd name="connsiteY4" fmla="*/ 161575 h 306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00" h="306877">
                  <a:moveTo>
                    <a:pt x="494600" y="161575"/>
                  </a:moveTo>
                  <a:lnTo>
                    <a:pt x="294344" y="0"/>
                  </a:lnTo>
                  <a:lnTo>
                    <a:pt x="0" y="141997"/>
                  </a:lnTo>
                  <a:lnTo>
                    <a:pt x="199112" y="306877"/>
                  </a:lnTo>
                  <a:lnTo>
                    <a:pt x="494600" y="161575"/>
                  </a:lnTo>
                  <a:close/>
                </a:path>
              </a:pathLst>
            </a:custGeom>
            <a:solidFill>
              <a:schemeClr val="accent6"/>
            </a:solidFill>
            <a:ln w="1268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BA145A89-A003-4ABB-BB5E-AF942EBE8DB7}"/>
                </a:ext>
              </a:extLst>
            </p:cNvPr>
            <p:cNvSpPr/>
            <p:nvPr/>
          </p:nvSpPr>
          <p:spPr>
            <a:xfrm>
              <a:off x="3073133" y="2529431"/>
              <a:ext cx="237001" cy="391414"/>
            </a:xfrm>
            <a:custGeom>
              <a:avLst/>
              <a:gdLst>
                <a:gd name="connsiteX0" fmla="*/ 237001 w 237001"/>
                <a:gd name="connsiteY0" fmla="*/ 164880 h 391414"/>
                <a:gd name="connsiteX1" fmla="*/ 38144 w 237001"/>
                <a:gd name="connsiteY1" fmla="*/ 0 h 391414"/>
                <a:gd name="connsiteX2" fmla="*/ 0 w 237001"/>
                <a:gd name="connsiteY2" fmla="*/ 226281 h 391414"/>
                <a:gd name="connsiteX3" fmla="*/ 195933 w 237001"/>
                <a:gd name="connsiteY3" fmla="*/ 391414 h 391414"/>
                <a:gd name="connsiteX4" fmla="*/ 237001 w 237001"/>
                <a:gd name="connsiteY4" fmla="*/ 164880 h 391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001" h="391414">
                  <a:moveTo>
                    <a:pt x="237001" y="164880"/>
                  </a:moveTo>
                  <a:lnTo>
                    <a:pt x="38144" y="0"/>
                  </a:lnTo>
                  <a:lnTo>
                    <a:pt x="0" y="226281"/>
                  </a:lnTo>
                  <a:lnTo>
                    <a:pt x="195933" y="391414"/>
                  </a:lnTo>
                  <a:lnTo>
                    <a:pt x="237001" y="164880"/>
                  </a:lnTo>
                  <a:close/>
                </a:path>
              </a:pathLst>
            </a:custGeom>
            <a:solidFill>
              <a:schemeClr val="accent4"/>
            </a:solidFill>
            <a:ln w="1268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0CD5587C-198E-49F4-A9F6-52A97B93E3C5}"/>
                </a:ext>
              </a:extLst>
            </p:cNvPr>
            <p:cNvSpPr/>
            <p:nvPr/>
          </p:nvSpPr>
          <p:spPr>
            <a:xfrm>
              <a:off x="3271863" y="2550025"/>
              <a:ext cx="335921" cy="563031"/>
            </a:xfrm>
            <a:custGeom>
              <a:avLst/>
              <a:gdLst>
                <a:gd name="connsiteX0" fmla="*/ 0 w 335921"/>
                <a:gd name="connsiteY0" fmla="*/ 373109 h 563031"/>
                <a:gd name="connsiteX1" fmla="*/ 2162 w 335921"/>
                <a:gd name="connsiteY1" fmla="*/ 375143 h 563031"/>
                <a:gd name="connsiteX2" fmla="*/ 225177 w 335921"/>
                <a:gd name="connsiteY2" fmla="*/ 563032 h 563031"/>
                <a:gd name="connsiteX3" fmla="*/ 240307 w 335921"/>
                <a:gd name="connsiteY3" fmla="*/ 485741 h 563031"/>
                <a:gd name="connsiteX4" fmla="*/ 335922 w 335921"/>
                <a:gd name="connsiteY4" fmla="*/ 0 h 563031"/>
                <a:gd name="connsiteX5" fmla="*/ 41450 w 335921"/>
                <a:gd name="connsiteY5" fmla="*/ 144667 h 563031"/>
                <a:gd name="connsiteX6" fmla="*/ 0 w 335921"/>
                <a:gd name="connsiteY6" fmla="*/ 373109 h 56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21" h="563031">
                  <a:moveTo>
                    <a:pt x="0" y="373109"/>
                  </a:moveTo>
                  <a:lnTo>
                    <a:pt x="2162" y="375143"/>
                  </a:lnTo>
                  <a:lnTo>
                    <a:pt x="225177" y="563032"/>
                  </a:lnTo>
                  <a:lnTo>
                    <a:pt x="240307" y="485741"/>
                  </a:lnTo>
                  <a:lnTo>
                    <a:pt x="335922" y="0"/>
                  </a:lnTo>
                  <a:lnTo>
                    <a:pt x="41450" y="144667"/>
                  </a:lnTo>
                  <a:lnTo>
                    <a:pt x="0" y="373109"/>
                  </a:lnTo>
                  <a:close/>
                </a:path>
              </a:pathLst>
            </a:custGeom>
            <a:solidFill>
              <a:schemeClr val="accent1">
                <a:lumMod val="75000"/>
              </a:schemeClr>
            </a:solidFill>
            <a:ln w="1268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82612AD0-372A-4433-BD3E-3D19CF4F374F}"/>
                </a:ext>
              </a:extLst>
            </p:cNvPr>
            <p:cNvSpPr/>
            <p:nvPr/>
          </p:nvSpPr>
          <p:spPr>
            <a:xfrm>
              <a:off x="2104912" y="1477099"/>
              <a:ext cx="204705" cy="341327"/>
            </a:xfrm>
            <a:custGeom>
              <a:avLst/>
              <a:gdLst>
                <a:gd name="connsiteX0" fmla="*/ 173301 w 204705"/>
                <a:gd name="connsiteY0" fmla="*/ 264036 h 341327"/>
                <a:gd name="connsiteX1" fmla="*/ 204706 w 204705"/>
                <a:gd name="connsiteY1" fmla="*/ 0 h 341327"/>
                <a:gd name="connsiteX2" fmla="*/ 28989 w 204705"/>
                <a:gd name="connsiteY2" fmla="*/ 77037 h 341327"/>
                <a:gd name="connsiteX3" fmla="*/ 28608 w 204705"/>
                <a:gd name="connsiteY3" fmla="*/ 80215 h 341327"/>
                <a:gd name="connsiteX4" fmla="*/ 0 w 204705"/>
                <a:gd name="connsiteY4" fmla="*/ 341328 h 341327"/>
                <a:gd name="connsiteX5" fmla="*/ 173301 w 204705"/>
                <a:gd name="connsiteY5" fmla="*/ 264036 h 34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705" h="341327">
                  <a:moveTo>
                    <a:pt x="173301" y="264036"/>
                  </a:moveTo>
                  <a:lnTo>
                    <a:pt x="204706" y="0"/>
                  </a:lnTo>
                  <a:lnTo>
                    <a:pt x="28989" y="77037"/>
                  </a:lnTo>
                  <a:lnTo>
                    <a:pt x="28608" y="80215"/>
                  </a:lnTo>
                  <a:lnTo>
                    <a:pt x="0" y="341328"/>
                  </a:lnTo>
                  <a:lnTo>
                    <a:pt x="173301" y="264036"/>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EDC65230-5B0B-48BD-9431-93E2FF68BFBE}"/>
                </a:ext>
              </a:extLst>
            </p:cNvPr>
            <p:cNvSpPr/>
            <p:nvPr/>
          </p:nvSpPr>
          <p:spPr>
            <a:xfrm>
              <a:off x="1784375" y="4431586"/>
              <a:ext cx="1261676" cy="1128097"/>
            </a:xfrm>
            <a:custGeom>
              <a:avLst/>
              <a:gdLst>
                <a:gd name="connsiteX0" fmla="*/ 817807 w 1261676"/>
                <a:gd name="connsiteY0" fmla="*/ 0 h 1128097"/>
                <a:gd name="connsiteX1" fmla="*/ 816281 w 1261676"/>
                <a:gd name="connsiteY1" fmla="*/ 763 h 1128097"/>
                <a:gd name="connsiteX2" fmla="*/ 582713 w 1261676"/>
                <a:gd name="connsiteY2" fmla="*/ 125471 h 1128097"/>
                <a:gd name="connsiteX3" fmla="*/ 807508 w 1261676"/>
                <a:gd name="connsiteY3" fmla="*/ 345904 h 1128097"/>
                <a:gd name="connsiteX4" fmla="*/ 807508 w 1261676"/>
                <a:gd name="connsiteY4" fmla="*/ 346540 h 1128097"/>
                <a:gd name="connsiteX5" fmla="*/ 808525 w 1261676"/>
                <a:gd name="connsiteY5" fmla="*/ 348192 h 1128097"/>
                <a:gd name="connsiteX6" fmla="*/ 809161 w 1261676"/>
                <a:gd name="connsiteY6" fmla="*/ 349718 h 1128097"/>
                <a:gd name="connsiteX7" fmla="*/ 809161 w 1261676"/>
                <a:gd name="connsiteY7" fmla="*/ 351498 h 1128097"/>
                <a:gd name="connsiteX8" fmla="*/ 809161 w 1261676"/>
                <a:gd name="connsiteY8" fmla="*/ 353277 h 1128097"/>
                <a:gd name="connsiteX9" fmla="*/ 809161 w 1261676"/>
                <a:gd name="connsiteY9" fmla="*/ 354167 h 1128097"/>
                <a:gd name="connsiteX10" fmla="*/ 794031 w 1261676"/>
                <a:gd name="connsiteY10" fmla="*/ 448620 h 1128097"/>
                <a:gd name="connsiteX11" fmla="*/ 784291 w 1261676"/>
                <a:gd name="connsiteY11" fmla="*/ 456311 h 1128097"/>
                <a:gd name="connsiteX12" fmla="*/ 783859 w 1261676"/>
                <a:gd name="connsiteY12" fmla="*/ 456247 h 1128097"/>
                <a:gd name="connsiteX13" fmla="*/ 778392 w 1261676"/>
                <a:gd name="connsiteY13" fmla="*/ 452815 h 1128097"/>
                <a:gd name="connsiteX14" fmla="*/ 199112 w 1261676"/>
                <a:gd name="connsiteY14" fmla="*/ 771896 h 1128097"/>
                <a:gd name="connsiteX15" fmla="*/ 197713 w 1261676"/>
                <a:gd name="connsiteY15" fmla="*/ 771896 h 1128097"/>
                <a:gd name="connsiteX16" fmla="*/ 197713 w 1261676"/>
                <a:gd name="connsiteY16" fmla="*/ 771896 h 1128097"/>
                <a:gd name="connsiteX17" fmla="*/ 57852 w 1261676"/>
                <a:gd name="connsiteY17" fmla="*/ 626975 h 1128097"/>
                <a:gd name="connsiteX18" fmla="*/ 0 w 1261676"/>
                <a:gd name="connsiteY18" fmla="*/ 1128097 h 1128097"/>
                <a:gd name="connsiteX19" fmla="*/ 1261676 w 1261676"/>
                <a:gd name="connsiteY19" fmla="*/ 425992 h 11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1676" h="1128097">
                  <a:moveTo>
                    <a:pt x="817807" y="0"/>
                  </a:moveTo>
                  <a:lnTo>
                    <a:pt x="816281" y="763"/>
                  </a:lnTo>
                  <a:lnTo>
                    <a:pt x="582713" y="125471"/>
                  </a:lnTo>
                  <a:lnTo>
                    <a:pt x="807508" y="345904"/>
                  </a:lnTo>
                  <a:cubicBezTo>
                    <a:pt x="807508" y="345904"/>
                    <a:pt x="807508" y="345904"/>
                    <a:pt x="807508" y="346540"/>
                  </a:cubicBezTo>
                  <a:cubicBezTo>
                    <a:pt x="807915" y="347048"/>
                    <a:pt x="808258" y="347595"/>
                    <a:pt x="808525" y="348192"/>
                  </a:cubicBezTo>
                  <a:cubicBezTo>
                    <a:pt x="808818" y="348663"/>
                    <a:pt x="809034" y="349184"/>
                    <a:pt x="809161" y="349718"/>
                  </a:cubicBezTo>
                  <a:cubicBezTo>
                    <a:pt x="809288" y="350303"/>
                    <a:pt x="809288" y="350913"/>
                    <a:pt x="809161" y="351498"/>
                  </a:cubicBezTo>
                  <a:cubicBezTo>
                    <a:pt x="809225" y="352095"/>
                    <a:pt x="809225" y="352692"/>
                    <a:pt x="809161" y="353277"/>
                  </a:cubicBezTo>
                  <a:cubicBezTo>
                    <a:pt x="809161" y="353277"/>
                    <a:pt x="809161" y="353913"/>
                    <a:pt x="809161" y="354167"/>
                  </a:cubicBezTo>
                  <a:lnTo>
                    <a:pt x="794031" y="448620"/>
                  </a:lnTo>
                  <a:cubicBezTo>
                    <a:pt x="793471" y="453426"/>
                    <a:pt x="789110" y="456871"/>
                    <a:pt x="784291" y="456311"/>
                  </a:cubicBezTo>
                  <a:cubicBezTo>
                    <a:pt x="784151" y="456298"/>
                    <a:pt x="783999" y="456273"/>
                    <a:pt x="783859" y="456247"/>
                  </a:cubicBezTo>
                  <a:cubicBezTo>
                    <a:pt x="781647" y="455879"/>
                    <a:pt x="779689" y="454646"/>
                    <a:pt x="778392" y="452815"/>
                  </a:cubicBezTo>
                  <a:lnTo>
                    <a:pt x="199112" y="771896"/>
                  </a:lnTo>
                  <a:lnTo>
                    <a:pt x="197713" y="771896"/>
                  </a:lnTo>
                  <a:lnTo>
                    <a:pt x="197713" y="771896"/>
                  </a:lnTo>
                  <a:lnTo>
                    <a:pt x="57852" y="626975"/>
                  </a:lnTo>
                  <a:lnTo>
                    <a:pt x="0" y="1128097"/>
                  </a:lnTo>
                  <a:lnTo>
                    <a:pt x="1261676" y="425992"/>
                  </a:lnTo>
                  <a:close/>
                </a:path>
              </a:pathLst>
            </a:custGeom>
            <a:solidFill>
              <a:schemeClr val="bg1">
                <a:lumMod val="95000"/>
              </a:schemeClr>
            </a:solidFill>
            <a:ln w="1268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67783582-12B7-47BB-BE02-167CF65D95B7}"/>
                </a:ext>
              </a:extLst>
            </p:cNvPr>
            <p:cNvSpPr/>
            <p:nvPr/>
          </p:nvSpPr>
          <p:spPr>
            <a:xfrm>
              <a:off x="1756022" y="3170135"/>
              <a:ext cx="1775221" cy="2569174"/>
            </a:xfrm>
            <a:custGeom>
              <a:avLst/>
              <a:gdLst>
                <a:gd name="connsiteX0" fmla="*/ 1056970 w 1775221"/>
                <a:gd name="connsiteY0" fmla="*/ 1966607 h 2569174"/>
                <a:gd name="connsiteX1" fmla="*/ 1161357 w 1775221"/>
                <a:gd name="connsiteY1" fmla="*/ 1908003 h 2569174"/>
                <a:gd name="connsiteX2" fmla="*/ 1425059 w 1775221"/>
                <a:gd name="connsiteY2" fmla="*/ 1759903 h 2569174"/>
                <a:gd name="connsiteX3" fmla="*/ 1493083 w 1775221"/>
                <a:gd name="connsiteY3" fmla="*/ 1418830 h 2569174"/>
                <a:gd name="connsiteX4" fmla="*/ 1520419 w 1775221"/>
                <a:gd name="connsiteY4" fmla="*/ 1281536 h 2569174"/>
                <a:gd name="connsiteX5" fmla="*/ 1617305 w 1775221"/>
                <a:gd name="connsiteY5" fmla="*/ 795033 h 2569174"/>
                <a:gd name="connsiteX6" fmla="*/ 1651508 w 1775221"/>
                <a:gd name="connsiteY6" fmla="*/ 621382 h 2569174"/>
                <a:gd name="connsiteX7" fmla="*/ 1707833 w 1775221"/>
                <a:gd name="connsiteY7" fmla="*/ 338531 h 2569174"/>
                <a:gd name="connsiteX8" fmla="*/ 1760981 w 1775221"/>
                <a:gd name="connsiteY8" fmla="*/ 71571 h 2569174"/>
                <a:gd name="connsiteX9" fmla="*/ 1775221 w 1775221"/>
                <a:gd name="connsiteY9" fmla="*/ 0 h 2569174"/>
                <a:gd name="connsiteX10" fmla="*/ 1595817 w 1775221"/>
                <a:gd name="connsiteY10" fmla="*/ 91656 h 2569174"/>
                <a:gd name="connsiteX11" fmla="*/ 1293844 w 1775221"/>
                <a:gd name="connsiteY11" fmla="*/ 1687697 h 2569174"/>
                <a:gd name="connsiteX12" fmla="*/ 1293844 w 1775221"/>
                <a:gd name="connsiteY12" fmla="*/ 1687697 h 2569174"/>
                <a:gd name="connsiteX13" fmla="*/ 1293844 w 1775221"/>
                <a:gd name="connsiteY13" fmla="*/ 1687697 h 2569174"/>
                <a:gd name="connsiteX14" fmla="*/ 1293844 w 1775221"/>
                <a:gd name="connsiteY14" fmla="*/ 1687697 h 2569174"/>
                <a:gd name="connsiteX15" fmla="*/ 1293844 w 1775221"/>
                <a:gd name="connsiteY15" fmla="*/ 1687697 h 2569174"/>
                <a:gd name="connsiteX16" fmla="*/ 28354 w 1775221"/>
                <a:gd name="connsiteY16" fmla="*/ 2391964 h 2569174"/>
                <a:gd name="connsiteX17" fmla="*/ 28354 w 1775221"/>
                <a:gd name="connsiteY17" fmla="*/ 2396413 h 2569174"/>
                <a:gd name="connsiteX18" fmla="*/ 20089 w 1775221"/>
                <a:gd name="connsiteY18" fmla="*/ 2404422 h 2569174"/>
                <a:gd name="connsiteX19" fmla="*/ 0 w 1775221"/>
                <a:gd name="connsiteY19" fmla="*/ 2569174 h 2569174"/>
                <a:gd name="connsiteX20" fmla="*/ 875913 w 1775221"/>
                <a:gd name="connsiteY20" fmla="*/ 2076696 h 2569174"/>
                <a:gd name="connsiteX21" fmla="*/ 875913 w 1775221"/>
                <a:gd name="connsiteY21" fmla="*/ 2075934 h 2569174"/>
                <a:gd name="connsiteX22" fmla="*/ 875913 w 1775221"/>
                <a:gd name="connsiteY22" fmla="*/ 2074408 h 2569174"/>
                <a:gd name="connsiteX23" fmla="*/ 875913 w 1775221"/>
                <a:gd name="connsiteY23" fmla="*/ 2072628 h 2569174"/>
                <a:gd name="connsiteX24" fmla="*/ 875913 w 1775221"/>
                <a:gd name="connsiteY24" fmla="*/ 2070976 h 2569174"/>
                <a:gd name="connsiteX25" fmla="*/ 876676 w 1775221"/>
                <a:gd name="connsiteY25" fmla="*/ 2069450 h 2569174"/>
                <a:gd name="connsiteX26" fmla="*/ 877693 w 1775221"/>
                <a:gd name="connsiteY26" fmla="*/ 2067798 h 2569174"/>
                <a:gd name="connsiteX27" fmla="*/ 877693 w 1775221"/>
                <a:gd name="connsiteY27" fmla="*/ 2067798 h 2569174"/>
                <a:gd name="connsiteX28" fmla="*/ 878965 w 1775221"/>
                <a:gd name="connsiteY28" fmla="*/ 2066908 h 2569174"/>
                <a:gd name="connsiteX29" fmla="*/ 879982 w 1775221"/>
                <a:gd name="connsiteY29" fmla="*/ 2066018 h 256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75221" h="2569174">
                  <a:moveTo>
                    <a:pt x="1056970" y="1966607"/>
                  </a:moveTo>
                  <a:lnTo>
                    <a:pt x="1161357" y="1908003"/>
                  </a:lnTo>
                  <a:lnTo>
                    <a:pt x="1425059" y="1759903"/>
                  </a:lnTo>
                  <a:lnTo>
                    <a:pt x="1493083" y="1418830"/>
                  </a:lnTo>
                  <a:lnTo>
                    <a:pt x="1520419" y="1281536"/>
                  </a:lnTo>
                  <a:lnTo>
                    <a:pt x="1617305" y="795033"/>
                  </a:lnTo>
                  <a:lnTo>
                    <a:pt x="1651508" y="621382"/>
                  </a:lnTo>
                  <a:lnTo>
                    <a:pt x="1707833" y="338531"/>
                  </a:lnTo>
                  <a:lnTo>
                    <a:pt x="1760981" y="71571"/>
                  </a:lnTo>
                  <a:lnTo>
                    <a:pt x="1775221" y="0"/>
                  </a:lnTo>
                  <a:lnTo>
                    <a:pt x="1595817" y="91656"/>
                  </a:lnTo>
                  <a:lnTo>
                    <a:pt x="1293844" y="1687697"/>
                  </a:lnTo>
                  <a:lnTo>
                    <a:pt x="1293844" y="1687697"/>
                  </a:lnTo>
                  <a:lnTo>
                    <a:pt x="1293844" y="1687697"/>
                  </a:lnTo>
                  <a:lnTo>
                    <a:pt x="1293844" y="1687697"/>
                  </a:lnTo>
                  <a:lnTo>
                    <a:pt x="1293844" y="1687697"/>
                  </a:lnTo>
                  <a:lnTo>
                    <a:pt x="28354" y="2391964"/>
                  </a:lnTo>
                  <a:lnTo>
                    <a:pt x="28354" y="2396413"/>
                  </a:lnTo>
                  <a:cubicBezTo>
                    <a:pt x="27832" y="2400697"/>
                    <a:pt x="24387" y="2404028"/>
                    <a:pt x="20089" y="2404422"/>
                  </a:cubicBezTo>
                  <a:lnTo>
                    <a:pt x="0" y="2569174"/>
                  </a:lnTo>
                  <a:lnTo>
                    <a:pt x="875913" y="2076696"/>
                  </a:lnTo>
                  <a:cubicBezTo>
                    <a:pt x="875977" y="2076442"/>
                    <a:pt x="875977" y="2076188"/>
                    <a:pt x="875913" y="2075934"/>
                  </a:cubicBezTo>
                  <a:cubicBezTo>
                    <a:pt x="875849" y="2075425"/>
                    <a:pt x="875849" y="2074916"/>
                    <a:pt x="875913" y="2074408"/>
                  </a:cubicBezTo>
                  <a:cubicBezTo>
                    <a:pt x="875786" y="2073823"/>
                    <a:pt x="875786" y="2073213"/>
                    <a:pt x="875913" y="2072628"/>
                  </a:cubicBezTo>
                  <a:cubicBezTo>
                    <a:pt x="875913" y="2071993"/>
                    <a:pt x="875913" y="2071484"/>
                    <a:pt x="875913" y="2070976"/>
                  </a:cubicBezTo>
                  <a:lnTo>
                    <a:pt x="876676" y="2069450"/>
                  </a:lnTo>
                  <a:lnTo>
                    <a:pt x="877693" y="2067798"/>
                  </a:lnTo>
                  <a:lnTo>
                    <a:pt x="877693" y="2067798"/>
                  </a:lnTo>
                  <a:lnTo>
                    <a:pt x="878965" y="2066908"/>
                  </a:lnTo>
                  <a:lnTo>
                    <a:pt x="879982" y="2066018"/>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24AE684C-6B8C-4148-A28D-CD6FF4D4F93A}"/>
                </a:ext>
              </a:extLst>
            </p:cNvPr>
            <p:cNvSpPr/>
            <p:nvPr/>
          </p:nvSpPr>
          <p:spPr>
            <a:xfrm>
              <a:off x="1756530" y="5249755"/>
              <a:ext cx="1101344" cy="731089"/>
            </a:xfrm>
            <a:custGeom>
              <a:avLst/>
              <a:gdLst>
                <a:gd name="connsiteX0" fmla="*/ 1012723 w 1101344"/>
                <a:gd name="connsiteY0" fmla="*/ 136150 h 731089"/>
                <a:gd name="connsiteX1" fmla="*/ 937961 w 1101344"/>
                <a:gd name="connsiteY1" fmla="*/ 61147 h 731089"/>
                <a:gd name="connsiteX2" fmla="*/ 878075 w 1101344"/>
                <a:gd name="connsiteY2" fmla="*/ 1017 h 731089"/>
                <a:gd name="connsiteX3" fmla="*/ 877312 w 1101344"/>
                <a:gd name="connsiteY3" fmla="*/ 0 h 731089"/>
                <a:gd name="connsiteX4" fmla="*/ 0 w 1101344"/>
                <a:gd name="connsiteY4" fmla="*/ 492605 h 731089"/>
                <a:gd name="connsiteX5" fmla="*/ 219455 w 1101344"/>
                <a:gd name="connsiteY5" fmla="*/ 731090 h 731089"/>
                <a:gd name="connsiteX6" fmla="*/ 1101344 w 1101344"/>
                <a:gd name="connsiteY6" fmla="*/ 225899 h 731089"/>
                <a:gd name="connsiteX7" fmla="*/ 1101344 w 1101344"/>
                <a:gd name="connsiteY7" fmla="*/ 225899 h 731089"/>
                <a:gd name="connsiteX8" fmla="*/ 1090410 w 1101344"/>
                <a:gd name="connsiteY8" fmla="*/ 214967 h 73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1344" h="731089">
                  <a:moveTo>
                    <a:pt x="1012723" y="136150"/>
                  </a:moveTo>
                  <a:lnTo>
                    <a:pt x="937961" y="61147"/>
                  </a:lnTo>
                  <a:lnTo>
                    <a:pt x="878075" y="1017"/>
                  </a:lnTo>
                  <a:cubicBezTo>
                    <a:pt x="877757" y="737"/>
                    <a:pt x="877490" y="394"/>
                    <a:pt x="877312" y="0"/>
                  </a:cubicBezTo>
                  <a:lnTo>
                    <a:pt x="0" y="492605"/>
                  </a:lnTo>
                  <a:lnTo>
                    <a:pt x="219455" y="731090"/>
                  </a:lnTo>
                  <a:lnTo>
                    <a:pt x="1101344" y="225899"/>
                  </a:lnTo>
                  <a:lnTo>
                    <a:pt x="1101344" y="225899"/>
                  </a:lnTo>
                  <a:lnTo>
                    <a:pt x="1090410" y="214967"/>
                  </a:lnTo>
                  <a:close/>
                </a:path>
              </a:pathLst>
            </a:custGeom>
            <a:solidFill>
              <a:schemeClr val="accent3"/>
            </a:solidFill>
            <a:ln w="1268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15D4EE19-8B86-4002-9F24-7B29A8FE10BB}"/>
                </a:ext>
              </a:extLst>
            </p:cNvPr>
            <p:cNvSpPr/>
            <p:nvPr/>
          </p:nvSpPr>
          <p:spPr>
            <a:xfrm>
              <a:off x="1445275" y="5479595"/>
              <a:ext cx="1411836" cy="1383362"/>
            </a:xfrm>
            <a:custGeom>
              <a:avLst/>
              <a:gdLst>
                <a:gd name="connsiteX0" fmla="*/ 1411836 w 1411836"/>
                <a:gd name="connsiteY0" fmla="*/ 0 h 1383362"/>
                <a:gd name="connsiteX1" fmla="*/ 531854 w 1411836"/>
                <a:gd name="connsiteY1" fmla="*/ 504046 h 1383362"/>
                <a:gd name="connsiteX2" fmla="*/ 450862 w 1411836"/>
                <a:gd name="connsiteY2" fmla="*/ 1117165 h 1383362"/>
                <a:gd name="connsiteX3" fmla="*/ 450862 w 1411836"/>
                <a:gd name="connsiteY3" fmla="*/ 1117165 h 1383362"/>
                <a:gd name="connsiteX4" fmla="*/ 450862 w 1411836"/>
                <a:gd name="connsiteY4" fmla="*/ 1117165 h 1383362"/>
                <a:gd name="connsiteX5" fmla="*/ 450862 w 1411836"/>
                <a:gd name="connsiteY5" fmla="*/ 1117165 h 1383362"/>
                <a:gd name="connsiteX6" fmla="*/ 0 w 1411836"/>
                <a:gd name="connsiteY6" fmla="*/ 1383362 h 1383362"/>
                <a:gd name="connsiteX7" fmla="*/ 103625 w 1411836"/>
                <a:gd name="connsiteY7" fmla="*/ 1383362 h 1383362"/>
                <a:gd name="connsiteX8" fmla="*/ 1286088 w 1411836"/>
                <a:gd name="connsiteY8" fmla="*/ 682910 h 138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836" h="1383362">
                  <a:moveTo>
                    <a:pt x="1411836" y="0"/>
                  </a:moveTo>
                  <a:lnTo>
                    <a:pt x="531854" y="504046"/>
                  </a:lnTo>
                  <a:lnTo>
                    <a:pt x="450862" y="1117165"/>
                  </a:lnTo>
                  <a:lnTo>
                    <a:pt x="450862" y="1117165"/>
                  </a:lnTo>
                  <a:lnTo>
                    <a:pt x="450862" y="1117165"/>
                  </a:lnTo>
                  <a:lnTo>
                    <a:pt x="450862" y="1117165"/>
                  </a:lnTo>
                  <a:lnTo>
                    <a:pt x="0" y="1383362"/>
                  </a:lnTo>
                  <a:lnTo>
                    <a:pt x="103625" y="1383362"/>
                  </a:lnTo>
                  <a:lnTo>
                    <a:pt x="1286088" y="682910"/>
                  </a:lnTo>
                  <a:close/>
                </a:path>
              </a:pathLst>
            </a:custGeom>
            <a:solidFill>
              <a:schemeClr val="accent5"/>
            </a:solidFill>
            <a:ln w="1268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1A1802A1-A2B1-4450-98A6-62145F080E8D}"/>
                </a:ext>
              </a:extLst>
            </p:cNvPr>
            <p:cNvSpPr/>
            <p:nvPr/>
          </p:nvSpPr>
          <p:spPr>
            <a:xfrm>
              <a:off x="1684692" y="5745538"/>
              <a:ext cx="289385" cy="847281"/>
            </a:xfrm>
            <a:custGeom>
              <a:avLst/>
              <a:gdLst>
                <a:gd name="connsiteX0" fmla="*/ 0 w 289385"/>
                <a:gd name="connsiteY0" fmla="*/ 611847 h 847281"/>
                <a:gd name="connsiteX1" fmla="*/ 208902 w 289385"/>
                <a:gd name="connsiteY1" fmla="*/ 847281 h 847281"/>
                <a:gd name="connsiteX2" fmla="*/ 289386 w 289385"/>
                <a:gd name="connsiteY2" fmla="*/ 237722 h 847281"/>
                <a:gd name="connsiteX3" fmla="*/ 70566 w 289385"/>
                <a:gd name="connsiteY3" fmla="*/ 0 h 847281"/>
                <a:gd name="connsiteX4" fmla="*/ 0 w 289385"/>
                <a:gd name="connsiteY4" fmla="*/ 611847 h 847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385" h="847281">
                  <a:moveTo>
                    <a:pt x="0" y="611847"/>
                  </a:moveTo>
                  <a:lnTo>
                    <a:pt x="208902" y="847281"/>
                  </a:lnTo>
                  <a:lnTo>
                    <a:pt x="289386" y="237722"/>
                  </a:lnTo>
                  <a:lnTo>
                    <a:pt x="70566" y="0"/>
                  </a:lnTo>
                  <a:lnTo>
                    <a:pt x="0" y="611847"/>
                  </a:lnTo>
                  <a:close/>
                </a:path>
              </a:pathLst>
            </a:custGeom>
            <a:solidFill>
              <a:schemeClr val="accent5">
                <a:lumMod val="50000"/>
              </a:schemeClr>
            </a:solidFill>
            <a:ln w="1268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7764A88-0179-446C-A389-E26B73465544}"/>
                </a:ext>
              </a:extLst>
            </p:cNvPr>
            <p:cNvSpPr/>
            <p:nvPr/>
          </p:nvSpPr>
          <p:spPr>
            <a:xfrm>
              <a:off x="2812228" y="2709947"/>
              <a:ext cx="719777" cy="548921"/>
            </a:xfrm>
            <a:custGeom>
              <a:avLst/>
              <a:gdLst>
                <a:gd name="connsiteX0" fmla="*/ 538975 w 719777"/>
                <a:gd name="connsiteY0" fmla="*/ 548921 h 548921"/>
                <a:gd name="connsiteX1" fmla="*/ 719777 w 719777"/>
                <a:gd name="connsiteY1" fmla="*/ 456502 h 548921"/>
                <a:gd name="connsiteX2" fmla="*/ 684939 w 719777"/>
                <a:gd name="connsiteY2" fmla="*/ 427136 h 548921"/>
                <a:gd name="connsiteX3" fmla="*/ 450862 w 719777"/>
                <a:gd name="connsiteY3" fmla="*/ 229713 h 548921"/>
                <a:gd name="connsiteX4" fmla="*/ 245774 w 719777"/>
                <a:gd name="connsiteY4" fmla="*/ 56824 h 548921"/>
                <a:gd name="connsiteX5" fmla="*/ 178514 w 719777"/>
                <a:gd name="connsiteY5" fmla="*/ 0 h 548921"/>
                <a:gd name="connsiteX6" fmla="*/ 36618 w 719777"/>
                <a:gd name="connsiteY6" fmla="*/ 69028 h 548921"/>
                <a:gd name="connsiteX7" fmla="*/ 0 w 719777"/>
                <a:gd name="connsiteY7" fmla="*/ 86826 h 548921"/>
                <a:gd name="connsiteX8" fmla="*/ 538975 w 719777"/>
                <a:gd name="connsiteY8" fmla="*/ 548921 h 54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777" h="548921">
                  <a:moveTo>
                    <a:pt x="538975" y="548921"/>
                  </a:moveTo>
                  <a:lnTo>
                    <a:pt x="719777" y="456502"/>
                  </a:lnTo>
                  <a:lnTo>
                    <a:pt x="684939" y="427136"/>
                  </a:lnTo>
                  <a:lnTo>
                    <a:pt x="450862" y="229713"/>
                  </a:lnTo>
                  <a:lnTo>
                    <a:pt x="245774" y="56824"/>
                  </a:lnTo>
                  <a:lnTo>
                    <a:pt x="178514" y="0"/>
                  </a:lnTo>
                  <a:lnTo>
                    <a:pt x="36618" y="69028"/>
                  </a:lnTo>
                  <a:lnTo>
                    <a:pt x="0" y="86826"/>
                  </a:lnTo>
                  <a:lnTo>
                    <a:pt x="538975" y="548921"/>
                  </a:lnTo>
                  <a:close/>
                </a:path>
              </a:pathLst>
            </a:custGeom>
            <a:solidFill>
              <a:schemeClr val="accent2">
                <a:lumMod val="75000"/>
              </a:schemeClr>
            </a:solidFill>
            <a:ln w="1268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6C90F4D1-A2F0-40EC-936C-3D67FFD7B9F1}"/>
                </a:ext>
              </a:extLst>
            </p:cNvPr>
            <p:cNvSpPr/>
            <p:nvPr/>
          </p:nvSpPr>
          <p:spPr>
            <a:xfrm>
              <a:off x="1126900" y="4324928"/>
              <a:ext cx="781824" cy="1767403"/>
            </a:xfrm>
            <a:custGeom>
              <a:avLst/>
              <a:gdLst>
                <a:gd name="connsiteX0" fmla="*/ 644761 w 781824"/>
                <a:gd name="connsiteY0" fmla="*/ 1250264 h 1767403"/>
                <a:gd name="connsiteX1" fmla="*/ 638658 w 781824"/>
                <a:gd name="connsiteY1" fmla="*/ 1240475 h 1767403"/>
                <a:gd name="connsiteX2" fmla="*/ 698416 w 781824"/>
                <a:gd name="connsiteY2" fmla="*/ 721810 h 1767403"/>
                <a:gd name="connsiteX3" fmla="*/ 709351 w 781824"/>
                <a:gd name="connsiteY3" fmla="*/ 627357 h 1767403"/>
                <a:gd name="connsiteX4" fmla="*/ 730966 w 781824"/>
                <a:gd name="connsiteY4" fmla="*/ 440103 h 1767403"/>
                <a:gd name="connsiteX5" fmla="*/ 747495 w 781824"/>
                <a:gd name="connsiteY5" fmla="*/ 296834 h 1767403"/>
                <a:gd name="connsiteX6" fmla="*/ 775467 w 781824"/>
                <a:gd name="connsiteY6" fmla="*/ 55299 h 1767403"/>
                <a:gd name="connsiteX7" fmla="*/ 781825 w 781824"/>
                <a:gd name="connsiteY7" fmla="*/ 0 h 1767403"/>
                <a:gd name="connsiteX8" fmla="*/ 557538 w 781824"/>
                <a:gd name="connsiteY8" fmla="*/ 116700 h 1767403"/>
                <a:gd name="connsiteX9" fmla="*/ 481250 w 781824"/>
                <a:gd name="connsiteY9" fmla="*/ 861646 h 1767403"/>
                <a:gd name="connsiteX10" fmla="*/ 481250 w 781824"/>
                <a:gd name="connsiteY10" fmla="*/ 861646 h 1767403"/>
                <a:gd name="connsiteX11" fmla="*/ 481250 w 781824"/>
                <a:gd name="connsiteY11" fmla="*/ 861646 h 1767403"/>
                <a:gd name="connsiteX12" fmla="*/ 481250 w 781824"/>
                <a:gd name="connsiteY12" fmla="*/ 861646 h 1767403"/>
                <a:gd name="connsiteX13" fmla="*/ 50859 w 781824"/>
                <a:gd name="connsiteY13" fmla="*/ 1095300 h 1767403"/>
                <a:gd name="connsiteX14" fmla="*/ 0 w 781824"/>
                <a:gd name="connsiteY14" fmla="*/ 1767404 h 1767403"/>
                <a:gd name="connsiteX15" fmla="*/ 391866 w 781824"/>
                <a:gd name="connsiteY15" fmla="*/ 1547225 h 1767403"/>
                <a:gd name="connsiteX16" fmla="*/ 625689 w 781824"/>
                <a:gd name="connsiteY16" fmla="*/ 1415906 h 176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1824" h="1767403">
                  <a:moveTo>
                    <a:pt x="644761" y="1250264"/>
                  </a:moveTo>
                  <a:cubicBezTo>
                    <a:pt x="640628" y="1248891"/>
                    <a:pt x="638073" y="1244785"/>
                    <a:pt x="638658" y="1240475"/>
                  </a:cubicBezTo>
                  <a:lnTo>
                    <a:pt x="698416" y="721810"/>
                  </a:lnTo>
                  <a:lnTo>
                    <a:pt x="709351" y="627357"/>
                  </a:lnTo>
                  <a:lnTo>
                    <a:pt x="730966" y="440103"/>
                  </a:lnTo>
                  <a:lnTo>
                    <a:pt x="747495" y="296834"/>
                  </a:lnTo>
                  <a:lnTo>
                    <a:pt x="775467" y="55299"/>
                  </a:lnTo>
                  <a:lnTo>
                    <a:pt x="781825" y="0"/>
                  </a:lnTo>
                  <a:lnTo>
                    <a:pt x="557538" y="116700"/>
                  </a:lnTo>
                  <a:lnTo>
                    <a:pt x="481250" y="861646"/>
                  </a:lnTo>
                  <a:lnTo>
                    <a:pt x="481250" y="861646"/>
                  </a:lnTo>
                  <a:lnTo>
                    <a:pt x="481250" y="861646"/>
                  </a:lnTo>
                  <a:lnTo>
                    <a:pt x="481250" y="861646"/>
                  </a:lnTo>
                  <a:lnTo>
                    <a:pt x="50859" y="1095300"/>
                  </a:lnTo>
                  <a:lnTo>
                    <a:pt x="0" y="1767404"/>
                  </a:lnTo>
                  <a:lnTo>
                    <a:pt x="391866" y="1547225"/>
                  </a:lnTo>
                  <a:lnTo>
                    <a:pt x="625689" y="1415906"/>
                  </a:lnTo>
                  <a:close/>
                </a:path>
              </a:pathLst>
            </a:custGeom>
            <a:solidFill>
              <a:schemeClr val="accent5"/>
            </a:solidFill>
            <a:ln w="1268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4B2A92E5-2B2C-464C-93CE-FCCE2FDBCC27}"/>
                </a:ext>
              </a:extLst>
            </p:cNvPr>
            <p:cNvSpPr/>
            <p:nvPr/>
          </p:nvSpPr>
          <p:spPr>
            <a:xfrm>
              <a:off x="1459388" y="5744903"/>
              <a:ext cx="292691" cy="740623"/>
            </a:xfrm>
            <a:custGeom>
              <a:avLst/>
              <a:gdLst>
                <a:gd name="connsiteX0" fmla="*/ 61666 w 292691"/>
                <a:gd name="connsiteY0" fmla="*/ 129793 h 740623"/>
                <a:gd name="connsiteX1" fmla="*/ 0 w 292691"/>
                <a:gd name="connsiteY1" fmla="*/ 740624 h 740623"/>
                <a:gd name="connsiteX2" fmla="*/ 222125 w 292691"/>
                <a:gd name="connsiteY2" fmla="*/ 611974 h 740623"/>
                <a:gd name="connsiteX3" fmla="*/ 292692 w 292691"/>
                <a:gd name="connsiteY3" fmla="*/ 0 h 740623"/>
                <a:gd name="connsiteX4" fmla="*/ 61666 w 292691"/>
                <a:gd name="connsiteY4" fmla="*/ 129793 h 740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91" h="740623">
                  <a:moveTo>
                    <a:pt x="61666" y="129793"/>
                  </a:moveTo>
                  <a:lnTo>
                    <a:pt x="0" y="740624"/>
                  </a:lnTo>
                  <a:lnTo>
                    <a:pt x="222125" y="611974"/>
                  </a:lnTo>
                  <a:lnTo>
                    <a:pt x="292692" y="0"/>
                  </a:lnTo>
                  <a:lnTo>
                    <a:pt x="61666" y="129793"/>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15233DA-95B6-4B74-BE71-E66B7582B440}"/>
                </a:ext>
              </a:extLst>
            </p:cNvPr>
            <p:cNvSpPr/>
            <p:nvPr/>
          </p:nvSpPr>
          <p:spPr>
            <a:xfrm>
              <a:off x="1080492" y="5876603"/>
              <a:ext cx="437130" cy="828466"/>
            </a:xfrm>
            <a:custGeom>
              <a:avLst/>
              <a:gdLst>
                <a:gd name="connsiteX0" fmla="*/ 46154 w 437130"/>
                <a:gd name="connsiteY0" fmla="*/ 219543 h 828466"/>
                <a:gd name="connsiteX1" fmla="*/ 0 w 437130"/>
                <a:gd name="connsiteY1" fmla="*/ 828467 h 828466"/>
                <a:gd name="connsiteX2" fmla="*/ 375591 w 437130"/>
                <a:gd name="connsiteY2" fmla="*/ 610831 h 828466"/>
                <a:gd name="connsiteX3" fmla="*/ 437130 w 437130"/>
                <a:gd name="connsiteY3" fmla="*/ 0 h 828466"/>
                <a:gd name="connsiteX4" fmla="*/ 46154 w 437130"/>
                <a:gd name="connsiteY4" fmla="*/ 219543 h 82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130" h="828466">
                  <a:moveTo>
                    <a:pt x="46154" y="219543"/>
                  </a:moveTo>
                  <a:lnTo>
                    <a:pt x="0" y="828467"/>
                  </a:lnTo>
                  <a:lnTo>
                    <a:pt x="375591" y="610831"/>
                  </a:lnTo>
                  <a:lnTo>
                    <a:pt x="437130" y="0"/>
                  </a:lnTo>
                  <a:lnTo>
                    <a:pt x="46154" y="219543"/>
                  </a:lnTo>
                  <a:close/>
                </a:path>
              </a:pathLst>
            </a:custGeom>
            <a:solidFill>
              <a:schemeClr val="bg1">
                <a:lumMod val="95000"/>
              </a:schemeClr>
            </a:solidFill>
            <a:ln w="1268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1BBC334-48AF-476D-B34E-216DE57FA04D}"/>
                </a:ext>
              </a:extLst>
            </p:cNvPr>
            <p:cNvSpPr/>
            <p:nvPr/>
          </p:nvSpPr>
          <p:spPr>
            <a:xfrm>
              <a:off x="854298" y="5107249"/>
              <a:ext cx="320409" cy="983938"/>
            </a:xfrm>
            <a:custGeom>
              <a:avLst/>
              <a:gdLst>
                <a:gd name="connsiteX0" fmla="*/ 320409 w 320409"/>
                <a:gd name="connsiteY0" fmla="*/ 312598 h 983938"/>
                <a:gd name="connsiteX1" fmla="*/ 37381 w 320409"/>
                <a:gd name="connsiteY1" fmla="*/ 0 h 983938"/>
                <a:gd name="connsiteX2" fmla="*/ 0 w 320409"/>
                <a:gd name="connsiteY2" fmla="*/ 665239 h 983938"/>
                <a:gd name="connsiteX3" fmla="*/ 5722 w 320409"/>
                <a:gd name="connsiteY3" fmla="*/ 669943 h 983938"/>
                <a:gd name="connsiteX4" fmla="*/ 4959 w 320409"/>
                <a:gd name="connsiteY4" fmla="*/ 679732 h 983938"/>
                <a:gd name="connsiteX5" fmla="*/ 269551 w 320409"/>
                <a:gd name="connsiteY5" fmla="*/ 983939 h 98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409" h="983938">
                  <a:moveTo>
                    <a:pt x="320409" y="312598"/>
                  </a:moveTo>
                  <a:lnTo>
                    <a:pt x="37381" y="0"/>
                  </a:lnTo>
                  <a:lnTo>
                    <a:pt x="0" y="665239"/>
                  </a:lnTo>
                  <a:cubicBezTo>
                    <a:pt x="2534" y="665837"/>
                    <a:pt x="4647" y="667579"/>
                    <a:pt x="5722" y="669943"/>
                  </a:cubicBezTo>
                  <a:cubicBezTo>
                    <a:pt x="7268" y="673096"/>
                    <a:pt x="6975" y="676846"/>
                    <a:pt x="4959" y="679732"/>
                  </a:cubicBezTo>
                  <a:lnTo>
                    <a:pt x="269551" y="983939"/>
                  </a:lnTo>
                  <a:close/>
                </a:path>
              </a:pathLst>
            </a:custGeom>
            <a:solidFill>
              <a:schemeClr val="tx2"/>
            </a:solidFill>
            <a:ln w="1268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737841B9-40D9-4A71-8369-D6D239933AB2}"/>
                </a:ext>
              </a:extLst>
            </p:cNvPr>
            <p:cNvSpPr/>
            <p:nvPr/>
          </p:nvSpPr>
          <p:spPr>
            <a:xfrm>
              <a:off x="1172291" y="3810712"/>
              <a:ext cx="736433" cy="627229"/>
            </a:xfrm>
            <a:custGeom>
              <a:avLst/>
              <a:gdLst>
                <a:gd name="connsiteX0" fmla="*/ 555122 w 736433"/>
                <a:gd name="connsiteY0" fmla="*/ 330141 h 627229"/>
                <a:gd name="connsiteX1" fmla="*/ 223270 w 736433"/>
                <a:gd name="connsiteY1" fmla="*/ 1017 h 627229"/>
                <a:gd name="connsiteX2" fmla="*/ 223270 w 736433"/>
                <a:gd name="connsiteY2" fmla="*/ 1017 h 627229"/>
                <a:gd name="connsiteX3" fmla="*/ 223270 w 736433"/>
                <a:gd name="connsiteY3" fmla="*/ 1017 h 627229"/>
                <a:gd name="connsiteX4" fmla="*/ 223270 w 736433"/>
                <a:gd name="connsiteY4" fmla="*/ 1017 h 627229"/>
                <a:gd name="connsiteX5" fmla="*/ 223270 w 736433"/>
                <a:gd name="connsiteY5" fmla="*/ 0 h 627229"/>
                <a:gd name="connsiteX6" fmla="*/ 0 w 736433"/>
                <a:gd name="connsiteY6" fmla="*/ 109708 h 627229"/>
                <a:gd name="connsiteX7" fmla="*/ 511002 w 736433"/>
                <a:gd name="connsiteY7" fmla="*/ 627230 h 627229"/>
                <a:gd name="connsiteX8" fmla="*/ 736433 w 736433"/>
                <a:gd name="connsiteY8" fmla="*/ 509894 h 627229"/>
                <a:gd name="connsiteX9" fmla="*/ 622001 w 736433"/>
                <a:gd name="connsiteY9" fmla="*/ 396881 h 62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433" h="627229">
                  <a:moveTo>
                    <a:pt x="555122" y="330141"/>
                  </a:moveTo>
                  <a:lnTo>
                    <a:pt x="223270" y="1017"/>
                  </a:lnTo>
                  <a:lnTo>
                    <a:pt x="223270" y="1017"/>
                  </a:lnTo>
                  <a:lnTo>
                    <a:pt x="223270" y="1017"/>
                  </a:lnTo>
                  <a:lnTo>
                    <a:pt x="223270" y="1017"/>
                  </a:lnTo>
                  <a:cubicBezTo>
                    <a:pt x="223244" y="674"/>
                    <a:pt x="223244" y="343"/>
                    <a:pt x="223270" y="0"/>
                  </a:cubicBezTo>
                  <a:lnTo>
                    <a:pt x="0" y="109708"/>
                  </a:lnTo>
                  <a:lnTo>
                    <a:pt x="511002" y="627230"/>
                  </a:lnTo>
                  <a:lnTo>
                    <a:pt x="736433" y="509894"/>
                  </a:lnTo>
                  <a:lnTo>
                    <a:pt x="622001" y="396881"/>
                  </a:lnTo>
                  <a:close/>
                </a:path>
              </a:pathLst>
            </a:custGeom>
            <a:solidFill>
              <a:schemeClr val="accent4"/>
            </a:solidFill>
            <a:ln w="1268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3E501A85-A438-4DC5-9ACA-38608E03E0E8}"/>
                </a:ext>
              </a:extLst>
            </p:cNvPr>
            <p:cNvSpPr/>
            <p:nvPr/>
          </p:nvSpPr>
          <p:spPr>
            <a:xfrm>
              <a:off x="1171656" y="3789101"/>
              <a:ext cx="222633" cy="129285"/>
            </a:xfrm>
            <a:custGeom>
              <a:avLst/>
              <a:gdLst>
                <a:gd name="connsiteX0" fmla="*/ 221235 w 222633"/>
                <a:gd name="connsiteY0" fmla="*/ 17162 h 129285"/>
                <a:gd name="connsiteX1" fmla="*/ 221235 w 222633"/>
                <a:gd name="connsiteY1" fmla="*/ 16018 h 129285"/>
                <a:gd name="connsiteX2" fmla="*/ 221235 w 222633"/>
                <a:gd name="connsiteY2" fmla="*/ 16018 h 129285"/>
                <a:gd name="connsiteX3" fmla="*/ 221235 w 222633"/>
                <a:gd name="connsiteY3" fmla="*/ 16018 h 129285"/>
                <a:gd name="connsiteX4" fmla="*/ 222634 w 222633"/>
                <a:gd name="connsiteY4" fmla="*/ 0 h 129285"/>
                <a:gd name="connsiteX5" fmla="*/ 1271 w 222633"/>
                <a:gd name="connsiteY5" fmla="*/ 109708 h 129285"/>
                <a:gd name="connsiteX6" fmla="*/ 0 w 222633"/>
                <a:gd name="connsiteY6" fmla="*/ 129285 h 129285"/>
                <a:gd name="connsiteX7" fmla="*/ 221362 w 222633"/>
                <a:gd name="connsiteY7" fmla="*/ 17925 h 129285"/>
                <a:gd name="connsiteX8" fmla="*/ 221362 w 222633"/>
                <a:gd name="connsiteY8" fmla="*/ 17162 h 129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33" h="129285">
                  <a:moveTo>
                    <a:pt x="221235" y="17162"/>
                  </a:moveTo>
                  <a:cubicBezTo>
                    <a:pt x="221235" y="17162"/>
                    <a:pt x="221235" y="16399"/>
                    <a:pt x="221235" y="16018"/>
                  </a:cubicBezTo>
                  <a:cubicBezTo>
                    <a:pt x="221235" y="15636"/>
                    <a:pt x="221235" y="16018"/>
                    <a:pt x="221235" y="16018"/>
                  </a:cubicBezTo>
                  <a:cubicBezTo>
                    <a:pt x="221235" y="16018"/>
                    <a:pt x="221235" y="16018"/>
                    <a:pt x="221235" y="16018"/>
                  </a:cubicBezTo>
                  <a:lnTo>
                    <a:pt x="222634" y="0"/>
                  </a:lnTo>
                  <a:lnTo>
                    <a:pt x="1271" y="109708"/>
                  </a:lnTo>
                  <a:lnTo>
                    <a:pt x="0" y="129285"/>
                  </a:lnTo>
                  <a:lnTo>
                    <a:pt x="221362" y="17925"/>
                  </a:lnTo>
                  <a:cubicBezTo>
                    <a:pt x="221362" y="17925"/>
                    <a:pt x="221362" y="17925"/>
                    <a:pt x="221362" y="17162"/>
                  </a:cubicBezTo>
                  <a:close/>
                </a:path>
              </a:pathLst>
            </a:custGeom>
            <a:solidFill>
              <a:srgbClr val="DD1013"/>
            </a:solidFill>
            <a:ln w="1268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5EB7BD-CAA2-4FC3-A959-61F855051A7D}"/>
                </a:ext>
              </a:extLst>
            </p:cNvPr>
            <p:cNvSpPr/>
            <p:nvPr/>
          </p:nvSpPr>
          <p:spPr>
            <a:xfrm>
              <a:off x="1341142" y="3211578"/>
              <a:ext cx="232551" cy="576888"/>
            </a:xfrm>
            <a:custGeom>
              <a:avLst/>
              <a:gdLst>
                <a:gd name="connsiteX0" fmla="*/ 3942 w 232551"/>
                <a:gd name="connsiteY0" fmla="*/ 276749 h 576888"/>
                <a:gd name="connsiteX1" fmla="*/ 85188 w 232551"/>
                <a:gd name="connsiteY1" fmla="*/ 356074 h 576888"/>
                <a:gd name="connsiteX2" fmla="*/ 85188 w 232551"/>
                <a:gd name="connsiteY2" fmla="*/ 356074 h 576888"/>
                <a:gd name="connsiteX3" fmla="*/ 86205 w 232551"/>
                <a:gd name="connsiteY3" fmla="*/ 357599 h 576888"/>
                <a:gd name="connsiteX4" fmla="*/ 87095 w 232551"/>
                <a:gd name="connsiteY4" fmla="*/ 359125 h 576888"/>
                <a:gd name="connsiteX5" fmla="*/ 87095 w 232551"/>
                <a:gd name="connsiteY5" fmla="*/ 360650 h 576888"/>
                <a:gd name="connsiteX6" fmla="*/ 87095 w 232551"/>
                <a:gd name="connsiteY6" fmla="*/ 362684 h 576888"/>
                <a:gd name="connsiteX7" fmla="*/ 87095 w 232551"/>
                <a:gd name="connsiteY7" fmla="*/ 362684 h 576888"/>
                <a:gd name="connsiteX8" fmla="*/ 70185 w 232551"/>
                <a:gd name="connsiteY8" fmla="*/ 569642 h 576888"/>
                <a:gd name="connsiteX9" fmla="*/ 70185 w 232551"/>
                <a:gd name="connsiteY9" fmla="*/ 576888 h 576888"/>
                <a:gd name="connsiteX10" fmla="*/ 201400 w 232551"/>
                <a:gd name="connsiteY10" fmla="*/ 511674 h 576888"/>
                <a:gd name="connsiteX11" fmla="*/ 204579 w 232551"/>
                <a:gd name="connsiteY11" fmla="*/ 510148 h 576888"/>
                <a:gd name="connsiteX12" fmla="*/ 232551 w 232551"/>
                <a:gd name="connsiteY12" fmla="*/ 198567 h 576888"/>
                <a:gd name="connsiteX13" fmla="*/ 25175 w 232551"/>
                <a:gd name="connsiteY13" fmla="*/ 0 h 576888"/>
                <a:gd name="connsiteX14" fmla="*/ 23522 w 232551"/>
                <a:gd name="connsiteY14" fmla="*/ 1144 h 576888"/>
                <a:gd name="connsiteX15" fmla="*/ 20725 w 232551"/>
                <a:gd name="connsiteY15" fmla="*/ 2542 h 576888"/>
                <a:gd name="connsiteX16" fmla="*/ 0 w 232551"/>
                <a:gd name="connsiteY16" fmla="*/ 272172 h 57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551" h="576888">
                  <a:moveTo>
                    <a:pt x="3942" y="276749"/>
                  </a:moveTo>
                  <a:lnTo>
                    <a:pt x="85188" y="356074"/>
                  </a:lnTo>
                  <a:lnTo>
                    <a:pt x="85188" y="356074"/>
                  </a:lnTo>
                  <a:cubicBezTo>
                    <a:pt x="85608" y="356519"/>
                    <a:pt x="85951" y="357040"/>
                    <a:pt x="86205" y="357599"/>
                  </a:cubicBezTo>
                  <a:cubicBezTo>
                    <a:pt x="86549" y="358083"/>
                    <a:pt x="86841" y="358591"/>
                    <a:pt x="87095" y="359125"/>
                  </a:cubicBezTo>
                  <a:cubicBezTo>
                    <a:pt x="87159" y="359633"/>
                    <a:pt x="87159" y="360142"/>
                    <a:pt x="87095" y="360650"/>
                  </a:cubicBezTo>
                  <a:cubicBezTo>
                    <a:pt x="87146" y="361324"/>
                    <a:pt x="87146" y="362011"/>
                    <a:pt x="87095" y="362684"/>
                  </a:cubicBezTo>
                  <a:cubicBezTo>
                    <a:pt x="87095" y="362684"/>
                    <a:pt x="87095" y="362684"/>
                    <a:pt x="87095" y="362684"/>
                  </a:cubicBezTo>
                  <a:lnTo>
                    <a:pt x="70185" y="569642"/>
                  </a:lnTo>
                  <a:lnTo>
                    <a:pt x="70185" y="576888"/>
                  </a:lnTo>
                  <a:lnTo>
                    <a:pt x="201400" y="511674"/>
                  </a:lnTo>
                  <a:lnTo>
                    <a:pt x="204579" y="510148"/>
                  </a:lnTo>
                  <a:lnTo>
                    <a:pt x="232551" y="198567"/>
                  </a:lnTo>
                  <a:lnTo>
                    <a:pt x="25175" y="0"/>
                  </a:lnTo>
                  <a:cubicBezTo>
                    <a:pt x="24679" y="458"/>
                    <a:pt x="24120" y="839"/>
                    <a:pt x="23522" y="1144"/>
                  </a:cubicBezTo>
                  <a:lnTo>
                    <a:pt x="20725" y="2542"/>
                  </a:lnTo>
                  <a:lnTo>
                    <a:pt x="0" y="272172"/>
                  </a:lnTo>
                  <a:close/>
                </a:path>
              </a:pathLst>
            </a:custGeom>
            <a:solidFill>
              <a:schemeClr val="accent3">
                <a:lumMod val="75000"/>
              </a:schemeClr>
            </a:solidFill>
            <a:ln w="1268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53C3C4E7-3439-463C-930E-24273F0E0AE1}"/>
                </a:ext>
              </a:extLst>
            </p:cNvPr>
            <p:cNvSpPr/>
            <p:nvPr/>
          </p:nvSpPr>
          <p:spPr>
            <a:xfrm>
              <a:off x="1012850" y="3216027"/>
              <a:ext cx="345965" cy="308148"/>
            </a:xfrm>
            <a:custGeom>
              <a:avLst/>
              <a:gdLst>
                <a:gd name="connsiteX0" fmla="*/ 288750 w 345965"/>
                <a:gd name="connsiteY0" fmla="*/ 237722 h 308148"/>
                <a:gd name="connsiteX1" fmla="*/ 288750 w 345965"/>
                <a:gd name="connsiteY1" fmla="*/ 237722 h 308148"/>
                <a:gd name="connsiteX2" fmla="*/ 292056 w 345965"/>
                <a:gd name="connsiteY2" fmla="*/ 236832 h 308148"/>
                <a:gd name="connsiteX3" fmla="*/ 293327 w 345965"/>
                <a:gd name="connsiteY3" fmla="*/ 236832 h 308148"/>
                <a:gd name="connsiteX4" fmla="*/ 295489 w 345965"/>
                <a:gd name="connsiteY4" fmla="*/ 236832 h 308148"/>
                <a:gd name="connsiteX5" fmla="*/ 298413 w 345965"/>
                <a:gd name="connsiteY5" fmla="*/ 238739 h 308148"/>
                <a:gd name="connsiteX6" fmla="*/ 298413 w 345965"/>
                <a:gd name="connsiteY6" fmla="*/ 238739 h 308148"/>
                <a:gd name="connsiteX7" fmla="*/ 325622 w 345965"/>
                <a:gd name="connsiteY7" fmla="*/ 265308 h 308148"/>
                <a:gd name="connsiteX8" fmla="*/ 345966 w 345965"/>
                <a:gd name="connsiteY8" fmla="*/ 0 h 308148"/>
                <a:gd name="connsiteX9" fmla="*/ 99937 w 345965"/>
                <a:gd name="connsiteY9" fmla="*/ 117590 h 308148"/>
                <a:gd name="connsiteX10" fmla="*/ 0 w 345965"/>
                <a:gd name="connsiteY10" fmla="*/ 165388 h 308148"/>
                <a:gd name="connsiteX11" fmla="*/ 144184 w 345965"/>
                <a:gd name="connsiteY11" fmla="*/ 308148 h 30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965" h="308148">
                  <a:moveTo>
                    <a:pt x="288750" y="237722"/>
                  </a:moveTo>
                  <a:lnTo>
                    <a:pt x="288750" y="237722"/>
                  </a:lnTo>
                  <a:cubicBezTo>
                    <a:pt x="289793" y="237239"/>
                    <a:pt x="290911" y="236934"/>
                    <a:pt x="292056" y="236832"/>
                  </a:cubicBezTo>
                  <a:lnTo>
                    <a:pt x="293327" y="236832"/>
                  </a:lnTo>
                  <a:lnTo>
                    <a:pt x="295489" y="236832"/>
                  </a:lnTo>
                  <a:cubicBezTo>
                    <a:pt x="296582" y="237251"/>
                    <a:pt x="297587" y="237900"/>
                    <a:pt x="298413" y="238739"/>
                  </a:cubicBezTo>
                  <a:lnTo>
                    <a:pt x="298413" y="238739"/>
                  </a:lnTo>
                  <a:lnTo>
                    <a:pt x="325622" y="265308"/>
                  </a:lnTo>
                  <a:lnTo>
                    <a:pt x="345966" y="0"/>
                  </a:lnTo>
                  <a:lnTo>
                    <a:pt x="99937" y="117590"/>
                  </a:lnTo>
                  <a:lnTo>
                    <a:pt x="0" y="165388"/>
                  </a:lnTo>
                  <a:lnTo>
                    <a:pt x="144184" y="308148"/>
                  </a:lnTo>
                  <a:close/>
                </a:path>
              </a:pathLst>
            </a:custGeom>
            <a:solidFill>
              <a:schemeClr val="accent1"/>
            </a:solidFill>
            <a:ln w="1268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7DDB9D90-F07F-49CB-941C-7189AE3197E7}"/>
                </a:ext>
              </a:extLst>
            </p:cNvPr>
            <p:cNvSpPr/>
            <p:nvPr/>
          </p:nvSpPr>
          <p:spPr>
            <a:xfrm>
              <a:off x="1368606" y="3186153"/>
              <a:ext cx="248571" cy="222339"/>
            </a:xfrm>
            <a:custGeom>
              <a:avLst/>
              <a:gdLst>
                <a:gd name="connsiteX0" fmla="*/ 248572 w 248571"/>
                <a:gd name="connsiteY0" fmla="*/ 202254 h 222339"/>
                <a:gd name="connsiteX1" fmla="*/ 36491 w 248571"/>
                <a:gd name="connsiteY1" fmla="*/ 0 h 222339"/>
                <a:gd name="connsiteX2" fmla="*/ 1144 w 248571"/>
                <a:gd name="connsiteY2" fmla="*/ 16908 h 222339"/>
                <a:gd name="connsiteX3" fmla="*/ 0 w 248571"/>
                <a:gd name="connsiteY3" fmla="*/ 23899 h 222339"/>
                <a:gd name="connsiteX4" fmla="*/ 207249 w 248571"/>
                <a:gd name="connsiteY4" fmla="*/ 222340 h 222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71" h="222339">
                  <a:moveTo>
                    <a:pt x="248572" y="202254"/>
                  </a:moveTo>
                  <a:lnTo>
                    <a:pt x="36491" y="0"/>
                  </a:lnTo>
                  <a:lnTo>
                    <a:pt x="1144" y="16908"/>
                  </a:lnTo>
                  <a:cubicBezTo>
                    <a:pt x="1691" y="19297"/>
                    <a:pt x="1284" y="21802"/>
                    <a:pt x="0" y="23899"/>
                  </a:cubicBezTo>
                  <a:lnTo>
                    <a:pt x="207249" y="222340"/>
                  </a:lnTo>
                  <a:close/>
                </a:path>
              </a:pathLst>
            </a:custGeom>
            <a:solidFill>
              <a:srgbClr val="0A4054"/>
            </a:solidFill>
            <a:ln w="1268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0923636-D9E8-4C1F-8B67-0254864256A0}"/>
                </a:ext>
              </a:extLst>
            </p:cNvPr>
            <p:cNvSpPr/>
            <p:nvPr/>
          </p:nvSpPr>
          <p:spPr>
            <a:xfrm>
              <a:off x="1407004" y="2962288"/>
              <a:ext cx="233186" cy="423831"/>
            </a:xfrm>
            <a:custGeom>
              <a:avLst/>
              <a:gdLst>
                <a:gd name="connsiteX0" fmla="*/ 22251 w 233186"/>
                <a:gd name="connsiteY0" fmla="*/ 0 h 423831"/>
                <a:gd name="connsiteX1" fmla="*/ 20343 w 233186"/>
                <a:gd name="connsiteY1" fmla="*/ 890 h 423831"/>
                <a:gd name="connsiteX2" fmla="*/ 20343 w 233186"/>
                <a:gd name="connsiteY2" fmla="*/ 890 h 423831"/>
                <a:gd name="connsiteX3" fmla="*/ 19199 w 233186"/>
                <a:gd name="connsiteY3" fmla="*/ 890 h 423831"/>
                <a:gd name="connsiteX4" fmla="*/ 17546 w 233186"/>
                <a:gd name="connsiteY4" fmla="*/ 890 h 423831"/>
                <a:gd name="connsiteX5" fmla="*/ 0 w 233186"/>
                <a:gd name="connsiteY5" fmla="*/ 221831 h 423831"/>
                <a:gd name="connsiteX6" fmla="*/ 211699 w 233186"/>
                <a:gd name="connsiteY6" fmla="*/ 423831 h 423831"/>
                <a:gd name="connsiteX7" fmla="*/ 233187 w 233186"/>
                <a:gd name="connsiteY7" fmla="*/ 197423 h 42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86" h="423831">
                  <a:moveTo>
                    <a:pt x="22251" y="0"/>
                  </a:moveTo>
                  <a:lnTo>
                    <a:pt x="20343" y="890"/>
                  </a:lnTo>
                  <a:lnTo>
                    <a:pt x="20343" y="890"/>
                  </a:lnTo>
                  <a:lnTo>
                    <a:pt x="19199" y="890"/>
                  </a:lnTo>
                  <a:lnTo>
                    <a:pt x="17546" y="890"/>
                  </a:lnTo>
                  <a:lnTo>
                    <a:pt x="0" y="221831"/>
                  </a:lnTo>
                  <a:lnTo>
                    <a:pt x="211699" y="423831"/>
                  </a:lnTo>
                  <a:lnTo>
                    <a:pt x="233187" y="197423"/>
                  </a:lnTo>
                  <a:close/>
                </a:path>
              </a:pathLst>
            </a:custGeom>
            <a:solidFill>
              <a:schemeClr val="accent1"/>
            </a:solidFill>
            <a:ln w="1268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F67CBE1-9B65-4467-9943-F241A3520E1B}"/>
                </a:ext>
              </a:extLst>
            </p:cNvPr>
            <p:cNvSpPr/>
            <p:nvPr/>
          </p:nvSpPr>
          <p:spPr>
            <a:xfrm>
              <a:off x="1432306" y="2876098"/>
              <a:ext cx="390085" cy="281070"/>
            </a:xfrm>
            <a:custGeom>
              <a:avLst/>
              <a:gdLst>
                <a:gd name="connsiteX0" fmla="*/ 390086 w 390085"/>
                <a:gd name="connsiteY0" fmla="*/ 194118 h 281070"/>
                <a:gd name="connsiteX1" fmla="*/ 332234 w 390085"/>
                <a:gd name="connsiteY1" fmla="*/ 140726 h 281070"/>
                <a:gd name="connsiteX2" fmla="*/ 179785 w 390085"/>
                <a:gd name="connsiteY2" fmla="*/ 0 h 281070"/>
                <a:gd name="connsiteX3" fmla="*/ 8646 w 390085"/>
                <a:gd name="connsiteY3" fmla="*/ 80724 h 281070"/>
                <a:gd name="connsiteX4" fmla="*/ 0 w 390085"/>
                <a:gd name="connsiteY4" fmla="*/ 84664 h 281070"/>
                <a:gd name="connsiteX5" fmla="*/ 209156 w 390085"/>
                <a:gd name="connsiteY5" fmla="*/ 281071 h 281070"/>
                <a:gd name="connsiteX6" fmla="*/ 390086 w 390085"/>
                <a:gd name="connsiteY6" fmla="*/ 194118 h 28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85" h="281070">
                  <a:moveTo>
                    <a:pt x="390086" y="194118"/>
                  </a:moveTo>
                  <a:lnTo>
                    <a:pt x="332234" y="140726"/>
                  </a:lnTo>
                  <a:lnTo>
                    <a:pt x="179785" y="0"/>
                  </a:lnTo>
                  <a:lnTo>
                    <a:pt x="8646" y="80724"/>
                  </a:lnTo>
                  <a:lnTo>
                    <a:pt x="0" y="84664"/>
                  </a:lnTo>
                  <a:lnTo>
                    <a:pt x="209156" y="281071"/>
                  </a:lnTo>
                  <a:lnTo>
                    <a:pt x="390086" y="194118"/>
                  </a:lnTo>
                  <a:close/>
                </a:path>
              </a:pathLst>
            </a:custGeom>
            <a:solidFill>
              <a:schemeClr val="accent5"/>
            </a:solidFill>
            <a:ln w="1268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52444679-4279-49DA-8A99-06E9785EA0EE}"/>
                </a:ext>
              </a:extLst>
            </p:cNvPr>
            <p:cNvSpPr/>
            <p:nvPr/>
          </p:nvSpPr>
          <p:spPr>
            <a:xfrm>
              <a:off x="1363520" y="2960381"/>
              <a:ext cx="57724" cy="240137"/>
            </a:xfrm>
            <a:custGeom>
              <a:avLst/>
              <a:gdLst>
                <a:gd name="connsiteX0" fmla="*/ 57725 w 57724"/>
                <a:gd name="connsiteY0" fmla="*/ 3305 h 240137"/>
                <a:gd name="connsiteX1" fmla="*/ 57725 w 57724"/>
                <a:gd name="connsiteY1" fmla="*/ 3305 h 240137"/>
                <a:gd name="connsiteX2" fmla="*/ 55817 w 57724"/>
                <a:gd name="connsiteY2" fmla="*/ 2288 h 240137"/>
                <a:gd name="connsiteX3" fmla="*/ 54800 w 57724"/>
                <a:gd name="connsiteY3" fmla="*/ 1653 h 240137"/>
                <a:gd name="connsiteX4" fmla="*/ 53147 w 57724"/>
                <a:gd name="connsiteY4" fmla="*/ 0 h 240137"/>
                <a:gd name="connsiteX5" fmla="*/ 17546 w 57724"/>
                <a:gd name="connsiteY5" fmla="*/ 16780 h 240137"/>
                <a:gd name="connsiteX6" fmla="*/ 0 w 57724"/>
                <a:gd name="connsiteY6" fmla="*/ 236451 h 240137"/>
                <a:gd name="connsiteX7" fmla="*/ 4832 w 57724"/>
                <a:gd name="connsiteY7" fmla="*/ 240137 h 240137"/>
                <a:gd name="connsiteX8" fmla="*/ 40433 w 57724"/>
                <a:gd name="connsiteY8" fmla="*/ 223102 h 24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24" h="240137">
                  <a:moveTo>
                    <a:pt x="57725" y="3305"/>
                  </a:moveTo>
                  <a:lnTo>
                    <a:pt x="57725" y="3305"/>
                  </a:lnTo>
                  <a:cubicBezTo>
                    <a:pt x="57051" y="3038"/>
                    <a:pt x="56415" y="2708"/>
                    <a:pt x="55817" y="2288"/>
                  </a:cubicBezTo>
                  <a:lnTo>
                    <a:pt x="54800" y="1653"/>
                  </a:lnTo>
                  <a:lnTo>
                    <a:pt x="53147" y="0"/>
                  </a:lnTo>
                  <a:lnTo>
                    <a:pt x="17546" y="16780"/>
                  </a:lnTo>
                  <a:lnTo>
                    <a:pt x="0" y="236451"/>
                  </a:lnTo>
                  <a:cubicBezTo>
                    <a:pt x="2047" y="236972"/>
                    <a:pt x="3789" y="238307"/>
                    <a:pt x="4832" y="240137"/>
                  </a:cubicBezTo>
                  <a:lnTo>
                    <a:pt x="40433" y="223102"/>
                  </a:lnTo>
                  <a:close/>
                </a:path>
              </a:pathLst>
            </a:custGeom>
            <a:solidFill>
              <a:srgbClr val="F1F2F2"/>
            </a:solidFill>
            <a:ln w="1268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E68073AD-7291-4212-BB67-2026FC052BE7}"/>
                </a:ext>
              </a:extLst>
            </p:cNvPr>
            <p:cNvSpPr/>
            <p:nvPr/>
          </p:nvSpPr>
          <p:spPr>
            <a:xfrm>
              <a:off x="1153855" y="2745796"/>
              <a:ext cx="259633" cy="228060"/>
            </a:xfrm>
            <a:custGeom>
              <a:avLst/>
              <a:gdLst>
                <a:gd name="connsiteX0" fmla="*/ 199747 w 259633"/>
                <a:gd name="connsiteY0" fmla="*/ 155727 h 228060"/>
                <a:gd name="connsiteX1" fmla="*/ 125748 w 259633"/>
                <a:gd name="connsiteY1" fmla="*/ 86317 h 228060"/>
                <a:gd name="connsiteX2" fmla="*/ 33821 w 259633"/>
                <a:gd name="connsiteY2" fmla="*/ 0 h 228060"/>
                <a:gd name="connsiteX3" fmla="*/ 0 w 259633"/>
                <a:gd name="connsiteY3" fmla="*/ 15636 h 228060"/>
                <a:gd name="connsiteX4" fmla="*/ 225304 w 259633"/>
                <a:gd name="connsiteY4" fmla="*/ 228060 h 228060"/>
                <a:gd name="connsiteX5" fmla="*/ 259633 w 259633"/>
                <a:gd name="connsiteY5" fmla="*/ 211916 h 228060"/>
                <a:gd name="connsiteX6" fmla="*/ 199747 w 259633"/>
                <a:gd name="connsiteY6" fmla="*/ 155727 h 2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633" h="228060">
                  <a:moveTo>
                    <a:pt x="199747" y="155727"/>
                  </a:moveTo>
                  <a:lnTo>
                    <a:pt x="125748" y="86317"/>
                  </a:lnTo>
                  <a:lnTo>
                    <a:pt x="33821" y="0"/>
                  </a:lnTo>
                  <a:lnTo>
                    <a:pt x="0" y="15636"/>
                  </a:lnTo>
                  <a:lnTo>
                    <a:pt x="225304" y="228060"/>
                  </a:lnTo>
                  <a:lnTo>
                    <a:pt x="259633" y="211916"/>
                  </a:lnTo>
                  <a:lnTo>
                    <a:pt x="199747" y="155727"/>
                  </a:lnTo>
                  <a:close/>
                </a:path>
              </a:pathLst>
            </a:custGeom>
            <a:solidFill>
              <a:schemeClr val="accent5"/>
            </a:solidFill>
            <a:ln w="1268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24F8CF9-87D0-4324-9BE1-7729FE8FAC00}"/>
                </a:ext>
              </a:extLst>
            </p:cNvPr>
            <p:cNvSpPr/>
            <p:nvPr/>
          </p:nvSpPr>
          <p:spPr>
            <a:xfrm>
              <a:off x="708079" y="2277598"/>
              <a:ext cx="576101" cy="703122"/>
            </a:xfrm>
            <a:custGeom>
              <a:avLst/>
              <a:gdLst>
                <a:gd name="connsiteX0" fmla="*/ 428484 w 576101"/>
                <a:gd name="connsiteY0" fmla="*/ 475825 h 703122"/>
                <a:gd name="connsiteX1" fmla="*/ 428484 w 576101"/>
                <a:gd name="connsiteY1" fmla="*/ 473918 h 703122"/>
                <a:gd name="connsiteX2" fmla="*/ 429374 w 576101"/>
                <a:gd name="connsiteY2" fmla="*/ 472520 h 703122"/>
                <a:gd name="connsiteX3" fmla="*/ 430391 w 576101"/>
                <a:gd name="connsiteY3" fmla="*/ 471121 h 703122"/>
                <a:gd name="connsiteX4" fmla="*/ 431917 w 576101"/>
                <a:gd name="connsiteY4" fmla="*/ 469977 h 703122"/>
                <a:gd name="connsiteX5" fmla="*/ 432934 w 576101"/>
                <a:gd name="connsiteY5" fmla="*/ 469214 h 703122"/>
                <a:gd name="connsiteX6" fmla="*/ 477690 w 576101"/>
                <a:gd name="connsiteY6" fmla="*/ 448874 h 703122"/>
                <a:gd name="connsiteX7" fmla="*/ 478961 w 576101"/>
                <a:gd name="connsiteY7" fmla="*/ 448874 h 703122"/>
                <a:gd name="connsiteX8" fmla="*/ 480869 w 576101"/>
                <a:gd name="connsiteY8" fmla="*/ 448874 h 703122"/>
                <a:gd name="connsiteX9" fmla="*/ 482521 w 576101"/>
                <a:gd name="connsiteY9" fmla="*/ 448874 h 703122"/>
                <a:gd name="connsiteX10" fmla="*/ 484302 w 576101"/>
                <a:gd name="connsiteY10" fmla="*/ 448874 h 703122"/>
                <a:gd name="connsiteX11" fmla="*/ 485827 w 576101"/>
                <a:gd name="connsiteY11" fmla="*/ 449764 h 703122"/>
                <a:gd name="connsiteX12" fmla="*/ 487099 w 576101"/>
                <a:gd name="connsiteY12" fmla="*/ 450527 h 703122"/>
                <a:gd name="connsiteX13" fmla="*/ 576101 w 576101"/>
                <a:gd name="connsiteY13" fmla="*/ 534683 h 703122"/>
                <a:gd name="connsiteX14" fmla="*/ 576101 w 576101"/>
                <a:gd name="connsiteY14" fmla="*/ 530488 h 703122"/>
                <a:gd name="connsiteX15" fmla="*/ 11570 w 576101"/>
                <a:gd name="connsiteY15" fmla="*/ 0 h 703122"/>
                <a:gd name="connsiteX16" fmla="*/ 2034 w 576101"/>
                <a:gd name="connsiteY16" fmla="*/ 250815 h 703122"/>
                <a:gd name="connsiteX17" fmla="*/ 0 w 576101"/>
                <a:gd name="connsiteY17" fmla="*/ 305987 h 703122"/>
                <a:gd name="connsiteX18" fmla="*/ 80230 w 576101"/>
                <a:gd name="connsiteY18" fmla="*/ 383151 h 703122"/>
                <a:gd name="connsiteX19" fmla="*/ 413862 w 576101"/>
                <a:gd name="connsiteY19" fmla="*/ 703122 h 703122"/>
                <a:gd name="connsiteX20" fmla="*/ 428103 w 576101"/>
                <a:gd name="connsiteY20" fmla="*/ 477477 h 703122"/>
                <a:gd name="connsiteX21" fmla="*/ 428484 w 576101"/>
                <a:gd name="connsiteY21" fmla="*/ 475825 h 703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6101" h="703122">
                  <a:moveTo>
                    <a:pt x="428484" y="475825"/>
                  </a:moveTo>
                  <a:cubicBezTo>
                    <a:pt x="428424" y="475189"/>
                    <a:pt x="428424" y="474554"/>
                    <a:pt x="428484" y="473918"/>
                  </a:cubicBezTo>
                  <a:lnTo>
                    <a:pt x="429374" y="472520"/>
                  </a:lnTo>
                  <a:cubicBezTo>
                    <a:pt x="429681" y="472037"/>
                    <a:pt x="430021" y="471566"/>
                    <a:pt x="430391" y="471121"/>
                  </a:cubicBezTo>
                  <a:lnTo>
                    <a:pt x="431917" y="469977"/>
                  </a:lnTo>
                  <a:lnTo>
                    <a:pt x="432934" y="469214"/>
                  </a:lnTo>
                  <a:lnTo>
                    <a:pt x="477690" y="448874"/>
                  </a:lnTo>
                  <a:lnTo>
                    <a:pt x="478961" y="448874"/>
                  </a:lnTo>
                  <a:cubicBezTo>
                    <a:pt x="479592" y="448760"/>
                    <a:pt x="480238" y="448760"/>
                    <a:pt x="480869" y="448874"/>
                  </a:cubicBezTo>
                  <a:lnTo>
                    <a:pt x="482521" y="448874"/>
                  </a:lnTo>
                  <a:lnTo>
                    <a:pt x="484302" y="448874"/>
                  </a:lnTo>
                  <a:cubicBezTo>
                    <a:pt x="484862" y="449078"/>
                    <a:pt x="485380" y="449370"/>
                    <a:pt x="485827" y="449764"/>
                  </a:cubicBezTo>
                  <a:lnTo>
                    <a:pt x="487099" y="450527"/>
                  </a:lnTo>
                  <a:lnTo>
                    <a:pt x="576101" y="534683"/>
                  </a:lnTo>
                  <a:lnTo>
                    <a:pt x="576101" y="530488"/>
                  </a:lnTo>
                  <a:lnTo>
                    <a:pt x="11570" y="0"/>
                  </a:lnTo>
                  <a:lnTo>
                    <a:pt x="2034" y="250815"/>
                  </a:lnTo>
                  <a:lnTo>
                    <a:pt x="0" y="305987"/>
                  </a:lnTo>
                  <a:lnTo>
                    <a:pt x="80230" y="383151"/>
                  </a:lnTo>
                  <a:lnTo>
                    <a:pt x="413862" y="703122"/>
                  </a:lnTo>
                  <a:lnTo>
                    <a:pt x="428103" y="477477"/>
                  </a:lnTo>
                  <a:cubicBezTo>
                    <a:pt x="428100" y="476905"/>
                    <a:pt x="428230" y="476333"/>
                    <a:pt x="428484" y="475825"/>
                  </a:cubicBezTo>
                  <a:close/>
                </a:path>
              </a:pathLst>
            </a:custGeom>
            <a:solidFill>
              <a:schemeClr val="accent1">
                <a:lumMod val="75000"/>
              </a:schemeClr>
            </a:solidFill>
            <a:ln w="1268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4E56091-288B-4D51-8CDD-906DC7C2A86D}"/>
                </a:ext>
              </a:extLst>
            </p:cNvPr>
            <p:cNvSpPr/>
            <p:nvPr/>
          </p:nvSpPr>
          <p:spPr>
            <a:xfrm>
              <a:off x="1139360" y="2765245"/>
              <a:ext cx="237891" cy="432475"/>
            </a:xfrm>
            <a:custGeom>
              <a:avLst/>
              <a:gdLst>
                <a:gd name="connsiteX0" fmla="*/ 218311 w 237891"/>
                <a:gd name="connsiteY0" fmla="*/ 431586 h 432475"/>
                <a:gd name="connsiteX1" fmla="*/ 221108 w 237891"/>
                <a:gd name="connsiteY1" fmla="*/ 431586 h 432475"/>
                <a:gd name="connsiteX2" fmla="*/ 237891 w 237891"/>
                <a:gd name="connsiteY2" fmla="*/ 211916 h 432475"/>
                <a:gd name="connsiteX3" fmla="*/ 13859 w 237891"/>
                <a:gd name="connsiteY3" fmla="*/ 0 h 432475"/>
                <a:gd name="connsiteX4" fmla="*/ 0 w 237891"/>
                <a:gd name="connsiteY4" fmla="*/ 219797 h 432475"/>
                <a:gd name="connsiteX5" fmla="*/ 0 w 237891"/>
                <a:gd name="connsiteY5" fmla="*/ 225009 h 432475"/>
                <a:gd name="connsiteX6" fmla="*/ 216149 w 237891"/>
                <a:gd name="connsiteY6" fmla="*/ 432476 h 4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891" h="432475">
                  <a:moveTo>
                    <a:pt x="218311" y="431586"/>
                  </a:moveTo>
                  <a:cubicBezTo>
                    <a:pt x="219239" y="431395"/>
                    <a:pt x="220180" y="431395"/>
                    <a:pt x="221108" y="431586"/>
                  </a:cubicBezTo>
                  <a:lnTo>
                    <a:pt x="237891" y="211916"/>
                  </a:lnTo>
                  <a:lnTo>
                    <a:pt x="13859" y="0"/>
                  </a:lnTo>
                  <a:lnTo>
                    <a:pt x="0" y="219797"/>
                  </a:lnTo>
                  <a:lnTo>
                    <a:pt x="0" y="225009"/>
                  </a:lnTo>
                  <a:lnTo>
                    <a:pt x="216149" y="432476"/>
                  </a:lnTo>
                  <a:close/>
                </a:path>
              </a:pathLst>
            </a:custGeom>
            <a:solidFill>
              <a:schemeClr val="accent3">
                <a:lumMod val="75000"/>
              </a:schemeClr>
            </a:solidFill>
            <a:ln w="1268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302F21E0-08D9-4A2F-AC9B-387974CED09B}"/>
                </a:ext>
              </a:extLst>
            </p:cNvPr>
            <p:cNvSpPr/>
            <p:nvPr/>
          </p:nvSpPr>
          <p:spPr>
            <a:xfrm>
              <a:off x="1118890" y="2994450"/>
              <a:ext cx="233695" cy="316538"/>
            </a:xfrm>
            <a:custGeom>
              <a:avLst/>
              <a:gdLst>
                <a:gd name="connsiteX0" fmla="*/ 19835 w 233695"/>
                <a:gd name="connsiteY0" fmla="*/ 0 h 316538"/>
                <a:gd name="connsiteX1" fmla="*/ 19453 w 233695"/>
                <a:gd name="connsiteY1" fmla="*/ 6356 h 316538"/>
                <a:gd name="connsiteX2" fmla="*/ 0 w 233695"/>
                <a:gd name="connsiteY2" fmla="*/ 316538 h 316538"/>
                <a:gd name="connsiteX3" fmla="*/ 233695 w 233695"/>
                <a:gd name="connsiteY3" fmla="*/ 204797 h 316538"/>
                <a:gd name="connsiteX4" fmla="*/ 19835 w 233695"/>
                <a:gd name="connsiteY4" fmla="*/ 0 h 31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95" h="316538">
                  <a:moveTo>
                    <a:pt x="19835" y="0"/>
                  </a:moveTo>
                  <a:lnTo>
                    <a:pt x="19453" y="6356"/>
                  </a:lnTo>
                  <a:lnTo>
                    <a:pt x="0" y="316538"/>
                  </a:lnTo>
                  <a:lnTo>
                    <a:pt x="233695" y="204797"/>
                  </a:lnTo>
                  <a:lnTo>
                    <a:pt x="19835" y="0"/>
                  </a:lnTo>
                  <a:close/>
                </a:path>
              </a:pathLst>
            </a:custGeom>
            <a:solidFill>
              <a:schemeClr val="accent5"/>
            </a:solidFill>
            <a:ln w="1268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77161210-83B2-412C-815A-A394F98B3528}"/>
                </a:ext>
              </a:extLst>
            </p:cNvPr>
            <p:cNvSpPr/>
            <p:nvPr/>
          </p:nvSpPr>
          <p:spPr>
            <a:xfrm>
              <a:off x="1172927" y="3581000"/>
              <a:ext cx="238018" cy="312851"/>
            </a:xfrm>
            <a:custGeom>
              <a:avLst/>
              <a:gdLst>
                <a:gd name="connsiteX0" fmla="*/ 238019 w 238018"/>
                <a:gd name="connsiteY0" fmla="*/ 0 h 312851"/>
                <a:gd name="connsiteX1" fmla="*/ 13986 w 238018"/>
                <a:gd name="connsiteY1" fmla="*/ 109708 h 312851"/>
                <a:gd name="connsiteX2" fmla="*/ 1780 w 238018"/>
                <a:gd name="connsiteY2" fmla="*/ 287046 h 312851"/>
                <a:gd name="connsiteX3" fmla="*/ 0 w 238018"/>
                <a:gd name="connsiteY3" fmla="*/ 312852 h 312851"/>
                <a:gd name="connsiteX4" fmla="*/ 221362 w 238018"/>
                <a:gd name="connsiteY4" fmla="*/ 203144 h 312851"/>
                <a:gd name="connsiteX5" fmla="*/ 221617 w 238018"/>
                <a:gd name="connsiteY5" fmla="*/ 199584 h 312851"/>
                <a:gd name="connsiteX6" fmla="*/ 238019 w 238018"/>
                <a:gd name="connsiteY6" fmla="*/ 0 h 31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8" h="312851">
                  <a:moveTo>
                    <a:pt x="238019" y="0"/>
                  </a:moveTo>
                  <a:lnTo>
                    <a:pt x="13986" y="109708"/>
                  </a:lnTo>
                  <a:lnTo>
                    <a:pt x="1780" y="287046"/>
                  </a:lnTo>
                  <a:lnTo>
                    <a:pt x="0" y="312852"/>
                  </a:lnTo>
                  <a:lnTo>
                    <a:pt x="221362" y="203144"/>
                  </a:lnTo>
                  <a:lnTo>
                    <a:pt x="221617" y="199584"/>
                  </a:lnTo>
                  <a:lnTo>
                    <a:pt x="238019" y="0"/>
                  </a:lnTo>
                  <a:close/>
                </a:path>
              </a:pathLst>
            </a:custGeom>
            <a:solidFill>
              <a:schemeClr val="accent5"/>
            </a:solidFill>
            <a:ln w="1268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7D430243-5C13-4CED-9EC2-E792460B0B38}"/>
                </a:ext>
              </a:extLst>
            </p:cNvPr>
            <p:cNvSpPr/>
            <p:nvPr/>
          </p:nvSpPr>
          <p:spPr>
            <a:xfrm>
              <a:off x="1079729" y="3473199"/>
              <a:ext cx="330708" cy="214457"/>
            </a:xfrm>
            <a:custGeom>
              <a:avLst/>
              <a:gdLst>
                <a:gd name="connsiteX0" fmla="*/ 330708 w 330708"/>
                <a:gd name="connsiteY0" fmla="*/ 104369 h 214457"/>
                <a:gd name="connsiteX1" fmla="*/ 253276 w 330708"/>
                <a:gd name="connsiteY1" fmla="*/ 28730 h 214457"/>
                <a:gd name="connsiteX2" fmla="*/ 223905 w 330708"/>
                <a:gd name="connsiteY2" fmla="*/ 0 h 214457"/>
                <a:gd name="connsiteX3" fmla="*/ 78704 w 330708"/>
                <a:gd name="connsiteY3" fmla="*/ 70427 h 214457"/>
                <a:gd name="connsiteX4" fmla="*/ 61793 w 330708"/>
                <a:gd name="connsiteY4" fmla="*/ 78562 h 214457"/>
                <a:gd name="connsiteX5" fmla="*/ 0 w 330708"/>
                <a:gd name="connsiteY5" fmla="*/ 108564 h 214457"/>
                <a:gd name="connsiteX6" fmla="*/ 0 w 330708"/>
                <a:gd name="connsiteY6" fmla="*/ 108691 h 214457"/>
                <a:gd name="connsiteX7" fmla="*/ 106040 w 330708"/>
                <a:gd name="connsiteY7" fmla="*/ 214458 h 214457"/>
                <a:gd name="connsiteX8" fmla="*/ 330708 w 330708"/>
                <a:gd name="connsiteY8" fmla="*/ 104369 h 21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708" h="214457">
                  <a:moveTo>
                    <a:pt x="330708" y="104369"/>
                  </a:moveTo>
                  <a:lnTo>
                    <a:pt x="253276" y="28730"/>
                  </a:lnTo>
                  <a:lnTo>
                    <a:pt x="223905" y="0"/>
                  </a:lnTo>
                  <a:lnTo>
                    <a:pt x="78704" y="70427"/>
                  </a:lnTo>
                  <a:lnTo>
                    <a:pt x="61793" y="78562"/>
                  </a:lnTo>
                  <a:lnTo>
                    <a:pt x="0" y="108564"/>
                  </a:lnTo>
                  <a:lnTo>
                    <a:pt x="0" y="108691"/>
                  </a:lnTo>
                  <a:lnTo>
                    <a:pt x="106040" y="214458"/>
                  </a:lnTo>
                  <a:lnTo>
                    <a:pt x="330708" y="104369"/>
                  </a:lnTo>
                  <a:close/>
                </a:path>
              </a:pathLst>
            </a:custGeom>
            <a:solidFill>
              <a:schemeClr val="accent5"/>
            </a:solidFill>
            <a:ln w="1268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FFBD86E-C9F6-47CE-9B4F-65EBED0A8A97}"/>
                </a:ext>
              </a:extLst>
            </p:cNvPr>
            <p:cNvSpPr/>
            <p:nvPr/>
          </p:nvSpPr>
          <p:spPr>
            <a:xfrm>
              <a:off x="1068285" y="3586084"/>
              <a:ext cx="115576" cy="278274"/>
            </a:xfrm>
            <a:custGeom>
              <a:avLst/>
              <a:gdLst>
                <a:gd name="connsiteX0" fmla="*/ 115576 w 115576"/>
                <a:gd name="connsiteY0" fmla="*/ 104242 h 278274"/>
                <a:gd name="connsiteX1" fmla="*/ 11189 w 115576"/>
                <a:gd name="connsiteY1" fmla="*/ 0 h 278274"/>
                <a:gd name="connsiteX2" fmla="*/ 763 w 115576"/>
                <a:gd name="connsiteY2" fmla="*/ 168439 h 278274"/>
                <a:gd name="connsiteX3" fmla="*/ 763 w 115576"/>
                <a:gd name="connsiteY3" fmla="*/ 169583 h 278274"/>
                <a:gd name="connsiteX4" fmla="*/ 763 w 115576"/>
                <a:gd name="connsiteY4" fmla="*/ 171490 h 278274"/>
                <a:gd name="connsiteX5" fmla="*/ 0 w 115576"/>
                <a:gd name="connsiteY5" fmla="*/ 172889 h 278274"/>
                <a:gd name="connsiteX6" fmla="*/ 104260 w 115576"/>
                <a:gd name="connsiteY6" fmla="*/ 278274 h 27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76" h="278274">
                  <a:moveTo>
                    <a:pt x="115576" y="104242"/>
                  </a:moveTo>
                  <a:lnTo>
                    <a:pt x="11189" y="0"/>
                  </a:lnTo>
                  <a:lnTo>
                    <a:pt x="763" y="168439"/>
                  </a:lnTo>
                  <a:cubicBezTo>
                    <a:pt x="763" y="168439"/>
                    <a:pt x="763" y="169202"/>
                    <a:pt x="763" y="169583"/>
                  </a:cubicBezTo>
                  <a:cubicBezTo>
                    <a:pt x="835" y="170219"/>
                    <a:pt x="835" y="170855"/>
                    <a:pt x="763" y="171490"/>
                  </a:cubicBezTo>
                  <a:lnTo>
                    <a:pt x="0" y="172889"/>
                  </a:lnTo>
                  <a:lnTo>
                    <a:pt x="104260" y="278274"/>
                  </a:lnTo>
                  <a:close/>
                </a:path>
              </a:pathLst>
            </a:custGeom>
            <a:solidFill>
              <a:schemeClr val="bg1">
                <a:lumMod val="95000"/>
              </a:schemeClr>
            </a:solidFill>
            <a:ln w="12685"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49AC3D9-50B9-4FA0-A042-880DE90B3510}"/>
                </a:ext>
              </a:extLst>
            </p:cNvPr>
            <p:cNvSpPr/>
            <p:nvPr/>
          </p:nvSpPr>
          <p:spPr>
            <a:xfrm>
              <a:off x="1160212" y="3889148"/>
              <a:ext cx="9408" cy="27204"/>
            </a:xfrm>
            <a:custGeom>
              <a:avLst/>
              <a:gdLst>
                <a:gd name="connsiteX0" fmla="*/ 381 w 9408"/>
                <a:gd name="connsiteY0" fmla="*/ 13475 h 27204"/>
                <a:gd name="connsiteX1" fmla="*/ 0 w 9408"/>
                <a:gd name="connsiteY1" fmla="*/ 19069 h 27204"/>
                <a:gd name="connsiteX2" fmla="*/ 8010 w 9408"/>
                <a:gd name="connsiteY2" fmla="*/ 27205 h 27204"/>
                <a:gd name="connsiteX3" fmla="*/ 9409 w 9408"/>
                <a:gd name="connsiteY3" fmla="*/ 8136 h 27204"/>
                <a:gd name="connsiteX4" fmla="*/ 1399 w 9408"/>
                <a:gd name="connsiteY4" fmla="*/ 0 h 27204"/>
                <a:gd name="connsiteX5" fmla="*/ 381 w 9408"/>
                <a:gd name="connsiteY5" fmla="*/ 13475 h 2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08" h="27204">
                  <a:moveTo>
                    <a:pt x="381" y="13475"/>
                  </a:moveTo>
                  <a:lnTo>
                    <a:pt x="0" y="19069"/>
                  </a:lnTo>
                  <a:lnTo>
                    <a:pt x="8010" y="27205"/>
                  </a:lnTo>
                  <a:lnTo>
                    <a:pt x="9409" y="8136"/>
                  </a:lnTo>
                  <a:lnTo>
                    <a:pt x="1399" y="0"/>
                  </a:lnTo>
                  <a:lnTo>
                    <a:pt x="381" y="13475"/>
                  </a:lnTo>
                  <a:close/>
                </a:path>
              </a:pathLst>
            </a:custGeom>
            <a:solidFill>
              <a:srgbClr val="F9C996"/>
            </a:solidFill>
            <a:ln w="1268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DFC7AA9B-1528-4FD5-9744-E445903EE0A0}"/>
                </a:ext>
              </a:extLst>
            </p:cNvPr>
            <p:cNvSpPr/>
            <p:nvPr/>
          </p:nvSpPr>
          <p:spPr>
            <a:xfrm>
              <a:off x="1159068" y="3912539"/>
              <a:ext cx="8900" cy="21611"/>
            </a:xfrm>
            <a:custGeom>
              <a:avLst/>
              <a:gdLst>
                <a:gd name="connsiteX0" fmla="*/ 0 w 8900"/>
                <a:gd name="connsiteY0" fmla="*/ 13475 h 21611"/>
                <a:gd name="connsiteX1" fmla="*/ 8010 w 8900"/>
                <a:gd name="connsiteY1" fmla="*/ 21611 h 21611"/>
                <a:gd name="connsiteX2" fmla="*/ 8900 w 8900"/>
                <a:gd name="connsiteY2" fmla="*/ 8136 h 21611"/>
                <a:gd name="connsiteX3" fmla="*/ 890 w 8900"/>
                <a:gd name="connsiteY3" fmla="*/ 0 h 21611"/>
                <a:gd name="connsiteX4" fmla="*/ 0 w 8900"/>
                <a:gd name="connsiteY4" fmla="*/ 13475 h 21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 h="21611">
                  <a:moveTo>
                    <a:pt x="0" y="13475"/>
                  </a:moveTo>
                  <a:lnTo>
                    <a:pt x="8010" y="21611"/>
                  </a:lnTo>
                  <a:lnTo>
                    <a:pt x="8900" y="8136"/>
                  </a:lnTo>
                  <a:lnTo>
                    <a:pt x="890" y="0"/>
                  </a:lnTo>
                  <a:lnTo>
                    <a:pt x="0" y="13475"/>
                  </a:lnTo>
                  <a:close/>
                </a:path>
              </a:pathLst>
            </a:custGeom>
            <a:solidFill>
              <a:srgbClr val="F1F2F2"/>
            </a:solidFill>
            <a:ln w="12685"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E2AA2C53-5C39-43A1-B028-068C30D967CE}"/>
                </a:ext>
              </a:extLst>
            </p:cNvPr>
            <p:cNvSpPr/>
            <p:nvPr/>
          </p:nvSpPr>
          <p:spPr>
            <a:xfrm>
              <a:off x="1061420" y="3761388"/>
              <a:ext cx="109854" cy="131573"/>
            </a:xfrm>
            <a:custGeom>
              <a:avLst/>
              <a:gdLst>
                <a:gd name="connsiteX0" fmla="*/ 98411 w 109854"/>
                <a:gd name="connsiteY0" fmla="*/ 109962 h 131573"/>
                <a:gd name="connsiteX1" fmla="*/ 99429 w 109854"/>
                <a:gd name="connsiteY1" fmla="*/ 111488 h 131573"/>
                <a:gd name="connsiteX2" fmla="*/ 100192 w 109854"/>
                <a:gd name="connsiteY2" fmla="*/ 113013 h 131573"/>
                <a:gd name="connsiteX3" fmla="*/ 100192 w 109854"/>
                <a:gd name="connsiteY3" fmla="*/ 114539 h 131573"/>
                <a:gd name="connsiteX4" fmla="*/ 100192 w 109854"/>
                <a:gd name="connsiteY4" fmla="*/ 116572 h 131573"/>
                <a:gd name="connsiteX5" fmla="*/ 100192 w 109854"/>
                <a:gd name="connsiteY5" fmla="*/ 117844 h 131573"/>
                <a:gd name="connsiteX6" fmla="*/ 100192 w 109854"/>
                <a:gd name="connsiteY6" fmla="*/ 123437 h 131573"/>
                <a:gd name="connsiteX7" fmla="*/ 108202 w 109854"/>
                <a:gd name="connsiteY7" fmla="*/ 131573 h 131573"/>
                <a:gd name="connsiteX8" fmla="*/ 109855 w 109854"/>
                <a:gd name="connsiteY8" fmla="*/ 107165 h 131573"/>
                <a:gd name="connsiteX9" fmla="*/ 3687 w 109854"/>
                <a:gd name="connsiteY9" fmla="*/ 0 h 131573"/>
                <a:gd name="connsiteX10" fmla="*/ 3687 w 109854"/>
                <a:gd name="connsiteY10" fmla="*/ 0 h 131573"/>
                <a:gd name="connsiteX11" fmla="*/ 2797 w 109854"/>
                <a:gd name="connsiteY11" fmla="*/ 763 h 131573"/>
                <a:gd name="connsiteX12" fmla="*/ 0 w 109854"/>
                <a:gd name="connsiteY12" fmla="*/ 2034 h 131573"/>
                <a:gd name="connsiteX13" fmla="*/ 0 w 109854"/>
                <a:gd name="connsiteY13" fmla="*/ 9407 h 131573"/>
                <a:gd name="connsiteX14" fmla="*/ 3814 w 109854"/>
                <a:gd name="connsiteY14" fmla="*/ 13348 h 131573"/>
                <a:gd name="connsiteX15" fmla="*/ 98157 w 109854"/>
                <a:gd name="connsiteY15" fmla="*/ 109199 h 13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54" h="131573">
                  <a:moveTo>
                    <a:pt x="98411" y="109962"/>
                  </a:moveTo>
                  <a:cubicBezTo>
                    <a:pt x="98794" y="110445"/>
                    <a:pt x="99135" y="110954"/>
                    <a:pt x="99429" y="111488"/>
                  </a:cubicBezTo>
                  <a:cubicBezTo>
                    <a:pt x="99734" y="111971"/>
                    <a:pt x="99989" y="112479"/>
                    <a:pt x="100192" y="113013"/>
                  </a:cubicBezTo>
                  <a:cubicBezTo>
                    <a:pt x="100249" y="113522"/>
                    <a:pt x="100249" y="114030"/>
                    <a:pt x="100192" y="114539"/>
                  </a:cubicBezTo>
                  <a:cubicBezTo>
                    <a:pt x="100246" y="115212"/>
                    <a:pt x="100246" y="115899"/>
                    <a:pt x="100192" y="116572"/>
                  </a:cubicBezTo>
                  <a:lnTo>
                    <a:pt x="100192" y="117844"/>
                  </a:lnTo>
                  <a:lnTo>
                    <a:pt x="100192" y="123437"/>
                  </a:lnTo>
                  <a:lnTo>
                    <a:pt x="108202" y="131573"/>
                  </a:lnTo>
                  <a:lnTo>
                    <a:pt x="109855" y="107165"/>
                  </a:lnTo>
                  <a:lnTo>
                    <a:pt x="3687" y="0"/>
                  </a:lnTo>
                  <a:lnTo>
                    <a:pt x="3687" y="0"/>
                  </a:lnTo>
                  <a:lnTo>
                    <a:pt x="2797" y="763"/>
                  </a:lnTo>
                  <a:lnTo>
                    <a:pt x="0" y="2034"/>
                  </a:lnTo>
                  <a:lnTo>
                    <a:pt x="0" y="9407"/>
                  </a:lnTo>
                  <a:lnTo>
                    <a:pt x="3814" y="13348"/>
                  </a:lnTo>
                  <a:lnTo>
                    <a:pt x="98157" y="109199"/>
                  </a:lnTo>
                  <a:close/>
                </a:path>
              </a:pathLst>
            </a:custGeom>
            <a:solidFill>
              <a:srgbClr val="088A8F"/>
            </a:solidFill>
            <a:ln w="1268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1A0843E-C4AF-4036-AA73-511BE793B37C}"/>
                </a:ext>
              </a:extLst>
            </p:cNvPr>
            <p:cNvSpPr/>
            <p:nvPr/>
          </p:nvSpPr>
          <p:spPr>
            <a:xfrm>
              <a:off x="1056079" y="3765329"/>
              <a:ext cx="1907" cy="2669"/>
            </a:xfrm>
            <a:custGeom>
              <a:avLst/>
              <a:gdLst>
                <a:gd name="connsiteX0" fmla="*/ 0 w 1907"/>
                <a:gd name="connsiteY0" fmla="*/ 890 h 2669"/>
                <a:gd name="connsiteX1" fmla="*/ 1653 w 1907"/>
                <a:gd name="connsiteY1" fmla="*/ 2669 h 2669"/>
                <a:gd name="connsiteX2" fmla="*/ 1907 w 1907"/>
                <a:gd name="connsiteY2" fmla="*/ 0 h 2669"/>
                <a:gd name="connsiteX3" fmla="*/ 0 w 1907"/>
                <a:gd name="connsiteY3" fmla="*/ 890 h 2669"/>
              </a:gdLst>
              <a:ahLst/>
              <a:cxnLst>
                <a:cxn ang="0">
                  <a:pos x="connsiteX0" y="connsiteY0"/>
                </a:cxn>
                <a:cxn ang="0">
                  <a:pos x="connsiteX1" y="connsiteY1"/>
                </a:cxn>
                <a:cxn ang="0">
                  <a:pos x="connsiteX2" y="connsiteY2"/>
                </a:cxn>
                <a:cxn ang="0">
                  <a:pos x="connsiteX3" y="connsiteY3"/>
                </a:cxn>
              </a:cxnLst>
              <a:rect l="l" t="t" r="r" b="b"/>
              <a:pathLst>
                <a:path w="1907" h="2669">
                  <a:moveTo>
                    <a:pt x="0" y="890"/>
                  </a:moveTo>
                  <a:lnTo>
                    <a:pt x="1653" y="2669"/>
                  </a:lnTo>
                  <a:lnTo>
                    <a:pt x="1907" y="0"/>
                  </a:lnTo>
                  <a:lnTo>
                    <a:pt x="0" y="890"/>
                  </a:lnTo>
                  <a:close/>
                </a:path>
              </a:pathLst>
            </a:custGeom>
            <a:solidFill>
              <a:srgbClr val="DD1013"/>
            </a:solidFill>
            <a:ln w="1268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C004722-6102-416D-B66B-FF271DDDE3AE}"/>
                </a:ext>
              </a:extLst>
            </p:cNvPr>
            <p:cNvSpPr/>
            <p:nvPr/>
          </p:nvSpPr>
          <p:spPr>
            <a:xfrm>
              <a:off x="1129824" y="3923599"/>
              <a:ext cx="552579" cy="1258907"/>
            </a:xfrm>
            <a:custGeom>
              <a:avLst/>
              <a:gdLst>
                <a:gd name="connsiteX0" fmla="*/ 39924 w 552579"/>
                <a:gd name="connsiteY0" fmla="*/ 13475 h 1258907"/>
                <a:gd name="connsiteX1" fmla="*/ 43738 w 552579"/>
                <a:gd name="connsiteY1" fmla="*/ 17416 h 1258907"/>
                <a:gd name="connsiteX2" fmla="*/ 46663 w 552579"/>
                <a:gd name="connsiteY2" fmla="*/ 20340 h 1258907"/>
                <a:gd name="connsiteX3" fmla="*/ 46663 w 552579"/>
                <a:gd name="connsiteY3" fmla="*/ 20340 h 1258907"/>
                <a:gd name="connsiteX4" fmla="*/ 47680 w 552579"/>
                <a:gd name="connsiteY4" fmla="*/ 21865 h 1258907"/>
                <a:gd name="connsiteX5" fmla="*/ 48443 w 552579"/>
                <a:gd name="connsiteY5" fmla="*/ 23391 h 1258907"/>
                <a:gd name="connsiteX6" fmla="*/ 48443 w 552579"/>
                <a:gd name="connsiteY6" fmla="*/ 25043 h 1258907"/>
                <a:gd name="connsiteX7" fmla="*/ 48443 w 552579"/>
                <a:gd name="connsiteY7" fmla="*/ 26950 h 1258907"/>
                <a:gd name="connsiteX8" fmla="*/ 48443 w 552579"/>
                <a:gd name="connsiteY8" fmla="*/ 26950 h 1258907"/>
                <a:gd name="connsiteX9" fmla="*/ 42086 w 552579"/>
                <a:gd name="connsiteY9" fmla="*/ 137675 h 1258907"/>
                <a:gd name="connsiteX10" fmla="*/ 0 w 552579"/>
                <a:gd name="connsiteY10" fmla="*/ 747234 h 1258907"/>
                <a:gd name="connsiteX11" fmla="*/ 0 w 552579"/>
                <a:gd name="connsiteY11" fmla="*/ 753082 h 1258907"/>
                <a:gd name="connsiteX12" fmla="*/ 476291 w 552579"/>
                <a:gd name="connsiteY12" fmla="*/ 1258908 h 1258907"/>
                <a:gd name="connsiteX13" fmla="*/ 552579 w 552579"/>
                <a:gd name="connsiteY13" fmla="*/ 517394 h 1258907"/>
                <a:gd name="connsiteX14" fmla="*/ 41068 w 552579"/>
                <a:gd name="connsiteY14" fmla="*/ 0 h 125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579" h="1258907">
                  <a:moveTo>
                    <a:pt x="39924" y="13475"/>
                  </a:moveTo>
                  <a:lnTo>
                    <a:pt x="43738" y="17416"/>
                  </a:lnTo>
                  <a:lnTo>
                    <a:pt x="46663" y="20340"/>
                  </a:lnTo>
                  <a:lnTo>
                    <a:pt x="46663" y="20340"/>
                  </a:lnTo>
                  <a:lnTo>
                    <a:pt x="47680" y="21865"/>
                  </a:lnTo>
                  <a:cubicBezTo>
                    <a:pt x="47985" y="22348"/>
                    <a:pt x="48241" y="22857"/>
                    <a:pt x="48443" y="23391"/>
                  </a:cubicBezTo>
                  <a:cubicBezTo>
                    <a:pt x="48515" y="23937"/>
                    <a:pt x="48515" y="24496"/>
                    <a:pt x="48443" y="25043"/>
                  </a:cubicBezTo>
                  <a:cubicBezTo>
                    <a:pt x="48570" y="25679"/>
                    <a:pt x="48570" y="26327"/>
                    <a:pt x="48443" y="26950"/>
                  </a:cubicBezTo>
                  <a:cubicBezTo>
                    <a:pt x="48443" y="26950"/>
                    <a:pt x="48443" y="26950"/>
                    <a:pt x="48443" y="26950"/>
                  </a:cubicBezTo>
                  <a:lnTo>
                    <a:pt x="42086" y="137675"/>
                  </a:lnTo>
                  <a:lnTo>
                    <a:pt x="0" y="747234"/>
                  </a:lnTo>
                  <a:lnTo>
                    <a:pt x="0" y="753082"/>
                  </a:lnTo>
                  <a:lnTo>
                    <a:pt x="476291" y="1258908"/>
                  </a:lnTo>
                  <a:lnTo>
                    <a:pt x="552579" y="517394"/>
                  </a:lnTo>
                  <a:lnTo>
                    <a:pt x="41068" y="0"/>
                  </a:lnTo>
                  <a:close/>
                </a:path>
              </a:pathLst>
            </a:custGeom>
            <a:solidFill>
              <a:schemeClr val="accent3"/>
            </a:solidFill>
            <a:ln w="1268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A547F91-8FF4-4108-875A-279DB1C35172}"/>
                </a:ext>
              </a:extLst>
            </p:cNvPr>
            <p:cNvSpPr/>
            <p:nvPr/>
          </p:nvSpPr>
          <p:spPr>
            <a:xfrm>
              <a:off x="3305" y="6359928"/>
              <a:ext cx="1888763" cy="504173"/>
            </a:xfrm>
            <a:custGeom>
              <a:avLst/>
              <a:gdLst>
                <a:gd name="connsiteX0" fmla="*/ 1679353 w 1888763"/>
                <a:gd name="connsiteY0" fmla="*/ 0 h 504173"/>
                <a:gd name="connsiteX1" fmla="*/ 1455066 w 1888763"/>
                <a:gd name="connsiteY1" fmla="*/ 130048 h 504173"/>
                <a:gd name="connsiteX2" fmla="*/ 1076169 w 1888763"/>
                <a:gd name="connsiteY2" fmla="*/ 349463 h 504173"/>
                <a:gd name="connsiteX3" fmla="*/ 1076169 w 1888763"/>
                <a:gd name="connsiteY3" fmla="*/ 349463 h 504173"/>
                <a:gd name="connsiteX4" fmla="*/ 1076169 w 1888763"/>
                <a:gd name="connsiteY4" fmla="*/ 349463 h 504173"/>
                <a:gd name="connsiteX5" fmla="*/ 1076169 w 1888763"/>
                <a:gd name="connsiteY5" fmla="*/ 349463 h 504173"/>
                <a:gd name="connsiteX6" fmla="*/ 1076169 w 1888763"/>
                <a:gd name="connsiteY6" fmla="*/ 349463 h 504173"/>
                <a:gd name="connsiteX7" fmla="*/ 1076169 w 1888763"/>
                <a:gd name="connsiteY7" fmla="*/ 349463 h 504173"/>
                <a:gd name="connsiteX8" fmla="*/ 817807 w 1888763"/>
                <a:gd name="connsiteY8" fmla="*/ 41823 h 504173"/>
                <a:gd name="connsiteX9" fmla="*/ 817807 w 1888763"/>
                <a:gd name="connsiteY9" fmla="*/ 41823 h 504173"/>
                <a:gd name="connsiteX10" fmla="*/ 0 w 1888763"/>
                <a:gd name="connsiteY10" fmla="*/ 502394 h 504173"/>
                <a:gd name="connsiteX11" fmla="*/ 0 w 1888763"/>
                <a:gd name="connsiteY11" fmla="*/ 504173 h 504173"/>
                <a:gd name="connsiteX12" fmla="*/ 1434850 w 1888763"/>
                <a:gd name="connsiteY12" fmla="*/ 504173 h 504173"/>
                <a:gd name="connsiteX13" fmla="*/ 1888763 w 1888763"/>
                <a:gd name="connsiteY13" fmla="*/ 236196 h 50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88763" h="504173">
                  <a:moveTo>
                    <a:pt x="1679353" y="0"/>
                  </a:moveTo>
                  <a:lnTo>
                    <a:pt x="1455066" y="130048"/>
                  </a:lnTo>
                  <a:lnTo>
                    <a:pt x="1076169" y="349463"/>
                  </a:lnTo>
                  <a:lnTo>
                    <a:pt x="1076169" y="349463"/>
                  </a:lnTo>
                  <a:cubicBezTo>
                    <a:pt x="1076169" y="349463"/>
                    <a:pt x="1076169" y="349463"/>
                    <a:pt x="1076169" y="349463"/>
                  </a:cubicBezTo>
                  <a:lnTo>
                    <a:pt x="1076169" y="349463"/>
                  </a:lnTo>
                  <a:lnTo>
                    <a:pt x="1076169" y="349463"/>
                  </a:lnTo>
                  <a:lnTo>
                    <a:pt x="1076169" y="349463"/>
                  </a:lnTo>
                  <a:lnTo>
                    <a:pt x="817807" y="41823"/>
                  </a:lnTo>
                  <a:lnTo>
                    <a:pt x="817807" y="41823"/>
                  </a:lnTo>
                  <a:lnTo>
                    <a:pt x="0" y="502394"/>
                  </a:lnTo>
                  <a:lnTo>
                    <a:pt x="0" y="504173"/>
                  </a:lnTo>
                  <a:lnTo>
                    <a:pt x="1434850" y="504173"/>
                  </a:lnTo>
                  <a:lnTo>
                    <a:pt x="1888763" y="236196"/>
                  </a:lnTo>
                  <a:close/>
                </a:path>
              </a:pathLst>
            </a:custGeom>
            <a:solidFill>
              <a:schemeClr val="accent2">
                <a:lumMod val="75000"/>
              </a:schemeClr>
            </a:solidFill>
            <a:ln w="1268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02392E6-C91F-4CB0-9805-4059A5A2D514}"/>
                </a:ext>
              </a:extLst>
            </p:cNvPr>
            <p:cNvSpPr/>
            <p:nvPr/>
          </p:nvSpPr>
          <p:spPr>
            <a:xfrm>
              <a:off x="3305" y="6265983"/>
              <a:ext cx="824545" cy="596338"/>
            </a:xfrm>
            <a:custGeom>
              <a:avLst/>
              <a:gdLst>
                <a:gd name="connsiteX0" fmla="*/ 816027 w 824545"/>
                <a:gd name="connsiteY0" fmla="*/ 133099 h 596338"/>
                <a:gd name="connsiteX1" fmla="*/ 817044 w 824545"/>
                <a:gd name="connsiteY1" fmla="*/ 133099 h 596338"/>
                <a:gd name="connsiteX2" fmla="*/ 824546 w 824545"/>
                <a:gd name="connsiteY2" fmla="*/ 0 h 596338"/>
                <a:gd name="connsiteX3" fmla="*/ 740629 w 824545"/>
                <a:gd name="connsiteY3" fmla="*/ 47036 h 596338"/>
                <a:gd name="connsiteX4" fmla="*/ 0 w 824545"/>
                <a:gd name="connsiteY4" fmla="*/ 462350 h 596338"/>
                <a:gd name="connsiteX5" fmla="*/ 0 w 824545"/>
                <a:gd name="connsiteY5" fmla="*/ 596338 h 596338"/>
                <a:gd name="connsiteX6" fmla="*/ 815646 w 824545"/>
                <a:gd name="connsiteY6" fmla="*/ 135006 h 596338"/>
                <a:gd name="connsiteX7" fmla="*/ 816027 w 824545"/>
                <a:gd name="connsiteY7" fmla="*/ 133099 h 5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545" h="596338">
                  <a:moveTo>
                    <a:pt x="816027" y="133099"/>
                  </a:moveTo>
                  <a:cubicBezTo>
                    <a:pt x="816348" y="132933"/>
                    <a:pt x="816724" y="132933"/>
                    <a:pt x="817044" y="133099"/>
                  </a:cubicBezTo>
                  <a:lnTo>
                    <a:pt x="824546" y="0"/>
                  </a:lnTo>
                  <a:lnTo>
                    <a:pt x="740629" y="47036"/>
                  </a:lnTo>
                  <a:lnTo>
                    <a:pt x="0" y="462350"/>
                  </a:lnTo>
                  <a:lnTo>
                    <a:pt x="0" y="596338"/>
                  </a:lnTo>
                  <a:lnTo>
                    <a:pt x="815646" y="135006"/>
                  </a:lnTo>
                  <a:cubicBezTo>
                    <a:pt x="815298" y="134357"/>
                    <a:pt x="815459" y="133557"/>
                    <a:pt x="816027" y="133099"/>
                  </a:cubicBezTo>
                  <a:close/>
                </a:path>
              </a:pathLst>
            </a:custGeom>
            <a:solidFill>
              <a:schemeClr val="bg1">
                <a:lumMod val="95000"/>
              </a:schemeClr>
            </a:solidFill>
            <a:ln w="1268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EB471E3-4FD2-4CDC-9C59-D6DC8BCCAD60}"/>
                </a:ext>
              </a:extLst>
            </p:cNvPr>
            <p:cNvSpPr/>
            <p:nvPr/>
          </p:nvSpPr>
          <p:spPr>
            <a:xfrm>
              <a:off x="639166" y="5788761"/>
              <a:ext cx="484301" cy="915164"/>
            </a:xfrm>
            <a:custGeom>
              <a:avLst/>
              <a:gdLst>
                <a:gd name="connsiteX0" fmla="*/ 438274 w 484301"/>
                <a:gd name="connsiteY0" fmla="*/ 915165 h 915164"/>
                <a:gd name="connsiteX1" fmla="*/ 484302 w 484301"/>
                <a:gd name="connsiteY1" fmla="*/ 306496 h 915164"/>
                <a:gd name="connsiteX2" fmla="*/ 217294 w 484301"/>
                <a:gd name="connsiteY2" fmla="*/ 0 h 915164"/>
                <a:gd name="connsiteX3" fmla="*/ 217294 w 484301"/>
                <a:gd name="connsiteY3" fmla="*/ 0 h 915164"/>
                <a:gd name="connsiteX4" fmla="*/ 15639 w 484301"/>
                <a:gd name="connsiteY4" fmla="*/ 111233 h 915164"/>
                <a:gd name="connsiteX5" fmla="*/ 12715 w 484301"/>
                <a:gd name="connsiteY5" fmla="*/ 112886 h 915164"/>
                <a:gd name="connsiteX6" fmla="*/ 0 w 484301"/>
                <a:gd name="connsiteY6" fmla="*/ 393957 h 915164"/>
                <a:gd name="connsiteX7" fmla="*/ 95360 w 484301"/>
                <a:gd name="connsiteY7" fmla="*/ 507606 h 915164"/>
                <a:gd name="connsiteX8" fmla="*/ 95360 w 484301"/>
                <a:gd name="connsiteY8" fmla="*/ 507606 h 915164"/>
                <a:gd name="connsiteX9" fmla="*/ 184363 w 484301"/>
                <a:gd name="connsiteY9" fmla="*/ 457900 h 915164"/>
                <a:gd name="connsiteX10" fmla="*/ 195941 w 484301"/>
                <a:gd name="connsiteY10" fmla="*/ 461231 h 915164"/>
                <a:gd name="connsiteX11" fmla="*/ 196187 w 484301"/>
                <a:gd name="connsiteY11" fmla="*/ 461714 h 915164"/>
                <a:gd name="connsiteX12" fmla="*/ 192627 w 484301"/>
                <a:gd name="connsiteY12" fmla="*/ 474426 h 915164"/>
                <a:gd name="connsiteX13" fmla="*/ 187796 w 484301"/>
                <a:gd name="connsiteY13" fmla="*/ 477096 h 915164"/>
                <a:gd name="connsiteX14" fmla="*/ 180294 w 484301"/>
                <a:gd name="connsiteY14" fmla="*/ 610195 h 915164"/>
                <a:gd name="connsiteX15" fmla="*/ 181438 w 484301"/>
                <a:gd name="connsiteY15" fmla="*/ 610830 h 9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4301" h="915164">
                  <a:moveTo>
                    <a:pt x="438274" y="915165"/>
                  </a:moveTo>
                  <a:lnTo>
                    <a:pt x="484302" y="306496"/>
                  </a:lnTo>
                  <a:lnTo>
                    <a:pt x="217294" y="0"/>
                  </a:lnTo>
                  <a:lnTo>
                    <a:pt x="217294" y="0"/>
                  </a:lnTo>
                  <a:lnTo>
                    <a:pt x="15639" y="111233"/>
                  </a:lnTo>
                  <a:lnTo>
                    <a:pt x="12715" y="112886"/>
                  </a:lnTo>
                  <a:lnTo>
                    <a:pt x="0" y="393957"/>
                  </a:lnTo>
                  <a:lnTo>
                    <a:pt x="95360" y="507606"/>
                  </a:lnTo>
                  <a:lnTo>
                    <a:pt x="95360" y="507606"/>
                  </a:lnTo>
                  <a:lnTo>
                    <a:pt x="184363" y="457900"/>
                  </a:lnTo>
                  <a:cubicBezTo>
                    <a:pt x="188480" y="455624"/>
                    <a:pt x="193663" y="457112"/>
                    <a:pt x="195941" y="461231"/>
                  </a:cubicBezTo>
                  <a:cubicBezTo>
                    <a:pt x="196027" y="461396"/>
                    <a:pt x="196110" y="461548"/>
                    <a:pt x="196187" y="461714"/>
                  </a:cubicBezTo>
                  <a:cubicBezTo>
                    <a:pt x="198673" y="466214"/>
                    <a:pt x="197087" y="471871"/>
                    <a:pt x="192627" y="474426"/>
                  </a:cubicBezTo>
                  <a:lnTo>
                    <a:pt x="187796" y="477096"/>
                  </a:lnTo>
                  <a:lnTo>
                    <a:pt x="180294" y="610195"/>
                  </a:lnTo>
                  <a:cubicBezTo>
                    <a:pt x="180747" y="610246"/>
                    <a:pt x="181161" y="610474"/>
                    <a:pt x="181438" y="610830"/>
                  </a:cubicBezTo>
                  <a:close/>
                </a:path>
              </a:pathLst>
            </a:custGeom>
            <a:solidFill>
              <a:schemeClr val="accent3">
                <a:lumMod val="75000"/>
              </a:schemeClr>
            </a:solidFill>
            <a:ln w="1268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376E2047-689B-43E5-BAC6-C76468FC292F}"/>
                </a:ext>
              </a:extLst>
            </p:cNvPr>
            <p:cNvSpPr/>
            <p:nvPr/>
          </p:nvSpPr>
          <p:spPr>
            <a:xfrm>
              <a:off x="3305" y="6185387"/>
              <a:ext cx="729058" cy="521843"/>
            </a:xfrm>
            <a:custGeom>
              <a:avLst/>
              <a:gdLst>
                <a:gd name="connsiteX0" fmla="*/ 634462 w 729058"/>
                <a:gd name="connsiteY0" fmla="*/ 0 h 521843"/>
                <a:gd name="connsiteX1" fmla="*/ 0 w 729058"/>
                <a:gd name="connsiteY1" fmla="*/ 352769 h 521843"/>
                <a:gd name="connsiteX2" fmla="*/ 0 w 729058"/>
                <a:gd name="connsiteY2" fmla="*/ 521844 h 521843"/>
                <a:gd name="connsiteX3" fmla="*/ 729059 w 729058"/>
                <a:gd name="connsiteY3" fmla="*/ 112632 h 521843"/>
                <a:gd name="connsiteX4" fmla="*/ 634462 w 729058"/>
                <a:gd name="connsiteY4" fmla="*/ 0 h 52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058" h="521843">
                  <a:moveTo>
                    <a:pt x="634462" y="0"/>
                  </a:moveTo>
                  <a:lnTo>
                    <a:pt x="0" y="352769"/>
                  </a:lnTo>
                  <a:lnTo>
                    <a:pt x="0" y="521844"/>
                  </a:lnTo>
                  <a:lnTo>
                    <a:pt x="729059" y="112632"/>
                  </a:lnTo>
                  <a:lnTo>
                    <a:pt x="634462" y="0"/>
                  </a:lnTo>
                  <a:close/>
                </a:path>
              </a:pathLst>
            </a:custGeom>
            <a:solidFill>
              <a:schemeClr val="accent1"/>
            </a:solidFill>
            <a:ln w="1268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A3EFDAF8-309F-44D0-86AF-258E2678C795}"/>
                </a:ext>
              </a:extLst>
            </p:cNvPr>
            <p:cNvSpPr/>
            <p:nvPr/>
          </p:nvSpPr>
          <p:spPr>
            <a:xfrm>
              <a:off x="3305" y="5903426"/>
              <a:ext cx="645396" cy="631042"/>
            </a:xfrm>
            <a:custGeom>
              <a:avLst/>
              <a:gdLst>
                <a:gd name="connsiteX0" fmla="*/ 645396 w 645396"/>
                <a:gd name="connsiteY0" fmla="*/ 0 h 631042"/>
                <a:gd name="connsiteX1" fmla="*/ 0 w 645396"/>
                <a:gd name="connsiteY1" fmla="*/ 353404 h 631042"/>
                <a:gd name="connsiteX2" fmla="*/ 0 w 645396"/>
                <a:gd name="connsiteY2" fmla="*/ 631043 h 631042"/>
                <a:gd name="connsiteX3" fmla="*/ 633317 w 645396"/>
                <a:gd name="connsiteY3" fmla="*/ 278910 h 631042"/>
                <a:gd name="connsiteX4" fmla="*/ 645396 w 645396"/>
                <a:gd name="connsiteY4" fmla="*/ 0 h 631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96" h="631042">
                  <a:moveTo>
                    <a:pt x="645396" y="0"/>
                  </a:moveTo>
                  <a:lnTo>
                    <a:pt x="0" y="353404"/>
                  </a:lnTo>
                  <a:lnTo>
                    <a:pt x="0" y="631043"/>
                  </a:lnTo>
                  <a:lnTo>
                    <a:pt x="633317" y="278910"/>
                  </a:lnTo>
                  <a:lnTo>
                    <a:pt x="645396" y="0"/>
                  </a:lnTo>
                  <a:close/>
                </a:path>
              </a:pathLst>
            </a:custGeom>
            <a:solidFill>
              <a:schemeClr val="accent2"/>
            </a:solidFill>
            <a:ln w="1268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6B0ECD09-A940-46F6-AFFD-4E8B27BD9689}"/>
                </a:ext>
              </a:extLst>
            </p:cNvPr>
            <p:cNvSpPr/>
            <p:nvPr/>
          </p:nvSpPr>
          <p:spPr>
            <a:xfrm>
              <a:off x="716216" y="4680621"/>
              <a:ext cx="888119" cy="736555"/>
            </a:xfrm>
            <a:custGeom>
              <a:avLst/>
              <a:gdLst>
                <a:gd name="connsiteX0" fmla="*/ 412972 w 888119"/>
                <a:gd name="connsiteY0" fmla="*/ 0 h 736555"/>
                <a:gd name="connsiteX1" fmla="*/ 411701 w 888119"/>
                <a:gd name="connsiteY1" fmla="*/ 17543 h 736555"/>
                <a:gd name="connsiteX2" fmla="*/ 402442 w 888119"/>
                <a:gd name="connsiteY2" fmla="*/ 26073 h 736555"/>
                <a:gd name="connsiteX3" fmla="*/ 402292 w 888119"/>
                <a:gd name="connsiteY3" fmla="*/ 26060 h 736555"/>
                <a:gd name="connsiteX4" fmla="*/ 395935 w 888119"/>
                <a:gd name="connsiteY4" fmla="*/ 22247 h 736555"/>
                <a:gd name="connsiteX5" fmla="*/ 0 w 888119"/>
                <a:gd name="connsiteY5" fmla="*/ 227933 h 736555"/>
                <a:gd name="connsiteX6" fmla="*/ 66752 w 888119"/>
                <a:gd name="connsiteY6" fmla="*/ 301792 h 736555"/>
                <a:gd name="connsiteX7" fmla="*/ 175208 w 888119"/>
                <a:gd name="connsiteY7" fmla="*/ 421543 h 736555"/>
                <a:gd name="connsiteX8" fmla="*/ 460398 w 888119"/>
                <a:gd name="connsiteY8" fmla="*/ 736556 h 736555"/>
                <a:gd name="connsiteX9" fmla="*/ 888119 w 888119"/>
                <a:gd name="connsiteY9" fmla="*/ 504682 h 73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8119" h="736555">
                  <a:moveTo>
                    <a:pt x="412972" y="0"/>
                  </a:moveTo>
                  <a:lnTo>
                    <a:pt x="411701" y="17543"/>
                  </a:lnTo>
                  <a:cubicBezTo>
                    <a:pt x="411499" y="22450"/>
                    <a:pt x="407352" y="26264"/>
                    <a:pt x="402442" y="26073"/>
                  </a:cubicBezTo>
                  <a:cubicBezTo>
                    <a:pt x="402391" y="26060"/>
                    <a:pt x="402342" y="26060"/>
                    <a:pt x="402292" y="26060"/>
                  </a:cubicBezTo>
                  <a:cubicBezTo>
                    <a:pt x="399689" y="25870"/>
                    <a:pt x="397332" y="24446"/>
                    <a:pt x="395935" y="22247"/>
                  </a:cubicBezTo>
                  <a:lnTo>
                    <a:pt x="0" y="227933"/>
                  </a:lnTo>
                  <a:lnTo>
                    <a:pt x="66752" y="301792"/>
                  </a:lnTo>
                  <a:lnTo>
                    <a:pt x="175208" y="421543"/>
                  </a:lnTo>
                  <a:lnTo>
                    <a:pt x="460398" y="736556"/>
                  </a:lnTo>
                  <a:lnTo>
                    <a:pt x="888119" y="504682"/>
                  </a:lnTo>
                  <a:close/>
                </a:path>
              </a:pathLst>
            </a:custGeom>
            <a:solidFill>
              <a:schemeClr val="accent1">
                <a:lumMod val="75000"/>
              </a:schemeClr>
            </a:solidFill>
            <a:ln w="1268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7E3D12CC-3FAF-419F-B07B-B90BF49FFA86}"/>
                </a:ext>
              </a:extLst>
            </p:cNvPr>
            <p:cNvSpPr/>
            <p:nvPr/>
          </p:nvSpPr>
          <p:spPr>
            <a:xfrm>
              <a:off x="715199" y="4066867"/>
              <a:ext cx="438528" cy="838509"/>
            </a:xfrm>
            <a:custGeom>
              <a:avLst/>
              <a:gdLst>
                <a:gd name="connsiteX0" fmla="*/ 395172 w 438528"/>
                <a:gd name="connsiteY0" fmla="*/ 630026 h 838509"/>
                <a:gd name="connsiteX1" fmla="*/ 397079 w 438528"/>
                <a:gd name="connsiteY1" fmla="*/ 602313 h 838509"/>
                <a:gd name="connsiteX2" fmla="*/ 438529 w 438528"/>
                <a:gd name="connsiteY2" fmla="*/ 0 h 838509"/>
                <a:gd name="connsiteX3" fmla="*/ 28227 w 438528"/>
                <a:gd name="connsiteY3" fmla="*/ 205432 h 838509"/>
                <a:gd name="connsiteX4" fmla="*/ 0 w 438528"/>
                <a:gd name="connsiteY4" fmla="*/ 838509 h 838509"/>
                <a:gd name="connsiteX5" fmla="*/ 395553 w 438528"/>
                <a:gd name="connsiteY5" fmla="*/ 633077 h 838509"/>
                <a:gd name="connsiteX6" fmla="*/ 395172 w 438528"/>
                <a:gd name="connsiteY6" fmla="*/ 630026 h 83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528" h="838509">
                  <a:moveTo>
                    <a:pt x="395172" y="630026"/>
                  </a:moveTo>
                  <a:lnTo>
                    <a:pt x="397079" y="602313"/>
                  </a:lnTo>
                  <a:lnTo>
                    <a:pt x="438529" y="0"/>
                  </a:lnTo>
                  <a:lnTo>
                    <a:pt x="28227" y="205432"/>
                  </a:lnTo>
                  <a:lnTo>
                    <a:pt x="0" y="838509"/>
                  </a:lnTo>
                  <a:lnTo>
                    <a:pt x="395553" y="633077"/>
                  </a:lnTo>
                  <a:cubicBezTo>
                    <a:pt x="395247" y="632085"/>
                    <a:pt x="395118" y="631056"/>
                    <a:pt x="395172" y="630026"/>
                  </a:cubicBezTo>
                  <a:close/>
                </a:path>
              </a:pathLst>
            </a:custGeom>
            <a:solidFill>
              <a:schemeClr val="accent3"/>
            </a:solidFill>
            <a:ln w="1268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E092CBB0-AC44-48D1-9280-C5665CA663A0}"/>
                </a:ext>
              </a:extLst>
            </p:cNvPr>
            <p:cNvSpPr/>
            <p:nvPr/>
          </p:nvSpPr>
          <p:spPr>
            <a:xfrm>
              <a:off x="1592892" y="3073521"/>
              <a:ext cx="230008" cy="625957"/>
            </a:xfrm>
            <a:custGeom>
              <a:avLst/>
              <a:gdLst>
                <a:gd name="connsiteX0" fmla="*/ 207122 w 230008"/>
                <a:gd name="connsiteY0" fmla="*/ 223484 h 625957"/>
                <a:gd name="connsiteX1" fmla="*/ 230008 w 230008"/>
                <a:gd name="connsiteY1" fmla="*/ 0 h 625957"/>
                <a:gd name="connsiteX2" fmla="*/ 49714 w 230008"/>
                <a:gd name="connsiteY2" fmla="*/ 86698 h 625957"/>
                <a:gd name="connsiteX3" fmla="*/ 28608 w 230008"/>
                <a:gd name="connsiteY3" fmla="*/ 315521 h 625957"/>
                <a:gd name="connsiteX4" fmla="*/ 0 w 230008"/>
                <a:gd name="connsiteY4" fmla="*/ 625958 h 625957"/>
                <a:gd name="connsiteX5" fmla="*/ 174827 w 230008"/>
                <a:gd name="connsiteY5" fmla="*/ 539133 h 625957"/>
                <a:gd name="connsiteX6" fmla="*/ 201019 w 230008"/>
                <a:gd name="connsiteY6" fmla="*/ 283740 h 625957"/>
                <a:gd name="connsiteX7" fmla="*/ 207122 w 230008"/>
                <a:gd name="connsiteY7" fmla="*/ 223484 h 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08" h="625957">
                  <a:moveTo>
                    <a:pt x="207122" y="223484"/>
                  </a:moveTo>
                  <a:lnTo>
                    <a:pt x="230008" y="0"/>
                  </a:lnTo>
                  <a:lnTo>
                    <a:pt x="49714" y="86698"/>
                  </a:lnTo>
                  <a:lnTo>
                    <a:pt x="28608" y="315521"/>
                  </a:lnTo>
                  <a:lnTo>
                    <a:pt x="0" y="625958"/>
                  </a:lnTo>
                  <a:lnTo>
                    <a:pt x="174827" y="539133"/>
                  </a:lnTo>
                  <a:lnTo>
                    <a:pt x="201019" y="283740"/>
                  </a:lnTo>
                  <a:lnTo>
                    <a:pt x="207122" y="223484"/>
                  </a:lnTo>
                  <a:close/>
                </a:path>
              </a:pathLst>
            </a:custGeom>
            <a:solidFill>
              <a:schemeClr val="bg1">
                <a:lumMod val="95000"/>
              </a:schemeClr>
            </a:solidFill>
            <a:ln w="1268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1DCE9AB-3AE5-4FE1-AF89-0FD73F87907F}"/>
                </a:ext>
              </a:extLst>
            </p:cNvPr>
            <p:cNvSpPr/>
            <p:nvPr/>
          </p:nvSpPr>
          <p:spPr>
            <a:xfrm>
              <a:off x="1549281" y="3391585"/>
              <a:ext cx="68913" cy="329505"/>
            </a:xfrm>
            <a:custGeom>
              <a:avLst/>
              <a:gdLst>
                <a:gd name="connsiteX0" fmla="*/ 68913 w 68913"/>
                <a:gd name="connsiteY0" fmla="*/ 0 h 329505"/>
                <a:gd name="connsiteX1" fmla="*/ 27718 w 68913"/>
                <a:gd name="connsiteY1" fmla="*/ 20085 h 329505"/>
                <a:gd name="connsiteX2" fmla="*/ 0 w 68913"/>
                <a:gd name="connsiteY2" fmla="*/ 329505 h 329505"/>
                <a:gd name="connsiteX3" fmla="*/ 37254 w 68913"/>
                <a:gd name="connsiteY3" fmla="*/ 311072 h 329505"/>
                <a:gd name="connsiteX4" fmla="*/ 40305 w 68913"/>
                <a:gd name="connsiteY4" fmla="*/ 309420 h 329505"/>
                <a:gd name="connsiteX5" fmla="*/ 68913 w 68913"/>
                <a:gd name="connsiteY5" fmla="*/ 0 h 32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13" h="329505">
                  <a:moveTo>
                    <a:pt x="68913" y="0"/>
                  </a:moveTo>
                  <a:lnTo>
                    <a:pt x="27718" y="20085"/>
                  </a:lnTo>
                  <a:lnTo>
                    <a:pt x="0" y="329505"/>
                  </a:lnTo>
                  <a:lnTo>
                    <a:pt x="37254" y="311072"/>
                  </a:lnTo>
                  <a:lnTo>
                    <a:pt x="40305" y="309420"/>
                  </a:lnTo>
                  <a:lnTo>
                    <a:pt x="68913" y="0"/>
                  </a:lnTo>
                  <a:close/>
                </a:path>
              </a:pathLst>
            </a:custGeom>
            <a:solidFill>
              <a:srgbClr val="F9C996"/>
            </a:solidFill>
            <a:ln w="1268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D0C87BD1-ED86-4981-9484-4411ACD595C1}"/>
                </a:ext>
              </a:extLst>
            </p:cNvPr>
            <p:cNvSpPr/>
            <p:nvPr/>
          </p:nvSpPr>
          <p:spPr>
            <a:xfrm>
              <a:off x="1984377" y="4791982"/>
              <a:ext cx="591740" cy="407050"/>
            </a:xfrm>
            <a:custGeom>
              <a:avLst/>
              <a:gdLst>
                <a:gd name="connsiteX0" fmla="*/ 0 w 591740"/>
                <a:gd name="connsiteY0" fmla="*/ 407051 h 407050"/>
                <a:gd name="connsiteX1" fmla="*/ 578008 w 591740"/>
                <a:gd name="connsiteY1" fmla="*/ 89876 h 407050"/>
                <a:gd name="connsiteX2" fmla="*/ 578008 w 591740"/>
                <a:gd name="connsiteY2" fmla="*/ 85554 h 407050"/>
                <a:gd name="connsiteX3" fmla="*/ 591740 w 591740"/>
                <a:gd name="connsiteY3" fmla="*/ 0 h 407050"/>
                <a:gd name="connsiteX4" fmla="*/ 11825 w 591740"/>
                <a:gd name="connsiteY4" fmla="*/ 316793 h 40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740" h="407050">
                  <a:moveTo>
                    <a:pt x="0" y="407051"/>
                  </a:moveTo>
                  <a:lnTo>
                    <a:pt x="578008" y="89876"/>
                  </a:lnTo>
                  <a:cubicBezTo>
                    <a:pt x="577691" y="88453"/>
                    <a:pt x="577691" y="86978"/>
                    <a:pt x="578008" y="85554"/>
                  </a:cubicBezTo>
                  <a:lnTo>
                    <a:pt x="591740" y="0"/>
                  </a:lnTo>
                  <a:lnTo>
                    <a:pt x="11825" y="316793"/>
                  </a:lnTo>
                  <a:close/>
                </a:path>
              </a:pathLst>
            </a:custGeom>
            <a:solidFill>
              <a:schemeClr val="accent4"/>
            </a:solidFill>
            <a:ln w="1268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FD38E768-0F14-47A8-AA86-B50F74E1C32A}"/>
                </a:ext>
              </a:extLst>
            </p:cNvPr>
            <p:cNvSpPr/>
            <p:nvPr/>
          </p:nvSpPr>
          <p:spPr>
            <a:xfrm>
              <a:off x="1842354" y="4963726"/>
              <a:ext cx="150287" cy="234797"/>
            </a:xfrm>
            <a:custGeom>
              <a:avLst/>
              <a:gdLst>
                <a:gd name="connsiteX0" fmla="*/ 138971 w 150287"/>
                <a:gd name="connsiteY0" fmla="*/ 234798 h 234797"/>
                <a:gd name="connsiteX1" fmla="*/ 150287 w 150287"/>
                <a:gd name="connsiteY1" fmla="*/ 144540 h 234797"/>
                <a:gd name="connsiteX2" fmla="*/ 10426 w 150287"/>
                <a:gd name="connsiteY2" fmla="*/ 0 h 234797"/>
                <a:gd name="connsiteX3" fmla="*/ 509 w 150287"/>
                <a:gd name="connsiteY3" fmla="*/ 85173 h 234797"/>
                <a:gd name="connsiteX4" fmla="*/ 0 w 150287"/>
                <a:gd name="connsiteY4" fmla="*/ 90258 h 234797"/>
                <a:gd name="connsiteX5" fmla="*/ 138971 w 150287"/>
                <a:gd name="connsiteY5" fmla="*/ 234798 h 2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287" h="234797">
                  <a:moveTo>
                    <a:pt x="138971" y="234798"/>
                  </a:moveTo>
                  <a:lnTo>
                    <a:pt x="150287" y="144540"/>
                  </a:lnTo>
                  <a:lnTo>
                    <a:pt x="10426" y="0"/>
                  </a:lnTo>
                  <a:lnTo>
                    <a:pt x="509" y="85173"/>
                  </a:lnTo>
                  <a:lnTo>
                    <a:pt x="0" y="90258"/>
                  </a:lnTo>
                  <a:lnTo>
                    <a:pt x="138971" y="234798"/>
                  </a:lnTo>
                  <a:close/>
                </a:path>
              </a:pathLst>
            </a:custGeom>
            <a:solidFill>
              <a:schemeClr val="accent3"/>
            </a:solidFill>
            <a:ln w="1268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3C1B3FCF-0677-4F0F-B4C1-445BD20512F7}"/>
                </a:ext>
              </a:extLst>
            </p:cNvPr>
            <p:cNvSpPr/>
            <p:nvPr/>
          </p:nvSpPr>
          <p:spPr>
            <a:xfrm>
              <a:off x="3528954" y="3689563"/>
              <a:ext cx="460525" cy="274460"/>
            </a:xfrm>
            <a:custGeom>
              <a:avLst/>
              <a:gdLst>
                <a:gd name="connsiteX0" fmla="*/ 83281 w 460525"/>
                <a:gd name="connsiteY0" fmla="*/ 274461 h 274460"/>
                <a:gd name="connsiteX1" fmla="*/ 460525 w 460525"/>
                <a:gd name="connsiteY1" fmla="*/ 71698 h 274460"/>
                <a:gd name="connsiteX2" fmla="*/ 378261 w 460525"/>
                <a:gd name="connsiteY2" fmla="*/ 1398 h 274460"/>
                <a:gd name="connsiteX3" fmla="*/ 376609 w 460525"/>
                <a:gd name="connsiteY3" fmla="*/ 0 h 274460"/>
                <a:gd name="connsiteX4" fmla="*/ 0 w 460525"/>
                <a:gd name="connsiteY4" fmla="*/ 200983 h 274460"/>
                <a:gd name="connsiteX5" fmla="*/ 83281 w 460525"/>
                <a:gd name="connsiteY5" fmla="*/ 274461 h 27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5" h="274460">
                  <a:moveTo>
                    <a:pt x="83281" y="274461"/>
                  </a:moveTo>
                  <a:lnTo>
                    <a:pt x="460525" y="71698"/>
                  </a:lnTo>
                  <a:lnTo>
                    <a:pt x="378261" y="1398"/>
                  </a:lnTo>
                  <a:lnTo>
                    <a:pt x="376609" y="0"/>
                  </a:lnTo>
                  <a:lnTo>
                    <a:pt x="0" y="200983"/>
                  </a:lnTo>
                  <a:lnTo>
                    <a:pt x="83281" y="274461"/>
                  </a:lnTo>
                  <a:close/>
                </a:path>
              </a:pathLst>
            </a:custGeom>
            <a:solidFill>
              <a:schemeClr val="accent5"/>
            </a:solidFill>
            <a:ln w="1268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C47B1B93-6FD6-40BB-961B-E6431A1DC318}"/>
                </a:ext>
              </a:extLst>
            </p:cNvPr>
            <p:cNvSpPr/>
            <p:nvPr/>
          </p:nvSpPr>
          <p:spPr>
            <a:xfrm>
              <a:off x="2856476" y="3765456"/>
              <a:ext cx="1131986" cy="1701934"/>
            </a:xfrm>
            <a:custGeom>
              <a:avLst/>
              <a:gdLst>
                <a:gd name="connsiteX0" fmla="*/ 847559 w 1131986"/>
                <a:gd name="connsiteY0" fmla="*/ 1222169 h 1701934"/>
                <a:gd name="connsiteX1" fmla="*/ 879473 w 1131986"/>
                <a:gd name="connsiteY1" fmla="*/ 1085130 h 1701934"/>
                <a:gd name="connsiteX2" fmla="*/ 915964 w 1131986"/>
                <a:gd name="connsiteY2" fmla="*/ 928132 h 1701934"/>
                <a:gd name="connsiteX3" fmla="*/ 1022768 w 1131986"/>
                <a:gd name="connsiteY3" fmla="*/ 469341 h 1701934"/>
                <a:gd name="connsiteX4" fmla="*/ 1062691 w 1131986"/>
                <a:gd name="connsiteY4" fmla="*/ 297979 h 1701934"/>
                <a:gd name="connsiteX5" fmla="*/ 1131986 w 1131986"/>
                <a:gd name="connsiteY5" fmla="*/ 0 h 1701934"/>
                <a:gd name="connsiteX6" fmla="*/ 756904 w 1131986"/>
                <a:gd name="connsiteY6" fmla="*/ 201619 h 1701934"/>
                <a:gd name="connsiteX7" fmla="*/ 653534 w 1131986"/>
                <a:gd name="connsiteY7" fmla="*/ 687359 h 1701934"/>
                <a:gd name="connsiteX8" fmla="*/ 528676 w 1131986"/>
                <a:gd name="connsiteY8" fmla="*/ 1274671 h 1701934"/>
                <a:gd name="connsiteX9" fmla="*/ 528676 w 1131986"/>
                <a:gd name="connsiteY9" fmla="*/ 1274671 h 1701934"/>
                <a:gd name="connsiteX10" fmla="*/ 528676 w 1131986"/>
                <a:gd name="connsiteY10" fmla="*/ 1274671 h 1701934"/>
                <a:gd name="connsiteX11" fmla="*/ 528676 w 1131986"/>
                <a:gd name="connsiteY11" fmla="*/ 1274671 h 1701934"/>
                <a:gd name="connsiteX12" fmla="*/ 22123 w 1131986"/>
                <a:gd name="connsiteY12" fmla="*/ 1562734 h 1701934"/>
                <a:gd name="connsiteX13" fmla="*/ 0 w 1131986"/>
                <a:gd name="connsiteY13" fmla="*/ 1682358 h 1701934"/>
                <a:gd name="connsiteX14" fmla="*/ 2797 w 1131986"/>
                <a:gd name="connsiteY14" fmla="*/ 1685155 h 1701934"/>
                <a:gd name="connsiteX15" fmla="*/ 17165 w 1131986"/>
                <a:gd name="connsiteY15" fmla="*/ 1699520 h 1701934"/>
                <a:gd name="connsiteX16" fmla="*/ 17165 w 1131986"/>
                <a:gd name="connsiteY16" fmla="*/ 1700409 h 1701934"/>
                <a:gd name="connsiteX17" fmla="*/ 18182 w 1131986"/>
                <a:gd name="connsiteY17" fmla="*/ 1701935 h 1701934"/>
                <a:gd name="connsiteX18" fmla="*/ 18182 w 1131986"/>
                <a:gd name="connsiteY18" fmla="*/ 1701935 h 1701934"/>
                <a:gd name="connsiteX19" fmla="*/ 847051 w 1131986"/>
                <a:gd name="connsiteY19" fmla="*/ 1227000 h 1701934"/>
                <a:gd name="connsiteX20" fmla="*/ 847559 w 1131986"/>
                <a:gd name="connsiteY20" fmla="*/ 1222169 h 170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1986" h="1701934">
                  <a:moveTo>
                    <a:pt x="847559" y="1222169"/>
                  </a:moveTo>
                  <a:lnTo>
                    <a:pt x="879473" y="1085130"/>
                  </a:lnTo>
                  <a:lnTo>
                    <a:pt x="915964" y="928132"/>
                  </a:lnTo>
                  <a:lnTo>
                    <a:pt x="1022768" y="469341"/>
                  </a:lnTo>
                  <a:lnTo>
                    <a:pt x="1062691" y="297979"/>
                  </a:lnTo>
                  <a:lnTo>
                    <a:pt x="1131986" y="0"/>
                  </a:lnTo>
                  <a:lnTo>
                    <a:pt x="756904" y="201619"/>
                  </a:lnTo>
                  <a:lnTo>
                    <a:pt x="653534" y="687359"/>
                  </a:lnTo>
                  <a:lnTo>
                    <a:pt x="528676" y="1274671"/>
                  </a:lnTo>
                  <a:lnTo>
                    <a:pt x="528676" y="1274671"/>
                  </a:lnTo>
                  <a:lnTo>
                    <a:pt x="528676" y="1274671"/>
                  </a:lnTo>
                  <a:lnTo>
                    <a:pt x="528676" y="1274671"/>
                  </a:lnTo>
                  <a:lnTo>
                    <a:pt x="22123" y="1562734"/>
                  </a:lnTo>
                  <a:lnTo>
                    <a:pt x="0" y="1682358"/>
                  </a:lnTo>
                  <a:lnTo>
                    <a:pt x="2797" y="1685155"/>
                  </a:lnTo>
                  <a:lnTo>
                    <a:pt x="17165" y="1699520"/>
                  </a:lnTo>
                  <a:cubicBezTo>
                    <a:pt x="17203" y="1699812"/>
                    <a:pt x="17203" y="1700117"/>
                    <a:pt x="17165" y="1700409"/>
                  </a:cubicBezTo>
                  <a:cubicBezTo>
                    <a:pt x="17597" y="1700841"/>
                    <a:pt x="17953" y="1701363"/>
                    <a:pt x="18182" y="1701935"/>
                  </a:cubicBezTo>
                  <a:lnTo>
                    <a:pt x="18182" y="1701935"/>
                  </a:lnTo>
                  <a:lnTo>
                    <a:pt x="847051" y="1227000"/>
                  </a:lnTo>
                  <a:cubicBezTo>
                    <a:pt x="846758" y="1225373"/>
                    <a:pt x="846936" y="1223695"/>
                    <a:pt x="847559" y="1222169"/>
                  </a:cubicBezTo>
                  <a:close/>
                </a:path>
              </a:pathLst>
            </a:custGeom>
            <a:solidFill>
              <a:schemeClr val="accent3"/>
            </a:solidFill>
            <a:ln w="1268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55FD4B0E-9DFC-4B6F-99C9-135D5EAB1105}"/>
                </a:ext>
              </a:extLst>
            </p:cNvPr>
            <p:cNvSpPr/>
            <p:nvPr/>
          </p:nvSpPr>
          <p:spPr>
            <a:xfrm>
              <a:off x="2778662" y="5252170"/>
              <a:ext cx="96758" cy="192973"/>
            </a:xfrm>
            <a:custGeom>
              <a:avLst/>
              <a:gdLst>
                <a:gd name="connsiteX0" fmla="*/ 20979 w 96758"/>
                <a:gd name="connsiteY0" fmla="*/ 0 h 192973"/>
                <a:gd name="connsiteX1" fmla="*/ 0 w 96758"/>
                <a:gd name="connsiteY1" fmla="*/ 117590 h 192973"/>
                <a:gd name="connsiteX2" fmla="*/ 2797 w 96758"/>
                <a:gd name="connsiteY2" fmla="*/ 120386 h 192973"/>
                <a:gd name="connsiteX3" fmla="*/ 75144 w 96758"/>
                <a:gd name="connsiteY3" fmla="*/ 192974 h 192973"/>
                <a:gd name="connsiteX4" fmla="*/ 96759 w 96758"/>
                <a:gd name="connsiteY4" fmla="*/ 75512 h 192973"/>
                <a:gd name="connsiteX5" fmla="*/ 20979 w 96758"/>
                <a:gd name="connsiteY5" fmla="*/ 0 h 19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58" h="192973">
                  <a:moveTo>
                    <a:pt x="20979" y="0"/>
                  </a:moveTo>
                  <a:lnTo>
                    <a:pt x="0" y="117590"/>
                  </a:lnTo>
                  <a:lnTo>
                    <a:pt x="2797" y="120386"/>
                  </a:lnTo>
                  <a:lnTo>
                    <a:pt x="75144" y="192974"/>
                  </a:lnTo>
                  <a:lnTo>
                    <a:pt x="96759" y="75512"/>
                  </a:lnTo>
                  <a:lnTo>
                    <a:pt x="20979" y="0"/>
                  </a:lnTo>
                  <a:close/>
                </a:path>
              </a:pathLst>
            </a:custGeom>
            <a:solidFill>
              <a:schemeClr val="accent1"/>
            </a:solidFill>
            <a:ln w="1268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81FEA7D4-689D-4A56-BDA8-167FDD0F6993}"/>
                </a:ext>
              </a:extLst>
            </p:cNvPr>
            <p:cNvSpPr/>
            <p:nvPr/>
          </p:nvSpPr>
          <p:spPr>
            <a:xfrm>
              <a:off x="2800277" y="5099113"/>
              <a:ext cx="117356" cy="224627"/>
            </a:xfrm>
            <a:custGeom>
              <a:avLst/>
              <a:gdLst>
                <a:gd name="connsiteX0" fmla="*/ 75907 w 117356"/>
                <a:gd name="connsiteY0" fmla="*/ 224628 h 224627"/>
                <a:gd name="connsiteX1" fmla="*/ 117356 w 117356"/>
                <a:gd name="connsiteY1" fmla="*/ 0 h 224627"/>
                <a:gd name="connsiteX2" fmla="*/ 20979 w 117356"/>
                <a:gd name="connsiteY2" fmla="*/ 54028 h 224627"/>
                <a:gd name="connsiteX3" fmla="*/ 16529 w 117356"/>
                <a:gd name="connsiteY3" fmla="*/ 56570 h 224627"/>
                <a:gd name="connsiteX4" fmla="*/ 0 w 117356"/>
                <a:gd name="connsiteY4" fmla="*/ 149243 h 224627"/>
                <a:gd name="connsiteX5" fmla="*/ 75907 w 117356"/>
                <a:gd name="connsiteY5" fmla="*/ 224628 h 22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56" h="224627">
                  <a:moveTo>
                    <a:pt x="75907" y="224628"/>
                  </a:moveTo>
                  <a:lnTo>
                    <a:pt x="117356" y="0"/>
                  </a:lnTo>
                  <a:lnTo>
                    <a:pt x="20979" y="54028"/>
                  </a:lnTo>
                  <a:lnTo>
                    <a:pt x="16529" y="56570"/>
                  </a:lnTo>
                  <a:lnTo>
                    <a:pt x="0" y="149243"/>
                  </a:lnTo>
                  <a:lnTo>
                    <a:pt x="75907" y="224628"/>
                  </a:lnTo>
                  <a:close/>
                </a:path>
              </a:pathLst>
            </a:custGeom>
            <a:solidFill>
              <a:schemeClr val="accent3">
                <a:lumMod val="75000"/>
              </a:schemeClr>
            </a:solidFill>
            <a:ln w="1268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D92DCDEE-56E0-4B7D-95A1-0B5A3DCC04BB}"/>
                </a:ext>
              </a:extLst>
            </p:cNvPr>
            <p:cNvSpPr/>
            <p:nvPr/>
          </p:nvSpPr>
          <p:spPr>
            <a:xfrm>
              <a:off x="2880379" y="4455358"/>
              <a:ext cx="625815" cy="868383"/>
            </a:xfrm>
            <a:custGeom>
              <a:avLst/>
              <a:gdLst>
                <a:gd name="connsiteX0" fmla="*/ 386017 w 625815"/>
                <a:gd name="connsiteY0" fmla="*/ 137421 h 868383"/>
                <a:gd name="connsiteX1" fmla="*/ 317231 w 625815"/>
                <a:gd name="connsiteY1" fmla="*/ 483071 h 868383"/>
                <a:gd name="connsiteX2" fmla="*/ 317231 w 625815"/>
                <a:gd name="connsiteY2" fmla="*/ 483071 h 868383"/>
                <a:gd name="connsiteX3" fmla="*/ 316595 w 625815"/>
                <a:gd name="connsiteY3" fmla="*/ 484851 h 868383"/>
                <a:gd name="connsiteX4" fmla="*/ 315832 w 625815"/>
                <a:gd name="connsiteY4" fmla="*/ 486376 h 868383"/>
                <a:gd name="connsiteX5" fmla="*/ 314688 w 625815"/>
                <a:gd name="connsiteY5" fmla="*/ 487520 h 868383"/>
                <a:gd name="connsiteX6" fmla="*/ 313289 w 625815"/>
                <a:gd name="connsiteY6" fmla="*/ 488792 h 868383"/>
                <a:gd name="connsiteX7" fmla="*/ 313289 w 625815"/>
                <a:gd name="connsiteY7" fmla="*/ 488792 h 868383"/>
                <a:gd name="connsiteX8" fmla="*/ 46281 w 625815"/>
                <a:gd name="connsiteY8" fmla="*/ 638925 h 868383"/>
                <a:gd name="connsiteX9" fmla="*/ 41704 w 625815"/>
                <a:gd name="connsiteY9" fmla="*/ 641467 h 868383"/>
                <a:gd name="connsiteX10" fmla="*/ 0 w 625815"/>
                <a:gd name="connsiteY10" fmla="*/ 868383 h 868383"/>
                <a:gd name="connsiteX11" fmla="*/ 501721 w 625815"/>
                <a:gd name="connsiteY11" fmla="*/ 582736 h 868383"/>
                <a:gd name="connsiteX12" fmla="*/ 625816 w 625815"/>
                <a:gd name="connsiteY12" fmla="*/ 0 h 868383"/>
                <a:gd name="connsiteX13" fmla="*/ 387289 w 625815"/>
                <a:gd name="connsiteY13" fmla="*/ 131955 h 86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815" h="868383">
                  <a:moveTo>
                    <a:pt x="386017" y="137421"/>
                  </a:moveTo>
                  <a:lnTo>
                    <a:pt x="317231" y="483071"/>
                  </a:lnTo>
                  <a:lnTo>
                    <a:pt x="317231" y="483071"/>
                  </a:lnTo>
                  <a:cubicBezTo>
                    <a:pt x="317078" y="483681"/>
                    <a:pt x="316862" y="484279"/>
                    <a:pt x="316595" y="484851"/>
                  </a:cubicBezTo>
                  <a:lnTo>
                    <a:pt x="315832" y="486376"/>
                  </a:lnTo>
                  <a:lnTo>
                    <a:pt x="314688" y="487520"/>
                  </a:lnTo>
                  <a:lnTo>
                    <a:pt x="313289" y="488792"/>
                  </a:lnTo>
                  <a:lnTo>
                    <a:pt x="313289" y="488792"/>
                  </a:lnTo>
                  <a:lnTo>
                    <a:pt x="46281" y="638925"/>
                  </a:lnTo>
                  <a:lnTo>
                    <a:pt x="41704" y="641467"/>
                  </a:lnTo>
                  <a:lnTo>
                    <a:pt x="0" y="868383"/>
                  </a:lnTo>
                  <a:lnTo>
                    <a:pt x="501721" y="582736"/>
                  </a:lnTo>
                  <a:lnTo>
                    <a:pt x="625816" y="0"/>
                  </a:lnTo>
                  <a:lnTo>
                    <a:pt x="387289" y="131955"/>
                  </a:lnTo>
                  <a:close/>
                </a:path>
              </a:pathLst>
            </a:custGeom>
            <a:solidFill>
              <a:schemeClr val="bg1">
                <a:lumMod val="95000"/>
              </a:schemeClr>
            </a:solidFill>
            <a:ln w="1268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9579AE98-9A62-47C0-B4F8-ADC19EDAC0A9}"/>
                </a:ext>
              </a:extLst>
            </p:cNvPr>
            <p:cNvSpPr/>
            <p:nvPr/>
          </p:nvSpPr>
          <p:spPr>
            <a:xfrm>
              <a:off x="3268303" y="4378575"/>
              <a:ext cx="237510" cy="204542"/>
            </a:xfrm>
            <a:custGeom>
              <a:avLst/>
              <a:gdLst>
                <a:gd name="connsiteX0" fmla="*/ 25429 w 237510"/>
                <a:gd name="connsiteY0" fmla="*/ 76910 h 204542"/>
                <a:gd name="connsiteX1" fmla="*/ 0 w 237510"/>
                <a:gd name="connsiteY1" fmla="*/ 204542 h 204542"/>
                <a:gd name="connsiteX2" fmla="*/ 237510 w 237510"/>
                <a:gd name="connsiteY2" fmla="*/ 73605 h 204542"/>
                <a:gd name="connsiteX3" fmla="*/ 157026 w 237510"/>
                <a:gd name="connsiteY3" fmla="*/ 0 h 204542"/>
                <a:gd name="connsiteX4" fmla="*/ 26447 w 237510"/>
                <a:gd name="connsiteY4" fmla="*/ 71571 h 204542"/>
                <a:gd name="connsiteX5" fmla="*/ 25429 w 237510"/>
                <a:gd name="connsiteY5" fmla="*/ 76910 h 20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510" h="204542">
                  <a:moveTo>
                    <a:pt x="25429" y="76910"/>
                  </a:moveTo>
                  <a:lnTo>
                    <a:pt x="0" y="204542"/>
                  </a:lnTo>
                  <a:lnTo>
                    <a:pt x="237510" y="73605"/>
                  </a:lnTo>
                  <a:lnTo>
                    <a:pt x="157026" y="0"/>
                  </a:lnTo>
                  <a:lnTo>
                    <a:pt x="26447" y="71571"/>
                  </a:lnTo>
                  <a:lnTo>
                    <a:pt x="25429" y="76910"/>
                  </a:lnTo>
                  <a:close/>
                </a:path>
              </a:pathLst>
            </a:custGeom>
            <a:solidFill>
              <a:schemeClr val="accent2"/>
            </a:solidFill>
            <a:ln w="1268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8E722E06-62FD-4E82-837D-15350EE767A3}"/>
                </a:ext>
              </a:extLst>
            </p:cNvPr>
            <p:cNvSpPr/>
            <p:nvPr/>
          </p:nvSpPr>
          <p:spPr>
            <a:xfrm>
              <a:off x="2710003" y="5251916"/>
              <a:ext cx="86459" cy="115046"/>
            </a:xfrm>
            <a:custGeom>
              <a:avLst/>
              <a:gdLst>
                <a:gd name="connsiteX0" fmla="*/ 0 w 86459"/>
                <a:gd name="connsiteY0" fmla="*/ 48816 h 115046"/>
                <a:gd name="connsiteX1" fmla="*/ 65862 w 86459"/>
                <a:gd name="connsiteY1" fmla="*/ 115047 h 115046"/>
                <a:gd name="connsiteX2" fmla="*/ 86460 w 86459"/>
                <a:gd name="connsiteY2" fmla="*/ 0 h 115046"/>
                <a:gd name="connsiteX3" fmla="*/ 0 w 86459"/>
                <a:gd name="connsiteY3" fmla="*/ 48816 h 115046"/>
              </a:gdLst>
              <a:ahLst/>
              <a:cxnLst>
                <a:cxn ang="0">
                  <a:pos x="connsiteX0" y="connsiteY0"/>
                </a:cxn>
                <a:cxn ang="0">
                  <a:pos x="connsiteX1" y="connsiteY1"/>
                </a:cxn>
                <a:cxn ang="0">
                  <a:pos x="connsiteX2" y="connsiteY2"/>
                </a:cxn>
                <a:cxn ang="0">
                  <a:pos x="connsiteX3" y="connsiteY3"/>
                </a:cxn>
              </a:cxnLst>
              <a:rect l="l" t="t" r="r" b="b"/>
              <a:pathLst>
                <a:path w="86459" h="115046">
                  <a:moveTo>
                    <a:pt x="0" y="48816"/>
                  </a:moveTo>
                  <a:lnTo>
                    <a:pt x="65862" y="115047"/>
                  </a:lnTo>
                  <a:lnTo>
                    <a:pt x="86460" y="0"/>
                  </a:lnTo>
                  <a:lnTo>
                    <a:pt x="0" y="48816"/>
                  </a:lnTo>
                  <a:close/>
                </a:path>
              </a:pathLst>
            </a:custGeom>
            <a:solidFill>
              <a:srgbClr val="DD1013"/>
            </a:solidFill>
            <a:ln w="1268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4C59CC81-7E82-4B93-85D0-D3F018B4BF6A}"/>
                </a:ext>
              </a:extLst>
            </p:cNvPr>
            <p:cNvSpPr/>
            <p:nvPr/>
          </p:nvSpPr>
          <p:spPr>
            <a:xfrm>
              <a:off x="2655584" y="5157717"/>
              <a:ext cx="157661" cy="140599"/>
            </a:xfrm>
            <a:custGeom>
              <a:avLst/>
              <a:gdLst>
                <a:gd name="connsiteX0" fmla="*/ 157662 w 157661"/>
                <a:gd name="connsiteY0" fmla="*/ 0 h 140599"/>
                <a:gd name="connsiteX1" fmla="*/ 0 w 157661"/>
                <a:gd name="connsiteY1" fmla="*/ 88478 h 140599"/>
                <a:gd name="connsiteX2" fmla="*/ 51113 w 157661"/>
                <a:gd name="connsiteY2" fmla="*/ 139709 h 140599"/>
                <a:gd name="connsiteX3" fmla="*/ 51113 w 157661"/>
                <a:gd name="connsiteY3" fmla="*/ 139709 h 140599"/>
                <a:gd name="connsiteX4" fmla="*/ 52003 w 157661"/>
                <a:gd name="connsiteY4" fmla="*/ 140599 h 140599"/>
                <a:gd name="connsiteX5" fmla="*/ 141641 w 157661"/>
                <a:gd name="connsiteY5" fmla="*/ 90131 h 140599"/>
                <a:gd name="connsiteX6" fmla="*/ 157662 w 157661"/>
                <a:gd name="connsiteY6" fmla="*/ 0 h 14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61" h="140599">
                  <a:moveTo>
                    <a:pt x="157662" y="0"/>
                  </a:moveTo>
                  <a:lnTo>
                    <a:pt x="0" y="88478"/>
                  </a:lnTo>
                  <a:lnTo>
                    <a:pt x="51113" y="139709"/>
                  </a:lnTo>
                  <a:lnTo>
                    <a:pt x="51113" y="139709"/>
                  </a:lnTo>
                  <a:lnTo>
                    <a:pt x="52003" y="140599"/>
                  </a:lnTo>
                  <a:lnTo>
                    <a:pt x="141641" y="90131"/>
                  </a:lnTo>
                  <a:lnTo>
                    <a:pt x="157662" y="0"/>
                  </a:lnTo>
                  <a:close/>
                </a:path>
              </a:pathLst>
            </a:custGeom>
            <a:solidFill>
              <a:schemeClr val="accent1"/>
            </a:solidFill>
            <a:ln w="1268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59D86735-9333-4CBF-BA47-232F5C447E45}"/>
                </a:ext>
              </a:extLst>
            </p:cNvPr>
            <p:cNvSpPr/>
            <p:nvPr/>
          </p:nvSpPr>
          <p:spPr>
            <a:xfrm>
              <a:off x="3425838" y="3891690"/>
              <a:ext cx="183727" cy="557565"/>
            </a:xfrm>
            <a:custGeom>
              <a:avLst/>
              <a:gdLst>
                <a:gd name="connsiteX0" fmla="*/ 99937 w 183727"/>
                <a:gd name="connsiteY0" fmla="*/ 509 h 557565"/>
                <a:gd name="connsiteX1" fmla="*/ 0 w 183727"/>
                <a:gd name="connsiteY1" fmla="*/ 483579 h 557565"/>
                <a:gd name="connsiteX2" fmla="*/ 0 w 183727"/>
                <a:gd name="connsiteY2" fmla="*/ 483579 h 557565"/>
                <a:gd name="connsiteX3" fmla="*/ 0 w 183727"/>
                <a:gd name="connsiteY3" fmla="*/ 483579 h 557565"/>
                <a:gd name="connsiteX4" fmla="*/ 80992 w 183727"/>
                <a:gd name="connsiteY4" fmla="*/ 557565 h 557565"/>
                <a:gd name="connsiteX5" fmla="*/ 183727 w 183727"/>
                <a:gd name="connsiteY5" fmla="*/ 74494 h 557565"/>
                <a:gd name="connsiteX6" fmla="*/ 99301 w 183727"/>
                <a:gd name="connsiteY6" fmla="*/ 0 h 55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727" h="557565">
                  <a:moveTo>
                    <a:pt x="99937" y="509"/>
                  </a:moveTo>
                  <a:lnTo>
                    <a:pt x="0" y="483579"/>
                  </a:lnTo>
                  <a:lnTo>
                    <a:pt x="0" y="483579"/>
                  </a:lnTo>
                  <a:lnTo>
                    <a:pt x="0" y="483579"/>
                  </a:lnTo>
                  <a:lnTo>
                    <a:pt x="80992" y="557565"/>
                  </a:lnTo>
                  <a:lnTo>
                    <a:pt x="183727" y="74494"/>
                  </a:lnTo>
                  <a:lnTo>
                    <a:pt x="99301" y="0"/>
                  </a:lnTo>
                  <a:close/>
                </a:path>
              </a:pathLst>
            </a:custGeom>
            <a:solidFill>
              <a:schemeClr val="accent2"/>
            </a:solidFill>
            <a:ln w="1268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76CC736-CCF2-4B2A-AB4C-D2CBD58A5A6A}"/>
                </a:ext>
              </a:extLst>
            </p:cNvPr>
            <p:cNvSpPr/>
            <p:nvPr/>
          </p:nvSpPr>
          <p:spPr>
            <a:xfrm>
              <a:off x="3295640" y="3892072"/>
              <a:ext cx="230135" cy="553878"/>
            </a:xfrm>
            <a:custGeom>
              <a:avLst/>
              <a:gdLst>
                <a:gd name="connsiteX0" fmla="*/ 94979 w 230135"/>
                <a:gd name="connsiteY0" fmla="*/ 76910 h 553878"/>
                <a:gd name="connsiteX1" fmla="*/ 0 w 230135"/>
                <a:gd name="connsiteY1" fmla="*/ 553879 h 553878"/>
                <a:gd name="connsiteX2" fmla="*/ 129181 w 230135"/>
                <a:gd name="connsiteY2" fmla="*/ 483071 h 553878"/>
                <a:gd name="connsiteX3" fmla="*/ 130198 w 230135"/>
                <a:gd name="connsiteY3" fmla="*/ 483071 h 553878"/>
                <a:gd name="connsiteX4" fmla="*/ 230135 w 230135"/>
                <a:gd name="connsiteY4" fmla="*/ 0 h 553878"/>
                <a:gd name="connsiteX5" fmla="*/ 96123 w 230135"/>
                <a:gd name="connsiteY5" fmla="*/ 71571 h 55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135" h="553878">
                  <a:moveTo>
                    <a:pt x="94979" y="76910"/>
                  </a:moveTo>
                  <a:lnTo>
                    <a:pt x="0" y="553879"/>
                  </a:lnTo>
                  <a:lnTo>
                    <a:pt x="129181" y="483071"/>
                  </a:lnTo>
                  <a:lnTo>
                    <a:pt x="130198" y="483071"/>
                  </a:lnTo>
                  <a:lnTo>
                    <a:pt x="230135" y="0"/>
                  </a:lnTo>
                  <a:lnTo>
                    <a:pt x="96123" y="71571"/>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0F19DCA8-A34F-445C-97A1-A5613DC95FAA}"/>
                </a:ext>
              </a:extLst>
            </p:cNvPr>
            <p:cNvSpPr/>
            <p:nvPr/>
          </p:nvSpPr>
          <p:spPr>
            <a:xfrm>
              <a:off x="3392526" y="3802068"/>
              <a:ext cx="130833" cy="157506"/>
            </a:xfrm>
            <a:custGeom>
              <a:avLst/>
              <a:gdLst>
                <a:gd name="connsiteX0" fmla="*/ 31405 w 130833"/>
                <a:gd name="connsiteY0" fmla="*/ 0 h 157506"/>
                <a:gd name="connsiteX1" fmla="*/ 0 w 130833"/>
                <a:gd name="connsiteY1" fmla="*/ 157507 h 157506"/>
                <a:gd name="connsiteX2" fmla="*/ 130834 w 130833"/>
                <a:gd name="connsiteY2" fmla="*/ 87716 h 157506"/>
                <a:gd name="connsiteX3" fmla="*/ 31405 w 130833"/>
                <a:gd name="connsiteY3" fmla="*/ 0 h 157506"/>
              </a:gdLst>
              <a:ahLst/>
              <a:cxnLst>
                <a:cxn ang="0">
                  <a:pos x="connsiteX0" y="connsiteY0"/>
                </a:cxn>
                <a:cxn ang="0">
                  <a:pos x="connsiteX1" y="connsiteY1"/>
                </a:cxn>
                <a:cxn ang="0">
                  <a:pos x="connsiteX2" y="connsiteY2"/>
                </a:cxn>
                <a:cxn ang="0">
                  <a:pos x="connsiteX3" y="connsiteY3"/>
                </a:cxn>
              </a:cxnLst>
              <a:rect l="l" t="t" r="r" b="b"/>
              <a:pathLst>
                <a:path w="130833" h="157506">
                  <a:moveTo>
                    <a:pt x="31405" y="0"/>
                  </a:moveTo>
                  <a:lnTo>
                    <a:pt x="0" y="157507"/>
                  </a:lnTo>
                  <a:lnTo>
                    <a:pt x="130834" y="87716"/>
                  </a:lnTo>
                  <a:lnTo>
                    <a:pt x="31405" y="0"/>
                  </a:lnTo>
                  <a:close/>
                </a:path>
              </a:pathLst>
            </a:custGeom>
            <a:solidFill>
              <a:schemeClr val="accent1"/>
            </a:solidFill>
            <a:ln w="1268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68D32AC9-6565-4539-A99B-7BABCF9DA2DF}"/>
                </a:ext>
              </a:extLst>
            </p:cNvPr>
            <p:cNvSpPr/>
            <p:nvPr/>
          </p:nvSpPr>
          <p:spPr>
            <a:xfrm>
              <a:off x="3425203" y="3439384"/>
              <a:ext cx="478198" cy="448747"/>
            </a:xfrm>
            <a:custGeom>
              <a:avLst/>
              <a:gdLst>
                <a:gd name="connsiteX0" fmla="*/ 188686 w 478198"/>
                <a:gd name="connsiteY0" fmla="*/ 763 h 448747"/>
                <a:gd name="connsiteX1" fmla="*/ 188050 w 478198"/>
                <a:gd name="connsiteY1" fmla="*/ 0 h 448747"/>
                <a:gd name="connsiteX2" fmla="*/ 57470 w 478198"/>
                <a:gd name="connsiteY2" fmla="*/ 68011 h 448747"/>
                <a:gd name="connsiteX3" fmla="*/ 56453 w 478198"/>
                <a:gd name="connsiteY3" fmla="*/ 73096 h 448747"/>
                <a:gd name="connsiteX4" fmla="*/ 0 w 478198"/>
                <a:gd name="connsiteY4" fmla="*/ 355947 h 448747"/>
                <a:gd name="connsiteX5" fmla="*/ 0 w 478198"/>
                <a:gd name="connsiteY5" fmla="*/ 358998 h 448747"/>
                <a:gd name="connsiteX6" fmla="*/ 101717 w 478198"/>
                <a:gd name="connsiteY6" fmla="*/ 448747 h 448747"/>
                <a:gd name="connsiteX7" fmla="*/ 478198 w 478198"/>
                <a:gd name="connsiteY7" fmla="*/ 247892 h 448747"/>
                <a:gd name="connsiteX8" fmla="*/ 292564 w 478198"/>
                <a:gd name="connsiteY8" fmla="*/ 89368 h 448747"/>
                <a:gd name="connsiteX9" fmla="*/ 190084 w 478198"/>
                <a:gd name="connsiteY9" fmla="*/ 1780 h 44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198" h="448747">
                  <a:moveTo>
                    <a:pt x="188686" y="763"/>
                  </a:moveTo>
                  <a:lnTo>
                    <a:pt x="188050" y="0"/>
                  </a:lnTo>
                  <a:lnTo>
                    <a:pt x="57470" y="68011"/>
                  </a:lnTo>
                  <a:lnTo>
                    <a:pt x="56453" y="73096"/>
                  </a:lnTo>
                  <a:lnTo>
                    <a:pt x="0" y="355947"/>
                  </a:lnTo>
                  <a:lnTo>
                    <a:pt x="0" y="358998"/>
                  </a:lnTo>
                  <a:lnTo>
                    <a:pt x="101717" y="448747"/>
                  </a:lnTo>
                  <a:lnTo>
                    <a:pt x="478198" y="247892"/>
                  </a:lnTo>
                  <a:lnTo>
                    <a:pt x="292564" y="89368"/>
                  </a:lnTo>
                  <a:lnTo>
                    <a:pt x="190084" y="1780"/>
                  </a:lnTo>
                  <a:close/>
                </a:path>
              </a:pathLst>
            </a:custGeom>
            <a:solidFill>
              <a:schemeClr val="tx2"/>
            </a:solidFill>
            <a:ln w="1268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13122F24-2B11-443F-BE30-3D741FA67BF9}"/>
                </a:ext>
              </a:extLst>
            </p:cNvPr>
            <p:cNvSpPr/>
            <p:nvPr/>
          </p:nvSpPr>
          <p:spPr>
            <a:xfrm>
              <a:off x="3483817" y="3174203"/>
              <a:ext cx="181056" cy="329123"/>
            </a:xfrm>
            <a:custGeom>
              <a:avLst/>
              <a:gdLst>
                <a:gd name="connsiteX0" fmla="*/ 50859 w 181056"/>
                <a:gd name="connsiteY0" fmla="*/ 71444 h 329123"/>
                <a:gd name="connsiteX1" fmla="*/ 0 w 181056"/>
                <a:gd name="connsiteY1" fmla="*/ 329124 h 329123"/>
                <a:gd name="connsiteX2" fmla="*/ 128545 w 181056"/>
                <a:gd name="connsiteY2" fmla="*/ 262257 h 329123"/>
                <a:gd name="connsiteX3" fmla="*/ 128545 w 181056"/>
                <a:gd name="connsiteY3" fmla="*/ 261112 h 329123"/>
                <a:gd name="connsiteX4" fmla="*/ 128545 w 181056"/>
                <a:gd name="connsiteY4" fmla="*/ 258951 h 329123"/>
                <a:gd name="connsiteX5" fmla="*/ 128545 w 181056"/>
                <a:gd name="connsiteY5" fmla="*/ 257807 h 329123"/>
                <a:gd name="connsiteX6" fmla="*/ 160714 w 181056"/>
                <a:gd name="connsiteY6" fmla="*/ 98902 h 329123"/>
                <a:gd name="connsiteX7" fmla="*/ 181057 w 181056"/>
                <a:gd name="connsiteY7" fmla="*/ 0 h 329123"/>
                <a:gd name="connsiteX8" fmla="*/ 52003 w 181056"/>
                <a:gd name="connsiteY8" fmla="*/ 66231 h 3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56" h="329123">
                  <a:moveTo>
                    <a:pt x="50859" y="71444"/>
                  </a:moveTo>
                  <a:lnTo>
                    <a:pt x="0" y="329124"/>
                  </a:lnTo>
                  <a:lnTo>
                    <a:pt x="128545" y="262257"/>
                  </a:lnTo>
                  <a:lnTo>
                    <a:pt x="128545" y="261112"/>
                  </a:lnTo>
                  <a:cubicBezTo>
                    <a:pt x="128482" y="260388"/>
                    <a:pt x="128482" y="259676"/>
                    <a:pt x="128545" y="258951"/>
                  </a:cubicBezTo>
                  <a:cubicBezTo>
                    <a:pt x="128609" y="258570"/>
                    <a:pt x="128609" y="258189"/>
                    <a:pt x="128545" y="257807"/>
                  </a:cubicBezTo>
                  <a:lnTo>
                    <a:pt x="160714" y="98902"/>
                  </a:lnTo>
                  <a:lnTo>
                    <a:pt x="181057" y="0"/>
                  </a:lnTo>
                  <a:lnTo>
                    <a:pt x="52003" y="66231"/>
                  </a:lnTo>
                  <a:close/>
                </a:path>
              </a:pathLst>
            </a:custGeom>
            <a:solidFill>
              <a:schemeClr val="accent1"/>
            </a:solidFill>
            <a:ln w="1268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008F6B5-8354-44F2-AF9A-645D04A40BF6}"/>
                </a:ext>
              </a:extLst>
            </p:cNvPr>
            <p:cNvSpPr/>
            <p:nvPr/>
          </p:nvSpPr>
          <p:spPr>
            <a:xfrm>
              <a:off x="3305" y="5106105"/>
              <a:ext cx="885957" cy="1130385"/>
            </a:xfrm>
            <a:custGeom>
              <a:avLst/>
              <a:gdLst>
                <a:gd name="connsiteX0" fmla="*/ 844889 w 885957"/>
                <a:gd name="connsiteY0" fmla="*/ 667146 h 1130385"/>
                <a:gd name="connsiteX1" fmla="*/ 847814 w 885957"/>
                <a:gd name="connsiteY1" fmla="*/ 666256 h 1130385"/>
                <a:gd name="connsiteX2" fmla="*/ 885958 w 885957"/>
                <a:gd name="connsiteY2" fmla="*/ 0 h 1130385"/>
                <a:gd name="connsiteX3" fmla="*/ 0 w 885957"/>
                <a:gd name="connsiteY3" fmla="*/ 467943 h 1130385"/>
                <a:gd name="connsiteX4" fmla="*/ 0 w 885957"/>
                <a:gd name="connsiteY4" fmla="*/ 1130386 h 1130385"/>
                <a:gd name="connsiteX5" fmla="*/ 643362 w 885957"/>
                <a:gd name="connsiteY5" fmla="*/ 778125 h 113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957" h="1130385">
                  <a:moveTo>
                    <a:pt x="844889" y="667146"/>
                  </a:moveTo>
                  <a:cubicBezTo>
                    <a:pt x="845797" y="666663"/>
                    <a:pt x="846790" y="666358"/>
                    <a:pt x="847814" y="666256"/>
                  </a:cubicBezTo>
                  <a:lnTo>
                    <a:pt x="885958" y="0"/>
                  </a:lnTo>
                  <a:lnTo>
                    <a:pt x="0" y="467943"/>
                  </a:lnTo>
                  <a:lnTo>
                    <a:pt x="0" y="1130386"/>
                  </a:lnTo>
                  <a:lnTo>
                    <a:pt x="643362" y="778125"/>
                  </a:lnTo>
                  <a:close/>
                </a:path>
              </a:pathLst>
            </a:custGeom>
            <a:solidFill>
              <a:schemeClr val="accent5"/>
            </a:solidFill>
            <a:ln w="1268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1DD9B022-5A6B-4505-ACEC-34D355802E5B}"/>
                </a:ext>
              </a:extLst>
            </p:cNvPr>
            <p:cNvSpPr/>
            <p:nvPr/>
          </p:nvSpPr>
          <p:spPr>
            <a:xfrm>
              <a:off x="3305" y="4707317"/>
              <a:ext cx="27845" cy="45764"/>
            </a:xfrm>
            <a:custGeom>
              <a:avLst/>
              <a:gdLst>
                <a:gd name="connsiteX0" fmla="*/ 0 w 27845"/>
                <a:gd name="connsiteY0" fmla="*/ 0 h 45764"/>
                <a:gd name="connsiteX1" fmla="*/ 0 w 27845"/>
                <a:gd name="connsiteY1" fmla="*/ 45765 h 45764"/>
                <a:gd name="connsiteX2" fmla="*/ 27845 w 27845"/>
                <a:gd name="connsiteY2" fmla="*/ 31781 h 45764"/>
                <a:gd name="connsiteX3" fmla="*/ 0 w 27845"/>
                <a:gd name="connsiteY3" fmla="*/ 0 h 45764"/>
              </a:gdLst>
              <a:ahLst/>
              <a:cxnLst>
                <a:cxn ang="0">
                  <a:pos x="connsiteX0" y="connsiteY0"/>
                </a:cxn>
                <a:cxn ang="0">
                  <a:pos x="connsiteX1" y="connsiteY1"/>
                </a:cxn>
                <a:cxn ang="0">
                  <a:pos x="connsiteX2" y="connsiteY2"/>
                </a:cxn>
                <a:cxn ang="0">
                  <a:pos x="connsiteX3" y="connsiteY3"/>
                </a:cxn>
              </a:cxnLst>
              <a:rect l="l" t="t" r="r" b="b"/>
              <a:pathLst>
                <a:path w="27845" h="45764">
                  <a:moveTo>
                    <a:pt x="0" y="0"/>
                  </a:moveTo>
                  <a:lnTo>
                    <a:pt x="0" y="45765"/>
                  </a:lnTo>
                  <a:lnTo>
                    <a:pt x="27845" y="31781"/>
                  </a:lnTo>
                  <a:lnTo>
                    <a:pt x="0" y="0"/>
                  </a:lnTo>
                  <a:close/>
                </a:path>
              </a:pathLst>
            </a:custGeom>
            <a:solidFill>
              <a:srgbClr val="930B0D"/>
            </a:solidFill>
            <a:ln w="1268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5E3A5E7D-5C2E-4088-BEB0-5CB49A076953}"/>
                </a:ext>
              </a:extLst>
            </p:cNvPr>
            <p:cNvSpPr/>
            <p:nvPr/>
          </p:nvSpPr>
          <p:spPr>
            <a:xfrm>
              <a:off x="3305" y="4672867"/>
              <a:ext cx="48824" cy="57841"/>
            </a:xfrm>
            <a:custGeom>
              <a:avLst/>
              <a:gdLst>
                <a:gd name="connsiteX0" fmla="*/ 1653 w 48824"/>
                <a:gd name="connsiteY0" fmla="*/ 8899 h 57841"/>
                <a:gd name="connsiteX1" fmla="*/ 44501 w 48824"/>
                <a:gd name="connsiteY1" fmla="*/ 57842 h 57841"/>
                <a:gd name="connsiteX2" fmla="*/ 48824 w 48824"/>
                <a:gd name="connsiteY2" fmla="*/ 55680 h 57841"/>
                <a:gd name="connsiteX3" fmla="*/ 0 w 48824"/>
                <a:gd name="connsiteY3" fmla="*/ 0 h 57841"/>
                <a:gd name="connsiteX4" fmla="*/ 0 w 48824"/>
                <a:gd name="connsiteY4" fmla="*/ 7628 h 57841"/>
                <a:gd name="connsiteX5" fmla="*/ 1271 w 48824"/>
                <a:gd name="connsiteY5" fmla="*/ 8645 h 5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24" h="57841">
                  <a:moveTo>
                    <a:pt x="1653" y="8899"/>
                  </a:moveTo>
                  <a:lnTo>
                    <a:pt x="44501" y="57842"/>
                  </a:lnTo>
                  <a:lnTo>
                    <a:pt x="48824" y="55680"/>
                  </a:lnTo>
                  <a:lnTo>
                    <a:pt x="0" y="0"/>
                  </a:lnTo>
                  <a:lnTo>
                    <a:pt x="0" y="7628"/>
                  </a:lnTo>
                  <a:cubicBezTo>
                    <a:pt x="505" y="7856"/>
                    <a:pt x="943" y="8200"/>
                    <a:pt x="1271" y="8645"/>
                  </a:cubicBezTo>
                  <a:close/>
                </a:path>
              </a:pathLst>
            </a:custGeom>
            <a:solidFill>
              <a:srgbClr val="F39896"/>
            </a:solidFill>
            <a:ln w="1268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77F10810-369F-41F5-9804-60719EF0838D}"/>
                </a:ext>
              </a:extLst>
            </p:cNvPr>
            <p:cNvSpPr/>
            <p:nvPr/>
          </p:nvSpPr>
          <p:spPr>
            <a:xfrm>
              <a:off x="3305" y="4401966"/>
              <a:ext cx="104514" cy="325055"/>
            </a:xfrm>
            <a:custGeom>
              <a:avLst/>
              <a:gdLst>
                <a:gd name="connsiteX0" fmla="*/ 52766 w 104514"/>
                <a:gd name="connsiteY0" fmla="*/ 324547 h 325055"/>
                <a:gd name="connsiteX1" fmla="*/ 73109 w 104514"/>
                <a:gd name="connsiteY1" fmla="*/ 314250 h 325055"/>
                <a:gd name="connsiteX2" fmla="*/ 73999 w 104514"/>
                <a:gd name="connsiteY2" fmla="*/ 139582 h 325055"/>
                <a:gd name="connsiteX3" fmla="*/ 73999 w 104514"/>
                <a:gd name="connsiteY3" fmla="*/ 138184 h 325055"/>
                <a:gd name="connsiteX4" fmla="*/ 73999 w 104514"/>
                <a:gd name="connsiteY4" fmla="*/ 136277 h 325055"/>
                <a:gd name="connsiteX5" fmla="*/ 74889 w 104514"/>
                <a:gd name="connsiteY5" fmla="*/ 134625 h 325055"/>
                <a:gd name="connsiteX6" fmla="*/ 75779 w 104514"/>
                <a:gd name="connsiteY6" fmla="*/ 133353 h 325055"/>
                <a:gd name="connsiteX7" fmla="*/ 77305 w 104514"/>
                <a:gd name="connsiteY7" fmla="*/ 132082 h 325055"/>
                <a:gd name="connsiteX8" fmla="*/ 78322 w 104514"/>
                <a:gd name="connsiteY8" fmla="*/ 131319 h 325055"/>
                <a:gd name="connsiteX9" fmla="*/ 104515 w 104514"/>
                <a:gd name="connsiteY9" fmla="*/ 118607 h 325055"/>
                <a:gd name="connsiteX10" fmla="*/ 0 w 104514"/>
                <a:gd name="connsiteY10" fmla="*/ 0 h 325055"/>
                <a:gd name="connsiteX11" fmla="*/ 0 w 104514"/>
                <a:gd name="connsiteY11" fmla="*/ 266071 h 325055"/>
                <a:gd name="connsiteX12" fmla="*/ 51749 w 104514"/>
                <a:gd name="connsiteY12" fmla="*/ 325056 h 32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14" h="325055">
                  <a:moveTo>
                    <a:pt x="52766" y="324547"/>
                  </a:moveTo>
                  <a:lnTo>
                    <a:pt x="73109" y="314250"/>
                  </a:lnTo>
                  <a:lnTo>
                    <a:pt x="73999" y="139582"/>
                  </a:lnTo>
                  <a:cubicBezTo>
                    <a:pt x="73942" y="139112"/>
                    <a:pt x="73942" y="138654"/>
                    <a:pt x="73999" y="138184"/>
                  </a:cubicBezTo>
                  <a:cubicBezTo>
                    <a:pt x="73940" y="137548"/>
                    <a:pt x="73940" y="136913"/>
                    <a:pt x="73999" y="136277"/>
                  </a:cubicBezTo>
                  <a:cubicBezTo>
                    <a:pt x="74222" y="135692"/>
                    <a:pt x="74521" y="135133"/>
                    <a:pt x="74889" y="134625"/>
                  </a:cubicBezTo>
                  <a:cubicBezTo>
                    <a:pt x="75143" y="134167"/>
                    <a:pt x="75441" y="133747"/>
                    <a:pt x="75779" y="133353"/>
                  </a:cubicBezTo>
                  <a:cubicBezTo>
                    <a:pt x="76228" y="132857"/>
                    <a:pt x="76742" y="132438"/>
                    <a:pt x="77305" y="132082"/>
                  </a:cubicBezTo>
                  <a:cubicBezTo>
                    <a:pt x="77305" y="132082"/>
                    <a:pt x="77305" y="131446"/>
                    <a:pt x="78322" y="131319"/>
                  </a:cubicBezTo>
                  <a:lnTo>
                    <a:pt x="104515" y="118607"/>
                  </a:lnTo>
                  <a:lnTo>
                    <a:pt x="0" y="0"/>
                  </a:lnTo>
                  <a:lnTo>
                    <a:pt x="0" y="266071"/>
                  </a:lnTo>
                  <a:lnTo>
                    <a:pt x="51749" y="325056"/>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707D6D1-20F1-4F97-AFE5-215A3B622C59}"/>
                </a:ext>
              </a:extLst>
            </p:cNvPr>
            <p:cNvSpPr/>
            <p:nvPr/>
          </p:nvSpPr>
          <p:spPr>
            <a:xfrm>
              <a:off x="3305" y="4258188"/>
              <a:ext cx="195170" cy="262002"/>
            </a:xfrm>
            <a:custGeom>
              <a:avLst/>
              <a:gdLst>
                <a:gd name="connsiteX0" fmla="*/ 107820 w 195170"/>
                <a:gd name="connsiteY0" fmla="*/ 260731 h 262002"/>
                <a:gd name="connsiteX1" fmla="*/ 195170 w 195170"/>
                <a:gd name="connsiteY1" fmla="*/ 217128 h 262002"/>
                <a:gd name="connsiteX2" fmla="*/ 0 w 195170"/>
                <a:gd name="connsiteY2" fmla="*/ 0 h 262002"/>
                <a:gd name="connsiteX3" fmla="*/ 0 w 195170"/>
                <a:gd name="connsiteY3" fmla="*/ 143777 h 262002"/>
                <a:gd name="connsiteX4" fmla="*/ 105277 w 195170"/>
                <a:gd name="connsiteY4" fmla="*/ 262003 h 262002"/>
                <a:gd name="connsiteX5" fmla="*/ 107820 w 195170"/>
                <a:gd name="connsiteY5" fmla="*/ 260731 h 2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170" h="262002">
                  <a:moveTo>
                    <a:pt x="107820" y="260731"/>
                  </a:moveTo>
                  <a:lnTo>
                    <a:pt x="195170" y="217128"/>
                  </a:lnTo>
                  <a:lnTo>
                    <a:pt x="0" y="0"/>
                  </a:lnTo>
                  <a:lnTo>
                    <a:pt x="0" y="143777"/>
                  </a:lnTo>
                  <a:lnTo>
                    <a:pt x="105277" y="262003"/>
                  </a:lnTo>
                  <a:lnTo>
                    <a:pt x="107820" y="260731"/>
                  </a:lnTo>
                  <a:close/>
                </a:path>
              </a:pathLst>
            </a:custGeom>
            <a:solidFill>
              <a:schemeClr val="accent5"/>
            </a:solidFill>
            <a:ln w="1268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E392B46B-E47D-4948-B60B-862BA86EAD7F}"/>
                </a:ext>
              </a:extLst>
            </p:cNvPr>
            <p:cNvSpPr/>
            <p:nvPr/>
          </p:nvSpPr>
          <p:spPr>
            <a:xfrm>
              <a:off x="3305" y="4032035"/>
              <a:ext cx="338464" cy="441882"/>
            </a:xfrm>
            <a:custGeom>
              <a:avLst/>
              <a:gdLst>
                <a:gd name="connsiteX0" fmla="*/ 199239 w 338464"/>
                <a:gd name="connsiteY0" fmla="*/ 441247 h 441882"/>
                <a:gd name="connsiteX1" fmla="*/ 338464 w 338464"/>
                <a:gd name="connsiteY1" fmla="*/ 371710 h 441882"/>
                <a:gd name="connsiteX2" fmla="*/ 0 w 338464"/>
                <a:gd name="connsiteY2" fmla="*/ 0 h 441882"/>
                <a:gd name="connsiteX3" fmla="*/ 0 w 338464"/>
                <a:gd name="connsiteY3" fmla="*/ 221322 h 441882"/>
                <a:gd name="connsiteX4" fmla="*/ 198094 w 338464"/>
                <a:gd name="connsiteY4" fmla="*/ 441882 h 441882"/>
                <a:gd name="connsiteX5" fmla="*/ 199239 w 338464"/>
                <a:gd name="connsiteY5" fmla="*/ 441247 h 44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464" h="441882">
                  <a:moveTo>
                    <a:pt x="199239" y="441247"/>
                  </a:moveTo>
                  <a:lnTo>
                    <a:pt x="338464" y="371710"/>
                  </a:lnTo>
                  <a:lnTo>
                    <a:pt x="0" y="0"/>
                  </a:lnTo>
                  <a:lnTo>
                    <a:pt x="0" y="221322"/>
                  </a:lnTo>
                  <a:lnTo>
                    <a:pt x="198094" y="441882"/>
                  </a:lnTo>
                  <a:lnTo>
                    <a:pt x="199239" y="441247"/>
                  </a:lnTo>
                  <a:close/>
                </a:path>
              </a:pathLst>
            </a:custGeom>
            <a:solidFill>
              <a:schemeClr val="accent3"/>
            </a:solidFill>
            <a:ln w="1268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8F172F5-3AEC-4781-B49F-61D4FA1C1B0B}"/>
                </a:ext>
              </a:extLst>
            </p:cNvPr>
            <p:cNvSpPr/>
            <p:nvPr/>
          </p:nvSpPr>
          <p:spPr>
            <a:xfrm>
              <a:off x="3305" y="3361838"/>
              <a:ext cx="510493" cy="297597"/>
            </a:xfrm>
            <a:custGeom>
              <a:avLst/>
              <a:gdLst>
                <a:gd name="connsiteX0" fmla="*/ 510494 w 510493"/>
                <a:gd name="connsiteY0" fmla="*/ 0 h 297597"/>
                <a:gd name="connsiteX1" fmla="*/ 0 w 510493"/>
                <a:gd name="connsiteY1" fmla="*/ 240264 h 297597"/>
                <a:gd name="connsiteX2" fmla="*/ 0 w 510493"/>
                <a:gd name="connsiteY2" fmla="*/ 297597 h 297597"/>
                <a:gd name="connsiteX3" fmla="*/ 508841 w 510493"/>
                <a:gd name="connsiteY3" fmla="*/ 57206 h 297597"/>
                <a:gd name="connsiteX4" fmla="*/ 510494 w 510493"/>
                <a:gd name="connsiteY4" fmla="*/ 0 h 29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93" h="297597">
                  <a:moveTo>
                    <a:pt x="510494" y="0"/>
                  </a:moveTo>
                  <a:lnTo>
                    <a:pt x="0" y="240264"/>
                  </a:lnTo>
                  <a:lnTo>
                    <a:pt x="0" y="297597"/>
                  </a:lnTo>
                  <a:lnTo>
                    <a:pt x="508841" y="57206"/>
                  </a:lnTo>
                  <a:lnTo>
                    <a:pt x="510494" y="0"/>
                  </a:lnTo>
                  <a:close/>
                </a:path>
              </a:pathLst>
            </a:custGeom>
            <a:solidFill>
              <a:schemeClr val="accent3"/>
            </a:solidFill>
            <a:ln w="1268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CC16B066-7465-45D7-AC4C-726918ADBD53}"/>
                </a:ext>
              </a:extLst>
            </p:cNvPr>
            <p:cNvSpPr/>
            <p:nvPr/>
          </p:nvSpPr>
          <p:spPr>
            <a:xfrm>
              <a:off x="3305" y="3935548"/>
              <a:ext cx="400511" cy="468197"/>
            </a:xfrm>
            <a:custGeom>
              <a:avLst/>
              <a:gdLst>
                <a:gd name="connsiteX0" fmla="*/ 341134 w 400511"/>
                <a:gd name="connsiteY0" fmla="*/ 466926 h 468197"/>
                <a:gd name="connsiteX1" fmla="*/ 400512 w 400511"/>
                <a:gd name="connsiteY1" fmla="*/ 437307 h 468197"/>
                <a:gd name="connsiteX2" fmla="*/ 0 w 400511"/>
                <a:gd name="connsiteY2" fmla="*/ 0 h 468197"/>
                <a:gd name="connsiteX3" fmla="*/ 0 w 400511"/>
                <a:gd name="connsiteY3" fmla="*/ 96487 h 468197"/>
                <a:gd name="connsiteX4" fmla="*/ 338464 w 400511"/>
                <a:gd name="connsiteY4" fmla="*/ 468198 h 468197"/>
                <a:gd name="connsiteX5" fmla="*/ 341134 w 400511"/>
                <a:gd name="connsiteY5" fmla="*/ 466926 h 46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511" h="468197">
                  <a:moveTo>
                    <a:pt x="341134" y="466926"/>
                  </a:moveTo>
                  <a:lnTo>
                    <a:pt x="400512" y="437307"/>
                  </a:lnTo>
                  <a:lnTo>
                    <a:pt x="0" y="0"/>
                  </a:lnTo>
                  <a:lnTo>
                    <a:pt x="0" y="96487"/>
                  </a:lnTo>
                  <a:lnTo>
                    <a:pt x="338464" y="468198"/>
                  </a:lnTo>
                  <a:lnTo>
                    <a:pt x="341134" y="466926"/>
                  </a:lnTo>
                  <a:close/>
                </a:path>
              </a:pathLst>
            </a:custGeom>
            <a:solidFill>
              <a:schemeClr val="tx2"/>
            </a:solidFill>
            <a:ln w="1268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86E904D0-96B0-4D4A-8E1C-B338791AF57A}"/>
                </a:ext>
              </a:extLst>
            </p:cNvPr>
            <p:cNvSpPr/>
            <p:nvPr/>
          </p:nvSpPr>
          <p:spPr>
            <a:xfrm>
              <a:off x="3305" y="4729818"/>
              <a:ext cx="259506" cy="329378"/>
            </a:xfrm>
            <a:custGeom>
              <a:avLst/>
              <a:gdLst>
                <a:gd name="connsiteX0" fmla="*/ 86587 w 259506"/>
                <a:gd name="connsiteY0" fmla="*/ 0 h 329378"/>
                <a:gd name="connsiteX1" fmla="*/ 85824 w 259506"/>
                <a:gd name="connsiteY1" fmla="*/ 636 h 329378"/>
                <a:gd name="connsiteX2" fmla="*/ 60395 w 259506"/>
                <a:gd name="connsiteY2" fmla="*/ 13348 h 329378"/>
                <a:gd name="connsiteX3" fmla="*/ 46281 w 259506"/>
                <a:gd name="connsiteY3" fmla="*/ 20467 h 329378"/>
                <a:gd name="connsiteX4" fmla="*/ 0 w 259506"/>
                <a:gd name="connsiteY4" fmla="*/ 43349 h 329378"/>
                <a:gd name="connsiteX5" fmla="*/ 0 w 259506"/>
                <a:gd name="connsiteY5" fmla="*/ 329378 h 329378"/>
                <a:gd name="connsiteX6" fmla="*/ 259506 w 259506"/>
                <a:gd name="connsiteY6" fmla="*/ 196152 h 32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506" h="329378">
                  <a:moveTo>
                    <a:pt x="86587" y="0"/>
                  </a:moveTo>
                  <a:lnTo>
                    <a:pt x="85824" y="636"/>
                  </a:lnTo>
                  <a:lnTo>
                    <a:pt x="60395" y="13348"/>
                  </a:lnTo>
                  <a:lnTo>
                    <a:pt x="46281" y="20467"/>
                  </a:lnTo>
                  <a:lnTo>
                    <a:pt x="0" y="43349"/>
                  </a:lnTo>
                  <a:lnTo>
                    <a:pt x="0" y="329378"/>
                  </a:lnTo>
                  <a:lnTo>
                    <a:pt x="259506" y="196152"/>
                  </a:lnTo>
                  <a:close/>
                </a:path>
              </a:pathLst>
            </a:custGeom>
            <a:solidFill>
              <a:schemeClr val="accent2">
                <a:lumMod val="75000"/>
              </a:schemeClr>
            </a:solidFill>
            <a:ln w="1268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EA2715DA-8943-40A9-BADF-298983F6BF64}"/>
                </a:ext>
              </a:extLst>
            </p:cNvPr>
            <p:cNvSpPr/>
            <p:nvPr/>
          </p:nvSpPr>
          <p:spPr>
            <a:xfrm>
              <a:off x="0" y="623208"/>
              <a:ext cx="302227" cy="157633"/>
            </a:xfrm>
            <a:custGeom>
              <a:avLst/>
              <a:gdLst>
                <a:gd name="connsiteX0" fmla="*/ 302228 w 302227"/>
                <a:gd name="connsiteY0" fmla="*/ 68393 h 157633"/>
                <a:gd name="connsiteX1" fmla="*/ 222634 w 302227"/>
                <a:gd name="connsiteY1" fmla="*/ 0 h 157633"/>
                <a:gd name="connsiteX2" fmla="*/ 0 w 302227"/>
                <a:gd name="connsiteY2" fmla="*/ 85936 h 157633"/>
                <a:gd name="connsiteX3" fmla="*/ 0 w 302227"/>
                <a:gd name="connsiteY3" fmla="*/ 93563 h 157633"/>
                <a:gd name="connsiteX4" fmla="*/ 72855 w 302227"/>
                <a:gd name="connsiteY4" fmla="*/ 157634 h 157633"/>
                <a:gd name="connsiteX5" fmla="*/ 302228 w 302227"/>
                <a:gd name="connsiteY5" fmla="*/ 68393 h 15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227" h="157633">
                  <a:moveTo>
                    <a:pt x="302228" y="68393"/>
                  </a:moveTo>
                  <a:lnTo>
                    <a:pt x="222634" y="0"/>
                  </a:lnTo>
                  <a:lnTo>
                    <a:pt x="0" y="85936"/>
                  </a:lnTo>
                  <a:lnTo>
                    <a:pt x="0" y="93563"/>
                  </a:lnTo>
                  <a:lnTo>
                    <a:pt x="72855" y="157634"/>
                  </a:lnTo>
                  <a:lnTo>
                    <a:pt x="302228" y="68393"/>
                  </a:lnTo>
                  <a:close/>
                </a:path>
              </a:pathLst>
            </a:custGeom>
            <a:solidFill>
              <a:schemeClr val="accent5"/>
            </a:solidFill>
            <a:ln w="1268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E5C7AEFB-B515-4F5F-A921-67DFDA613A97}"/>
                </a:ext>
              </a:extLst>
            </p:cNvPr>
            <p:cNvSpPr/>
            <p:nvPr/>
          </p:nvSpPr>
          <p:spPr>
            <a:xfrm>
              <a:off x="312526" y="686515"/>
              <a:ext cx="4654965" cy="2729985"/>
            </a:xfrm>
            <a:custGeom>
              <a:avLst/>
              <a:gdLst>
                <a:gd name="connsiteX0" fmla="*/ 1235357 w 4654965"/>
                <a:gd name="connsiteY0" fmla="*/ 115937 h 2729985"/>
                <a:gd name="connsiteX1" fmla="*/ 1236247 w 4654965"/>
                <a:gd name="connsiteY1" fmla="*/ 115937 h 2729985"/>
                <a:gd name="connsiteX2" fmla="*/ 1236247 w 4654965"/>
                <a:gd name="connsiteY2" fmla="*/ 115937 h 2729985"/>
                <a:gd name="connsiteX3" fmla="*/ 1236247 w 4654965"/>
                <a:gd name="connsiteY3" fmla="*/ 115937 h 2729985"/>
                <a:gd name="connsiteX4" fmla="*/ 4493616 w 4654965"/>
                <a:gd name="connsiteY4" fmla="*/ 2729986 h 2729985"/>
                <a:gd name="connsiteX5" fmla="*/ 4654965 w 4654965"/>
                <a:gd name="connsiteY5" fmla="*/ 2676467 h 2729985"/>
                <a:gd name="connsiteX6" fmla="*/ 1278968 w 4654965"/>
                <a:gd name="connsiteY6" fmla="*/ 0 h 2729985"/>
                <a:gd name="connsiteX7" fmla="*/ 1526 w 4654965"/>
                <a:gd name="connsiteY7" fmla="*/ 516123 h 2729985"/>
                <a:gd name="connsiteX8" fmla="*/ 0 w 4654965"/>
                <a:gd name="connsiteY8" fmla="*/ 619221 h 272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4965" h="2729985">
                  <a:moveTo>
                    <a:pt x="1235357" y="115937"/>
                  </a:moveTo>
                  <a:lnTo>
                    <a:pt x="1236247" y="115937"/>
                  </a:lnTo>
                  <a:lnTo>
                    <a:pt x="1236247" y="115937"/>
                  </a:lnTo>
                  <a:lnTo>
                    <a:pt x="1236247" y="115937"/>
                  </a:lnTo>
                  <a:lnTo>
                    <a:pt x="4493616" y="2729986"/>
                  </a:lnTo>
                  <a:lnTo>
                    <a:pt x="4654965" y="2676467"/>
                  </a:lnTo>
                  <a:lnTo>
                    <a:pt x="1278968" y="0"/>
                  </a:lnTo>
                  <a:lnTo>
                    <a:pt x="1526" y="516123"/>
                  </a:lnTo>
                  <a:lnTo>
                    <a:pt x="0" y="619221"/>
                  </a:lnTo>
                  <a:close/>
                </a:path>
              </a:pathLst>
            </a:custGeom>
            <a:solidFill>
              <a:schemeClr val="bg1">
                <a:lumMod val="95000"/>
              </a:schemeClr>
            </a:solidFill>
            <a:ln w="1268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6C7D6C06-3920-4219-A53D-EF2344EE20B7}"/>
                </a:ext>
              </a:extLst>
            </p:cNvPr>
            <p:cNvSpPr/>
            <p:nvPr/>
          </p:nvSpPr>
          <p:spPr>
            <a:xfrm>
              <a:off x="307186" y="806902"/>
              <a:ext cx="1239425" cy="1305308"/>
            </a:xfrm>
            <a:custGeom>
              <a:avLst/>
              <a:gdLst>
                <a:gd name="connsiteX0" fmla="*/ 165418 w 1239425"/>
                <a:gd name="connsiteY0" fmla="*/ 994363 h 1305308"/>
                <a:gd name="connsiteX1" fmla="*/ 165418 w 1239425"/>
                <a:gd name="connsiteY1" fmla="*/ 994363 h 1305308"/>
                <a:gd name="connsiteX2" fmla="*/ 166435 w 1239425"/>
                <a:gd name="connsiteY2" fmla="*/ 995889 h 1305308"/>
                <a:gd name="connsiteX3" fmla="*/ 167325 w 1239425"/>
                <a:gd name="connsiteY3" fmla="*/ 997414 h 1305308"/>
                <a:gd name="connsiteX4" fmla="*/ 167325 w 1239425"/>
                <a:gd name="connsiteY4" fmla="*/ 998813 h 1305308"/>
                <a:gd name="connsiteX5" fmla="*/ 167325 w 1239425"/>
                <a:gd name="connsiteY5" fmla="*/ 1000847 h 1305308"/>
                <a:gd name="connsiteX6" fmla="*/ 167325 w 1239425"/>
                <a:gd name="connsiteY6" fmla="*/ 1000847 h 1305308"/>
                <a:gd name="connsiteX7" fmla="*/ 163892 w 1239425"/>
                <a:gd name="connsiteY7" fmla="*/ 1138522 h 1305308"/>
                <a:gd name="connsiteX8" fmla="*/ 292692 w 1239425"/>
                <a:gd name="connsiteY8" fmla="*/ 1083223 h 1305308"/>
                <a:gd name="connsiteX9" fmla="*/ 293963 w 1239425"/>
                <a:gd name="connsiteY9" fmla="*/ 1083223 h 1305308"/>
                <a:gd name="connsiteX10" fmla="*/ 295870 w 1239425"/>
                <a:gd name="connsiteY10" fmla="*/ 1083223 h 1305308"/>
                <a:gd name="connsiteX11" fmla="*/ 297523 w 1239425"/>
                <a:gd name="connsiteY11" fmla="*/ 1083223 h 1305308"/>
                <a:gd name="connsiteX12" fmla="*/ 299176 w 1239425"/>
                <a:gd name="connsiteY12" fmla="*/ 1083223 h 1305308"/>
                <a:gd name="connsiteX13" fmla="*/ 300829 w 1239425"/>
                <a:gd name="connsiteY13" fmla="*/ 1084240 h 1305308"/>
                <a:gd name="connsiteX14" fmla="*/ 301846 w 1239425"/>
                <a:gd name="connsiteY14" fmla="*/ 1084240 h 1305308"/>
                <a:gd name="connsiteX15" fmla="*/ 507188 w 1239425"/>
                <a:gd name="connsiteY15" fmla="*/ 1273273 h 1305308"/>
                <a:gd name="connsiteX16" fmla="*/ 507188 w 1239425"/>
                <a:gd name="connsiteY16" fmla="*/ 1273273 h 1305308"/>
                <a:gd name="connsiteX17" fmla="*/ 508332 w 1239425"/>
                <a:gd name="connsiteY17" fmla="*/ 1274799 h 1305308"/>
                <a:gd name="connsiteX18" fmla="*/ 509222 w 1239425"/>
                <a:gd name="connsiteY18" fmla="*/ 1276324 h 1305308"/>
                <a:gd name="connsiteX19" fmla="*/ 509222 w 1239425"/>
                <a:gd name="connsiteY19" fmla="*/ 1277849 h 1305308"/>
                <a:gd name="connsiteX20" fmla="*/ 509222 w 1239425"/>
                <a:gd name="connsiteY20" fmla="*/ 1279884 h 1305308"/>
                <a:gd name="connsiteX21" fmla="*/ 509222 w 1239425"/>
                <a:gd name="connsiteY21" fmla="*/ 1279884 h 1305308"/>
                <a:gd name="connsiteX22" fmla="*/ 508078 w 1239425"/>
                <a:gd name="connsiteY22" fmla="*/ 1305308 h 1305308"/>
                <a:gd name="connsiteX23" fmla="*/ 698798 w 1239425"/>
                <a:gd name="connsiteY23" fmla="*/ 1222042 h 1305308"/>
                <a:gd name="connsiteX24" fmla="*/ 700069 w 1239425"/>
                <a:gd name="connsiteY24" fmla="*/ 1222042 h 1305308"/>
                <a:gd name="connsiteX25" fmla="*/ 701849 w 1239425"/>
                <a:gd name="connsiteY25" fmla="*/ 1222042 h 1305308"/>
                <a:gd name="connsiteX26" fmla="*/ 703629 w 1239425"/>
                <a:gd name="connsiteY26" fmla="*/ 1222042 h 1305308"/>
                <a:gd name="connsiteX27" fmla="*/ 705155 w 1239425"/>
                <a:gd name="connsiteY27" fmla="*/ 1222042 h 1305308"/>
                <a:gd name="connsiteX28" fmla="*/ 706808 w 1239425"/>
                <a:gd name="connsiteY28" fmla="*/ 1223059 h 1305308"/>
                <a:gd name="connsiteX29" fmla="*/ 707952 w 1239425"/>
                <a:gd name="connsiteY29" fmla="*/ 1223059 h 1305308"/>
                <a:gd name="connsiteX30" fmla="*/ 726516 w 1239425"/>
                <a:gd name="connsiteY30" fmla="*/ 1239839 h 1305308"/>
                <a:gd name="connsiteX31" fmla="*/ 739231 w 1239425"/>
                <a:gd name="connsiteY31" fmla="*/ 1234246 h 1305308"/>
                <a:gd name="connsiteX32" fmla="*/ 957796 w 1239425"/>
                <a:gd name="connsiteY32" fmla="*/ 1138267 h 1305308"/>
                <a:gd name="connsiteX33" fmla="*/ 959067 w 1239425"/>
                <a:gd name="connsiteY33" fmla="*/ 1138267 h 1305308"/>
                <a:gd name="connsiteX34" fmla="*/ 960847 w 1239425"/>
                <a:gd name="connsiteY34" fmla="*/ 1138267 h 1305308"/>
                <a:gd name="connsiteX35" fmla="*/ 962500 w 1239425"/>
                <a:gd name="connsiteY35" fmla="*/ 1138267 h 1305308"/>
                <a:gd name="connsiteX36" fmla="*/ 964153 w 1239425"/>
                <a:gd name="connsiteY36" fmla="*/ 1138267 h 1305308"/>
                <a:gd name="connsiteX37" fmla="*/ 965806 w 1239425"/>
                <a:gd name="connsiteY37" fmla="*/ 1139285 h 1305308"/>
                <a:gd name="connsiteX38" fmla="*/ 966950 w 1239425"/>
                <a:gd name="connsiteY38" fmla="*/ 1139285 h 1305308"/>
                <a:gd name="connsiteX39" fmla="*/ 995558 w 1239425"/>
                <a:gd name="connsiteY39" fmla="*/ 1164709 h 1305308"/>
                <a:gd name="connsiteX40" fmla="*/ 1155000 w 1239425"/>
                <a:gd name="connsiteY40" fmla="*/ 1098605 h 1305308"/>
                <a:gd name="connsiteX41" fmla="*/ 1155000 w 1239425"/>
                <a:gd name="connsiteY41" fmla="*/ 1098605 h 1305308"/>
                <a:gd name="connsiteX42" fmla="*/ 1239425 w 1239425"/>
                <a:gd name="connsiteY42" fmla="*/ 0 h 1305308"/>
                <a:gd name="connsiteX43" fmla="*/ 5213 w 1239425"/>
                <a:gd name="connsiteY43" fmla="*/ 502394 h 1305308"/>
                <a:gd name="connsiteX44" fmla="*/ 5213 w 1239425"/>
                <a:gd name="connsiteY44" fmla="*/ 504428 h 1305308"/>
                <a:gd name="connsiteX45" fmla="*/ 0 w 1239425"/>
                <a:gd name="connsiteY45" fmla="*/ 841687 h 130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39425" h="1305308">
                  <a:moveTo>
                    <a:pt x="165418" y="994363"/>
                  </a:moveTo>
                  <a:cubicBezTo>
                    <a:pt x="165418" y="994363"/>
                    <a:pt x="165418" y="994363"/>
                    <a:pt x="165418" y="994363"/>
                  </a:cubicBezTo>
                  <a:cubicBezTo>
                    <a:pt x="165800" y="994841"/>
                    <a:pt x="166141" y="995352"/>
                    <a:pt x="166435" y="995889"/>
                  </a:cubicBezTo>
                  <a:cubicBezTo>
                    <a:pt x="166851" y="996317"/>
                    <a:pt x="167156" y="996841"/>
                    <a:pt x="167325" y="997414"/>
                  </a:cubicBezTo>
                  <a:cubicBezTo>
                    <a:pt x="167399" y="997877"/>
                    <a:pt x="167399" y="998350"/>
                    <a:pt x="167325" y="998813"/>
                  </a:cubicBezTo>
                  <a:cubicBezTo>
                    <a:pt x="167434" y="999486"/>
                    <a:pt x="167434" y="1000173"/>
                    <a:pt x="167325" y="1000847"/>
                  </a:cubicBezTo>
                  <a:cubicBezTo>
                    <a:pt x="167325" y="1000847"/>
                    <a:pt x="167325" y="1000847"/>
                    <a:pt x="167325" y="1000847"/>
                  </a:cubicBezTo>
                  <a:lnTo>
                    <a:pt x="163892" y="1138522"/>
                  </a:lnTo>
                  <a:lnTo>
                    <a:pt x="292692" y="1083223"/>
                  </a:lnTo>
                  <a:lnTo>
                    <a:pt x="293963" y="1083223"/>
                  </a:lnTo>
                  <a:lnTo>
                    <a:pt x="295870" y="1083223"/>
                  </a:lnTo>
                  <a:cubicBezTo>
                    <a:pt x="296420" y="1083159"/>
                    <a:pt x="296974" y="1083159"/>
                    <a:pt x="297523" y="1083223"/>
                  </a:cubicBezTo>
                  <a:lnTo>
                    <a:pt x="299176" y="1083223"/>
                  </a:lnTo>
                  <a:cubicBezTo>
                    <a:pt x="299770" y="1083490"/>
                    <a:pt x="300325" y="1083833"/>
                    <a:pt x="300829" y="1084240"/>
                  </a:cubicBezTo>
                  <a:lnTo>
                    <a:pt x="301846" y="1084240"/>
                  </a:lnTo>
                  <a:lnTo>
                    <a:pt x="507188" y="1273273"/>
                  </a:lnTo>
                  <a:lnTo>
                    <a:pt x="507188" y="1273273"/>
                  </a:lnTo>
                  <a:cubicBezTo>
                    <a:pt x="507610" y="1273756"/>
                    <a:pt x="507993" y="1274265"/>
                    <a:pt x="508332" y="1274799"/>
                  </a:cubicBezTo>
                  <a:cubicBezTo>
                    <a:pt x="508676" y="1275282"/>
                    <a:pt x="508973" y="1275790"/>
                    <a:pt x="509222" y="1276324"/>
                  </a:cubicBezTo>
                  <a:lnTo>
                    <a:pt x="509222" y="1277849"/>
                  </a:lnTo>
                  <a:cubicBezTo>
                    <a:pt x="509292" y="1278523"/>
                    <a:pt x="509292" y="1279210"/>
                    <a:pt x="509222" y="1279884"/>
                  </a:cubicBezTo>
                  <a:cubicBezTo>
                    <a:pt x="509222" y="1279884"/>
                    <a:pt x="509222" y="1279884"/>
                    <a:pt x="509222" y="1279884"/>
                  </a:cubicBezTo>
                  <a:lnTo>
                    <a:pt x="508078" y="1305308"/>
                  </a:lnTo>
                  <a:lnTo>
                    <a:pt x="698798" y="1222042"/>
                  </a:lnTo>
                  <a:cubicBezTo>
                    <a:pt x="699214" y="1221928"/>
                    <a:pt x="699654" y="1221928"/>
                    <a:pt x="700069" y="1222042"/>
                  </a:cubicBezTo>
                  <a:cubicBezTo>
                    <a:pt x="700657" y="1221928"/>
                    <a:pt x="701262" y="1221928"/>
                    <a:pt x="701849" y="1222042"/>
                  </a:cubicBezTo>
                  <a:cubicBezTo>
                    <a:pt x="702441" y="1221979"/>
                    <a:pt x="703038" y="1221979"/>
                    <a:pt x="703629" y="1222042"/>
                  </a:cubicBezTo>
                  <a:lnTo>
                    <a:pt x="705155" y="1222042"/>
                  </a:lnTo>
                  <a:cubicBezTo>
                    <a:pt x="705749" y="1222309"/>
                    <a:pt x="706305" y="1222652"/>
                    <a:pt x="706808" y="1223059"/>
                  </a:cubicBezTo>
                  <a:cubicBezTo>
                    <a:pt x="706808" y="1223059"/>
                    <a:pt x="707571" y="1223059"/>
                    <a:pt x="707952" y="1223059"/>
                  </a:cubicBezTo>
                  <a:lnTo>
                    <a:pt x="726516" y="1239839"/>
                  </a:lnTo>
                  <a:lnTo>
                    <a:pt x="739231" y="1234246"/>
                  </a:lnTo>
                  <a:lnTo>
                    <a:pt x="957796" y="1138267"/>
                  </a:lnTo>
                  <a:lnTo>
                    <a:pt x="959067" y="1138267"/>
                  </a:lnTo>
                  <a:cubicBezTo>
                    <a:pt x="959658" y="1138204"/>
                    <a:pt x="960255" y="1138204"/>
                    <a:pt x="960847" y="1138267"/>
                  </a:cubicBezTo>
                  <a:lnTo>
                    <a:pt x="962500" y="1138267"/>
                  </a:lnTo>
                  <a:lnTo>
                    <a:pt x="964153" y="1138267"/>
                  </a:lnTo>
                  <a:cubicBezTo>
                    <a:pt x="964725" y="1138560"/>
                    <a:pt x="965285" y="1138903"/>
                    <a:pt x="965806" y="1139285"/>
                  </a:cubicBezTo>
                  <a:cubicBezTo>
                    <a:pt x="965806" y="1139285"/>
                    <a:pt x="966569" y="1139285"/>
                    <a:pt x="966950" y="1139285"/>
                  </a:cubicBezTo>
                  <a:lnTo>
                    <a:pt x="995558" y="1164709"/>
                  </a:lnTo>
                  <a:lnTo>
                    <a:pt x="1155000" y="1098605"/>
                  </a:lnTo>
                  <a:lnTo>
                    <a:pt x="1155000" y="1098605"/>
                  </a:lnTo>
                  <a:lnTo>
                    <a:pt x="1239425" y="0"/>
                  </a:lnTo>
                  <a:lnTo>
                    <a:pt x="5213" y="502394"/>
                  </a:lnTo>
                  <a:lnTo>
                    <a:pt x="5213" y="504428"/>
                  </a:lnTo>
                  <a:lnTo>
                    <a:pt x="0" y="841687"/>
                  </a:lnTo>
                  <a:close/>
                </a:path>
              </a:pathLst>
            </a:custGeom>
            <a:solidFill>
              <a:schemeClr val="accent4"/>
            </a:solidFill>
            <a:ln w="1268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7CF684D1-1EC1-4058-BFCA-18861FED1DA3}"/>
                </a:ext>
              </a:extLst>
            </p:cNvPr>
            <p:cNvSpPr/>
            <p:nvPr/>
          </p:nvSpPr>
          <p:spPr>
            <a:xfrm>
              <a:off x="1264981" y="1967035"/>
              <a:ext cx="21487" cy="17288"/>
            </a:xfrm>
            <a:custGeom>
              <a:avLst/>
              <a:gdLst>
                <a:gd name="connsiteX0" fmla="*/ 21488 w 21487"/>
                <a:gd name="connsiteY0" fmla="*/ 15636 h 17288"/>
                <a:gd name="connsiteX1" fmla="*/ 3814 w 21487"/>
                <a:gd name="connsiteY1" fmla="*/ 0 h 17288"/>
                <a:gd name="connsiteX2" fmla="*/ 0 w 21487"/>
                <a:gd name="connsiteY2" fmla="*/ 1653 h 17288"/>
                <a:gd name="connsiteX3" fmla="*/ 17673 w 21487"/>
                <a:gd name="connsiteY3" fmla="*/ 17289 h 17288"/>
                <a:gd name="connsiteX4" fmla="*/ 21488 w 21487"/>
                <a:gd name="connsiteY4" fmla="*/ 15636 h 17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7" h="17288">
                  <a:moveTo>
                    <a:pt x="21488" y="15636"/>
                  </a:moveTo>
                  <a:lnTo>
                    <a:pt x="3814" y="0"/>
                  </a:lnTo>
                  <a:lnTo>
                    <a:pt x="0" y="1653"/>
                  </a:lnTo>
                  <a:lnTo>
                    <a:pt x="17673" y="17289"/>
                  </a:lnTo>
                  <a:lnTo>
                    <a:pt x="21488" y="15636"/>
                  </a:lnTo>
                  <a:close/>
                </a:path>
              </a:pathLst>
            </a:custGeom>
            <a:solidFill>
              <a:srgbClr val="0A4054"/>
            </a:solidFill>
            <a:ln w="1268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BA46C604-34EE-4E34-8529-FE1AAD869CC1}"/>
                </a:ext>
              </a:extLst>
            </p:cNvPr>
            <p:cNvSpPr/>
            <p:nvPr/>
          </p:nvSpPr>
          <p:spPr>
            <a:xfrm>
              <a:off x="812848" y="1985976"/>
              <a:ext cx="450607" cy="216619"/>
            </a:xfrm>
            <a:custGeom>
              <a:avLst/>
              <a:gdLst>
                <a:gd name="connsiteX0" fmla="*/ 25175 w 450607"/>
                <a:gd name="connsiteY0" fmla="*/ 215602 h 216619"/>
                <a:gd name="connsiteX1" fmla="*/ 320791 w 450607"/>
                <a:gd name="connsiteY1" fmla="*/ 85300 h 216619"/>
                <a:gd name="connsiteX2" fmla="*/ 321681 w 450607"/>
                <a:gd name="connsiteY2" fmla="*/ 69155 h 216619"/>
                <a:gd name="connsiteX3" fmla="*/ 321681 w 450607"/>
                <a:gd name="connsiteY3" fmla="*/ 67884 h 216619"/>
                <a:gd name="connsiteX4" fmla="*/ 321681 w 450607"/>
                <a:gd name="connsiteY4" fmla="*/ 65977 h 216619"/>
                <a:gd name="connsiteX5" fmla="*/ 322571 w 450607"/>
                <a:gd name="connsiteY5" fmla="*/ 64452 h 216619"/>
                <a:gd name="connsiteX6" fmla="*/ 323588 w 450607"/>
                <a:gd name="connsiteY6" fmla="*/ 63053 h 216619"/>
                <a:gd name="connsiteX7" fmla="*/ 325241 w 450607"/>
                <a:gd name="connsiteY7" fmla="*/ 61909 h 216619"/>
                <a:gd name="connsiteX8" fmla="*/ 326258 w 450607"/>
                <a:gd name="connsiteY8" fmla="*/ 61147 h 216619"/>
                <a:gd name="connsiteX9" fmla="*/ 450608 w 450607"/>
                <a:gd name="connsiteY9" fmla="*/ 6483 h 216619"/>
                <a:gd name="connsiteX10" fmla="*/ 443360 w 450607"/>
                <a:gd name="connsiteY10" fmla="*/ 0 h 216619"/>
                <a:gd name="connsiteX11" fmla="*/ 252640 w 450607"/>
                <a:gd name="connsiteY11" fmla="*/ 84156 h 216619"/>
                <a:gd name="connsiteX12" fmla="*/ 241579 w 450607"/>
                <a:gd name="connsiteY12" fmla="*/ 88987 h 216619"/>
                <a:gd name="connsiteX13" fmla="*/ 0 w 450607"/>
                <a:gd name="connsiteY13" fmla="*/ 195262 h 216619"/>
                <a:gd name="connsiteX14" fmla="*/ 23014 w 450607"/>
                <a:gd name="connsiteY14" fmla="*/ 216619 h 21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607" h="216619">
                  <a:moveTo>
                    <a:pt x="25175" y="215602"/>
                  </a:moveTo>
                  <a:lnTo>
                    <a:pt x="320791" y="85300"/>
                  </a:lnTo>
                  <a:lnTo>
                    <a:pt x="321681" y="69155"/>
                  </a:lnTo>
                  <a:lnTo>
                    <a:pt x="321681" y="67884"/>
                  </a:lnTo>
                  <a:cubicBezTo>
                    <a:pt x="321592" y="67249"/>
                    <a:pt x="321592" y="66613"/>
                    <a:pt x="321681" y="65977"/>
                  </a:cubicBezTo>
                  <a:cubicBezTo>
                    <a:pt x="321949" y="65456"/>
                    <a:pt x="322247" y="64948"/>
                    <a:pt x="322571" y="64452"/>
                  </a:cubicBezTo>
                  <a:cubicBezTo>
                    <a:pt x="322877" y="63969"/>
                    <a:pt x="323218" y="63498"/>
                    <a:pt x="323588" y="63053"/>
                  </a:cubicBezTo>
                  <a:cubicBezTo>
                    <a:pt x="324087" y="62596"/>
                    <a:pt x="324642" y="62214"/>
                    <a:pt x="325241" y="61909"/>
                  </a:cubicBezTo>
                  <a:lnTo>
                    <a:pt x="326258" y="61147"/>
                  </a:lnTo>
                  <a:lnTo>
                    <a:pt x="450608" y="6483"/>
                  </a:lnTo>
                  <a:lnTo>
                    <a:pt x="443360" y="0"/>
                  </a:lnTo>
                  <a:lnTo>
                    <a:pt x="252640" y="84156"/>
                  </a:lnTo>
                  <a:lnTo>
                    <a:pt x="241579" y="88987"/>
                  </a:lnTo>
                  <a:lnTo>
                    <a:pt x="0" y="195262"/>
                  </a:lnTo>
                  <a:lnTo>
                    <a:pt x="23014" y="216619"/>
                  </a:lnTo>
                  <a:close/>
                </a:path>
              </a:pathLst>
            </a:custGeom>
            <a:solidFill>
              <a:srgbClr val="66B2B0"/>
            </a:solidFill>
            <a:ln w="1268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793FFBD9-B6FE-4728-BB9A-92B10D40CF81}"/>
                </a:ext>
              </a:extLst>
            </p:cNvPr>
            <p:cNvSpPr/>
            <p:nvPr/>
          </p:nvSpPr>
          <p:spPr>
            <a:xfrm>
              <a:off x="810814" y="2185052"/>
              <a:ext cx="21614" cy="28475"/>
            </a:xfrm>
            <a:custGeom>
              <a:avLst/>
              <a:gdLst>
                <a:gd name="connsiteX0" fmla="*/ 1271 w 21614"/>
                <a:gd name="connsiteY0" fmla="*/ 0 h 28475"/>
                <a:gd name="connsiteX1" fmla="*/ 0 w 21614"/>
                <a:gd name="connsiteY1" fmla="*/ 28476 h 28475"/>
                <a:gd name="connsiteX2" fmla="*/ 21615 w 21614"/>
                <a:gd name="connsiteY2" fmla="*/ 18941 h 28475"/>
                <a:gd name="connsiteX3" fmla="*/ 1271 w 21614"/>
                <a:gd name="connsiteY3" fmla="*/ 0 h 28475"/>
              </a:gdLst>
              <a:ahLst/>
              <a:cxnLst>
                <a:cxn ang="0">
                  <a:pos x="connsiteX0" y="connsiteY0"/>
                </a:cxn>
                <a:cxn ang="0">
                  <a:pos x="connsiteX1" y="connsiteY1"/>
                </a:cxn>
                <a:cxn ang="0">
                  <a:pos x="connsiteX2" y="connsiteY2"/>
                </a:cxn>
                <a:cxn ang="0">
                  <a:pos x="connsiteX3" y="connsiteY3"/>
                </a:cxn>
              </a:cxnLst>
              <a:rect l="l" t="t" r="r" b="b"/>
              <a:pathLst>
                <a:path w="21614" h="28475">
                  <a:moveTo>
                    <a:pt x="1271" y="0"/>
                  </a:moveTo>
                  <a:lnTo>
                    <a:pt x="0" y="28476"/>
                  </a:lnTo>
                  <a:lnTo>
                    <a:pt x="21615" y="18941"/>
                  </a:lnTo>
                  <a:lnTo>
                    <a:pt x="1271" y="0"/>
                  </a:lnTo>
                  <a:close/>
                </a:path>
              </a:pathLst>
            </a:custGeom>
            <a:solidFill>
              <a:srgbClr val="F9AA19"/>
            </a:solidFill>
            <a:ln w="1268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01811F69-5177-4117-95B7-B51D50D76CAA}"/>
                </a:ext>
              </a:extLst>
            </p:cNvPr>
            <p:cNvSpPr/>
            <p:nvPr/>
          </p:nvSpPr>
          <p:spPr>
            <a:xfrm>
              <a:off x="486717" y="2094540"/>
              <a:ext cx="311763" cy="527945"/>
            </a:xfrm>
            <a:custGeom>
              <a:avLst/>
              <a:gdLst>
                <a:gd name="connsiteX0" fmla="*/ 215641 w 311763"/>
                <a:gd name="connsiteY0" fmla="*/ 172888 h 527945"/>
                <a:gd name="connsiteX1" fmla="*/ 215641 w 311763"/>
                <a:gd name="connsiteY1" fmla="*/ 172888 h 527945"/>
                <a:gd name="connsiteX2" fmla="*/ 215641 w 311763"/>
                <a:gd name="connsiteY2" fmla="*/ 172888 h 527945"/>
                <a:gd name="connsiteX3" fmla="*/ 215641 w 311763"/>
                <a:gd name="connsiteY3" fmla="*/ 171617 h 527945"/>
                <a:gd name="connsiteX4" fmla="*/ 215641 w 311763"/>
                <a:gd name="connsiteY4" fmla="*/ 169456 h 527945"/>
                <a:gd name="connsiteX5" fmla="*/ 216658 w 311763"/>
                <a:gd name="connsiteY5" fmla="*/ 168058 h 527945"/>
                <a:gd name="connsiteX6" fmla="*/ 217675 w 311763"/>
                <a:gd name="connsiteY6" fmla="*/ 166532 h 527945"/>
                <a:gd name="connsiteX7" fmla="*/ 219328 w 311763"/>
                <a:gd name="connsiteY7" fmla="*/ 165388 h 527945"/>
                <a:gd name="connsiteX8" fmla="*/ 220345 w 311763"/>
                <a:gd name="connsiteY8" fmla="*/ 164626 h 527945"/>
                <a:gd name="connsiteX9" fmla="*/ 220345 w 311763"/>
                <a:gd name="connsiteY9" fmla="*/ 164626 h 527945"/>
                <a:gd name="connsiteX10" fmla="*/ 305152 w 311763"/>
                <a:gd name="connsiteY10" fmla="*/ 127251 h 527945"/>
                <a:gd name="connsiteX11" fmla="*/ 307059 w 311763"/>
                <a:gd name="connsiteY11" fmla="*/ 80469 h 527945"/>
                <a:gd name="connsiteX12" fmla="*/ 307059 w 311763"/>
                <a:gd name="connsiteY12" fmla="*/ 79198 h 527945"/>
                <a:gd name="connsiteX13" fmla="*/ 307059 w 311763"/>
                <a:gd name="connsiteY13" fmla="*/ 77164 h 527945"/>
                <a:gd name="connsiteX14" fmla="*/ 308076 w 311763"/>
                <a:gd name="connsiteY14" fmla="*/ 75639 h 527945"/>
                <a:gd name="connsiteX15" fmla="*/ 308966 w 311763"/>
                <a:gd name="connsiteY15" fmla="*/ 74367 h 527945"/>
                <a:gd name="connsiteX16" fmla="*/ 308966 w 311763"/>
                <a:gd name="connsiteY16" fmla="*/ 65215 h 527945"/>
                <a:gd name="connsiteX17" fmla="*/ 310238 w 311763"/>
                <a:gd name="connsiteY17" fmla="*/ 33942 h 527945"/>
                <a:gd name="connsiteX18" fmla="*/ 311764 w 311763"/>
                <a:gd name="connsiteY18" fmla="*/ 0 h 527945"/>
                <a:gd name="connsiteX19" fmla="*/ 10426 w 311763"/>
                <a:gd name="connsiteY19" fmla="*/ 132209 h 527945"/>
                <a:gd name="connsiteX20" fmla="*/ 0 w 311763"/>
                <a:gd name="connsiteY20" fmla="*/ 527946 h 527945"/>
                <a:gd name="connsiteX21" fmla="*/ 205723 w 311763"/>
                <a:gd name="connsiteY21" fmla="*/ 435654 h 527945"/>
                <a:gd name="connsiteX22" fmla="*/ 205723 w 311763"/>
                <a:gd name="connsiteY22" fmla="*/ 433111 h 52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1763" h="527945">
                  <a:moveTo>
                    <a:pt x="215641" y="172888"/>
                  </a:moveTo>
                  <a:lnTo>
                    <a:pt x="215641" y="172888"/>
                  </a:lnTo>
                  <a:lnTo>
                    <a:pt x="215641" y="172888"/>
                  </a:lnTo>
                  <a:cubicBezTo>
                    <a:pt x="215641" y="172888"/>
                    <a:pt x="215641" y="171999"/>
                    <a:pt x="215641" y="171617"/>
                  </a:cubicBezTo>
                  <a:cubicBezTo>
                    <a:pt x="215580" y="170893"/>
                    <a:pt x="215580" y="170181"/>
                    <a:pt x="215641" y="169456"/>
                  </a:cubicBezTo>
                  <a:cubicBezTo>
                    <a:pt x="215905" y="168935"/>
                    <a:pt x="216248" y="168465"/>
                    <a:pt x="216658" y="168058"/>
                  </a:cubicBezTo>
                  <a:cubicBezTo>
                    <a:pt x="216907" y="167498"/>
                    <a:pt x="217250" y="166977"/>
                    <a:pt x="217675" y="166532"/>
                  </a:cubicBezTo>
                  <a:cubicBezTo>
                    <a:pt x="218151" y="166049"/>
                    <a:pt x="218711" y="165668"/>
                    <a:pt x="219328" y="165388"/>
                  </a:cubicBezTo>
                  <a:cubicBezTo>
                    <a:pt x="219328" y="165388"/>
                    <a:pt x="219328" y="164753"/>
                    <a:pt x="220345" y="164626"/>
                  </a:cubicBezTo>
                  <a:lnTo>
                    <a:pt x="220345" y="164626"/>
                  </a:lnTo>
                  <a:lnTo>
                    <a:pt x="305152" y="127251"/>
                  </a:lnTo>
                  <a:lnTo>
                    <a:pt x="307059" y="80469"/>
                  </a:lnTo>
                  <a:cubicBezTo>
                    <a:pt x="307020" y="80050"/>
                    <a:pt x="307020" y="79618"/>
                    <a:pt x="307059" y="79198"/>
                  </a:cubicBezTo>
                  <a:cubicBezTo>
                    <a:pt x="306999" y="78524"/>
                    <a:pt x="306999" y="77838"/>
                    <a:pt x="307059" y="77164"/>
                  </a:cubicBezTo>
                  <a:lnTo>
                    <a:pt x="308076" y="75639"/>
                  </a:lnTo>
                  <a:cubicBezTo>
                    <a:pt x="308329" y="75181"/>
                    <a:pt x="308628" y="74762"/>
                    <a:pt x="308966" y="74367"/>
                  </a:cubicBezTo>
                  <a:lnTo>
                    <a:pt x="308966" y="65215"/>
                  </a:lnTo>
                  <a:lnTo>
                    <a:pt x="310238" y="33942"/>
                  </a:lnTo>
                  <a:lnTo>
                    <a:pt x="311764" y="0"/>
                  </a:lnTo>
                  <a:lnTo>
                    <a:pt x="10426" y="132209"/>
                  </a:lnTo>
                  <a:lnTo>
                    <a:pt x="0" y="527946"/>
                  </a:lnTo>
                  <a:lnTo>
                    <a:pt x="205723" y="435654"/>
                  </a:lnTo>
                  <a:lnTo>
                    <a:pt x="205723" y="433111"/>
                  </a:lnTo>
                  <a:close/>
                </a:path>
              </a:pathLst>
            </a:custGeom>
            <a:solidFill>
              <a:schemeClr val="accent5"/>
            </a:solidFill>
            <a:ln w="1268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4D0CA09-FF34-4803-AA57-F4BE8B52B642}"/>
                </a:ext>
              </a:extLst>
            </p:cNvPr>
            <p:cNvSpPr/>
            <p:nvPr/>
          </p:nvSpPr>
          <p:spPr>
            <a:xfrm>
              <a:off x="488497" y="2534261"/>
              <a:ext cx="285698" cy="360650"/>
            </a:xfrm>
            <a:custGeom>
              <a:avLst/>
              <a:gdLst>
                <a:gd name="connsiteX0" fmla="*/ 204452 w 285698"/>
                <a:gd name="connsiteY0" fmla="*/ 59748 h 360650"/>
                <a:gd name="connsiteX1" fmla="*/ 203307 w 285698"/>
                <a:gd name="connsiteY1" fmla="*/ 58223 h 360650"/>
                <a:gd name="connsiteX2" fmla="*/ 202417 w 285698"/>
                <a:gd name="connsiteY2" fmla="*/ 56824 h 360650"/>
                <a:gd name="connsiteX3" fmla="*/ 202417 w 285698"/>
                <a:gd name="connsiteY3" fmla="*/ 55172 h 360650"/>
                <a:gd name="connsiteX4" fmla="*/ 202417 w 285698"/>
                <a:gd name="connsiteY4" fmla="*/ 53265 h 360650"/>
                <a:gd name="connsiteX5" fmla="*/ 202417 w 285698"/>
                <a:gd name="connsiteY5" fmla="*/ 53265 h 360650"/>
                <a:gd name="connsiteX6" fmla="*/ 204325 w 285698"/>
                <a:gd name="connsiteY6" fmla="*/ 0 h 360650"/>
                <a:gd name="connsiteX7" fmla="*/ 0 w 285698"/>
                <a:gd name="connsiteY7" fmla="*/ 91656 h 360650"/>
                <a:gd name="connsiteX8" fmla="*/ 276163 w 285698"/>
                <a:gd name="connsiteY8" fmla="*/ 360650 h 360650"/>
                <a:gd name="connsiteX9" fmla="*/ 285698 w 285698"/>
                <a:gd name="connsiteY9" fmla="*/ 137675 h 360650"/>
                <a:gd name="connsiteX10" fmla="*/ 205215 w 285698"/>
                <a:gd name="connsiteY10" fmla="*/ 60511 h 360650"/>
                <a:gd name="connsiteX11" fmla="*/ 204452 w 285698"/>
                <a:gd name="connsiteY11" fmla="*/ 59748 h 3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698" h="360650">
                  <a:moveTo>
                    <a:pt x="204452" y="59748"/>
                  </a:moveTo>
                  <a:cubicBezTo>
                    <a:pt x="203961" y="59329"/>
                    <a:pt x="203571" y="58807"/>
                    <a:pt x="203307" y="58223"/>
                  </a:cubicBezTo>
                  <a:lnTo>
                    <a:pt x="202417" y="56824"/>
                  </a:lnTo>
                  <a:lnTo>
                    <a:pt x="202417" y="55172"/>
                  </a:lnTo>
                  <a:cubicBezTo>
                    <a:pt x="202355" y="54536"/>
                    <a:pt x="202355" y="53900"/>
                    <a:pt x="202417" y="53265"/>
                  </a:cubicBezTo>
                  <a:cubicBezTo>
                    <a:pt x="202417" y="53265"/>
                    <a:pt x="202417" y="53265"/>
                    <a:pt x="202417" y="53265"/>
                  </a:cubicBezTo>
                  <a:lnTo>
                    <a:pt x="204325" y="0"/>
                  </a:lnTo>
                  <a:lnTo>
                    <a:pt x="0" y="91656"/>
                  </a:lnTo>
                  <a:lnTo>
                    <a:pt x="276163" y="360650"/>
                  </a:lnTo>
                  <a:lnTo>
                    <a:pt x="285698" y="137675"/>
                  </a:lnTo>
                  <a:lnTo>
                    <a:pt x="205215" y="60511"/>
                  </a:lnTo>
                  <a:lnTo>
                    <a:pt x="204452" y="59748"/>
                  </a:lnTo>
                  <a:close/>
                </a:path>
              </a:pathLst>
            </a:custGeom>
            <a:solidFill>
              <a:schemeClr val="accent1"/>
            </a:solidFill>
            <a:ln w="1268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A95EC44-BBCE-4D7D-A39F-4DFA5360983D}"/>
                </a:ext>
              </a:extLst>
            </p:cNvPr>
            <p:cNvSpPr/>
            <p:nvPr/>
          </p:nvSpPr>
          <p:spPr>
            <a:xfrm>
              <a:off x="233186" y="1910210"/>
              <a:ext cx="566183" cy="412389"/>
            </a:xfrm>
            <a:custGeom>
              <a:avLst/>
              <a:gdLst>
                <a:gd name="connsiteX0" fmla="*/ 369488 w 566183"/>
                <a:gd name="connsiteY0" fmla="*/ 0 h 412389"/>
                <a:gd name="connsiteX1" fmla="*/ 238527 w 566183"/>
                <a:gd name="connsiteY1" fmla="*/ 56062 h 412389"/>
                <a:gd name="connsiteX2" fmla="*/ 233187 w 566183"/>
                <a:gd name="connsiteY2" fmla="*/ 279545 h 412389"/>
                <a:gd name="connsiteX3" fmla="*/ 224161 w 566183"/>
                <a:gd name="connsiteY3" fmla="*/ 288571 h 412389"/>
                <a:gd name="connsiteX4" fmla="*/ 224032 w 566183"/>
                <a:gd name="connsiteY4" fmla="*/ 288571 h 412389"/>
                <a:gd name="connsiteX5" fmla="*/ 216149 w 566183"/>
                <a:gd name="connsiteY5" fmla="*/ 282851 h 412389"/>
                <a:gd name="connsiteX6" fmla="*/ 0 w 566183"/>
                <a:gd name="connsiteY6" fmla="*/ 376922 h 412389"/>
                <a:gd name="connsiteX7" fmla="*/ 36618 w 566183"/>
                <a:gd name="connsiteY7" fmla="*/ 412390 h 412389"/>
                <a:gd name="connsiteX8" fmla="*/ 261922 w 566183"/>
                <a:gd name="connsiteY8" fmla="*/ 313869 h 412389"/>
                <a:gd name="connsiteX9" fmla="*/ 566184 w 566183"/>
                <a:gd name="connsiteY9" fmla="*/ 180643 h 41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183" h="412389">
                  <a:moveTo>
                    <a:pt x="369488" y="0"/>
                  </a:moveTo>
                  <a:lnTo>
                    <a:pt x="238527" y="56062"/>
                  </a:lnTo>
                  <a:lnTo>
                    <a:pt x="233187" y="279545"/>
                  </a:lnTo>
                  <a:cubicBezTo>
                    <a:pt x="233187" y="284529"/>
                    <a:pt x="229146" y="288571"/>
                    <a:pt x="224161" y="288571"/>
                  </a:cubicBezTo>
                  <a:cubicBezTo>
                    <a:pt x="224118" y="288571"/>
                    <a:pt x="224076" y="288571"/>
                    <a:pt x="224032" y="288571"/>
                  </a:cubicBezTo>
                  <a:cubicBezTo>
                    <a:pt x="220479" y="288470"/>
                    <a:pt x="217351" y="286194"/>
                    <a:pt x="216149" y="282851"/>
                  </a:cubicBezTo>
                  <a:lnTo>
                    <a:pt x="0" y="376922"/>
                  </a:lnTo>
                  <a:lnTo>
                    <a:pt x="36618" y="412390"/>
                  </a:lnTo>
                  <a:lnTo>
                    <a:pt x="261922" y="313869"/>
                  </a:lnTo>
                  <a:lnTo>
                    <a:pt x="566184" y="180643"/>
                  </a:lnTo>
                  <a:close/>
                </a:path>
              </a:pathLst>
            </a:custGeom>
            <a:solidFill>
              <a:schemeClr val="accent1">
                <a:lumMod val="40000"/>
                <a:lumOff val="60000"/>
              </a:schemeClr>
            </a:solidFill>
            <a:ln w="1268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0A820936-99BC-46AE-A0FB-481DE69B1A09}"/>
                </a:ext>
              </a:extLst>
            </p:cNvPr>
            <p:cNvSpPr/>
            <p:nvPr/>
          </p:nvSpPr>
          <p:spPr>
            <a:xfrm>
              <a:off x="233059" y="1813723"/>
              <a:ext cx="224668" cy="473409"/>
            </a:xfrm>
            <a:custGeom>
              <a:avLst/>
              <a:gdLst>
                <a:gd name="connsiteX0" fmla="*/ 215641 w 224668"/>
                <a:gd name="connsiteY0" fmla="*/ 375524 h 473409"/>
                <a:gd name="connsiteX1" fmla="*/ 221235 w 224668"/>
                <a:gd name="connsiteY1" fmla="*/ 146701 h 473409"/>
                <a:gd name="connsiteX2" fmla="*/ 221235 w 224668"/>
                <a:gd name="connsiteY2" fmla="*/ 146701 h 473409"/>
                <a:gd name="connsiteX3" fmla="*/ 224668 w 224668"/>
                <a:gd name="connsiteY3" fmla="*/ 0 h 473409"/>
                <a:gd name="connsiteX4" fmla="*/ 4704 w 224668"/>
                <a:gd name="connsiteY4" fmla="*/ 93309 h 473409"/>
                <a:gd name="connsiteX5" fmla="*/ 0 w 224668"/>
                <a:gd name="connsiteY5" fmla="*/ 473409 h 473409"/>
                <a:gd name="connsiteX6" fmla="*/ 0 w 224668"/>
                <a:gd name="connsiteY6" fmla="*/ 473409 h 473409"/>
                <a:gd name="connsiteX7" fmla="*/ 216149 w 224668"/>
                <a:gd name="connsiteY7" fmla="*/ 379338 h 473409"/>
                <a:gd name="connsiteX8" fmla="*/ 215641 w 224668"/>
                <a:gd name="connsiteY8" fmla="*/ 375524 h 47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668" h="473409">
                  <a:moveTo>
                    <a:pt x="215641" y="375524"/>
                  </a:moveTo>
                  <a:lnTo>
                    <a:pt x="221235" y="146701"/>
                  </a:lnTo>
                  <a:lnTo>
                    <a:pt x="221235" y="146701"/>
                  </a:lnTo>
                  <a:lnTo>
                    <a:pt x="224668" y="0"/>
                  </a:lnTo>
                  <a:lnTo>
                    <a:pt x="4704" y="93309"/>
                  </a:lnTo>
                  <a:lnTo>
                    <a:pt x="0" y="473409"/>
                  </a:lnTo>
                  <a:lnTo>
                    <a:pt x="0" y="473409"/>
                  </a:lnTo>
                  <a:lnTo>
                    <a:pt x="216149" y="379338"/>
                  </a:lnTo>
                  <a:cubicBezTo>
                    <a:pt x="215716" y="378117"/>
                    <a:pt x="215542" y="376821"/>
                    <a:pt x="215641" y="375524"/>
                  </a:cubicBezTo>
                  <a:close/>
                </a:path>
              </a:pathLst>
            </a:custGeom>
            <a:solidFill>
              <a:schemeClr val="accent2">
                <a:lumMod val="75000"/>
              </a:schemeClr>
            </a:solidFill>
            <a:ln w="1268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E346970-64DB-406D-8A6C-73DD1BF68B7F}"/>
                </a:ext>
              </a:extLst>
            </p:cNvPr>
            <p:cNvSpPr/>
            <p:nvPr/>
          </p:nvSpPr>
          <p:spPr>
            <a:xfrm>
              <a:off x="228101" y="2291582"/>
              <a:ext cx="39669" cy="428916"/>
            </a:xfrm>
            <a:custGeom>
              <a:avLst/>
              <a:gdLst>
                <a:gd name="connsiteX0" fmla="*/ 0 w 39669"/>
                <a:gd name="connsiteY0" fmla="*/ 395228 h 428916"/>
                <a:gd name="connsiteX1" fmla="*/ 33948 w 39669"/>
                <a:gd name="connsiteY1" fmla="*/ 428916 h 428916"/>
                <a:gd name="connsiteX2" fmla="*/ 39670 w 39669"/>
                <a:gd name="connsiteY2" fmla="*/ 33688 h 428916"/>
                <a:gd name="connsiteX3" fmla="*/ 4959 w 39669"/>
                <a:gd name="connsiteY3" fmla="*/ 0 h 428916"/>
                <a:gd name="connsiteX4" fmla="*/ 0 w 39669"/>
                <a:gd name="connsiteY4" fmla="*/ 395228 h 42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69" h="428916">
                  <a:moveTo>
                    <a:pt x="0" y="395228"/>
                  </a:moveTo>
                  <a:lnTo>
                    <a:pt x="33948" y="428916"/>
                  </a:lnTo>
                  <a:lnTo>
                    <a:pt x="39670" y="33688"/>
                  </a:lnTo>
                  <a:lnTo>
                    <a:pt x="4959" y="0"/>
                  </a:lnTo>
                  <a:lnTo>
                    <a:pt x="0" y="395228"/>
                  </a:lnTo>
                  <a:close/>
                </a:path>
              </a:pathLst>
            </a:custGeom>
            <a:solidFill>
              <a:schemeClr val="accent3">
                <a:lumMod val="75000"/>
              </a:schemeClr>
            </a:solidFill>
            <a:ln w="1268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269FBE4-F481-4F8A-A4D3-88659A547B8F}"/>
                </a:ext>
              </a:extLst>
            </p:cNvPr>
            <p:cNvSpPr/>
            <p:nvPr/>
          </p:nvSpPr>
          <p:spPr>
            <a:xfrm>
              <a:off x="816154" y="2050301"/>
              <a:ext cx="201145" cy="95342"/>
            </a:xfrm>
            <a:custGeom>
              <a:avLst/>
              <a:gdLst>
                <a:gd name="connsiteX0" fmla="*/ 201146 w 201145"/>
                <a:gd name="connsiteY0" fmla="*/ 6992 h 95342"/>
                <a:gd name="connsiteX1" fmla="*/ 193390 w 201145"/>
                <a:gd name="connsiteY1" fmla="*/ 0 h 95342"/>
                <a:gd name="connsiteX2" fmla="*/ 381 w 201145"/>
                <a:gd name="connsiteY2" fmla="*/ 84537 h 95342"/>
                <a:gd name="connsiteX3" fmla="*/ 0 w 201145"/>
                <a:gd name="connsiteY3" fmla="*/ 95343 h 95342"/>
                <a:gd name="connsiteX4" fmla="*/ 201146 w 201145"/>
                <a:gd name="connsiteY4" fmla="*/ 6992 h 95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45" h="95342">
                  <a:moveTo>
                    <a:pt x="201146" y="6992"/>
                  </a:moveTo>
                  <a:lnTo>
                    <a:pt x="193390" y="0"/>
                  </a:lnTo>
                  <a:lnTo>
                    <a:pt x="381" y="84537"/>
                  </a:lnTo>
                  <a:lnTo>
                    <a:pt x="0" y="95343"/>
                  </a:lnTo>
                  <a:lnTo>
                    <a:pt x="201146" y="6992"/>
                  </a:lnTo>
                  <a:close/>
                </a:path>
              </a:pathLst>
            </a:custGeom>
            <a:solidFill>
              <a:srgbClr val="930B0D"/>
            </a:solidFill>
            <a:ln w="1268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3ECB68CA-59DE-4BB0-9F60-A79C3642ED5C}"/>
                </a:ext>
              </a:extLst>
            </p:cNvPr>
            <p:cNvSpPr/>
            <p:nvPr/>
          </p:nvSpPr>
          <p:spPr>
            <a:xfrm>
              <a:off x="3305" y="2530193"/>
              <a:ext cx="760336" cy="841178"/>
            </a:xfrm>
            <a:custGeom>
              <a:avLst/>
              <a:gdLst>
                <a:gd name="connsiteX0" fmla="*/ 755378 w 760336"/>
                <a:gd name="connsiteY0" fmla="*/ 488664 h 841178"/>
                <a:gd name="connsiteX1" fmla="*/ 760337 w 760336"/>
                <a:gd name="connsiteY1" fmla="*/ 374253 h 841178"/>
                <a:gd name="connsiteX2" fmla="*/ 760337 w 760336"/>
                <a:gd name="connsiteY2" fmla="*/ 368532 h 841178"/>
                <a:gd name="connsiteX3" fmla="*/ 480614 w 760336"/>
                <a:gd name="connsiteY3" fmla="*/ 96614 h 841178"/>
                <a:gd name="connsiteX4" fmla="*/ 260778 w 760336"/>
                <a:gd name="connsiteY4" fmla="*/ 196279 h 841178"/>
                <a:gd name="connsiteX5" fmla="*/ 260778 w 760336"/>
                <a:gd name="connsiteY5" fmla="*/ 196279 h 841178"/>
                <a:gd name="connsiteX6" fmla="*/ 260778 w 760336"/>
                <a:gd name="connsiteY6" fmla="*/ 196279 h 841178"/>
                <a:gd name="connsiteX7" fmla="*/ 260142 w 760336"/>
                <a:gd name="connsiteY7" fmla="*/ 196279 h 841178"/>
                <a:gd name="connsiteX8" fmla="*/ 260142 w 760336"/>
                <a:gd name="connsiteY8" fmla="*/ 196279 h 841178"/>
                <a:gd name="connsiteX9" fmla="*/ 222125 w 760336"/>
                <a:gd name="connsiteY9" fmla="*/ 158142 h 841178"/>
                <a:gd name="connsiteX10" fmla="*/ 62683 w 760336"/>
                <a:gd name="connsiteY10" fmla="*/ 0 h 841178"/>
                <a:gd name="connsiteX11" fmla="*/ 0 w 760336"/>
                <a:gd name="connsiteY11" fmla="*/ 27586 h 841178"/>
                <a:gd name="connsiteX12" fmla="*/ 0 w 760336"/>
                <a:gd name="connsiteY12" fmla="*/ 841179 h 841178"/>
                <a:gd name="connsiteX13" fmla="*/ 755760 w 760336"/>
                <a:gd name="connsiteY13" fmla="*/ 490952 h 841178"/>
                <a:gd name="connsiteX14" fmla="*/ 755378 w 760336"/>
                <a:gd name="connsiteY14" fmla="*/ 488664 h 84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0336" h="841178">
                  <a:moveTo>
                    <a:pt x="755378" y="488664"/>
                  </a:moveTo>
                  <a:lnTo>
                    <a:pt x="760337" y="374253"/>
                  </a:lnTo>
                  <a:lnTo>
                    <a:pt x="760337" y="368532"/>
                  </a:lnTo>
                  <a:lnTo>
                    <a:pt x="480614" y="96614"/>
                  </a:lnTo>
                  <a:lnTo>
                    <a:pt x="260778" y="196279"/>
                  </a:lnTo>
                  <a:cubicBezTo>
                    <a:pt x="260778" y="196279"/>
                    <a:pt x="260778" y="196279"/>
                    <a:pt x="260778" y="196279"/>
                  </a:cubicBezTo>
                  <a:lnTo>
                    <a:pt x="260778" y="196279"/>
                  </a:lnTo>
                  <a:lnTo>
                    <a:pt x="260142" y="196279"/>
                  </a:lnTo>
                  <a:lnTo>
                    <a:pt x="260142" y="196279"/>
                  </a:lnTo>
                  <a:lnTo>
                    <a:pt x="222125" y="158142"/>
                  </a:lnTo>
                  <a:lnTo>
                    <a:pt x="62683" y="0"/>
                  </a:lnTo>
                  <a:lnTo>
                    <a:pt x="0" y="27586"/>
                  </a:lnTo>
                  <a:lnTo>
                    <a:pt x="0" y="841179"/>
                  </a:lnTo>
                  <a:lnTo>
                    <a:pt x="755760" y="490952"/>
                  </a:lnTo>
                  <a:cubicBezTo>
                    <a:pt x="755574" y="490203"/>
                    <a:pt x="755447" y="489440"/>
                    <a:pt x="755378" y="488664"/>
                  </a:cubicBezTo>
                  <a:close/>
                </a:path>
              </a:pathLst>
            </a:custGeom>
            <a:solidFill>
              <a:schemeClr val="accent5"/>
            </a:solidFill>
            <a:ln w="1268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49271F6F-66BE-493D-A48A-DD5878D8FEF3}"/>
                </a:ext>
              </a:extLst>
            </p:cNvPr>
            <p:cNvSpPr/>
            <p:nvPr/>
          </p:nvSpPr>
          <p:spPr>
            <a:xfrm>
              <a:off x="3305" y="3240943"/>
              <a:ext cx="514053" cy="357472"/>
            </a:xfrm>
            <a:custGeom>
              <a:avLst/>
              <a:gdLst>
                <a:gd name="connsiteX0" fmla="*/ 510748 w 514053"/>
                <a:gd name="connsiteY0" fmla="*/ 114539 h 357472"/>
                <a:gd name="connsiteX1" fmla="*/ 514054 w 514053"/>
                <a:gd name="connsiteY1" fmla="*/ 3051 h 357472"/>
                <a:gd name="connsiteX2" fmla="*/ 514054 w 514053"/>
                <a:gd name="connsiteY2" fmla="*/ 1653 h 357472"/>
                <a:gd name="connsiteX3" fmla="*/ 514054 w 514053"/>
                <a:gd name="connsiteY3" fmla="*/ 0 h 357472"/>
                <a:gd name="connsiteX4" fmla="*/ 514054 w 514053"/>
                <a:gd name="connsiteY4" fmla="*/ 0 h 357472"/>
                <a:gd name="connsiteX5" fmla="*/ 0 w 514053"/>
                <a:gd name="connsiteY5" fmla="*/ 240137 h 357472"/>
                <a:gd name="connsiteX6" fmla="*/ 0 w 514053"/>
                <a:gd name="connsiteY6" fmla="*/ 357472 h 357472"/>
                <a:gd name="connsiteX7" fmla="*/ 510621 w 514053"/>
                <a:gd name="connsiteY7" fmla="*/ 117208 h 357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053" h="357472">
                  <a:moveTo>
                    <a:pt x="510748" y="114539"/>
                  </a:moveTo>
                  <a:lnTo>
                    <a:pt x="514054" y="3051"/>
                  </a:lnTo>
                  <a:cubicBezTo>
                    <a:pt x="513994" y="2581"/>
                    <a:pt x="513994" y="2123"/>
                    <a:pt x="514054" y="1653"/>
                  </a:cubicBezTo>
                  <a:cubicBezTo>
                    <a:pt x="514054" y="1653"/>
                    <a:pt x="514054" y="508"/>
                    <a:pt x="514054" y="0"/>
                  </a:cubicBezTo>
                  <a:lnTo>
                    <a:pt x="514054" y="0"/>
                  </a:lnTo>
                  <a:lnTo>
                    <a:pt x="0" y="240137"/>
                  </a:lnTo>
                  <a:lnTo>
                    <a:pt x="0" y="357472"/>
                  </a:lnTo>
                  <a:lnTo>
                    <a:pt x="510621" y="117208"/>
                  </a:lnTo>
                  <a:close/>
                </a:path>
              </a:pathLst>
            </a:custGeom>
            <a:solidFill>
              <a:schemeClr val="accent3">
                <a:lumMod val="75000"/>
              </a:schemeClr>
            </a:solidFill>
            <a:ln w="1268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9F0DE4EB-7299-4C41-BDBD-90DC0236E1C1}"/>
                </a:ext>
              </a:extLst>
            </p:cNvPr>
            <p:cNvSpPr/>
            <p:nvPr/>
          </p:nvSpPr>
          <p:spPr>
            <a:xfrm>
              <a:off x="3305" y="3439765"/>
              <a:ext cx="508205" cy="931564"/>
            </a:xfrm>
            <a:custGeom>
              <a:avLst/>
              <a:gdLst>
                <a:gd name="connsiteX0" fmla="*/ 404708 w 508205"/>
                <a:gd name="connsiteY0" fmla="*/ 930928 h 931564"/>
                <a:gd name="connsiteX1" fmla="*/ 481759 w 508205"/>
                <a:gd name="connsiteY1" fmla="*/ 892537 h 931564"/>
                <a:gd name="connsiteX2" fmla="*/ 508205 w 508205"/>
                <a:gd name="connsiteY2" fmla="*/ 0 h 931564"/>
                <a:gd name="connsiteX3" fmla="*/ 0 w 508205"/>
                <a:gd name="connsiteY3" fmla="*/ 240137 h 931564"/>
                <a:gd name="connsiteX4" fmla="*/ 0 w 508205"/>
                <a:gd name="connsiteY4" fmla="*/ 491080 h 931564"/>
                <a:gd name="connsiteX5" fmla="*/ 403436 w 508205"/>
                <a:gd name="connsiteY5" fmla="*/ 931564 h 931564"/>
                <a:gd name="connsiteX6" fmla="*/ 404708 w 508205"/>
                <a:gd name="connsiteY6" fmla="*/ 930928 h 93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205" h="931564">
                  <a:moveTo>
                    <a:pt x="404708" y="930928"/>
                  </a:moveTo>
                  <a:lnTo>
                    <a:pt x="481759" y="892537"/>
                  </a:lnTo>
                  <a:lnTo>
                    <a:pt x="508205" y="0"/>
                  </a:lnTo>
                  <a:lnTo>
                    <a:pt x="0" y="240137"/>
                  </a:lnTo>
                  <a:lnTo>
                    <a:pt x="0" y="491080"/>
                  </a:lnTo>
                  <a:lnTo>
                    <a:pt x="403436" y="931564"/>
                  </a:lnTo>
                  <a:lnTo>
                    <a:pt x="404708" y="930928"/>
                  </a:lnTo>
                  <a:close/>
                </a:path>
              </a:pathLst>
            </a:custGeom>
            <a:solidFill>
              <a:schemeClr val="accent2"/>
            </a:solidFill>
            <a:ln w="1268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020554EF-4CD7-46D9-8200-A618696C5500}"/>
                </a:ext>
              </a:extLst>
            </p:cNvPr>
            <p:cNvSpPr/>
            <p:nvPr/>
          </p:nvSpPr>
          <p:spPr>
            <a:xfrm>
              <a:off x="93198" y="4553879"/>
              <a:ext cx="281629" cy="371074"/>
            </a:xfrm>
            <a:custGeom>
              <a:avLst/>
              <a:gdLst>
                <a:gd name="connsiteX0" fmla="*/ 1780 w 281629"/>
                <a:gd name="connsiteY0" fmla="*/ 0 h 371074"/>
                <a:gd name="connsiteX1" fmla="*/ 890 w 281629"/>
                <a:gd name="connsiteY1" fmla="*/ 168439 h 371074"/>
                <a:gd name="connsiteX2" fmla="*/ 890 w 281629"/>
                <a:gd name="connsiteY2" fmla="*/ 169710 h 371074"/>
                <a:gd name="connsiteX3" fmla="*/ 890 w 281629"/>
                <a:gd name="connsiteY3" fmla="*/ 171745 h 371074"/>
                <a:gd name="connsiteX4" fmla="*/ 0 w 281629"/>
                <a:gd name="connsiteY4" fmla="*/ 173270 h 371074"/>
                <a:gd name="connsiteX5" fmla="*/ 0 w 281629"/>
                <a:gd name="connsiteY5" fmla="*/ 173905 h 371074"/>
                <a:gd name="connsiteX6" fmla="*/ 172538 w 281629"/>
                <a:gd name="connsiteY6" fmla="*/ 371075 h 371074"/>
                <a:gd name="connsiteX7" fmla="*/ 173428 w 281629"/>
                <a:gd name="connsiteY7" fmla="*/ 371075 h 371074"/>
                <a:gd name="connsiteX8" fmla="*/ 281630 w 281629"/>
                <a:gd name="connsiteY8" fmla="*/ 315522 h 37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629" h="371074">
                  <a:moveTo>
                    <a:pt x="1780" y="0"/>
                  </a:moveTo>
                  <a:lnTo>
                    <a:pt x="890" y="168439"/>
                  </a:lnTo>
                  <a:cubicBezTo>
                    <a:pt x="938" y="168859"/>
                    <a:pt x="938" y="169291"/>
                    <a:pt x="890" y="169710"/>
                  </a:cubicBezTo>
                  <a:cubicBezTo>
                    <a:pt x="950" y="170384"/>
                    <a:pt x="950" y="171071"/>
                    <a:pt x="890" y="171745"/>
                  </a:cubicBezTo>
                  <a:cubicBezTo>
                    <a:pt x="641" y="172278"/>
                    <a:pt x="343" y="172787"/>
                    <a:pt x="0" y="173270"/>
                  </a:cubicBezTo>
                  <a:cubicBezTo>
                    <a:pt x="0" y="173270"/>
                    <a:pt x="0" y="173270"/>
                    <a:pt x="0" y="173905"/>
                  </a:cubicBezTo>
                  <a:lnTo>
                    <a:pt x="172538" y="371075"/>
                  </a:lnTo>
                  <a:lnTo>
                    <a:pt x="173428" y="371075"/>
                  </a:lnTo>
                  <a:lnTo>
                    <a:pt x="281630" y="315522"/>
                  </a:lnTo>
                  <a:close/>
                </a:path>
              </a:pathLst>
            </a:custGeom>
            <a:solidFill>
              <a:schemeClr val="tx2"/>
            </a:solidFill>
            <a:ln w="1268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92FA195F-EB6C-40FC-BF4E-8AA3861BB333}"/>
                </a:ext>
              </a:extLst>
            </p:cNvPr>
            <p:cNvSpPr/>
            <p:nvPr/>
          </p:nvSpPr>
          <p:spPr>
            <a:xfrm>
              <a:off x="95105" y="4345904"/>
              <a:ext cx="496126" cy="521080"/>
            </a:xfrm>
            <a:custGeom>
              <a:avLst/>
              <a:gdLst>
                <a:gd name="connsiteX0" fmla="*/ 496126 w 496126"/>
                <a:gd name="connsiteY0" fmla="*/ 100428 h 521080"/>
                <a:gd name="connsiteX1" fmla="*/ 403436 w 496126"/>
                <a:gd name="connsiteY1" fmla="*/ 0 h 521080"/>
                <a:gd name="connsiteX2" fmla="*/ 403436 w 496126"/>
                <a:gd name="connsiteY2" fmla="*/ 0 h 521080"/>
                <a:gd name="connsiteX3" fmla="*/ 402419 w 496126"/>
                <a:gd name="connsiteY3" fmla="*/ 763 h 521080"/>
                <a:gd name="connsiteX4" fmla="*/ 320537 w 496126"/>
                <a:gd name="connsiteY4" fmla="*/ 41697 h 521080"/>
                <a:gd name="connsiteX5" fmla="*/ 256963 w 496126"/>
                <a:gd name="connsiteY5" fmla="*/ 73350 h 521080"/>
                <a:gd name="connsiteX6" fmla="*/ 115068 w 496126"/>
                <a:gd name="connsiteY6" fmla="*/ 144158 h 521080"/>
                <a:gd name="connsiteX7" fmla="*/ 23776 w 496126"/>
                <a:gd name="connsiteY7" fmla="*/ 189796 h 521080"/>
                <a:gd name="connsiteX8" fmla="*/ 0 w 496126"/>
                <a:gd name="connsiteY8" fmla="*/ 201618 h 521080"/>
                <a:gd name="connsiteX9" fmla="*/ 0 w 496126"/>
                <a:gd name="connsiteY9" fmla="*/ 203271 h 521080"/>
                <a:gd name="connsiteX10" fmla="*/ 282774 w 496126"/>
                <a:gd name="connsiteY10" fmla="*/ 521081 h 521080"/>
                <a:gd name="connsiteX11" fmla="*/ 283664 w 496126"/>
                <a:gd name="connsiteY11" fmla="*/ 521081 h 521080"/>
                <a:gd name="connsiteX12" fmla="*/ 484683 w 496126"/>
                <a:gd name="connsiteY12" fmla="*/ 417983 h 521080"/>
                <a:gd name="connsiteX13" fmla="*/ 495999 w 496126"/>
                <a:gd name="connsiteY13" fmla="*/ 107038 h 5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126" h="521080">
                  <a:moveTo>
                    <a:pt x="496126" y="100428"/>
                  </a:moveTo>
                  <a:lnTo>
                    <a:pt x="403436" y="0"/>
                  </a:lnTo>
                  <a:lnTo>
                    <a:pt x="403436" y="0"/>
                  </a:lnTo>
                  <a:lnTo>
                    <a:pt x="402419" y="763"/>
                  </a:lnTo>
                  <a:lnTo>
                    <a:pt x="320537" y="41697"/>
                  </a:lnTo>
                  <a:lnTo>
                    <a:pt x="256963" y="73350"/>
                  </a:lnTo>
                  <a:lnTo>
                    <a:pt x="115068" y="144158"/>
                  </a:lnTo>
                  <a:lnTo>
                    <a:pt x="23776" y="189796"/>
                  </a:lnTo>
                  <a:lnTo>
                    <a:pt x="0" y="201618"/>
                  </a:lnTo>
                  <a:lnTo>
                    <a:pt x="0" y="203271"/>
                  </a:lnTo>
                  <a:lnTo>
                    <a:pt x="282774" y="521081"/>
                  </a:lnTo>
                  <a:lnTo>
                    <a:pt x="283664" y="521081"/>
                  </a:lnTo>
                  <a:lnTo>
                    <a:pt x="484683" y="417983"/>
                  </a:lnTo>
                  <a:lnTo>
                    <a:pt x="495999" y="107038"/>
                  </a:lnTo>
                  <a:close/>
                </a:path>
              </a:pathLst>
            </a:custGeom>
            <a:solidFill>
              <a:schemeClr val="accent3">
                <a:lumMod val="75000"/>
              </a:schemeClr>
            </a:solidFill>
            <a:ln w="1268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CAFB3DEF-B3EF-4040-ABA1-B84A3B14EEE5}"/>
                </a:ext>
              </a:extLst>
            </p:cNvPr>
            <p:cNvSpPr/>
            <p:nvPr/>
          </p:nvSpPr>
          <p:spPr>
            <a:xfrm>
              <a:off x="501720" y="3265478"/>
              <a:ext cx="528929" cy="1176150"/>
            </a:xfrm>
            <a:custGeom>
              <a:avLst/>
              <a:gdLst>
                <a:gd name="connsiteX0" fmla="*/ 100954 w 528929"/>
                <a:gd name="connsiteY0" fmla="*/ 866858 h 1176150"/>
                <a:gd name="connsiteX1" fmla="*/ 104896 w 528929"/>
                <a:gd name="connsiteY1" fmla="*/ 757150 h 1176150"/>
                <a:gd name="connsiteX2" fmla="*/ 104896 w 528929"/>
                <a:gd name="connsiteY2" fmla="*/ 755879 h 1176150"/>
                <a:gd name="connsiteX3" fmla="*/ 104896 w 528929"/>
                <a:gd name="connsiteY3" fmla="*/ 753972 h 1176150"/>
                <a:gd name="connsiteX4" fmla="*/ 105786 w 528929"/>
                <a:gd name="connsiteY4" fmla="*/ 752446 h 1176150"/>
                <a:gd name="connsiteX5" fmla="*/ 106676 w 528929"/>
                <a:gd name="connsiteY5" fmla="*/ 751048 h 1176150"/>
                <a:gd name="connsiteX6" fmla="*/ 108202 w 528929"/>
                <a:gd name="connsiteY6" fmla="*/ 749904 h 1176150"/>
                <a:gd name="connsiteX7" fmla="*/ 109219 w 528929"/>
                <a:gd name="connsiteY7" fmla="*/ 749141 h 1176150"/>
                <a:gd name="connsiteX8" fmla="*/ 526514 w 528929"/>
                <a:gd name="connsiteY8" fmla="*/ 543963 h 1176150"/>
                <a:gd name="connsiteX9" fmla="*/ 528930 w 528929"/>
                <a:gd name="connsiteY9" fmla="*/ 502775 h 1176150"/>
                <a:gd name="connsiteX10" fmla="*/ 455185 w 528929"/>
                <a:gd name="connsiteY10" fmla="*/ 428026 h 1176150"/>
                <a:gd name="connsiteX11" fmla="*/ 232043 w 528929"/>
                <a:gd name="connsiteY11" fmla="*/ 201619 h 1176150"/>
                <a:gd name="connsiteX12" fmla="*/ 32295 w 528929"/>
                <a:gd name="connsiteY12" fmla="*/ 0 h 1176150"/>
                <a:gd name="connsiteX13" fmla="*/ 29498 w 528929"/>
                <a:gd name="connsiteY13" fmla="*/ 90639 h 1176150"/>
                <a:gd name="connsiteX14" fmla="*/ 27845 w 528929"/>
                <a:gd name="connsiteY14" fmla="*/ 160176 h 1176150"/>
                <a:gd name="connsiteX15" fmla="*/ 763 w 528929"/>
                <a:gd name="connsiteY15" fmla="*/ 1073307 h 1176150"/>
                <a:gd name="connsiteX16" fmla="*/ 763 w 528929"/>
                <a:gd name="connsiteY16" fmla="*/ 1074578 h 1176150"/>
                <a:gd name="connsiteX17" fmla="*/ 763 w 528929"/>
                <a:gd name="connsiteY17" fmla="*/ 1076485 h 1176150"/>
                <a:gd name="connsiteX18" fmla="*/ 0 w 528929"/>
                <a:gd name="connsiteY18" fmla="*/ 1078011 h 1176150"/>
                <a:gd name="connsiteX19" fmla="*/ 0 w 528929"/>
                <a:gd name="connsiteY19" fmla="*/ 1078011 h 1176150"/>
                <a:gd name="connsiteX20" fmla="*/ 90656 w 528929"/>
                <a:gd name="connsiteY20" fmla="*/ 1176151 h 117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8929" h="1176150">
                  <a:moveTo>
                    <a:pt x="100954" y="866858"/>
                  </a:moveTo>
                  <a:lnTo>
                    <a:pt x="104896" y="757150"/>
                  </a:lnTo>
                  <a:cubicBezTo>
                    <a:pt x="104896" y="757150"/>
                    <a:pt x="104896" y="756260"/>
                    <a:pt x="104896" y="755879"/>
                  </a:cubicBezTo>
                  <a:cubicBezTo>
                    <a:pt x="104839" y="755243"/>
                    <a:pt x="104839" y="754608"/>
                    <a:pt x="104896" y="753972"/>
                  </a:cubicBezTo>
                  <a:cubicBezTo>
                    <a:pt x="105145" y="753438"/>
                    <a:pt x="105443" y="752929"/>
                    <a:pt x="105786" y="752446"/>
                  </a:cubicBezTo>
                  <a:lnTo>
                    <a:pt x="106676" y="751048"/>
                  </a:lnTo>
                  <a:lnTo>
                    <a:pt x="108202" y="749904"/>
                  </a:lnTo>
                  <a:cubicBezTo>
                    <a:pt x="108202" y="749904"/>
                    <a:pt x="108202" y="749268"/>
                    <a:pt x="109219" y="749141"/>
                  </a:cubicBezTo>
                  <a:lnTo>
                    <a:pt x="526514" y="543963"/>
                  </a:lnTo>
                  <a:lnTo>
                    <a:pt x="528930" y="502775"/>
                  </a:lnTo>
                  <a:lnTo>
                    <a:pt x="455185" y="428026"/>
                  </a:lnTo>
                  <a:lnTo>
                    <a:pt x="232043" y="201619"/>
                  </a:lnTo>
                  <a:lnTo>
                    <a:pt x="32295" y="0"/>
                  </a:lnTo>
                  <a:lnTo>
                    <a:pt x="29498" y="90639"/>
                  </a:lnTo>
                  <a:lnTo>
                    <a:pt x="27845" y="160176"/>
                  </a:lnTo>
                  <a:lnTo>
                    <a:pt x="763" y="1073307"/>
                  </a:lnTo>
                  <a:cubicBezTo>
                    <a:pt x="763" y="1073307"/>
                    <a:pt x="763" y="1074197"/>
                    <a:pt x="763" y="1074578"/>
                  </a:cubicBezTo>
                  <a:cubicBezTo>
                    <a:pt x="820" y="1075214"/>
                    <a:pt x="820" y="1075850"/>
                    <a:pt x="763" y="1076485"/>
                  </a:cubicBezTo>
                  <a:cubicBezTo>
                    <a:pt x="586" y="1077032"/>
                    <a:pt x="329" y="1077540"/>
                    <a:pt x="0" y="1078011"/>
                  </a:cubicBezTo>
                  <a:lnTo>
                    <a:pt x="0" y="1078011"/>
                  </a:lnTo>
                  <a:lnTo>
                    <a:pt x="90656" y="1176151"/>
                  </a:lnTo>
                  <a:close/>
                </a:path>
              </a:pathLst>
            </a:custGeom>
            <a:solidFill>
              <a:schemeClr val="bg1">
                <a:lumMod val="95000"/>
              </a:schemeClr>
            </a:solidFill>
            <a:ln w="1268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9416C27E-10D6-40C0-A78E-2F6757BFBD02}"/>
                </a:ext>
              </a:extLst>
            </p:cNvPr>
            <p:cNvSpPr/>
            <p:nvPr/>
          </p:nvSpPr>
          <p:spPr>
            <a:xfrm>
              <a:off x="620094" y="4034196"/>
              <a:ext cx="104768" cy="211661"/>
            </a:xfrm>
            <a:custGeom>
              <a:avLst/>
              <a:gdLst>
                <a:gd name="connsiteX0" fmla="*/ 254 w 104768"/>
                <a:gd name="connsiteY0" fmla="*/ 98776 h 211661"/>
                <a:gd name="connsiteX1" fmla="*/ 0 w 104768"/>
                <a:gd name="connsiteY1" fmla="*/ 105259 h 211661"/>
                <a:gd name="connsiteX2" fmla="*/ 100192 w 104768"/>
                <a:gd name="connsiteY2" fmla="*/ 211661 h 211661"/>
                <a:gd name="connsiteX3" fmla="*/ 104769 w 104768"/>
                <a:gd name="connsiteY3" fmla="*/ 106530 h 211661"/>
                <a:gd name="connsiteX4" fmla="*/ 3814 w 104768"/>
                <a:gd name="connsiteY4" fmla="*/ 0 h 211661"/>
                <a:gd name="connsiteX5" fmla="*/ 254 w 104768"/>
                <a:gd name="connsiteY5" fmla="*/ 98776 h 21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68" h="211661">
                  <a:moveTo>
                    <a:pt x="254" y="98776"/>
                  </a:moveTo>
                  <a:lnTo>
                    <a:pt x="0" y="105259"/>
                  </a:lnTo>
                  <a:lnTo>
                    <a:pt x="100192" y="211661"/>
                  </a:lnTo>
                  <a:lnTo>
                    <a:pt x="104769" y="106530"/>
                  </a:lnTo>
                  <a:lnTo>
                    <a:pt x="3814" y="0"/>
                  </a:lnTo>
                  <a:lnTo>
                    <a:pt x="254" y="98776"/>
                  </a:lnTo>
                  <a:close/>
                </a:path>
              </a:pathLst>
            </a:custGeom>
            <a:solidFill>
              <a:srgbClr val="F1F2F2"/>
            </a:solidFill>
            <a:ln w="1268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2FB387BC-E552-48A8-A797-01A56E75031B}"/>
                </a:ext>
              </a:extLst>
            </p:cNvPr>
            <p:cNvSpPr/>
            <p:nvPr/>
          </p:nvSpPr>
          <p:spPr>
            <a:xfrm>
              <a:off x="624035" y="3823043"/>
              <a:ext cx="517531" cy="314504"/>
            </a:xfrm>
            <a:custGeom>
              <a:avLst/>
              <a:gdLst>
                <a:gd name="connsiteX0" fmla="*/ 102734 w 517531"/>
                <a:gd name="connsiteY0" fmla="*/ 314505 h 314504"/>
                <a:gd name="connsiteX1" fmla="*/ 517487 w 517531"/>
                <a:gd name="connsiteY1" fmla="*/ 108564 h 314504"/>
                <a:gd name="connsiteX2" fmla="*/ 517487 w 517531"/>
                <a:gd name="connsiteY2" fmla="*/ 107801 h 314504"/>
                <a:gd name="connsiteX3" fmla="*/ 517487 w 517531"/>
                <a:gd name="connsiteY3" fmla="*/ 105894 h 314504"/>
                <a:gd name="connsiteX4" fmla="*/ 517487 w 517531"/>
                <a:gd name="connsiteY4" fmla="*/ 105894 h 314504"/>
                <a:gd name="connsiteX5" fmla="*/ 517487 w 517531"/>
                <a:gd name="connsiteY5" fmla="*/ 100301 h 314504"/>
                <a:gd name="connsiteX6" fmla="*/ 418567 w 517531"/>
                <a:gd name="connsiteY6" fmla="*/ 0 h 314504"/>
                <a:gd name="connsiteX7" fmla="*/ 418567 w 517531"/>
                <a:gd name="connsiteY7" fmla="*/ 0 h 314504"/>
                <a:gd name="connsiteX8" fmla="*/ 417549 w 517531"/>
                <a:gd name="connsiteY8" fmla="*/ 763 h 314504"/>
                <a:gd name="connsiteX9" fmla="*/ 0 w 517531"/>
                <a:gd name="connsiteY9" fmla="*/ 205941 h 314504"/>
                <a:gd name="connsiteX10" fmla="*/ 0 w 517531"/>
                <a:gd name="connsiteY10" fmla="*/ 206703 h 3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531" h="314504">
                  <a:moveTo>
                    <a:pt x="102734" y="314505"/>
                  </a:moveTo>
                  <a:lnTo>
                    <a:pt x="517487" y="108564"/>
                  </a:lnTo>
                  <a:cubicBezTo>
                    <a:pt x="517546" y="108310"/>
                    <a:pt x="517546" y="108056"/>
                    <a:pt x="517487" y="107801"/>
                  </a:cubicBezTo>
                  <a:cubicBezTo>
                    <a:pt x="517424" y="107166"/>
                    <a:pt x="517424" y="106530"/>
                    <a:pt x="517487" y="105894"/>
                  </a:cubicBezTo>
                  <a:cubicBezTo>
                    <a:pt x="517487" y="105894"/>
                    <a:pt x="517487" y="105894"/>
                    <a:pt x="517487" y="105894"/>
                  </a:cubicBezTo>
                  <a:lnTo>
                    <a:pt x="517487" y="100301"/>
                  </a:lnTo>
                  <a:lnTo>
                    <a:pt x="418567" y="0"/>
                  </a:lnTo>
                  <a:lnTo>
                    <a:pt x="418567" y="0"/>
                  </a:lnTo>
                  <a:cubicBezTo>
                    <a:pt x="418567" y="0"/>
                    <a:pt x="418567" y="0"/>
                    <a:pt x="417549" y="763"/>
                  </a:cubicBezTo>
                  <a:lnTo>
                    <a:pt x="0" y="205941"/>
                  </a:lnTo>
                  <a:lnTo>
                    <a:pt x="0" y="206703"/>
                  </a:lnTo>
                  <a:close/>
                </a:path>
              </a:pathLst>
            </a:custGeom>
            <a:solidFill>
              <a:schemeClr val="accent2"/>
            </a:solidFill>
            <a:ln w="12685"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3FDF8D6B-6FFD-4E1A-98CB-4BF3A1A92F37}"/>
                </a:ext>
              </a:extLst>
            </p:cNvPr>
            <p:cNvSpPr/>
            <p:nvPr/>
          </p:nvSpPr>
          <p:spPr>
            <a:xfrm>
              <a:off x="1045399" y="3784144"/>
              <a:ext cx="98920" cy="135005"/>
            </a:xfrm>
            <a:custGeom>
              <a:avLst/>
              <a:gdLst>
                <a:gd name="connsiteX0" fmla="*/ 97649 w 98920"/>
                <a:gd name="connsiteY0" fmla="*/ 117208 h 135005"/>
                <a:gd name="connsiteX1" fmla="*/ 98920 w 98920"/>
                <a:gd name="connsiteY1" fmla="*/ 97250 h 135005"/>
                <a:gd name="connsiteX2" fmla="*/ 6993 w 98920"/>
                <a:gd name="connsiteY2" fmla="*/ 4195 h 135005"/>
                <a:gd name="connsiteX3" fmla="*/ 2797 w 98920"/>
                <a:gd name="connsiteY3" fmla="*/ 0 h 135005"/>
                <a:gd name="connsiteX4" fmla="*/ 890 w 98920"/>
                <a:gd name="connsiteY4" fmla="*/ 32035 h 135005"/>
                <a:gd name="connsiteX5" fmla="*/ 890 w 98920"/>
                <a:gd name="connsiteY5" fmla="*/ 33179 h 135005"/>
                <a:gd name="connsiteX6" fmla="*/ 890 w 98920"/>
                <a:gd name="connsiteY6" fmla="*/ 35086 h 135005"/>
                <a:gd name="connsiteX7" fmla="*/ 0 w 98920"/>
                <a:gd name="connsiteY7" fmla="*/ 36485 h 135005"/>
                <a:gd name="connsiteX8" fmla="*/ 97140 w 98920"/>
                <a:gd name="connsiteY8" fmla="*/ 135006 h 1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20" h="135005">
                  <a:moveTo>
                    <a:pt x="97649" y="117208"/>
                  </a:moveTo>
                  <a:lnTo>
                    <a:pt x="98920" y="97250"/>
                  </a:lnTo>
                  <a:lnTo>
                    <a:pt x="6993" y="4195"/>
                  </a:lnTo>
                  <a:lnTo>
                    <a:pt x="2797" y="0"/>
                  </a:lnTo>
                  <a:lnTo>
                    <a:pt x="890" y="32035"/>
                  </a:lnTo>
                  <a:cubicBezTo>
                    <a:pt x="943" y="32417"/>
                    <a:pt x="943" y="32798"/>
                    <a:pt x="890" y="33179"/>
                  </a:cubicBezTo>
                  <a:cubicBezTo>
                    <a:pt x="950" y="33815"/>
                    <a:pt x="950" y="34451"/>
                    <a:pt x="890" y="35086"/>
                  </a:cubicBezTo>
                  <a:lnTo>
                    <a:pt x="0" y="36485"/>
                  </a:lnTo>
                  <a:lnTo>
                    <a:pt x="97140" y="135006"/>
                  </a:lnTo>
                  <a:close/>
                </a:path>
              </a:pathLst>
            </a:custGeom>
            <a:solidFill>
              <a:srgbClr val="088A8F"/>
            </a:solidFill>
            <a:ln w="1268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6BD1E188-6BFD-497A-8842-BDAE03DD04C8}"/>
                </a:ext>
              </a:extLst>
            </p:cNvPr>
            <p:cNvSpPr/>
            <p:nvPr/>
          </p:nvSpPr>
          <p:spPr>
            <a:xfrm>
              <a:off x="265100" y="2228147"/>
              <a:ext cx="228863" cy="493622"/>
            </a:xfrm>
            <a:custGeom>
              <a:avLst/>
              <a:gdLst>
                <a:gd name="connsiteX0" fmla="*/ 5722 w 228863"/>
                <a:gd name="connsiteY0" fmla="*/ 97504 h 493622"/>
                <a:gd name="connsiteX1" fmla="*/ 0 w 228863"/>
                <a:gd name="connsiteY1" fmla="*/ 493622 h 493622"/>
                <a:gd name="connsiteX2" fmla="*/ 218438 w 228863"/>
                <a:gd name="connsiteY2" fmla="*/ 395737 h 493622"/>
                <a:gd name="connsiteX3" fmla="*/ 228864 w 228863"/>
                <a:gd name="connsiteY3" fmla="*/ 0 h 493622"/>
                <a:gd name="connsiteX4" fmla="*/ 5722 w 228863"/>
                <a:gd name="connsiteY4" fmla="*/ 97504 h 49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63" h="493622">
                  <a:moveTo>
                    <a:pt x="5722" y="97504"/>
                  </a:moveTo>
                  <a:lnTo>
                    <a:pt x="0" y="493622"/>
                  </a:lnTo>
                  <a:lnTo>
                    <a:pt x="218438" y="395737"/>
                  </a:lnTo>
                  <a:lnTo>
                    <a:pt x="228864" y="0"/>
                  </a:lnTo>
                  <a:lnTo>
                    <a:pt x="5722" y="97504"/>
                  </a:lnTo>
                  <a:close/>
                </a:path>
              </a:pathLst>
            </a:custGeom>
            <a:solidFill>
              <a:schemeClr val="accent5"/>
            </a:solidFill>
            <a:ln w="1268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A67EF665-DD60-4593-9BCB-0087FD515789}"/>
                </a:ext>
              </a:extLst>
            </p:cNvPr>
            <p:cNvSpPr/>
            <p:nvPr/>
          </p:nvSpPr>
          <p:spPr>
            <a:xfrm>
              <a:off x="69422" y="1752068"/>
              <a:ext cx="165163" cy="532140"/>
            </a:xfrm>
            <a:custGeom>
              <a:avLst/>
              <a:gdLst>
                <a:gd name="connsiteX0" fmla="*/ 165163 w 165163"/>
                <a:gd name="connsiteY0" fmla="*/ 154583 h 532140"/>
                <a:gd name="connsiteX1" fmla="*/ 1271 w 165163"/>
                <a:gd name="connsiteY1" fmla="*/ 0 h 532140"/>
                <a:gd name="connsiteX2" fmla="*/ 0 w 165163"/>
                <a:gd name="connsiteY2" fmla="*/ 376541 h 532140"/>
                <a:gd name="connsiteX3" fmla="*/ 160586 w 165163"/>
                <a:gd name="connsiteY3" fmla="*/ 532141 h 532140"/>
                <a:gd name="connsiteX4" fmla="*/ 165163 w 165163"/>
                <a:gd name="connsiteY4" fmla="*/ 154583 h 532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63" h="532140">
                  <a:moveTo>
                    <a:pt x="165163" y="154583"/>
                  </a:moveTo>
                  <a:lnTo>
                    <a:pt x="1271" y="0"/>
                  </a:lnTo>
                  <a:lnTo>
                    <a:pt x="0" y="376541"/>
                  </a:lnTo>
                  <a:lnTo>
                    <a:pt x="160586" y="532141"/>
                  </a:lnTo>
                  <a:lnTo>
                    <a:pt x="165163" y="154583"/>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F750E566-F46C-4602-A266-161E0F57FA1F}"/>
                </a:ext>
              </a:extLst>
            </p:cNvPr>
            <p:cNvSpPr/>
            <p:nvPr/>
          </p:nvSpPr>
          <p:spPr>
            <a:xfrm>
              <a:off x="67896" y="2133058"/>
              <a:ext cx="161984" cy="550700"/>
            </a:xfrm>
            <a:custGeom>
              <a:avLst/>
              <a:gdLst>
                <a:gd name="connsiteX0" fmla="*/ 1399 w 161984"/>
                <a:gd name="connsiteY0" fmla="*/ 0 h 550700"/>
                <a:gd name="connsiteX1" fmla="*/ 0 w 161984"/>
                <a:gd name="connsiteY1" fmla="*/ 394466 h 550700"/>
                <a:gd name="connsiteX2" fmla="*/ 157153 w 161984"/>
                <a:gd name="connsiteY2" fmla="*/ 550701 h 550700"/>
                <a:gd name="connsiteX3" fmla="*/ 161985 w 161984"/>
                <a:gd name="connsiteY3" fmla="*/ 155600 h 550700"/>
                <a:gd name="connsiteX4" fmla="*/ 1399 w 161984"/>
                <a:gd name="connsiteY4" fmla="*/ 0 h 55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84" h="550700">
                  <a:moveTo>
                    <a:pt x="1399" y="0"/>
                  </a:moveTo>
                  <a:lnTo>
                    <a:pt x="0" y="394466"/>
                  </a:lnTo>
                  <a:lnTo>
                    <a:pt x="157153" y="550701"/>
                  </a:lnTo>
                  <a:lnTo>
                    <a:pt x="161985" y="155600"/>
                  </a:lnTo>
                  <a:lnTo>
                    <a:pt x="1399" y="0"/>
                  </a:lnTo>
                  <a:close/>
                </a:path>
              </a:pathLst>
            </a:custGeom>
            <a:solidFill>
              <a:schemeClr val="tx2"/>
            </a:solidFill>
            <a:ln w="1268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EA235449-8CE2-4426-B4C4-08116049B7F9}"/>
                </a:ext>
              </a:extLst>
            </p:cNvPr>
            <p:cNvSpPr/>
            <p:nvPr/>
          </p:nvSpPr>
          <p:spPr>
            <a:xfrm>
              <a:off x="70693" y="695541"/>
              <a:ext cx="233822" cy="1050424"/>
            </a:xfrm>
            <a:custGeom>
              <a:avLst/>
              <a:gdLst>
                <a:gd name="connsiteX0" fmla="*/ 0 w 233822"/>
                <a:gd name="connsiteY0" fmla="*/ 1050425 h 1050424"/>
                <a:gd name="connsiteX1" fmla="*/ 219074 w 233822"/>
                <a:gd name="connsiteY1" fmla="*/ 959023 h 1050424"/>
                <a:gd name="connsiteX2" fmla="*/ 219074 w 233822"/>
                <a:gd name="connsiteY2" fmla="*/ 957497 h 1050424"/>
                <a:gd name="connsiteX3" fmla="*/ 219074 w 233822"/>
                <a:gd name="connsiteY3" fmla="*/ 957497 h 1050424"/>
                <a:gd name="connsiteX4" fmla="*/ 224287 w 233822"/>
                <a:gd name="connsiteY4" fmla="*/ 616042 h 1050424"/>
                <a:gd name="connsiteX5" fmla="*/ 226067 w 233822"/>
                <a:gd name="connsiteY5" fmla="*/ 501631 h 1050424"/>
                <a:gd name="connsiteX6" fmla="*/ 226067 w 233822"/>
                <a:gd name="connsiteY6" fmla="*/ 501631 h 1050424"/>
                <a:gd name="connsiteX7" fmla="*/ 233823 w 233822"/>
                <a:gd name="connsiteY7" fmla="*/ 0 h 1050424"/>
                <a:gd name="connsiteX8" fmla="*/ 3433 w 233822"/>
                <a:gd name="connsiteY8" fmla="*/ 88351 h 105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2" h="1050424">
                  <a:moveTo>
                    <a:pt x="0" y="1050425"/>
                  </a:moveTo>
                  <a:lnTo>
                    <a:pt x="219074" y="959023"/>
                  </a:lnTo>
                  <a:cubicBezTo>
                    <a:pt x="219074" y="959023"/>
                    <a:pt x="219074" y="958006"/>
                    <a:pt x="219074" y="957497"/>
                  </a:cubicBezTo>
                  <a:lnTo>
                    <a:pt x="219074" y="957497"/>
                  </a:lnTo>
                  <a:lnTo>
                    <a:pt x="224287" y="616042"/>
                  </a:lnTo>
                  <a:lnTo>
                    <a:pt x="226067" y="501631"/>
                  </a:lnTo>
                  <a:lnTo>
                    <a:pt x="226067" y="501631"/>
                  </a:lnTo>
                  <a:lnTo>
                    <a:pt x="233823" y="0"/>
                  </a:lnTo>
                  <a:lnTo>
                    <a:pt x="3433" y="88351"/>
                  </a:lnTo>
                  <a:close/>
                </a:path>
              </a:pathLst>
            </a:custGeom>
            <a:solidFill>
              <a:schemeClr val="bg1">
                <a:lumMod val="95000"/>
              </a:schemeClr>
            </a:solidFill>
            <a:ln w="1268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F670F11D-563C-43FE-BE90-9AC971F75841}"/>
                </a:ext>
              </a:extLst>
            </p:cNvPr>
            <p:cNvSpPr/>
            <p:nvPr/>
          </p:nvSpPr>
          <p:spPr>
            <a:xfrm>
              <a:off x="966314" y="3390949"/>
              <a:ext cx="162366" cy="361794"/>
            </a:xfrm>
            <a:custGeom>
              <a:avLst/>
              <a:gdLst>
                <a:gd name="connsiteX0" fmla="*/ 96123 w 162366"/>
                <a:gd name="connsiteY0" fmla="*/ 184075 h 361794"/>
                <a:gd name="connsiteX1" fmla="*/ 96123 w 162366"/>
                <a:gd name="connsiteY1" fmla="*/ 182931 h 361794"/>
                <a:gd name="connsiteX2" fmla="*/ 96123 w 162366"/>
                <a:gd name="connsiteY2" fmla="*/ 181024 h 361794"/>
                <a:gd name="connsiteX3" fmla="*/ 97013 w 162366"/>
                <a:gd name="connsiteY3" fmla="*/ 179626 h 361794"/>
                <a:gd name="connsiteX4" fmla="*/ 98030 w 162366"/>
                <a:gd name="connsiteY4" fmla="*/ 178101 h 361794"/>
                <a:gd name="connsiteX5" fmla="*/ 99429 w 162366"/>
                <a:gd name="connsiteY5" fmla="*/ 177084 h 361794"/>
                <a:gd name="connsiteX6" fmla="*/ 100446 w 162366"/>
                <a:gd name="connsiteY6" fmla="*/ 176321 h 361794"/>
                <a:gd name="connsiteX7" fmla="*/ 162366 w 162366"/>
                <a:gd name="connsiteY7" fmla="*/ 146320 h 361794"/>
                <a:gd name="connsiteX8" fmla="*/ 15512 w 162366"/>
                <a:gd name="connsiteY8" fmla="*/ 0 h 361794"/>
                <a:gd name="connsiteX9" fmla="*/ 0 w 162366"/>
                <a:gd name="connsiteY9" fmla="*/ 285139 h 361794"/>
                <a:gd name="connsiteX10" fmla="*/ 3942 w 162366"/>
                <a:gd name="connsiteY10" fmla="*/ 289207 h 361794"/>
                <a:gd name="connsiteX11" fmla="*/ 75779 w 162366"/>
                <a:gd name="connsiteY11" fmla="*/ 361795 h 361794"/>
                <a:gd name="connsiteX12" fmla="*/ 85824 w 162366"/>
                <a:gd name="connsiteY12" fmla="*/ 356837 h 36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66" h="361794">
                  <a:moveTo>
                    <a:pt x="96123" y="184075"/>
                  </a:moveTo>
                  <a:cubicBezTo>
                    <a:pt x="96063" y="183694"/>
                    <a:pt x="96063" y="183313"/>
                    <a:pt x="96123" y="182931"/>
                  </a:cubicBezTo>
                  <a:cubicBezTo>
                    <a:pt x="96066" y="182296"/>
                    <a:pt x="96066" y="181660"/>
                    <a:pt x="96123" y="181024"/>
                  </a:cubicBezTo>
                  <a:cubicBezTo>
                    <a:pt x="96343" y="180516"/>
                    <a:pt x="96643" y="180046"/>
                    <a:pt x="97013" y="179626"/>
                  </a:cubicBezTo>
                  <a:lnTo>
                    <a:pt x="98030" y="178101"/>
                  </a:lnTo>
                  <a:lnTo>
                    <a:pt x="99429" y="177084"/>
                  </a:lnTo>
                  <a:cubicBezTo>
                    <a:pt x="99429" y="177084"/>
                    <a:pt x="100064" y="177084"/>
                    <a:pt x="100446" y="176321"/>
                  </a:cubicBezTo>
                  <a:lnTo>
                    <a:pt x="162366" y="146320"/>
                  </a:lnTo>
                  <a:lnTo>
                    <a:pt x="15512" y="0"/>
                  </a:lnTo>
                  <a:lnTo>
                    <a:pt x="0" y="285139"/>
                  </a:lnTo>
                  <a:lnTo>
                    <a:pt x="3942" y="289207"/>
                  </a:lnTo>
                  <a:lnTo>
                    <a:pt x="75779" y="361795"/>
                  </a:lnTo>
                  <a:lnTo>
                    <a:pt x="85824" y="356837"/>
                  </a:lnTo>
                  <a:close/>
                </a:path>
              </a:pathLst>
            </a:custGeom>
            <a:solidFill>
              <a:schemeClr val="accent3"/>
            </a:solidFill>
            <a:ln w="1268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A0BED576-8057-47AA-ADA3-6EA9412C2B95}"/>
                </a:ext>
              </a:extLst>
            </p:cNvPr>
            <p:cNvSpPr/>
            <p:nvPr/>
          </p:nvSpPr>
          <p:spPr>
            <a:xfrm>
              <a:off x="982080" y="3377601"/>
              <a:ext cx="157026" cy="158142"/>
            </a:xfrm>
            <a:custGeom>
              <a:avLst/>
              <a:gdLst>
                <a:gd name="connsiteX0" fmla="*/ 150414 w 157026"/>
                <a:gd name="connsiteY0" fmla="*/ 158142 h 158142"/>
                <a:gd name="connsiteX1" fmla="*/ 152067 w 157026"/>
                <a:gd name="connsiteY1" fmla="*/ 157379 h 158142"/>
                <a:gd name="connsiteX2" fmla="*/ 157026 w 157026"/>
                <a:gd name="connsiteY2" fmla="*/ 154964 h 158142"/>
                <a:gd name="connsiteX3" fmla="*/ 9027 w 157026"/>
                <a:gd name="connsiteY3" fmla="*/ 8517 h 158142"/>
                <a:gd name="connsiteX4" fmla="*/ 509 w 157026"/>
                <a:gd name="connsiteY4" fmla="*/ 0 h 158142"/>
                <a:gd name="connsiteX5" fmla="*/ 0 w 157026"/>
                <a:gd name="connsiteY5" fmla="*/ 9026 h 158142"/>
                <a:gd name="connsiteX6" fmla="*/ 150414 w 157026"/>
                <a:gd name="connsiteY6" fmla="*/ 158142 h 1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26" h="158142">
                  <a:moveTo>
                    <a:pt x="150414" y="158142"/>
                  </a:moveTo>
                  <a:lnTo>
                    <a:pt x="152067" y="157379"/>
                  </a:lnTo>
                  <a:lnTo>
                    <a:pt x="157026" y="154964"/>
                  </a:lnTo>
                  <a:lnTo>
                    <a:pt x="9027" y="8517"/>
                  </a:lnTo>
                  <a:lnTo>
                    <a:pt x="509" y="0"/>
                  </a:lnTo>
                  <a:lnTo>
                    <a:pt x="0" y="9026"/>
                  </a:lnTo>
                  <a:lnTo>
                    <a:pt x="150414" y="158142"/>
                  </a:lnTo>
                  <a:close/>
                </a:path>
              </a:pathLst>
            </a:custGeom>
            <a:solidFill>
              <a:srgbClr val="F39896"/>
            </a:solidFill>
            <a:ln w="1268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67074C90-7371-4A66-ABA2-4E6E4CB79422}"/>
                </a:ext>
              </a:extLst>
            </p:cNvPr>
            <p:cNvSpPr/>
            <p:nvPr/>
          </p:nvSpPr>
          <p:spPr>
            <a:xfrm>
              <a:off x="741900" y="3151702"/>
              <a:ext cx="237764" cy="521335"/>
            </a:xfrm>
            <a:custGeom>
              <a:avLst/>
              <a:gdLst>
                <a:gd name="connsiteX0" fmla="*/ 237001 w 237764"/>
                <a:gd name="connsiteY0" fmla="*/ 235561 h 521335"/>
                <a:gd name="connsiteX1" fmla="*/ 237764 w 237764"/>
                <a:gd name="connsiteY1" fmla="*/ 222975 h 521335"/>
                <a:gd name="connsiteX2" fmla="*/ 233823 w 237764"/>
                <a:gd name="connsiteY2" fmla="*/ 219034 h 521335"/>
                <a:gd name="connsiteX3" fmla="*/ 14113 w 237764"/>
                <a:gd name="connsiteY3" fmla="*/ 1526 h 521335"/>
                <a:gd name="connsiteX4" fmla="*/ 12588 w 237764"/>
                <a:gd name="connsiteY4" fmla="*/ 0 h 521335"/>
                <a:gd name="connsiteX5" fmla="*/ 0 w 237764"/>
                <a:gd name="connsiteY5" fmla="*/ 297851 h 521335"/>
                <a:gd name="connsiteX6" fmla="*/ 4069 w 237764"/>
                <a:gd name="connsiteY6" fmla="*/ 302047 h 521335"/>
                <a:gd name="connsiteX7" fmla="*/ 220981 w 237764"/>
                <a:gd name="connsiteY7" fmla="*/ 521335 h 521335"/>
                <a:gd name="connsiteX8" fmla="*/ 237001 w 237764"/>
                <a:gd name="connsiteY8" fmla="*/ 235561 h 5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64" h="521335">
                  <a:moveTo>
                    <a:pt x="237001" y="235561"/>
                  </a:moveTo>
                  <a:lnTo>
                    <a:pt x="237764" y="222975"/>
                  </a:lnTo>
                  <a:lnTo>
                    <a:pt x="233823" y="219034"/>
                  </a:lnTo>
                  <a:lnTo>
                    <a:pt x="14113" y="1526"/>
                  </a:lnTo>
                  <a:lnTo>
                    <a:pt x="12588" y="0"/>
                  </a:lnTo>
                  <a:lnTo>
                    <a:pt x="0" y="297851"/>
                  </a:lnTo>
                  <a:lnTo>
                    <a:pt x="4069" y="302047"/>
                  </a:lnTo>
                  <a:lnTo>
                    <a:pt x="220981" y="521335"/>
                  </a:lnTo>
                  <a:lnTo>
                    <a:pt x="237001" y="235561"/>
                  </a:lnTo>
                  <a:close/>
                </a:path>
              </a:pathLst>
            </a:custGeom>
            <a:solidFill>
              <a:schemeClr val="accent3"/>
            </a:solidFill>
            <a:ln w="12685"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22A118B7-6B41-46DB-AC2B-FB15E5333B35}"/>
                </a:ext>
              </a:extLst>
            </p:cNvPr>
            <p:cNvSpPr/>
            <p:nvPr/>
          </p:nvSpPr>
          <p:spPr>
            <a:xfrm>
              <a:off x="541771" y="3149160"/>
              <a:ext cx="209664" cy="297342"/>
            </a:xfrm>
            <a:custGeom>
              <a:avLst/>
              <a:gdLst>
                <a:gd name="connsiteX0" fmla="*/ 209665 w 209664"/>
                <a:gd name="connsiteY0" fmla="*/ 0 h 297342"/>
                <a:gd name="connsiteX1" fmla="*/ 5467 w 209664"/>
                <a:gd name="connsiteY1" fmla="*/ 95343 h 297342"/>
                <a:gd name="connsiteX2" fmla="*/ 0 w 209664"/>
                <a:gd name="connsiteY2" fmla="*/ 98013 h 297342"/>
                <a:gd name="connsiteX3" fmla="*/ 197077 w 209664"/>
                <a:gd name="connsiteY3" fmla="*/ 297343 h 297342"/>
                <a:gd name="connsiteX4" fmla="*/ 209665 w 209664"/>
                <a:gd name="connsiteY4" fmla="*/ 0 h 297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64" h="297342">
                  <a:moveTo>
                    <a:pt x="209665" y="0"/>
                  </a:moveTo>
                  <a:lnTo>
                    <a:pt x="5467" y="95343"/>
                  </a:lnTo>
                  <a:lnTo>
                    <a:pt x="0" y="98013"/>
                  </a:lnTo>
                  <a:lnTo>
                    <a:pt x="197077" y="297343"/>
                  </a:lnTo>
                  <a:lnTo>
                    <a:pt x="209665" y="0"/>
                  </a:lnTo>
                  <a:close/>
                </a:path>
              </a:pathLst>
            </a:custGeom>
            <a:solidFill>
              <a:schemeClr val="accent1"/>
            </a:solidFill>
            <a:ln w="12685"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FD044A34-48F0-48CB-82CD-EEDCCD1D3697}"/>
                </a:ext>
              </a:extLst>
            </p:cNvPr>
            <p:cNvSpPr/>
            <p:nvPr/>
          </p:nvSpPr>
          <p:spPr>
            <a:xfrm>
              <a:off x="743553" y="3957159"/>
              <a:ext cx="417676" cy="311326"/>
            </a:xfrm>
            <a:custGeom>
              <a:avLst/>
              <a:gdLst>
                <a:gd name="connsiteX0" fmla="*/ 417677 w 417676"/>
                <a:gd name="connsiteY0" fmla="*/ 0 h 311326"/>
                <a:gd name="connsiteX1" fmla="*/ 4704 w 417676"/>
                <a:gd name="connsiteY1" fmla="*/ 205432 h 311326"/>
                <a:gd name="connsiteX2" fmla="*/ 0 w 417676"/>
                <a:gd name="connsiteY2" fmla="*/ 311326 h 311326"/>
                <a:gd name="connsiteX3" fmla="*/ 410429 w 417676"/>
                <a:gd name="connsiteY3" fmla="*/ 105767 h 311326"/>
                <a:gd name="connsiteX4" fmla="*/ 410684 w 417676"/>
                <a:gd name="connsiteY4" fmla="*/ 102462 h 311326"/>
                <a:gd name="connsiteX5" fmla="*/ 417677 w 417676"/>
                <a:gd name="connsiteY5" fmla="*/ 0 h 31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676" h="311326">
                  <a:moveTo>
                    <a:pt x="417677" y="0"/>
                  </a:moveTo>
                  <a:lnTo>
                    <a:pt x="4704" y="205432"/>
                  </a:lnTo>
                  <a:lnTo>
                    <a:pt x="0" y="311326"/>
                  </a:lnTo>
                  <a:lnTo>
                    <a:pt x="410429" y="105767"/>
                  </a:lnTo>
                  <a:lnTo>
                    <a:pt x="410684" y="102462"/>
                  </a:lnTo>
                  <a:lnTo>
                    <a:pt x="417677" y="0"/>
                  </a:lnTo>
                  <a:close/>
                </a:path>
              </a:pathLst>
            </a:custGeom>
            <a:solidFill>
              <a:schemeClr val="accent2">
                <a:lumMod val="75000"/>
              </a:schemeClr>
            </a:solidFill>
            <a:ln w="12685"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6F12F985-4AA7-4A9E-9115-D4C21D94D21D}"/>
                </a:ext>
              </a:extLst>
            </p:cNvPr>
            <p:cNvSpPr/>
            <p:nvPr/>
          </p:nvSpPr>
          <p:spPr>
            <a:xfrm>
              <a:off x="3305" y="3024960"/>
              <a:ext cx="761481" cy="435780"/>
            </a:xfrm>
            <a:custGeom>
              <a:avLst/>
              <a:gdLst>
                <a:gd name="connsiteX0" fmla="*/ 745842 w 761481"/>
                <a:gd name="connsiteY0" fmla="*/ 87716 h 435780"/>
                <a:gd name="connsiteX1" fmla="*/ 745842 w 761481"/>
                <a:gd name="connsiteY1" fmla="*/ 87716 h 435780"/>
                <a:gd name="connsiteX2" fmla="*/ 756395 w 761481"/>
                <a:gd name="connsiteY2" fmla="*/ 82885 h 435780"/>
                <a:gd name="connsiteX3" fmla="*/ 756395 w 761481"/>
                <a:gd name="connsiteY3" fmla="*/ 82885 h 435780"/>
                <a:gd name="connsiteX4" fmla="*/ 758175 w 761481"/>
                <a:gd name="connsiteY4" fmla="*/ 82885 h 435780"/>
                <a:gd name="connsiteX5" fmla="*/ 758175 w 761481"/>
                <a:gd name="connsiteY5" fmla="*/ 82885 h 435780"/>
                <a:gd name="connsiteX6" fmla="*/ 761481 w 761481"/>
                <a:gd name="connsiteY6" fmla="*/ 3814 h 435780"/>
                <a:gd name="connsiteX7" fmla="*/ 756268 w 761481"/>
                <a:gd name="connsiteY7" fmla="*/ 0 h 435780"/>
                <a:gd name="connsiteX8" fmla="*/ 0 w 761481"/>
                <a:gd name="connsiteY8" fmla="*/ 350481 h 435780"/>
                <a:gd name="connsiteX9" fmla="*/ 0 w 761481"/>
                <a:gd name="connsiteY9" fmla="*/ 435781 h 435780"/>
                <a:gd name="connsiteX10" fmla="*/ 524988 w 761481"/>
                <a:gd name="connsiteY10" fmla="*/ 190686 h 43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481" h="435780">
                  <a:moveTo>
                    <a:pt x="745842" y="87716"/>
                  </a:moveTo>
                  <a:lnTo>
                    <a:pt x="745842" y="87716"/>
                  </a:lnTo>
                  <a:lnTo>
                    <a:pt x="756395" y="82885"/>
                  </a:lnTo>
                  <a:lnTo>
                    <a:pt x="756395" y="82885"/>
                  </a:lnTo>
                  <a:cubicBezTo>
                    <a:pt x="756987" y="82809"/>
                    <a:pt x="757584" y="82809"/>
                    <a:pt x="758175" y="82885"/>
                  </a:cubicBezTo>
                  <a:lnTo>
                    <a:pt x="758175" y="82885"/>
                  </a:lnTo>
                  <a:lnTo>
                    <a:pt x="761481" y="3814"/>
                  </a:lnTo>
                  <a:cubicBezTo>
                    <a:pt x="759343" y="3204"/>
                    <a:pt x="757493" y="1856"/>
                    <a:pt x="756268" y="0"/>
                  </a:cubicBezTo>
                  <a:lnTo>
                    <a:pt x="0" y="350481"/>
                  </a:lnTo>
                  <a:lnTo>
                    <a:pt x="0" y="435781"/>
                  </a:lnTo>
                  <a:lnTo>
                    <a:pt x="524988" y="190686"/>
                  </a:lnTo>
                  <a:close/>
                </a:path>
              </a:pathLst>
            </a:custGeom>
            <a:solidFill>
              <a:srgbClr val="088A8F"/>
            </a:solidFill>
            <a:ln w="12685"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C051B3B-9E9B-4766-A905-9718CA261CC1}"/>
                </a:ext>
              </a:extLst>
            </p:cNvPr>
            <p:cNvSpPr/>
            <p:nvPr/>
          </p:nvSpPr>
          <p:spPr>
            <a:xfrm>
              <a:off x="765295" y="2688336"/>
              <a:ext cx="355120" cy="679985"/>
            </a:xfrm>
            <a:custGeom>
              <a:avLst/>
              <a:gdLst>
                <a:gd name="connsiteX0" fmla="*/ 6230 w 355120"/>
                <a:gd name="connsiteY0" fmla="*/ 443027 h 679985"/>
                <a:gd name="connsiteX1" fmla="*/ 6230 w 355120"/>
                <a:gd name="connsiteY1" fmla="*/ 454341 h 679985"/>
                <a:gd name="connsiteX2" fmla="*/ 222379 w 355120"/>
                <a:gd name="connsiteY2" fmla="*/ 668926 h 679985"/>
                <a:gd name="connsiteX3" fmla="*/ 233568 w 355120"/>
                <a:gd name="connsiteY3" fmla="*/ 679986 h 679985"/>
                <a:gd name="connsiteX4" fmla="*/ 335286 w 355120"/>
                <a:gd name="connsiteY4" fmla="*/ 631297 h 679985"/>
                <a:gd name="connsiteX5" fmla="*/ 355121 w 355120"/>
                <a:gd name="connsiteY5" fmla="*/ 315776 h 679985"/>
                <a:gd name="connsiteX6" fmla="*/ 25302 w 355120"/>
                <a:gd name="connsiteY6" fmla="*/ 0 h 679985"/>
                <a:gd name="connsiteX7" fmla="*/ 16021 w 355120"/>
                <a:gd name="connsiteY7" fmla="*/ 217636 h 679985"/>
                <a:gd name="connsiteX8" fmla="*/ 11062 w 355120"/>
                <a:gd name="connsiteY8" fmla="*/ 332048 h 679985"/>
                <a:gd name="connsiteX9" fmla="*/ 3433 w 355120"/>
                <a:gd name="connsiteY9" fmla="*/ 340692 h 679985"/>
                <a:gd name="connsiteX10" fmla="*/ 0 w 355120"/>
                <a:gd name="connsiteY10" fmla="*/ 419509 h 679985"/>
                <a:gd name="connsiteX11" fmla="*/ 1526 w 355120"/>
                <a:gd name="connsiteY11" fmla="*/ 419509 h 679985"/>
                <a:gd name="connsiteX12" fmla="*/ 3052 w 355120"/>
                <a:gd name="connsiteY12" fmla="*/ 420399 h 679985"/>
                <a:gd name="connsiteX13" fmla="*/ 4323 w 355120"/>
                <a:gd name="connsiteY13" fmla="*/ 421416 h 679985"/>
                <a:gd name="connsiteX14" fmla="*/ 5467 w 355120"/>
                <a:gd name="connsiteY14" fmla="*/ 423068 h 679985"/>
                <a:gd name="connsiteX15" fmla="*/ 6230 w 355120"/>
                <a:gd name="connsiteY15" fmla="*/ 424212 h 679985"/>
                <a:gd name="connsiteX16" fmla="*/ 6230 w 355120"/>
                <a:gd name="connsiteY16" fmla="*/ 424212 h 679985"/>
                <a:gd name="connsiteX17" fmla="*/ 6230 w 355120"/>
                <a:gd name="connsiteY17" fmla="*/ 425992 h 679985"/>
                <a:gd name="connsiteX18" fmla="*/ 6230 w 355120"/>
                <a:gd name="connsiteY18" fmla="*/ 427772 h 679985"/>
                <a:gd name="connsiteX19" fmla="*/ 6230 w 355120"/>
                <a:gd name="connsiteY19" fmla="*/ 427772 h 67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120" h="679985">
                  <a:moveTo>
                    <a:pt x="6230" y="443027"/>
                  </a:moveTo>
                  <a:lnTo>
                    <a:pt x="6230" y="454341"/>
                  </a:lnTo>
                  <a:lnTo>
                    <a:pt x="222379" y="668926"/>
                  </a:lnTo>
                  <a:lnTo>
                    <a:pt x="233568" y="679986"/>
                  </a:lnTo>
                  <a:lnTo>
                    <a:pt x="335286" y="631297"/>
                  </a:lnTo>
                  <a:lnTo>
                    <a:pt x="355121" y="315776"/>
                  </a:lnTo>
                  <a:lnTo>
                    <a:pt x="25302" y="0"/>
                  </a:lnTo>
                  <a:lnTo>
                    <a:pt x="16021" y="217636"/>
                  </a:lnTo>
                  <a:lnTo>
                    <a:pt x="11062" y="332048"/>
                  </a:lnTo>
                  <a:cubicBezTo>
                    <a:pt x="10931" y="336395"/>
                    <a:pt x="7725" y="340018"/>
                    <a:pt x="3433" y="340692"/>
                  </a:cubicBezTo>
                  <a:lnTo>
                    <a:pt x="0" y="419509"/>
                  </a:lnTo>
                  <a:lnTo>
                    <a:pt x="1526" y="419509"/>
                  </a:lnTo>
                  <a:lnTo>
                    <a:pt x="3052" y="420399"/>
                  </a:lnTo>
                  <a:lnTo>
                    <a:pt x="4323" y="421416"/>
                  </a:lnTo>
                  <a:cubicBezTo>
                    <a:pt x="4748" y="421937"/>
                    <a:pt x="5130" y="422484"/>
                    <a:pt x="5467" y="423068"/>
                  </a:cubicBezTo>
                  <a:cubicBezTo>
                    <a:pt x="5751" y="423424"/>
                    <a:pt x="6005" y="423818"/>
                    <a:pt x="6230" y="424212"/>
                  </a:cubicBezTo>
                  <a:lnTo>
                    <a:pt x="6230" y="424212"/>
                  </a:lnTo>
                  <a:cubicBezTo>
                    <a:pt x="6303" y="424797"/>
                    <a:pt x="6303" y="425408"/>
                    <a:pt x="6230" y="425992"/>
                  </a:cubicBezTo>
                  <a:cubicBezTo>
                    <a:pt x="6284" y="426590"/>
                    <a:pt x="6284" y="427174"/>
                    <a:pt x="6230" y="427772"/>
                  </a:cubicBezTo>
                  <a:lnTo>
                    <a:pt x="6230" y="427772"/>
                  </a:lnTo>
                  <a:close/>
                </a:path>
              </a:pathLst>
            </a:custGeom>
            <a:solidFill>
              <a:schemeClr val="accent3">
                <a:lumMod val="75000"/>
              </a:schemeClr>
            </a:solidFill>
            <a:ln w="12685"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096C6741-98E6-4DBB-9F87-2BE66A233A9A}"/>
                </a:ext>
              </a:extLst>
            </p:cNvPr>
            <p:cNvSpPr/>
            <p:nvPr/>
          </p:nvSpPr>
          <p:spPr>
            <a:xfrm>
              <a:off x="3305" y="2131787"/>
              <a:ext cx="62937" cy="422432"/>
            </a:xfrm>
            <a:custGeom>
              <a:avLst/>
              <a:gdLst>
                <a:gd name="connsiteX0" fmla="*/ 62938 w 62937"/>
                <a:gd name="connsiteY0" fmla="*/ 0 h 422432"/>
                <a:gd name="connsiteX1" fmla="*/ 0 w 62937"/>
                <a:gd name="connsiteY1" fmla="*/ 26950 h 422432"/>
                <a:gd name="connsiteX2" fmla="*/ 0 w 62937"/>
                <a:gd name="connsiteY2" fmla="*/ 422433 h 422432"/>
                <a:gd name="connsiteX3" fmla="*/ 61539 w 62937"/>
                <a:gd name="connsiteY3" fmla="*/ 395355 h 422432"/>
                <a:gd name="connsiteX4" fmla="*/ 62938 w 62937"/>
                <a:gd name="connsiteY4" fmla="*/ 0 h 42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7" h="422432">
                  <a:moveTo>
                    <a:pt x="62938" y="0"/>
                  </a:moveTo>
                  <a:lnTo>
                    <a:pt x="0" y="26950"/>
                  </a:lnTo>
                  <a:lnTo>
                    <a:pt x="0" y="422433"/>
                  </a:lnTo>
                  <a:lnTo>
                    <a:pt x="61539" y="395355"/>
                  </a:lnTo>
                  <a:lnTo>
                    <a:pt x="62938" y="0"/>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AD83EBCD-E4E0-4DB9-B49E-6D965B7721CA}"/>
                </a:ext>
              </a:extLst>
            </p:cNvPr>
            <p:cNvSpPr/>
            <p:nvPr/>
          </p:nvSpPr>
          <p:spPr>
            <a:xfrm>
              <a:off x="3511662" y="3054325"/>
              <a:ext cx="152830" cy="182168"/>
            </a:xfrm>
            <a:custGeom>
              <a:avLst/>
              <a:gdLst>
                <a:gd name="connsiteX0" fmla="*/ 35728 w 152830"/>
                <a:gd name="connsiteY0" fmla="*/ 101572 h 182168"/>
                <a:gd name="connsiteX1" fmla="*/ 36618 w 152830"/>
                <a:gd name="connsiteY1" fmla="*/ 102589 h 182168"/>
                <a:gd name="connsiteX2" fmla="*/ 37635 w 152830"/>
                <a:gd name="connsiteY2" fmla="*/ 104115 h 182168"/>
                <a:gd name="connsiteX3" fmla="*/ 38398 w 152830"/>
                <a:gd name="connsiteY3" fmla="*/ 105767 h 182168"/>
                <a:gd name="connsiteX4" fmla="*/ 38398 w 152830"/>
                <a:gd name="connsiteY4" fmla="*/ 107420 h 182168"/>
                <a:gd name="connsiteX5" fmla="*/ 38398 w 152830"/>
                <a:gd name="connsiteY5" fmla="*/ 109327 h 182168"/>
                <a:gd name="connsiteX6" fmla="*/ 38398 w 152830"/>
                <a:gd name="connsiteY6" fmla="*/ 110725 h 182168"/>
                <a:gd name="connsiteX7" fmla="*/ 24158 w 152830"/>
                <a:gd name="connsiteY7" fmla="*/ 182169 h 182168"/>
                <a:gd name="connsiteX8" fmla="*/ 152830 w 152830"/>
                <a:gd name="connsiteY8" fmla="*/ 116191 h 182168"/>
                <a:gd name="connsiteX9" fmla="*/ 14113 w 152830"/>
                <a:gd name="connsiteY9" fmla="*/ 0 h 182168"/>
                <a:gd name="connsiteX10" fmla="*/ 0 w 152830"/>
                <a:gd name="connsiteY10" fmla="*/ 71825 h 18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830" h="182168">
                  <a:moveTo>
                    <a:pt x="35728" y="101572"/>
                  </a:moveTo>
                  <a:cubicBezTo>
                    <a:pt x="35728" y="101572"/>
                    <a:pt x="35728" y="102335"/>
                    <a:pt x="36618" y="102589"/>
                  </a:cubicBezTo>
                  <a:cubicBezTo>
                    <a:pt x="37025" y="103047"/>
                    <a:pt x="37368" y="103555"/>
                    <a:pt x="37635" y="104115"/>
                  </a:cubicBezTo>
                  <a:cubicBezTo>
                    <a:pt x="37966" y="104623"/>
                    <a:pt x="38220" y="105182"/>
                    <a:pt x="38398" y="105767"/>
                  </a:cubicBezTo>
                  <a:cubicBezTo>
                    <a:pt x="38475" y="106314"/>
                    <a:pt x="38475" y="106873"/>
                    <a:pt x="38398" y="107420"/>
                  </a:cubicBezTo>
                  <a:cubicBezTo>
                    <a:pt x="38525" y="108055"/>
                    <a:pt x="38525" y="108691"/>
                    <a:pt x="38398" y="109327"/>
                  </a:cubicBezTo>
                  <a:cubicBezTo>
                    <a:pt x="38462" y="109784"/>
                    <a:pt x="38462" y="110267"/>
                    <a:pt x="38398" y="110725"/>
                  </a:cubicBezTo>
                  <a:lnTo>
                    <a:pt x="24158" y="182169"/>
                  </a:lnTo>
                  <a:lnTo>
                    <a:pt x="152830" y="116191"/>
                  </a:lnTo>
                  <a:lnTo>
                    <a:pt x="14113" y="0"/>
                  </a:lnTo>
                  <a:lnTo>
                    <a:pt x="0" y="71825"/>
                  </a:lnTo>
                  <a:close/>
                </a:path>
              </a:pathLst>
            </a:custGeom>
            <a:solidFill>
              <a:srgbClr val="F2494C"/>
            </a:solidFill>
            <a:ln w="12685"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D2F87316-A79E-4A7B-8D94-10F643D0C6BA}"/>
                </a:ext>
              </a:extLst>
            </p:cNvPr>
            <p:cNvSpPr/>
            <p:nvPr/>
          </p:nvSpPr>
          <p:spPr>
            <a:xfrm>
              <a:off x="1287741" y="2810629"/>
              <a:ext cx="71456" cy="70935"/>
            </a:xfrm>
            <a:custGeom>
              <a:avLst/>
              <a:gdLst>
                <a:gd name="connsiteX0" fmla="*/ 71456 w 71456"/>
                <a:gd name="connsiteY0" fmla="*/ 66613 h 70935"/>
                <a:gd name="connsiteX1" fmla="*/ 254 w 71456"/>
                <a:gd name="connsiteY1" fmla="*/ 0 h 70935"/>
                <a:gd name="connsiteX2" fmla="*/ 0 w 71456"/>
                <a:gd name="connsiteY2" fmla="*/ 4195 h 70935"/>
                <a:gd name="connsiteX3" fmla="*/ 3560 w 71456"/>
                <a:gd name="connsiteY3" fmla="*/ 7628 h 70935"/>
                <a:gd name="connsiteX4" fmla="*/ 71202 w 71456"/>
                <a:gd name="connsiteY4" fmla="*/ 70935 h 70935"/>
                <a:gd name="connsiteX5" fmla="*/ 71456 w 71456"/>
                <a:gd name="connsiteY5" fmla="*/ 66613 h 7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56" h="70935">
                  <a:moveTo>
                    <a:pt x="71456" y="66613"/>
                  </a:moveTo>
                  <a:lnTo>
                    <a:pt x="254" y="0"/>
                  </a:lnTo>
                  <a:lnTo>
                    <a:pt x="0" y="4195"/>
                  </a:lnTo>
                  <a:lnTo>
                    <a:pt x="3560" y="7628"/>
                  </a:lnTo>
                  <a:lnTo>
                    <a:pt x="71202" y="70935"/>
                  </a:lnTo>
                  <a:lnTo>
                    <a:pt x="71456" y="66613"/>
                  </a:lnTo>
                  <a:close/>
                </a:path>
              </a:pathLst>
            </a:custGeom>
            <a:solidFill>
              <a:srgbClr val="F9C996"/>
            </a:solidFill>
            <a:ln w="12685"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BE66FC7D-BB9C-447A-8AC2-F6698F1ECE5B}"/>
                </a:ext>
              </a:extLst>
            </p:cNvPr>
            <p:cNvSpPr/>
            <p:nvPr/>
          </p:nvSpPr>
          <p:spPr>
            <a:xfrm>
              <a:off x="1361867" y="2880038"/>
              <a:ext cx="66624" cy="63816"/>
            </a:xfrm>
            <a:custGeom>
              <a:avLst/>
              <a:gdLst>
                <a:gd name="connsiteX0" fmla="*/ 66625 w 66624"/>
                <a:gd name="connsiteY0" fmla="*/ 62164 h 63816"/>
                <a:gd name="connsiteX1" fmla="*/ 254 w 66624"/>
                <a:gd name="connsiteY1" fmla="*/ 0 h 63816"/>
                <a:gd name="connsiteX2" fmla="*/ 0 w 66624"/>
                <a:gd name="connsiteY2" fmla="*/ 4322 h 63816"/>
                <a:gd name="connsiteX3" fmla="*/ 3560 w 66624"/>
                <a:gd name="connsiteY3" fmla="*/ 7627 h 63816"/>
                <a:gd name="connsiteX4" fmla="*/ 63319 w 66624"/>
                <a:gd name="connsiteY4" fmla="*/ 63816 h 63816"/>
                <a:gd name="connsiteX5" fmla="*/ 66625 w 66624"/>
                <a:gd name="connsiteY5" fmla="*/ 62164 h 6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4" h="63816">
                  <a:moveTo>
                    <a:pt x="66625" y="62164"/>
                  </a:moveTo>
                  <a:lnTo>
                    <a:pt x="254" y="0"/>
                  </a:lnTo>
                  <a:lnTo>
                    <a:pt x="0" y="4322"/>
                  </a:lnTo>
                  <a:lnTo>
                    <a:pt x="3560" y="7627"/>
                  </a:lnTo>
                  <a:lnTo>
                    <a:pt x="63319" y="63816"/>
                  </a:lnTo>
                  <a:lnTo>
                    <a:pt x="66625" y="62164"/>
                  </a:lnTo>
                  <a:close/>
                </a:path>
              </a:pathLst>
            </a:custGeom>
            <a:solidFill>
              <a:srgbClr val="F1F2F2"/>
            </a:solidFill>
            <a:ln w="12685"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70A64AF0-5A58-47EE-A1ED-C2ECBB1C654D}"/>
                </a:ext>
              </a:extLst>
            </p:cNvPr>
            <p:cNvSpPr/>
            <p:nvPr/>
          </p:nvSpPr>
          <p:spPr>
            <a:xfrm>
              <a:off x="1362757" y="2596044"/>
              <a:ext cx="601022" cy="408448"/>
            </a:xfrm>
            <a:custGeom>
              <a:avLst/>
              <a:gdLst>
                <a:gd name="connsiteX0" fmla="*/ 68913 w 601022"/>
                <a:gd name="connsiteY0" fmla="*/ 344760 h 408448"/>
                <a:gd name="connsiteX1" fmla="*/ 70948 w 601022"/>
                <a:gd name="connsiteY1" fmla="*/ 343743 h 408448"/>
                <a:gd name="connsiteX2" fmla="*/ 247046 w 601022"/>
                <a:gd name="connsiteY2" fmla="*/ 260858 h 408448"/>
                <a:gd name="connsiteX3" fmla="*/ 247046 w 601022"/>
                <a:gd name="connsiteY3" fmla="*/ 260858 h 408448"/>
                <a:gd name="connsiteX4" fmla="*/ 248063 w 601022"/>
                <a:gd name="connsiteY4" fmla="*/ 260858 h 408448"/>
                <a:gd name="connsiteX5" fmla="*/ 251877 w 601022"/>
                <a:gd name="connsiteY5" fmla="*/ 260858 h 408448"/>
                <a:gd name="connsiteX6" fmla="*/ 253657 w 601022"/>
                <a:gd name="connsiteY6" fmla="*/ 260858 h 408448"/>
                <a:gd name="connsiteX7" fmla="*/ 255438 w 601022"/>
                <a:gd name="connsiteY7" fmla="*/ 261875 h 408448"/>
                <a:gd name="connsiteX8" fmla="*/ 256455 w 601022"/>
                <a:gd name="connsiteY8" fmla="*/ 262511 h 408448"/>
                <a:gd name="connsiteX9" fmla="*/ 256455 w 601022"/>
                <a:gd name="connsiteY9" fmla="*/ 262511 h 408448"/>
                <a:gd name="connsiteX10" fmla="*/ 256455 w 601022"/>
                <a:gd name="connsiteY10" fmla="*/ 262511 h 408448"/>
                <a:gd name="connsiteX11" fmla="*/ 412845 w 601022"/>
                <a:gd name="connsiteY11" fmla="*/ 406924 h 408448"/>
                <a:gd name="connsiteX12" fmla="*/ 414625 w 601022"/>
                <a:gd name="connsiteY12" fmla="*/ 408449 h 408448"/>
                <a:gd name="connsiteX13" fmla="*/ 565167 w 601022"/>
                <a:gd name="connsiteY13" fmla="*/ 336497 h 408448"/>
                <a:gd name="connsiteX14" fmla="*/ 565167 w 601022"/>
                <a:gd name="connsiteY14" fmla="*/ 332937 h 408448"/>
                <a:gd name="connsiteX15" fmla="*/ 601022 w 601022"/>
                <a:gd name="connsiteY15" fmla="*/ 0 h 408448"/>
                <a:gd name="connsiteX16" fmla="*/ 0 w 601022"/>
                <a:gd name="connsiteY16" fmla="*/ 281198 h 40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022" h="408448">
                  <a:moveTo>
                    <a:pt x="68913" y="344760"/>
                  </a:moveTo>
                  <a:lnTo>
                    <a:pt x="70948" y="343743"/>
                  </a:lnTo>
                  <a:lnTo>
                    <a:pt x="247046" y="260858"/>
                  </a:lnTo>
                  <a:lnTo>
                    <a:pt x="247046" y="260858"/>
                  </a:lnTo>
                  <a:cubicBezTo>
                    <a:pt x="247046" y="260858"/>
                    <a:pt x="247682" y="260858"/>
                    <a:pt x="248063" y="260858"/>
                  </a:cubicBezTo>
                  <a:cubicBezTo>
                    <a:pt x="249309" y="260464"/>
                    <a:pt x="250631" y="260464"/>
                    <a:pt x="251877" y="260858"/>
                  </a:cubicBezTo>
                  <a:lnTo>
                    <a:pt x="253657" y="260858"/>
                  </a:lnTo>
                  <a:lnTo>
                    <a:pt x="255438" y="261875"/>
                  </a:lnTo>
                  <a:lnTo>
                    <a:pt x="256455" y="262511"/>
                  </a:lnTo>
                  <a:lnTo>
                    <a:pt x="256455" y="262511"/>
                  </a:lnTo>
                  <a:lnTo>
                    <a:pt x="256455" y="262511"/>
                  </a:lnTo>
                  <a:lnTo>
                    <a:pt x="412845" y="406924"/>
                  </a:lnTo>
                  <a:lnTo>
                    <a:pt x="414625" y="408449"/>
                  </a:lnTo>
                  <a:lnTo>
                    <a:pt x="565167" y="336497"/>
                  </a:lnTo>
                  <a:lnTo>
                    <a:pt x="565167" y="332937"/>
                  </a:lnTo>
                  <a:lnTo>
                    <a:pt x="601022" y="0"/>
                  </a:lnTo>
                  <a:lnTo>
                    <a:pt x="0" y="281198"/>
                  </a:lnTo>
                  <a:close/>
                </a:path>
              </a:pathLst>
            </a:custGeom>
            <a:solidFill>
              <a:schemeClr val="accent5"/>
            </a:solidFill>
            <a:ln w="12685"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986572D2-DF72-4BE6-AF94-5438429A9029}"/>
                </a:ext>
              </a:extLst>
            </p:cNvPr>
            <p:cNvSpPr/>
            <p:nvPr/>
          </p:nvSpPr>
          <p:spPr>
            <a:xfrm>
              <a:off x="1780052" y="2936227"/>
              <a:ext cx="146854" cy="346412"/>
            </a:xfrm>
            <a:custGeom>
              <a:avLst/>
              <a:gdLst>
                <a:gd name="connsiteX0" fmla="*/ 58233 w 146854"/>
                <a:gd name="connsiteY0" fmla="*/ 123946 h 346412"/>
                <a:gd name="connsiteX1" fmla="*/ 58233 w 146854"/>
                <a:gd name="connsiteY1" fmla="*/ 124581 h 346412"/>
                <a:gd name="connsiteX2" fmla="*/ 59250 w 146854"/>
                <a:gd name="connsiteY2" fmla="*/ 126107 h 346412"/>
                <a:gd name="connsiteX3" fmla="*/ 60013 w 146854"/>
                <a:gd name="connsiteY3" fmla="*/ 127505 h 346412"/>
                <a:gd name="connsiteX4" fmla="*/ 60013 w 146854"/>
                <a:gd name="connsiteY4" fmla="*/ 129285 h 346412"/>
                <a:gd name="connsiteX5" fmla="*/ 60013 w 146854"/>
                <a:gd name="connsiteY5" fmla="*/ 131065 h 346412"/>
                <a:gd name="connsiteX6" fmla="*/ 60013 w 146854"/>
                <a:gd name="connsiteY6" fmla="*/ 131955 h 346412"/>
                <a:gd name="connsiteX7" fmla="*/ 38144 w 146854"/>
                <a:gd name="connsiteY7" fmla="*/ 346413 h 346412"/>
                <a:gd name="connsiteX8" fmla="*/ 113542 w 146854"/>
                <a:gd name="connsiteY8" fmla="*/ 309674 h 346412"/>
                <a:gd name="connsiteX9" fmla="*/ 146854 w 146854"/>
                <a:gd name="connsiteY9" fmla="*/ 0 h 346412"/>
                <a:gd name="connsiteX10" fmla="*/ 0 w 146854"/>
                <a:gd name="connsiteY10" fmla="*/ 70554 h 3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854" h="346412">
                  <a:moveTo>
                    <a:pt x="58233" y="123946"/>
                  </a:moveTo>
                  <a:cubicBezTo>
                    <a:pt x="58233" y="123946"/>
                    <a:pt x="58233" y="123946"/>
                    <a:pt x="58233" y="124581"/>
                  </a:cubicBezTo>
                  <a:cubicBezTo>
                    <a:pt x="58665" y="125014"/>
                    <a:pt x="59021" y="125535"/>
                    <a:pt x="59250" y="126107"/>
                  </a:cubicBezTo>
                  <a:cubicBezTo>
                    <a:pt x="59606" y="126514"/>
                    <a:pt x="59861" y="126997"/>
                    <a:pt x="60013" y="127505"/>
                  </a:cubicBezTo>
                  <a:cubicBezTo>
                    <a:pt x="60064" y="128103"/>
                    <a:pt x="60064" y="128688"/>
                    <a:pt x="60013" y="129285"/>
                  </a:cubicBezTo>
                  <a:cubicBezTo>
                    <a:pt x="60013" y="129921"/>
                    <a:pt x="60013" y="130429"/>
                    <a:pt x="60013" y="131065"/>
                  </a:cubicBezTo>
                  <a:cubicBezTo>
                    <a:pt x="60077" y="131357"/>
                    <a:pt x="60077" y="131662"/>
                    <a:pt x="60013" y="131955"/>
                  </a:cubicBezTo>
                  <a:lnTo>
                    <a:pt x="38144" y="346413"/>
                  </a:lnTo>
                  <a:lnTo>
                    <a:pt x="113542" y="309674"/>
                  </a:lnTo>
                  <a:lnTo>
                    <a:pt x="146854" y="0"/>
                  </a:lnTo>
                  <a:lnTo>
                    <a:pt x="0" y="70554"/>
                  </a:lnTo>
                  <a:close/>
                </a:path>
              </a:pathLst>
            </a:custGeom>
            <a:solidFill>
              <a:srgbClr val="22B0AE"/>
            </a:solidFill>
            <a:ln w="12685"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630FB86-5A5B-43E0-BB53-FEAF0AB3B1F8}"/>
                </a:ext>
              </a:extLst>
            </p:cNvPr>
            <p:cNvSpPr/>
            <p:nvPr/>
          </p:nvSpPr>
          <p:spPr>
            <a:xfrm>
              <a:off x="1289521" y="2488497"/>
              <a:ext cx="686718" cy="386202"/>
            </a:xfrm>
            <a:custGeom>
              <a:avLst/>
              <a:gdLst>
                <a:gd name="connsiteX0" fmla="*/ 675912 w 686718"/>
                <a:gd name="connsiteY0" fmla="*/ 100046 h 386202"/>
                <a:gd name="connsiteX1" fmla="*/ 686719 w 686718"/>
                <a:gd name="connsiteY1" fmla="*/ 0 h 386202"/>
                <a:gd name="connsiteX2" fmla="*/ 0 w 686718"/>
                <a:gd name="connsiteY2" fmla="*/ 319081 h 386202"/>
                <a:gd name="connsiteX3" fmla="*/ 71584 w 686718"/>
                <a:gd name="connsiteY3" fmla="*/ 386202 h 386202"/>
                <a:gd name="connsiteX4" fmla="*/ 675530 w 686718"/>
                <a:gd name="connsiteY4" fmla="*/ 103606 h 386202"/>
                <a:gd name="connsiteX5" fmla="*/ 675912 w 686718"/>
                <a:gd name="connsiteY5" fmla="*/ 100046 h 38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8" h="386202">
                  <a:moveTo>
                    <a:pt x="675912" y="100046"/>
                  </a:moveTo>
                  <a:lnTo>
                    <a:pt x="686719" y="0"/>
                  </a:lnTo>
                  <a:lnTo>
                    <a:pt x="0" y="319081"/>
                  </a:lnTo>
                  <a:lnTo>
                    <a:pt x="71584" y="386202"/>
                  </a:lnTo>
                  <a:lnTo>
                    <a:pt x="675530" y="103606"/>
                  </a:lnTo>
                  <a:lnTo>
                    <a:pt x="675912" y="100046"/>
                  </a:lnTo>
                  <a:close/>
                </a:path>
              </a:pathLst>
            </a:custGeom>
            <a:solidFill>
              <a:schemeClr val="accent5"/>
            </a:solidFill>
            <a:ln w="12685"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BA379650-D421-437D-8CDB-4F359C636732}"/>
                </a:ext>
              </a:extLst>
            </p:cNvPr>
            <p:cNvSpPr/>
            <p:nvPr/>
          </p:nvSpPr>
          <p:spPr>
            <a:xfrm>
              <a:off x="1812220" y="3267512"/>
              <a:ext cx="80102" cy="84155"/>
            </a:xfrm>
            <a:custGeom>
              <a:avLst/>
              <a:gdLst>
                <a:gd name="connsiteX0" fmla="*/ 0 w 80102"/>
                <a:gd name="connsiteY0" fmla="*/ 84156 h 84155"/>
                <a:gd name="connsiteX1" fmla="*/ 75016 w 80102"/>
                <a:gd name="connsiteY1" fmla="*/ 47544 h 84155"/>
                <a:gd name="connsiteX2" fmla="*/ 75398 w 80102"/>
                <a:gd name="connsiteY2" fmla="*/ 43731 h 84155"/>
                <a:gd name="connsiteX3" fmla="*/ 80102 w 80102"/>
                <a:gd name="connsiteY3" fmla="*/ 0 h 84155"/>
                <a:gd name="connsiteX4" fmla="*/ 4832 w 80102"/>
                <a:gd name="connsiteY4" fmla="*/ 36612 h 84155"/>
                <a:gd name="connsiteX5" fmla="*/ 0 w 80102"/>
                <a:gd name="connsiteY5" fmla="*/ 84156 h 8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102" h="84155">
                  <a:moveTo>
                    <a:pt x="0" y="84156"/>
                  </a:moveTo>
                  <a:lnTo>
                    <a:pt x="75016" y="47544"/>
                  </a:lnTo>
                  <a:lnTo>
                    <a:pt x="75398" y="43731"/>
                  </a:lnTo>
                  <a:lnTo>
                    <a:pt x="80102" y="0"/>
                  </a:lnTo>
                  <a:lnTo>
                    <a:pt x="4832" y="36612"/>
                  </a:lnTo>
                  <a:lnTo>
                    <a:pt x="0" y="84156"/>
                  </a:lnTo>
                  <a:close/>
                </a:path>
              </a:pathLst>
            </a:custGeom>
            <a:solidFill>
              <a:srgbClr val="0A4054"/>
            </a:solidFill>
            <a:ln w="12685"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E0B8E0F4-C801-44AE-8F88-4A3AFC2A2A1F}"/>
                </a:ext>
              </a:extLst>
            </p:cNvPr>
            <p:cNvSpPr/>
            <p:nvPr/>
          </p:nvSpPr>
          <p:spPr>
            <a:xfrm>
              <a:off x="1741781" y="3318107"/>
              <a:ext cx="143675" cy="862408"/>
            </a:xfrm>
            <a:custGeom>
              <a:avLst/>
              <a:gdLst>
                <a:gd name="connsiteX0" fmla="*/ 69676 w 143675"/>
                <a:gd name="connsiteY0" fmla="*/ 41061 h 862408"/>
                <a:gd name="connsiteX1" fmla="*/ 44247 w 143675"/>
                <a:gd name="connsiteY1" fmla="*/ 285902 h 862408"/>
                <a:gd name="connsiteX2" fmla="*/ 46154 w 143675"/>
                <a:gd name="connsiteY2" fmla="*/ 285902 h 862408"/>
                <a:gd name="connsiteX3" fmla="*/ 47044 w 143675"/>
                <a:gd name="connsiteY3" fmla="*/ 285902 h 862408"/>
                <a:gd name="connsiteX4" fmla="*/ 48824 w 143675"/>
                <a:gd name="connsiteY4" fmla="*/ 285902 h 862408"/>
                <a:gd name="connsiteX5" fmla="*/ 50223 w 143675"/>
                <a:gd name="connsiteY5" fmla="*/ 286792 h 862408"/>
                <a:gd name="connsiteX6" fmla="*/ 51494 w 143675"/>
                <a:gd name="connsiteY6" fmla="*/ 287936 h 862408"/>
                <a:gd name="connsiteX7" fmla="*/ 52511 w 143675"/>
                <a:gd name="connsiteY7" fmla="*/ 289461 h 862408"/>
                <a:gd name="connsiteX8" fmla="*/ 53147 w 143675"/>
                <a:gd name="connsiteY8" fmla="*/ 290351 h 862408"/>
                <a:gd name="connsiteX9" fmla="*/ 53147 w 143675"/>
                <a:gd name="connsiteY9" fmla="*/ 290987 h 862408"/>
                <a:gd name="connsiteX10" fmla="*/ 53147 w 143675"/>
                <a:gd name="connsiteY10" fmla="*/ 292767 h 862408"/>
                <a:gd name="connsiteX11" fmla="*/ 53147 w 143675"/>
                <a:gd name="connsiteY11" fmla="*/ 294546 h 862408"/>
                <a:gd name="connsiteX12" fmla="*/ 53147 w 143675"/>
                <a:gd name="connsiteY12" fmla="*/ 295309 h 862408"/>
                <a:gd name="connsiteX13" fmla="*/ 0 w 143675"/>
                <a:gd name="connsiteY13" fmla="*/ 811559 h 862408"/>
                <a:gd name="connsiteX14" fmla="*/ 50859 w 143675"/>
                <a:gd name="connsiteY14" fmla="*/ 862409 h 862408"/>
                <a:gd name="connsiteX15" fmla="*/ 143676 w 143675"/>
                <a:gd name="connsiteY15" fmla="*/ 0 h 862408"/>
                <a:gd name="connsiteX16" fmla="*/ 68659 w 143675"/>
                <a:gd name="connsiteY16" fmla="*/ 36739 h 86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675" h="862408">
                  <a:moveTo>
                    <a:pt x="69676" y="41061"/>
                  </a:moveTo>
                  <a:lnTo>
                    <a:pt x="44247" y="285902"/>
                  </a:lnTo>
                  <a:lnTo>
                    <a:pt x="46154" y="285902"/>
                  </a:lnTo>
                  <a:lnTo>
                    <a:pt x="47044" y="285902"/>
                  </a:lnTo>
                  <a:lnTo>
                    <a:pt x="48824" y="285902"/>
                  </a:lnTo>
                  <a:lnTo>
                    <a:pt x="50223" y="286792"/>
                  </a:lnTo>
                  <a:lnTo>
                    <a:pt x="51494" y="287936"/>
                  </a:lnTo>
                  <a:cubicBezTo>
                    <a:pt x="51876" y="288419"/>
                    <a:pt x="52219" y="288927"/>
                    <a:pt x="52511" y="289461"/>
                  </a:cubicBezTo>
                  <a:cubicBezTo>
                    <a:pt x="52511" y="289461"/>
                    <a:pt x="52511" y="289461"/>
                    <a:pt x="53147" y="290351"/>
                  </a:cubicBezTo>
                  <a:cubicBezTo>
                    <a:pt x="53211" y="290554"/>
                    <a:pt x="53211" y="290783"/>
                    <a:pt x="53147" y="290987"/>
                  </a:cubicBezTo>
                  <a:cubicBezTo>
                    <a:pt x="53198" y="291584"/>
                    <a:pt x="53198" y="292169"/>
                    <a:pt x="53147" y="292767"/>
                  </a:cubicBezTo>
                  <a:cubicBezTo>
                    <a:pt x="53147" y="293402"/>
                    <a:pt x="53147" y="294038"/>
                    <a:pt x="53147" y="294546"/>
                  </a:cubicBezTo>
                  <a:cubicBezTo>
                    <a:pt x="53147" y="295055"/>
                    <a:pt x="53147" y="294546"/>
                    <a:pt x="53147" y="295309"/>
                  </a:cubicBezTo>
                  <a:lnTo>
                    <a:pt x="0" y="811559"/>
                  </a:lnTo>
                  <a:lnTo>
                    <a:pt x="50859" y="862409"/>
                  </a:lnTo>
                  <a:lnTo>
                    <a:pt x="143676" y="0"/>
                  </a:lnTo>
                  <a:lnTo>
                    <a:pt x="68659" y="36739"/>
                  </a:lnTo>
                  <a:close/>
                </a:path>
              </a:pathLst>
            </a:custGeom>
            <a:solidFill>
              <a:schemeClr val="accent2">
                <a:lumMod val="75000"/>
              </a:schemeClr>
            </a:solidFill>
            <a:ln w="12685"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1EC9BBCA-DB25-4CAB-A732-DA380C89F68B}"/>
                </a:ext>
              </a:extLst>
            </p:cNvPr>
            <p:cNvSpPr/>
            <p:nvPr/>
          </p:nvSpPr>
          <p:spPr>
            <a:xfrm>
              <a:off x="1416922" y="3628671"/>
              <a:ext cx="359824" cy="485740"/>
            </a:xfrm>
            <a:custGeom>
              <a:avLst/>
              <a:gdLst>
                <a:gd name="connsiteX0" fmla="*/ 177115 w 359824"/>
                <a:gd name="connsiteY0" fmla="*/ 90766 h 485740"/>
                <a:gd name="connsiteX1" fmla="*/ 133504 w 359824"/>
                <a:gd name="connsiteY1" fmla="*/ 112377 h 485740"/>
                <a:gd name="connsiteX2" fmla="*/ 0 w 359824"/>
                <a:gd name="connsiteY2" fmla="*/ 178736 h 485740"/>
                <a:gd name="connsiteX3" fmla="*/ 309729 w 359824"/>
                <a:gd name="connsiteY3" fmla="*/ 485740 h 485740"/>
                <a:gd name="connsiteX4" fmla="*/ 359825 w 359824"/>
                <a:gd name="connsiteY4" fmla="*/ 0 h 485740"/>
                <a:gd name="connsiteX5" fmla="*/ 177115 w 359824"/>
                <a:gd name="connsiteY5" fmla="*/ 90766 h 4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824" h="485740">
                  <a:moveTo>
                    <a:pt x="177115" y="90766"/>
                  </a:moveTo>
                  <a:lnTo>
                    <a:pt x="133504" y="112377"/>
                  </a:lnTo>
                  <a:lnTo>
                    <a:pt x="0" y="178736"/>
                  </a:lnTo>
                  <a:lnTo>
                    <a:pt x="309729" y="485740"/>
                  </a:lnTo>
                  <a:lnTo>
                    <a:pt x="359825" y="0"/>
                  </a:lnTo>
                  <a:lnTo>
                    <a:pt x="177115" y="90766"/>
                  </a:lnTo>
                  <a:close/>
                </a:path>
              </a:pathLst>
            </a:custGeom>
            <a:solidFill>
              <a:schemeClr val="accent4"/>
            </a:solidFill>
            <a:ln w="12685"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59AC878-DC17-4981-8146-5ABF288237C1}"/>
                </a:ext>
              </a:extLst>
            </p:cNvPr>
            <p:cNvSpPr/>
            <p:nvPr/>
          </p:nvSpPr>
          <p:spPr>
            <a:xfrm>
              <a:off x="720158" y="2091870"/>
              <a:ext cx="1282273" cy="713673"/>
            </a:xfrm>
            <a:custGeom>
              <a:avLst/>
              <a:gdLst>
                <a:gd name="connsiteX0" fmla="*/ 1256845 w 1282273"/>
                <a:gd name="connsiteY0" fmla="*/ 389253 h 713673"/>
                <a:gd name="connsiteX1" fmla="*/ 1282274 w 1282273"/>
                <a:gd name="connsiteY1" fmla="*/ 155472 h 713673"/>
                <a:gd name="connsiteX2" fmla="*/ 1143557 w 1282273"/>
                <a:gd name="connsiteY2" fmla="*/ 35468 h 713673"/>
                <a:gd name="connsiteX3" fmla="*/ 1141268 w 1282273"/>
                <a:gd name="connsiteY3" fmla="*/ 58604 h 713673"/>
                <a:gd name="connsiteX4" fmla="*/ 1132266 w 1282273"/>
                <a:gd name="connsiteY4" fmla="*/ 66880 h 713673"/>
                <a:gd name="connsiteX5" fmla="*/ 1124485 w 1282273"/>
                <a:gd name="connsiteY5" fmla="*/ 61147 h 713673"/>
                <a:gd name="connsiteX6" fmla="*/ 577754 w 1282273"/>
                <a:gd name="connsiteY6" fmla="*/ 308784 h 713673"/>
                <a:gd name="connsiteX7" fmla="*/ 577754 w 1282273"/>
                <a:gd name="connsiteY7" fmla="*/ 309674 h 713673"/>
                <a:gd name="connsiteX8" fmla="*/ 576229 w 1282273"/>
                <a:gd name="connsiteY8" fmla="*/ 311199 h 713673"/>
                <a:gd name="connsiteX9" fmla="*/ 574703 w 1282273"/>
                <a:gd name="connsiteY9" fmla="*/ 309674 h 713673"/>
                <a:gd name="connsiteX10" fmla="*/ 574703 w 1282273"/>
                <a:gd name="connsiteY10" fmla="*/ 308403 h 713673"/>
                <a:gd name="connsiteX11" fmla="*/ 417931 w 1282273"/>
                <a:gd name="connsiteY11" fmla="*/ 165642 h 713673"/>
                <a:gd name="connsiteX12" fmla="*/ 410811 w 1282273"/>
                <a:gd name="connsiteY12" fmla="*/ 168948 h 713673"/>
                <a:gd name="connsiteX13" fmla="*/ 402546 w 1282273"/>
                <a:gd name="connsiteY13" fmla="*/ 159159 h 713673"/>
                <a:gd name="connsiteX14" fmla="*/ 412209 w 1282273"/>
                <a:gd name="connsiteY14" fmla="*/ 0 h 713673"/>
                <a:gd name="connsiteX15" fmla="*/ 124731 w 1282273"/>
                <a:gd name="connsiteY15" fmla="*/ 127124 h 713673"/>
                <a:gd name="connsiteX16" fmla="*/ 84680 w 1282273"/>
                <a:gd name="connsiteY16" fmla="*/ 144794 h 713673"/>
                <a:gd name="connsiteX17" fmla="*/ 0 w 1282273"/>
                <a:gd name="connsiteY17" fmla="*/ 182169 h 713673"/>
                <a:gd name="connsiteX18" fmla="*/ 566820 w 1282273"/>
                <a:gd name="connsiteY18" fmla="*/ 713674 h 713673"/>
                <a:gd name="connsiteX19" fmla="*/ 1256463 w 1282273"/>
                <a:gd name="connsiteY19" fmla="*/ 393067 h 71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2273" h="713673">
                  <a:moveTo>
                    <a:pt x="1256845" y="389253"/>
                  </a:moveTo>
                  <a:lnTo>
                    <a:pt x="1282274" y="155472"/>
                  </a:lnTo>
                  <a:lnTo>
                    <a:pt x="1143557" y="35468"/>
                  </a:lnTo>
                  <a:lnTo>
                    <a:pt x="1141268" y="58604"/>
                  </a:lnTo>
                  <a:cubicBezTo>
                    <a:pt x="1141065" y="63371"/>
                    <a:pt x="1137047" y="67083"/>
                    <a:pt x="1132266" y="66880"/>
                  </a:cubicBezTo>
                  <a:cubicBezTo>
                    <a:pt x="1128744" y="66740"/>
                    <a:pt x="1125667" y="64465"/>
                    <a:pt x="1124485" y="61147"/>
                  </a:cubicBezTo>
                  <a:lnTo>
                    <a:pt x="577754" y="308784"/>
                  </a:lnTo>
                  <a:lnTo>
                    <a:pt x="577754" y="309674"/>
                  </a:lnTo>
                  <a:cubicBezTo>
                    <a:pt x="577754" y="310513"/>
                    <a:pt x="577068" y="311199"/>
                    <a:pt x="576229" y="311199"/>
                  </a:cubicBezTo>
                  <a:cubicBezTo>
                    <a:pt x="575389" y="311199"/>
                    <a:pt x="574703" y="310513"/>
                    <a:pt x="574703" y="309674"/>
                  </a:cubicBezTo>
                  <a:lnTo>
                    <a:pt x="574703" y="308403"/>
                  </a:lnTo>
                  <a:lnTo>
                    <a:pt x="417931" y="165642"/>
                  </a:lnTo>
                  <a:cubicBezTo>
                    <a:pt x="416281" y="167893"/>
                    <a:pt x="413594" y="169138"/>
                    <a:pt x="410811" y="168948"/>
                  </a:cubicBezTo>
                  <a:cubicBezTo>
                    <a:pt x="405851" y="168477"/>
                    <a:pt x="402178" y="164130"/>
                    <a:pt x="402546" y="159159"/>
                  </a:cubicBezTo>
                  <a:lnTo>
                    <a:pt x="412209" y="0"/>
                  </a:lnTo>
                  <a:lnTo>
                    <a:pt x="124731" y="127124"/>
                  </a:lnTo>
                  <a:lnTo>
                    <a:pt x="84680" y="144794"/>
                  </a:lnTo>
                  <a:lnTo>
                    <a:pt x="0" y="182169"/>
                  </a:lnTo>
                  <a:lnTo>
                    <a:pt x="566820" y="713674"/>
                  </a:lnTo>
                  <a:lnTo>
                    <a:pt x="1256463" y="393067"/>
                  </a:lnTo>
                  <a:close/>
                </a:path>
              </a:pathLst>
            </a:custGeom>
            <a:solidFill>
              <a:schemeClr val="accent1"/>
            </a:solidFill>
            <a:ln w="12685"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73B8CC2B-4760-4F13-9EE3-E33D27CB0774}"/>
                </a:ext>
              </a:extLst>
            </p:cNvPr>
            <p:cNvSpPr/>
            <p:nvPr/>
          </p:nvSpPr>
          <p:spPr>
            <a:xfrm>
              <a:off x="1138089" y="2065428"/>
              <a:ext cx="169740" cy="334590"/>
            </a:xfrm>
            <a:custGeom>
              <a:avLst/>
              <a:gdLst>
                <a:gd name="connsiteX0" fmla="*/ 13605 w 169740"/>
                <a:gd name="connsiteY0" fmla="*/ 0 h 334590"/>
                <a:gd name="connsiteX1" fmla="*/ 12842 w 169740"/>
                <a:gd name="connsiteY1" fmla="*/ 12712 h 334590"/>
                <a:gd name="connsiteX2" fmla="*/ 2289 w 169740"/>
                <a:gd name="connsiteY2" fmla="*/ 186745 h 334590"/>
                <a:gd name="connsiteX3" fmla="*/ 0 w 169740"/>
                <a:gd name="connsiteY3" fmla="*/ 192084 h 334590"/>
                <a:gd name="connsiteX4" fmla="*/ 156136 w 169740"/>
                <a:gd name="connsiteY4" fmla="*/ 334590 h 334590"/>
                <a:gd name="connsiteX5" fmla="*/ 169741 w 169740"/>
                <a:gd name="connsiteY5" fmla="*/ 139836 h 3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40" h="334590">
                  <a:moveTo>
                    <a:pt x="13605" y="0"/>
                  </a:moveTo>
                  <a:lnTo>
                    <a:pt x="12842" y="12712"/>
                  </a:lnTo>
                  <a:lnTo>
                    <a:pt x="2289" y="186745"/>
                  </a:lnTo>
                  <a:cubicBezTo>
                    <a:pt x="2145" y="188728"/>
                    <a:pt x="1339" y="190610"/>
                    <a:pt x="0" y="192084"/>
                  </a:cubicBezTo>
                  <a:lnTo>
                    <a:pt x="156136" y="334590"/>
                  </a:lnTo>
                  <a:lnTo>
                    <a:pt x="169741" y="139836"/>
                  </a:lnTo>
                  <a:close/>
                </a:path>
              </a:pathLst>
            </a:custGeom>
            <a:solidFill>
              <a:srgbClr val="9FD1D0"/>
            </a:solidFill>
            <a:ln w="12685"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945D3489-D09E-4465-B405-C0C033D9FA46}"/>
                </a:ext>
              </a:extLst>
            </p:cNvPr>
            <p:cNvSpPr/>
            <p:nvPr/>
          </p:nvSpPr>
          <p:spPr>
            <a:xfrm>
              <a:off x="1296895" y="1959916"/>
              <a:ext cx="565166" cy="440738"/>
            </a:xfrm>
            <a:custGeom>
              <a:avLst/>
              <a:gdLst>
                <a:gd name="connsiteX0" fmla="*/ 550545 w 565166"/>
                <a:gd name="connsiteY0" fmla="*/ 148227 h 440738"/>
                <a:gd name="connsiteX1" fmla="*/ 565167 w 565166"/>
                <a:gd name="connsiteY1" fmla="*/ 0 h 440738"/>
                <a:gd name="connsiteX2" fmla="*/ 13986 w 565166"/>
                <a:gd name="connsiteY2" fmla="*/ 246366 h 440738"/>
                <a:gd name="connsiteX3" fmla="*/ 0 w 565166"/>
                <a:gd name="connsiteY3" fmla="*/ 440739 h 440738"/>
                <a:gd name="connsiteX4" fmla="*/ 546731 w 565166"/>
                <a:gd name="connsiteY4" fmla="*/ 193101 h 440738"/>
                <a:gd name="connsiteX5" fmla="*/ 545968 w 565166"/>
                <a:gd name="connsiteY5" fmla="*/ 188652 h 4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66" h="440738">
                  <a:moveTo>
                    <a:pt x="550545" y="148227"/>
                  </a:moveTo>
                  <a:lnTo>
                    <a:pt x="565167" y="0"/>
                  </a:lnTo>
                  <a:lnTo>
                    <a:pt x="13986" y="246366"/>
                  </a:lnTo>
                  <a:lnTo>
                    <a:pt x="0" y="440739"/>
                  </a:lnTo>
                  <a:lnTo>
                    <a:pt x="546731" y="193101"/>
                  </a:lnTo>
                  <a:cubicBezTo>
                    <a:pt x="546044" y="191728"/>
                    <a:pt x="545777" y="190177"/>
                    <a:pt x="545968" y="188652"/>
                  </a:cubicBezTo>
                  <a:close/>
                </a:path>
              </a:pathLst>
            </a:custGeom>
            <a:solidFill>
              <a:schemeClr val="accent2">
                <a:lumMod val="75000"/>
              </a:schemeClr>
            </a:solidFill>
            <a:ln w="12685"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3E64B124-AEE8-4B96-9594-67BA3BE6C64C}"/>
                </a:ext>
              </a:extLst>
            </p:cNvPr>
            <p:cNvSpPr/>
            <p:nvPr/>
          </p:nvSpPr>
          <p:spPr>
            <a:xfrm>
              <a:off x="1152584" y="1820334"/>
              <a:ext cx="708333" cy="382897"/>
            </a:xfrm>
            <a:custGeom>
              <a:avLst/>
              <a:gdLst>
                <a:gd name="connsiteX0" fmla="*/ 0 w 708333"/>
                <a:gd name="connsiteY0" fmla="*/ 241408 h 382897"/>
                <a:gd name="connsiteX1" fmla="*/ 157153 w 708333"/>
                <a:gd name="connsiteY1" fmla="*/ 382897 h 382897"/>
                <a:gd name="connsiteX2" fmla="*/ 708334 w 708333"/>
                <a:gd name="connsiteY2" fmla="*/ 136531 h 382897"/>
                <a:gd name="connsiteX3" fmla="*/ 603946 w 708333"/>
                <a:gd name="connsiteY3" fmla="*/ 47290 h 382897"/>
                <a:gd name="connsiteX4" fmla="*/ 548638 w 708333"/>
                <a:gd name="connsiteY4" fmla="*/ 0 h 382897"/>
                <a:gd name="connsiteX5" fmla="*/ 433824 w 708333"/>
                <a:gd name="connsiteY5" fmla="*/ 50468 h 382897"/>
                <a:gd name="connsiteX6" fmla="*/ 315959 w 708333"/>
                <a:gd name="connsiteY6" fmla="*/ 102335 h 382897"/>
                <a:gd name="connsiteX7" fmla="*/ 153975 w 708333"/>
                <a:gd name="connsiteY7" fmla="*/ 173651 h 382897"/>
                <a:gd name="connsiteX8" fmla="*/ 131851 w 708333"/>
                <a:gd name="connsiteY8" fmla="*/ 183313 h 382897"/>
                <a:gd name="connsiteX9" fmla="*/ 0 w 708333"/>
                <a:gd name="connsiteY9" fmla="*/ 241408 h 38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333" h="382897">
                  <a:moveTo>
                    <a:pt x="0" y="241408"/>
                  </a:moveTo>
                  <a:lnTo>
                    <a:pt x="157153" y="382897"/>
                  </a:lnTo>
                  <a:lnTo>
                    <a:pt x="708334" y="136531"/>
                  </a:lnTo>
                  <a:lnTo>
                    <a:pt x="603946" y="47290"/>
                  </a:lnTo>
                  <a:lnTo>
                    <a:pt x="548638" y="0"/>
                  </a:lnTo>
                  <a:lnTo>
                    <a:pt x="433824" y="50468"/>
                  </a:lnTo>
                  <a:lnTo>
                    <a:pt x="315959" y="102335"/>
                  </a:lnTo>
                  <a:lnTo>
                    <a:pt x="153975" y="173651"/>
                  </a:lnTo>
                  <a:lnTo>
                    <a:pt x="131851" y="183313"/>
                  </a:lnTo>
                  <a:lnTo>
                    <a:pt x="0" y="241408"/>
                  </a:lnTo>
                  <a:close/>
                </a:path>
              </a:pathLst>
            </a:custGeom>
            <a:solidFill>
              <a:schemeClr val="bg1">
                <a:lumMod val="95000"/>
              </a:schemeClr>
            </a:solidFill>
            <a:ln w="12685"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27EE8C5D-A15B-414B-B06B-300A852822BB}"/>
                </a:ext>
              </a:extLst>
            </p:cNvPr>
            <p:cNvSpPr/>
            <p:nvPr/>
          </p:nvSpPr>
          <p:spPr>
            <a:xfrm>
              <a:off x="596699" y="4143904"/>
              <a:ext cx="143421" cy="760200"/>
            </a:xfrm>
            <a:custGeom>
              <a:avLst/>
              <a:gdLst>
                <a:gd name="connsiteX0" fmla="*/ 23141 w 143421"/>
                <a:gd name="connsiteY0" fmla="*/ 0 h 760200"/>
                <a:gd name="connsiteX1" fmla="*/ 11952 w 143421"/>
                <a:gd name="connsiteY1" fmla="*/ 309801 h 760200"/>
                <a:gd name="connsiteX2" fmla="*/ 890 w 143421"/>
                <a:gd name="connsiteY2" fmla="*/ 626212 h 760200"/>
                <a:gd name="connsiteX3" fmla="*/ 890 w 143421"/>
                <a:gd name="connsiteY3" fmla="*/ 627483 h 760200"/>
                <a:gd name="connsiteX4" fmla="*/ 890 w 143421"/>
                <a:gd name="connsiteY4" fmla="*/ 629263 h 760200"/>
                <a:gd name="connsiteX5" fmla="*/ 0 w 143421"/>
                <a:gd name="connsiteY5" fmla="*/ 630789 h 760200"/>
                <a:gd name="connsiteX6" fmla="*/ 0 w 143421"/>
                <a:gd name="connsiteY6" fmla="*/ 630789 h 760200"/>
                <a:gd name="connsiteX7" fmla="*/ 115322 w 143421"/>
                <a:gd name="connsiteY7" fmla="*/ 760201 h 760200"/>
                <a:gd name="connsiteX8" fmla="*/ 143421 w 143421"/>
                <a:gd name="connsiteY8" fmla="*/ 127887 h 760200"/>
                <a:gd name="connsiteX9" fmla="*/ 123714 w 143421"/>
                <a:gd name="connsiteY9" fmla="*/ 107039 h 76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421" h="760200">
                  <a:moveTo>
                    <a:pt x="23141" y="0"/>
                  </a:moveTo>
                  <a:lnTo>
                    <a:pt x="11952" y="309801"/>
                  </a:lnTo>
                  <a:lnTo>
                    <a:pt x="890" y="626212"/>
                  </a:lnTo>
                  <a:lnTo>
                    <a:pt x="890" y="627483"/>
                  </a:lnTo>
                  <a:cubicBezTo>
                    <a:pt x="962" y="628068"/>
                    <a:pt x="962" y="628666"/>
                    <a:pt x="890" y="629263"/>
                  </a:cubicBezTo>
                  <a:cubicBezTo>
                    <a:pt x="670" y="629810"/>
                    <a:pt x="370" y="630331"/>
                    <a:pt x="0" y="630789"/>
                  </a:cubicBezTo>
                  <a:cubicBezTo>
                    <a:pt x="0" y="630789"/>
                    <a:pt x="0" y="630789"/>
                    <a:pt x="0" y="630789"/>
                  </a:cubicBezTo>
                  <a:lnTo>
                    <a:pt x="115322" y="760201"/>
                  </a:lnTo>
                  <a:lnTo>
                    <a:pt x="143421" y="127887"/>
                  </a:lnTo>
                  <a:lnTo>
                    <a:pt x="123714" y="107039"/>
                  </a:lnTo>
                  <a:close/>
                </a:path>
              </a:pathLst>
            </a:custGeom>
            <a:solidFill>
              <a:schemeClr val="accent4"/>
            </a:solidFill>
            <a:ln w="12685"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54ADF34B-0178-47D5-8082-5FC294C5F588}"/>
                </a:ext>
              </a:extLst>
            </p:cNvPr>
            <p:cNvSpPr/>
            <p:nvPr/>
          </p:nvSpPr>
          <p:spPr>
            <a:xfrm>
              <a:off x="3305" y="4777362"/>
              <a:ext cx="707698" cy="497817"/>
            </a:xfrm>
            <a:custGeom>
              <a:avLst/>
              <a:gdLst>
                <a:gd name="connsiteX0" fmla="*/ 589833 w 707698"/>
                <a:gd name="connsiteY0" fmla="*/ 0 h 497817"/>
                <a:gd name="connsiteX1" fmla="*/ 588943 w 707698"/>
                <a:gd name="connsiteY1" fmla="*/ 763 h 497817"/>
                <a:gd name="connsiteX2" fmla="*/ 383093 w 707698"/>
                <a:gd name="connsiteY2" fmla="*/ 106403 h 497817"/>
                <a:gd name="connsiteX3" fmla="*/ 271077 w 707698"/>
                <a:gd name="connsiteY3" fmla="*/ 163863 h 497817"/>
                <a:gd name="connsiteX4" fmla="*/ 0 w 707698"/>
                <a:gd name="connsiteY4" fmla="*/ 303064 h 497817"/>
                <a:gd name="connsiteX5" fmla="*/ 0 w 707698"/>
                <a:gd name="connsiteY5" fmla="*/ 497817 h 497817"/>
                <a:gd name="connsiteX6" fmla="*/ 707698 w 707698"/>
                <a:gd name="connsiteY6" fmla="*/ 130302 h 49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698" h="497817">
                  <a:moveTo>
                    <a:pt x="589833" y="0"/>
                  </a:moveTo>
                  <a:lnTo>
                    <a:pt x="588943" y="763"/>
                  </a:lnTo>
                  <a:lnTo>
                    <a:pt x="383093" y="106403"/>
                  </a:lnTo>
                  <a:lnTo>
                    <a:pt x="271077" y="163863"/>
                  </a:lnTo>
                  <a:lnTo>
                    <a:pt x="0" y="303064"/>
                  </a:lnTo>
                  <a:lnTo>
                    <a:pt x="0" y="497817"/>
                  </a:lnTo>
                  <a:lnTo>
                    <a:pt x="707698" y="130302"/>
                  </a:lnTo>
                  <a:close/>
                </a:path>
              </a:pathLst>
            </a:custGeom>
            <a:solidFill>
              <a:schemeClr val="accent3"/>
            </a:solidFill>
            <a:ln w="12685"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75B9E5FB-0413-4172-9F9B-20E73F9275E8}"/>
                </a:ext>
              </a:extLst>
            </p:cNvPr>
            <p:cNvSpPr/>
            <p:nvPr/>
          </p:nvSpPr>
          <p:spPr>
            <a:xfrm>
              <a:off x="3305" y="4910080"/>
              <a:ext cx="775975" cy="478494"/>
            </a:xfrm>
            <a:custGeom>
              <a:avLst/>
              <a:gdLst>
                <a:gd name="connsiteX0" fmla="*/ 709860 w 775975"/>
                <a:gd name="connsiteY0" fmla="*/ 0 h 478494"/>
                <a:gd name="connsiteX1" fmla="*/ 0 w 775975"/>
                <a:gd name="connsiteY1" fmla="*/ 368659 h 478494"/>
                <a:gd name="connsiteX2" fmla="*/ 0 w 775975"/>
                <a:gd name="connsiteY2" fmla="*/ 478495 h 478494"/>
                <a:gd name="connsiteX3" fmla="*/ 775976 w 775975"/>
                <a:gd name="connsiteY3" fmla="*/ 72969 h 478494"/>
                <a:gd name="connsiteX4" fmla="*/ 709860 w 775975"/>
                <a:gd name="connsiteY4" fmla="*/ 0 h 478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975" h="478494">
                  <a:moveTo>
                    <a:pt x="709860" y="0"/>
                  </a:moveTo>
                  <a:lnTo>
                    <a:pt x="0" y="368659"/>
                  </a:lnTo>
                  <a:lnTo>
                    <a:pt x="0" y="478495"/>
                  </a:lnTo>
                  <a:lnTo>
                    <a:pt x="775976" y="72969"/>
                  </a:lnTo>
                  <a:lnTo>
                    <a:pt x="709860" y="0"/>
                  </a:lnTo>
                  <a:close/>
                </a:path>
              </a:pathLst>
            </a:custGeom>
            <a:solidFill>
              <a:schemeClr val="accent2"/>
            </a:solidFill>
            <a:ln w="1268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15FAA615-BA5A-44F5-A662-1A918E2AFB83}"/>
                </a:ext>
              </a:extLst>
            </p:cNvPr>
            <p:cNvSpPr/>
            <p:nvPr/>
          </p:nvSpPr>
          <p:spPr>
            <a:xfrm>
              <a:off x="729058" y="3935040"/>
              <a:ext cx="431789" cy="224500"/>
            </a:xfrm>
            <a:custGeom>
              <a:avLst/>
              <a:gdLst>
                <a:gd name="connsiteX0" fmla="*/ 414498 w 431789"/>
                <a:gd name="connsiteY0" fmla="*/ 1017 h 224500"/>
                <a:gd name="connsiteX1" fmla="*/ 414498 w 431789"/>
                <a:gd name="connsiteY1" fmla="*/ 0 h 224500"/>
                <a:gd name="connsiteX2" fmla="*/ 0 w 431789"/>
                <a:gd name="connsiteY2" fmla="*/ 205559 h 224500"/>
                <a:gd name="connsiteX3" fmla="*/ 18055 w 431789"/>
                <a:gd name="connsiteY3" fmla="*/ 224501 h 224500"/>
                <a:gd name="connsiteX4" fmla="*/ 431790 w 431789"/>
                <a:gd name="connsiteY4" fmla="*/ 18687 h 224500"/>
                <a:gd name="connsiteX5" fmla="*/ 415261 w 431789"/>
                <a:gd name="connsiteY5" fmla="*/ 1398 h 22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789" h="224500">
                  <a:moveTo>
                    <a:pt x="414498" y="1017"/>
                  </a:moveTo>
                  <a:cubicBezTo>
                    <a:pt x="414474" y="673"/>
                    <a:pt x="414474" y="343"/>
                    <a:pt x="414498" y="0"/>
                  </a:cubicBezTo>
                  <a:lnTo>
                    <a:pt x="0" y="205559"/>
                  </a:lnTo>
                  <a:lnTo>
                    <a:pt x="18055" y="224501"/>
                  </a:lnTo>
                  <a:lnTo>
                    <a:pt x="431790" y="18687"/>
                  </a:lnTo>
                  <a:lnTo>
                    <a:pt x="415261" y="1398"/>
                  </a:lnTo>
                  <a:close/>
                </a:path>
              </a:pathLst>
            </a:custGeom>
            <a:solidFill>
              <a:srgbClr val="930B0D"/>
            </a:solidFill>
            <a:ln w="12685"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4F9F18D6-16D6-42DC-98E4-F4E3871A88E3}"/>
                </a:ext>
              </a:extLst>
            </p:cNvPr>
            <p:cNvSpPr/>
            <p:nvPr/>
          </p:nvSpPr>
          <p:spPr>
            <a:xfrm>
              <a:off x="723210" y="4143904"/>
              <a:ext cx="21996" cy="123437"/>
            </a:xfrm>
            <a:custGeom>
              <a:avLst/>
              <a:gdLst>
                <a:gd name="connsiteX0" fmla="*/ 4577 w 21996"/>
                <a:gd name="connsiteY0" fmla="*/ 0 h 123437"/>
                <a:gd name="connsiteX1" fmla="*/ 0 w 21996"/>
                <a:gd name="connsiteY1" fmla="*/ 105131 h 123437"/>
                <a:gd name="connsiteX2" fmla="*/ 17292 w 21996"/>
                <a:gd name="connsiteY2" fmla="*/ 123437 h 123437"/>
                <a:gd name="connsiteX3" fmla="*/ 21996 w 21996"/>
                <a:gd name="connsiteY3" fmla="*/ 18306 h 123437"/>
                <a:gd name="connsiteX4" fmla="*/ 4577 w 21996"/>
                <a:gd name="connsiteY4" fmla="*/ 0 h 12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6" h="123437">
                  <a:moveTo>
                    <a:pt x="4577" y="0"/>
                  </a:moveTo>
                  <a:lnTo>
                    <a:pt x="0" y="105131"/>
                  </a:lnTo>
                  <a:lnTo>
                    <a:pt x="17292" y="123437"/>
                  </a:lnTo>
                  <a:lnTo>
                    <a:pt x="21996" y="18306"/>
                  </a:lnTo>
                  <a:lnTo>
                    <a:pt x="4577" y="0"/>
                  </a:lnTo>
                  <a:close/>
                </a:path>
              </a:pathLst>
            </a:custGeom>
            <a:solidFill>
              <a:srgbClr val="F9C996"/>
            </a:solidFill>
            <a:ln w="12685"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64CB15F-9602-4647-A755-06B56387D99B}"/>
                </a:ext>
              </a:extLst>
            </p:cNvPr>
            <p:cNvSpPr/>
            <p:nvPr/>
          </p:nvSpPr>
          <p:spPr>
            <a:xfrm>
              <a:off x="3305" y="4985465"/>
              <a:ext cx="884431" cy="584261"/>
            </a:xfrm>
            <a:custGeom>
              <a:avLst/>
              <a:gdLst>
                <a:gd name="connsiteX0" fmla="*/ 778265 w 884431"/>
                <a:gd name="connsiteY0" fmla="*/ 0 h 584261"/>
                <a:gd name="connsiteX1" fmla="*/ 0 w 884431"/>
                <a:gd name="connsiteY1" fmla="*/ 406797 h 584261"/>
                <a:gd name="connsiteX2" fmla="*/ 0 w 884431"/>
                <a:gd name="connsiteY2" fmla="*/ 584261 h 584261"/>
                <a:gd name="connsiteX3" fmla="*/ 884432 w 884431"/>
                <a:gd name="connsiteY3" fmla="*/ 117335 h 584261"/>
                <a:gd name="connsiteX4" fmla="*/ 778265 w 884431"/>
                <a:gd name="connsiteY4" fmla="*/ 0 h 58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31" h="584261">
                  <a:moveTo>
                    <a:pt x="778265" y="0"/>
                  </a:moveTo>
                  <a:lnTo>
                    <a:pt x="0" y="406797"/>
                  </a:lnTo>
                  <a:lnTo>
                    <a:pt x="0" y="584261"/>
                  </a:lnTo>
                  <a:lnTo>
                    <a:pt x="884432" y="117335"/>
                  </a:lnTo>
                  <a:lnTo>
                    <a:pt x="778265" y="0"/>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FB531358-4AB9-4687-9302-1253405ECC0F}"/>
                </a:ext>
              </a:extLst>
            </p:cNvPr>
            <p:cNvSpPr/>
            <p:nvPr/>
          </p:nvSpPr>
          <p:spPr>
            <a:xfrm>
              <a:off x="72092" y="1658251"/>
              <a:ext cx="384237" cy="245857"/>
            </a:xfrm>
            <a:custGeom>
              <a:avLst/>
              <a:gdLst>
                <a:gd name="connsiteX0" fmla="*/ 220345 w 384237"/>
                <a:gd name="connsiteY0" fmla="*/ 1525 h 245857"/>
                <a:gd name="connsiteX1" fmla="*/ 220345 w 384237"/>
                <a:gd name="connsiteY1" fmla="*/ 1525 h 245857"/>
                <a:gd name="connsiteX2" fmla="*/ 219201 w 384237"/>
                <a:gd name="connsiteY2" fmla="*/ 0 h 245857"/>
                <a:gd name="connsiteX3" fmla="*/ 219201 w 384237"/>
                <a:gd name="connsiteY3" fmla="*/ 0 h 245857"/>
                <a:gd name="connsiteX4" fmla="*/ 0 w 384237"/>
                <a:gd name="connsiteY4" fmla="*/ 90766 h 245857"/>
                <a:gd name="connsiteX5" fmla="*/ 164401 w 384237"/>
                <a:gd name="connsiteY5" fmla="*/ 245858 h 245857"/>
                <a:gd name="connsiteX6" fmla="*/ 384237 w 384237"/>
                <a:gd name="connsiteY6" fmla="*/ 152930 h 24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237" h="245857">
                  <a:moveTo>
                    <a:pt x="220345" y="1525"/>
                  </a:moveTo>
                  <a:cubicBezTo>
                    <a:pt x="220345" y="1525"/>
                    <a:pt x="220345" y="1525"/>
                    <a:pt x="220345" y="1525"/>
                  </a:cubicBezTo>
                  <a:cubicBezTo>
                    <a:pt x="219854" y="1108"/>
                    <a:pt x="219464" y="587"/>
                    <a:pt x="219201" y="0"/>
                  </a:cubicBezTo>
                  <a:lnTo>
                    <a:pt x="219201" y="0"/>
                  </a:lnTo>
                  <a:lnTo>
                    <a:pt x="0" y="90766"/>
                  </a:lnTo>
                  <a:lnTo>
                    <a:pt x="164401" y="245858"/>
                  </a:lnTo>
                  <a:lnTo>
                    <a:pt x="384237" y="152930"/>
                  </a:lnTo>
                  <a:close/>
                </a:path>
              </a:pathLst>
            </a:custGeom>
            <a:solidFill>
              <a:schemeClr val="accent1">
                <a:lumMod val="75000"/>
              </a:schemeClr>
            </a:solidFill>
            <a:ln w="1268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4698F414-7DFC-408B-B9D2-83F9FA5203DB}"/>
                </a:ext>
              </a:extLst>
            </p:cNvPr>
            <p:cNvSpPr/>
            <p:nvPr/>
          </p:nvSpPr>
          <p:spPr>
            <a:xfrm>
              <a:off x="2751580" y="4073986"/>
              <a:ext cx="2122585" cy="2077585"/>
            </a:xfrm>
            <a:custGeom>
              <a:avLst/>
              <a:gdLst>
                <a:gd name="connsiteX0" fmla="*/ 1183227 w 2122585"/>
                <a:gd name="connsiteY0" fmla="*/ 0 h 2077585"/>
                <a:gd name="connsiteX1" fmla="*/ 1146100 w 2122585"/>
                <a:gd name="connsiteY1" fmla="*/ 159540 h 2077585"/>
                <a:gd name="connsiteX2" fmla="*/ 1416668 w 2122585"/>
                <a:gd name="connsiteY2" fmla="*/ 398915 h 2077585"/>
                <a:gd name="connsiteX3" fmla="*/ 1416668 w 2122585"/>
                <a:gd name="connsiteY3" fmla="*/ 398915 h 2077585"/>
                <a:gd name="connsiteX4" fmla="*/ 1416668 w 2122585"/>
                <a:gd name="connsiteY4" fmla="*/ 398915 h 2077585"/>
                <a:gd name="connsiteX5" fmla="*/ 1417431 w 2122585"/>
                <a:gd name="connsiteY5" fmla="*/ 399805 h 2077585"/>
                <a:gd name="connsiteX6" fmla="*/ 1418702 w 2122585"/>
                <a:gd name="connsiteY6" fmla="*/ 401584 h 2077585"/>
                <a:gd name="connsiteX7" fmla="*/ 1418702 w 2122585"/>
                <a:gd name="connsiteY7" fmla="*/ 403237 h 2077585"/>
                <a:gd name="connsiteX8" fmla="*/ 1418702 w 2122585"/>
                <a:gd name="connsiteY8" fmla="*/ 404890 h 2077585"/>
                <a:gd name="connsiteX9" fmla="*/ 1418702 w 2122585"/>
                <a:gd name="connsiteY9" fmla="*/ 407178 h 2077585"/>
                <a:gd name="connsiteX10" fmla="*/ 1418702 w 2122585"/>
                <a:gd name="connsiteY10" fmla="*/ 408322 h 2077585"/>
                <a:gd name="connsiteX11" fmla="*/ 1418702 w 2122585"/>
                <a:gd name="connsiteY11" fmla="*/ 408322 h 2077585"/>
                <a:gd name="connsiteX12" fmla="*/ 1418702 w 2122585"/>
                <a:gd name="connsiteY12" fmla="*/ 408322 h 2077585"/>
                <a:gd name="connsiteX13" fmla="*/ 1380685 w 2122585"/>
                <a:gd name="connsiteY13" fmla="*/ 565701 h 2077585"/>
                <a:gd name="connsiteX14" fmla="*/ 1370246 w 2122585"/>
                <a:gd name="connsiteY14" fmla="*/ 572401 h 2077585"/>
                <a:gd name="connsiteX15" fmla="*/ 1369878 w 2122585"/>
                <a:gd name="connsiteY15" fmla="*/ 572312 h 2077585"/>
                <a:gd name="connsiteX16" fmla="*/ 1364410 w 2122585"/>
                <a:gd name="connsiteY16" fmla="*/ 567735 h 2077585"/>
                <a:gd name="connsiteX17" fmla="*/ 1003950 w 2122585"/>
                <a:gd name="connsiteY17" fmla="*/ 772786 h 2077585"/>
                <a:gd name="connsiteX18" fmla="*/ 1002043 w 2122585"/>
                <a:gd name="connsiteY18" fmla="*/ 781049 h 2077585"/>
                <a:gd name="connsiteX19" fmla="*/ 970256 w 2122585"/>
                <a:gd name="connsiteY19" fmla="*/ 918089 h 2077585"/>
                <a:gd name="connsiteX20" fmla="*/ 959881 w 2122585"/>
                <a:gd name="connsiteY20" fmla="*/ 924890 h 2077585"/>
                <a:gd name="connsiteX21" fmla="*/ 959576 w 2122585"/>
                <a:gd name="connsiteY21" fmla="*/ 924826 h 2077585"/>
                <a:gd name="connsiteX22" fmla="*/ 954871 w 2122585"/>
                <a:gd name="connsiteY22" fmla="*/ 921648 h 2077585"/>
                <a:gd name="connsiteX23" fmla="*/ 125239 w 2122585"/>
                <a:gd name="connsiteY23" fmla="*/ 1396838 h 2077585"/>
                <a:gd name="connsiteX24" fmla="*/ 125239 w 2122585"/>
                <a:gd name="connsiteY24" fmla="*/ 1398490 h 2077585"/>
                <a:gd name="connsiteX25" fmla="*/ 125239 w 2122585"/>
                <a:gd name="connsiteY25" fmla="*/ 1399507 h 2077585"/>
                <a:gd name="connsiteX26" fmla="*/ 125239 w 2122585"/>
                <a:gd name="connsiteY26" fmla="*/ 1402050 h 2077585"/>
                <a:gd name="connsiteX27" fmla="*/ 0 w 2122585"/>
                <a:gd name="connsiteY27" fmla="*/ 2077586 h 2077585"/>
                <a:gd name="connsiteX28" fmla="*/ 2122586 w 2122585"/>
                <a:gd name="connsiteY28" fmla="*/ 819695 h 2077585"/>
                <a:gd name="connsiteX29" fmla="*/ 1741146 w 2122585"/>
                <a:gd name="connsiteY29" fmla="*/ 486630 h 20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22585" h="2077585">
                  <a:moveTo>
                    <a:pt x="1183227" y="0"/>
                  </a:moveTo>
                  <a:lnTo>
                    <a:pt x="1146100" y="159540"/>
                  </a:lnTo>
                  <a:lnTo>
                    <a:pt x="1416668" y="398915"/>
                  </a:lnTo>
                  <a:lnTo>
                    <a:pt x="1416668" y="398915"/>
                  </a:lnTo>
                  <a:lnTo>
                    <a:pt x="1416668" y="398915"/>
                  </a:lnTo>
                  <a:lnTo>
                    <a:pt x="1417431" y="399805"/>
                  </a:lnTo>
                  <a:lnTo>
                    <a:pt x="1418702" y="401584"/>
                  </a:lnTo>
                  <a:cubicBezTo>
                    <a:pt x="1418753" y="402131"/>
                    <a:pt x="1418753" y="402690"/>
                    <a:pt x="1418702" y="403237"/>
                  </a:cubicBezTo>
                  <a:cubicBezTo>
                    <a:pt x="1418740" y="403784"/>
                    <a:pt x="1418740" y="404343"/>
                    <a:pt x="1418702" y="404890"/>
                  </a:cubicBezTo>
                  <a:cubicBezTo>
                    <a:pt x="1418829" y="405652"/>
                    <a:pt x="1418829" y="406415"/>
                    <a:pt x="1418702" y="407178"/>
                  </a:cubicBezTo>
                  <a:cubicBezTo>
                    <a:pt x="1418766" y="407559"/>
                    <a:pt x="1418766" y="407941"/>
                    <a:pt x="1418702" y="408322"/>
                  </a:cubicBezTo>
                  <a:lnTo>
                    <a:pt x="1418702" y="408322"/>
                  </a:lnTo>
                  <a:lnTo>
                    <a:pt x="1418702" y="408322"/>
                  </a:lnTo>
                  <a:lnTo>
                    <a:pt x="1380685" y="565701"/>
                  </a:lnTo>
                  <a:cubicBezTo>
                    <a:pt x="1379655" y="570431"/>
                    <a:pt x="1374976" y="573431"/>
                    <a:pt x="1370246" y="572401"/>
                  </a:cubicBezTo>
                  <a:cubicBezTo>
                    <a:pt x="1370119" y="572375"/>
                    <a:pt x="1370005" y="572350"/>
                    <a:pt x="1369878" y="572312"/>
                  </a:cubicBezTo>
                  <a:cubicBezTo>
                    <a:pt x="1367500" y="571613"/>
                    <a:pt x="1365517" y="569960"/>
                    <a:pt x="1364410" y="567735"/>
                  </a:cubicBezTo>
                  <a:lnTo>
                    <a:pt x="1003950" y="772786"/>
                  </a:lnTo>
                  <a:lnTo>
                    <a:pt x="1002043" y="781049"/>
                  </a:lnTo>
                  <a:lnTo>
                    <a:pt x="970256" y="918089"/>
                  </a:lnTo>
                  <a:cubicBezTo>
                    <a:pt x="969277" y="922830"/>
                    <a:pt x="964623" y="925882"/>
                    <a:pt x="959881" y="924890"/>
                  </a:cubicBezTo>
                  <a:cubicBezTo>
                    <a:pt x="959779" y="924877"/>
                    <a:pt x="959677" y="924852"/>
                    <a:pt x="959576" y="924826"/>
                  </a:cubicBezTo>
                  <a:cubicBezTo>
                    <a:pt x="957656" y="924394"/>
                    <a:pt x="955977" y="923263"/>
                    <a:pt x="954871" y="921648"/>
                  </a:cubicBezTo>
                  <a:lnTo>
                    <a:pt x="125239" y="1396838"/>
                  </a:lnTo>
                  <a:cubicBezTo>
                    <a:pt x="125367" y="1397384"/>
                    <a:pt x="125367" y="1397944"/>
                    <a:pt x="125239" y="1398490"/>
                  </a:cubicBezTo>
                  <a:cubicBezTo>
                    <a:pt x="125239" y="1398490"/>
                    <a:pt x="125239" y="1399253"/>
                    <a:pt x="125239" y="1399507"/>
                  </a:cubicBezTo>
                  <a:lnTo>
                    <a:pt x="125239" y="1402050"/>
                  </a:lnTo>
                  <a:lnTo>
                    <a:pt x="0" y="2077586"/>
                  </a:lnTo>
                  <a:lnTo>
                    <a:pt x="2122586" y="819695"/>
                  </a:lnTo>
                  <a:lnTo>
                    <a:pt x="1741146" y="486630"/>
                  </a:lnTo>
                  <a:close/>
                </a:path>
              </a:pathLst>
            </a:custGeom>
            <a:solidFill>
              <a:schemeClr val="bg1">
                <a:lumMod val="95000"/>
              </a:schemeClr>
            </a:solidFill>
            <a:ln w="1268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62E0F069-5C99-4D9D-82F3-13BADB6F0C2B}"/>
                </a:ext>
              </a:extLst>
            </p:cNvPr>
            <p:cNvSpPr/>
            <p:nvPr/>
          </p:nvSpPr>
          <p:spPr>
            <a:xfrm>
              <a:off x="3754894" y="4488410"/>
              <a:ext cx="396697" cy="358107"/>
            </a:xfrm>
            <a:custGeom>
              <a:avLst/>
              <a:gdLst>
                <a:gd name="connsiteX0" fmla="*/ 359571 w 396697"/>
                <a:gd name="connsiteY0" fmla="*/ 146574 h 358107"/>
                <a:gd name="connsiteX1" fmla="*/ 396697 w 396697"/>
                <a:gd name="connsiteY1" fmla="*/ 0 h 358107"/>
                <a:gd name="connsiteX2" fmla="*/ 36110 w 396697"/>
                <a:gd name="connsiteY2" fmla="*/ 203398 h 358107"/>
                <a:gd name="connsiteX3" fmla="*/ 34711 w 396697"/>
                <a:gd name="connsiteY3" fmla="*/ 209373 h 358107"/>
                <a:gd name="connsiteX4" fmla="*/ 0 w 396697"/>
                <a:gd name="connsiteY4" fmla="*/ 358108 h 358107"/>
                <a:gd name="connsiteX5" fmla="*/ 360461 w 396697"/>
                <a:gd name="connsiteY5" fmla="*/ 153057 h 358107"/>
                <a:gd name="connsiteX6" fmla="*/ 359571 w 396697"/>
                <a:gd name="connsiteY6" fmla="*/ 146574 h 3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697" h="358107">
                  <a:moveTo>
                    <a:pt x="359571" y="146574"/>
                  </a:moveTo>
                  <a:lnTo>
                    <a:pt x="396697" y="0"/>
                  </a:lnTo>
                  <a:lnTo>
                    <a:pt x="36110" y="203398"/>
                  </a:lnTo>
                  <a:lnTo>
                    <a:pt x="34711" y="209373"/>
                  </a:lnTo>
                  <a:lnTo>
                    <a:pt x="0" y="358108"/>
                  </a:lnTo>
                  <a:lnTo>
                    <a:pt x="360461" y="153057"/>
                  </a:lnTo>
                  <a:cubicBezTo>
                    <a:pt x="359456" y="151048"/>
                    <a:pt x="359151" y="148773"/>
                    <a:pt x="359571" y="146574"/>
                  </a:cubicBezTo>
                  <a:close/>
                </a:path>
              </a:pathLst>
            </a:custGeom>
            <a:solidFill>
              <a:schemeClr val="accent2"/>
            </a:solidFill>
            <a:ln w="1268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DD737D5C-FA00-46B9-849C-10F1732EF464}"/>
                </a:ext>
              </a:extLst>
            </p:cNvPr>
            <p:cNvSpPr/>
            <p:nvPr/>
          </p:nvSpPr>
          <p:spPr>
            <a:xfrm>
              <a:off x="3792020" y="4253739"/>
              <a:ext cx="360842" cy="434000"/>
            </a:xfrm>
            <a:custGeom>
              <a:avLst/>
              <a:gdLst>
                <a:gd name="connsiteX0" fmla="*/ 360715 w 360842"/>
                <a:gd name="connsiteY0" fmla="*/ 230348 h 434000"/>
                <a:gd name="connsiteX1" fmla="*/ 360842 w 360842"/>
                <a:gd name="connsiteY1" fmla="*/ 229840 h 434000"/>
                <a:gd name="connsiteX2" fmla="*/ 100954 w 360842"/>
                <a:gd name="connsiteY2" fmla="*/ 0 h 434000"/>
                <a:gd name="connsiteX3" fmla="*/ 0 w 360842"/>
                <a:gd name="connsiteY3" fmla="*/ 434001 h 434000"/>
                <a:gd name="connsiteX4" fmla="*/ 360715 w 360842"/>
                <a:gd name="connsiteY4" fmla="*/ 230348 h 43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842" h="434000">
                  <a:moveTo>
                    <a:pt x="360715" y="230348"/>
                  </a:moveTo>
                  <a:lnTo>
                    <a:pt x="360842" y="229840"/>
                  </a:lnTo>
                  <a:lnTo>
                    <a:pt x="100954" y="0"/>
                  </a:lnTo>
                  <a:lnTo>
                    <a:pt x="0" y="434001"/>
                  </a:lnTo>
                  <a:lnTo>
                    <a:pt x="360715" y="230348"/>
                  </a:lnTo>
                  <a:close/>
                </a:path>
              </a:pathLst>
            </a:custGeom>
            <a:solidFill>
              <a:schemeClr val="accent1">
                <a:lumMod val="60000"/>
                <a:lumOff val="40000"/>
              </a:schemeClr>
            </a:solidFill>
            <a:ln w="1268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D70D827C-3493-45A2-86BD-3CE010797AAA}"/>
                </a:ext>
              </a:extLst>
            </p:cNvPr>
            <p:cNvSpPr/>
            <p:nvPr/>
          </p:nvSpPr>
          <p:spPr>
            <a:xfrm>
              <a:off x="4494633" y="4229713"/>
              <a:ext cx="667901" cy="662315"/>
            </a:xfrm>
            <a:custGeom>
              <a:avLst/>
              <a:gdLst>
                <a:gd name="connsiteX0" fmla="*/ 381440 w 667901"/>
                <a:gd name="connsiteY0" fmla="*/ 662316 h 662315"/>
                <a:gd name="connsiteX1" fmla="*/ 382966 w 667901"/>
                <a:gd name="connsiteY1" fmla="*/ 661426 h 662315"/>
                <a:gd name="connsiteX2" fmla="*/ 667901 w 667901"/>
                <a:gd name="connsiteY2" fmla="*/ 492605 h 662315"/>
                <a:gd name="connsiteX3" fmla="*/ 90274 w 667901"/>
                <a:gd name="connsiteY3" fmla="*/ 0 h 662315"/>
                <a:gd name="connsiteX4" fmla="*/ 0 w 667901"/>
                <a:gd name="connsiteY4" fmla="*/ 328997 h 662315"/>
                <a:gd name="connsiteX5" fmla="*/ 381440 w 667901"/>
                <a:gd name="connsiteY5" fmla="*/ 662316 h 662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901" h="662315">
                  <a:moveTo>
                    <a:pt x="381440" y="662316"/>
                  </a:moveTo>
                  <a:lnTo>
                    <a:pt x="382966" y="661426"/>
                  </a:lnTo>
                  <a:lnTo>
                    <a:pt x="667901" y="492605"/>
                  </a:lnTo>
                  <a:lnTo>
                    <a:pt x="90274" y="0"/>
                  </a:lnTo>
                  <a:lnTo>
                    <a:pt x="0" y="328997"/>
                  </a:lnTo>
                  <a:lnTo>
                    <a:pt x="381440" y="662316"/>
                  </a:lnTo>
                  <a:close/>
                </a:path>
              </a:pathLst>
            </a:custGeom>
            <a:solidFill>
              <a:schemeClr val="accent2">
                <a:lumMod val="75000"/>
              </a:schemeClr>
            </a:solidFill>
            <a:ln w="12685"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A69D6562-2F66-444A-BF4A-039938F83C90}"/>
                </a:ext>
              </a:extLst>
            </p:cNvPr>
            <p:cNvSpPr/>
            <p:nvPr/>
          </p:nvSpPr>
          <p:spPr>
            <a:xfrm>
              <a:off x="4586305" y="3366033"/>
              <a:ext cx="382457" cy="858340"/>
            </a:xfrm>
            <a:custGeom>
              <a:avLst/>
              <a:gdLst>
                <a:gd name="connsiteX0" fmla="*/ 382457 w 382457"/>
                <a:gd name="connsiteY0" fmla="*/ 0 h 858340"/>
                <a:gd name="connsiteX1" fmla="*/ 220727 w 382457"/>
                <a:gd name="connsiteY1" fmla="*/ 53646 h 858340"/>
                <a:gd name="connsiteX2" fmla="*/ 0 w 382457"/>
                <a:gd name="connsiteY2" fmla="*/ 858340 h 858340"/>
                <a:gd name="connsiteX3" fmla="*/ 155373 w 382457"/>
                <a:gd name="connsiteY3" fmla="*/ 804440 h 858340"/>
                <a:gd name="connsiteX4" fmla="*/ 155373 w 382457"/>
                <a:gd name="connsiteY4" fmla="*/ 803550 h 858340"/>
                <a:gd name="connsiteX5" fmla="*/ 155373 w 382457"/>
                <a:gd name="connsiteY5" fmla="*/ 800499 h 858340"/>
                <a:gd name="connsiteX6" fmla="*/ 155373 w 382457"/>
                <a:gd name="connsiteY6" fmla="*/ 800499 h 85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457" h="858340">
                  <a:moveTo>
                    <a:pt x="382457" y="0"/>
                  </a:moveTo>
                  <a:lnTo>
                    <a:pt x="220727" y="53646"/>
                  </a:lnTo>
                  <a:lnTo>
                    <a:pt x="0" y="858340"/>
                  </a:lnTo>
                  <a:lnTo>
                    <a:pt x="155373" y="804440"/>
                  </a:lnTo>
                  <a:lnTo>
                    <a:pt x="155373" y="803550"/>
                  </a:lnTo>
                  <a:cubicBezTo>
                    <a:pt x="155246" y="802533"/>
                    <a:pt x="155246" y="801516"/>
                    <a:pt x="155373" y="800499"/>
                  </a:cubicBezTo>
                  <a:lnTo>
                    <a:pt x="155373" y="800499"/>
                  </a:lnTo>
                  <a:close/>
                </a:path>
              </a:pathLst>
            </a:custGeom>
            <a:solidFill>
              <a:schemeClr val="accent5"/>
            </a:solidFill>
            <a:ln w="1268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993F1941-C153-4618-AA35-A0C36DEA99A5}"/>
                </a:ext>
              </a:extLst>
            </p:cNvPr>
            <p:cNvSpPr/>
            <p:nvPr/>
          </p:nvSpPr>
          <p:spPr>
            <a:xfrm>
              <a:off x="1883931" y="4750412"/>
              <a:ext cx="3532641" cy="2113689"/>
            </a:xfrm>
            <a:custGeom>
              <a:avLst/>
              <a:gdLst>
                <a:gd name="connsiteX0" fmla="*/ 3532642 w 3532641"/>
                <a:gd name="connsiteY0" fmla="*/ 0 h 2113689"/>
                <a:gd name="connsiteX1" fmla="*/ 0 w 3532641"/>
                <a:gd name="connsiteY1" fmla="*/ 2113689 h 2113689"/>
                <a:gd name="connsiteX2" fmla="*/ 526133 w 3532641"/>
                <a:gd name="connsiteY2" fmla="*/ 2113689 h 2113689"/>
                <a:gd name="connsiteX3" fmla="*/ 3412997 w 3532641"/>
                <a:gd name="connsiteY3" fmla="*/ 356710 h 2113689"/>
                <a:gd name="connsiteX4" fmla="*/ 3532642 w 3532641"/>
                <a:gd name="connsiteY4" fmla="*/ 0 h 2113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641" h="2113689">
                  <a:moveTo>
                    <a:pt x="3532642" y="0"/>
                  </a:moveTo>
                  <a:lnTo>
                    <a:pt x="0" y="2113689"/>
                  </a:lnTo>
                  <a:lnTo>
                    <a:pt x="526133" y="2113689"/>
                  </a:lnTo>
                  <a:lnTo>
                    <a:pt x="3412997" y="356710"/>
                  </a:lnTo>
                  <a:lnTo>
                    <a:pt x="3532642" y="0"/>
                  </a:lnTo>
                  <a:close/>
                </a:path>
              </a:pathLst>
            </a:custGeom>
            <a:solidFill>
              <a:schemeClr val="accent6">
                <a:lumMod val="60000"/>
                <a:lumOff val="40000"/>
              </a:schemeClr>
            </a:solidFill>
            <a:ln w="1268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CF77C7D-32A6-49C3-9B70-BFE087400392}"/>
                </a:ext>
              </a:extLst>
            </p:cNvPr>
            <p:cNvSpPr/>
            <p:nvPr/>
          </p:nvSpPr>
          <p:spPr>
            <a:xfrm>
              <a:off x="1584119" y="4173651"/>
              <a:ext cx="3834488" cy="2690450"/>
            </a:xfrm>
            <a:custGeom>
              <a:avLst/>
              <a:gdLst>
                <a:gd name="connsiteX0" fmla="*/ 3834488 w 3834488"/>
                <a:gd name="connsiteY0" fmla="*/ 570532 h 2690450"/>
                <a:gd name="connsiteX1" fmla="*/ 3160611 w 3834488"/>
                <a:gd name="connsiteY1" fmla="*/ 2797 h 2690450"/>
                <a:gd name="connsiteX2" fmla="*/ 3160611 w 3834488"/>
                <a:gd name="connsiteY2" fmla="*/ 2797 h 2690450"/>
                <a:gd name="connsiteX3" fmla="*/ 3158449 w 3834488"/>
                <a:gd name="connsiteY3" fmla="*/ 0 h 2690450"/>
                <a:gd name="connsiteX4" fmla="*/ 3002949 w 3834488"/>
                <a:gd name="connsiteY4" fmla="*/ 53900 h 2690450"/>
                <a:gd name="connsiteX5" fmla="*/ 3581212 w 3834488"/>
                <a:gd name="connsiteY5" fmla="*/ 546887 h 2690450"/>
                <a:gd name="connsiteX6" fmla="*/ 3582738 w 3834488"/>
                <a:gd name="connsiteY6" fmla="*/ 545997 h 2690450"/>
                <a:gd name="connsiteX7" fmla="*/ 3594435 w 3834488"/>
                <a:gd name="connsiteY7" fmla="*/ 548870 h 2690450"/>
                <a:gd name="connsiteX8" fmla="*/ 3594817 w 3834488"/>
                <a:gd name="connsiteY8" fmla="*/ 549557 h 2690450"/>
                <a:gd name="connsiteX9" fmla="*/ 3591384 w 3834488"/>
                <a:gd name="connsiteY9" fmla="*/ 562269 h 2690450"/>
                <a:gd name="connsiteX10" fmla="*/ 3302125 w 3834488"/>
                <a:gd name="connsiteY10" fmla="*/ 733632 h 2690450"/>
                <a:gd name="connsiteX11" fmla="*/ 1158433 w 3834488"/>
                <a:gd name="connsiteY11" fmla="*/ 2003981 h 2690450"/>
                <a:gd name="connsiteX12" fmla="*/ 0 w 3834488"/>
                <a:gd name="connsiteY12" fmla="*/ 2690451 h 2690450"/>
                <a:gd name="connsiteX13" fmla="*/ 293454 w 3834488"/>
                <a:gd name="connsiteY13" fmla="*/ 2690451 h 2690450"/>
                <a:gd name="connsiteX14" fmla="*/ 3833980 w 3834488"/>
                <a:gd name="connsiteY14" fmla="*/ 572058 h 269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4488" h="2690450">
                  <a:moveTo>
                    <a:pt x="3834488" y="570532"/>
                  </a:moveTo>
                  <a:lnTo>
                    <a:pt x="3160611" y="2797"/>
                  </a:lnTo>
                  <a:lnTo>
                    <a:pt x="3160611" y="2797"/>
                  </a:lnTo>
                  <a:cubicBezTo>
                    <a:pt x="3159721" y="2008"/>
                    <a:pt x="3158983" y="1068"/>
                    <a:pt x="3158449" y="0"/>
                  </a:cubicBezTo>
                  <a:lnTo>
                    <a:pt x="3002949" y="53900"/>
                  </a:lnTo>
                  <a:lnTo>
                    <a:pt x="3581212" y="546887"/>
                  </a:lnTo>
                  <a:lnTo>
                    <a:pt x="3582738" y="545997"/>
                  </a:lnTo>
                  <a:cubicBezTo>
                    <a:pt x="3586756" y="543556"/>
                    <a:pt x="3591994" y="544840"/>
                    <a:pt x="3594435" y="548870"/>
                  </a:cubicBezTo>
                  <a:cubicBezTo>
                    <a:pt x="3594575" y="549086"/>
                    <a:pt x="3594702" y="549315"/>
                    <a:pt x="3594817" y="549557"/>
                  </a:cubicBezTo>
                  <a:cubicBezTo>
                    <a:pt x="3597321" y="554019"/>
                    <a:pt x="3595796" y="559676"/>
                    <a:pt x="3591384" y="562269"/>
                  </a:cubicBezTo>
                  <a:lnTo>
                    <a:pt x="3302125" y="733632"/>
                  </a:lnTo>
                  <a:lnTo>
                    <a:pt x="1158433" y="2003981"/>
                  </a:lnTo>
                  <a:lnTo>
                    <a:pt x="0" y="2690451"/>
                  </a:lnTo>
                  <a:lnTo>
                    <a:pt x="293454" y="2690451"/>
                  </a:lnTo>
                  <a:lnTo>
                    <a:pt x="3833980" y="572058"/>
                  </a:lnTo>
                  <a:close/>
                </a:path>
              </a:pathLst>
            </a:custGeom>
            <a:solidFill>
              <a:schemeClr val="accent5">
                <a:lumMod val="50000"/>
              </a:schemeClr>
            </a:solidFill>
            <a:ln w="12685"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868100BB-B085-4524-B15B-29522DE0988D}"/>
                </a:ext>
              </a:extLst>
            </p:cNvPr>
            <p:cNvSpPr/>
            <p:nvPr/>
          </p:nvSpPr>
          <p:spPr>
            <a:xfrm>
              <a:off x="0" y="720966"/>
              <a:ext cx="70947" cy="1404592"/>
            </a:xfrm>
            <a:custGeom>
              <a:avLst/>
              <a:gdLst>
                <a:gd name="connsiteX0" fmla="*/ 67642 w 70947"/>
                <a:gd name="connsiteY0" fmla="*/ 1027415 h 1404592"/>
                <a:gd name="connsiteX1" fmla="*/ 70948 w 70947"/>
                <a:gd name="connsiteY1" fmla="*/ 62545 h 1404592"/>
                <a:gd name="connsiteX2" fmla="*/ 0 w 70947"/>
                <a:gd name="connsiteY2" fmla="*/ 0 h 1404592"/>
                <a:gd name="connsiteX3" fmla="*/ 0 w 70947"/>
                <a:gd name="connsiteY3" fmla="*/ 26188 h 1404592"/>
                <a:gd name="connsiteX4" fmla="*/ 3306 w 70947"/>
                <a:gd name="connsiteY4" fmla="*/ 26188 h 1404592"/>
                <a:gd name="connsiteX5" fmla="*/ 3306 w 70947"/>
                <a:gd name="connsiteY5" fmla="*/ 1343700 h 1404592"/>
                <a:gd name="connsiteX6" fmla="*/ 66243 w 70947"/>
                <a:gd name="connsiteY6" fmla="*/ 1404592 h 1404592"/>
                <a:gd name="connsiteX7" fmla="*/ 67642 w 70947"/>
                <a:gd name="connsiteY7" fmla="*/ 1027415 h 140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47" h="1404592">
                  <a:moveTo>
                    <a:pt x="67642" y="1027415"/>
                  </a:moveTo>
                  <a:lnTo>
                    <a:pt x="70948" y="62545"/>
                  </a:lnTo>
                  <a:lnTo>
                    <a:pt x="0" y="0"/>
                  </a:lnTo>
                  <a:lnTo>
                    <a:pt x="0" y="26188"/>
                  </a:lnTo>
                  <a:lnTo>
                    <a:pt x="3306" y="26188"/>
                  </a:lnTo>
                  <a:lnTo>
                    <a:pt x="3306" y="1343700"/>
                  </a:lnTo>
                  <a:lnTo>
                    <a:pt x="66243" y="1404592"/>
                  </a:lnTo>
                  <a:lnTo>
                    <a:pt x="67642" y="1027415"/>
                  </a:lnTo>
                  <a:close/>
                </a:path>
              </a:pathLst>
            </a:custGeom>
            <a:solidFill>
              <a:schemeClr val="accent1">
                <a:lumMod val="40000"/>
                <a:lumOff val="60000"/>
              </a:schemeClr>
            </a:solidFill>
            <a:ln w="12685"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68DB7716-91A4-4D3E-97BA-32883AF5612C}"/>
                </a:ext>
              </a:extLst>
            </p:cNvPr>
            <p:cNvSpPr/>
            <p:nvPr/>
          </p:nvSpPr>
          <p:spPr>
            <a:xfrm>
              <a:off x="3305" y="2069242"/>
              <a:ext cx="61666" cy="85935"/>
            </a:xfrm>
            <a:custGeom>
              <a:avLst/>
              <a:gdLst>
                <a:gd name="connsiteX0" fmla="*/ 0 w 61666"/>
                <a:gd name="connsiteY0" fmla="*/ 0 h 85935"/>
                <a:gd name="connsiteX1" fmla="*/ 0 w 61666"/>
                <a:gd name="connsiteY1" fmla="*/ 85936 h 85935"/>
                <a:gd name="connsiteX2" fmla="*/ 61666 w 61666"/>
                <a:gd name="connsiteY2" fmla="*/ 59494 h 85935"/>
                <a:gd name="connsiteX3" fmla="*/ 0 w 61666"/>
                <a:gd name="connsiteY3" fmla="*/ 0 h 85935"/>
              </a:gdLst>
              <a:ahLst/>
              <a:cxnLst>
                <a:cxn ang="0">
                  <a:pos x="connsiteX0" y="connsiteY0"/>
                </a:cxn>
                <a:cxn ang="0">
                  <a:pos x="connsiteX1" y="connsiteY1"/>
                </a:cxn>
                <a:cxn ang="0">
                  <a:pos x="connsiteX2" y="connsiteY2"/>
                </a:cxn>
                <a:cxn ang="0">
                  <a:pos x="connsiteX3" y="connsiteY3"/>
                </a:cxn>
              </a:cxnLst>
              <a:rect l="l" t="t" r="r" b="b"/>
              <a:pathLst>
                <a:path w="61666" h="85935">
                  <a:moveTo>
                    <a:pt x="0" y="0"/>
                  </a:moveTo>
                  <a:lnTo>
                    <a:pt x="0" y="85936"/>
                  </a:lnTo>
                  <a:lnTo>
                    <a:pt x="61666" y="59494"/>
                  </a:lnTo>
                  <a:lnTo>
                    <a:pt x="0" y="0"/>
                  </a:lnTo>
                  <a:close/>
                </a:path>
              </a:pathLst>
            </a:custGeom>
            <a:solidFill>
              <a:srgbClr val="F1F2F2"/>
            </a:solidFill>
            <a:ln w="12685"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1B3F6CFB-0102-4435-AD90-D209670A4DA3}"/>
                </a:ext>
              </a:extLst>
            </p:cNvPr>
            <p:cNvSpPr/>
            <p:nvPr/>
          </p:nvSpPr>
          <p:spPr>
            <a:xfrm>
              <a:off x="2296776" y="1467310"/>
              <a:ext cx="32803" cy="265434"/>
            </a:xfrm>
            <a:custGeom>
              <a:avLst/>
              <a:gdLst>
                <a:gd name="connsiteX0" fmla="*/ 31024 w 32803"/>
                <a:gd name="connsiteY0" fmla="*/ 1907 h 265434"/>
                <a:gd name="connsiteX1" fmla="*/ 31024 w 32803"/>
                <a:gd name="connsiteY1" fmla="*/ 3814 h 265434"/>
                <a:gd name="connsiteX2" fmla="*/ 31024 w 32803"/>
                <a:gd name="connsiteY2" fmla="*/ 4958 h 265434"/>
                <a:gd name="connsiteX3" fmla="*/ 0 w 32803"/>
                <a:gd name="connsiteY3" fmla="*/ 265435 h 265434"/>
                <a:gd name="connsiteX4" fmla="*/ 1017 w 32803"/>
                <a:gd name="connsiteY4" fmla="*/ 265435 h 265434"/>
                <a:gd name="connsiteX5" fmla="*/ 32804 w 32803"/>
                <a:gd name="connsiteY5" fmla="*/ 0 h 265434"/>
                <a:gd name="connsiteX6" fmla="*/ 31914 w 32803"/>
                <a:gd name="connsiteY6" fmla="*/ 0 h 265434"/>
                <a:gd name="connsiteX7" fmla="*/ 30388 w 32803"/>
                <a:gd name="connsiteY7" fmla="*/ 763 h 2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03" h="265434">
                  <a:moveTo>
                    <a:pt x="31024" y="1907"/>
                  </a:moveTo>
                  <a:cubicBezTo>
                    <a:pt x="31087" y="2541"/>
                    <a:pt x="31087" y="3179"/>
                    <a:pt x="31024" y="3814"/>
                  </a:cubicBezTo>
                  <a:cubicBezTo>
                    <a:pt x="31024" y="3814"/>
                    <a:pt x="31024" y="4576"/>
                    <a:pt x="31024" y="4958"/>
                  </a:cubicBezTo>
                  <a:lnTo>
                    <a:pt x="0" y="265435"/>
                  </a:lnTo>
                  <a:lnTo>
                    <a:pt x="1017" y="265435"/>
                  </a:lnTo>
                  <a:lnTo>
                    <a:pt x="32804" y="0"/>
                  </a:lnTo>
                  <a:lnTo>
                    <a:pt x="31914" y="0"/>
                  </a:lnTo>
                  <a:lnTo>
                    <a:pt x="30388" y="763"/>
                  </a:lnTo>
                  <a:close/>
                </a:path>
              </a:pathLst>
            </a:custGeom>
            <a:solidFill>
              <a:srgbClr val="000000"/>
            </a:solidFill>
            <a:ln w="12685"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6133A4CB-A0CE-4F4B-98BD-94B83AE69147}"/>
                </a:ext>
              </a:extLst>
            </p:cNvPr>
            <p:cNvSpPr/>
            <p:nvPr/>
          </p:nvSpPr>
          <p:spPr>
            <a:xfrm>
              <a:off x="2301353" y="1459047"/>
              <a:ext cx="50869" cy="271536"/>
            </a:xfrm>
            <a:custGeom>
              <a:avLst/>
              <a:gdLst>
                <a:gd name="connsiteX0" fmla="*/ 36618 w 50869"/>
                <a:gd name="connsiteY0" fmla="*/ 7373 h 271536"/>
                <a:gd name="connsiteX1" fmla="*/ 33948 w 50869"/>
                <a:gd name="connsiteY1" fmla="*/ 5212 h 271536"/>
                <a:gd name="connsiteX2" fmla="*/ 32295 w 50869"/>
                <a:gd name="connsiteY2" fmla="*/ 5975 h 271536"/>
                <a:gd name="connsiteX3" fmla="*/ 0 w 50869"/>
                <a:gd name="connsiteY3" fmla="*/ 271537 h 271536"/>
                <a:gd name="connsiteX4" fmla="*/ 4704 w 50869"/>
                <a:gd name="connsiteY4" fmla="*/ 269375 h 271536"/>
                <a:gd name="connsiteX5" fmla="*/ 18818 w 50869"/>
                <a:gd name="connsiteY5" fmla="*/ 263146 h 271536"/>
                <a:gd name="connsiteX6" fmla="*/ 50859 w 50869"/>
                <a:gd name="connsiteY6" fmla="*/ 1144 h 271536"/>
                <a:gd name="connsiteX7" fmla="*/ 50859 w 50869"/>
                <a:gd name="connsiteY7" fmla="*/ 0 h 271536"/>
                <a:gd name="connsiteX8" fmla="*/ 49206 w 50869"/>
                <a:gd name="connsiteY8" fmla="*/ 5593 h 271536"/>
                <a:gd name="connsiteX9" fmla="*/ 37394 w 50869"/>
                <a:gd name="connsiteY9" fmla="*/ 7955 h 271536"/>
                <a:gd name="connsiteX10" fmla="*/ 36618 w 50869"/>
                <a:gd name="connsiteY10" fmla="*/ 7373 h 27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869" h="271536">
                  <a:moveTo>
                    <a:pt x="36618" y="7373"/>
                  </a:moveTo>
                  <a:lnTo>
                    <a:pt x="33948" y="5212"/>
                  </a:lnTo>
                  <a:lnTo>
                    <a:pt x="32295" y="5975"/>
                  </a:lnTo>
                  <a:lnTo>
                    <a:pt x="0" y="271537"/>
                  </a:lnTo>
                  <a:lnTo>
                    <a:pt x="4704" y="269375"/>
                  </a:lnTo>
                  <a:lnTo>
                    <a:pt x="18818" y="263146"/>
                  </a:lnTo>
                  <a:lnTo>
                    <a:pt x="50859" y="1144"/>
                  </a:lnTo>
                  <a:cubicBezTo>
                    <a:pt x="50859" y="1144"/>
                    <a:pt x="50859" y="381"/>
                    <a:pt x="50859" y="0"/>
                  </a:cubicBezTo>
                  <a:cubicBezTo>
                    <a:pt x="50960" y="1998"/>
                    <a:pt x="50376" y="3973"/>
                    <a:pt x="49206" y="5593"/>
                  </a:cubicBezTo>
                  <a:cubicBezTo>
                    <a:pt x="46599" y="9508"/>
                    <a:pt x="41310" y="10565"/>
                    <a:pt x="37394" y="7955"/>
                  </a:cubicBezTo>
                  <a:cubicBezTo>
                    <a:pt x="37127" y="7776"/>
                    <a:pt x="36860" y="7582"/>
                    <a:pt x="36618" y="7373"/>
                  </a:cubicBezTo>
                  <a:close/>
                </a:path>
              </a:pathLst>
            </a:custGeom>
            <a:solidFill>
              <a:srgbClr val="000000"/>
            </a:solidFill>
            <a:ln w="12685"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1B787354-9FFD-446C-BD60-9E1A04F6501C}"/>
                </a:ext>
              </a:extLst>
            </p:cNvPr>
            <p:cNvSpPr/>
            <p:nvPr/>
          </p:nvSpPr>
          <p:spPr>
            <a:xfrm>
              <a:off x="3267414" y="4452180"/>
              <a:ext cx="239416" cy="135132"/>
            </a:xfrm>
            <a:custGeom>
              <a:avLst/>
              <a:gdLst>
                <a:gd name="connsiteX0" fmla="*/ 890 w 239416"/>
                <a:gd name="connsiteY0" fmla="*/ 130937 h 135132"/>
                <a:gd name="connsiteX1" fmla="*/ 0 w 239416"/>
                <a:gd name="connsiteY1" fmla="*/ 135133 h 135132"/>
                <a:gd name="connsiteX2" fmla="*/ 238781 w 239416"/>
                <a:gd name="connsiteY2" fmla="*/ 3432 h 135132"/>
                <a:gd name="connsiteX3" fmla="*/ 239417 w 239416"/>
                <a:gd name="connsiteY3" fmla="*/ 890 h 135132"/>
                <a:gd name="connsiteX4" fmla="*/ 238400 w 239416"/>
                <a:gd name="connsiteY4" fmla="*/ 0 h 135132"/>
                <a:gd name="connsiteX5" fmla="*/ 890 w 239416"/>
                <a:gd name="connsiteY5" fmla="*/ 130937 h 13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416" h="135132">
                  <a:moveTo>
                    <a:pt x="890" y="130937"/>
                  </a:moveTo>
                  <a:lnTo>
                    <a:pt x="0" y="135133"/>
                  </a:lnTo>
                  <a:lnTo>
                    <a:pt x="238781" y="3432"/>
                  </a:lnTo>
                  <a:lnTo>
                    <a:pt x="239417" y="890"/>
                  </a:lnTo>
                  <a:lnTo>
                    <a:pt x="238400" y="0"/>
                  </a:lnTo>
                  <a:lnTo>
                    <a:pt x="890" y="130937"/>
                  </a:lnTo>
                  <a:close/>
                </a:path>
              </a:pathLst>
            </a:custGeom>
            <a:solidFill>
              <a:srgbClr val="000000"/>
            </a:solidFill>
            <a:ln w="12685"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0F8DD7F9-6FF4-47F3-9EE3-13DD7552E417}"/>
                </a:ext>
              </a:extLst>
            </p:cNvPr>
            <p:cNvSpPr/>
            <p:nvPr/>
          </p:nvSpPr>
          <p:spPr>
            <a:xfrm>
              <a:off x="2876183" y="5097079"/>
              <a:ext cx="45009" cy="227933"/>
            </a:xfrm>
            <a:custGeom>
              <a:avLst/>
              <a:gdLst>
                <a:gd name="connsiteX0" fmla="*/ 41450 w 45009"/>
                <a:gd name="connsiteY0" fmla="*/ 2034 h 227933"/>
                <a:gd name="connsiteX1" fmla="*/ 0 w 45009"/>
                <a:gd name="connsiteY1" fmla="*/ 226662 h 227933"/>
                <a:gd name="connsiteX2" fmla="*/ 1271 w 45009"/>
                <a:gd name="connsiteY2" fmla="*/ 227933 h 227933"/>
                <a:gd name="connsiteX3" fmla="*/ 3179 w 45009"/>
                <a:gd name="connsiteY3" fmla="*/ 226916 h 227933"/>
                <a:gd name="connsiteX4" fmla="*/ 45010 w 45009"/>
                <a:gd name="connsiteY4" fmla="*/ 0 h 227933"/>
                <a:gd name="connsiteX5" fmla="*/ 41450 w 45009"/>
                <a:gd name="connsiteY5" fmla="*/ 2034 h 22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9" h="227933">
                  <a:moveTo>
                    <a:pt x="41450" y="2034"/>
                  </a:moveTo>
                  <a:lnTo>
                    <a:pt x="0" y="226662"/>
                  </a:lnTo>
                  <a:lnTo>
                    <a:pt x="1271" y="227933"/>
                  </a:lnTo>
                  <a:lnTo>
                    <a:pt x="3179" y="226916"/>
                  </a:lnTo>
                  <a:lnTo>
                    <a:pt x="45010" y="0"/>
                  </a:lnTo>
                  <a:lnTo>
                    <a:pt x="41450" y="2034"/>
                  </a:lnTo>
                  <a:close/>
                </a:path>
              </a:pathLst>
            </a:custGeom>
            <a:solidFill>
              <a:srgbClr val="000000"/>
            </a:solidFill>
            <a:ln w="12685"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48F68E85-9CD0-4EB1-B620-39CF0877CAF8}"/>
                </a:ext>
              </a:extLst>
            </p:cNvPr>
            <p:cNvSpPr/>
            <p:nvPr/>
          </p:nvSpPr>
          <p:spPr>
            <a:xfrm>
              <a:off x="2837149" y="2521930"/>
              <a:ext cx="55737" cy="242679"/>
            </a:xfrm>
            <a:custGeom>
              <a:avLst/>
              <a:gdLst>
                <a:gd name="connsiteX0" fmla="*/ 41577 w 55737"/>
                <a:gd name="connsiteY0" fmla="*/ 6610 h 242679"/>
                <a:gd name="connsiteX1" fmla="*/ 39416 w 55737"/>
                <a:gd name="connsiteY1" fmla="*/ 4831 h 242679"/>
                <a:gd name="connsiteX2" fmla="*/ 37000 w 55737"/>
                <a:gd name="connsiteY2" fmla="*/ 5975 h 242679"/>
                <a:gd name="connsiteX3" fmla="*/ 0 w 55737"/>
                <a:gd name="connsiteY3" fmla="*/ 242679 h 242679"/>
                <a:gd name="connsiteX4" fmla="*/ 4323 w 55737"/>
                <a:gd name="connsiteY4" fmla="*/ 240645 h 242679"/>
                <a:gd name="connsiteX5" fmla="*/ 19453 w 55737"/>
                <a:gd name="connsiteY5" fmla="*/ 233272 h 242679"/>
                <a:gd name="connsiteX6" fmla="*/ 55690 w 55737"/>
                <a:gd name="connsiteY6" fmla="*/ 1144 h 242679"/>
                <a:gd name="connsiteX7" fmla="*/ 55690 w 55737"/>
                <a:gd name="connsiteY7" fmla="*/ 0 h 242679"/>
                <a:gd name="connsiteX8" fmla="*/ 53910 w 55737"/>
                <a:gd name="connsiteY8" fmla="*/ 5466 h 242679"/>
                <a:gd name="connsiteX9" fmla="*/ 42149 w 55737"/>
                <a:gd name="connsiteY9" fmla="*/ 7093 h 242679"/>
                <a:gd name="connsiteX10" fmla="*/ 41577 w 55737"/>
                <a:gd name="connsiteY10" fmla="*/ 6610 h 24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37" h="242679">
                  <a:moveTo>
                    <a:pt x="41577" y="6610"/>
                  </a:moveTo>
                  <a:lnTo>
                    <a:pt x="39416" y="4831"/>
                  </a:lnTo>
                  <a:lnTo>
                    <a:pt x="37000" y="5975"/>
                  </a:lnTo>
                  <a:lnTo>
                    <a:pt x="0" y="242679"/>
                  </a:lnTo>
                  <a:lnTo>
                    <a:pt x="4323" y="240645"/>
                  </a:lnTo>
                  <a:lnTo>
                    <a:pt x="19453" y="233272"/>
                  </a:lnTo>
                  <a:lnTo>
                    <a:pt x="55690" y="1144"/>
                  </a:lnTo>
                  <a:cubicBezTo>
                    <a:pt x="55754" y="763"/>
                    <a:pt x="55754" y="381"/>
                    <a:pt x="55690" y="0"/>
                  </a:cubicBezTo>
                  <a:cubicBezTo>
                    <a:pt x="55728" y="1970"/>
                    <a:pt x="55105" y="3890"/>
                    <a:pt x="53910" y="5466"/>
                  </a:cubicBezTo>
                  <a:cubicBezTo>
                    <a:pt x="51113" y="9166"/>
                    <a:pt x="45849" y="9890"/>
                    <a:pt x="42149" y="7093"/>
                  </a:cubicBezTo>
                  <a:cubicBezTo>
                    <a:pt x="41958" y="6941"/>
                    <a:pt x="41768" y="6776"/>
                    <a:pt x="41577" y="6610"/>
                  </a:cubicBezTo>
                  <a:close/>
                </a:path>
              </a:pathLst>
            </a:custGeom>
            <a:solidFill>
              <a:srgbClr val="000000"/>
            </a:solidFill>
            <a:ln w="12685"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7890443D-14D8-46CF-9AD0-967CB9F250DB}"/>
                </a:ext>
              </a:extLst>
            </p:cNvPr>
            <p:cNvSpPr/>
            <p:nvPr/>
          </p:nvSpPr>
          <p:spPr>
            <a:xfrm>
              <a:off x="2707587" y="5247848"/>
              <a:ext cx="89638" cy="52883"/>
            </a:xfrm>
            <a:custGeom>
              <a:avLst/>
              <a:gdLst>
                <a:gd name="connsiteX0" fmla="*/ 89511 w 89638"/>
                <a:gd name="connsiteY0" fmla="*/ 763 h 52883"/>
                <a:gd name="connsiteX1" fmla="*/ 89638 w 89638"/>
                <a:gd name="connsiteY1" fmla="*/ 0 h 52883"/>
                <a:gd name="connsiteX2" fmla="*/ 0 w 89638"/>
                <a:gd name="connsiteY2" fmla="*/ 50468 h 52883"/>
                <a:gd name="connsiteX3" fmla="*/ 2416 w 89638"/>
                <a:gd name="connsiteY3" fmla="*/ 52884 h 52883"/>
                <a:gd name="connsiteX4" fmla="*/ 88876 w 89638"/>
                <a:gd name="connsiteY4" fmla="*/ 4068 h 52883"/>
                <a:gd name="connsiteX5" fmla="*/ 89511 w 89638"/>
                <a:gd name="connsiteY5" fmla="*/ 76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8" h="52883">
                  <a:moveTo>
                    <a:pt x="89511" y="763"/>
                  </a:moveTo>
                  <a:lnTo>
                    <a:pt x="89638" y="0"/>
                  </a:lnTo>
                  <a:lnTo>
                    <a:pt x="0" y="50468"/>
                  </a:lnTo>
                  <a:lnTo>
                    <a:pt x="2416" y="52884"/>
                  </a:lnTo>
                  <a:lnTo>
                    <a:pt x="88876" y="4068"/>
                  </a:lnTo>
                  <a:lnTo>
                    <a:pt x="89511" y="763"/>
                  </a:lnTo>
                  <a:close/>
                </a:path>
              </a:pathLst>
            </a:custGeom>
            <a:solidFill>
              <a:srgbClr val="000000"/>
            </a:solidFill>
            <a:ln w="12685"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E5650F3B-67E9-4C93-BE3C-76500E27A02B}"/>
                </a:ext>
              </a:extLst>
            </p:cNvPr>
            <p:cNvSpPr/>
            <p:nvPr/>
          </p:nvSpPr>
          <p:spPr>
            <a:xfrm>
              <a:off x="2800277" y="5248357"/>
              <a:ext cx="77305" cy="79325"/>
            </a:xfrm>
            <a:custGeom>
              <a:avLst/>
              <a:gdLst>
                <a:gd name="connsiteX0" fmla="*/ 0 w 77305"/>
                <a:gd name="connsiteY0" fmla="*/ 0 h 79325"/>
                <a:gd name="connsiteX1" fmla="*/ 0 w 77305"/>
                <a:gd name="connsiteY1" fmla="*/ 763 h 79325"/>
                <a:gd name="connsiteX2" fmla="*/ 0 w 77305"/>
                <a:gd name="connsiteY2" fmla="*/ 3814 h 79325"/>
                <a:gd name="connsiteX3" fmla="*/ 76288 w 77305"/>
                <a:gd name="connsiteY3" fmla="*/ 79325 h 79325"/>
                <a:gd name="connsiteX4" fmla="*/ 76288 w 77305"/>
                <a:gd name="connsiteY4" fmla="*/ 78435 h 79325"/>
                <a:gd name="connsiteX5" fmla="*/ 76288 w 77305"/>
                <a:gd name="connsiteY5" fmla="*/ 78435 h 79325"/>
                <a:gd name="connsiteX6" fmla="*/ 76288 w 77305"/>
                <a:gd name="connsiteY6" fmla="*/ 78435 h 79325"/>
                <a:gd name="connsiteX7" fmla="*/ 76288 w 77305"/>
                <a:gd name="connsiteY7" fmla="*/ 78435 h 79325"/>
                <a:gd name="connsiteX8" fmla="*/ 77305 w 77305"/>
                <a:gd name="connsiteY8" fmla="*/ 78435 h 79325"/>
                <a:gd name="connsiteX9" fmla="*/ 76034 w 77305"/>
                <a:gd name="connsiteY9" fmla="*/ 77164 h 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305" h="79325">
                  <a:moveTo>
                    <a:pt x="0" y="0"/>
                  </a:moveTo>
                  <a:lnTo>
                    <a:pt x="0" y="763"/>
                  </a:lnTo>
                  <a:lnTo>
                    <a:pt x="0" y="3814"/>
                  </a:lnTo>
                  <a:lnTo>
                    <a:pt x="76288" y="79325"/>
                  </a:lnTo>
                  <a:lnTo>
                    <a:pt x="76288" y="78435"/>
                  </a:lnTo>
                  <a:lnTo>
                    <a:pt x="76288" y="78435"/>
                  </a:lnTo>
                  <a:lnTo>
                    <a:pt x="76288" y="78435"/>
                  </a:lnTo>
                  <a:lnTo>
                    <a:pt x="76288" y="78435"/>
                  </a:lnTo>
                  <a:lnTo>
                    <a:pt x="77305" y="78435"/>
                  </a:lnTo>
                  <a:lnTo>
                    <a:pt x="76034" y="77164"/>
                  </a:lnTo>
                  <a:close/>
                </a:path>
              </a:pathLst>
            </a:custGeom>
            <a:solidFill>
              <a:srgbClr val="000000"/>
            </a:solidFill>
            <a:ln w="12685"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5C9DD4B-C3F3-4852-AAF7-248BDF027C10}"/>
                </a:ext>
              </a:extLst>
            </p:cNvPr>
            <p:cNvSpPr/>
            <p:nvPr/>
          </p:nvSpPr>
          <p:spPr>
            <a:xfrm>
              <a:off x="2775992" y="5249119"/>
              <a:ext cx="24157" cy="120386"/>
            </a:xfrm>
            <a:custGeom>
              <a:avLst/>
              <a:gdLst>
                <a:gd name="connsiteX0" fmla="*/ 24158 w 24157"/>
                <a:gd name="connsiteY0" fmla="*/ 0 h 120386"/>
                <a:gd name="connsiteX1" fmla="*/ 22632 w 24157"/>
                <a:gd name="connsiteY1" fmla="*/ 1525 h 120386"/>
                <a:gd name="connsiteX2" fmla="*/ 21106 w 24157"/>
                <a:gd name="connsiteY2" fmla="*/ 0 h 120386"/>
                <a:gd name="connsiteX3" fmla="*/ 20471 w 24157"/>
                <a:gd name="connsiteY3" fmla="*/ 3305 h 120386"/>
                <a:gd name="connsiteX4" fmla="*/ 0 w 24157"/>
                <a:gd name="connsiteY4" fmla="*/ 117717 h 120386"/>
                <a:gd name="connsiteX5" fmla="*/ 2670 w 24157"/>
                <a:gd name="connsiteY5" fmla="*/ 120386 h 120386"/>
                <a:gd name="connsiteX6" fmla="*/ 23649 w 24157"/>
                <a:gd name="connsiteY6" fmla="*/ 2924 h 12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57" h="120386">
                  <a:moveTo>
                    <a:pt x="24158" y="0"/>
                  </a:moveTo>
                  <a:cubicBezTo>
                    <a:pt x="24158" y="839"/>
                    <a:pt x="23471" y="1525"/>
                    <a:pt x="22632" y="1525"/>
                  </a:cubicBezTo>
                  <a:cubicBezTo>
                    <a:pt x="21793" y="1525"/>
                    <a:pt x="21106" y="839"/>
                    <a:pt x="21106" y="0"/>
                  </a:cubicBezTo>
                  <a:lnTo>
                    <a:pt x="20471" y="3305"/>
                  </a:lnTo>
                  <a:lnTo>
                    <a:pt x="0" y="117717"/>
                  </a:lnTo>
                  <a:lnTo>
                    <a:pt x="2670" y="120386"/>
                  </a:lnTo>
                  <a:lnTo>
                    <a:pt x="23649" y="2924"/>
                  </a:lnTo>
                  <a:close/>
                </a:path>
              </a:pathLst>
            </a:custGeom>
            <a:solidFill>
              <a:srgbClr val="000000"/>
            </a:solidFill>
            <a:ln w="1268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CAC656FB-6D17-4E0B-8B20-82B1D95DC05B}"/>
                </a:ext>
              </a:extLst>
            </p:cNvPr>
            <p:cNvSpPr/>
            <p:nvPr/>
          </p:nvSpPr>
          <p:spPr>
            <a:xfrm>
              <a:off x="2854187" y="5326665"/>
              <a:ext cx="24793" cy="121021"/>
            </a:xfrm>
            <a:custGeom>
              <a:avLst/>
              <a:gdLst>
                <a:gd name="connsiteX0" fmla="*/ 21615 w 24793"/>
                <a:gd name="connsiteY0" fmla="*/ 1144 h 121021"/>
                <a:gd name="connsiteX1" fmla="*/ 21615 w 24793"/>
                <a:gd name="connsiteY1" fmla="*/ 0 h 121021"/>
                <a:gd name="connsiteX2" fmla="*/ 21615 w 24793"/>
                <a:gd name="connsiteY2" fmla="*/ 0 h 121021"/>
                <a:gd name="connsiteX3" fmla="*/ 21615 w 24793"/>
                <a:gd name="connsiteY3" fmla="*/ 890 h 121021"/>
                <a:gd name="connsiteX4" fmla="*/ 0 w 24793"/>
                <a:gd name="connsiteY4" fmla="*/ 118352 h 121021"/>
                <a:gd name="connsiteX5" fmla="*/ 2670 w 24793"/>
                <a:gd name="connsiteY5" fmla="*/ 121022 h 121021"/>
                <a:gd name="connsiteX6" fmla="*/ 24794 w 24793"/>
                <a:gd name="connsiteY6" fmla="*/ 1398 h 121021"/>
                <a:gd name="connsiteX7" fmla="*/ 24158 w 24793"/>
                <a:gd name="connsiteY7" fmla="*/ 1398 h 121021"/>
                <a:gd name="connsiteX8" fmla="*/ 22251 w 24793"/>
                <a:gd name="connsiteY8" fmla="*/ 1920 h 121021"/>
                <a:gd name="connsiteX9" fmla="*/ 21615 w 24793"/>
                <a:gd name="connsiteY9" fmla="*/ 1144 h 12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93" h="121021">
                  <a:moveTo>
                    <a:pt x="21615" y="1144"/>
                  </a:moveTo>
                  <a:cubicBezTo>
                    <a:pt x="21437" y="788"/>
                    <a:pt x="21437" y="356"/>
                    <a:pt x="21615" y="0"/>
                  </a:cubicBezTo>
                  <a:lnTo>
                    <a:pt x="21615" y="0"/>
                  </a:lnTo>
                  <a:lnTo>
                    <a:pt x="21615" y="890"/>
                  </a:lnTo>
                  <a:lnTo>
                    <a:pt x="0" y="118352"/>
                  </a:lnTo>
                  <a:lnTo>
                    <a:pt x="2670" y="121022"/>
                  </a:lnTo>
                  <a:lnTo>
                    <a:pt x="24794" y="1398"/>
                  </a:lnTo>
                  <a:lnTo>
                    <a:pt x="24158" y="1398"/>
                  </a:lnTo>
                  <a:cubicBezTo>
                    <a:pt x="23777" y="2072"/>
                    <a:pt x="22925" y="2301"/>
                    <a:pt x="22251" y="1920"/>
                  </a:cubicBezTo>
                  <a:cubicBezTo>
                    <a:pt x="21945" y="1754"/>
                    <a:pt x="21729" y="1475"/>
                    <a:pt x="21615" y="1144"/>
                  </a:cubicBezTo>
                  <a:close/>
                </a:path>
              </a:pathLst>
            </a:custGeom>
            <a:solidFill>
              <a:srgbClr val="000000"/>
            </a:solidFill>
            <a:ln w="1268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924D7579-7438-4676-84F0-EBDC47BFD540}"/>
                </a:ext>
              </a:extLst>
            </p:cNvPr>
            <p:cNvSpPr/>
            <p:nvPr/>
          </p:nvSpPr>
          <p:spPr>
            <a:xfrm>
              <a:off x="1047179" y="1947457"/>
              <a:ext cx="220345" cy="104622"/>
            </a:xfrm>
            <a:custGeom>
              <a:avLst/>
              <a:gdLst>
                <a:gd name="connsiteX0" fmla="*/ 12842 w 220345"/>
                <a:gd name="connsiteY0" fmla="*/ 101191 h 104622"/>
                <a:gd name="connsiteX1" fmla="*/ 12842 w 220345"/>
                <a:gd name="connsiteY1" fmla="*/ 104623 h 104622"/>
                <a:gd name="connsiteX2" fmla="*/ 207376 w 220345"/>
                <a:gd name="connsiteY2" fmla="*/ 19196 h 104622"/>
                <a:gd name="connsiteX3" fmla="*/ 208648 w 220345"/>
                <a:gd name="connsiteY3" fmla="*/ 19196 h 104622"/>
                <a:gd name="connsiteX4" fmla="*/ 210428 w 220345"/>
                <a:gd name="connsiteY4" fmla="*/ 19196 h 104622"/>
                <a:gd name="connsiteX5" fmla="*/ 212208 w 220345"/>
                <a:gd name="connsiteY5" fmla="*/ 19196 h 104622"/>
                <a:gd name="connsiteX6" fmla="*/ 213861 w 220345"/>
                <a:gd name="connsiteY6" fmla="*/ 19196 h 104622"/>
                <a:gd name="connsiteX7" fmla="*/ 215386 w 220345"/>
                <a:gd name="connsiteY7" fmla="*/ 20086 h 104622"/>
                <a:gd name="connsiteX8" fmla="*/ 216531 w 220345"/>
                <a:gd name="connsiteY8" fmla="*/ 20848 h 104622"/>
                <a:gd name="connsiteX9" fmla="*/ 216531 w 220345"/>
                <a:gd name="connsiteY9" fmla="*/ 20848 h 104622"/>
                <a:gd name="connsiteX10" fmla="*/ 220345 w 220345"/>
                <a:gd name="connsiteY10" fmla="*/ 19196 h 104622"/>
                <a:gd name="connsiteX11" fmla="*/ 216276 w 220345"/>
                <a:gd name="connsiteY11" fmla="*/ 15636 h 104622"/>
                <a:gd name="connsiteX12" fmla="*/ 215259 w 220345"/>
                <a:gd name="connsiteY12" fmla="*/ 2924 h 104622"/>
                <a:gd name="connsiteX13" fmla="*/ 219837 w 220345"/>
                <a:gd name="connsiteY13" fmla="*/ 0 h 104622"/>
                <a:gd name="connsiteX14" fmla="*/ 218565 w 220345"/>
                <a:gd name="connsiteY14" fmla="*/ 0 h 104622"/>
                <a:gd name="connsiteX15" fmla="*/ 0 w 220345"/>
                <a:gd name="connsiteY15" fmla="*/ 95978 h 104622"/>
                <a:gd name="connsiteX16" fmla="*/ 11873 w 220345"/>
                <a:gd name="connsiteY16" fmla="*/ 98902 h 104622"/>
                <a:gd name="connsiteX17" fmla="*/ 12842 w 220345"/>
                <a:gd name="connsiteY17" fmla="*/ 101191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345" h="104622">
                  <a:moveTo>
                    <a:pt x="12842" y="101191"/>
                  </a:moveTo>
                  <a:cubicBezTo>
                    <a:pt x="13022" y="102322"/>
                    <a:pt x="13022" y="103492"/>
                    <a:pt x="12842" y="104623"/>
                  </a:cubicBezTo>
                  <a:lnTo>
                    <a:pt x="207376" y="19196"/>
                  </a:lnTo>
                  <a:lnTo>
                    <a:pt x="208648" y="19196"/>
                  </a:lnTo>
                  <a:cubicBezTo>
                    <a:pt x="209239" y="19132"/>
                    <a:pt x="209835" y="19132"/>
                    <a:pt x="210428" y="19196"/>
                  </a:cubicBezTo>
                  <a:lnTo>
                    <a:pt x="212208" y="19196"/>
                  </a:lnTo>
                  <a:lnTo>
                    <a:pt x="213861" y="19196"/>
                  </a:lnTo>
                  <a:lnTo>
                    <a:pt x="215386" y="20086"/>
                  </a:lnTo>
                  <a:cubicBezTo>
                    <a:pt x="215796" y="20289"/>
                    <a:pt x="216180" y="20556"/>
                    <a:pt x="216531" y="20848"/>
                  </a:cubicBezTo>
                  <a:lnTo>
                    <a:pt x="216531" y="20848"/>
                  </a:lnTo>
                  <a:lnTo>
                    <a:pt x="220345" y="19196"/>
                  </a:lnTo>
                  <a:lnTo>
                    <a:pt x="216276" y="15636"/>
                  </a:lnTo>
                  <a:cubicBezTo>
                    <a:pt x="212791" y="12255"/>
                    <a:pt x="212355" y="6814"/>
                    <a:pt x="215259" y="2924"/>
                  </a:cubicBezTo>
                  <a:cubicBezTo>
                    <a:pt x="216383" y="1424"/>
                    <a:pt x="218008" y="394"/>
                    <a:pt x="219837" y="0"/>
                  </a:cubicBezTo>
                  <a:lnTo>
                    <a:pt x="218565" y="0"/>
                  </a:lnTo>
                  <a:lnTo>
                    <a:pt x="0" y="95978"/>
                  </a:lnTo>
                  <a:cubicBezTo>
                    <a:pt x="4085" y="93512"/>
                    <a:pt x="9401" y="94809"/>
                    <a:pt x="11873" y="98902"/>
                  </a:cubicBezTo>
                  <a:cubicBezTo>
                    <a:pt x="12305" y="99614"/>
                    <a:pt x="12631" y="100390"/>
                    <a:pt x="12842" y="101191"/>
                  </a:cubicBezTo>
                  <a:close/>
                </a:path>
              </a:pathLst>
            </a:custGeom>
            <a:solidFill>
              <a:srgbClr val="000000"/>
            </a:solidFill>
            <a:ln w="12685"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5B1A5F71-E3F1-4C23-A18A-E2EFBC72FAEB}"/>
                </a:ext>
              </a:extLst>
            </p:cNvPr>
            <p:cNvSpPr/>
            <p:nvPr/>
          </p:nvSpPr>
          <p:spPr>
            <a:xfrm>
              <a:off x="2797225" y="5155683"/>
              <a:ext cx="19580" cy="94452"/>
            </a:xfrm>
            <a:custGeom>
              <a:avLst/>
              <a:gdLst>
                <a:gd name="connsiteX0" fmla="*/ 19580 w 19580"/>
                <a:gd name="connsiteY0" fmla="*/ 0 h 94452"/>
                <a:gd name="connsiteX1" fmla="*/ 16020 w 19580"/>
                <a:gd name="connsiteY1" fmla="*/ 2034 h 94452"/>
                <a:gd name="connsiteX2" fmla="*/ 0 w 19580"/>
                <a:gd name="connsiteY2" fmla="*/ 92165 h 94452"/>
                <a:gd name="connsiteX3" fmla="*/ 0 w 19580"/>
                <a:gd name="connsiteY3" fmla="*/ 92928 h 94452"/>
                <a:gd name="connsiteX4" fmla="*/ 1526 w 19580"/>
                <a:gd name="connsiteY4" fmla="*/ 94453 h 94452"/>
                <a:gd name="connsiteX5" fmla="*/ 3052 w 19580"/>
                <a:gd name="connsiteY5" fmla="*/ 92928 h 94452"/>
                <a:gd name="connsiteX6" fmla="*/ 3052 w 19580"/>
                <a:gd name="connsiteY6" fmla="*/ 92165 h 9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0" h="94452">
                  <a:moveTo>
                    <a:pt x="19580" y="0"/>
                  </a:moveTo>
                  <a:lnTo>
                    <a:pt x="16020" y="2034"/>
                  </a:lnTo>
                  <a:lnTo>
                    <a:pt x="0" y="92165"/>
                  </a:lnTo>
                  <a:lnTo>
                    <a:pt x="0" y="92928"/>
                  </a:lnTo>
                  <a:cubicBezTo>
                    <a:pt x="0" y="93767"/>
                    <a:pt x="687" y="94453"/>
                    <a:pt x="1526" y="94453"/>
                  </a:cubicBezTo>
                  <a:cubicBezTo>
                    <a:pt x="2365" y="94453"/>
                    <a:pt x="3052" y="93767"/>
                    <a:pt x="3052" y="92928"/>
                  </a:cubicBezTo>
                  <a:lnTo>
                    <a:pt x="3052" y="92165"/>
                  </a:lnTo>
                  <a:close/>
                </a:path>
              </a:pathLst>
            </a:custGeom>
            <a:solidFill>
              <a:srgbClr val="000000"/>
            </a:solidFill>
            <a:ln w="1268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644196C1-AB95-45B0-A0E6-DF3062A8D8E3}"/>
                </a:ext>
              </a:extLst>
            </p:cNvPr>
            <p:cNvSpPr/>
            <p:nvPr/>
          </p:nvSpPr>
          <p:spPr>
            <a:xfrm>
              <a:off x="1151694" y="2061742"/>
              <a:ext cx="157026" cy="143522"/>
            </a:xfrm>
            <a:custGeom>
              <a:avLst/>
              <a:gdLst>
                <a:gd name="connsiteX0" fmla="*/ 0 w 157026"/>
                <a:gd name="connsiteY0" fmla="*/ 3687 h 143522"/>
                <a:gd name="connsiteX1" fmla="*/ 156136 w 157026"/>
                <a:gd name="connsiteY1" fmla="*/ 143523 h 143522"/>
                <a:gd name="connsiteX2" fmla="*/ 156136 w 157026"/>
                <a:gd name="connsiteY2" fmla="*/ 143523 h 143522"/>
                <a:gd name="connsiteX3" fmla="*/ 156136 w 157026"/>
                <a:gd name="connsiteY3" fmla="*/ 143523 h 143522"/>
                <a:gd name="connsiteX4" fmla="*/ 156136 w 157026"/>
                <a:gd name="connsiteY4" fmla="*/ 143523 h 143522"/>
                <a:gd name="connsiteX5" fmla="*/ 156136 w 157026"/>
                <a:gd name="connsiteY5" fmla="*/ 143523 h 143522"/>
                <a:gd name="connsiteX6" fmla="*/ 157026 w 157026"/>
                <a:gd name="connsiteY6" fmla="*/ 143523 h 143522"/>
                <a:gd name="connsiteX7" fmla="*/ 890 w 157026"/>
                <a:gd name="connsiteY7" fmla="*/ 0 h 143522"/>
                <a:gd name="connsiteX8" fmla="*/ 127 w 157026"/>
                <a:gd name="connsiteY8" fmla="*/ 0 h 14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26" h="143522">
                  <a:moveTo>
                    <a:pt x="0" y="3687"/>
                  </a:moveTo>
                  <a:lnTo>
                    <a:pt x="156136" y="143523"/>
                  </a:lnTo>
                  <a:lnTo>
                    <a:pt x="156136" y="143523"/>
                  </a:lnTo>
                  <a:cubicBezTo>
                    <a:pt x="156136" y="143523"/>
                    <a:pt x="156136" y="143523"/>
                    <a:pt x="156136" y="143523"/>
                  </a:cubicBezTo>
                  <a:cubicBezTo>
                    <a:pt x="156136" y="143523"/>
                    <a:pt x="156136" y="143523"/>
                    <a:pt x="156136" y="143523"/>
                  </a:cubicBezTo>
                  <a:lnTo>
                    <a:pt x="156136" y="143523"/>
                  </a:lnTo>
                  <a:lnTo>
                    <a:pt x="157026" y="143523"/>
                  </a:lnTo>
                  <a:lnTo>
                    <a:pt x="890" y="0"/>
                  </a:lnTo>
                  <a:lnTo>
                    <a:pt x="127" y="0"/>
                  </a:lnTo>
                  <a:close/>
                </a:path>
              </a:pathLst>
            </a:custGeom>
            <a:solidFill>
              <a:srgbClr val="000000"/>
            </a:solidFill>
            <a:ln w="1268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AFF1D2B0-EC44-47C5-B03F-0B327F763B8E}"/>
                </a:ext>
              </a:extLst>
            </p:cNvPr>
            <p:cNvSpPr/>
            <p:nvPr/>
          </p:nvSpPr>
          <p:spPr>
            <a:xfrm>
              <a:off x="2625577" y="2524473"/>
              <a:ext cx="250987" cy="122674"/>
            </a:xfrm>
            <a:custGeom>
              <a:avLst/>
              <a:gdLst>
                <a:gd name="connsiteX0" fmla="*/ 0 w 250987"/>
                <a:gd name="connsiteY0" fmla="*/ 122674 h 122674"/>
                <a:gd name="connsiteX1" fmla="*/ 248572 w 250987"/>
                <a:gd name="connsiteY1" fmla="*/ 3432 h 122674"/>
                <a:gd name="connsiteX2" fmla="*/ 250988 w 250987"/>
                <a:gd name="connsiteY2" fmla="*/ 2288 h 122674"/>
                <a:gd name="connsiteX3" fmla="*/ 248190 w 250987"/>
                <a:gd name="connsiteY3" fmla="*/ 0 h 122674"/>
                <a:gd name="connsiteX4" fmla="*/ 509 w 250987"/>
                <a:gd name="connsiteY4" fmla="*/ 118734 h 122674"/>
                <a:gd name="connsiteX5" fmla="*/ 0 w 250987"/>
                <a:gd name="connsiteY5" fmla="*/ 122674 h 1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987" h="122674">
                  <a:moveTo>
                    <a:pt x="0" y="122674"/>
                  </a:moveTo>
                  <a:lnTo>
                    <a:pt x="248572" y="3432"/>
                  </a:lnTo>
                  <a:lnTo>
                    <a:pt x="250988" y="2288"/>
                  </a:lnTo>
                  <a:lnTo>
                    <a:pt x="248190" y="0"/>
                  </a:lnTo>
                  <a:lnTo>
                    <a:pt x="509" y="118734"/>
                  </a:lnTo>
                  <a:lnTo>
                    <a:pt x="0" y="122674"/>
                  </a:lnTo>
                  <a:close/>
                </a:path>
              </a:pathLst>
            </a:custGeom>
            <a:solidFill>
              <a:srgbClr val="000000"/>
            </a:solidFill>
            <a:ln w="1268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F375CD83-E717-4BD8-92F2-F78392E76C0E}"/>
                </a:ext>
              </a:extLst>
            </p:cNvPr>
            <p:cNvSpPr/>
            <p:nvPr/>
          </p:nvSpPr>
          <p:spPr>
            <a:xfrm>
              <a:off x="1257098" y="1968433"/>
              <a:ext cx="25047" cy="24534"/>
            </a:xfrm>
            <a:custGeom>
              <a:avLst/>
              <a:gdLst>
                <a:gd name="connsiteX0" fmla="*/ 9663 w 25047"/>
                <a:gd name="connsiteY0" fmla="*/ 3178 h 24534"/>
                <a:gd name="connsiteX1" fmla="*/ 5050 w 25047"/>
                <a:gd name="connsiteY1" fmla="*/ 15852 h 24534"/>
                <a:gd name="connsiteX2" fmla="*/ 4959 w 25047"/>
                <a:gd name="connsiteY2" fmla="*/ 15890 h 24534"/>
                <a:gd name="connsiteX3" fmla="*/ 0 w 25047"/>
                <a:gd name="connsiteY3" fmla="*/ 18052 h 24534"/>
                <a:gd name="connsiteX4" fmla="*/ 7247 w 25047"/>
                <a:gd name="connsiteY4" fmla="*/ 24535 h 24534"/>
                <a:gd name="connsiteX5" fmla="*/ 19962 w 25047"/>
                <a:gd name="connsiteY5" fmla="*/ 18687 h 24534"/>
                <a:gd name="connsiteX6" fmla="*/ 25048 w 25047"/>
                <a:gd name="connsiteY6" fmla="*/ 16399 h 24534"/>
                <a:gd name="connsiteX7" fmla="*/ 7374 w 25047"/>
                <a:gd name="connsiteY7" fmla="*/ 763 h 24534"/>
                <a:gd name="connsiteX8" fmla="*/ 7374 w 25047"/>
                <a:gd name="connsiteY8" fmla="*/ 763 h 24534"/>
                <a:gd name="connsiteX9" fmla="*/ 6230 w 25047"/>
                <a:gd name="connsiteY9" fmla="*/ 0 h 24534"/>
                <a:gd name="connsiteX10" fmla="*/ 9663 w 25047"/>
                <a:gd name="connsiteY10" fmla="*/ 3178 h 2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47" h="24534">
                  <a:moveTo>
                    <a:pt x="9663" y="3178"/>
                  </a:moveTo>
                  <a:cubicBezTo>
                    <a:pt x="11888" y="7945"/>
                    <a:pt x="9823" y="13628"/>
                    <a:pt x="5050" y="15852"/>
                  </a:cubicBezTo>
                  <a:cubicBezTo>
                    <a:pt x="5020" y="15865"/>
                    <a:pt x="4989" y="15878"/>
                    <a:pt x="4959" y="15890"/>
                  </a:cubicBezTo>
                  <a:lnTo>
                    <a:pt x="0" y="18052"/>
                  </a:lnTo>
                  <a:lnTo>
                    <a:pt x="7247" y="24535"/>
                  </a:lnTo>
                  <a:lnTo>
                    <a:pt x="19962" y="18687"/>
                  </a:lnTo>
                  <a:lnTo>
                    <a:pt x="25048" y="16399"/>
                  </a:lnTo>
                  <a:lnTo>
                    <a:pt x="7374" y="763"/>
                  </a:lnTo>
                  <a:lnTo>
                    <a:pt x="7374" y="763"/>
                  </a:lnTo>
                  <a:cubicBezTo>
                    <a:pt x="7024" y="470"/>
                    <a:pt x="6640" y="203"/>
                    <a:pt x="6230" y="0"/>
                  </a:cubicBezTo>
                  <a:cubicBezTo>
                    <a:pt x="7621" y="763"/>
                    <a:pt x="8801" y="1856"/>
                    <a:pt x="9663" y="3178"/>
                  </a:cubicBezTo>
                  <a:close/>
                </a:path>
              </a:pathLst>
            </a:custGeom>
            <a:solidFill>
              <a:srgbClr val="000000"/>
            </a:solidFill>
            <a:ln w="1268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5E9A1264-9693-49D1-B5EF-E16F2039A640}"/>
                </a:ext>
              </a:extLst>
            </p:cNvPr>
            <p:cNvSpPr/>
            <p:nvPr/>
          </p:nvSpPr>
          <p:spPr>
            <a:xfrm>
              <a:off x="812085" y="2181238"/>
              <a:ext cx="23522" cy="22755"/>
            </a:xfrm>
            <a:custGeom>
              <a:avLst/>
              <a:gdLst>
                <a:gd name="connsiteX0" fmla="*/ 23522 w 23522"/>
                <a:gd name="connsiteY0" fmla="*/ 21357 h 22755"/>
                <a:gd name="connsiteX1" fmla="*/ 509 w 23522"/>
                <a:gd name="connsiteY1" fmla="*/ 0 h 22755"/>
                <a:gd name="connsiteX2" fmla="*/ 127 w 23522"/>
                <a:gd name="connsiteY2" fmla="*/ 254 h 22755"/>
                <a:gd name="connsiteX3" fmla="*/ 0 w 23522"/>
                <a:gd name="connsiteY3" fmla="*/ 3814 h 22755"/>
                <a:gd name="connsiteX4" fmla="*/ 20343 w 23522"/>
                <a:gd name="connsiteY4" fmla="*/ 22755 h 22755"/>
                <a:gd name="connsiteX5" fmla="*/ 23522 w 23522"/>
                <a:gd name="connsiteY5" fmla="*/ 21357 h 2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22" h="22755">
                  <a:moveTo>
                    <a:pt x="23522" y="21357"/>
                  </a:moveTo>
                  <a:lnTo>
                    <a:pt x="509" y="0"/>
                  </a:lnTo>
                  <a:lnTo>
                    <a:pt x="127" y="254"/>
                  </a:lnTo>
                  <a:lnTo>
                    <a:pt x="0" y="3814"/>
                  </a:lnTo>
                  <a:lnTo>
                    <a:pt x="20343" y="22755"/>
                  </a:lnTo>
                  <a:lnTo>
                    <a:pt x="23522" y="21357"/>
                  </a:lnTo>
                  <a:close/>
                </a:path>
              </a:pathLst>
            </a:custGeom>
            <a:solidFill>
              <a:srgbClr val="000000"/>
            </a:solidFill>
            <a:ln w="1268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0A803E78-E332-4FF3-B150-FC35BB514917}"/>
                </a:ext>
              </a:extLst>
            </p:cNvPr>
            <p:cNvSpPr/>
            <p:nvPr/>
          </p:nvSpPr>
          <p:spPr>
            <a:xfrm>
              <a:off x="1741527" y="1303956"/>
              <a:ext cx="18690" cy="28348"/>
            </a:xfrm>
            <a:custGeom>
              <a:avLst/>
              <a:gdLst>
                <a:gd name="connsiteX0" fmla="*/ 17800 w 18690"/>
                <a:gd name="connsiteY0" fmla="*/ 20594 h 28348"/>
                <a:gd name="connsiteX1" fmla="*/ 18691 w 18690"/>
                <a:gd name="connsiteY1" fmla="*/ 10806 h 28348"/>
                <a:gd name="connsiteX2" fmla="*/ 16911 w 18690"/>
                <a:gd name="connsiteY2" fmla="*/ 9407 h 28348"/>
                <a:gd name="connsiteX3" fmla="*/ 13986 w 18690"/>
                <a:gd name="connsiteY3" fmla="*/ 10678 h 28348"/>
                <a:gd name="connsiteX4" fmla="*/ 2530 w 18690"/>
                <a:gd name="connsiteY4" fmla="*/ 5901 h 28348"/>
                <a:gd name="connsiteX5" fmla="*/ 2416 w 18690"/>
                <a:gd name="connsiteY5" fmla="*/ 5593 h 28348"/>
                <a:gd name="connsiteX6" fmla="*/ 2416 w 18690"/>
                <a:gd name="connsiteY6" fmla="*/ 0 h 28348"/>
                <a:gd name="connsiteX7" fmla="*/ 2416 w 18690"/>
                <a:gd name="connsiteY7" fmla="*/ 1271 h 28348"/>
                <a:gd name="connsiteX8" fmla="*/ 0 w 18690"/>
                <a:gd name="connsiteY8" fmla="*/ 28349 h 28348"/>
                <a:gd name="connsiteX9" fmla="*/ 4959 w 18690"/>
                <a:gd name="connsiteY9" fmla="*/ 26315 h 28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90" h="28348">
                  <a:moveTo>
                    <a:pt x="17800" y="20594"/>
                  </a:moveTo>
                  <a:lnTo>
                    <a:pt x="18691" y="10806"/>
                  </a:lnTo>
                  <a:lnTo>
                    <a:pt x="16911" y="9407"/>
                  </a:lnTo>
                  <a:lnTo>
                    <a:pt x="13986" y="10678"/>
                  </a:lnTo>
                  <a:cubicBezTo>
                    <a:pt x="9511" y="12520"/>
                    <a:pt x="4374" y="10382"/>
                    <a:pt x="2530" y="5901"/>
                  </a:cubicBezTo>
                  <a:cubicBezTo>
                    <a:pt x="2492" y="5799"/>
                    <a:pt x="2454" y="5696"/>
                    <a:pt x="2416" y="5593"/>
                  </a:cubicBezTo>
                  <a:cubicBezTo>
                    <a:pt x="1844" y="3772"/>
                    <a:pt x="1844" y="1822"/>
                    <a:pt x="2416" y="0"/>
                  </a:cubicBezTo>
                  <a:lnTo>
                    <a:pt x="2416" y="1271"/>
                  </a:lnTo>
                  <a:lnTo>
                    <a:pt x="0" y="28349"/>
                  </a:lnTo>
                  <a:lnTo>
                    <a:pt x="4959" y="26315"/>
                  </a:lnTo>
                  <a:close/>
                </a:path>
              </a:pathLst>
            </a:custGeom>
            <a:solidFill>
              <a:srgbClr val="000000"/>
            </a:solidFill>
            <a:ln w="12685"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BE31D25D-F883-4CE9-A36F-6BF0B9429F8D}"/>
                </a:ext>
              </a:extLst>
            </p:cNvPr>
            <p:cNvSpPr/>
            <p:nvPr/>
          </p:nvSpPr>
          <p:spPr>
            <a:xfrm>
              <a:off x="1758564" y="1311965"/>
              <a:ext cx="12460" cy="9025"/>
            </a:xfrm>
            <a:custGeom>
              <a:avLst/>
              <a:gdLst>
                <a:gd name="connsiteX0" fmla="*/ 12460 w 12460"/>
                <a:gd name="connsiteY0" fmla="*/ 7500 h 9025"/>
                <a:gd name="connsiteX1" fmla="*/ 3306 w 12460"/>
                <a:gd name="connsiteY1" fmla="*/ 0 h 9025"/>
                <a:gd name="connsiteX2" fmla="*/ 0 w 12460"/>
                <a:gd name="connsiteY2" fmla="*/ 1398 h 9025"/>
                <a:gd name="connsiteX3" fmla="*/ 1653 w 12460"/>
                <a:gd name="connsiteY3" fmla="*/ 2797 h 9025"/>
                <a:gd name="connsiteX4" fmla="*/ 9155 w 12460"/>
                <a:gd name="connsiteY4" fmla="*/ 9026 h 9025"/>
                <a:gd name="connsiteX5" fmla="*/ 12460 w 12460"/>
                <a:gd name="connsiteY5" fmla="*/ 7500 h 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 h="9025">
                  <a:moveTo>
                    <a:pt x="12460" y="7500"/>
                  </a:moveTo>
                  <a:lnTo>
                    <a:pt x="3306" y="0"/>
                  </a:lnTo>
                  <a:lnTo>
                    <a:pt x="0" y="1398"/>
                  </a:lnTo>
                  <a:lnTo>
                    <a:pt x="1653" y="2797"/>
                  </a:lnTo>
                  <a:lnTo>
                    <a:pt x="9155" y="9026"/>
                  </a:lnTo>
                  <a:lnTo>
                    <a:pt x="12460" y="7500"/>
                  </a:lnTo>
                  <a:close/>
                </a:path>
              </a:pathLst>
            </a:custGeom>
            <a:solidFill>
              <a:srgbClr val="000000"/>
            </a:solidFill>
            <a:ln w="12685"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52701121-385B-4108-B1A9-E64F51AC9A82}"/>
                </a:ext>
              </a:extLst>
            </p:cNvPr>
            <p:cNvSpPr/>
            <p:nvPr/>
          </p:nvSpPr>
          <p:spPr>
            <a:xfrm>
              <a:off x="1743297" y="1186112"/>
              <a:ext cx="269560" cy="129183"/>
            </a:xfrm>
            <a:custGeom>
              <a:avLst/>
              <a:gdLst>
                <a:gd name="connsiteX0" fmla="*/ 645 w 269560"/>
                <a:gd name="connsiteY0" fmla="*/ 123437 h 129183"/>
                <a:gd name="connsiteX1" fmla="*/ 11911 w 269560"/>
                <a:gd name="connsiteY1" fmla="*/ 128642 h 129183"/>
                <a:gd name="connsiteX2" fmla="*/ 12216 w 269560"/>
                <a:gd name="connsiteY2" fmla="*/ 128522 h 129183"/>
                <a:gd name="connsiteX3" fmla="*/ 15140 w 269560"/>
                <a:gd name="connsiteY3" fmla="*/ 127251 h 129183"/>
                <a:gd name="connsiteX4" fmla="*/ 18573 w 269560"/>
                <a:gd name="connsiteY4" fmla="*/ 125853 h 129183"/>
                <a:gd name="connsiteX5" fmla="*/ 269560 w 269560"/>
                <a:gd name="connsiteY5" fmla="*/ 19069 h 129183"/>
                <a:gd name="connsiteX6" fmla="*/ 265492 w 269560"/>
                <a:gd name="connsiteY6" fmla="*/ 15890 h 129183"/>
                <a:gd name="connsiteX7" fmla="*/ 263839 w 269560"/>
                <a:gd name="connsiteY7" fmla="*/ 3178 h 129183"/>
                <a:gd name="connsiteX8" fmla="*/ 268671 w 269560"/>
                <a:gd name="connsiteY8" fmla="*/ 0 h 129183"/>
                <a:gd name="connsiteX9" fmla="*/ 267653 w 269560"/>
                <a:gd name="connsiteY9" fmla="*/ 0 h 129183"/>
                <a:gd name="connsiteX10" fmla="*/ 5477 w 269560"/>
                <a:gd name="connsiteY10" fmla="*/ 111488 h 129183"/>
                <a:gd name="connsiteX11" fmla="*/ 4587 w 269560"/>
                <a:gd name="connsiteY11" fmla="*/ 111488 h 129183"/>
                <a:gd name="connsiteX12" fmla="*/ 2934 w 269560"/>
                <a:gd name="connsiteY12" fmla="*/ 112632 h 129183"/>
                <a:gd name="connsiteX13" fmla="*/ 1917 w 269560"/>
                <a:gd name="connsiteY13" fmla="*/ 113903 h 129183"/>
                <a:gd name="connsiteX14" fmla="*/ 391 w 269560"/>
                <a:gd name="connsiteY14" fmla="*/ 117335 h 129183"/>
                <a:gd name="connsiteX15" fmla="*/ 645 w 269560"/>
                <a:gd name="connsiteY15" fmla="*/ 123437 h 12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560" h="129183">
                  <a:moveTo>
                    <a:pt x="645" y="123437"/>
                  </a:moveTo>
                  <a:cubicBezTo>
                    <a:pt x="2324" y="127985"/>
                    <a:pt x="7359" y="130315"/>
                    <a:pt x="11911" y="128642"/>
                  </a:cubicBezTo>
                  <a:cubicBezTo>
                    <a:pt x="12012" y="128604"/>
                    <a:pt x="12114" y="128564"/>
                    <a:pt x="12216" y="128522"/>
                  </a:cubicBezTo>
                  <a:lnTo>
                    <a:pt x="15140" y="127251"/>
                  </a:lnTo>
                  <a:lnTo>
                    <a:pt x="18573" y="125853"/>
                  </a:lnTo>
                  <a:lnTo>
                    <a:pt x="269560" y="19069"/>
                  </a:lnTo>
                  <a:lnTo>
                    <a:pt x="265492" y="15890"/>
                  </a:lnTo>
                  <a:cubicBezTo>
                    <a:pt x="261855" y="12654"/>
                    <a:pt x="261156" y="7237"/>
                    <a:pt x="263839" y="3178"/>
                  </a:cubicBezTo>
                  <a:cubicBezTo>
                    <a:pt x="265072" y="1631"/>
                    <a:pt x="266763" y="517"/>
                    <a:pt x="268671" y="0"/>
                  </a:cubicBezTo>
                  <a:lnTo>
                    <a:pt x="267653" y="0"/>
                  </a:lnTo>
                  <a:lnTo>
                    <a:pt x="5477" y="111488"/>
                  </a:lnTo>
                  <a:cubicBezTo>
                    <a:pt x="5185" y="111429"/>
                    <a:pt x="4879" y="111429"/>
                    <a:pt x="4587" y="111488"/>
                  </a:cubicBezTo>
                  <a:cubicBezTo>
                    <a:pt x="3989" y="111794"/>
                    <a:pt x="3430" y="112179"/>
                    <a:pt x="2934" y="112632"/>
                  </a:cubicBezTo>
                  <a:lnTo>
                    <a:pt x="1917" y="113903"/>
                  </a:lnTo>
                  <a:cubicBezTo>
                    <a:pt x="1039" y="114849"/>
                    <a:pt x="506" y="116055"/>
                    <a:pt x="391" y="117335"/>
                  </a:cubicBezTo>
                  <a:cubicBezTo>
                    <a:pt x="-206" y="119341"/>
                    <a:pt x="-117" y="121488"/>
                    <a:pt x="645" y="123437"/>
                  </a:cubicBezTo>
                  <a:close/>
                </a:path>
              </a:pathLst>
            </a:custGeom>
            <a:solidFill>
              <a:srgbClr val="000000"/>
            </a:solidFill>
            <a:ln w="1268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97FFB8A0-6A21-4311-89E9-D4EBBC215996}"/>
                </a:ext>
              </a:extLst>
            </p:cNvPr>
            <p:cNvSpPr/>
            <p:nvPr/>
          </p:nvSpPr>
          <p:spPr>
            <a:xfrm>
              <a:off x="2005608" y="1186239"/>
              <a:ext cx="346915" cy="282263"/>
            </a:xfrm>
            <a:custGeom>
              <a:avLst/>
              <a:gdLst>
                <a:gd name="connsiteX0" fmla="*/ 3308 w 346915"/>
                <a:gd name="connsiteY0" fmla="*/ 15763 h 282263"/>
                <a:gd name="connsiteX1" fmla="*/ 7377 w 346915"/>
                <a:gd name="connsiteY1" fmla="*/ 18941 h 282263"/>
                <a:gd name="connsiteX2" fmla="*/ 327024 w 346915"/>
                <a:gd name="connsiteY2" fmla="*/ 275732 h 282263"/>
                <a:gd name="connsiteX3" fmla="*/ 337195 w 346915"/>
                <a:gd name="connsiteY3" fmla="*/ 271282 h 282263"/>
                <a:gd name="connsiteX4" fmla="*/ 339255 w 346915"/>
                <a:gd name="connsiteY4" fmla="*/ 271927 h 282263"/>
                <a:gd name="connsiteX5" fmla="*/ 339357 w 346915"/>
                <a:gd name="connsiteY5" fmla="*/ 272172 h 282263"/>
                <a:gd name="connsiteX6" fmla="*/ 338467 w 346915"/>
                <a:gd name="connsiteY6" fmla="*/ 274333 h 282263"/>
                <a:gd name="connsiteX7" fmla="*/ 329821 w 346915"/>
                <a:gd name="connsiteY7" fmla="*/ 278020 h 282263"/>
                <a:gd name="connsiteX8" fmla="*/ 332491 w 346915"/>
                <a:gd name="connsiteY8" fmla="*/ 280181 h 282263"/>
                <a:gd name="connsiteX9" fmla="*/ 344507 w 346915"/>
                <a:gd name="connsiteY9" fmla="*/ 279326 h 282263"/>
                <a:gd name="connsiteX10" fmla="*/ 345206 w 346915"/>
                <a:gd name="connsiteY10" fmla="*/ 278401 h 282263"/>
                <a:gd name="connsiteX11" fmla="*/ 346859 w 346915"/>
                <a:gd name="connsiteY11" fmla="*/ 272808 h 282263"/>
                <a:gd name="connsiteX12" fmla="*/ 346859 w 346915"/>
                <a:gd name="connsiteY12" fmla="*/ 270901 h 282263"/>
                <a:gd name="connsiteX13" fmla="*/ 346859 w 346915"/>
                <a:gd name="connsiteY13" fmla="*/ 269248 h 282263"/>
                <a:gd name="connsiteX14" fmla="*/ 346096 w 346915"/>
                <a:gd name="connsiteY14" fmla="*/ 267723 h 282263"/>
                <a:gd name="connsiteX15" fmla="*/ 344951 w 346915"/>
                <a:gd name="connsiteY15" fmla="*/ 266325 h 282263"/>
                <a:gd name="connsiteX16" fmla="*/ 344189 w 346915"/>
                <a:gd name="connsiteY16" fmla="*/ 265435 h 282263"/>
                <a:gd name="connsiteX17" fmla="*/ 13989 w 346915"/>
                <a:gd name="connsiteY17" fmla="*/ 890 h 282263"/>
                <a:gd name="connsiteX18" fmla="*/ 12972 w 346915"/>
                <a:gd name="connsiteY18" fmla="*/ 890 h 282263"/>
                <a:gd name="connsiteX19" fmla="*/ 11446 w 346915"/>
                <a:gd name="connsiteY19" fmla="*/ 0 h 282263"/>
                <a:gd name="connsiteX20" fmla="*/ 9793 w 346915"/>
                <a:gd name="connsiteY20" fmla="*/ 0 h 282263"/>
                <a:gd name="connsiteX21" fmla="*/ 8140 w 346915"/>
                <a:gd name="connsiteY21" fmla="*/ 0 h 282263"/>
                <a:gd name="connsiteX22" fmla="*/ 6360 w 346915"/>
                <a:gd name="connsiteY22" fmla="*/ 0 h 282263"/>
                <a:gd name="connsiteX23" fmla="*/ 1528 w 346915"/>
                <a:gd name="connsiteY23" fmla="*/ 3178 h 282263"/>
                <a:gd name="connsiteX24" fmla="*/ 3308 w 346915"/>
                <a:gd name="connsiteY24" fmla="*/ 15763 h 28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6915" h="282263">
                  <a:moveTo>
                    <a:pt x="3308" y="15763"/>
                  </a:moveTo>
                  <a:lnTo>
                    <a:pt x="7377" y="18941"/>
                  </a:lnTo>
                  <a:lnTo>
                    <a:pt x="327024" y="275732"/>
                  </a:lnTo>
                  <a:lnTo>
                    <a:pt x="337195" y="271282"/>
                  </a:lnTo>
                  <a:cubicBezTo>
                    <a:pt x="337946" y="270892"/>
                    <a:pt x="338861" y="271181"/>
                    <a:pt x="339255" y="271927"/>
                  </a:cubicBezTo>
                  <a:cubicBezTo>
                    <a:pt x="339293" y="272006"/>
                    <a:pt x="339332" y="272087"/>
                    <a:pt x="339357" y="272172"/>
                  </a:cubicBezTo>
                  <a:cubicBezTo>
                    <a:pt x="339586" y="273011"/>
                    <a:pt x="339217" y="273900"/>
                    <a:pt x="338467" y="274333"/>
                  </a:cubicBezTo>
                  <a:lnTo>
                    <a:pt x="329821" y="278020"/>
                  </a:lnTo>
                  <a:lnTo>
                    <a:pt x="332491" y="280181"/>
                  </a:lnTo>
                  <a:cubicBezTo>
                    <a:pt x="336051" y="283263"/>
                    <a:pt x="341430" y="282880"/>
                    <a:pt x="344507" y="279326"/>
                  </a:cubicBezTo>
                  <a:cubicBezTo>
                    <a:pt x="344761" y="279034"/>
                    <a:pt x="344990" y="278726"/>
                    <a:pt x="345206" y="278401"/>
                  </a:cubicBezTo>
                  <a:cubicBezTo>
                    <a:pt x="346375" y="276781"/>
                    <a:pt x="346960" y="274806"/>
                    <a:pt x="346859" y="272808"/>
                  </a:cubicBezTo>
                  <a:cubicBezTo>
                    <a:pt x="346922" y="272174"/>
                    <a:pt x="346922" y="271535"/>
                    <a:pt x="346859" y="270901"/>
                  </a:cubicBezTo>
                  <a:cubicBezTo>
                    <a:pt x="346935" y="270352"/>
                    <a:pt x="346935" y="269796"/>
                    <a:pt x="346859" y="269248"/>
                  </a:cubicBezTo>
                  <a:cubicBezTo>
                    <a:pt x="346706" y="268694"/>
                    <a:pt x="346452" y="268176"/>
                    <a:pt x="346096" y="267723"/>
                  </a:cubicBezTo>
                  <a:cubicBezTo>
                    <a:pt x="345829" y="267174"/>
                    <a:pt x="345435" y="266696"/>
                    <a:pt x="344951" y="266325"/>
                  </a:cubicBezTo>
                  <a:cubicBezTo>
                    <a:pt x="344951" y="266325"/>
                    <a:pt x="344951" y="265689"/>
                    <a:pt x="344189" y="265435"/>
                  </a:cubicBezTo>
                  <a:lnTo>
                    <a:pt x="13989" y="890"/>
                  </a:lnTo>
                  <a:lnTo>
                    <a:pt x="12972" y="890"/>
                  </a:lnTo>
                  <a:lnTo>
                    <a:pt x="11446" y="0"/>
                  </a:lnTo>
                  <a:lnTo>
                    <a:pt x="9793" y="0"/>
                  </a:lnTo>
                  <a:lnTo>
                    <a:pt x="8140" y="0"/>
                  </a:lnTo>
                  <a:lnTo>
                    <a:pt x="6360" y="0"/>
                  </a:lnTo>
                  <a:cubicBezTo>
                    <a:pt x="4453" y="517"/>
                    <a:pt x="2762" y="1631"/>
                    <a:pt x="1528" y="3178"/>
                  </a:cubicBezTo>
                  <a:cubicBezTo>
                    <a:pt x="-1053" y="7240"/>
                    <a:pt x="-302" y="12576"/>
                    <a:pt x="3308" y="15763"/>
                  </a:cubicBezTo>
                  <a:close/>
                </a:path>
              </a:pathLst>
            </a:custGeom>
            <a:solidFill>
              <a:srgbClr val="000000"/>
            </a:solidFill>
            <a:ln w="1268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35334940-1C75-409E-ACF3-AB2EA4818DBC}"/>
                </a:ext>
              </a:extLst>
            </p:cNvPr>
            <p:cNvSpPr/>
            <p:nvPr/>
          </p:nvSpPr>
          <p:spPr>
            <a:xfrm>
              <a:off x="2327673" y="1457602"/>
              <a:ext cx="17232" cy="9454"/>
            </a:xfrm>
            <a:custGeom>
              <a:avLst/>
              <a:gdLst>
                <a:gd name="connsiteX0" fmla="*/ 2161 w 17232"/>
                <a:gd name="connsiteY0" fmla="*/ 7420 h 9454"/>
                <a:gd name="connsiteX1" fmla="*/ 1271 w 17232"/>
                <a:gd name="connsiteY1" fmla="*/ 9454 h 9454"/>
                <a:gd name="connsiteX2" fmla="*/ 2161 w 17232"/>
                <a:gd name="connsiteY2" fmla="*/ 9454 h 9454"/>
                <a:gd name="connsiteX3" fmla="*/ 5976 w 17232"/>
                <a:gd name="connsiteY3" fmla="*/ 7674 h 9454"/>
                <a:gd name="connsiteX4" fmla="*/ 7629 w 17232"/>
                <a:gd name="connsiteY4" fmla="*/ 6912 h 9454"/>
                <a:gd name="connsiteX5" fmla="*/ 16275 w 17232"/>
                <a:gd name="connsiteY5" fmla="*/ 3225 h 9454"/>
                <a:gd name="connsiteX6" fmla="*/ 17165 w 17232"/>
                <a:gd name="connsiteY6" fmla="*/ 1064 h 9454"/>
                <a:gd name="connsiteX7" fmla="*/ 15245 w 17232"/>
                <a:gd name="connsiteY7" fmla="*/ 72 h 9454"/>
                <a:gd name="connsiteX8" fmla="*/ 15003 w 17232"/>
                <a:gd name="connsiteY8" fmla="*/ 174 h 9454"/>
                <a:gd name="connsiteX9" fmla="*/ 4831 w 17232"/>
                <a:gd name="connsiteY9" fmla="*/ 4623 h 9454"/>
                <a:gd name="connsiteX10" fmla="*/ 0 w 17232"/>
                <a:gd name="connsiteY10" fmla="*/ 6784 h 9454"/>
                <a:gd name="connsiteX11" fmla="*/ 2098 w 17232"/>
                <a:gd name="connsiteY11" fmla="*/ 7299 h 9454"/>
                <a:gd name="connsiteX12" fmla="*/ 2161 w 17232"/>
                <a:gd name="connsiteY12" fmla="*/ 7420 h 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32" h="9454">
                  <a:moveTo>
                    <a:pt x="2161" y="7420"/>
                  </a:moveTo>
                  <a:cubicBezTo>
                    <a:pt x="2428" y="8226"/>
                    <a:pt x="2047" y="9106"/>
                    <a:pt x="1271" y="9454"/>
                  </a:cubicBezTo>
                  <a:lnTo>
                    <a:pt x="2161" y="9454"/>
                  </a:lnTo>
                  <a:lnTo>
                    <a:pt x="5976" y="7674"/>
                  </a:lnTo>
                  <a:lnTo>
                    <a:pt x="7629" y="6912"/>
                  </a:lnTo>
                  <a:lnTo>
                    <a:pt x="16275" y="3225"/>
                  </a:lnTo>
                  <a:cubicBezTo>
                    <a:pt x="17025" y="2793"/>
                    <a:pt x="17394" y="1903"/>
                    <a:pt x="17165" y="1064"/>
                  </a:cubicBezTo>
                  <a:cubicBezTo>
                    <a:pt x="16910" y="260"/>
                    <a:pt x="16046" y="-183"/>
                    <a:pt x="15245" y="72"/>
                  </a:cubicBezTo>
                  <a:cubicBezTo>
                    <a:pt x="15169" y="99"/>
                    <a:pt x="15079" y="133"/>
                    <a:pt x="15003" y="174"/>
                  </a:cubicBezTo>
                  <a:lnTo>
                    <a:pt x="4831" y="4623"/>
                  </a:lnTo>
                  <a:lnTo>
                    <a:pt x="0" y="6784"/>
                  </a:lnTo>
                  <a:cubicBezTo>
                    <a:pt x="725" y="6348"/>
                    <a:pt x="1653" y="6578"/>
                    <a:pt x="2098" y="7299"/>
                  </a:cubicBezTo>
                  <a:cubicBezTo>
                    <a:pt x="2123" y="7339"/>
                    <a:pt x="2136" y="7379"/>
                    <a:pt x="2161" y="7420"/>
                  </a:cubicBezTo>
                  <a:close/>
                </a:path>
              </a:pathLst>
            </a:custGeom>
            <a:solidFill>
              <a:srgbClr val="000000"/>
            </a:solidFill>
            <a:ln w="1268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C63B852B-F5C5-4AF4-A160-E5302EB5C51C}"/>
                </a:ext>
              </a:extLst>
            </p:cNvPr>
            <p:cNvSpPr/>
            <p:nvPr/>
          </p:nvSpPr>
          <p:spPr>
            <a:xfrm>
              <a:off x="2325130" y="1464086"/>
              <a:ext cx="4153" cy="3860"/>
            </a:xfrm>
            <a:custGeom>
              <a:avLst/>
              <a:gdLst>
                <a:gd name="connsiteX0" fmla="*/ 1653 w 4153"/>
                <a:gd name="connsiteY0" fmla="*/ 3861 h 3860"/>
                <a:gd name="connsiteX1" fmla="*/ 1653 w 4153"/>
                <a:gd name="connsiteY1" fmla="*/ 3861 h 3860"/>
                <a:gd name="connsiteX2" fmla="*/ 3179 w 4153"/>
                <a:gd name="connsiteY2" fmla="*/ 3098 h 3860"/>
                <a:gd name="connsiteX3" fmla="*/ 4069 w 4153"/>
                <a:gd name="connsiteY3" fmla="*/ 1064 h 3860"/>
                <a:gd name="connsiteX4" fmla="*/ 2149 w 4153"/>
                <a:gd name="connsiteY4" fmla="*/ 72 h 3860"/>
                <a:gd name="connsiteX5" fmla="*/ 1907 w 4153"/>
                <a:gd name="connsiteY5" fmla="*/ 174 h 3860"/>
                <a:gd name="connsiteX6" fmla="*/ 0 w 4153"/>
                <a:gd name="connsiteY6" fmla="*/ 937 h 3860"/>
                <a:gd name="connsiteX7" fmla="*/ 763 w 4153"/>
                <a:gd name="connsiteY7" fmla="*/ 2081 h 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3" h="3860">
                  <a:moveTo>
                    <a:pt x="1653" y="3861"/>
                  </a:moveTo>
                  <a:lnTo>
                    <a:pt x="1653" y="3861"/>
                  </a:lnTo>
                  <a:lnTo>
                    <a:pt x="3179" y="3098"/>
                  </a:lnTo>
                  <a:cubicBezTo>
                    <a:pt x="3954" y="2749"/>
                    <a:pt x="4336" y="1870"/>
                    <a:pt x="4069" y="1064"/>
                  </a:cubicBezTo>
                  <a:cubicBezTo>
                    <a:pt x="3814" y="260"/>
                    <a:pt x="2950" y="-183"/>
                    <a:pt x="2149" y="72"/>
                  </a:cubicBezTo>
                  <a:cubicBezTo>
                    <a:pt x="2073" y="99"/>
                    <a:pt x="1984" y="133"/>
                    <a:pt x="1907" y="174"/>
                  </a:cubicBezTo>
                  <a:lnTo>
                    <a:pt x="0" y="937"/>
                  </a:lnTo>
                  <a:lnTo>
                    <a:pt x="763" y="2081"/>
                  </a:lnTo>
                  <a:close/>
                </a:path>
              </a:pathLst>
            </a:custGeom>
            <a:solidFill>
              <a:srgbClr val="000000"/>
            </a:solidFill>
            <a:ln w="1268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AC262F43-0F46-4B0A-8846-D842ED55BD74}"/>
                </a:ext>
              </a:extLst>
            </p:cNvPr>
            <p:cNvSpPr/>
            <p:nvPr/>
          </p:nvSpPr>
          <p:spPr>
            <a:xfrm>
              <a:off x="2308887" y="1460585"/>
              <a:ext cx="16497" cy="12827"/>
            </a:xfrm>
            <a:custGeom>
              <a:avLst/>
              <a:gdLst>
                <a:gd name="connsiteX0" fmla="*/ 1621 w 16497"/>
                <a:gd name="connsiteY0" fmla="*/ 9395 h 12827"/>
                <a:gd name="connsiteX1" fmla="*/ 11208 w 16497"/>
                <a:gd name="connsiteY1" fmla="*/ 1240 h 12827"/>
                <a:gd name="connsiteX2" fmla="*/ 11411 w 16497"/>
                <a:gd name="connsiteY2" fmla="*/ 1259 h 12827"/>
                <a:gd name="connsiteX3" fmla="*/ 16497 w 16497"/>
                <a:gd name="connsiteY3" fmla="*/ 3928 h 12827"/>
                <a:gd name="connsiteX4" fmla="*/ 15734 w 16497"/>
                <a:gd name="connsiteY4" fmla="*/ 3166 h 12827"/>
                <a:gd name="connsiteX5" fmla="*/ 14463 w 16497"/>
                <a:gd name="connsiteY5" fmla="*/ 2149 h 12827"/>
                <a:gd name="connsiteX6" fmla="*/ 2613 w 16497"/>
                <a:gd name="connsiteY6" fmla="*/ 2783 h 12827"/>
                <a:gd name="connsiteX7" fmla="*/ 1748 w 16497"/>
                <a:gd name="connsiteY7" fmla="*/ 3928 h 12827"/>
                <a:gd name="connsiteX8" fmla="*/ 604 w 16497"/>
                <a:gd name="connsiteY8" fmla="*/ 12827 h 12827"/>
                <a:gd name="connsiteX9" fmla="*/ 604 w 16497"/>
                <a:gd name="connsiteY9" fmla="*/ 12827 h 1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97" h="12827">
                  <a:moveTo>
                    <a:pt x="1621" y="9395"/>
                  </a:moveTo>
                  <a:cubicBezTo>
                    <a:pt x="2015" y="4497"/>
                    <a:pt x="6313" y="846"/>
                    <a:pt x="11208" y="1240"/>
                  </a:cubicBezTo>
                  <a:cubicBezTo>
                    <a:pt x="11271" y="1246"/>
                    <a:pt x="11348" y="1252"/>
                    <a:pt x="11411" y="1259"/>
                  </a:cubicBezTo>
                  <a:cubicBezTo>
                    <a:pt x="13344" y="1597"/>
                    <a:pt x="15124" y="2530"/>
                    <a:pt x="16497" y="3928"/>
                  </a:cubicBezTo>
                  <a:lnTo>
                    <a:pt x="15734" y="3166"/>
                  </a:lnTo>
                  <a:lnTo>
                    <a:pt x="14463" y="2149"/>
                  </a:lnTo>
                  <a:cubicBezTo>
                    <a:pt x="11017" y="-948"/>
                    <a:pt x="5715" y="-663"/>
                    <a:pt x="2613" y="2783"/>
                  </a:cubicBezTo>
                  <a:cubicBezTo>
                    <a:pt x="2295" y="3139"/>
                    <a:pt x="2002" y="3523"/>
                    <a:pt x="1748" y="3928"/>
                  </a:cubicBezTo>
                  <a:cubicBezTo>
                    <a:pt x="-70" y="6527"/>
                    <a:pt x="-502" y="9852"/>
                    <a:pt x="604" y="12827"/>
                  </a:cubicBezTo>
                  <a:lnTo>
                    <a:pt x="604" y="12827"/>
                  </a:lnTo>
                  <a:close/>
                </a:path>
              </a:pathLst>
            </a:custGeom>
            <a:solidFill>
              <a:srgbClr val="000000"/>
            </a:solidFill>
            <a:ln w="1268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8EBAA562-3060-4B5D-AC75-CFF5F976E456}"/>
                </a:ext>
              </a:extLst>
            </p:cNvPr>
            <p:cNvSpPr/>
            <p:nvPr/>
          </p:nvSpPr>
          <p:spPr>
            <a:xfrm>
              <a:off x="1140378" y="2726600"/>
              <a:ext cx="47298" cy="34704"/>
            </a:xfrm>
            <a:custGeom>
              <a:avLst/>
              <a:gdLst>
                <a:gd name="connsiteX0" fmla="*/ 47299 w 47298"/>
                <a:gd name="connsiteY0" fmla="*/ 19196 h 34704"/>
                <a:gd name="connsiteX1" fmla="*/ 43103 w 47298"/>
                <a:gd name="connsiteY1" fmla="*/ 15255 h 34704"/>
                <a:gd name="connsiteX2" fmla="*/ 42340 w 47298"/>
                <a:gd name="connsiteY2" fmla="*/ 2543 h 34704"/>
                <a:gd name="connsiteX3" fmla="*/ 46663 w 47298"/>
                <a:gd name="connsiteY3" fmla="*/ 0 h 34704"/>
                <a:gd name="connsiteX4" fmla="*/ 45391 w 47298"/>
                <a:gd name="connsiteY4" fmla="*/ 0 h 34704"/>
                <a:gd name="connsiteX5" fmla="*/ 1017 w 47298"/>
                <a:gd name="connsiteY5" fmla="*/ 20467 h 34704"/>
                <a:gd name="connsiteX6" fmla="*/ 0 w 47298"/>
                <a:gd name="connsiteY6" fmla="*/ 21230 h 34704"/>
                <a:gd name="connsiteX7" fmla="*/ 5213 w 47298"/>
                <a:gd name="connsiteY7" fmla="*/ 19704 h 34704"/>
                <a:gd name="connsiteX8" fmla="*/ 13478 w 47298"/>
                <a:gd name="connsiteY8" fmla="*/ 29620 h 34704"/>
                <a:gd name="connsiteX9" fmla="*/ 13478 w 47298"/>
                <a:gd name="connsiteY9" fmla="*/ 34705 h 34704"/>
                <a:gd name="connsiteX10" fmla="*/ 13478 w 47298"/>
                <a:gd name="connsiteY10" fmla="*/ 34705 h 3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298" h="34704">
                  <a:moveTo>
                    <a:pt x="47299" y="19196"/>
                  </a:moveTo>
                  <a:lnTo>
                    <a:pt x="43103" y="15255"/>
                  </a:lnTo>
                  <a:cubicBezTo>
                    <a:pt x="39750" y="11784"/>
                    <a:pt x="39426" y="6394"/>
                    <a:pt x="42340" y="2543"/>
                  </a:cubicBezTo>
                  <a:cubicBezTo>
                    <a:pt x="43520" y="1310"/>
                    <a:pt x="45016" y="432"/>
                    <a:pt x="46663" y="0"/>
                  </a:cubicBezTo>
                  <a:lnTo>
                    <a:pt x="45391" y="0"/>
                  </a:lnTo>
                  <a:lnTo>
                    <a:pt x="1017" y="20467"/>
                  </a:lnTo>
                  <a:lnTo>
                    <a:pt x="0" y="21230"/>
                  </a:lnTo>
                  <a:cubicBezTo>
                    <a:pt x="1521" y="20162"/>
                    <a:pt x="3354" y="19615"/>
                    <a:pt x="5213" y="19704"/>
                  </a:cubicBezTo>
                  <a:cubicBezTo>
                    <a:pt x="10192" y="20238"/>
                    <a:pt x="13849" y="24624"/>
                    <a:pt x="13478" y="29620"/>
                  </a:cubicBezTo>
                  <a:lnTo>
                    <a:pt x="13478" y="34705"/>
                  </a:lnTo>
                  <a:lnTo>
                    <a:pt x="13478" y="34705"/>
                  </a:lnTo>
                  <a:close/>
                </a:path>
              </a:pathLst>
            </a:custGeom>
            <a:solidFill>
              <a:srgbClr val="000000"/>
            </a:solidFill>
            <a:ln w="1268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84D02659-E8EA-4E0C-9FB7-9C4636DD5A0D}"/>
                </a:ext>
              </a:extLst>
            </p:cNvPr>
            <p:cNvSpPr/>
            <p:nvPr/>
          </p:nvSpPr>
          <p:spPr>
            <a:xfrm>
              <a:off x="3382100" y="4452942"/>
              <a:ext cx="127528" cy="586931"/>
            </a:xfrm>
            <a:custGeom>
              <a:avLst/>
              <a:gdLst>
                <a:gd name="connsiteX0" fmla="*/ 127147 w 127528"/>
                <a:gd name="connsiteY0" fmla="*/ 635 h 586931"/>
                <a:gd name="connsiteX1" fmla="*/ 127147 w 127528"/>
                <a:gd name="connsiteY1" fmla="*/ 635 h 586931"/>
                <a:gd name="connsiteX2" fmla="*/ 127147 w 127528"/>
                <a:gd name="connsiteY2" fmla="*/ 635 h 586931"/>
                <a:gd name="connsiteX3" fmla="*/ 126384 w 127528"/>
                <a:gd name="connsiteY3" fmla="*/ 635 h 586931"/>
                <a:gd name="connsiteX4" fmla="*/ 126384 w 127528"/>
                <a:gd name="connsiteY4" fmla="*/ 635 h 586931"/>
                <a:gd name="connsiteX5" fmla="*/ 126384 w 127528"/>
                <a:gd name="connsiteY5" fmla="*/ 635 h 586931"/>
                <a:gd name="connsiteX6" fmla="*/ 125748 w 127528"/>
                <a:gd name="connsiteY6" fmla="*/ 0 h 586931"/>
                <a:gd name="connsiteX7" fmla="*/ 125112 w 127528"/>
                <a:gd name="connsiteY7" fmla="*/ 2543 h 586931"/>
                <a:gd name="connsiteX8" fmla="*/ 0 w 127528"/>
                <a:gd name="connsiteY8" fmla="*/ 585151 h 586931"/>
                <a:gd name="connsiteX9" fmla="*/ 636 w 127528"/>
                <a:gd name="connsiteY9" fmla="*/ 585151 h 586931"/>
                <a:gd name="connsiteX10" fmla="*/ 2568 w 127528"/>
                <a:gd name="connsiteY10" fmla="*/ 585584 h 586931"/>
                <a:gd name="connsiteX11" fmla="*/ 2670 w 127528"/>
                <a:gd name="connsiteY11" fmla="*/ 585787 h 586931"/>
                <a:gd name="connsiteX12" fmla="*/ 2670 w 127528"/>
                <a:gd name="connsiteY12" fmla="*/ 586931 h 586931"/>
                <a:gd name="connsiteX13" fmla="*/ 2670 w 127528"/>
                <a:gd name="connsiteY13" fmla="*/ 586931 h 586931"/>
                <a:gd name="connsiteX14" fmla="*/ 127528 w 127528"/>
                <a:gd name="connsiteY14" fmla="*/ 254 h 586931"/>
                <a:gd name="connsiteX15" fmla="*/ 127528 w 127528"/>
                <a:gd name="connsiteY15" fmla="*/ 254 h 586931"/>
                <a:gd name="connsiteX16" fmla="*/ 127147 w 127528"/>
                <a:gd name="connsiteY16" fmla="*/ 635 h 58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528" h="586931">
                  <a:moveTo>
                    <a:pt x="127147" y="635"/>
                  </a:moveTo>
                  <a:lnTo>
                    <a:pt x="127147" y="635"/>
                  </a:lnTo>
                  <a:lnTo>
                    <a:pt x="127147" y="635"/>
                  </a:lnTo>
                  <a:lnTo>
                    <a:pt x="126384" y="635"/>
                  </a:lnTo>
                  <a:lnTo>
                    <a:pt x="126384" y="635"/>
                  </a:lnTo>
                  <a:lnTo>
                    <a:pt x="126384" y="635"/>
                  </a:lnTo>
                  <a:lnTo>
                    <a:pt x="125748" y="0"/>
                  </a:lnTo>
                  <a:lnTo>
                    <a:pt x="125112" y="2543"/>
                  </a:lnTo>
                  <a:lnTo>
                    <a:pt x="0" y="585151"/>
                  </a:lnTo>
                  <a:lnTo>
                    <a:pt x="636" y="585151"/>
                  </a:lnTo>
                  <a:cubicBezTo>
                    <a:pt x="1284" y="584745"/>
                    <a:pt x="2149" y="584935"/>
                    <a:pt x="2568" y="585584"/>
                  </a:cubicBezTo>
                  <a:cubicBezTo>
                    <a:pt x="2606" y="585647"/>
                    <a:pt x="2645" y="585724"/>
                    <a:pt x="2670" y="585787"/>
                  </a:cubicBezTo>
                  <a:cubicBezTo>
                    <a:pt x="2848" y="586143"/>
                    <a:pt x="2848" y="586575"/>
                    <a:pt x="2670" y="586931"/>
                  </a:cubicBezTo>
                  <a:lnTo>
                    <a:pt x="2670" y="586931"/>
                  </a:lnTo>
                  <a:lnTo>
                    <a:pt x="127528" y="254"/>
                  </a:lnTo>
                  <a:lnTo>
                    <a:pt x="127528" y="254"/>
                  </a:lnTo>
                  <a:lnTo>
                    <a:pt x="127147" y="635"/>
                  </a:lnTo>
                  <a:close/>
                </a:path>
              </a:pathLst>
            </a:custGeom>
            <a:solidFill>
              <a:srgbClr val="000000"/>
            </a:solidFill>
            <a:ln w="1268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EF738571-5198-484C-BCF3-4496014610C9}"/>
                </a:ext>
              </a:extLst>
            </p:cNvPr>
            <p:cNvSpPr/>
            <p:nvPr/>
          </p:nvSpPr>
          <p:spPr>
            <a:xfrm>
              <a:off x="2876304" y="5037712"/>
              <a:ext cx="508217" cy="288987"/>
            </a:xfrm>
            <a:custGeom>
              <a:avLst/>
              <a:gdLst>
                <a:gd name="connsiteX0" fmla="*/ 506686 w 508217"/>
                <a:gd name="connsiteY0" fmla="*/ 0 h 288987"/>
                <a:gd name="connsiteX1" fmla="*/ 506050 w 508217"/>
                <a:gd name="connsiteY1" fmla="*/ 0 h 288987"/>
                <a:gd name="connsiteX2" fmla="*/ 3058 w 508217"/>
                <a:gd name="connsiteY2" fmla="*/ 285902 h 288987"/>
                <a:gd name="connsiteX3" fmla="*/ 1151 w 508217"/>
                <a:gd name="connsiteY3" fmla="*/ 286919 h 288987"/>
                <a:gd name="connsiteX4" fmla="*/ 133 w 508217"/>
                <a:gd name="connsiteY4" fmla="*/ 286919 h 288987"/>
                <a:gd name="connsiteX5" fmla="*/ 133 w 508217"/>
                <a:gd name="connsiteY5" fmla="*/ 286919 h 288987"/>
                <a:gd name="connsiteX6" fmla="*/ 133 w 508217"/>
                <a:gd name="connsiteY6" fmla="*/ 286919 h 288987"/>
                <a:gd name="connsiteX7" fmla="*/ 133 w 508217"/>
                <a:gd name="connsiteY7" fmla="*/ 288063 h 288987"/>
                <a:gd name="connsiteX8" fmla="*/ 1926 w 508217"/>
                <a:gd name="connsiteY8" fmla="*/ 288902 h 288987"/>
                <a:gd name="connsiteX9" fmla="*/ 2295 w 508217"/>
                <a:gd name="connsiteY9" fmla="*/ 288698 h 288987"/>
                <a:gd name="connsiteX10" fmla="*/ 2931 w 508217"/>
                <a:gd name="connsiteY10" fmla="*/ 288698 h 288987"/>
                <a:gd name="connsiteX11" fmla="*/ 508084 w 508217"/>
                <a:gd name="connsiteY11" fmla="*/ 2415 h 288987"/>
                <a:gd name="connsiteX12" fmla="*/ 508084 w 508217"/>
                <a:gd name="connsiteY12" fmla="*/ 2415 h 288987"/>
                <a:gd name="connsiteX13" fmla="*/ 508084 w 508217"/>
                <a:gd name="connsiteY13" fmla="*/ 2415 h 288987"/>
                <a:gd name="connsiteX14" fmla="*/ 508084 w 508217"/>
                <a:gd name="connsiteY14" fmla="*/ 1271 h 288987"/>
                <a:gd name="connsiteX15" fmla="*/ 506686 w 508217"/>
                <a:gd name="connsiteY15" fmla="*/ 0 h 2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8217" h="288987">
                  <a:moveTo>
                    <a:pt x="506686" y="0"/>
                  </a:moveTo>
                  <a:lnTo>
                    <a:pt x="506050" y="0"/>
                  </a:lnTo>
                  <a:lnTo>
                    <a:pt x="3058" y="285902"/>
                  </a:lnTo>
                  <a:lnTo>
                    <a:pt x="1151" y="286919"/>
                  </a:lnTo>
                  <a:lnTo>
                    <a:pt x="133" y="286919"/>
                  </a:lnTo>
                  <a:lnTo>
                    <a:pt x="133" y="286919"/>
                  </a:lnTo>
                  <a:lnTo>
                    <a:pt x="133" y="286919"/>
                  </a:lnTo>
                  <a:cubicBezTo>
                    <a:pt x="-44" y="287275"/>
                    <a:pt x="-44" y="287707"/>
                    <a:pt x="133" y="288063"/>
                  </a:cubicBezTo>
                  <a:cubicBezTo>
                    <a:pt x="401" y="288788"/>
                    <a:pt x="1201" y="289169"/>
                    <a:pt x="1926" y="288902"/>
                  </a:cubicBezTo>
                  <a:cubicBezTo>
                    <a:pt x="2053" y="288851"/>
                    <a:pt x="2181" y="288788"/>
                    <a:pt x="2295" y="288698"/>
                  </a:cubicBezTo>
                  <a:lnTo>
                    <a:pt x="2931" y="288698"/>
                  </a:lnTo>
                  <a:lnTo>
                    <a:pt x="508084" y="2415"/>
                  </a:lnTo>
                  <a:lnTo>
                    <a:pt x="508084" y="2415"/>
                  </a:lnTo>
                  <a:lnTo>
                    <a:pt x="508084" y="2415"/>
                  </a:lnTo>
                  <a:cubicBezTo>
                    <a:pt x="508262" y="2059"/>
                    <a:pt x="508262" y="1627"/>
                    <a:pt x="508084" y="1271"/>
                  </a:cubicBezTo>
                  <a:cubicBezTo>
                    <a:pt x="508021" y="547"/>
                    <a:pt x="507411" y="0"/>
                    <a:pt x="506686" y="0"/>
                  </a:cubicBezTo>
                  <a:close/>
                </a:path>
              </a:pathLst>
            </a:custGeom>
            <a:solidFill>
              <a:srgbClr val="000000"/>
            </a:solidFill>
            <a:ln w="1268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5B31EFEB-B23A-41C0-A36C-77DF026799BE}"/>
                </a:ext>
              </a:extLst>
            </p:cNvPr>
            <p:cNvSpPr/>
            <p:nvPr/>
          </p:nvSpPr>
          <p:spPr>
            <a:xfrm>
              <a:off x="3612235" y="3761007"/>
              <a:ext cx="377243" cy="205813"/>
            </a:xfrm>
            <a:custGeom>
              <a:avLst/>
              <a:gdLst>
                <a:gd name="connsiteX0" fmla="*/ 377244 w 377243"/>
                <a:gd name="connsiteY0" fmla="*/ 254 h 205813"/>
                <a:gd name="connsiteX1" fmla="*/ 0 w 377243"/>
                <a:gd name="connsiteY1" fmla="*/ 203652 h 205813"/>
                <a:gd name="connsiteX2" fmla="*/ 763 w 377243"/>
                <a:gd name="connsiteY2" fmla="*/ 204415 h 205813"/>
                <a:gd name="connsiteX3" fmla="*/ 763 w 377243"/>
                <a:gd name="connsiteY3" fmla="*/ 204415 h 205813"/>
                <a:gd name="connsiteX4" fmla="*/ 763 w 377243"/>
                <a:gd name="connsiteY4" fmla="*/ 205051 h 205813"/>
                <a:gd name="connsiteX5" fmla="*/ 763 w 377243"/>
                <a:gd name="connsiteY5" fmla="*/ 205051 h 205813"/>
                <a:gd name="connsiteX6" fmla="*/ 763 w 377243"/>
                <a:gd name="connsiteY6" fmla="*/ 205814 h 205813"/>
                <a:gd name="connsiteX7" fmla="*/ 375845 w 377243"/>
                <a:gd name="connsiteY7" fmla="*/ 4195 h 205813"/>
                <a:gd name="connsiteX8" fmla="*/ 376862 w 377243"/>
                <a:gd name="connsiteY8" fmla="*/ 0 h 20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243" h="205813">
                  <a:moveTo>
                    <a:pt x="377244" y="254"/>
                  </a:moveTo>
                  <a:lnTo>
                    <a:pt x="0" y="203652"/>
                  </a:lnTo>
                  <a:lnTo>
                    <a:pt x="763" y="204415"/>
                  </a:lnTo>
                  <a:lnTo>
                    <a:pt x="763" y="204415"/>
                  </a:lnTo>
                  <a:cubicBezTo>
                    <a:pt x="763" y="204415"/>
                    <a:pt x="763" y="204415"/>
                    <a:pt x="763" y="205051"/>
                  </a:cubicBezTo>
                  <a:lnTo>
                    <a:pt x="763" y="205051"/>
                  </a:lnTo>
                  <a:lnTo>
                    <a:pt x="763" y="205814"/>
                  </a:lnTo>
                  <a:lnTo>
                    <a:pt x="375845" y="4195"/>
                  </a:lnTo>
                  <a:lnTo>
                    <a:pt x="376862" y="0"/>
                  </a:lnTo>
                  <a:close/>
                </a:path>
              </a:pathLst>
            </a:custGeom>
            <a:solidFill>
              <a:srgbClr val="000000"/>
            </a:solidFill>
            <a:ln w="1268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19B9978D-3492-4EA4-B7F9-CBAA83D5F3A1}"/>
                </a:ext>
              </a:extLst>
            </p:cNvPr>
            <p:cNvSpPr/>
            <p:nvPr/>
          </p:nvSpPr>
          <p:spPr>
            <a:xfrm>
              <a:off x="2676690" y="3139117"/>
              <a:ext cx="16783" cy="15127"/>
            </a:xfrm>
            <a:custGeom>
              <a:avLst/>
              <a:gdLst>
                <a:gd name="connsiteX0" fmla="*/ 16783 w 16783"/>
                <a:gd name="connsiteY0" fmla="*/ 13602 h 15127"/>
                <a:gd name="connsiteX1" fmla="*/ 1399 w 16783"/>
                <a:gd name="connsiteY1" fmla="*/ 0 h 15127"/>
                <a:gd name="connsiteX2" fmla="*/ 381 w 16783"/>
                <a:gd name="connsiteY2" fmla="*/ 508 h 15127"/>
                <a:gd name="connsiteX3" fmla="*/ 0 w 16783"/>
                <a:gd name="connsiteY3" fmla="*/ 3051 h 15127"/>
                <a:gd name="connsiteX4" fmla="*/ 13732 w 16783"/>
                <a:gd name="connsiteY4" fmla="*/ 15128 h 15127"/>
                <a:gd name="connsiteX5" fmla="*/ 16783 w 16783"/>
                <a:gd name="connsiteY5" fmla="*/ 13602 h 1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83" h="15127">
                  <a:moveTo>
                    <a:pt x="16783" y="13602"/>
                  </a:moveTo>
                  <a:lnTo>
                    <a:pt x="1399" y="0"/>
                  </a:lnTo>
                  <a:lnTo>
                    <a:pt x="381" y="508"/>
                  </a:lnTo>
                  <a:lnTo>
                    <a:pt x="0" y="3051"/>
                  </a:lnTo>
                  <a:lnTo>
                    <a:pt x="13732" y="15128"/>
                  </a:lnTo>
                  <a:lnTo>
                    <a:pt x="16783" y="13602"/>
                  </a:lnTo>
                  <a:close/>
                </a:path>
              </a:pathLst>
            </a:custGeom>
            <a:solidFill>
              <a:srgbClr val="000000"/>
            </a:solidFill>
            <a:ln w="1268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3E762CAA-9991-4FDD-A33C-B9897A23152C}"/>
                </a:ext>
              </a:extLst>
            </p:cNvPr>
            <p:cNvSpPr/>
            <p:nvPr/>
          </p:nvSpPr>
          <p:spPr>
            <a:xfrm>
              <a:off x="2664611" y="3083945"/>
              <a:ext cx="84298" cy="55680"/>
            </a:xfrm>
            <a:custGeom>
              <a:avLst/>
              <a:gdLst>
                <a:gd name="connsiteX0" fmla="*/ 13223 w 84298"/>
                <a:gd name="connsiteY0" fmla="*/ 50850 h 55680"/>
                <a:gd name="connsiteX1" fmla="*/ 12460 w 84298"/>
                <a:gd name="connsiteY1" fmla="*/ 55680 h 55680"/>
                <a:gd name="connsiteX2" fmla="*/ 13478 w 84298"/>
                <a:gd name="connsiteY2" fmla="*/ 55680 h 55680"/>
                <a:gd name="connsiteX3" fmla="*/ 80865 w 84298"/>
                <a:gd name="connsiteY3" fmla="*/ 22247 h 55680"/>
                <a:gd name="connsiteX4" fmla="*/ 83535 w 84298"/>
                <a:gd name="connsiteY4" fmla="*/ 4831 h 55680"/>
                <a:gd name="connsiteX5" fmla="*/ 84298 w 84298"/>
                <a:gd name="connsiteY5" fmla="*/ 0 h 55680"/>
                <a:gd name="connsiteX6" fmla="*/ 636 w 84298"/>
                <a:gd name="connsiteY6" fmla="*/ 41443 h 55680"/>
                <a:gd name="connsiteX7" fmla="*/ 0 w 84298"/>
                <a:gd name="connsiteY7" fmla="*/ 41443 h 55680"/>
                <a:gd name="connsiteX8" fmla="*/ 5849 w 84298"/>
                <a:gd name="connsiteY8" fmla="*/ 40171 h 55680"/>
                <a:gd name="connsiteX9" fmla="*/ 13223 w 84298"/>
                <a:gd name="connsiteY9" fmla="*/ 50850 h 5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98" h="55680">
                  <a:moveTo>
                    <a:pt x="13223" y="50850"/>
                  </a:moveTo>
                  <a:lnTo>
                    <a:pt x="12460" y="55680"/>
                  </a:lnTo>
                  <a:lnTo>
                    <a:pt x="13478" y="55680"/>
                  </a:lnTo>
                  <a:lnTo>
                    <a:pt x="80865" y="22247"/>
                  </a:lnTo>
                  <a:lnTo>
                    <a:pt x="83535" y="4831"/>
                  </a:lnTo>
                  <a:lnTo>
                    <a:pt x="84298" y="0"/>
                  </a:lnTo>
                  <a:lnTo>
                    <a:pt x="636" y="41443"/>
                  </a:lnTo>
                  <a:lnTo>
                    <a:pt x="0" y="41443"/>
                  </a:lnTo>
                  <a:cubicBezTo>
                    <a:pt x="1729" y="40324"/>
                    <a:pt x="3814" y="39879"/>
                    <a:pt x="5849" y="40171"/>
                  </a:cubicBezTo>
                  <a:cubicBezTo>
                    <a:pt x="10807" y="41137"/>
                    <a:pt x="14075" y="45879"/>
                    <a:pt x="13223" y="50850"/>
                  </a:cubicBezTo>
                  <a:close/>
                </a:path>
              </a:pathLst>
            </a:custGeom>
            <a:solidFill>
              <a:srgbClr val="000000"/>
            </a:solidFill>
            <a:ln w="12685"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43D38BB0-7DD6-4C09-B712-CAA85919C2C4}"/>
                </a:ext>
              </a:extLst>
            </p:cNvPr>
            <p:cNvSpPr/>
            <p:nvPr/>
          </p:nvSpPr>
          <p:spPr>
            <a:xfrm>
              <a:off x="3508229" y="445408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2E2A06E1-8C75-4E2C-A034-D5660C81E617}"/>
                </a:ext>
              </a:extLst>
            </p:cNvPr>
            <p:cNvSpPr/>
            <p:nvPr/>
          </p:nvSpPr>
          <p:spPr>
            <a:xfrm>
              <a:off x="3507848" y="3966058"/>
              <a:ext cx="105753" cy="487265"/>
            </a:xfrm>
            <a:custGeom>
              <a:avLst/>
              <a:gdLst>
                <a:gd name="connsiteX0" fmla="*/ 105659 w 105753"/>
                <a:gd name="connsiteY0" fmla="*/ 0 h 487265"/>
                <a:gd name="connsiteX1" fmla="*/ 105659 w 105753"/>
                <a:gd name="connsiteY1" fmla="*/ 1017 h 487265"/>
                <a:gd name="connsiteX2" fmla="*/ 103497 w 105753"/>
                <a:gd name="connsiteY2" fmla="*/ 1017 h 487265"/>
                <a:gd name="connsiteX3" fmla="*/ 103497 w 105753"/>
                <a:gd name="connsiteY3" fmla="*/ 1017 h 487265"/>
                <a:gd name="connsiteX4" fmla="*/ 102734 w 105753"/>
                <a:gd name="connsiteY4" fmla="*/ 381 h 487265"/>
                <a:gd name="connsiteX5" fmla="*/ 0 w 105753"/>
                <a:gd name="connsiteY5" fmla="*/ 483452 h 487265"/>
                <a:gd name="connsiteX6" fmla="*/ 1907 w 105753"/>
                <a:gd name="connsiteY6" fmla="*/ 485232 h 487265"/>
                <a:gd name="connsiteX7" fmla="*/ 1907 w 105753"/>
                <a:gd name="connsiteY7" fmla="*/ 487266 h 487265"/>
                <a:gd name="connsiteX8" fmla="*/ 1907 w 105753"/>
                <a:gd name="connsiteY8" fmla="*/ 487266 h 487265"/>
                <a:gd name="connsiteX9" fmla="*/ 105277 w 105753"/>
                <a:gd name="connsiteY9" fmla="*/ 1525 h 487265"/>
                <a:gd name="connsiteX10" fmla="*/ 105277 w 105753"/>
                <a:gd name="connsiteY10" fmla="*/ 763 h 48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753" h="487265">
                  <a:moveTo>
                    <a:pt x="105659" y="0"/>
                  </a:moveTo>
                  <a:cubicBezTo>
                    <a:pt x="105786" y="331"/>
                    <a:pt x="105786" y="686"/>
                    <a:pt x="105659" y="1017"/>
                  </a:cubicBezTo>
                  <a:cubicBezTo>
                    <a:pt x="105061" y="1614"/>
                    <a:pt x="104095" y="1614"/>
                    <a:pt x="103497" y="1017"/>
                  </a:cubicBezTo>
                  <a:cubicBezTo>
                    <a:pt x="103497" y="1017"/>
                    <a:pt x="103497" y="1017"/>
                    <a:pt x="103497" y="1017"/>
                  </a:cubicBezTo>
                  <a:lnTo>
                    <a:pt x="102734" y="381"/>
                  </a:lnTo>
                  <a:lnTo>
                    <a:pt x="0" y="483452"/>
                  </a:lnTo>
                  <a:lnTo>
                    <a:pt x="1907" y="485232"/>
                  </a:lnTo>
                  <a:cubicBezTo>
                    <a:pt x="2327" y="485842"/>
                    <a:pt x="2327" y="486656"/>
                    <a:pt x="1907" y="487266"/>
                  </a:cubicBezTo>
                  <a:lnTo>
                    <a:pt x="1907" y="487266"/>
                  </a:lnTo>
                  <a:lnTo>
                    <a:pt x="105277" y="1525"/>
                  </a:lnTo>
                  <a:lnTo>
                    <a:pt x="105277" y="763"/>
                  </a:lnTo>
                  <a:close/>
                </a:path>
              </a:pathLst>
            </a:custGeom>
            <a:solidFill>
              <a:srgbClr val="000000"/>
            </a:solidFill>
            <a:ln w="12685"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5684F9FD-EEE0-4060-B2EE-3FA5356CD0A4}"/>
                </a:ext>
              </a:extLst>
            </p:cNvPr>
            <p:cNvSpPr/>
            <p:nvPr/>
          </p:nvSpPr>
          <p:spPr>
            <a:xfrm>
              <a:off x="2654821" y="3124029"/>
              <a:ext cx="22767" cy="48140"/>
            </a:xfrm>
            <a:custGeom>
              <a:avLst/>
              <a:gdLst>
                <a:gd name="connsiteX0" fmla="*/ 18818 w 22767"/>
                <a:gd name="connsiteY0" fmla="*/ 38606 h 48140"/>
                <a:gd name="connsiteX1" fmla="*/ 21869 w 22767"/>
                <a:gd name="connsiteY1" fmla="*/ 18139 h 48140"/>
                <a:gd name="connsiteX2" fmla="*/ 21869 w 22767"/>
                <a:gd name="connsiteY2" fmla="*/ 15597 h 48140"/>
                <a:gd name="connsiteX3" fmla="*/ 22632 w 22767"/>
                <a:gd name="connsiteY3" fmla="*/ 10766 h 48140"/>
                <a:gd name="connsiteX4" fmla="*/ 15258 w 22767"/>
                <a:gd name="connsiteY4" fmla="*/ 87 h 48140"/>
                <a:gd name="connsiteX5" fmla="*/ 9409 w 22767"/>
                <a:gd name="connsiteY5" fmla="*/ 1359 h 48140"/>
                <a:gd name="connsiteX6" fmla="*/ 8010 w 22767"/>
                <a:gd name="connsiteY6" fmla="*/ 2503 h 48140"/>
                <a:gd name="connsiteX7" fmla="*/ 6866 w 22767"/>
                <a:gd name="connsiteY7" fmla="*/ 3774 h 48140"/>
                <a:gd name="connsiteX8" fmla="*/ 5976 w 22767"/>
                <a:gd name="connsiteY8" fmla="*/ 5300 h 48140"/>
                <a:gd name="connsiteX9" fmla="*/ 5976 w 22767"/>
                <a:gd name="connsiteY9" fmla="*/ 6952 h 48140"/>
                <a:gd name="connsiteX10" fmla="*/ 5976 w 22767"/>
                <a:gd name="connsiteY10" fmla="*/ 7842 h 48140"/>
                <a:gd name="connsiteX11" fmla="*/ 0 w 22767"/>
                <a:gd name="connsiteY11" fmla="*/ 48140 h 48140"/>
                <a:gd name="connsiteX12" fmla="*/ 4196 w 22767"/>
                <a:gd name="connsiteY12" fmla="*/ 46106 h 4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67" h="48140">
                  <a:moveTo>
                    <a:pt x="18818" y="38606"/>
                  </a:moveTo>
                  <a:lnTo>
                    <a:pt x="21869" y="18139"/>
                  </a:lnTo>
                  <a:lnTo>
                    <a:pt x="21869" y="15597"/>
                  </a:lnTo>
                  <a:lnTo>
                    <a:pt x="22632" y="10766"/>
                  </a:lnTo>
                  <a:cubicBezTo>
                    <a:pt x="23484" y="5795"/>
                    <a:pt x="20216" y="1054"/>
                    <a:pt x="15258" y="87"/>
                  </a:cubicBezTo>
                  <a:cubicBezTo>
                    <a:pt x="13223" y="-205"/>
                    <a:pt x="11138" y="240"/>
                    <a:pt x="9409" y="1359"/>
                  </a:cubicBezTo>
                  <a:lnTo>
                    <a:pt x="8010" y="2503"/>
                  </a:lnTo>
                  <a:lnTo>
                    <a:pt x="6866" y="3774"/>
                  </a:lnTo>
                  <a:cubicBezTo>
                    <a:pt x="6535" y="4270"/>
                    <a:pt x="6243" y="4778"/>
                    <a:pt x="5976" y="5300"/>
                  </a:cubicBezTo>
                  <a:cubicBezTo>
                    <a:pt x="5925" y="5846"/>
                    <a:pt x="5925" y="6405"/>
                    <a:pt x="5976" y="6952"/>
                  </a:cubicBezTo>
                  <a:lnTo>
                    <a:pt x="5976" y="7842"/>
                  </a:lnTo>
                  <a:lnTo>
                    <a:pt x="0" y="48140"/>
                  </a:lnTo>
                  <a:lnTo>
                    <a:pt x="4196" y="46106"/>
                  </a:lnTo>
                  <a:close/>
                </a:path>
              </a:pathLst>
            </a:custGeom>
            <a:solidFill>
              <a:srgbClr val="000000"/>
            </a:solidFill>
            <a:ln w="12685"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E6B2BE32-B3B2-46D7-9ECB-EC47CF8A6DA0}"/>
                </a:ext>
              </a:extLst>
            </p:cNvPr>
            <p:cNvSpPr/>
            <p:nvPr/>
          </p:nvSpPr>
          <p:spPr>
            <a:xfrm>
              <a:off x="4114753" y="4482944"/>
              <a:ext cx="57054" cy="163645"/>
            </a:xfrm>
            <a:custGeom>
              <a:avLst/>
              <a:gdLst>
                <a:gd name="connsiteX0" fmla="*/ 42942 w 57054"/>
                <a:gd name="connsiteY0" fmla="*/ 4322 h 163645"/>
                <a:gd name="connsiteX1" fmla="*/ 41543 w 57054"/>
                <a:gd name="connsiteY1" fmla="*/ 3178 h 163645"/>
                <a:gd name="connsiteX2" fmla="*/ 37347 w 57054"/>
                <a:gd name="connsiteY2" fmla="*/ 5466 h 163645"/>
                <a:gd name="connsiteX3" fmla="*/ 220 w 57054"/>
                <a:gd name="connsiteY3" fmla="*/ 152040 h 163645"/>
                <a:gd name="connsiteX4" fmla="*/ 1110 w 57054"/>
                <a:gd name="connsiteY4" fmla="*/ 158778 h 163645"/>
                <a:gd name="connsiteX5" fmla="*/ 6578 w 57054"/>
                <a:gd name="connsiteY5" fmla="*/ 163354 h 163645"/>
                <a:gd name="connsiteX6" fmla="*/ 17296 w 57054"/>
                <a:gd name="connsiteY6" fmla="*/ 157112 h 163645"/>
                <a:gd name="connsiteX7" fmla="*/ 17385 w 57054"/>
                <a:gd name="connsiteY7" fmla="*/ 156744 h 163645"/>
                <a:gd name="connsiteX8" fmla="*/ 57055 w 57054"/>
                <a:gd name="connsiteY8" fmla="*/ 0 h 163645"/>
                <a:gd name="connsiteX9" fmla="*/ 55275 w 57054"/>
                <a:gd name="connsiteY9" fmla="*/ 3305 h 163645"/>
                <a:gd name="connsiteX10" fmla="*/ 43501 w 57054"/>
                <a:gd name="connsiteY10" fmla="*/ 4792 h 163645"/>
                <a:gd name="connsiteX11" fmla="*/ 42942 w 57054"/>
                <a:gd name="connsiteY11" fmla="*/ 4322 h 16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54" h="163645">
                  <a:moveTo>
                    <a:pt x="42942" y="4322"/>
                  </a:moveTo>
                  <a:lnTo>
                    <a:pt x="41543" y="3178"/>
                  </a:lnTo>
                  <a:lnTo>
                    <a:pt x="37347" y="5466"/>
                  </a:lnTo>
                  <a:lnTo>
                    <a:pt x="220" y="152040"/>
                  </a:lnTo>
                  <a:cubicBezTo>
                    <a:pt x="-263" y="154315"/>
                    <a:pt x="55" y="156706"/>
                    <a:pt x="1110" y="158778"/>
                  </a:cubicBezTo>
                  <a:cubicBezTo>
                    <a:pt x="2216" y="161002"/>
                    <a:pt x="4200" y="162655"/>
                    <a:pt x="6578" y="163354"/>
                  </a:cubicBezTo>
                  <a:cubicBezTo>
                    <a:pt x="11269" y="164587"/>
                    <a:pt x="16063" y="161790"/>
                    <a:pt x="17296" y="157112"/>
                  </a:cubicBezTo>
                  <a:cubicBezTo>
                    <a:pt x="17334" y="156985"/>
                    <a:pt x="17360" y="156871"/>
                    <a:pt x="17385" y="156744"/>
                  </a:cubicBezTo>
                  <a:lnTo>
                    <a:pt x="57055" y="0"/>
                  </a:lnTo>
                  <a:cubicBezTo>
                    <a:pt x="56699" y="1208"/>
                    <a:pt x="56088" y="2339"/>
                    <a:pt x="55275" y="3305"/>
                  </a:cubicBezTo>
                  <a:cubicBezTo>
                    <a:pt x="52440" y="6966"/>
                    <a:pt x="47163" y="7640"/>
                    <a:pt x="43501" y="4792"/>
                  </a:cubicBezTo>
                  <a:cubicBezTo>
                    <a:pt x="43310" y="4653"/>
                    <a:pt x="43120" y="4487"/>
                    <a:pt x="42942" y="4322"/>
                  </a:cubicBezTo>
                  <a:close/>
                </a:path>
              </a:pathLst>
            </a:custGeom>
            <a:solidFill>
              <a:srgbClr val="000000"/>
            </a:solidFill>
            <a:ln w="1268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E7913AB2-D62B-42D8-BD69-89266F241AB6}"/>
                </a:ext>
              </a:extLst>
            </p:cNvPr>
            <p:cNvSpPr/>
            <p:nvPr/>
          </p:nvSpPr>
          <p:spPr>
            <a:xfrm>
              <a:off x="4171299" y="4481418"/>
              <a:ext cx="47" cy="1525"/>
            </a:xfrm>
            <a:custGeom>
              <a:avLst/>
              <a:gdLst>
                <a:gd name="connsiteX0" fmla="*/ 0 w 47"/>
                <a:gd name="connsiteY0" fmla="*/ 1144 h 1525"/>
                <a:gd name="connsiteX1" fmla="*/ 0 w 47"/>
                <a:gd name="connsiteY1" fmla="*/ 0 h 1525"/>
                <a:gd name="connsiteX2" fmla="*/ 0 w 47"/>
                <a:gd name="connsiteY2" fmla="*/ 1526 h 1525"/>
              </a:gdLst>
              <a:ahLst/>
              <a:cxnLst>
                <a:cxn ang="0">
                  <a:pos x="connsiteX0" y="connsiteY0"/>
                </a:cxn>
                <a:cxn ang="0">
                  <a:pos x="connsiteX1" y="connsiteY1"/>
                </a:cxn>
                <a:cxn ang="0">
                  <a:pos x="connsiteX2" y="connsiteY2"/>
                </a:cxn>
              </a:cxnLst>
              <a:rect l="l" t="t" r="r" b="b"/>
              <a:pathLst>
                <a:path w="47" h="1525">
                  <a:moveTo>
                    <a:pt x="0" y="1144"/>
                  </a:moveTo>
                  <a:cubicBezTo>
                    <a:pt x="64" y="763"/>
                    <a:pt x="64" y="381"/>
                    <a:pt x="0" y="0"/>
                  </a:cubicBezTo>
                  <a:cubicBezTo>
                    <a:pt x="0" y="0"/>
                    <a:pt x="0" y="1017"/>
                    <a:pt x="0" y="1526"/>
                  </a:cubicBezTo>
                  <a:close/>
                </a:path>
              </a:pathLst>
            </a:custGeom>
            <a:solidFill>
              <a:srgbClr val="000000"/>
            </a:solidFill>
            <a:ln w="1268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75B62D17-0C9C-4644-9975-2CEF7BAE5EA1}"/>
                </a:ext>
              </a:extLst>
            </p:cNvPr>
            <p:cNvSpPr/>
            <p:nvPr/>
          </p:nvSpPr>
          <p:spPr>
            <a:xfrm>
              <a:off x="4152735" y="4483579"/>
              <a:ext cx="381" cy="508"/>
            </a:xfrm>
            <a:custGeom>
              <a:avLst/>
              <a:gdLst>
                <a:gd name="connsiteX0" fmla="*/ 382 w 381"/>
                <a:gd name="connsiteY0" fmla="*/ 254 h 508"/>
                <a:gd name="connsiteX1" fmla="*/ 127 w 381"/>
                <a:gd name="connsiteY1" fmla="*/ 0 h 508"/>
                <a:gd name="connsiteX2" fmla="*/ 0 w 381"/>
                <a:gd name="connsiteY2" fmla="*/ 509 h 508"/>
                <a:gd name="connsiteX3" fmla="*/ 382 w 381"/>
                <a:gd name="connsiteY3" fmla="*/ 254 h 508"/>
              </a:gdLst>
              <a:ahLst/>
              <a:cxnLst>
                <a:cxn ang="0">
                  <a:pos x="connsiteX0" y="connsiteY0"/>
                </a:cxn>
                <a:cxn ang="0">
                  <a:pos x="connsiteX1" y="connsiteY1"/>
                </a:cxn>
                <a:cxn ang="0">
                  <a:pos x="connsiteX2" y="connsiteY2"/>
                </a:cxn>
                <a:cxn ang="0">
                  <a:pos x="connsiteX3" y="connsiteY3"/>
                </a:cxn>
              </a:cxnLst>
              <a:rect l="l" t="t" r="r" b="b"/>
              <a:pathLst>
                <a:path w="381" h="508">
                  <a:moveTo>
                    <a:pt x="382" y="254"/>
                  </a:moveTo>
                  <a:lnTo>
                    <a:pt x="127" y="0"/>
                  </a:lnTo>
                  <a:lnTo>
                    <a:pt x="0" y="509"/>
                  </a:lnTo>
                  <a:lnTo>
                    <a:pt x="382" y="254"/>
                  </a:lnTo>
                  <a:close/>
                </a:path>
              </a:pathLst>
            </a:custGeom>
            <a:solidFill>
              <a:srgbClr val="000000"/>
            </a:solidFill>
            <a:ln w="1268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D19CBC47-B3FB-4E16-8970-8E13556C1BD8}"/>
                </a:ext>
              </a:extLst>
            </p:cNvPr>
            <p:cNvSpPr/>
            <p:nvPr/>
          </p:nvSpPr>
          <p:spPr>
            <a:xfrm>
              <a:off x="2051383" y="1946695"/>
              <a:ext cx="208902" cy="177592"/>
            </a:xfrm>
            <a:custGeom>
              <a:avLst/>
              <a:gdLst>
                <a:gd name="connsiteX0" fmla="*/ 208012 w 208902"/>
                <a:gd name="connsiteY0" fmla="*/ 175558 h 177592"/>
                <a:gd name="connsiteX1" fmla="*/ 208012 w 208902"/>
                <a:gd name="connsiteY1" fmla="*/ 175558 h 177592"/>
                <a:gd name="connsiteX2" fmla="*/ 208012 w 208902"/>
                <a:gd name="connsiteY2" fmla="*/ 175558 h 177592"/>
                <a:gd name="connsiteX3" fmla="*/ 208012 w 208902"/>
                <a:gd name="connsiteY3" fmla="*/ 175558 h 177592"/>
                <a:gd name="connsiteX4" fmla="*/ 208902 w 208902"/>
                <a:gd name="connsiteY4" fmla="*/ 175558 h 177592"/>
                <a:gd name="connsiteX5" fmla="*/ 1272 w 208902"/>
                <a:gd name="connsiteY5" fmla="*/ 0 h 177592"/>
                <a:gd name="connsiteX6" fmla="*/ 0 w 208902"/>
                <a:gd name="connsiteY6" fmla="*/ 0 h 177592"/>
                <a:gd name="connsiteX7" fmla="*/ 0 w 208902"/>
                <a:gd name="connsiteY7" fmla="*/ 2415 h 177592"/>
                <a:gd name="connsiteX8" fmla="*/ 207249 w 208902"/>
                <a:gd name="connsiteY8" fmla="*/ 177592 h 177592"/>
                <a:gd name="connsiteX9" fmla="*/ 207249 w 208902"/>
                <a:gd name="connsiteY9" fmla="*/ 176702 h 17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02" h="177592">
                  <a:moveTo>
                    <a:pt x="208012" y="175558"/>
                  </a:moveTo>
                  <a:lnTo>
                    <a:pt x="208012" y="175558"/>
                  </a:lnTo>
                  <a:lnTo>
                    <a:pt x="208012" y="175558"/>
                  </a:lnTo>
                  <a:lnTo>
                    <a:pt x="208012" y="175558"/>
                  </a:lnTo>
                  <a:lnTo>
                    <a:pt x="208902" y="175558"/>
                  </a:lnTo>
                  <a:lnTo>
                    <a:pt x="1272" y="0"/>
                  </a:lnTo>
                  <a:lnTo>
                    <a:pt x="0" y="0"/>
                  </a:lnTo>
                  <a:lnTo>
                    <a:pt x="0" y="2415"/>
                  </a:lnTo>
                  <a:lnTo>
                    <a:pt x="207249" y="177592"/>
                  </a:lnTo>
                  <a:lnTo>
                    <a:pt x="207249" y="176702"/>
                  </a:lnTo>
                  <a:close/>
                </a:path>
              </a:pathLst>
            </a:custGeom>
            <a:solidFill>
              <a:srgbClr val="000000"/>
            </a:solidFill>
            <a:ln w="12685"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FA4C8012-A6B4-42FD-AB40-B41034227CF3}"/>
                </a:ext>
              </a:extLst>
            </p:cNvPr>
            <p:cNvSpPr/>
            <p:nvPr/>
          </p:nvSpPr>
          <p:spPr>
            <a:xfrm>
              <a:off x="2260285" y="1980891"/>
              <a:ext cx="307440" cy="143014"/>
            </a:xfrm>
            <a:custGeom>
              <a:avLst/>
              <a:gdLst>
                <a:gd name="connsiteX0" fmla="*/ 0 w 307440"/>
                <a:gd name="connsiteY0" fmla="*/ 140218 h 143014"/>
                <a:gd name="connsiteX1" fmla="*/ 0 w 307440"/>
                <a:gd name="connsiteY1" fmla="*/ 140218 h 143014"/>
                <a:gd name="connsiteX2" fmla="*/ 1017 w 307440"/>
                <a:gd name="connsiteY2" fmla="*/ 140218 h 143014"/>
                <a:gd name="connsiteX3" fmla="*/ 2301 w 307440"/>
                <a:gd name="connsiteY3" fmla="*/ 141959 h 143014"/>
                <a:gd name="connsiteX4" fmla="*/ 2289 w 307440"/>
                <a:gd name="connsiteY4" fmla="*/ 141997 h 143014"/>
                <a:gd name="connsiteX5" fmla="*/ 2289 w 307440"/>
                <a:gd name="connsiteY5" fmla="*/ 143014 h 143014"/>
                <a:gd name="connsiteX6" fmla="*/ 307440 w 307440"/>
                <a:gd name="connsiteY6" fmla="*/ 3178 h 143014"/>
                <a:gd name="connsiteX7" fmla="*/ 307440 w 307440"/>
                <a:gd name="connsiteY7" fmla="*/ 1017 h 143014"/>
                <a:gd name="connsiteX8" fmla="*/ 306296 w 307440"/>
                <a:gd name="connsiteY8" fmla="*/ 0 h 143014"/>
                <a:gd name="connsiteX9" fmla="*/ 1144 w 307440"/>
                <a:gd name="connsiteY9" fmla="*/ 139836 h 14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440" h="143014">
                  <a:moveTo>
                    <a:pt x="0" y="140218"/>
                  </a:moveTo>
                  <a:lnTo>
                    <a:pt x="0" y="140218"/>
                  </a:lnTo>
                  <a:cubicBezTo>
                    <a:pt x="331" y="140091"/>
                    <a:pt x="687" y="140091"/>
                    <a:pt x="1017" y="140218"/>
                  </a:cubicBezTo>
                  <a:cubicBezTo>
                    <a:pt x="1856" y="140345"/>
                    <a:pt x="2428" y="141120"/>
                    <a:pt x="2301" y="141959"/>
                  </a:cubicBezTo>
                  <a:cubicBezTo>
                    <a:pt x="2289" y="141972"/>
                    <a:pt x="2289" y="141985"/>
                    <a:pt x="2289" y="141997"/>
                  </a:cubicBezTo>
                  <a:lnTo>
                    <a:pt x="2289" y="143014"/>
                  </a:lnTo>
                  <a:lnTo>
                    <a:pt x="307440" y="3178"/>
                  </a:lnTo>
                  <a:lnTo>
                    <a:pt x="307440" y="1017"/>
                  </a:lnTo>
                  <a:lnTo>
                    <a:pt x="306296" y="0"/>
                  </a:lnTo>
                  <a:lnTo>
                    <a:pt x="1144" y="139836"/>
                  </a:lnTo>
                  <a:close/>
                </a:path>
              </a:pathLst>
            </a:custGeom>
            <a:solidFill>
              <a:srgbClr val="000000"/>
            </a:solidFill>
            <a:ln w="12685"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7D10CA73-7EA2-457D-8D84-14FEE596D8FF}"/>
                </a:ext>
              </a:extLst>
            </p:cNvPr>
            <p:cNvSpPr/>
            <p:nvPr/>
          </p:nvSpPr>
          <p:spPr>
            <a:xfrm>
              <a:off x="2357044" y="1791476"/>
              <a:ext cx="225303" cy="191067"/>
            </a:xfrm>
            <a:custGeom>
              <a:avLst/>
              <a:gdLst>
                <a:gd name="connsiteX0" fmla="*/ 9409 w 225303"/>
                <a:gd name="connsiteY0" fmla="*/ 3051 h 191067"/>
                <a:gd name="connsiteX1" fmla="*/ 5099 w 225303"/>
                <a:gd name="connsiteY1" fmla="*/ 15638 h 191067"/>
                <a:gd name="connsiteX2" fmla="*/ 4831 w 225303"/>
                <a:gd name="connsiteY2" fmla="*/ 15763 h 191067"/>
                <a:gd name="connsiteX3" fmla="*/ 0 w 225303"/>
                <a:gd name="connsiteY3" fmla="*/ 17925 h 191067"/>
                <a:gd name="connsiteX4" fmla="*/ 209283 w 225303"/>
                <a:gd name="connsiteY4" fmla="*/ 190050 h 191067"/>
                <a:gd name="connsiteX5" fmla="*/ 210428 w 225303"/>
                <a:gd name="connsiteY5" fmla="*/ 191067 h 191067"/>
                <a:gd name="connsiteX6" fmla="*/ 210428 w 225303"/>
                <a:gd name="connsiteY6" fmla="*/ 189033 h 191067"/>
                <a:gd name="connsiteX7" fmla="*/ 210428 w 225303"/>
                <a:gd name="connsiteY7" fmla="*/ 185728 h 191067"/>
                <a:gd name="connsiteX8" fmla="*/ 220218 w 225303"/>
                <a:gd name="connsiteY8" fmla="*/ 177821 h 191067"/>
                <a:gd name="connsiteX9" fmla="*/ 220472 w 225303"/>
                <a:gd name="connsiteY9" fmla="*/ 177846 h 191067"/>
                <a:gd name="connsiteX10" fmla="*/ 225304 w 225303"/>
                <a:gd name="connsiteY10" fmla="*/ 180516 h 191067"/>
                <a:gd name="connsiteX11" fmla="*/ 225304 w 225303"/>
                <a:gd name="connsiteY11" fmla="*/ 179626 h 191067"/>
                <a:gd name="connsiteX12" fmla="*/ 6611 w 225303"/>
                <a:gd name="connsiteY12" fmla="*/ 0 h 191067"/>
                <a:gd name="connsiteX13" fmla="*/ 5594 w 225303"/>
                <a:gd name="connsiteY13" fmla="*/ 0 h 191067"/>
                <a:gd name="connsiteX14" fmla="*/ 9409 w 225303"/>
                <a:gd name="connsiteY14" fmla="*/ 3051 h 19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303" h="191067">
                  <a:moveTo>
                    <a:pt x="9409" y="3051"/>
                  </a:moveTo>
                  <a:cubicBezTo>
                    <a:pt x="11697" y="7716"/>
                    <a:pt x="9765" y="13352"/>
                    <a:pt x="5099" y="15638"/>
                  </a:cubicBezTo>
                  <a:cubicBezTo>
                    <a:pt x="5010" y="15681"/>
                    <a:pt x="4920" y="15723"/>
                    <a:pt x="4831" y="15763"/>
                  </a:cubicBezTo>
                  <a:lnTo>
                    <a:pt x="0" y="17925"/>
                  </a:lnTo>
                  <a:lnTo>
                    <a:pt x="209283" y="190050"/>
                  </a:lnTo>
                  <a:lnTo>
                    <a:pt x="210428" y="191067"/>
                  </a:lnTo>
                  <a:lnTo>
                    <a:pt x="210428" y="189033"/>
                  </a:lnTo>
                  <a:lnTo>
                    <a:pt x="210428" y="185728"/>
                  </a:lnTo>
                  <a:cubicBezTo>
                    <a:pt x="210949" y="180847"/>
                    <a:pt x="215323" y="177300"/>
                    <a:pt x="220218" y="177821"/>
                  </a:cubicBezTo>
                  <a:cubicBezTo>
                    <a:pt x="220307" y="177821"/>
                    <a:pt x="220383" y="177834"/>
                    <a:pt x="220472" y="177846"/>
                  </a:cubicBezTo>
                  <a:cubicBezTo>
                    <a:pt x="222354" y="178139"/>
                    <a:pt x="224058" y="179080"/>
                    <a:pt x="225304" y="180516"/>
                  </a:cubicBezTo>
                  <a:lnTo>
                    <a:pt x="225304" y="179626"/>
                  </a:lnTo>
                  <a:lnTo>
                    <a:pt x="6611" y="0"/>
                  </a:lnTo>
                  <a:lnTo>
                    <a:pt x="5594" y="0"/>
                  </a:lnTo>
                  <a:cubicBezTo>
                    <a:pt x="7120" y="654"/>
                    <a:pt x="8443" y="1707"/>
                    <a:pt x="9409" y="3051"/>
                  </a:cubicBezTo>
                  <a:close/>
                </a:path>
              </a:pathLst>
            </a:custGeom>
            <a:solidFill>
              <a:srgbClr val="000000"/>
            </a:solidFill>
            <a:ln w="12685"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97362D55-4B10-46A5-B142-CADED326B360}"/>
                </a:ext>
              </a:extLst>
            </p:cNvPr>
            <p:cNvSpPr/>
            <p:nvPr/>
          </p:nvSpPr>
          <p:spPr>
            <a:xfrm>
              <a:off x="1980427" y="2120886"/>
              <a:ext cx="282909" cy="2330409"/>
            </a:xfrm>
            <a:custGeom>
              <a:avLst/>
              <a:gdLst>
                <a:gd name="connsiteX0" fmla="*/ 282020 w 282909"/>
                <a:gd name="connsiteY0" fmla="*/ 1875 h 2330409"/>
                <a:gd name="connsiteX1" fmla="*/ 280787 w 282909"/>
                <a:gd name="connsiteY1" fmla="*/ 108 h 2330409"/>
                <a:gd name="connsiteX2" fmla="*/ 280748 w 282909"/>
                <a:gd name="connsiteY2" fmla="*/ 95 h 2330409"/>
                <a:gd name="connsiteX3" fmla="*/ 279731 w 282909"/>
                <a:gd name="connsiteY3" fmla="*/ 95 h 2330409"/>
                <a:gd name="connsiteX4" fmla="*/ 279731 w 282909"/>
                <a:gd name="connsiteY4" fmla="*/ 95 h 2330409"/>
                <a:gd name="connsiteX5" fmla="*/ 279731 w 282909"/>
                <a:gd name="connsiteY5" fmla="*/ 95 h 2330409"/>
                <a:gd name="connsiteX6" fmla="*/ 279731 w 282909"/>
                <a:gd name="connsiteY6" fmla="*/ 95 h 2330409"/>
                <a:gd name="connsiteX7" fmla="*/ 279731 w 282909"/>
                <a:gd name="connsiteY7" fmla="*/ 985 h 2330409"/>
                <a:gd name="connsiteX8" fmla="*/ 9 w 282909"/>
                <a:gd name="connsiteY8" fmla="*/ 2327353 h 2330409"/>
                <a:gd name="connsiteX9" fmla="*/ 9 w 282909"/>
                <a:gd name="connsiteY9" fmla="*/ 2328497 h 2330409"/>
                <a:gd name="connsiteX10" fmla="*/ 1407 w 282909"/>
                <a:gd name="connsiteY10" fmla="*/ 2330404 h 2330409"/>
                <a:gd name="connsiteX11" fmla="*/ 3187 w 282909"/>
                <a:gd name="connsiteY11" fmla="*/ 2328891 h 2330409"/>
                <a:gd name="connsiteX12" fmla="*/ 3187 w 282909"/>
                <a:gd name="connsiteY12" fmla="*/ 2328878 h 2330409"/>
                <a:gd name="connsiteX13" fmla="*/ 3187 w 282909"/>
                <a:gd name="connsiteY13" fmla="*/ 2327861 h 2330409"/>
                <a:gd name="connsiteX14" fmla="*/ 282910 w 282909"/>
                <a:gd name="connsiteY14" fmla="*/ 1494 h 233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2909" h="2330409">
                  <a:moveTo>
                    <a:pt x="282020" y="1875"/>
                  </a:moveTo>
                  <a:cubicBezTo>
                    <a:pt x="282172" y="1049"/>
                    <a:pt x="281626" y="248"/>
                    <a:pt x="280787" y="108"/>
                  </a:cubicBezTo>
                  <a:cubicBezTo>
                    <a:pt x="280774" y="95"/>
                    <a:pt x="280761" y="95"/>
                    <a:pt x="280748" y="95"/>
                  </a:cubicBezTo>
                  <a:cubicBezTo>
                    <a:pt x="280418" y="-32"/>
                    <a:pt x="280062" y="-32"/>
                    <a:pt x="279731" y="95"/>
                  </a:cubicBezTo>
                  <a:lnTo>
                    <a:pt x="279731" y="95"/>
                  </a:lnTo>
                  <a:lnTo>
                    <a:pt x="279731" y="95"/>
                  </a:lnTo>
                  <a:lnTo>
                    <a:pt x="279731" y="95"/>
                  </a:lnTo>
                  <a:lnTo>
                    <a:pt x="279731" y="985"/>
                  </a:lnTo>
                  <a:lnTo>
                    <a:pt x="9" y="2327353"/>
                  </a:lnTo>
                  <a:lnTo>
                    <a:pt x="9" y="2328497"/>
                  </a:lnTo>
                  <a:cubicBezTo>
                    <a:pt x="-80" y="2329400"/>
                    <a:pt x="530" y="2330213"/>
                    <a:pt x="1407" y="2330404"/>
                  </a:cubicBezTo>
                  <a:cubicBezTo>
                    <a:pt x="2323" y="2330480"/>
                    <a:pt x="3111" y="2329793"/>
                    <a:pt x="3187" y="2328891"/>
                  </a:cubicBezTo>
                  <a:cubicBezTo>
                    <a:pt x="3187" y="2328891"/>
                    <a:pt x="3187" y="2328878"/>
                    <a:pt x="3187" y="2328878"/>
                  </a:cubicBezTo>
                  <a:lnTo>
                    <a:pt x="3187" y="2327861"/>
                  </a:lnTo>
                  <a:lnTo>
                    <a:pt x="282910" y="1494"/>
                  </a:lnTo>
                  <a:close/>
                </a:path>
              </a:pathLst>
            </a:custGeom>
            <a:solidFill>
              <a:srgbClr val="000000"/>
            </a:solidFill>
            <a:ln w="12685"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824A2E5D-4595-4E4A-B0C3-8B75F10C9C24}"/>
                </a:ext>
              </a:extLst>
            </p:cNvPr>
            <p:cNvSpPr/>
            <p:nvPr/>
          </p:nvSpPr>
          <p:spPr>
            <a:xfrm>
              <a:off x="1970518" y="1236529"/>
              <a:ext cx="179276" cy="149803"/>
            </a:xfrm>
            <a:custGeom>
              <a:avLst/>
              <a:gdLst>
                <a:gd name="connsiteX0" fmla="*/ 164528 w 179276"/>
                <a:gd name="connsiteY0" fmla="*/ 145227 h 149803"/>
                <a:gd name="connsiteX1" fmla="*/ 174115 w 179276"/>
                <a:gd name="connsiteY1" fmla="*/ 137072 h 149803"/>
                <a:gd name="connsiteX2" fmla="*/ 174318 w 179276"/>
                <a:gd name="connsiteY2" fmla="*/ 137091 h 149803"/>
                <a:gd name="connsiteX3" fmla="*/ 179277 w 179276"/>
                <a:gd name="connsiteY3" fmla="*/ 139761 h 149803"/>
                <a:gd name="connsiteX4" fmla="*/ 178641 w 179276"/>
                <a:gd name="connsiteY4" fmla="*/ 138998 h 149803"/>
                <a:gd name="connsiteX5" fmla="*/ 6739 w 179276"/>
                <a:gd name="connsiteY5" fmla="*/ 51 h 149803"/>
                <a:gd name="connsiteX6" fmla="*/ 5722 w 179276"/>
                <a:gd name="connsiteY6" fmla="*/ 51 h 149803"/>
                <a:gd name="connsiteX7" fmla="*/ 9536 w 179276"/>
                <a:gd name="connsiteY7" fmla="*/ 4374 h 149803"/>
                <a:gd name="connsiteX8" fmla="*/ 4705 w 179276"/>
                <a:gd name="connsiteY8" fmla="*/ 16450 h 149803"/>
                <a:gd name="connsiteX9" fmla="*/ 0 w 179276"/>
                <a:gd name="connsiteY9" fmla="*/ 18484 h 149803"/>
                <a:gd name="connsiteX10" fmla="*/ 162366 w 179276"/>
                <a:gd name="connsiteY10" fmla="*/ 149803 h 149803"/>
                <a:gd name="connsiteX11" fmla="*/ 164146 w 179276"/>
                <a:gd name="connsiteY11" fmla="*/ 149041 h 1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276" h="149803">
                  <a:moveTo>
                    <a:pt x="164528" y="145227"/>
                  </a:moveTo>
                  <a:cubicBezTo>
                    <a:pt x="164922" y="140329"/>
                    <a:pt x="169220" y="136678"/>
                    <a:pt x="174115" y="137072"/>
                  </a:cubicBezTo>
                  <a:cubicBezTo>
                    <a:pt x="174178" y="137078"/>
                    <a:pt x="174254" y="137083"/>
                    <a:pt x="174318" y="137091"/>
                  </a:cubicBezTo>
                  <a:cubicBezTo>
                    <a:pt x="176238" y="137373"/>
                    <a:pt x="177993" y="138318"/>
                    <a:pt x="179277" y="139761"/>
                  </a:cubicBezTo>
                  <a:lnTo>
                    <a:pt x="178641" y="138998"/>
                  </a:lnTo>
                  <a:lnTo>
                    <a:pt x="6739" y="51"/>
                  </a:lnTo>
                  <a:cubicBezTo>
                    <a:pt x="6408" y="-17"/>
                    <a:pt x="6052" y="-17"/>
                    <a:pt x="5722" y="51"/>
                  </a:cubicBezTo>
                  <a:cubicBezTo>
                    <a:pt x="7425" y="1037"/>
                    <a:pt x="8773" y="2555"/>
                    <a:pt x="9536" y="4374"/>
                  </a:cubicBezTo>
                  <a:cubicBezTo>
                    <a:pt x="11418" y="9043"/>
                    <a:pt x="9282" y="14366"/>
                    <a:pt x="4705" y="16450"/>
                  </a:cubicBezTo>
                  <a:lnTo>
                    <a:pt x="0" y="18484"/>
                  </a:lnTo>
                  <a:lnTo>
                    <a:pt x="162366" y="149803"/>
                  </a:lnTo>
                  <a:lnTo>
                    <a:pt x="164146" y="149041"/>
                  </a:lnTo>
                  <a:close/>
                </a:path>
              </a:pathLst>
            </a:custGeom>
            <a:solidFill>
              <a:srgbClr val="000000"/>
            </a:solidFill>
            <a:ln w="12685"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57E81DAD-C4D8-441F-9AE3-F3F45A4B381E}"/>
                </a:ext>
              </a:extLst>
            </p:cNvPr>
            <p:cNvSpPr/>
            <p:nvPr/>
          </p:nvSpPr>
          <p:spPr>
            <a:xfrm>
              <a:off x="1792767" y="1384934"/>
              <a:ext cx="341515" cy="151150"/>
            </a:xfrm>
            <a:custGeom>
              <a:avLst/>
              <a:gdLst>
                <a:gd name="connsiteX0" fmla="*/ 890 w 341515"/>
                <a:gd name="connsiteY0" fmla="*/ 150133 h 151150"/>
                <a:gd name="connsiteX1" fmla="*/ 890 w 341515"/>
                <a:gd name="connsiteY1" fmla="*/ 150133 h 151150"/>
                <a:gd name="connsiteX2" fmla="*/ 890 w 341515"/>
                <a:gd name="connsiteY2" fmla="*/ 151150 h 151150"/>
                <a:gd name="connsiteX3" fmla="*/ 341516 w 341515"/>
                <a:gd name="connsiteY3" fmla="*/ 3687 h 151150"/>
                <a:gd name="connsiteX4" fmla="*/ 341516 w 341515"/>
                <a:gd name="connsiteY4" fmla="*/ 0 h 151150"/>
                <a:gd name="connsiteX5" fmla="*/ 339736 w 341515"/>
                <a:gd name="connsiteY5" fmla="*/ 763 h 151150"/>
                <a:gd name="connsiteX6" fmla="*/ 0 w 341515"/>
                <a:gd name="connsiteY6" fmla="*/ 148226 h 151150"/>
                <a:gd name="connsiteX7" fmla="*/ 763 w 341515"/>
                <a:gd name="connsiteY7" fmla="*/ 148862 h 151150"/>
                <a:gd name="connsiteX8" fmla="*/ 763 w 341515"/>
                <a:gd name="connsiteY8" fmla="*/ 148862 h 151150"/>
                <a:gd name="connsiteX9" fmla="*/ 890 w 341515"/>
                <a:gd name="connsiteY9" fmla="*/ 150133 h 15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515" h="151150">
                  <a:moveTo>
                    <a:pt x="890" y="150133"/>
                  </a:moveTo>
                  <a:lnTo>
                    <a:pt x="890" y="150133"/>
                  </a:lnTo>
                  <a:lnTo>
                    <a:pt x="890" y="151150"/>
                  </a:lnTo>
                  <a:lnTo>
                    <a:pt x="341516" y="3687"/>
                  </a:lnTo>
                  <a:lnTo>
                    <a:pt x="341516" y="0"/>
                  </a:lnTo>
                  <a:lnTo>
                    <a:pt x="339736" y="763"/>
                  </a:lnTo>
                  <a:lnTo>
                    <a:pt x="0" y="148226"/>
                  </a:lnTo>
                  <a:lnTo>
                    <a:pt x="763" y="148862"/>
                  </a:lnTo>
                  <a:lnTo>
                    <a:pt x="763" y="148862"/>
                  </a:lnTo>
                  <a:cubicBezTo>
                    <a:pt x="763" y="148862"/>
                    <a:pt x="890" y="149879"/>
                    <a:pt x="890" y="150133"/>
                  </a:cubicBezTo>
                  <a:close/>
                </a:path>
              </a:pathLst>
            </a:custGeom>
            <a:solidFill>
              <a:srgbClr val="000000"/>
            </a:solidFill>
            <a:ln w="12685"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D929B4F4-8CAF-4409-BC24-C02DE2CBACF6}"/>
                </a:ext>
              </a:extLst>
            </p:cNvPr>
            <p:cNvSpPr/>
            <p:nvPr/>
          </p:nvSpPr>
          <p:spPr>
            <a:xfrm>
              <a:off x="1630274" y="1399045"/>
              <a:ext cx="162874" cy="136276"/>
            </a:xfrm>
            <a:custGeom>
              <a:avLst/>
              <a:gdLst>
                <a:gd name="connsiteX0" fmla="*/ 160332 w 162874"/>
                <a:gd name="connsiteY0" fmla="*/ 135895 h 136276"/>
                <a:gd name="connsiteX1" fmla="*/ 161985 w 162874"/>
                <a:gd name="connsiteY1" fmla="*/ 134370 h 136276"/>
                <a:gd name="connsiteX2" fmla="*/ 162875 w 162874"/>
                <a:gd name="connsiteY2" fmla="*/ 134370 h 136276"/>
                <a:gd name="connsiteX3" fmla="*/ 162875 w 162874"/>
                <a:gd name="connsiteY3" fmla="*/ 134370 h 136276"/>
                <a:gd name="connsiteX4" fmla="*/ 162112 w 162874"/>
                <a:gd name="connsiteY4" fmla="*/ 133734 h 136276"/>
                <a:gd name="connsiteX5" fmla="*/ 1272 w 162874"/>
                <a:gd name="connsiteY5" fmla="*/ 0 h 136276"/>
                <a:gd name="connsiteX6" fmla="*/ 0 w 162874"/>
                <a:gd name="connsiteY6" fmla="*/ 0 h 136276"/>
                <a:gd name="connsiteX7" fmla="*/ 0 w 162874"/>
                <a:gd name="connsiteY7" fmla="*/ 2415 h 136276"/>
                <a:gd name="connsiteX8" fmla="*/ 160332 w 162874"/>
                <a:gd name="connsiteY8" fmla="*/ 136277 h 13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74" h="136276">
                  <a:moveTo>
                    <a:pt x="160332" y="135895"/>
                  </a:moveTo>
                  <a:cubicBezTo>
                    <a:pt x="160446" y="135059"/>
                    <a:pt x="161146" y="134422"/>
                    <a:pt x="161985" y="134370"/>
                  </a:cubicBezTo>
                  <a:cubicBezTo>
                    <a:pt x="161985" y="134370"/>
                    <a:pt x="162748" y="134370"/>
                    <a:pt x="162875" y="134370"/>
                  </a:cubicBezTo>
                  <a:lnTo>
                    <a:pt x="162875" y="134370"/>
                  </a:lnTo>
                  <a:lnTo>
                    <a:pt x="162112" y="133734"/>
                  </a:lnTo>
                  <a:lnTo>
                    <a:pt x="1272" y="0"/>
                  </a:lnTo>
                  <a:lnTo>
                    <a:pt x="0" y="0"/>
                  </a:lnTo>
                  <a:lnTo>
                    <a:pt x="0" y="2415"/>
                  </a:lnTo>
                  <a:lnTo>
                    <a:pt x="160332" y="136277"/>
                  </a:lnTo>
                  <a:close/>
                </a:path>
              </a:pathLst>
            </a:custGeom>
            <a:solidFill>
              <a:srgbClr val="000000"/>
            </a:solidFill>
            <a:ln w="12685"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13A96C2C-D554-4AA4-92BF-DE8C644C29FF}"/>
                </a:ext>
              </a:extLst>
            </p:cNvPr>
            <p:cNvSpPr/>
            <p:nvPr/>
          </p:nvSpPr>
          <p:spPr>
            <a:xfrm>
              <a:off x="1575473" y="1391163"/>
              <a:ext cx="54673" cy="464637"/>
            </a:xfrm>
            <a:custGeom>
              <a:avLst/>
              <a:gdLst>
                <a:gd name="connsiteX0" fmla="*/ 17673 w 54673"/>
                <a:gd name="connsiteY0" fmla="*/ 456502 h 464637"/>
                <a:gd name="connsiteX1" fmla="*/ 54673 w 54673"/>
                <a:gd name="connsiteY1" fmla="*/ 10806 h 464637"/>
                <a:gd name="connsiteX2" fmla="*/ 54673 w 54673"/>
                <a:gd name="connsiteY2" fmla="*/ 8390 h 464637"/>
                <a:gd name="connsiteX3" fmla="*/ 49714 w 54673"/>
                <a:gd name="connsiteY3" fmla="*/ 10551 h 464637"/>
                <a:gd name="connsiteX4" fmla="*/ 38258 w 54673"/>
                <a:gd name="connsiteY4" fmla="*/ 5774 h 464637"/>
                <a:gd name="connsiteX5" fmla="*/ 38144 w 54673"/>
                <a:gd name="connsiteY5" fmla="*/ 5466 h 464637"/>
                <a:gd name="connsiteX6" fmla="*/ 38144 w 54673"/>
                <a:gd name="connsiteY6" fmla="*/ 0 h 464637"/>
                <a:gd name="connsiteX7" fmla="*/ 38144 w 54673"/>
                <a:gd name="connsiteY7" fmla="*/ 1144 h 464637"/>
                <a:gd name="connsiteX8" fmla="*/ 0 w 54673"/>
                <a:gd name="connsiteY8" fmla="*/ 464638 h 464637"/>
                <a:gd name="connsiteX9" fmla="*/ 4959 w 54673"/>
                <a:gd name="connsiteY9" fmla="*/ 462477 h 46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73" h="464637">
                  <a:moveTo>
                    <a:pt x="17673" y="456502"/>
                  </a:moveTo>
                  <a:lnTo>
                    <a:pt x="54673" y="10806"/>
                  </a:lnTo>
                  <a:lnTo>
                    <a:pt x="54673" y="8390"/>
                  </a:lnTo>
                  <a:lnTo>
                    <a:pt x="49714" y="10551"/>
                  </a:lnTo>
                  <a:cubicBezTo>
                    <a:pt x="45239" y="12393"/>
                    <a:pt x="40102" y="10255"/>
                    <a:pt x="38258" y="5774"/>
                  </a:cubicBezTo>
                  <a:cubicBezTo>
                    <a:pt x="38220" y="5672"/>
                    <a:pt x="38182" y="5569"/>
                    <a:pt x="38144" y="5466"/>
                  </a:cubicBezTo>
                  <a:cubicBezTo>
                    <a:pt x="37635" y="3679"/>
                    <a:pt x="37635" y="1787"/>
                    <a:pt x="38144" y="0"/>
                  </a:cubicBezTo>
                  <a:cubicBezTo>
                    <a:pt x="38080" y="379"/>
                    <a:pt x="38080" y="765"/>
                    <a:pt x="38144" y="1144"/>
                  </a:cubicBezTo>
                  <a:lnTo>
                    <a:pt x="0" y="464638"/>
                  </a:lnTo>
                  <a:lnTo>
                    <a:pt x="4959" y="462477"/>
                  </a:lnTo>
                  <a:close/>
                </a:path>
              </a:pathLst>
            </a:custGeom>
            <a:solidFill>
              <a:srgbClr val="000000"/>
            </a:solidFill>
            <a:ln w="12685"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075B686E-6D6E-4910-A87E-3F56D53364BD}"/>
                </a:ext>
              </a:extLst>
            </p:cNvPr>
            <p:cNvSpPr/>
            <p:nvPr/>
          </p:nvSpPr>
          <p:spPr>
            <a:xfrm>
              <a:off x="1761743" y="1535195"/>
              <a:ext cx="31913" cy="315394"/>
            </a:xfrm>
            <a:custGeom>
              <a:avLst/>
              <a:gdLst>
                <a:gd name="connsiteX0" fmla="*/ 31914 w 31913"/>
                <a:gd name="connsiteY0" fmla="*/ 1017 h 315394"/>
                <a:gd name="connsiteX1" fmla="*/ 31914 w 31913"/>
                <a:gd name="connsiteY1" fmla="*/ 0 h 315394"/>
                <a:gd name="connsiteX2" fmla="*/ 31914 w 31913"/>
                <a:gd name="connsiteY2" fmla="*/ 0 h 315394"/>
                <a:gd name="connsiteX3" fmla="*/ 31914 w 31913"/>
                <a:gd name="connsiteY3" fmla="*/ 0 h 315394"/>
                <a:gd name="connsiteX4" fmla="*/ 31024 w 31913"/>
                <a:gd name="connsiteY4" fmla="*/ 0 h 315394"/>
                <a:gd name="connsiteX5" fmla="*/ 29371 w 31913"/>
                <a:gd name="connsiteY5" fmla="*/ 1526 h 315394"/>
                <a:gd name="connsiteX6" fmla="*/ 29371 w 31913"/>
                <a:gd name="connsiteY6" fmla="*/ 2415 h 315394"/>
                <a:gd name="connsiteX7" fmla="*/ 0 w 31913"/>
                <a:gd name="connsiteY7" fmla="*/ 312852 h 315394"/>
                <a:gd name="connsiteX8" fmla="*/ 2797 w 31913"/>
                <a:gd name="connsiteY8" fmla="*/ 315394 h 3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13" h="315394">
                  <a:moveTo>
                    <a:pt x="31914" y="1017"/>
                  </a:moveTo>
                  <a:lnTo>
                    <a:pt x="31914" y="0"/>
                  </a:lnTo>
                  <a:lnTo>
                    <a:pt x="31914" y="0"/>
                  </a:lnTo>
                  <a:cubicBezTo>
                    <a:pt x="31914" y="0"/>
                    <a:pt x="31914" y="0"/>
                    <a:pt x="31914" y="0"/>
                  </a:cubicBezTo>
                  <a:cubicBezTo>
                    <a:pt x="31914" y="0"/>
                    <a:pt x="31914" y="0"/>
                    <a:pt x="31024" y="0"/>
                  </a:cubicBezTo>
                  <a:cubicBezTo>
                    <a:pt x="30185" y="52"/>
                    <a:pt x="29485" y="689"/>
                    <a:pt x="29371" y="1526"/>
                  </a:cubicBezTo>
                  <a:lnTo>
                    <a:pt x="29371" y="2415"/>
                  </a:lnTo>
                  <a:lnTo>
                    <a:pt x="0" y="312852"/>
                  </a:lnTo>
                  <a:lnTo>
                    <a:pt x="2797" y="315394"/>
                  </a:lnTo>
                  <a:close/>
                </a:path>
              </a:pathLst>
            </a:custGeom>
            <a:solidFill>
              <a:srgbClr val="000000"/>
            </a:solidFill>
            <a:ln w="12685"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E16667BC-C42C-475C-9F7B-07AF42F51598}"/>
                </a:ext>
              </a:extLst>
            </p:cNvPr>
            <p:cNvSpPr/>
            <p:nvPr/>
          </p:nvSpPr>
          <p:spPr>
            <a:xfrm>
              <a:off x="2585018" y="1918092"/>
              <a:ext cx="126510" cy="60765"/>
            </a:xfrm>
            <a:custGeom>
              <a:avLst/>
              <a:gdLst>
                <a:gd name="connsiteX0" fmla="*/ 636 w 126510"/>
                <a:gd name="connsiteY0" fmla="*/ 60765 h 60765"/>
                <a:gd name="connsiteX1" fmla="*/ 126511 w 126510"/>
                <a:gd name="connsiteY1" fmla="*/ 3178 h 60765"/>
                <a:gd name="connsiteX2" fmla="*/ 126511 w 126510"/>
                <a:gd name="connsiteY2" fmla="*/ 890 h 60765"/>
                <a:gd name="connsiteX3" fmla="*/ 125367 w 126510"/>
                <a:gd name="connsiteY3" fmla="*/ 0 h 60765"/>
                <a:gd name="connsiteX4" fmla="*/ 0 w 126510"/>
                <a:gd name="connsiteY4" fmla="*/ 57333 h 60765"/>
                <a:gd name="connsiteX5" fmla="*/ 636 w 126510"/>
                <a:gd name="connsiteY5" fmla="*/ 60765 h 6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10" h="60765">
                  <a:moveTo>
                    <a:pt x="636" y="60765"/>
                  </a:moveTo>
                  <a:lnTo>
                    <a:pt x="126511" y="3178"/>
                  </a:lnTo>
                  <a:lnTo>
                    <a:pt x="126511" y="890"/>
                  </a:lnTo>
                  <a:lnTo>
                    <a:pt x="125367" y="0"/>
                  </a:lnTo>
                  <a:lnTo>
                    <a:pt x="0" y="57333"/>
                  </a:lnTo>
                  <a:cubicBezTo>
                    <a:pt x="470" y="58413"/>
                    <a:pt x="687" y="59583"/>
                    <a:pt x="636" y="60765"/>
                  </a:cubicBezTo>
                  <a:close/>
                </a:path>
              </a:pathLst>
            </a:custGeom>
            <a:solidFill>
              <a:srgbClr val="000000"/>
            </a:solidFill>
            <a:ln w="12685"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C3591B8E-12A4-4DB0-BD07-027EF7515982}"/>
                </a:ext>
              </a:extLst>
            </p:cNvPr>
            <p:cNvSpPr/>
            <p:nvPr/>
          </p:nvSpPr>
          <p:spPr>
            <a:xfrm>
              <a:off x="2097029" y="1841436"/>
              <a:ext cx="50858" cy="42586"/>
            </a:xfrm>
            <a:custGeom>
              <a:avLst/>
              <a:gdLst>
                <a:gd name="connsiteX0" fmla="*/ 254 w 50858"/>
                <a:gd name="connsiteY0" fmla="*/ 509 h 42586"/>
                <a:gd name="connsiteX1" fmla="*/ 0 w 50858"/>
                <a:gd name="connsiteY1" fmla="*/ 2924 h 42586"/>
                <a:gd name="connsiteX2" fmla="*/ 47553 w 50858"/>
                <a:gd name="connsiteY2" fmla="*/ 42587 h 42586"/>
                <a:gd name="connsiteX3" fmla="*/ 50859 w 50858"/>
                <a:gd name="connsiteY3" fmla="*/ 41188 h 42586"/>
                <a:gd name="connsiteX4" fmla="*/ 1653 w 50858"/>
                <a:gd name="connsiteY4" fmla="*/ 0 h 42586"/>
                <a:gd name="connsiteX5" fmla="*/ 890 w 50858"/>
                <a:gd name="connsiteY5" fmla="*/ 254 h 42586"/>
                <a:gd name="connsiteX6" fmla="*/ 254 w 50858"/>
                <a:gd name="connsiteY6" fmla="*/ 509 h 4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58" h="42586">
                  <a:moveTo>
                    <a:pt x="254" y="509"/>
                  </a:moveTo>
                  <a:lnTo>
                    <a:pt x="0" y="2924"/>
                  </a:lnTo>
                  <a:lnTo>
                    <a:pt x="47553" y="42587"/>
                  </a:lnTo>
                  <a:lnTo>
                    <a:pt x="50859" y="41188"/>
                  </a:lnTo>
                  <a:lnTo>
                    <a:pt x="1653" y="0"/>
                  </a:lnTo>
                  <a:lnTo>
                    <a:pt x="890" y="254"/>
                  </a:lnTo>
                  <a:lnTo>
                    <a:pt x="254" y="509"/>
                  </a:lnTo>
                  <a:close/>
                </a:path>
              </a:pathLst>
            </a:custGeom>
            <a:solidFill>
              <a:srgbClr val="000000"/>
            </a:solidFill>
            <a:ln w="1268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4E94E1B7-7DF4-4213-9580-376B0761F782}"/>
                </a:ext>
              </a:extLst>
            </p:cNvPr>
            <p:cNvSpPr/>
            <p:nvPr/>
          </p:nvSpPr>
          <p:spPr>
            <a:xfrm>
              <a:off x="2432696" y="1674777"/>
              <a:ext cx="294853" cy="244713"/>
            </a:xfrm>
            <a:custGeom>
              <a:avLst/>
              <a:gdLst>
                <a:gd name="connsiteX0" fmla="*/ 9409 w 294853"/>
                <a:gd name="connsiteY0" fmla="*/ 3178 h 244713"/>
                <a:gd name="connsiteX1" fmla="*/ 5035 w 294853"/>
                <a:gd name="connsiteY1" fmla="*/ 15741 h 244713"/>
                <a:gd name="connsiteX2" fmla="*/ 4704 w 294853"/>
                <a:gd name="connsiteY2" fmla="*/ 15890 h 244713"/>
                <a:gd name="connsiteX3" fmla="*/ 0 w 294853"/>
                <a:gd name="connsiteY3" fmla="*/ 18052 h 244713"/>
                <a:gd name="connsiteX4" fmla="*/ 278070 w 294853"/>
                <a:gd name="connsiteY4" fmla="*/ 243824 h 244713"/>
                <a:gd name="connsiteX5" fmla="*/ 279214 w 294853"/>
                <a:gd name="connsiteY5" fmla="*/ 244714 h 244713"/>
                <a:gd name="connsiteX6" fmla="*/ 279977 w 294853"/>
                <a:gd name="connsiteY6" fmla="*/ 239374 h 244713"/>
                <a:gd name="connsiteX7" fmla="*/ 289767 w 294853"/>
                <a:gd name="connsiteY7" fmla="*/ 231467 h 244713"/>
                <a:gd name="connsiteX8" fmla="*/ 290021 w 294853"/>
                <a:gd name="connsiteY8" fmla="*/ 231493 h 244713"/>
                <a:gd name="connsiteX9" fmla="*/ 294853 w 294853"/>
                <a:gd name="connsiteY9" fmla="*/ 234289 h 244713"/>
                <a:gd name="connsiteX10" fmla="*/ 294090 w 294853"/>
                <a:gd name="connsiteY10" fmla="*/ 233400 h 244713"/>
                <a:gd name="connsiteX11" fmla="*/ 6739 w 294853"/>
                <a:gd name="connsiteY11" fmla="*/ 0 h 244713"/>
                <a:gd name="connsiteX12" fmla="*/ 5722 w 294853"/>
                <a:gd name="connsiteY12" fmla="*/ 0 h 244713"/>
                <a:gd name="connsiteX13" fmla="*/ 9409 w 294853"/>
                <a:gd name="connsiteY13" fmla="*/ 3178 h 24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853" h="244713">
                  <a:moveTo>
                    <a:pt x="9409" y="3178"/>
                  </a:moveTo>
                  <a:cubicBezTo>
                    <a:pt x="11672" y="7856"/>
                    <a:pt x="9714" y="13480"/>
                    <a:pt x="5035" y="15741"/>
                  </a:cubicBezTo>
                  <a:cubicBezTo>
                    <a:pt x="4920" y="15793"/>
                    <a:pt x="4819" y="15842"/>
                    <a:pt x="4704" y="15890"/>
                  </a:cubicBezTo>
                  <a:lnTo>
                    <a:pt x="0" y="18052"/>
                  </a:lnTo>
                  <a:lnTo>
                    <a:pt x="278070" y="243824"/>
                  </a:lnTo>
                  <a:lnTo>
                    <a:pt x="279214" y="244714"/>
                  </a:lnTo>
                  <a:lnTo>
                    <a:pt x="279977" y="239374"/>
                  </a:lnTo>
                  <a:cubicBezTo>
                    <a:pt x="280498" y="234493"/>
                    <a:pt x="284872" y="230946"/>
                    <a:pt x="289767" y="231467"/>
                  </a:cubicBezTo>
                  <a:cubicBezTo>
                    <a:pt x="289856" y="231467"/>
                    <a:pt x="289932" y="231480"/>
                    <a:pt x="290021" y="231493"/>
                  </a:cubicBezTo>
                  <a:cubicBezTo>
                    <a:pt x="291878" y="231912"/>
                    <a:pt x="293569" y="232891"/>
                    <a:pt x="294853" y="234289"/>
                  </a:cubicBezTo>
                  <a:lnTo>
                    <a:pt x="294090" y="233400"/>
                  </a:lnTo>
                  <a:lnTo>
                    <a:pt x="6739" y="0"/>
                  </a:lnTo>
                  <a:lnTo>
                    <a:pt x="5722" y="0"/>
                  </a:lnTo>
                  <a:cubicBezTo>
                    <a:pt x="7209" y="707"/>
                    <a:pt x="8493" y="1805"/>
                    <a:pt x="9409" y="3178"/>
                  </a:cubicBezTo>
                  <a:close/>
                </a:path>
              </a:pathLst>
            </a:custGeom>
            <a:solidFill>
              <a:srgbClr val="000000"/>
            </a:solidFill>
            <a:ln w="1268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A5561C8E-919A-4D57-A2C2-3D07607894F7}"/>
                </a:ext>
              </a:extLst>
            </p:cNvPr>
            <p:cNvSpPr/>
            <p:nvPr/>
          </p:nvSpPr>
          <p:spPr>
            <a:xfrm>
              <a:off x="2071981" y="1833427"/>
              <a:ext cx="25683" cy="83520"/>
            </a:xfrm>
            <a:custGeom>
              <a:avLst/>
              <a:gdLst>
                <a:gd name="connsiteX0" fmla="*/ 9027 w 25683"/>
                <a:gd name="connsiteY0" fmla="*/ 5721 h 83520"/>
                <a:gd name="connsiteX1" fmla="*/ 9027 w 25683"/>
                <a:gd name="connsiteY1" fmla="*/ 0 h 83520"/>
                <a:gd name="connsiteX2" fmla="*/ 9027 w 25683"/>
                <a:gd name="connsiteY2" fmla="*/ 1017 h 83520"/>
                <a:gd name="connsiteX3" fmla="*/ 0 w 25683"/>
                <a:gd name="connsiteY3" fmla="*/ 83520 h 83520"/>
                <a:gd name="connsiteX4" fmla="*/ 4704 w 25683"/>
                <a:gd name="connsiteY4" fmla="*/ 81359 h 83520"/>
                <a:gd name="connsiteX5" fmla="*/ 18690 w 25683"/>
                <a:gd name="connsiteY5" fmla="*/ 75130 h 83520"/>
                <a:gd name="connsiteX6" fmla="*/ 25683 w 25683"/>
                <a:gd name="connsiteY6" fmla="*/ 11568 h 83520"/>
                <a:gd name="connsiteX7" fmla="*/ 25683 w 25683"/>
                <a:gd name="connsiteY7" fmla="*/ 9153 h 83520"/>
                <a:gd name="connsiteX8" fmla="*/ 20979 w 25683"/>
                <a:gd name="connsiteY8" fmla="*/ 11314 h 83520"/>
                <a:gd name="connsiteX9" fmla="*/ 9510 w 25683"/>
                <a:gd name="connsiteY9" fmla="*/ 7064 h 83520"/>
                <a:gd name="connsiteX10" fmla="*/ 9027 w 25683"/>
                <a:gd name="connsiteY10" fmla="*/ 5721 h 8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83" h="83520">
                  <a:moveTo>
                    <a:pt x="9027" y="5721"/>
                  </a:moveTo>
                  <a:cubicBezTo>
                    <a:pt x="8392" y="3866"/>
                    <a:pt x="8392" y="1855"/>
                    <a:pt x="9027" y="0"/>
                  </a:cubicBezTo>
                  <a:cubicBezTo>
                    <a:pt x="9027" y="0"/>
                    <a:pt x="9027" y="0"/>
                    <a:pt x="9027" y="1017"/>
                  </a:cubicBezTo>
                  <a:lnTo>
                    <a:pt x="0" y="83520"/>
                  </a:lnTo>
                  <a:lnTo>
                    <a:pt x="4704" y="81359"/>
                  </a:lnTo>
                  <a:lnTo>
                    <a:pt x="18690" y="75130"/>
                  </a:lnTo>
                  <a:lnTo>
                    <a:pt x="25683" y="11568"/>
                  </a:lnTo>
                  <a:lnTo>
                    <a:pt x="25683" y="9153"/>
                  </a:lnTo>
                  <a:lnTo>
                    <a:pt x="20979" y="11314"/>
                  </a:lnTo>
                  <a:cubicBezTo>
                    <a:pt x="16643" y="13306"/>
                    <a:pt x="11507" y="11403"/>
                    <a:pt x="9510" y="7064"/>
                  </a:cubicBezTo>
                  <a:cubicBezTo>
                    <a:pt x="9320" y="6631"/>
                    <a:pt x="9154" y="6181"/>
                    <a:pt x="9027" y="5721"/>
                  </a:cubicBezTo>
                  <a:close/>
                </a:path>
              </a:pathLst>
            </a:custGeom>
            <a:solidFill>
              <a:srgbClr val="000000"/>
            </a:solidFill>
            <a:ln w="1268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A7913624-A548-46B0-9657-83D768C60DE0}"/>
                </a:ext>
              </a:extLst>
            </p:cNvPr>
            <p:cNvSpPr/>
            <p:nvPr/>
          </p:nvSpPr>
          <p:spPr>
            <a:xfrm>
              <a:off x="3483054" y="3436841"/>
              <a:ext cx="130198" cy="70553"/>
            </a:xfrm>
            <a:custGeom>
              <a:avLst/>
              <a:gdLst>
                <a:gd name="connsiteX0" fmla="*/ 130198 w 130198"/>
                <a:gd name="connsiteY0" fmla="*/ 2542 h 70553"/>
                <a:gd name="connsiteX1" fmla="*/ 130198 w 130198"/>
                <a:gd name="connsiteY1" fmla="*/ 1780 h 70553"/>
                <a:gd name="connsiteX2" fmla="*/ 129562 w 130198"/>
                <a:gd name="connsiteY2" fmla="*/ 0 h 70553"/>
                <a:gd name="connsiteX3" fmla="*/ 129562 w 130198"/>
                <a:gd name="connsiteY3" fmla="*/ 0 h 70553"/>
                <a:gd name="connsiteX4" fmla="*/ 763 w 130198"/>
                <a:gd name="connsiteY4" fmla="*/ 66486 h 70553"/>
                <a:gd name="connsiteX5" fmla="*/ 0 w 130198"/>
                <a:gd name="connsiteY5" fmla="*/ 70554 h 7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198" h="70553">
                  <a:moveTo>
                    <a:pt x="130198" y="2542"/>
                  </a:moveTo>
                  <a:lnTo>
                    <a:pt x="130198" y="1780"/>
                  </a:lnTo>
                  <a:cubicBezTo>
                    <a:pt x="129931" y="1208"/>
                    <a:pt x="129715" y="610"/>
                    <a:pt x="129562" y="0"/>
                  </a:cubicBezTo>
                  <a:lnTo>
                    <a:pt x="129562" y="0"/>
                  </a:lnTo>
                  <a:lnTo>
                    <a:pt x="763" y="66486"/>
                  </a:lnTo>
                  <a:lnTo>
                    <a:pt x="0" y="70554"/>
                  </a:lnTo>
                  <a:close/>
                </a:path>
              </a:pathLst>
            </a:custGeom>
            <a:solidFill>
              <a:srgbClr val="000000"/>
            </a:solidFill>
            <a:ln w="1268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44CB3D95-905E-4320-9425-8514D863988C}"/>
                </a:ext>
              </a:extLst>
            </p:cNvPr>
            <p:cNvSpPr/>
            <p:nvPr/>
          </p:nvSpPr>
          <p:spPr>
            <a:xfrm>
              <a:off x="3658644" y="3271834"/>
              <a:ext cx="104260" cy="94453"/>
            </a:xfrm>
            <a:custGeom>
              <a:avLst/>
              <a:gdLst>
                <a:gd name="connsiteX0" fmla="*/ 0 w 104260"/>
                <a:gd name="connsiteY0" fmla="*/ 20086 h 94453"/>
                <a:gd name="connsiteX1" fmla="*/ 88113 w 104260"/>
                <a:gd name="connsiteY1" fmla="*/ 94453 h 94453"/>
                <a:gd name="connsiteX2" fmla="*/ 88113 w 104260"/>
                <a:gd name="connsiteY2" fmla="*/ 94453 h 94453"/>
                <a:gd name="connsiteX3" fmla="*/ 89257 w 104260"/>
                <a:gd name="connsiteY3" fmla="*/ 89114 h 94453"/>
                <a:gd name="connsiteX4" fmla="*/ 99709 w 104260"/>
                <a:gd name="connsiteY4" fmla="*/ 82097 h 94453"/>
                <a:gd name="connsiteX5" fmla="*/ 99810 w 104260"/>
                <a:gd name="connsiteY5" fmla="*/ 82122 h 94453"/>
                <a:gd name="connsiteX6" fmla="*/ 104260 w 104260"/>
                <a:gd name="connsiteY6" fmla="*/ 84919 h 94453"/>
                <a:gd name="connsiteX7" fmla="*/ 103370 w 104260"/>
                <a:gd name="connsiteY7" fmla="*/ 83902 h 94453"/>
                <a:gd name="connsiteX8" fmla="*/ 3942 w 104260"/>
                <a:gd name="connsiteY8" fmla="*/ 0 h 94453"/>
                <a:gd name="connsiteX9" fmla="*/ 2797 w 104260"/>
                <a:gd name="connsiteY9" fmla="*/ 5593 h 9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260" h="94453">
                  <a:moveTo>
                    <a:pt x="0" y="20086"/>
                  </a:moveTo>
                  <a:lnTo>
                    <a:pt x="88113" y="94453"/>
                  </a:lnTo>
                  <a:lnTo>
                    <a:pt x="88113" y="94453"/>
                  </a:lnTo>
                  <a:lnTo>
                    <a:pt x="89257" y="89114"/>
                  </a:lnTo>
                  <a:cubicBezTo>
                    <a:pt x="90211" y="84296"/>
                    <a:pt x="94890" y="81156"/>
                    <a:pt x="99709" y="82097"/>
                  </a:cubicBezTo>
                  <a:cubicBezTo>
                    <a:pt x="99747" y="82109"/>
                    <a:pt x="99772" y="82109"/>
                    <a:pt x="99810" y="82122"/>
                  </a:cubicBezTo>
                  <a:cubicBezTo>
                    <a:pt x="101552" y="82567"/>
                    <a:pt x="103103" y="83546"/>
                    <a:pt x="104260" y="84919"/>
                  </a:cubicBezTo>
                  <a:cubicBezTo>
                    <a:pt x="104006" y="84550"/>
                    <a:pt x="103701" y="84207"/>
                    <a:pt x="103370" y="83902"/>
                  </a:cubicBezTo>
                  <a:lnTo>
                    <a:pt x="3942" y="0"/>
                  </a:lnTo>
                  <a:lnTo>
                    <a:pt x="2797" y="5593"/>
                  </a:lnTo>
                  <a:close/>
                </a:path>
              </a:pathLst>
            </a:custGeom>
            <a:solidFill>
              <a:srgbClr val="000000"/>
            </a:solidFill>
            <a:ln w="1268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6BBED512-A51B-450E-A569-712A8511A669}"/>
                </a:ext>
              </a:extLst>
            </p:cNvPr>
            <p:cNvSpPr/>
            <p:nvPr/>
          </p:nvSpPr>
          <p:spPr>
            <a:xfrm>
              <a:off x="3717385" y="3353857"/>
              <a:ext cx="48156" cy="164089"/>
            </a:xfrm>
            <a:custGeom>
              <a:avLst/>
              <a:gdLst>
                <a:gd name="connsiteX0" fmla="*/ 30770 w 48156"/>
                <a:gd name="connsiteY0" fmla="*/ 6964 h 164089"/>
                <a:gd name="connsiteX1" fmla="*/ 29625 w 48156"/>
                <a:gd name="connsiteY1" fmla="*/ 12303 h 164089"/>
                <a:gd name="connsiteX2" fmla="*/ 38780 w 48156"/>
                <a:gd name="connsiteY2" fmla="*/ 7473 h 164089"/>
                <a:gd name="connsiteX3" fmla="*/ 40802 w 48156"/>
                <a:gd name="connsiteY3" fmla="*/ 8210 h 164089"/>
                <a:gd name="connsiteX4" fmla="*/ 40814 w 48156"/>
                <a:gd name="connsiteY4" fmla="*/ 8235 h 164089"/>
                <a:gd name="connsiteX5" fmla="*/ 40153 w 48156"/>
                <a:gd name="connsiteY5" fmla="*/ 10473 h 164089"/>
                <a:gd name="connsiteX6" fmla="*/ 40051 w 48156"/>
                <a:gd name="connsiteY6" fmla="*/ 10523 h 164089"/>
                <a:gd name="connsiteX7" fmla="*/ 28735 w 48156"/>
                <a:gd name="connsiteY7" fmla="*/ 16371 h 164089"/>
                <a:gd name="connsiteX8" fmla="*/ 0 w 48156"/>
                <a:gd name="connsiteY8" fmla="*/ 150995 h 164089"/>
                <a:gd name="connsiteX9" fmla="*/ 11062 w 48156"/>
                <a:gd name="connsiteY9" fmla="*/ 160530 h 164089"/>
                <a:gd name="connsiteX10" fmla="*/ 15258 w 48156"/>
                <a:gd name="connsiteY10" fmla="*/ 164089 h 164089"/>
                <a:gd name="connsiteX11" fmla="*/ 48061 w 48156"/>
                <a:gd name="connsiteY11" fmla="*/ 11540 h 164089"/>
                <a:gd name="connsiteX12" fmla="*/ 48061 w 48156"/>
                <a:gd name="connsiteY12" fmla="*/ 10142 h 164089"/>
                <a:gd name="connsiteX13" fmla="*/ 48061 w 48156"/>
                <a:gd name="connsiteY13" fmla="*/ 8235 h 164089"/>
                <a:gd name="connsiteX14" fmla="*/ 48061 w 48156"/>
                <a:gd name="connsiteY14" fmla="*/ 6583 h 164089"/>
                <a:gd name="connsiteX15" fmla="*/ 48061 w 48156"/>
                <a:gd name="connsiteY15" fmla="*/ 4803 h 164089"/>
                <a:gd name="connsiteX16" fmla="*/ 46790 w 48156"/>
                <a:gd name="connsiteY16" fmla="*/ 3277 h 164089"/>
                <a:gd name="connsiteX17" fmla="*/ 42340 w 48156"/>
                <a:gd name="connsiteY17" fmla="*/ 481 h 164089"/>
                <a:gd name="connsiteX18" fmla="*/ 31037 w 48156"/>
                <a:gd name="connsiteY18" fmla="*/ 6023 h 164089"/>
                <a:gd name="connsiteX19" fmla="*/ 30770 w 48156"/>
                <a:gd name="connsiteY19" fmla="*/ 6964 h 16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156" h="164089">
                  <a:moveTo>
                    <a:pt x="30770" y="6964"/>
                  </a:moveTo>
                  <a:lnTo>
                    <a:pt x="29625" y="12303"/>
                  </a:lnTo>
                  <a:lnTo>
                    <a:pt x="38780" y="7473"/>
                  </a:lnTo>
                  <a:cubicBezTo>
                    <a:pt x="39543" y="7117"/>
                    <a:pt x="40445" y="7447"/>
                    <a:pt x="40802" y="8210"/>
                  </a:cubicBezTo>
                  <a:cubicBezTo>
                    <a:pt x="40814" y="8222"/>
                    <a:pt x="40814" y="8222"/>
                    <a:pt x="40814" y="8235"/>
                  </a:cubicBezTo>
                  <a:cubicBezTo>
                    <a:pt x="41247" y="9036"/>
                    <a:pt x="40954" y="10040"/>
                    <a:pt x="40153" y="10473"/>
                  </a:cubicBezTo>
                  <a:cubicBezTo>
                    <a:pt x="40115" y="10498"/>
                    <a:pt x="40090" y="10511"/>
                    <a:pt x="40051" y="10523"/>
                  </a:cubicBezTo>
                  <a:lnTo>
                    <a:pt x="28735" y="16371"/>
                  </a:lnTo>
                  <a:lnTo>
                    <a:pt x="0" y="150995"/>
                  </a:lnTo>
                  <a:lnTo>
                    <a:pt x="11062" y="160530"/>
                  </a:lnTo>
                  <a:lnTo>
                    <a:pt x="15258" y="164089"/>
                  </a:lnTo>
                  <a:lnTo>
                    <a:pt x="48061" y="11540"/>
                  </a:lnTo>
                  <a:cubicBezTo>
                    <a:pt x="48125" y="11070"/>
                    <a:pt x="48125" y="10600"/>
                    <a:pt x="48061" y="10142"/>
                  </a:cubicBezTo>
                  <a:cubicBezTo>
                    <a:pt x="48125" y="9507"/>
                    <a:pt x="48125" y="8871"/>
                    <a:pt x="48061" y="8235"/>
                  </a:cubicBezTo>
                  <a:cubicBezTo>
                    <a:pt x="48189" y="7689"/>
                    <a:pt x="48189" y="7129"/>
                    <a:pt x="48061" y="6583"/>
                  </a:cubicBezTo>
                  <a:cubicBezTo>
                    <a:pt x="48112" y="5985"/>
                    <a:pt x="48112" y="5400"/>
                    <a:pt x="48061" y="4803"/>
                  </a:cubicBezTo>
                  <a:lnTo>
                    <a:pt x="46790" y="3277"/>
                  </a:lnTo>
                  <a:cubicBezTo>
                    <a:pt x="45633" y="1904"/>
                    <a:pt x="44082" y="926"/>
                    <a:pt x="42340" y="481"/>
                  </a:cubicBezTo>
                  <a:cubicBezTo>
                    <a:pt x="37687" y="-1108"/>
                    <a:pt x="32626" y="1371"/>
                    <a:pt x="31037" y="6023"/>
                  </a:cubicBezTo>
                  <a:cubicBezTo>
                    <a:pt x="30935" y="6328"/>
                    <a:pt x="30846" y="6646"/>
                    <a:pt x="30770" y="6964"/>
                  </a:cubicBezTo>
                  <a:close/>
                </a:path>
              </a:pathLst>
            </a:custGeom>
            <a:solidFill>
              <a:schemeClr val="tx2"/>
            </a:solidFill>
            <a:ln w="1268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ECF82ABF-C648-4A48-BADC-3DA6DCDD80B7}"/>
                </a:ext>
              </a:extLst>
            </p:cNvPr>
            <p:cNvSpPr/>
            <p:nvPr/>
          </p:nvSpPr>
          <p:spPr>
            <a:xfrm>
              <a:off x="3110769" y="2528032"/>
              <a:ext cx="200510" cy="167930"/>
            </a:xfrm>
            <a:custGeom>
              <a:avLst/>
              <a:gdLst>
                <a:gd name="connsiteX0" fmla="*/ 199620 w 200510"/>
                <a:gd name="connsiteY0" fmla="*/ 165261 h 167930"/>
                <a:gd name="connsiteX1" fmla="*/ 199620 w 200510"/>
                <a:gd name="connsiteY1" fmla="*/ 165261 h 167930"/>
                <a:gd name="connsiteX2" fmla="*/ 199620 w 200510"/>
                <a:gd name="connsiteY2" fmla="*/ 165261 h 167930"/>
                <a:gd name="connsiteX3" fmla="*/ 199620 w 200510"/>
                <a:gd name="connsiteY3" fmla="*/ 165261 h 167930"/>
                <a:gd name="connsiteX4" fmla="*/ 199620 w 200510"/>
                <a:gd name="connsiteY4" fmla="*/ 165261 h 167930"/>
                <a:gd name="connsiteX5" fmla="*/ 200510 w 200510"/>
                <a:gd name="connsiteY5" fmla="*/ 165261 h 167930"/>
                <a:gd name="connsiteX6" fmla="*/ 1399 w 200510"/>
                <a:gd name="connsiteY6" fmla="*/ 0 h 167930"/>
                <a:gd name="connsiteX7" fmla="*/ 0 w 200510"/>
                <a:gd name="connsiteY7" fmla="*/ 763 h 167930"/>
                <a:gd name="connsiteX8" fmla="*/ 0 w 200510"/>
                <a:gd name="connsiteY8" fmla="*/ 2670 h 167930"/>
                <a:gd name="connsiteX9" fmla="*/ 198857 w 200510"/>
                <a:gd name="connsiteY9" fmla="*/ 167931 h 1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510" h="167930">
                  <a:moveTo>
                    <a:pt x="199620" y="165261"/>
                  </a:moveTo>
                  <a:lnTo>
                    <a:pt x="199620" y="165261"/>
                  </a:lnTo>
                  <a:lnTo>
                    <a:pt x="199620" y="165261"/>
                  </a:lnTo>
                  <a:lnTo>
                    <a:pt x="199620" y="165261"/>
                  </a:lnTo>
                  <a:lnTo>
                    <a:pt x="199620" y="165261"/>
                  </a:lnTo>
                  <a:lnTo>
                    <a:pt x="200510" y="165261"/>
                  </a:lnTo>
                  <a:lnTo>
                    <a:pt x="1399" y="0"/>
                  </a:lnTo>
                  <a:lnTo>
                    <a:pt x="0" y="763"/>
                  </a:lnTo>
                  <a:lnTo>
                    <a:pt x="0" y="2670"/>
                  </a:lnTo>
                  <a:lnTo>
                    <a:pt x="198857" y="167931"/>
                  </a:lnTo>
                  <a:close/>
                </a:path>
              </a:pathLst>
            </a:custGeom>
            <a:solidFill>
              <a:srgbClr val="000000"/>
            </a:solidFill>
            <a:ln w="1268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F5F108BD-5FC2-43D8-BA4F-8929F6C69540}"/>
                </a:ext>
              </a:extLst>
            </p:cNvPr>
            <p:cNvSpPr/>
            <p:nvPr/>
          </p:nvSpPr>
          <p:spPr>
            <a:xfrm>
              <a:off x="3311279" y="2546847"/>
              <a:ext cx="297268" cy="147845"/>
            </a:xfrm>
            <a:custGeom>
              <a:avLst/>
              <a:gdLst>
                <a:gd name="connsiteX0" fmla="*/ 0 w 297268"/>
                <a:gd name="connsiteY0" fmla="*/ 145175 h 147845"/>
                <a:gd name="connsiteX1" fmla="*/ 0 w 297268"/>
                <a:gd name="connsiteY1" fmla="*/ 145175 h 147845"/>
                <a:gd name="connsiteX2" fmla="*/ 1017 w 297268"/>
                <a:gd name="connsiteY2" fmla="*/ 145175 h 147845"/>
                <a:gd name="connsiteX3" fmla="*/ 2289 w 297268"/>
                <a:gd name="connsiteY3" fmla="*/ 147082 h 147845"/>
                <a:gd name="connsiteX4" fmla="*/ 2289 w 297268"/>
                <a:gd name="connsiteY4" fmla="*/ 147845 h 147845"/>
                <a:gd name="connsiteX5" fmla="*/ 296633 w 297268"/>
                <a:gd name="connsiteY5" fmla="*/ 3178 h 147845"/>
                <a:gd name="connsiteX6" fmla="*/ 297269 w 297268"/>
                <a:gd name="connsiteY6" fmla="*/ 0 h 147845"/>
                <a:gd name="connsiteX7" fmla="*/ 296633 w 297268"/>
                <a:gd name="connsiteY7" fmla="*/ 0 h 147845"/>
                <a:gd name="connsiteX8" fmla="*/ 890 w 297268"/>
                <a:gd name="connsiteY8" fmla="*/ 144794 h 1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268" h="147845">
                  <a:moveTo>
                    <a:pt x="0" y="145175"/>
                  </a:moveTo>
                  <a:lnTo>
                    <a:pt x="0" y="145175"/>
                  </a:lnTo>
                  <a:cubicBezTo>
                    <a:pt x="331" y="145048"/>
                    <a:pt x="687" y="145048"/>
                    <a:pt x="1017" y="145175"/>
                  </a:cubicBezTo>
                  <a:cubicBezTo>
                    <a:pt x="1882" y="145366"/>
                    <a:pt x="2441" y="146205"/>
                    <a:pt x="2289" y="147082"/>
                  </a:cubicBezTo>
                  <a:lnTo>
                    <a:pt x="2289" y="147845"/>
                  </a:lnTo>
                  <a:lnTo>
                    <a:pt x="296633" y="3178"/>
                  </a:lnTo>
                  <a:lnTo>
                    <a:pt x="297269" y="0"/>
                  </a:lnTo>
                  <a:lnTo>
                    <a:pt x="296633" y="0"/>
                  </a:lnTo>
                  <a:lnTo>
                    <a:pt x="890" y="144794"/>
                  </a:lnTo>
                  <a:close/>
                </a:path>
              </a:pathLst>
            </a:custGeom>
            <a:solidFill>
              <a:srgbClr val="000000"/>
            </a:solidFill>
            <a:ln w="1268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BA8B1211-8841-4BBC-AC54-FAF9592C3A40}"/>
                </a:ext>
              </a:extLst>
            </p:cNvPr>
            <p:cNvSpPr/>
            <p:nvPr/>
          </p:nvSpPr>
          <p:spPr>
            <a:xfrm>
              <a:off x="3407402" y="2366839"/>
              <a:ext cx="216912" cy="180261"/>
            </a:xfrm>
            <a:custGeom>
              <a:avLst/>
              <a:gdLst>
                <a:gd name="connsiteX0" fmla="*/ 9155 w 216912"/>
                <a:gd name="connsiteY0" fmla="*/ 3687 h 180261"/>
                <a:gd name="connsiteX1" fmla="*/ 4832 w 216912"/>
                <a:gd name="connsiteY1" fmla="*/ 16399 h 180261"/>
                <a:gd name="connsiteX2" fmla="*/ 0 w 216912"/>
                <a:gd name="connsiteY2" fmla="*/ 18687 h 180261"/>
                <a:gd name="connsiteX3" fmla="*/ 200256 w 216912"/>
                <a:gd name="connsiteY3" fmla="*/ 180262 h 180261"/>
                <a:gd name="connsiteX4" fmla="*/ 200892 w 216912"/>
                <a:gd name="connsiteY4" fmla="*/ 180262 h 180261"/>
                <a:gd name="connsiteX5" fmla="*/ 202036 w 216912"/>
                <a:gd name="connsiteY5" fmla="*/ 174668 h 180261"/>
                <a:gd name="connsiteX6" fmla="*/ 211521 w 216912"/>
                <a:gd name="connsiteY6" fmla="*/ 167231 h 180261"/>
                <a:gd name="connsiteX7" fmla="*/ 216912 w 216912"/>
                <a:gd name="connsiteY7" fmla="*/ 170092 h 180261"/>
                <a:gd name="connsiteX8" fmla="*/ 216022 w 216912"/>
                <a:gd name="connsiteY8" fmla="*/ 169075 h 180261"/>
                <a:gd name="connsiteX9" fmla="*/ 6485 w 216912"/>
                <a:gd name="connsiteY9" fmla="*/ 0 h 180261"/>
                <a:gd name="connsiteX10" fmla="*/ 5340 w 216912"/>
                <a:gd name="connsiteY10" fmla="*/ 0 h 180261"/>
                <a:gd name="connsiteX11" fmla="*/ 9155 w 216912"/>
                <a:gd name="connsiteY11" fmla="*/ 3687 h 18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912" h="180261">
                  <a:moveTo>
                    <a:pt x="9155" y="3687"/>
                  </a:moveTo>
                  <a:cubicBezTo>
                    <a:pt x="11444" y="8390"/>
                    <a:pt x="9524" y="14073"/>
                    <a:pt x="4832" y="16399"/>
                  </a:cubicBezTo>
                  <a:lnTo>
                    <a:pt x="0" y="18687"/>
                  </a:lnTo>
                  <a:lnTo>
                    <a:pt x="200256" y="180262"/>
                  </a:lnTo>
                  <a:lnTo>
                    <a:pt x="200892" y="180262"/>
                  </a:lnTo>
                  <a:lnTo>
                    <a:pt x="202036" y="174668"/>
                  </a:lnTo>
                  <a:cubicBezTo>
                    <a:pt x="202596" y="170003"/>
                    <a:pt x="206842" y="166672"/>
                    <a:pt x="211521" y="167231"/>
                  </a:cubicBezTo>
                  <a:cubicBezTo>
                    <a:pt x="213607" y="167486"/>
                    <a:pt x="215526" y="168503"/>
                    <a:pt x="216912" y="170092"/>
                  </a:cubicBezTo>
                  <a:cubicBezTo>
                    <a:pt x="216912" y="170092"/>
                    <a:pt x="216912" y="169329"/>
                    <a:pt x="216022" y="169075"/>
                  </a:cubicBezTo>
                  <a:lnTo>
                    <a:pt x="6485" y="0"/>
                  </a:lnTo>
                  <a:lnTo>
                    <a:pt x="5340" y="0"/>
                  </a:lnTo>
                  <a:cubicBezTo>
                    <a:pt x="6968" y="788"/>
                    <a:pt x="8303" y="2085"/>
                    <a:pt x="9155" y="3687"/>
                  </a:cubicBezTo>
                  <a:close/>
                </a:path>
              </a:pathLst>
            </a:custGeom>
            <a:solidFill>
              <a:srgbClr val="000000"/>
            </a:solidFill>
            <a:ln w="1268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7B840FAD-69F2-436B-8F08-C149622660D8}"/>
                </a:ext>
              </a:extLst>
            </p:cNvPr>
            <p:cNvSpPr/>
            <p:nvPr/>
          </p:nvSpPr>
          <p:spPr>
            <a:xfrm>
              <a:off x="3099453" y="2364719"/>
              <a:ext cx="318195" cy="163185"/>
            </a:xfrm>
            <a:custGeom>
              <a:avLst/>
              <a:gdLst>
                <a:gd name="connsiteX0" fmla="*/ 12969 w 318195"/>
                <a:gd name="connsiteY0" fmla="*/ 158355 h 163185"/>
                <a:gd name="connsiteX1" fmla="*/ 12206 w 318195"/>
                <a:gd name="connsiteY1" fmla="*/ 163186 h 163185"/>
                <a:gd name="connsiteX2" fmla="*/ 13605 w 318195"/>
                <a:gd name="connsiteY2" fmla="*/ 162423 h 163185"/>
                <a:gd name="connsiteX3" fmla="*/ 308076 w 318195"/>
                <a:gd name="connsiteY3" fmla="*/ 20044 h 163185"/>
                <a:gd name="connsiteX4" fmla="*/ 312908 w 318195"/>
                <a:gd name="connsiteY4" fmla="*/ 17756 h 163185"/>
                <a:gd name="connsiteX5" fmla="*/ 317231 w 318195"/>
                <a:gd name="connsiteY5" fmla="*/ 5044 h 163185"/>
                <a:gd name="connsiteX6" fmla="*/ 313417 w 318195"/>
                <a:gd name="connsiteY6" fmla="*/ 976 h 163185"/>
                <a:gd name="connsiteX7" fmla="*/ 311764 w 318195"/>
                <a:gd name="connsiteY7" fmla="*/ 86 h 163185"/>
                <a:gd name="connsiteX8" fmla="*/ 310111 w 318195"/>
                <a:gd name="connsiteY8" fmla="*/ 86 h 163185"/>
                <a:gd name="connsiteX9" fmla="*/ 308076 w 318195"/>
                <a:gd name="connsiteY9" fmla="*/ 86 h 163185"/>
                <a:gd name="connsiteX10" fmla="*/ 306169 w 318195"/>
                <a:gd name="connsiteY10" fmla="*/ 86 h 163185"/>
                <a:gd name="connsiteX11" fmla="*/ 305152 w 318195"/>
                <a:gd name="connsiteY11" fmla="*/ 86 h 163185"/>
                <a:gd name="connsiteX12" fmla="*/ 0 w 318195"/>
                <a:gd name="connsiteY12" fmla="*/ 147168 h 163185"/>
                <a:gd name="connsiteX13" fmla="*/ 0 w 318195"/>
                <a:gd name="connsiteY13" fmla="*/ 147168 h 163185"/>
                <a:gd name="connsiteX14" fmla="*/ 5849 w 318195"/>
                <a:gd name="connsiteY14" fmla="*/ 146024 h 163185"/>
                <a:gd name="connsiteX15" fmla="*/ 13401 w 318195"/>
                <a:gd name="connsiteY15" fmla="*/ 156766 h 163185"/>
                <a:gd name="connsiteX16" fmla="*/ 12969 w 318195"/>
                <a:gd name="connsiteY16" fmla="*/ 158355 h 16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95" h="163185">
                  <a:moveTo>
                    <a:pt x="12969" y="158355"/>
                  </a:moveTo>
                  <a:lnTo>
                    <a:pt x="12206" y="163186"/>
                  </a:lnTo>
                  <a:lnTo>
                    <a:pt x="13605" y="162423"/>
                  </a:lnTo>
                  <a:lnTo>
                    <a:pt x="308076" y="20044"/>
                  </a:lnTo>
                  <a:lnTo>
                    <a:pt x="312908" y="17756"/>
                  </a:lnTo>
                  <a:cubicBezTo>
                    <a:pt x="317599" y="15430"/>
                    <a:pt x="319519" y="9747"/>
                    <a:pt x="317231" y="5044"/>
                  </a:cubicBezTo>
                  <a:cubicBezTo>
                    <a:pt x="316455" y="3302"/>
                    <a:pt x="315108" y="1866"/>
                    <a:pt x="313417" y="976"/>
                  </a:cubicBezTo>
                  <a:lnTo>
                    <a:pt x="311764" y="86"/>
                  </a:lnTo>
                  <a:lnTo>
                    <a:pt x="310111" y="86"/>
                  </a:lnTo>
                  <a:lnTo>
                    <a:pt x="308076" y="86"/>
                  </a:lnTo>
                  <a:cubicBezTo>
                    <a:pt x="307441" y="-29"/>
                    <a:pt x="306805" y="-29"/>
                    <a:pt x="306169" y="86"/>
                  </a:cubicBezTo>
                  <a:lnTo>
                    <a:pt x="305152" y="86"/>
                  </a:lnTo>
                  <a:lnTo>
                    <a:pt x="0" y="147168"/>
                  </a:lnTo>
                  <a:lnTo>
                    <a:pt x="0" y="147168"/>
                  </a:lnTo>
                  <a:cubicBezTo>
                    <a:pt x="1742" y="146075"/>
                    <a:pt x="3827" y="145668"/>
                    <a:pt x="5849" y="146024"/>
                  </a:cubicBezTo>
                  <a:cubicBezTo>
                    <a:pt x="10896" y="146901"/>
                    <a:pt x="14279" y="151707"/>
                    <a:pt x="13401" y="156766"/>
                  </a:cubicBezTo>
                  <a:cubicBezTo>
                    <a:pt x="13299" y="157300"/>
                    <a:pt x="13160" y="157834"/>
                    <a:pt x="12969" y="158355"/>
                  </a:cubicBezTo>
                  <a:close/>
                </a:path>
              </a:pathLst>
            </a:custGeom>
            <a:solidFill>
              <a:srgbClr val="000000"/>
            </a:solidFill>
            <a:ln w="1268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F0817ACE-45A6-4EB6-A054-FD8DC6D3490E}"/>
                </a:ext>
              </a:extLst>
            </p:cNvPr>
            <p:cNvSpPr/>
            <p:nvPr/>
          </p:nvSpPr>
          <p:spPr>
            <a:xfrm>
              <a:off x="3270084" y="2691927"/>
              <a:ext cx="44247" cy="229935"/>
            </a:xfrm>
            <a:custGeom>
              <a:avLst/>
              <a:gdLst>
                <a:gd name="connsiteX0" fmla="*/ 43357 w 44247"/>
                <a:gd name="connsiteY0" fmla="*/ 2002 h 229935"/>
                <a:gd name="connsiteX1" fmla="*/ 42086 w 44247"/>
                <a:gd name="connsiteY1" fmla="*/ 95 h 229935"/>
                <a:gd name="connsiteX2" fmla="*/ 41069 w 44247"/>
                <a:gd name="connsiteY2" fmla="*/ 95 h 229935"/>
                <a:gd name="connsiteX3" fmla="*/ 41069 w 44247"/>
                <a:gd name="connsiteY3" fmla="*/ 95 h 229935"/>
                <a:gd name="connsiteX4" fmla="*/ 41069 w 44247"/>
                <a:gd name="connsiteY4" fmla="*/ 95 h 229935"/>
                <a:gd name="connsiteX5" fmla="*/ 41069 w 44247"/>
                <a:gd name="connsiteY5" fmla="*/ 95 h 229935"/>
                <a:gd name="connsiteX6" fmla="*/ 41069 w 44247"/>
                <a:gd name="connsiteY6" fmla="*/ 1112 h 229935"/>
                <a:gd name="connsiteX7" fmla="*/ 0 w 44247"/>
                <a:gd name="connsiteY7" fmla="*/ 227647 h 229935"/>
                <a:gd name="connsiteX8" fmla="*/ 2797 w 44247"/>
                <a:gd name="connsiteY8" fmla="*/ 229935 h 229935"/>
                <a:gd name="connsiteX9" fmla="*/ 44247 w 44247"/>
                <a:gd name="connsiteY9" fmla="*/ 1112 h 2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47" h="229935">
                  <a:moveTo>
                    <a:pt x="43357" y="2002"/>
                  </a:moveTo>
                  <a:cubicBezTo>
                    <a:pt x="43510" y="1125"/>
                    <a:pt x="42950" y="286"/>
                    <a:pt x="42086" y="95"/>
                  </a:cubicBezTo>
                  <a:cubicBezTo>
                    <a:pt x="41755" y="-32"/>
                    <a:pt x="41399" y="-32"/>
                    <a:pt x="41069" y="95"/>
                  </a:cubicBezTo>
                  <a:lnTo>
                    <a:pt x="41069" y="95"/>
                  </a:lnTo>
                  <a:lnTo>
                    <a:pt x="41069" y="95"/>
                  </a:lnTo>
                  <a:lnTo>
                    <a:pt x="41069" y="95"/>
                  </a:lnTo>
                  <a:lnTo>
                    <a:pt x="41069" y="1112"/>
                  </a:lnTo>
                  <a:lnTo>
                    <a:pt x="0" y="227647"/>
                  </a:lnTo>
                  <a:lnTo>
                    <a:pt x="2797" y="229935"/>
                  </a:lnTo>
                  <a:lnTo>
                    <a:pt x="44247" y="1112"/>
                  </a:lnTo>
                  <a:close/>
                </a:path>
              </a:pathLst>
            </a:custGeom>
            <a:solidFill>
              <a:srgbClr val="000000"/>
            </a:solidFill>
            <a:ln w="12685"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5E9C1C1A-3C2B-45B1-A835-3FF661CD083D}"/>
                </a:ext>
              </a:extLst>
            </p:cNvPr>
            <p:cNvSpPr/>
            <p:nvPr/>
          </p:nvSpPr>
          <p:spPr>
            <a:xfrm>
              <a:off x="3057367" y="2511889"/>
              <a:ext cx="54815" cy="243822"/>
            </a:xfrm>
            <a:custGeom>
              <a:avLst/>
              <a:gdLst>
                <a:gd name="connsiteX0" fmla="*/ 15766 w 54815"/>
                <a:gd name="connsiteY0" fmla="*/ 243822 h 243822"/>
                <a:gd name="connsiteX1" fmla="*/ 53910 w 54815"/>
                <a:gd name="connsiteY1" fmla="*/ 17541 h 243822"/>
                <a:gd name="connsiteX2" fmla="*/ 53910 w 54815"/>
                <a:gd name="connsiteY2" fmla="*/ 15635 h 243822"/>
                <a:gd name="connsiteX3" fmla="*/ 54673 w 54815"/>
                <a:gd name="connsiteY3" fmla="*/ 10804 h 243822"/>
                <a:gd name="connsiteX4" fmla="*/ 47553 w 54815"/>
                <a:gd name="connsiteY4" fmla="*/ 126 h 243822"/>
                <a:gd name="connsiteX5" fmla="*/ 41704 w 54815"/>
                <a:gd name="connsiteY5" fmla="*/ 1270 h 243822"/>
                <a:gd name="connsiteX6" fmla="*/ 40178 w 54815"/>
                <a:gd name="connsiteY6" fmla="*/ 2414 h 243822"/>
                <a:gd name="connsiteX7" fmla="*/ 39034 w 54815"/>
                <a:gd name="connsiteY7" fmla="*/ 3558 h 243822"/>
                <a:gd name="connsiteX8" fmla="*/ 38144 w 54815"/>
                <a:gd name="connsiteY8" fmla="*/ 5083 h 243822"/>
                <a:gd name="connsiteX9" fmla="*/ 37508 w 54815"/>
                <a:gd name="connsiteY9" fmla="*/ 6863 h 243822"/>
                <a:gd name="connsiteX10" fmla="*/ 37508 w 54815"/>
                <a:gd name="connsiteY10" fmla="*/ 7626 h 243822"/>
                <a:gd name="connsiteX11" fmla="*/ 0 w 54815"/>
                <a:gd name="connsiteY11" fmla="*/ 230601 h 243822"/>
                <a:gd name="connsiteX12" fmla="*/ 11570 w 54815"/>
                <a:gd name="connsiteY12" fmla="*/ 240390 h 24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15" h="243822">
                  <a:moveTo>
                    <a:pt x="15766" y="243822"/>
                  </a:moveTo>
                  <a:lnTo>
                    <a:pt x="53910" y="17541"/>
                  </a:lnTo>
                  <a:lnTo>
                    <a:pt x="53910" y="15635"/>
                  </a:lnTo>
                  <a:lnTo>
                    <a:pt x="54673" y="10804"/>
                  </a:lnTo>
                  <a:cubicBezTo>
                    <a:pt x="55538" y="5910"/>
                    <a:pt x="52397" y="1206"/>
                    <a:pt x="47553" y="126"/>
                  </a:cubicBezTo>
                  <a:cubicBezTo>
                    <a:pt x="45531" y="-230"/>
                    <a:pt x="43446" y="176"/>
                    <a:pt x="41704" y="1270"/>
                  </a:cubicBezTo>
                  <a:cubicBezTo>
                    <a:pt x="41119" y="1537"/>
                    <a:pt x="40598" y="1918"/>
                    <a:pt x="40178" y="2414"/>
                  </a:cubicBezTo>
                  <a:lnTo>
                    <a:pt x="39034" y="3558"/>
                  </a:lnTo>
                  <a:lnTo>
                    <a:pt x="38144" y="5083"/>
                  </a:lnTo>
                  <a:lnTo>
                    <a:pt x="37508" y="6863"/>
                  </a:lnTo>
                  <a:cubicBezTo>
                    <a:pt x="37508" y="6863"/>
                    <a:pt x="37508" y="6863"/>
                    <a:pt x="37508" y="7626"/>
                  </a:cubicBezTo>
                  <a:lnTo>
                    <a:pt x="0" y="230601"/>
                  </a:lnTo>
                  <a:lnTo>
                    <a:pt x="11570" y="240390"/>
                  </a:lnTo>
                  <a:close/>
                </a:path>
              </a:pathLst>
            </a:custGeom>
            <a:solidFill>
              <a:srgbClr val="000000"/>
            </a:solidFill>
            <a:ln w="12685"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74737853-A33A-46B7-AD3F-4A36E94F41AD}"/>
                </a:ext>
              </a:extLst>
            </p:cNvPr>
            <p:cNvSpPr/>
            <p:nvPr/>
          </p:nvSpPr>
          <p:spPr>
            <a:xfrm>
              <a:off x="486590" y="2530193"/>
              <a:ext cx="205723" cy="95342"/>
            </a:xfrm>
            <a:custGeom>
              <a:avLst/>
              <a:gdLst>
                <a:gd name="connsiteX0" fmla="*/ 205723 w 205723"/>
                <a:gd name="connsiteY0" fmla="*/ 0 h 95342"/>
                <a:gd name="connsiteX1" fmla="*/ 127 w 205723"/>
                <a:gd name="connsiteY1" fmla="*/ 92292 h 95342"/>
                <a:gd name="connsiteX2" fmla="*/ 0 w 205723"/>
                <a:gd name="connsiteY2" fmla="*/ 94199 h 95342"/>
                <a:gd name="connsiteX3" fmla="*/ 1271 w 205723"/>
                <a:gd name="connsiteY3" fmla="*/ 95343 h 95342"/>
                <a:gd name="connsiteX4" fmla="*/ 205723 w 205723"/>
                <a:gd name="connsiteY4" fmla="*/ 3687 h 95342"/>
                <a:gd name="connsiteX5" fmla="*/ 205723 w 205723"/>
                <a:gd name="connsiteY5" fmla="*/ 0 h 95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23" h="95342">
                  <a:moveTo>
                    <a:pt x="205723" y="0"/>
                  </a:moveTo>
                  <a:lnTo>
                    <a:pt x="127" y="92292"/>
                  </a:lnTo>
                  <a:lnTo>
                    <a:pt x="0" y="94199"/>
                  </a:lnTo>
                  <a:lnTo>
                    <a:pt x="1271" y="95343"/>
                  </a:lnTo>
                  <a:lnTo>
                    <a:pt x="205723" y="3687"/>
                  </a:lnTo>
                  <a:lnTo>
                    <a:pt x="205723" y="0"/>
                  </a:lnTo>
                  <a:close/>
                </a:path>
              </a:pathLst>
            </a:custGeom>
            <a:solidFill>
              <a:srgbClr val="000000"/>
            </a:solidFill>
            <a:ln w="12685"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580791C7-E5E2-4225-BE1F-7E35DF52019E}"/>
                </a:ext>
              </a:extLst>
            </p:cNvPr>
            <p:cNvSpPr/>
            <p:nvPr/>
          </p:nvSpPr>
          <p:spPr>
            <a:xfrm>
              <a:off x="233059" y="2287132"/>
              <a:ext cx="36618" cy="38009"/>
            </a:xfrm>
            <a:custGeom>
              <a:avLst/>
              <a:gdLst>
                <a:gd name="connsiteX0" fmla="*/ 36618 w 36618"/>
                <a:gd name="connsiteY0" fmla="*/ 35467 h 38009"/>
                <a:gd name="connsiteX1" fmla="*/ 0 w 36618"/>
                <a:gd name="connsiteY1" fmla="*/ 0 h 38009"/>
                <a:gd name="connsiteX2" fmla="*/ 0 w 36618"/>
                <a:gd name="connsiteY2" fmla="*/ 0 h 38009"/>
                <a:gd name="connsiteX3" fmla="*/ 0 w 36618"/>
                <a:gd name="connsiteY3" fmla="*/ 636 h 38009"/>
                <a:gd name="connsiteX4" fmla="*/ 0 w 36618"/>
                <a:gd name="connsiteY4" fmla="*/ 636 h 38009"/>
                <a:gd name="connsiteX5" fmla="*/ 0 w 36618"/>
                <a:gd name="connsiteY5" fmla="*/ 4322 h 38009"/>
                <a:gd name="connsiteX6" fmla="*/ 34711 w 36618"/>
                <a:gd name="connsiteY6" fmla="*/ 38010 h 38009"/>
                <a:gd name="connsiteX7" fmla="*/ 34711 w 36618"/>
                <a:gd name="connsiteY7" fmla="*/ 37247 h 38009"/>
                <a:gd name="connsiteX8" fmla="*/ 34711 w 36618"/>
                <a:gd name="connsiteY8" fmla="*/ 37247 h 38009"/>
                <a:gd name="connsiteX9" fmla="*/ 34711 w 36618"/>
                <a:gd name="connsiteY9" fmla="*/ 37247 h 38009"/>
                <a:gd name="connsiteX10" fmla="*/ 34711 w 36618"/>
                <a:gd name="connsiteY10" fmla="*/ 37247 h 38009"/>
                <a:gd name="connsiteX11" fmla="*/ 34711 w 36618"/>
                <a:gd name="connsiteY11" fmla="*/ 37247 h 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18" h="38009">
                  <a:moveTo>
                    <a:pt x="36618" y="35467"/>
                  </a:moveTo>
                  <a:lnTo>
                    <a:pt x="0" y="0"/>
                  </a:lnTo>
                  <a:lnTo>
                    <a:pt x="0" y="0"/>
                  </a:lnTo>
                  <a:lnTo>
                    <a:pt x="0" y="636"/>
                  </a:lnTo>
                  <a:lnTo>
                    <a:pt x="0" y="636"/>
                  </a:lnTo>
                  <a:lnTo>
                    <a:pt x="0" y="4322"/>
                  </a:lnTo>
                  <a:lnTo>
                    <a:pt x="34711" y="38010"/>
                  </a:lnTo>
                  <a:lnTo>
                    <a:pt x="34711" y="37247"/>
                  </a:lnTo>
                  <a:lnTo>
                    <a:pt x="34711" y="37247"/>
                  </a:lnTo>
                  <a:lnTo>
                    <a:pt x="34711" y="37247"/>
                  </a:lnTo>
                  <a:cubicBezTo>
                    <a:pt x="34711" y="37247"/>
                    <a:pt x="34711" y="37247"/>
                    <a:pt x="34711" y="37247"/>
                  </a:cubicBezTo>
                  <a:cubicBezTo>
                    <a:pt x="34711" y="37247"/>
                    <a:pt x="34711" y="37247"/>
                    <a:pt x="34711" y="37247"/>
                  </a:cubicBezTo>
                  <a:close/>
                </a:path>
              </a:pathLst>
            </a:custGeom>
            <a:solidFill>
              <a:srgbClr val="000000"/>
            </a:solidFill>
            <a:ln w="12685"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E2699969-8C0F-435D-8344-64585255FFAC}"/>
                </a:ext>
              </a:extLst>
            </p:cNvPr>
            <p:cNvSpPr/>
            <p:nvPr/>
          </p:nvSpPr>
          <p:spPr>
            <a:xfrm>
              <a:off x="793140" y="2173357"/>
              <a:ext cx="18944" cy="48052"/>
            </a:xfrm>
            <a:custGeom>
              <a:avLst/>
              <a:gdLst>
                <a:gd name="connsiteX0" fmla="*/ 17673 w 18944"/>
                <a:gd name="connsiteY0" fmla="*/ 40171 h 48052"/>
                <a:gd name="connsiteX1" fmla="*/ 18945 w 18944"/>
                <a:gd name="connsiteY1" fmla="*/ 11695 h 48052"/>
                <a:gd name="connsiteX2" fmla="*/ 18945 w 18944"/>
                <a:gd name="connsiteY2" fmla="*/ 8009 h 48052"/>
                <a:gd name="connsiteX3" fmla="*/ 16148 w 18944"/>
                <a:gd name="connsiteY3" fmla="*/ 9280 h 48052"/>
                <a:gd name="connsiteX4" fmla="*/ 13732 w 18944"/>
                <a:gd name="connsiteY4" fmla="*/ 10297 h 48052"/>
                <a:gd name="connsiteX5" fmla="*/ 2261 w 18944"/>
                <a:gd name="connsiteY5" fmla="*/ 5123 h 48052"/>
                <a:gd name="connsiteX6" fmla="*/ 1907 w 18944"/>
                <a:gd name="connsiteY6" fmla="*/ 0 h 48052"/>
                <a:gd name="connsiteX7" fmla="*/ 1907 w 18944"/>
                <a:gd name="connsiteY7" fmla="*/ 1271 h 48052"/>
                <a:gd name="connsiteX8" fmla="*/ 0 w 18944"/>
                <a:gd name="connsiteY8" fmla="*/ 48053 h 48052"/>
                <a:gd name="connsiteX9" fmla="*/ 5086 w 18944"/>
                <a:gd name="connsiteY9" fmla="*/ 45765 h 4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44" h="48052">
                  <a:moveTo>
                    <a:pt x="17673" y="40171"/>
                  </a:moveTo>
                  <a:lnTo>
                    <a:pt x="18945" y="11695"/>
                  </a:lnTo>
                  <a:lnTo>
                    <a:pt x="18945" y="8009"/>
                  </a:lnTo>
                  <a:lnTo>
                    <a:pt x="16148" y="9280"/>
                  </a:lnTo>
                  <a:lnTo>
                    <a:pt x="13732" y="10297"/>
                  </a:lnTo>
                  <a:cubicBezTo>
                    <a:pt x="9134" y="12039"/>
                    <a:pt x="3997" y="9712"/>
                    <a:pt x="2261" y="5123"/>
                  </a:cubicBezTo>
                  <a:cubicBezTo>
                    <a:pt x="1643" y="3483"/>
                    <a:pt x="1519" y="1703"/>
                    <a:pt x="1907" y="0"/>
                  </a:cubicBezTo>
                  <a:cubicBezTo>
                    <a:pt x="1868" y="420"/>
                    <a:pt x="1868" y="852"/>
                    <a:pt x="1907" y="1271"/>
                  </a:cubicBezTo>
                  <a:lnTo>
                    <a:pt x="0" y="48053"/>
                  </a:lnTo>
                  <a:lnTo>
                    <a:pt x="5086" y="45765"/>
                  </a:lnTo>
                  <a:close/>
                </a:path>
              </a:pathLst>
            </a:custGeom>
            <a:solidFill>
              <a:srgbClr val="000000"/>
            </a:solidFill>
            <a:ln w="12685"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64096B31-8FA4-4C18-9012-432E4297CF67}"/>
                </a:ext>
              </a:extLst>
            </p:cNvPr>
            <p:cNvSpPr/>
            <p:nvPr/>
          </p:nvSpPr>
          <p:spPr>
            <a:xfrm>
              <a:off x="3305" y="4253358"/>
              <a:ext cx="198094" cy="221958"/>
            </a:xfrm>
            <a:custGeom>
              <a:avLst/>
              <a:gdLst>
                <a:gd name="connsiteX0" fmla="*/ 198094 w 198094"/>
                <a:gd name="connsiteY0" fmla="*/ 220560 h 221958"/>
                <a:gd name="connsiteX1" fmla="*/ 0 w 198094"/>
                <a:gd name="connsiteY1" fmla="*/ 0 h 221958"/>
                <a:gd name="connsiteX2" fmla="*/ 0 w 198094"/>
                <a:gd name="connsiteY2" fmla="*/ 4831 h 221958"/>
                <a:gd name="connsiteX3" fmla="*/ 195170 w 198094"/>
                <a:gd name="connsiteY3" fmla="*/ 221959 h 221958"/>
                <a:gd name="connsiteX4" fmla="*/ 198094 w 198094"/>
                <a:gd name="connsiteY4" fmla="*/ 220560 h 22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94" h="221958">
                  <a:moveTo>
                    <a:pt x="198094" y="220560"/>
                  </a:moveTo>
                  <a:lnTo>
                    <a:pt x="0" y="0"/>
                  </a:lnTo>
                  <a:lnTo>
                    <a:pt x="0" y="4831"/>
                  </a:lnTo>
                  <a:lnTo>
                    <a:pt x="195170" y="221959"/>
                  </a:lnTo>
                  <a:lnTo>
                    <a:pt x="198094" y="220560"/>
                  </a:lnTo>
                  <a:close/>
                </a:path>
              </a:pathLst>
            </a:custGeom>
            <a:solidFill>
              <a:srgbClr val="000000"/>
            </a:solidFill>
            <a:ln w="1268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0F44BEE7-9FAD-4E8B-87E6-85A16B341AA6}"/>
                </a:ext>
              </a:extLst>
            </p:cNvPr>
            <p:cNvSpPr/>
            <p:nvPr/>
          </p:nvSpPr>
          <p:spPr>
            <a:xfrm>
              <a:off x="3687" y="4681765"/>
              <a:ext cx="44119" cy="57587"/>
            </a:xfrm>
            <a:custGeom>
              <a:avLst/>
              <a:gdLst>
                <a:gd name="connsiteX0" fmla="*/ 38271 w 44119"/>
                <a:gd name="connsiteY0" fmla="*/ 51867 h 57587"/>
                <a:gd name="connsiteX1" fmla="*/ 44120 w 44119"/>
                <a:gd name="connsiteY1" fmla="*/ 48943 h 57587"/>
                <a:gd name="connsiteX2" fmla="*/ 1271 w 44119"/>
                <a:gd name="connsiteY2" fmla="*/ 0 h 57587"/>
                <a:gd name="connsiteX3" fmla="*/ 1271 w 44119"/>
                <a:gd name="connsiteY3" fmla="*/ 0 h 57587"/>
                <a:gd name="connsiteX4" fmla="*/ 3179 w 44119"/>
                <a:gd name="connsiteY4" fmla="*/ 2543 h 57587"/>
                <a:gd name="connsiteX5" fmla="*/ 0 w 44119"/>
                <a:gd name="connsiteY5" fmla="*/ 13984 h 57587"/>
                <a:gd name="connsiteX6" fmla="*/ 0 w 44119"/>
                <a:gd name="connsiteY6" fmla="*/ 25806 h 57587"/>
                <a:gd name="connsiteX7" fmla="*/ 27845 w 44119"/>
                <a:gd name="connsiteY7" fmla="*/ 57587 h 5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19" h="57587">
                  <a:moveTo>
                    <a:pt x="38271" y="51867"/>
                  </a:moveTo>
                  <a:lnTo>
                    <a:pt x="44120" y="48943"/>
                  </a:lnTo>
                  <a:lnTo>
                    <a:pt x="1271" y="0"/>
                  </a:lnTo>
                  <a:lnTo>
                    <a:pt x="1271" y="0"/>
                  </a:lnTo>
                  <a:cubicBezTo>
                    <a:pt x="2073" y="712"/>
                    <a:pt x="2722" y="1576"/>
                    <a:pt x="3179" y="2543"/>
                  </a:cubicBezTo>
                  <a:cubicBezTo>
                    <a:pt x="5017" y="6623"/>
                    <a:pt x="3681" y="11441"/>
                    <a:pt x="0" y="13984"/>
                  </a:cubicBezTo>
                  <a:lnTo>
                    <a:pt x="0" y="25806"/>
                  </a:lnTo>
                  <a:lnTo>
                    <a:pt x="27845" y="57587"/>
                  </a:lnTo>
                  <a:close/>
                </a:path>
              </a:pathLst>
            </a:custGeom>
            <a:solidFill>
              <a:srgbClr val="000000"/>
            </a:solidFill>
            <a:ln w="12685"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CA36D755-B62B-450C-BACA-AC8EC1E9CBBA}"/>
                </a:ext>
              </a:extLst>
            </p:cNvPr>
            <p:cNvSpPr/>
            <p:nvPr/>
          </p:nvSpPr>
          <p:spPr>
            <a:xfrm>
              <a:off x="1308720" y="1957119"/>
              <a:ext cx="553469" cy="249417"/>
            </a:xfrm>
            <a:custGeom>
              <a:avLst/>
              <a:gdLst>
                <a:gd name="connsiteX0" fmla="*/ 0 w 553469"/>
                <a:gd name="connsiteY0" fmla="*/ 246620 h 249417"/>
                <a:gd name="connsiteX1" fmla="*/ 890 w 553469"/>
                <a:gd name="connsiteY1" fmla="*/ 246620 h 249417"/>
                <a:gd name="connsiteX2" fmla="*/ 2289 w 553469"/>
                <a:gd name="connsiteY2" fmla="*/ 248400 h 249417"/>
                <a:gd name="connsiteX3" fmla="*/ 2289 w 553469"/>
                <a:gd name="connsiteY3" fmla="*/ 249417 h 249417"/>
                <a:gd name="connsiteX4" fmla="*/ 553469 w 553469"/>
                <a:gd name="connsiteY4" fmla="*/ 3051 h 249417"/>
                <a:gd name="connsiteX5" fmla="*/ 553469 w 553469"/>
                <a:gd name="connsiteY5" fmla="*/ 1144 h 249417"/>
                <a:gd name="connsiteX6" fmla="*/ 552198 w 553469"/>
                <a:gd name="connsiteY6" fmla="*/ 0 h 249417"/>
                <a:gd name="connsiteX7" fmla="*/ 890 w 553469"/>
                <a:gd name="connsiteY7" fmla="*/ 246112 h 249417"/>
                <a:gd name="connsiteX8" fmla="*/ 0 w 553469"/>
                <a:gd name="connsiteY8" fmla="*/ 246112 h 24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3469" h="249417">
                  <a:moveTo>
                    <a:pt x="0" y="246620"/>
                  </a:moveTo>
                  <a:lnTo>
                    <a:pt x="890" y="246620"/>
                  </a:lnTo>
                  <a:cubicBezTo>
                    <a:pt x="1653" y="246620"/>
                    <a:pt x="2289" y="247510"/>
                    <a:pt x="2289" y="248400"/>
                  </a:cubicBezTo>
                  <a:lnTo>
                    <a:pt x="2289" y="249417"/>
                  </a:lnTo>
                  <a:lnTo>
                    <a:pt x="553469" y="3051"/>
                  </a:lnTo>
                  <a:lnTo>
                    <a:pt x="553469" y="1144"/>
                  </a:lnTo>
                  <a:lnTo>
                    <a:pt x="552198" y="0"/>
                  </a:lnTo>
                  <a:lnTo>
                    <a:pt x="890" y="246112"/>
                  </a:lnTo>
                  <a:lnTo>
                    <a:pt x="0" y="246112"/>
                  </a:lnTo>
                  <a:close/>
                </a:path>
              </a:pathLst>
            </a:custGeom>
            <a:solidFill>
              <a:srgbClr val="000000"/>
            </a:solidFill>
            <a:ln w="12685"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5CA29411-5E3E-4905-83E0-4CCC282C04A0}"/>
                </a:ext>
              </a:extLst>
            </p:cNvPr>
            <p:cNvSpPr/>
            <p:nvPr/>
          </p:nvSpPr>
          <p:spPr>
            <a:xfrm>
              <a:off x="1186659" y="3577567"/>
              <a:ext cx="224668" cy="113140"/>
            </a:xfrm>
            <a:custGeom>
              <a:avLst/>
              <a:gdLst>
                <a:gd name="connsiteX0" fmla="*/ 254 w 224668"/>
                <a:gd name="connsiteY0" fmla="*/ 113140 h 113140"/>
                <a:gd name="connsiteX1" fmla="*/ 224668 w 224668"/>
                <a:gd name="connsiteY1" fmla="*/ 3432 h 113140"/>
                <a:gd name="connsiteX2" fmla="*/ 224668 w 224668"/>
                <a:gd name="connsiteY2" fmla="*/ 636 h 113140"/>
                <a:gd name="connsiteX3" fmla="*/ 224668 w 224668"/>
                <a:gd name="connsiteY3" fmla="*/ 0 h 113140"/>
                <a:gd name="connsiteX4" fmla="*/ 0 w 224668"/>
                <a:gd name="connsiteY4" fmla="*/ 110089 h 113140"/>
                <a:gd name="connsiteX5" fmla="*/ 763 w 224668"/>
                <a:gd name="connsiteY5" fmla="*/ 110852 h 113140"/>
                <a:gd name="connsiteX6" fmla="*/ 763 w 224668"/>
                <a:gd name="connsiteY6" fmla="*/ 110852 h 113140"/>
                <a:gd name="connsiteX7" fmla="*/ 763 w 224668"/>
                <a:gd name="connsiteY7" fmla="*/ 110852 h 113140"/>
                <a:gd name="connsiteX8" fmla="*/ 763 w 224668"/>
                <a:gd name="connsiteY8" fmla="*/ 111488 h 113140"/>
                <a:gd name="connsiteX9" fmla="*/ 763 w 224668"/>
                <a:gd name="connsiteY9" fmla="*/ 111488 h 1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68" h="113140">
                  <a:moveTo>
                    <a:pt x="254" y="113140"/>
                  </a:moveTo>
                  <a:lnTo>
                    <a:pt x="224668" y="3432"/>
                  </a:lnTo>
                  <a:lnTo>
                    <a:pt x="224668" y="636"/>
                  </a:lnTo>
                  <a:lnTo>
                    <a:pt x="224668" y="0"/>
                  </a:lnTo>
                  <a:lnTo>
                    <a:pt x="0" y="110089"/>
                  </a:lnTo>
                  <a:lnTo>
                    <a:pt x="763" y="110852"/>
                  </a:lnTo>
                  <a:lnTo>
                    <a:pt x="763" y="110852"/>
                  </a:lnTo>
                  <a:lnTo>
                    <a:pt x="763" y="110852"/>
                  </a:lnTo>
                  <a:cubicBezTo>
                    <a:pt x="776" y="111068"/>
                    <a:pt x="776" y="111272"/>
                    <a:pt x="763" y="111488"/>
                  </a:cubicBezTo>
                  <a:lnTo>
                    <a:pt x="763" y="111488"/>
                  </a:lnTo>
                  <a:close/>
                </a:path>
              </a:pathLst>
            </a:custGeom>
            <a:solidFill>
              <a:srgbClr val="000000"/>
            </a:solidFill>
            <a:ln w="1268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3E63070A-0397-4B60-94B8-7A4804F26790}"/>
                </a:ext>
              </a:extLst>
            </p:cNvPr>
            <p:cNvSpPr/>
            <p:nvPr/>
          </p:nvSpPr>
          <p:spPr>
            <a:xfrm>
              <a:off x="3294750" y="4376033"/>
              <a:ext cx="130706" cy="74113"/>
            </a:xfrm>
            <a:custGeom>
              <a:avLst/>
              <a:gdLst>
                <a:gd name="connsiteX0" fmla="*/ 890 w 130706"/>
                <a:gd name="connsiteY0" fmla="*/ 69918 h 74113"/>
                <a:gd name="connsiteX1" fmla="*/ 0 w 130706"/>
                <a:gd name="connsiteY1" fmla="*/ 74113 h 74113"/>
                <a:gd name="connsiteX2" fmla="*/ 130579 w 130706"/>
                <a:gd name="connsiteY2" fmla="*/ 3051 h 74113"/>
                <a:gd name="connsiteX3" fmla="*/ 129817 w 130706"/>
                <a:gd name="connsiteY3" fmla="*/ 2288 h 74113"/>
                <a:gd name="connsiteX4" fmla="*/ 129817 w 130706"/>
                <a:gd name="connsiteY4" fmla="*/ 0 h 74113"/>
                <a:gd name="connsiteX5" fmla="*/ 130707 w 130706"/>
                <a:gd name="connsiteY5" fmla="*/ 0 h 74113"/>
                <a:gd name="connsiteX6" fmla="*/ 130707 w 130706"/>
                <a:gd name="connsiteY6" fmla="*/ 0 h 7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06" h="74113">
                  <a:moveTo>
                    <a:pt x="890" y="69918"/>
                  </a:moveTo>
                  <a:lnTo>
                    <a:pt x="0" y="74113"/>
                  </a:lnTo>
                  <a:lnTo>
                    <a:pt x="130579" y="3051"/>
                  </a:lnTo>
                  <a:lnTo>
                    <a:pt x="129817" y="2288"/>
                  </a:lnTo>
                  <a:cubicBezTo>
                    <a:pt x="129257" y="1627"/>
                    <a:pt x="129257" y="661"/>
                    <a:pt x="129817" y="0"/>
                  </a:cubicBezTo>
                  <a:cubicBezTo>
                    <a:pt x="129817" y="0"/>
                    <a:pt x="129817" y="0"/>
                    <a:pt x="130707" y="0"/>
                  </a:cubicBezTo>
                  <a:lnTo>
                    <a:pt x="130707" y="0"/>
                  </a:lnTo>
                  <a:close/>
                </a:path>
              </a:pathLst>
            </a:custGeom>
            <a:solidFill>
              <a:srgbClr val="000000"/>
            </a:solidFill>
            <a:ln w="1268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61A35F10-0924-4299-97B0-1744CF1508E8}"/>
                </a:ext>
              </a:extLst>
            </p:cNvPr>
            <p:cNvSpPr/>
            <p:nvPr/>
          </p:nvSpPr>
          <p:spPr>
            <a:xfrm>
              <a:off x="3426220" y="4375270"/>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6D179A0B-876A-41A1-94F8-7423CC75E23C}"/>
                </a:ext>
              </a:extLst>
            </p:cNvPr>
            <p:cNvSpPr/>
            <p:nvPr/>
          </p:nvSpPr>
          <p:spPr>
            <a:xfrm>
              <a:off x="3424910" y="4375270"/>
              <a:ext cx="84651" cy="78181"/>
            </a:xfrm>
            <a:custGeom>
              <a:avLst/>
              <a:gdLst>
                <a:gd name="connsiteX0" fmla="*/ 1310 w 84651"/>
                <a:gd name="connsiteY0" fmla="*/ 0 h 78181"/>
                <a:gd name="connsiteX1" fmla="*/ 1310 w 84651"/>
                <a:gd name="connsiteY1" fmla="*/ 0 h 78181"/>
                <a:gd name="connsiteX2" fmla="*/ 1310 w 84651"/>
                <a:gd name="connsiteY2" fmla="*/ 0 h 78181"/>
                <a:gd name="connsiteX3" fmla="*/ 420 w 84651"/>
                <a:gd name="connsiteY3" fmla="*/ 0 h 78181"/>
                <a:gd name="connsiteX4" fmla="*/ 420 w 84651"/>
                <a:gd name="connsiteY4" fmla="*/ 2288 h 78181"/>
                <a:gd name="connsiteX5" fmla="*/ 1182 w 84651"/>
                <a:gd name="connsiteY5" fmla="*/ 3051 h 78181"/>
                <a:gd name="connsiteX6" fmla="*/ 81667 w 84651"/>
                <a:gd name="connsiteY6" fmla="*/ 76656 h 78181"/>
                <a:gd name="connsiteX7" fmla="*/ 82684 w 84651"/>
                <a:gd name="connsiteY7" fmla="*/ 77545 h 78181"/>
                <a:gd name="connsiteX8" fmla="*/ 83319 w 84651"/>
                <a:gd name="connsiteY8" fmla="*/ 78181 h 78181"/>
                <a:gd name="connsiteX9" fmla="*/ 83319 w 84651"/>
                <a:gd name="connsiteY9" fmla="*/ 78181 h 78181"/>
                <a:gd name="connsiteX10" fmla="*/ 83319 w 84651"/>
                <a:gd name="connsiteY10" fmla="*/ 78181 h 78181"/>
                <a:gd name="connsiteX11" fmla="*/ 84336 w 84651"/>
                <a:gd name="connsiteY11" fmla="*/ 78181 h 78181"/>
                <a:gd name="connsiteX12" fmla="*/ 84336 w 84651"/>
                <a:gd name="connsiteY12" fmla="*/ 78181 h 78181"/>
                <a:gd name="connsiteX13" fmla="*/ 84336 w 84651"/>
                <a:gd name="connsiteY13" fmla="*/ 78181 h 78181"/>
                <a:gd name="connsiteX14" fmla="*/ 84336 w 84651"/>
                <a:gd name="connsiteY14" fmla="*/ 78181 h 78181"/>
                <a:gd name="connsiteX15" fmla="*/ 84336 w 84651"/>
                <a:gd name="connsiteY15" fmla="*/ 76147 h 78181"/>
                <a:gd name="connsiteX16" fmla="*/ 82429 w 84651"/>
                <a:gd name="connsiteY16" fmla="*/ 74367 h 78181"/>
                <a:gd name="connsiteX17" fmla="*/ 1437 w 84651"/>
                <a:gd name="connsiteY17" fmla="*/ 381 h 7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651" h="78181">
                  <a:moveTo>
                    <a:pt x="1310" y="0"/>
                  </a:moveTo>
                  <a:lnTo>
                    <a:pt x="1310" y="0"/>
                  </a:lnTo>
                  <a:lnTo>
                    <a:pt x="1310" y="0"/>
                  </a:lnTo>
                  <a:cubicBezTo>
                    <a:pt x="1310" y="0"/>
                    <a:pt x="674" y="0"/>
                    <a:pt x="420" y="0"/>
                  </a:cubicBezTo>
                  <a:cubicBezTo>
                    <a:pt x="-140" y="661"/>
                    <a:pt x="-140" y="1627"/>
                    <a:pt x="420" y="2288"/>
                  </a:cubicBezTo>
                  <a:lnTo>
                    <a:pt x="1182" y="3051"/>
                  </a:lnTo>
                  <a:lnTo>
                    <a:pt x="81667" y="76656"/>
                  </a:lnTo>
                  <a:lnTo>
                    <a:pt x="82684" y="77545"/>
                  </a:lnTo>
                  <a:lnTo>
                    <a:pt x="83319" y="78181"/>
                  </a:lnTo>
                  <a:lnTo>
                    <a:pt x="83319" y="78181"/>
                  </a:lnTo>
                  <a:lnTo>
                    <a:pt x="83319" y="78181"/>
                  </a:lnTo>
                  <a:lnTo>
                    <a:pt x="84336" y="78181"/>
                  </a:lnTo>
                  <a:lnTo>
                    <a:pt x="84336" y="78181"/>
                  </a:lnTo>
                  <a:lnTo>
                    <a:pt x="84336" y="78181"/>
                  </a:lnTo>
                  <a:lnTo>
                    <a:pt x="84336" y="78181"/>
                  </a:lnTo>
                  <a:cubicBezTo>
                    <a:pt x="84756" y="77571"/>
                    <a:pt x="84756" y="76757"/>
                    <a:pt x="84336" y="76147"/>
                  </a:cubicBezTo>
                  <a:lnTo>
                    <a:pt x="82429" y="74367"/>
                  </a:lnTo>
                  <a:lnTo>
                    <a:pt x="1437" y="381"/>
                  </a:lnTo>
                  <a:close/>
                </a:path>
              </a:pathLst>
            </a:custGeom>
            <a:solidFill>
              <a:srgbClr val="000000"/>
            </a:solidFill>
            <a:ln w="1268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C8741208-BD74-49D3-8024-8D9B644306C7}"/>
                </a:ext>
              </a:extLst>
            </p:cNvPr>
            <p:cNvSpPr/>
            <p:nvPr/>
          </p:nvSpPr>
          <p:spPr>
            <a:xfrm>
              <a:off x="494981" y="2091235"/>
              <a:ext cx="306041" cy="133861"/>
            </a:xfrm>
            <a:custGeom>
              <a:avLst/>
              <a:gdLst>
                <a:gd name="connsiteX0" fmla="*/ 306042 w 306041"/>
                <a:gd name="connsiteY0" fmla="*/ 1271 h 133861"/>
                <a:gd name="connsiteX1" fmla="*/ 304643 w 306041"/>
                <a:gd name="connsiteY1" fmla="*/ 0 h 133861"/>
                <a:gd name="connsiteX2" fmla="*/ 0 w 306041"/>
                <a:gd name="connsiteY2" fmla="*/ 132845 h 133861"/>
                <a:gd name="connsiteX3" fmla="*/ 890 w 306041"/>
                <a:gd name="connsiteY3" fmla="*/ 132845 h 133861"/>
                <a:gd name="connsiteX4" fmla="*/ 890 w 306041"/>
                <a:gd name="connsiteY4" fmla="*/ 132845 h 133861"/>
                <a:gd name="connsiteX5" fmla="*/ 890 w 306041"/>
                <a:gd name="connsiteY5" fmla="*/ 132845 h 133861"/>
                <a:gd name="connsiteX6" fmla="*/ 890 w 306041"/>
                <a:gd name="connsiteY6" fmla="*/ 132845 h 133861"/>
                <a:gd name="connsiteX7" fmla="*/ 890 w 306041"/>
                <a:gd name="connsiteY7" fmla="*/ 132845 h 133861"/>
                <a:gd name="connsiteX8" fmla="*/ 890 w 306041"/>
                <a:gd name="connsiteY8" fmla="*/ 133861 h 133861"/>
                <a:gd name="connsiteX9" fmla="*/ 306042 w 306041"/>
                <a:gd name="connsiteY9" fmla="*/ 2924 h 1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41" h="133861">
                  <a:moveTo>
                    <a:pt x="306042" y="1271"/>
                  </a:moveTo>
                  <a:lnTo>
                    <a:pt x="304643" y="0"/>
                  </a:lnTo>
                  <a:lnTo>
                    <a:pt x="0" y="132845"/>
                  </a:lnTo>
                  <a:lnTo>
                    <a:pt x="890" y="132845"/>
                  </a:lnTo>
                  <a:lnTo>
                    <a:pt x="890" y="132845"/>
                  </a:lnTo>
                  <a:lnTo>
                    <a:pt x="890" y="132845"/>
                  </a:lnTo>
                  <a:cubicBezTo>
                    <a:pt x="890" y="132845"/>
                    <a:pt x="890" y="132845"/>
                    <a:pt x="890" y="132845"/>
                  </a:cubicBezTo>
                  <a:cubicBezTo>
                    <a:pt x="890" y="132845"/>
                    <a:pt x="890" y="132845"/>
                    <a:pt x="890" y="132845"/>
                  </a:cubicBezTo>
                  <a:lnTo>
                    <a:pt x="890" y="133861"/>
                  </a:lnTo>
                  <a:lnTo>
                    <a:pt x="306042" y="2924"/>
                  </a:lnTo>
                  <a:close/>
                </a:path>
              </a:pathLst>
            </a:custGeom>
            <a:solidFill>
              <a:srgbClr val="000000"/>
            </a:solidFill>
            <a:ln w="1268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0D454BA1-1452-4B0E-9DC9-656B8AB83293}"/>
                </a:ext>
              </a:extLst>
            </p:cNvPr>
            <p:cNvSpPr/>
            <p:nvPr/>
          </p:nvSpPr>
          <p:spPr>
            <a:xfrm>
              <a:off x="602675" y="1892413"/>
              <a:ext cx="212970" cy="199711"/>
            </a:xfrm>
            <a:custGeom>
              <a:avLst/>
              <a:gdLst>
                <a:gd name="connsiteX0" fmla="*/ 9917 w 212970"/>
                <a:gd name="connsiteY0" fmla="*/ 3559 h 199711"/>
                <a:gd name="connsiteX1" fmla="*/ 5236 w 212970"/>
                <a:gd name="connsiteY1" fmla="*/ 16208 h 199711"/>
                <a:gd name="connsiteX2" fmla="*/ 5086 w 212970"/>
                <a:gd name="connsiteY2" fmla="*/ 16272 h 199711"/>
                <a:gd name="connsiteX3" fmla="*/ 0 w 212970"/>
                <a:gd name="connsiteY3" fmla="*/ 18433 h 199711"/>
                <a:gd name="connsiteX4" fmla="*/ 196696 w 212970"/>
                <a:gd name="connsiteY4" fmla="*/ 198440 h 199711"/>
                <a:gd name="connsiteX5" fmla="*/ 198094 w 212970"/>
                <a:gd name="connsiteY5" fmla="*/ 199712 h 199711"/>
                <a:gd name="connsiteX6" fmla="*/ 198094 w 212970"/>
                <a:gd name="connsiteY6" fmla="*/ 195262 h 199711"/>
                <a:gd name="connsiteX7" fmla="*/ 207244 w 212970"/>
                <a:gd name="connsiteY7" fmla="*/ 186364 h 199711"/>
                <a:gd name="connsiteX8" fmla="*/ 207376 w 212970"/>
                <a:gd name="connsiteY8" fmla="*/ 186364 h 199711"/>
                <a:gd name="connsiteX9" fmla="*/ 212971 w 212970"/>
                <a:gd name="connsiteY9" fmla="*/ 189033 h 199711"/>
                <a:gd name="connsiteX10" fmla="*/ 212971 w 212970"/>
                <a:gd name="connsiteY10" fmla="*/ 189033 h 199711"/>
                <a:gd name="connsiteX11" fmla="*/ 7629 w 212970"/>
                <a:gd name="connsiteY11" fmla="*/ 0 h 199711"/>
                <a:gd name="connsiteX12" fmla="*/ 6612 w 212970"/>
                <a:gd name="connsiteY12" fmla="*/ 0 h 199711"/>
                <a:gd name="connsiteX13" fmla="*/ 9917 w 212970"/>
                <a:gd name="connsiteY13" fmla="*/ 3559 h 19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970" h="199711">
                  <a:moveTo>
                    <a:pt x="9917" y="3559"/>
                  </a:moveTo>
                  <a:cubicBezTo>
                    <a:pt x="12117" y="8339"/>
                    <a:pt x="10022" y="14009"/>
                    <a:pt x="5236" y="16208"/>
                  </a:cubicBezTo>
                  <a:cubicBezTo>
                    <a:pt x="5186" y="16221"/>
                    <a:pt x="5135" y="16246"/>
                    <a:pt x="5086" y="16272"/>
                  </a:cubicBezTo>
                  <a:lnTo>
                    <a:pt x="0" y="18433"/>
                  </a:lnTo>
                  <a:lnTo>
                    <a:pt x="196696" y="198440"/>
                  </a:lnTo>
                  <a:lnTo>
                    <a:pt x="198094" y="199712"/>
                  </a:lnTo>
                  <a:lnTo>
                    <a:pt x="198094" y="195262"/>
                  </a:lnTo>
                  <a:cubicBezTo>
                    <a:pt x="198163" y="190279"/>
                    <a:pt x="202260" y="186287"/>
                    <a:pt x="207244" y="186364"/>
                  </a:cubicBezTo>
                  <a:cubicBezTo>
                    <a:pt x="207288" y="186364"/>
                    <a:pt x="207333" y="186364"/>
                    <a:pt x="207376" y="186364"/>
                  </a:cubicBezTo>
                  <a:cubicBezTo>
                    <a:pt x="209513" y="186503"/>
                    <a:pt x="211515" y="187457"/>
                    <a:pt x="212971" y="189033"/>
                  </a:cubicBezTo>
                  <a:lnTo>
                    <a:pt x="212971" y="189033"/>
                  </a:lnTo>
                  <a:lnTo>
                    <a:pt x="7629" y="0"/>
                  </a:lnTo>
                  <a:lnTo>
                    <a:pt x="6612" y="0"/>
                  </a:lnTo>
                  <a:cubicBezTo>
                    <a:pt x="8006" y="877"/>
                    <a:pt x="9146" y="2110"/>
                    <a:pt x="9917" y="3559"/>
                  </a:cubicBezTo>
                  <a:close/>
                </a:path>
              </a:pathLst>
            </a:custGeom>
            <a:solidFill>
              <a:srgbClr val="000000"/>
            </a:solidFill>
            <a:ln w="1268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6AC8E7E3-70CB-41CD-8A43-7AB59F5E54B8}"/>
                </a:ext>
              </a:extLst>
            </p:cNvPr>
            <p:cNvSpPr/>
            <p:nvPr/>
          </p:nvSpPr>
          <p:spPr>
            <a:xfrm>
              <a:off x="471713" y="1890712"/>
              <a:ext cx="141637" cy="75559"/>
            </a:xfrm>
            <a:custGeom>
              <a:avLst/>
              <a:gdLst>
                <a:gd name="connsiteX0" fmla="*/ 0 w 141637"/>
                <a:gd name="connsiteY0" fmla="*/ 75559 h 75559"/>
                <a:gd name="connsiteX1" fmla="*/ 130961 w 141637"/>
                <a:gd name="connsiteY1" fmla="*/ 19498 h 75559"/>
                <a:gd name="connsiteX2" fmla="*/ 136047 w 141637"/>
                <a:gd name="connsiteY2" fmla="*/ 17337 h 75559"/>
                <a:gd name="connsiteX3" fmla="*/ 140868 w 141637"/>
                <a:gd name="connsiteY3" fmla="*/ 5133 h 75559"/>
                <a:gd name="connsiteX4" fmla="*/ 137446 w 141637"/>
                <a:gd name="connsiteY4" fmla="*/ 1065 h 75559"/>
                <a:gd name="connsiteX5" fmla="*/ 135793 w 141637"/>
                <a:gd name="connsiteY5" fmla="*/ 48 h 75559"/>
                <a:gd name="connsiteX6" fmla="*/ 134140 w 141637"/>
                <a:gd name="connsiteY6" fmla="*/ 48 h 75559"/>
                <a:gd name="connsiteX7" fmla="*/ 132487 w 141637"/>
                <a:gd name="connsiteY7" fmla="*/ 48 h 75559"/>
                <a:gd name="connsiteX8" fmla="*/ 130580 w 141637"/>
                <a:gd name="connsiteY8" fmla="*/ 48 h 75559"/>
                <a:gd name="connsiteX9" fmla="*/ 129308 w 141637"/>
                <a:gd name="connsiteY9" fmla="*/ 48 h 75559"/>
                <a:gd name="connsiteX10" fmla="*/ 509 w 141637"/>
                <a:gd name="connsiteY10" fmla="*/ 55347 h 75559"/>
                <a:gd name="connsiteX11" fmla="*/ 509 w 141637"/>
                <a:gd name="connsiteY11" fmla="*/ 69457 h 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37" h="75559">
                  <a:moveTo>
                    <a:pt x="0" y="75559"/>
                  </a:moveTo>
                  <a:lnTo>
                    <a:pt x="130961" y="19498"/>
                  </a:lnTo>
                  <a:lnTo>
                    <a:pt x="136047" y="17337"/>
                  </a:lnTo>
                  <a:cubicBezTo>
                    <a:pt x="140750" y="15303"/>
                    <a:pt x="142908" y="9836"/>
                    <a:pt x="140868" y="5133"/>
                  </a:cubicBezTo>
                  <a:cubicBezTo>
                    <a:pt x="140147" y="3467"/>
                    <a:pt x="138959" y="2056"/>
                    <a:pt x="137446" y="1065"/>
                  </a:cubicBezTo>
                  <a:cubicBezTo>
                    <a:pt x="136942" y="658"/>
                    <a:pt x="136386" y="315"/>
                    <a:pt x="135793" y="48"/>
                  </a:cubicBezTo>
                  <a:lnTo>
                    <a:pt x="134140" y="48"/>
                  </a:lnTo>
                  <a:cubicBezTo>
                    <a:pt x="133590" y="-16"/>
                    <a:pt x="133036" y="-16"/>
                    <a:pt x="132487" y="48"/>
                  </a:cubicBezTo>
                  <a:lnTo>
                    <a:pt x="130580" y="48"/>
                  </a:lnTo>
                  <a:lnTo>
                    <a:pt x="129308" y="48"/>
                  </a:lnTo>
                  <a:lnTo>
                    <a:pt x="509" y="55347"/>
                  </a:lnTo>
                  <a:lnTo>
                    <a:pt x="509" y="69457"/>
                  </a:lnTo>
                  <a:close/>
                </a:path>
              </a:pathLst>
            </a:custGeom>
            <a:solidFill>
              <a:srgbClr val="000000"/>
            </a:solidFill>
            <a:ln w="1268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50D702D9-FA09-47E9-B852-E34F7282C4F8}"/>
                </a:ext>
              </a:extLst>
            </p:cNvPr>
            <p:cNvSpPr/>
            <p:nvPr/>
          </p:nvSpPr>
          <p:spPr>
            <a:xfrm>
              <a:off x="3305" y="4668036"/>
              <a:ext cx="51748" cy="60510"/>
            </a:xfrm>
            <a:custGeom>
              <a:avLst/>
              <a:gdLst>
                <a:gd name="connsiteX0" fmla="*/ 51749 w 51748"/>
                <a:gd name="connsiteY0" fmla="*/ 58985 h 60510"/>
                <a:gd name="connsiteX1" fmla="*/ 0 w 51748"/>
                <a:gd name="connsiteY1" fmla="*/ 0 h 60510"/>
                <a:gd name="connsiteX2" fmla="*/ 0 w 51748"/>
                <a:gd name="connsiteY2" fmla="*/ 4830 h 60510"/>
                <a:gd name="connsiteX3" fmla="*/ 48824 w 51748"/>
                <a:gd name="connsiteY3" fmla="*/ 60511 h 60510"/>
                <a:gd name="connsiteX4" fmla="*/ 51749 w 51748"/>
                <a:gd name="connsiteY4" fmla="*/ 58985 h 6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48" h="60510">
                  <a:moveTo>
                    <a:pt x="51749" y="58985"/>
                  </a:moveTo>
                  <a:lnTo>
                    <a:pt x="0" y="0"/>
                  </a:lnTo>
                  <a:lnTo>
                    <a:pt x="0" y="4830"/>
                  </a:lnTo>
                  <a:lnTo>
                    <a:pt x="48824" y="60511"/>
                  </a:lnTo>
                  <a:lnTo>
                    <a:pt x="51749" y="58985"/>
                  </a:lnTo>
                  <a:close/>
                </a:path>
              </a:pathLst>
            </a:custGeom>
            <a:solidFill>
              <a:srgbClr val="000000"/>
            </a:solidFill>
            <a:ln w="1268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BA9E02A5-B23B-4DCE-AC08-D12A45F59B28}"/>
                </a:ext>
              </a:extLst>
            </p:cNvPr>
            <p:cNvSpPr/>
            <p:nvPr/>
          </p:nvSpPr>
          <p:spPr>
            <a:xfrm>
              <a:off x="222633" y="605029"/>
              <a:ext cx="96377" cy="86571"/>
            </a:xfrm>
            <a:custGeom>
              <a:avLst/>
              <a:gdLst>
                <a:gd name="connsiteX0" fmla="*/ 10045 w 96377"/>
                <a:gd name="connsiteY0" fmla="*/ 4449 h 86571"/>
                <a:gd name="connsiteX1" fmla="*/ 4704 w 96377"/>
                <a:gd name="connsiteY1" fmla="*/ 16399 h 86571"/>
                <a:gd name="connsiteX2" fmla="*/ 0 w 96377"/>
                <a:gd name="connsiteY2" fmla="*/ 18179 h 86571"/>
                <a:gd name="connsiteX3" fmla="*/ 79594 w 96377"/>
                <a:gd name="connsiteY3" fmla="*/ 86571 h 86571"/>
                <a:gd name="connsiteX4" fmla="*/ 81628 w 96377"/>
                <a:gd name="connsiteY4" fmla="*/ 85682 h 86571"/>
                <a:gd name="connsiteX5" fmla="*/ 81628 w 96377"/>
                <a:gd name="connsiteY5" fmla="*/ 83902 h 86571"/>
                <a:gd name="connsiteX6" fmla="*/ 90270 w 96377"/>
                <a:gd name="connsiteY6" fmla="*/ 74753 h 86571"/>
                <a:gd name="connsiteX7" fmla="*/ 90528 w 96377"/>
                <a:gd name="connsiteY7" fmla="*/ 74749 h 86571"/>
                <a:gd name="connsiteX8" fmla="*/ 96377 w 96377"/>
                <a:gd name="connsiteY8" fmla="*/ 77164 h 86571"/>
                <a:gd name="connsiteX9" fmla="*/ 96377 w 96377"/>
                <a:gd name="connsiteY9" fmla="*/ 77164 h 86571"/>
                <a:gd name="connsiteX10" fmla="*/ 7375 w 96377"/>
                <a:gd name="connsiteY10" fmla="*/ 890 h 86571"/>
                <a:gd name="connsiteX11" fmla="*/ 6230 w 96377"/>
                <a:gd name="connsiteY11" fmla="*/ 0 h 86571"/>
                <a:gd name="connsiteX12" fmla="*/ 10045 w 96377"/>
                <a:gd name="connsiteY12" fmla="*/ 4449 h 8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377" h="86571">
                  <a:moveTo>
                    <a:pt x="10045" y="4449"/>
                  </a:moveTo>
                  <a:cubicBezTo>
                    <a:pt x="11711" y="9218"/>
                    <a:pt x="9369" y="14459"/>
                    <a:pt x="4704" y="16399"/>
                  </a:cubicBezTo>
                  <a:lnTo>
                    <a:pt x="0" y="18179"/>
                  </a:lnTo>
                  <a:lnTo>
                    <a:pt x="79594" y="86571"/>
                  </a:lnTo>
                  <a:lnTo>
                    <a:pt x="81628" y="85682"/>
                  </a:lnTo>
                  <a:lnTo>
                    <a:pt x="81628" y="83902"/>
                  </a:lnTo>
                  <a:cubicBezTo>
                    <a:pt x="81488" y="78989"/>
                    <a:pt x="85357" y="74893"/>
                    <a:pt x="90270" y="74753"/>
                  </a:cubicBezTo>
                  <a:cubicBezTo>
                    <a:pt x="90357" y="74750"/>
                    <a:pt x="90442" y="74749"/>
                    <a:pt x="90528" y="74749"/>
                  </a:cubicBezTo>
                  <a:cubicBezTo>
                    <a:pt x="92710" y="74798"/>
                    <a:pt x="94795" y="75660"/>
                    <a:pt x="96377" y="77164"/>
                  </a:cubicBezTo>
                  <a:lnTo>
                    <a:pt x="96377" y="77164"/>
                  </a:lnTo>
                  <a:lnTo>
                    <a:pt x="7375" y="890"/>
                  </a:lnTo>
                  <a:lnTo>
                    <a:pt x="6230" y="0"/>
                  </a:lnTo>
                  <a:cubicBezTo>
                    <a:pt x="7981" y="994"/>
                    <a:pt x="9330" y="2567"/>
                    <a:pt x="10045" y="4449"/>
                  </a:cubicBezTo>
                  <a:close/>
                </a:path>
              </a:pathLst>
            </a:custGeom>
            <a:solidFill>
              <a:srgbClr val="000000"/>
            </a:solidFill>
            <a:ln w="1268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D6092185-154E-4068-A860-994728105F9F}"/>
                </a:ext>
              </a:extLst>
            </p:cNvPr>
            <p:cNvSpPr/>
            <p:nvPr/>
          </p:nvSpPr>
          <p:spPr>
            <a:xfrm>
              <a:off x="1295115" y="2203485"/>
              <a:ext cx="16529" cy="198821"/>
            </a:xfrm>
            <a:custGeom>
              <a:avLst/>
              <a:gdLst>
                <a:gd name="connsiteX0" fmla="*/ 15893 w 16529"/>
                <a:gd name="connsiteY0" fmla="*/ 1780 h 198821"/>
                <a:gd name="connsiteX1" fmla="*/ 14495 w 16529"/>
                <a:gd name="connsiteY1" fmla="*/ 0 h 198821"/>
                <a:gd name="connsiteX2" fmla="*/ 13605 w 16529"/>
                <a:gd name="connsiteY2" fmla="*/ 0 h 198821"/>
                <a:gd name="connsiteX3" fmla="*/ 13605 w 16529"/>
                <a:gd name="connsiteY3" fmla="*/ 0 h 198821"/>
                <a:gd name="connsiteX4" fmla="*/ 13605 w 16529"/>
                <a:gd name="connsiteY4" fmla="*/ 0 h 198821"/>
                <a:gd name="connsiteX5" fmla="*/ 13605 w 16529"/>
                <a:gd name="connsiteY5" fmla="*/ 1780 h 198821"/>
                <a:gd name="connsiteX6" fmla="*/ 0 w 16529"/>
                <a:gd name="connsiteY6" fmla="*/ 196025 h 198821"/>
                <a:gd name="connsiteX7" fmla="*/ 0 w 16529"/>
                <a:gd name="connsiteY7" fmla="*/ 197296 h 198821"/>
                <a:gd name="connsiteX8" fmla="*/ 1526 w 16529"/>
                <a:gd name="connsiteY8" fmla="*/ 198822 h 198821"/>
                <a:gd name="connsiteX9" fmla="*/ 3051 w 16529"/>
                <a:gd name="connsiteY9" fmla="*/ 197296 h 198821"/>
                <a:gd name="connsiteX10" fmla="*/ 3051 w 16529"/>
                <a:gd name="connsiteY10" fmla="*/ 196406 h 198821"/>
                <a:gd name="connsiteX11" fmla="*/ 16529 w 16529"/>
                <a:gd name="connsiteY11" fmla="*/ 2034 h 19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29" h="198821">
                  <a:moveTo>
                    <a:pt x="15893" y="1780"/>
                  </a:moveTo>
                  <a:cubicBezTo>
                    <a:pt x="15893" y="890"/>
                    <a:pt x="15893" y="0"/>
                    <a:pt x="14495" y="0"/>
                  </a:cubicBezTo>
                  <a:lnTo>
                    <a:pt x="13605" y="0"/>
                  </a:lnTo>
                  <a:cubicBezTo>
                    <a:pt x="13605" y="0"/>
                    <a:pt x="13605" y="0"/>
                    <a:pt x="13605" y="0"/>
                  </a:cubicBezTo>
                  <a:cubicBezTo>
                    <a:pt x="13605" y="0"/>
                    <a:pt x="13605" y="0"/>
                    <a:pt x="13605" y="0"/>
                  </a:cubicBezTo>
                  <a:lnTo>
                    <a:pt x="13605" y="1780"/>
                  </a:lnTo>
                  <a:lnTo>
                    <a:pt x="0" y="196025"/>
                  </a:lnTo>
                  <a:lnTo>
                    <a:pt x="0" y="197296"/>
                  </a:lnTo>
                  <a:cubicBezTo>
                    <a:pt x="0" y="198135"/>
                    <a:pt x="687" y="198822"/>
                    <a:pt x="1526" y="198822"/>
                  </a:cubicBezTo>
                  <a:cubicBezTo>
                    <a:pt x="2365" y="198822"/>
                    <a:pt x="3051" y="198135"/>
                    <a:pt x="3051" y="197296"/>
                  </a:cubicBezTo>
                  <a:lnTo>
                    <a:pt x="3051" y="196406"/>
                  </a:lnTo>
                  <a:lnTo>
                    <a:pt x="16529" y="2034"/>
                  </a:lnTo>
                  <a:close/>
                </a:path>
              </a:pathLst>
            </a:custGeom>
            <a:solidFill>
              <a:srgbClr val="000000"/>
            </a:solidFill>
            <a:ln w="12685"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D218AFEC-6A3F-4471-A61F-9DEE968E732A}"/>
                </a:ext>
              </a:extLst>
            </p:cNvPr>
            <p:cNvSpPr/>
            <p:nvPr/>
          </p:nvSpPr>
          <p:spPr>
            <a:xfrm>
              <a:off x="1338472" y="3215137"/>
              <a:ext cx="23649" cy="269629"/>
            </a:xfrm>
            <a:custGeom>
              <a:avLst/>
              <a:gdLst>
                <a:gd name="connsiteX0" fmla="*/ 23649 w 23649"/>
                <a:gd name="connsiteY0" fmla="*/ 0 h 269629"/>
                <a:gd name="connsiteX1" fmla="*/ 20344 w 23649"/>
                <a:gd name="connsiteY1" fmla="*/ 1525 h 269629"/>
                <a:gd name="connsiteX2" fmla="*/ 0 w 23649"/>
                <a:gd name="connsiteY2" fmla="*/ 266833 h 269629"/>
                <a:gd name="connsiteX3" fmla="*/ 2924 w 23649"/>
                <a:gd name="connsiteY3" fmla="*/ 269630 h 269629"/>
                <a:gd name="connsiteX4" fmla="*/ 23649 w 23649"/>
                <a:gd name="connsiteY4" fmla="*/ 0 h 269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49" h="269629">
                  <a:moveTo>
                    <a:pt x="23649" y="0"/>
                  </a:moveTo>
                  <a:lnTo>
                    <a:pt x="20344" y="1525"/>
                  </a:lnTo>
                  <a:lnTo>
                    <a:pt x="0" y="266833"/>
                  </a:lnTo>
                  <a:lnTo>
                    <a:pt x="2924" y="269630"/>
                  </a:lnTo>
                  <a:lnTo>
                    <a:pt x="23649" y="0"/>
                  </a:lnTo>
                  <a:close/>
                </a:path>
              </a:pathLst>
            </a:custGeom>
            <a:solidFill>
              <a:srgbClr val="000000"/>
            </a:solidFill>
            <a:ln w="12685"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AD0AD70E-2432-4EB8-A5FD-FB2038A645A2}"/>
                </a:ext>
              </a:extLst>
            </p:cNvPr>
            <p:cNvSpPr/>
            <p:nvPr/>
          </p:nvSpPr>
          <p:spPr>
            <a:xfrm>
              <a:off x="1153855" y="2761432"/>
              <a:ext cx="224413" cy="215474"/>
            </a:xfrm>
            <a:custGeom>
              <a:avLst/>
              <a:gdLst>
                <a:gd name="connsiteX0" fmla="*/ 223524 w 224413"/>
                <a:gd name="connsiteY0" fmla="*/ 214331 h 215474"/>
                <a:gd name="connsiteX1" fmla="*/ 223524 w 224413"/>
                <a:gd name="connsiteY1" fmla="*/ 214331 h 215474"/>
                <a:gd name="connsiteX2" fmla="*/ 223524 w 224413"/>
                <a:gd name="connsiteY2" fmla="*/ 214331 h 215474"/>
                <a:gd name="connsiteX3" fmla="*/ 223524 w 224413"/>
                <a:gd name="connsiteY3" fmla="*/ 214331 h 215474"/>
                <a:gd name="connsiteX4" fmla="*/ 223524 w 224413"/>
                <a:gd name="connsiteY4" fmla="*/ 214331 h 215474"/>
                <a:gd name="connsiteX5" fmla="*/ 224414 w 224413"/>
                <a:gd name="connsiteY5" fmla="*/ 214331 h 215474"/>
                <a:gd name="connsiteX6" fmla="*/ 0 w 224413"/>
                <a:gd name="connsiteY6" fmla="*/ 0 h 215474"/>
                <a:gd name="connsiteX7" fmla="*/ 0 w 224413"/>
                <a:gd name="connsiteY7" fmla="*/ 0 h 215474"/>
                <a:gd name="connsiteX8" fmla="*/ 0 w 224413"/>
                <a:gd name="connsiteY8" fmla="*/ 4195 h 215474"/>
                <a:gd name="connsiteX9" fmla="*/ 224032 w 224413"/>
                <a:gd name="connsiteY9" fmla="*/ 215475 h 21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413" h="215474">
                  <a:moveTo>
                    <a:pt x="223524" y="214331"/>
                  </a:moveTo>
                  <a:lnTo>
                    <a:pt x="223524" y="214331"/>
                  </a:lnTo>
                  <a:lnTo>
                    <a:pt x="223524" y="214331"/>
                  </a:lnTo>
                  <a:lnTo>
                    <a:pt x="223524" y="214331"/>
                  </a:lnTo>
                  <a:lnTo>
                    <a:pt x="223524" y="214331"/>
                  </a:lnTo>
                  <a:lnTo>
                    <a:pt x="224414" y="214331"/>
                  </a:lnTo>
                  <a:lnTo>
                    <a:pt x="0" y="0"/>
                  </a:lnTo>
                  <a:lnTo>
                    <a:pt x="0" y="0"/>
                  </a:lnTo>
                  <a:lnTo>
                    <a:pt x="0" y="4195"/>
                  </a:lnTo>
                  <a:lnTo>
                    <a:pt x="224032" y="215475"/>
                  </a:lnTo>
                  <a:close/>
                </a:path>
              </a:pathLst>
            </a:custGeom>
            <a:solidFill>
              <a:srgbClr val="000000"/>
            </a:solidFill>
            <a:ln w="12685"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D6CE7436-EFD2-42E5-9DB5-521F7DC4DAEB}"/>
                </a:ext>
              </a:extLst>
            </p:cNvPr>
            <p:cNvSpPr/>
            <p:nvPr/>
          </p:nvSpPr>
          <p:spPr>
            <a:xfrm>
              <a:off x="1366571" y="3209544"/>
              <a:ext cx="208266" cy="201110"/>
            </a:xfrm>
            <a:custGeom>
              <a:avLst/>
              <a:gdLst>
                <a:gd name="connsiteX0" fmla="*/ 207376 w 208266"/>
                <a:gd name="connsiteY0" fmla="*/ 200856 h 201110"/>
                <a:gd name="connsiteX1" fmla="*/ 207376 w 208266"/>
                <a:gd name="connsiteY1" fmla="*/ 200856 h 201110"/>
                <a:gd name="connsiteX2" fmla="*/ 207376 w 208266"/>
                <a:gd name="connsiteY2" fmla="*/ 200856 h 201110"/>
                <a:gd name="connsiteX3" fmla="*/ 207376 w 208266"/>
                <a:gd name="connsiteY3" fmla="*/ 200856 h 201110"/>
                <a:gd name="connsiteX4" fmla="*/ 207376 w 208266"/>
                <a:gd name="connsiteY4" fmla="*/ 200856 h 201110"/>
                <a:gd name="connsiteX5" fmla="*/ 208266 w 208266"/>
                <a:gd name="connsiteY5" fmla="*/ 200856 h 201110"/>
                <a:gd name="connsiteX6" fmla="*/ 2034 w 208266"/>
                <a:gd name="connsiteY6" fmla="*/ 0 h 201110"/>
                <a:gd name="connsiteX7" fmla="*/ 0 w 208266"/>
                <a:gd name="connsiteY7" fmla="*/ 2542 h 201110"/>
                <a:gd name="connsiteX8" fmla="*/ 207376 w 208266"/>
                <a:gd name="connsiteY8" fmla="*/ 201110 h 201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266" h="201110">
                  <a:moveTo>
                    <a:pt x="207376" y="200856"/>
                  </a:moveTo>
                  <a:lnTo>
                    <a:pt x="207376" y="200856"/>
                  </a:lnTo>
                  <a:lnTo>
                    <a:pt x="207376" y="200856"/>
                  </a:lnTo>
                  <a:lnTo>
                    <a:pt x="207376" y="200856"/>
                  </a:lnTo>
                  <a:lnTo>
                    <a:pt x="207376" y="200856"/>
                  </a:lnTo>
                  <a:lnTo>
                    <a:pt x="208266" y="200856"/>
                  </a:lnTo>
                  <a:lnTo>
                    <a:pt x="2034" y="0"/>
                  </a:lnTo>
                  <a:cubicBezTo>
                    <a:pt x="1500" y="953"/>
                    <a:pt x="814" y="1818"/>
                    <a:pt x="0" y="2542"/>
                  </a:cubicBezTo>
                  <a:lnTo>
                    <a:pt x="207376" y="201110"/>
                  </a:lnTo>
                  <a:close/>
                </a:path>
              </a:pathLst>
            </a:custGeom>
            <a:solidFill>
              <a:srgbClr val="000000"/>
            </a:solidFill>
            <a:ln w="12685"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10798B9A-BEBC-4E30-A6F4-0894389F86F3}"/>
                </a:ext>
              </a:extLst>
            </p:cNvPr>
            <p:cNvSpPr/>
            <p:nvPr/>
          </p:nvSpPr>
          <p:spPr>
            <a:xfrm>
              <a:off x="1429255" y="2960762"/>
              <a:ext cx="212207" cy="198949"/>
            </a:xfrm>
            <a:custGeom>
              <a:avLst/>
              <a:gdLst>
                <a:gd name="connsiteX0" fmla="*/ 212208 w 212207"/>
                <a:gd name="connsiteY0" fmla="*/ 196407 h 198949"/>
                <a:gd name="connsiteX1" fmla="*/ 3051 w 212207"/>
                <a:gd name="connsiteY1" fmla="*/ 0 h 198949"/>
                <a:gd name="connsiteX2" fmla="*/ 0 w 212207"/>
                <a:gd name="connsiteY2" fmla="*/ 1526 h 198949"/>
                <a:gd name="connsiteX3" fmla="*/ 210936 w 212207"/>
                <a:gd name="connsiteY3" fmla="*/ 198949 h 198949"/>
                <a:gd name="connsiteX4" fmla="*/ 210936 w 212207"/>
                <a:gd name="connsiteY4" fmla="*/ 197932 h 198949"/>
                <a:gd name="connsiteX5" fmla="*/ 210936 w 212207"/>
                <a:gd name="connsiteY5" fmla="*/ 197932 h 198949"/>
                <a:gd name="connsiteX6" fmla="*/ 210936 w 212207"/>
                <a:gd name="connsiteY6" fmla="*/ 197932 h 198949"/>
                <a:gd name="connsiteX7" fmla="*/ 210936 w 212207"/>
                <a:gd name="connsiteY7" fmla="*/ 197932 h 19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07" h="198949">
                  <a:moveTo>
                    <a:pt x="212208" y="196407"/>
                  </a:moveTo>
                  <a:lnTo>
                    <a:pt x="3051" y="0"/>
                  </a:lnTo>
                  <a:lnTo>
                    <a:pt x="0" y="1526"/>
                  </a:lnTo>
                  <a:lnTo>
                    <a:pt x="210936" y="198949"/>
                  </a:lnTo>
                  <a:lnTo>
                    <a:pt x="210936" y="197932"/>
                  </a:lnTo>
                  <a:cubicBezTo>
                    <a:pt x="210936" y="197932"/>
                    <a:pt x="210936" y="197932"/>
                    <a:pt x="210936" y="197932"/>
                  </a:cubicBezTo>
                  <a:lnTo>
                    <a:pt x="210936" y="197932"/>
                  </a:lnTo>
                  <a:lnTo>
                    <a:pt x="210936" y="197932"/>
                  </a:lnTo>
                  <a:close/>
                </a:path>
              </a:pathLst>
            </a:custGeom>
            <a:solidFill>
              <a:srgbClr val="000000"/>
            </a:solidFill>
            <a:ln w="12685"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1828040C-6BBC-44EA-8421-5DAA9F696396}"/>
                </a:ext>
              </a:extLst>
            </p:cNvPr>
            <p:cNvSpPr/>
            <p:nvPr/>
          </p:nvSpPr>
          <p:spPr>
            <a:xfrm>
              <a:off x="1975985" y="5474892"/>
              <a:ext cx="881634" cy="508241"/>
            </a:xfrm>
            <a:custGeom>
              <a:avLst/>
              <a:gdLst>
                <a:gd name="connsiteX0" fmla="*/ 0 w 881634"/>
                <a:gd name="connsiteY0" fmla="*/ 505953 h 508241"/>
                <a:gd name="connsiteX1" fmla="*/ 890 w 881634"/>
                <a:gd name="connsiteY1" fmla="*/ 506843 h 508241"/>
                <a:gd name="connsiteX2" fmla="*/ 890 w 881634"/>
                <a:gd name="connsiteY2" fmla="*/ 506843 h 508241"/>
                <a:gd name="connsiteX3" fmla="*/ 890 w 881634"/>
                <a:gd name="connsiteY3" fmla="*/ 507478 h 508241"/>
                <a:gd name="connsiteX4" fmla="*/ 890 w 881634"/>
                <a:gd name="connsiteY4" fmla="*/ 507478 h 508241"/>
                <a:gd name="connsiteX5" fmla="*/ 890 w 881634"/>
                <a:gd name="connsiteY5" fmla="*/ 507478 h 508241"/>
                <a:gd name="connsiteX6" fmla="*/ 890 w 881634"/>
                <a:gd name="connsiteY6" fmla="*/ 508241 h 508241"/>
                <a:gd name="connsiteX7" fmla="*/ 880872 w 881634"/>
                <a:gd name="connsiteY7" fmla="*/ 4195 h 508241"/>
                <a:gd name="connsiteX8" fmla="*/ 881635 w 881634"/>
                <a:gd name="connsiteY8" fmla="*/ 0 h 50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1634" h="508241">
                  <a:moveTo>
                    <a:pt x="0" y="505953"/>
                  </a:moveTo>
                  <a:lnTo>
                    <a:pt x="890" y="506843"/>
                  </a:lnTo>
                  <a:lnTo>
                    <a:pt x="890" y="506843"/>
                  </a:lnTo>
                  <a:cubicBezTo>
                    <a:pt x="890" y="506843"/>
                    <a:pt x="890" y="506843"/>
                    <a:pt x="890" y="507478"/>
                  </a:cubicBezTo>
                  <a:cubicBezTo>
                    <a:pt x="890" y="508114"/>
                    <a:pt x="890" y="507478"/>
                    <a:pt x="890" y="507478"/>
                  </a:cubicBezTo>
                  <a:lnTo>
                    <a:pt x="890" y="507478"/>
                  </a:lnTo>
                  <a:lnTo>
                    <a:pt x="890" y="508241"/>
                  </a:lnTo>
                  <a:lnTo>
                    <a:pt x="880872" y="4195"/>
                  </a:lnTo>
                  <a:lnTo>
                    <a:pt x="881635" y="0"/>
                  </a:lnTo>
                  <a:close/>
                </a:path>
              </a:pathLst>
            </a:custGeom>
            <a:solidFill>
              <a:srgbClr val="000000"/>
            </a:solidFill>
            <a:ln w="12685"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92161C16-91A8-43F8-8148-251D2897E306}"/>
                </a:ext>
              </a:extLst>
            </p:cNvPr>
            <p:cNvSpPr/>
            <p:nvPr/>
          </p:nvSpPr>
          <p:spPr>
            <a:xfrm>
              <a:off x="314052" y="667065"/>
              <a:ext cx="1277442" cy="535573"/>
            </a:xfrm>
            <a:custGeom>
              <a:avLst/>
              <a:gdLst>
                <a:gd name="connsiteX0" fmla="*/ 0 w 1277442"/>
                <a:gd name="connsiteY0" fmla="*/ 535573 h 535573"/>
                <a:gd name="connsiteX1" fmla="*/ 1277442 w 1277442"/>
                <a:gd name="connsiteY1" fmla="*/ 19450 h 535573"/>
                <a:gd name="connsiteX2" fmla="*/ 1273501 w 1277442"/>
                <a:gd name="connsiteY2" fmla="*/ 16399 h 535573"/>
                <a:gd name="connsiteX3" fmla="*/ 1271848 w 1277442"/>
                <a:gd name="connsiteY3" fmla="*/ 3687 h 535573"/>
                <a:gd name="connsiteX4" fmla="*/ 1276552 w 1277442"/>
                <a:gd name="connsiteY4" fmla="*/ 0 h 535573"/>
                <a:gd name="connsiteX5" fmla="*/ 1275281 w 1277442"/>
                <a:gd name="connsiteY5" fmla="*/ 0 h 535573"/>
                <a:gd name="connsiteX6" fmla="*/ 381 w 1277442"/>
                <a:gd name="connsiteY6" fmla="*/ 515615 h 535573"/>
                <a:gd name="connsiteX7" fmla="*/ 381 w 1277442"/>
                <a:gd name="connsiteY7" fmla="*/ 529344 h 53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442" h="535573">
                  <a:moveTo>
                    <a:pt x="0" y="535573"/>
                  </a:moveTo>
                  <a:lnTo>
                    <a:pt x="1277442" y="19450"/>
                  </a:lnTo>
                  <a:lnTo>
                    <a:pt x="1273501" y="16399"/>
                  </a:lnTo>
                  <a:cubicBezTo>
                    <a:pt x="1269813" y="13190"/>
                    <a:pt x="1269101" y="7732"/>
                    <a:pt x="1271848" y="3687"/>
                  </a:cubicBezTo>
                  <a:cubicBezTo>
                    <a:pt x="1272916" y="1930"/>
                    <a:pt x="1274594" y="620"/>
                    <a:pt x="1276552" y="0"/>
                  </a:cubicBezTo>
                  <a:lnTo>
                    <a:pt x="1275281" y="0"/>
                  </a:lnTo>
                  <a:lnTo>
                    <a:pt x="381" y="515615"/>
                  </a:lnTo>
                  <a:lnTo>
                    <a:pt x="381" y="529344"/>
                  </a:lnTo>
                  <a:close/>
                </a:path>
              </a:pathLst>
            </a:custGeom>
            <a:solidFill>
              <a:srgbClr val="000000"/>
            </a:solidFill>
            <a:ln w="12685"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3F13D8D8-DE34-493B-BD94-A118B984216F}"/>
                </a:ext>
              </a:extLst>
            </p:cNvPr>
            <p:cNvSpPr/>
            <p:nvPr/>
          </p:nvSpPr>
          <p:spPr>
            <a:xfrm>
              <a:off x="1549154" y="802707"/>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8BE24C99-DD5D-4FF0-AC71-C34DC3B9D1CB}"/>
                </a:ext>
              </a:extLst>
            </p:cNvPr>
            <p:cNvSpPr/>
            <p:nvPr/>
          </p:nvSpPr>
          <p:spPr>
            <a:xfrm>
              <a:off x="312526" y="803851"/>
              <a:ext cx="1234339" cy="505444"/>
            </a:xfrm>
            <a:custGeom>
              <a:avLst/>
              <a:gdLst>
                <a:gd name="connsiteX0" fmla="*/ 1234340 w 1234339"/>
                <a:gd name="connsiteY0" fmla="*/ 0 h 505444"/>
                <a:gd name="connsiteX1" fmla="*/ 1234340 w 1234339"/>
                <a:gd name="connsiteY1" fmla="*/ 0 h 505444"/>
                <a:gd name="connsiteX2" fmla="*/ 1234340 w 1234339"/>
                <a:gd name="connsiteY2" fmla="*/ 0 h 505444"/>
                <a:gd name="connsiteX3" fmla="*/ 1234340 w 1234339"/>
                <a:gd name="connsiteY3" fmla="*/ 0 h 505444"/>
                <a:gd name="connsiteX4" fmla="*/ 1234340 w 1234339"/>
                <a:gd name="connsiteY4" fmla="*/ 0 h 505444"/>
                <a:gd name="connsiteX5" fmla="*/ 1234340 w 1234339"/>
                <a:gd name="connsiteY5" fmla="*/ 0 h 505444"/>
                <a:gd name="connsiteX6" fmla="*/ 0 w 1234339"/>
                <a:gd name="connsiteY6" fmla="*/ 501885 h 505444"/>
                <a:gd name="connsiteX7" fmla="*/ 0 w 1234339"/>
                <a:gd name="connsiteY7" fmla="*/ 505445 h 505444"/>
                <a:gd name="connsiteX8" fmla="*/ 1234085 w 1234339"/>
                <a:gd name="connsiteY8" fmla="*/ 3051 h 5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4339" h="505444">
                  <a:moveTo>
                    <a:pt x="1234340" y="0"/>
                  </a:moveTo>
                  <a:lnTo>
                    <a:pt x="1234340" y="0"/>
                  </a:lnTo>
                  <a:cubicBezTo>
                    <a:pt x="1234340" y="0"/>
                    <a:pt x="1234340" y="0"/>
                    <a:pt x="1234340" y="0"/>
                  </a:cubicBezTo>
                  <a:lnTo>
                    <a:pt x="1234340" y="0"/>
                  </a:lnTo>
                  <a:lnTo>
                    <a:pt x="1234340" y="0"/>
                  </a:lnTo>
                  <a:lnTo>
                    <a:pt x="1234340" y="0"/>
                  </a:lnTo>
                  <a:lnTo>
                    <a:pt x="0" y="501885"/>
                  </a:lnTo>
                  <a:lnTo>
                    <a:pt x="0" y="505445"/>
                  </a:lnTo>
                  <a:lnTo>
                    <a:pt x="1234085" y="3051"/>
                  </a:lnTo>
                  <a:close/>
                </a:path>
              </a:pathLst>
            </a:custGeom>
            <a:solidFill>
              <a:srgbClr val="000000"/>
            </a:solidFill>
            <a:ln w="12685"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4B022876-9747-43FE-ACF2-44788EB2E726}"/>
                </a:ext>
              </a:extLst>
            </p:cNvPr>
            <p:cNvSpPr/>
            <p:nvPr/>
          </p:nvSpPr>
          <p:spPr>
            <a:xfrm>
              <a:off x="1121941" y="2746040"/>
              <a:ext cx="31812" cy="239002"/>
            </a:xfrm>
            <a:custGeom>
              <a:avLst/>
              <a:gdLst>
                <a:gd name="connsiteX0" fmla="*/ 9663 w 31812"/>
                <a:gd name="connsiteY0" fmla="*/ 229087 h 239002"/>
                <a:gd name="connsiteX1" fmla="*/ 17947 w 31812"/>
                <a:gd name="connsiteY1" fmla="*/ 238799 h 239002"/>
                <a:gd name="connsiteX2" fmla="*/ 17928 w 31812"/>
                <a:gd name="connsiteY2" fmla="*/ 239002 h 239002"/>
                <a:gd name="connsiteX3" fmla="*/ 31787 w 31812"/>
                <a:gd name="connsiteY3" fmla="*/ 19205 h 239002"/>
                <a:gd name="connsiteX4" fmla="*/ 31787 w 31812"/>
                <a:gd name="connsiteY4" fmla="*/ 15010 h 239002"/>
                <a:gd name="connsiteX5" fmla="*/ 31787 w 31812"/>
                <a:gd name="connsiteY5" fmla="*/ 9925 h 239002"/>
                <a:gd name="connsiteX6" fmla="*/ 23522 w 31812"/>
                <a:gd name="connsiteY6" fmla="*/ 9 h 239002"/>
                <a:gd name="connsiteX7" fmla="*/ 18309 w 31812"/>
                <a:gd name="connsiteY7" fmla="*/ 1535 h 239002"/>
                <a:gd name="connsiteX8" fmla="*/ 16783 w 31812"/>
                <a:gd name="connsiteY8" fmla="*/ 2679 h 239002"/>
                <a:gd name="connsiteX9" fmla="*/ 15766 w 31812"/>
                <a:gd name="connsiteY9" fmla="*/ 4077 h 239002"/>
                <a:gd name="connsiteX10" fmla="*/ 14876 w 31812"/>
                <a:gd name="connsiteY10" fmla="*/ 5476 h 239002"/>
                <a:gd name="connsiteX11" fmla="*/ 14876 w 31812"/>
                <a:gd name="connsiteY11" fmla="*/ 7383 h 239002"/>
                <a:gd name="connsiteX12" fmla="*/ 14876 w 31812"/>
                <a:gd name="connsiteY12" fmla="*/ 8654 h 239002"/>
                <a:gd name="connsiteX13" fmla="*/ 0 w 31812"/>
                <a:gd name="connsiteY13" fmla="*/ 234680 h 239002"/>
                <a:gd name="connsiteX14" fmla="*/ 0 w 31812"/>
                <a:gd name="connsiteY14" fmla="*/ 234680 h 239002"/>
                <a:gd name="connsiteX15" fmla="*/ 9663 w 31812"/>
                <a:gd name="connsiteY15" fmla="*/ 229087 h 23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812" h="239002">
                  <a:moveTo>
                    <a:pt x="9663" y="229087"/>
                  </a:moveTo>
                  <a:cubicBezTo>
                    <a:pt x="14633" y="229481"/>
                    <a:pt x="18341" y="233828"/>
                    <a:pt x="17947" y="238799"/>
                  </a:cubicBezTo>
                  <a:cubicBezTo>
                    <a:pt x="17940" y="238862"/>
                    <a:pt x="17934" y="238939"/>
                    <a:pt x="17928" y="239002"/>
                  </a:cubicBezTo>
                  <a:lnTo>
                    <a:pt x="31787" y="19205"/>
                  </a:lnTo>
                  <a:lnTo>
                    <a:pt x="31787" y="15010"/>
                  </a:lnTo>
                  <a:lnTo>
                    <a:pt x="31787" y="9925"/>
                  </a:lnTo>
                  <a:cubicBezTo>
                    <a:pt x="32158" y="4929"/>
                    <a:pt x="28501" y="543"/>
                    <a:pt x="23522" y="9"/>
                  </a:cubicBezTo>
                  <a:cubicBezTo>
                    <a:pt x="21663" y="-79"/>
                    <a:pt x="19830" y="467"/>
                    <a:pt x="18309" y="1535"/>
                  </a:cubicBezTo>
                  <a:lnTo>
                    <a:pt x="16783" y="2679"/>
                  </a:lnTo>
                  <a:cubicBezTo>
                    <a:pt x="16413" y="3124"/>
                    <a:pt x="16073" y="3594"/>
                    <a:pt x="15766" y="4077"/>
                  </a:cubicBezTo>
                  <a:lnTo>
                    <a:pt x="14876" y="5476"/>
                  </a:lnTo>
                  <a:cubicBezTo>
                    <a:pt x="14816" y="6111"/>
                    <a:pt x="14816" y="6747"/>
                    <a:pt x="14876" y="7383"/>
                  </a:cubicBezTo>
                  <a:cubicBezTo>
                    <a:pt x="14802" y="7802"/>
                    <a:pt x="14802" y="8234"/>
                    <a:pt x="14876" y="8654"/>
                  </a:cubicBezTo>
                  <a:lnTo>
                    <a:pt x="0" y="234680"/>
                  </a:lnTo>
                  <a:lnTo>
                    <a:pt x="0" y="234680"/>
                  </a:lnTo>
                  <a:cubicBezTo>
                    <a:pt x="1466" y="230739"/>
                    <a:pt x="5518" y="228400"/>
                    <a:pt x="9663" y="229087"/>
                  </a:cubicBezTo>
                  <a:close/>
                </a:path>
              </a:pathLst>
            </a:custGeom>
            <a:solidFill>
              <a:srgbClr val="000000"/>
            </a:solidFill>
            <a:ln w="12685"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56CB9180-7288-4600-9B57-2D32790FDAEA}"/>
                </a:ext>
              </a:extLst>
            </p:cNvPr>
            <p:cNvSpPr/>
            <p:nvPr/>
          </p:nvSpPr>
          <p:spPr>
            <a:xfrm>
              <a:off x="1138725" y="2990255"/>
              <a:ext cx="217039" cy="208991"/>
            </a:xfrm>
            <a:custGeom>
              <a:avLst/>
              <a:gdLst>
                <a:gd name="connsiteX0" fmla="*/ 217039 w 217039"/>
                <a:gd name="connsiteY0" fmla="*/ 207466 h 208991"/>
                <a:gd name="connsiteX1" fmla="*/ 254 w 217039"/>
                <a:gd name="connsiteY1" fmla="*/ 0 h 208991"/>
                <a:gd name="connsiteX2" fmla="*/ 0 w 217039"/>
                <a:gd name="connsiteY2" fmla="*/ 4195 h 208991"/>
                <a:gd name="connsiteX3" fmla="*/ 213861 w 217039"/>
                <a:gd name="connsiteY3" fmla="*/ 208992 h 208991"/>
                <a:gd name="connsiteX4" fmla="*/ 217039 w 217039"/>
                <a:gd name="connsiteY4" fmla="*/ 207466 h 208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39" h="208991">
                  <a:moveTo>
                    <a:pt x="217039" y="207466"/>
                  </a:moveTo>
                  <a:lnTo>
                    <a:pt x="254" y="0"/>
                  </a:lnTo>
                  <a:lnTo>
                    <a:pt x="0" y="4195"/>
                  </a:lnTo>
                  <a:lnTo>
                    <a:pt x="213861" y="208992"/>
                  </a:lnTo>
                  <a:lnTo>
                    <a:pt x="217039" y="207466"/>
                  </a:lnTo>
                  <a:close/>
                </a:path>
              </a:pathLst>
            </a:custGeom>
            <a:solidFill>
              <a:srgbClr val="000000"/>
            </a:solidFill>
            <a:ln w="12685"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1E3127E9-3E37-45F8-8D48-2A4CD4987DB0}"/>
                </a:ext>
              </a:extLst>
            </p:cNvPr>
            <p:cNvSpPr/>
            <p:nvPr/>
          </p:nvSpPr>
          <p:spPr>
            <a:xfrm>
              <a:off x="2133901" y="1473285"/>
              <a:ext cx="176225" cy="80850"/>
            </a:xfrm>
            <a:custGeom>
              <a:avLst/>
              <a:gdLst>
                <a:gd name="connsiteX0" fmla="*/ 175717 w 176225"/>
                <a:gd name="connsiteY0" fmla="*/ 3814 h 80850"/>
                <a:gd name="connsiteX1" fmla="*/ 176225 w 176225"/>
                <a:gd name="connsiteY1" fmla="*/ 0 h 80850"/>
                <a:gd name="connsiteX2" fmla="*/ 175971 w 176225"/>
                <a:gd name="connsiteY2" fmla="*/ 127 h 80850"/>
                <a:gd name="connsiteX3" fmla="*/ 381 w 176225"/>
                <a:gd name="connsiteY3" fmla="*/ 77037 h 80850"/>
                <a:gd name="connsiteX4" fmla="*/ 0 w 176225"/>
                <a:gd name="connsiteY4" fmla="*/ 80851 h 80850"/>
                <a:gd name="connsiteX5" fmla="*/ 175717 w 176225"/>
                <a:gd name="connsiteY5" fmla="*/ 3814 h 8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225" h="80850">
                  <a:moveTo>
                    <a:pt x="175717" y="3814"/>
                  </a:moveTo>
                  <a:lnTo>
                    <a:pt x="176225" y="0"/>
                  </a:lnTo>
                  <a:lnTo>
                    <a:pt x="175971" y="127"/>
                  </a:lnTo>
                  <a:lnTo>
                    <a:pt x="381" y="77037"/>
                  </a:lnTo>
                  <a:lnTo>
                    <a:pt x="0" y="80851"/>
                  </a:lnTo>
                  <a:lnTo>
                    <a:pt x="175717" y="3814"/>
                  </a:lnTo>
                  <a:close/>
                </a:path>
              </a:pathLst>
            </a:custGeom>
            <a:solidFill>
              <a:srgbClr val="000000"/>
            </a:solidFill>
            <a:ln w="12685"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29820489-47F6-45BE-B89A-66ED5EA8AB34}"/>
                </a:ext>
              </a:extLst>
            </p:cNvPr>
            <p:cNvSpPr/>
            <p:nvPr/>
          </p:nvSpPr>
          <p:spPr>
            <a:xfrm>
              <a:off x="2279103" y="1461967"/>
              <a:ext cx="49889" cy="279167"/>
            </a:xfrm>
            <a:custGeom>
              <a:avLst/>
              <a:gdLst>
                <a:gd name="connsiteX0" fmla="*/ 31405 w 49889"/>
                <a:gd name="connsiteY0" fmla="*/ 8013 h 279167"/>
                <a:gd name="connsiteX1" fmla="*/ 31405 w 49889"/>
                <a:gd name="connsiteY1" fmla="*/ 11318 h 279167"/>
                <a:gd name="connsiteX2" fmla="*/ 31405 w 49889"/>
                <a:gd name="connsiteY2" fmla="*/ 15131 h 279167"/>
                <a:gd name="connsiteX3" fmla="*/ 0 w 49889"/>
                <a:gd name="connsiteY3" fmla="*/ 279168 h 279167"/>
                <a:gd name="connsiteX4" fmla="*/ 4704 w 49889"/>
                <a:gd name="connsiteY4" fmla="*/ 277007 h 279167"/>
                <a:gd name="connsiteX5" fmla="*/ 13478 w 49889"/>
                <a:gd name="connsiteY5" fmla="*/ 273066 h 279167"/>
                <a:gd name="connsiteX6" fmla="*/ 18818 w 49889"/>
                <a:gd name="connsiteY6" fmla="*/ 270778 h 279167"/>
                <a:gd name="connsiteX7" fmla="*/ 49841 w 49889"/>
                <a:gd name="connsiteY7" fmla="*/ 10301 h 279167"/>
                <a:gd name="connsiteX8" fmla="*/ 49841 w 49889"/>
                <a:gd name="connsiteY8" fmla="*/ 9157 h 279167"/>
                <a:gd name="connsiteX9" fmla="*/ 49841 w 49889"/>
                <a:gd name="connsiteY9" fmla="*/ 7250 h 279167"/>
                <a:gd name="connsiteX10" fmla="*/ 49841 w 49889"/>
                <a:gd name="connsiteY10" fmla="*/ 5851 h 279167"/>
                <a:gd name="connsiteX11" fmla="*/ 49841 w 49889"/>
                <a:gd name="connsiteY11" fmla="*/ 5851 h 279167"/>
                <a:gd name="connsiteX12" fmla="*/ 49079 w 49889"/>
                <a:gd name="connsiteY12" fmla="*/ 4326 h 279167"/>
                <a:gd name="connsiteX13" fmla="*/ 48316 w 49889"/>
                <a:gd name="connsiteY13" fmla="*/ 3182 h 279167"/>
                <a:gd name="connsiteX14" fmla="*/ 48316 w 49889"/>
                <a:gd name="connsiteY14" fmla="*/ 3182 h 279167"/>
                <a:gd name="connsiteX15" fmla="*/ 43230 w 49889"/>
                <a:gd name="connsiteY15" fmla="*/ 512 h 279167"/>
                <a:gd name="connsiteX16" fmla="*/ 31876 w 49889"/>
                <a:gd name="connsiteY16" fmla="*/ 5933 h 279167"/>
                <a:gd name="connsiteX17" fmla="*/ 31405 w 49889"/>
                <a:gd name="connsiteY17" fmla="*/ 8013 h 27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89" h="279167">
                  <a:moveTo>
                    <a:pt x="31405" y="8013"/>
                  </a:moveTo>
                  <a:lnTo>
                    <a:pt x="31405" y="11318"/>
                  </a:lnTo>
                  <a:lnTo>
                    <a:pt x="31405" y="15131"/>
                  </a:lnTo>
                  <a:lnTo>
                    <a:pt x="0" y="279168"/>
                  </a:lnTo>
                  <a:lnTo>
                    <a:pt x="4704" y="277007"/>
                  </a:lnTo>
                  <a:lnTo>
                    <a:pt x="13478" y="273066"/>
                  </a:lnTo>
                  <a:lnTo>
                    <a:pt x="18818" y="270778"/>
                  </a:lnTo>
                  <a:lnTo>
                    <a:pt x="49841" y="10301"/>
                  </a:lnTo>
                  <a:cubicBezTo>
                    <a:pt x="49841" y="10301"/>
                    <a:pt x="49841" y="9538"/>
                    <a:pt x="49841" y="9157"/>
                  </a:cubicBezTo>
                  <a:cubicBezTo>
                    <a:pt x="49905" y="8522"/>
                    <a:pt x="49905" y="7884"/>
                    <a:pt x="49841" y="7250"/>
                  </a:cubicBezTo>
                  <a:lnTo>
                    <a:pt x="49841" y="5851"/>
                  </a:lnTo>
                  <a:lnTo>
                    <a:pt x="49841" y="5851"/>
                  </a:lnTo>
                  <a:lnTo>
                    <a:pt x="49079" y="4326"/>
                  </a:lnTo>
                  <a:lnTo>
                    <a:pt x="48316" y="3182"/>
                  </a:lnTo>
                  <a:lnTo>
                    <a:pt x="48316" y="3182"/>
                  </a:lnTo>
                  <a:cubicBezTo>
                    <a:pt x="46943" y="1783"/>
                    <a:pt x="45163" y="850"/>
                    <a:pt x="43230" y="512"/>
                  </a:cubicBezTo>
                  <a:cubicBezTo>
                    <a:pt x="38602" y="-1128"/>
                    <a:pt x="33516" y="1300"/>
                    <a:pt x="31876" y="5933"/>
                  </a:cubicBezTo>
                  <a:cubicBezTo>
                    <a:pt x="31634" y="6605"/>
                    <a:pt x="31481" y="7303"/>
                    <a:pt x="31405" y="8013"/>
                  </a:cubicBezTo>
                  <a:close/>
                </a:path>
              </a:pathLst>
            </a:custGeom>
            <a:solidFill>
              <a:srgbClr val="000000"/>
            </a:solidFill>
            <a:ln w="12685"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E4D99D0F-DE51-4087-96F2-B4265B8376C8}"/>
                </a:ext>
              </a:extLst>
            </p:cNvPr>
            <p:cNvSpPr/>
            <p:nvPr/>
          </p:nvSpPr>
          <p:spPr>
            <a:xfrm>
              <a:off x="2667790" y="2330609"/>
              <a:ext cx="225178" cy="200220"/>
            </a:xfrm>
            <a:custGeom>
              <a:avLst/>
              <a:gdLst>
                <a:gd name="connsiteX0" fmla="*/ 0 w 225178"/>
                <a:gd name="connsiteY0" fmla="*/ 21230 h 200220"/>
                <a:gd name="connsiteX1" fmla="*/ 205723 w 225178"/>
                <a:gd name="connsiteY1" fmla="*/ 193864 h 200220"/>
                <a:gd name="connsiteX2" fmla="*/ 208520 w 225178"/>
                <a:gd name="connsiteY2" fmla="*/ 196152 h 200220"/>
                <a:gd name="connsiteX3" fmla="*/ 210682 w 225178"/>
                <a:gd name="connsiteY3" fmla="*/ 197932 h 200220"/>
                <a:gd name="connsiteX4" fmla="*/ 222545 w 225178"/>
                <a:gd name="connsiteY4" fmla="*/ 197601 h 200220"/>
                <a:gd name="connsiteX5" fmla="*/ 223397 w 225178"/>
                <a:gd name="connsiteY5" fmla="*/ 196534 h 200220"/>
                <a:gd name="connsiteX6" fmla="*/ 225177 w 225178"/>
                <a:gd name="connsiteY6" fmla="*/ 191067 h 200220"/>
                <a:gd name="connsiteX7" fmla="*/ 225177 w 225178"/>
                <a:gd name="connsiteY7" fmla="*/ 189160 h 200220"/>
                <a:gd name="connsiteX8" fmla="*/ 225177 w 225178"/>
                <a:gd name="connsiteY8" fmla="*/ 187508 h 200220"/>
                <a:gd name="connsiteX9" fmla="*/ 224414 w 225178"/>
                <a:gd name="connsiteY9" fmla="*/ 185855 h 200220"/>
                <a:gd name="connsiteX10" fmla="*/ 223269 w 225178"/>
                <a:gd name="connsiteY10" fmla="*/ 184457 h 200220"/>
                <a:gd name="connsiteX11" fmla="*/ 222507 w 225178"/>
                <a:gd name="connsiteY11" fmla="*/ 183440 h 200220"/>
                <a:gd name="connsiteX12" fmla="*/ 3687 w 225178"/>
                <a:gd name="connsiteY12" fmla="*/ 0 h 200220"/>
                <a:gd name="connsiteX13" fmla="*/ 2924 w 225178"/>
                <a:gd name="connsiteY13" fmla="*/ 5339 h 20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178" h="200220">
                  <a:moveTo>
                    <a:pt x="0" y="21230"/>
                  </a:moveTo>
                  <a:lnTo>
                    <a:pt x="205723" y="193864"/>
                  </a:lnTo>
                  <a:lnTo>
                    <a:pt x="208520" y="196152"/>
                  </a:lnTo>
                  <a:lnTo>
                    <a:pt x="210682" y="197932"/>
                  </a:lnTo>
                  <a:cubicBezTo>
                    <a:pt x="214051" y="201110"/>
                    <a:pt x="219366" y="200957"/>
                    <a:pt x="222545" y="197601"/>
                  </a:cubicBezTo>
                  <a:cubicBezTo>
                    <a:pt x="222863" y="197271"/>
                    <a:pt x="223142" y="196915"/>
                    <a:pt x="223397" y="196534"/>
                  </a:cubicBezTo>
                  <a:cubicBezTo>
                    <a:pt x="224592" y="194957"/>
                    <a:pt x="225215" y="193038"/>
                    <a:pt x="225177" y="191067"/>
                  </a:cubicBezTo>
                  <a:lnTo>
                    <a:pt x="225177" y="189160"/>
                  </a:lnTo>
                  <a:cubicBezTo>
                    <a:pt x="225177" y="188525"/>
                    <a:pt x="225177" y="188016"/>
                    <a:pt x="225177" y="187508"/>
                  </a:cubicBezTo>
                  <a:cubicBezTo>
                    <a:pt x="224999" y="186923"/>
                    <a:pt x="224744" y="186364"/>
                    <a:pt x="224414" y="185855"/>
                  </a:cubicBezTo>
                  <a:cubicBezTo>
                    <a:pt x="224109" y="185334"/>
                    <a:pt x="223714" y="184863"/>
                    <a:pt x="223269" y="184457"/>
                  </a:cubicBezTo>
                  <a:cubicBezTo>
                    <a:pt x="223091" y="184063"/>
                    <a:pt x="222824" y="183719"/>
                    <a:pt x="222507" y="183440"/>
                  </a:cubicBezTo>
                  <a:lnTo>
                    <a:pt x="3687" y="0"/>
                  </a:lnTo>
                  <a:lnTo>
                    <a:pt x="2924" y="5339"/>
                  </a:lnTo>
                  <a:close/>
                </a:path>
              </a:pathLst>
            </a:custGeom>
            <a:solidFill>
              <a:srgbClr val="000000"/>
            </a:solidFill>
            <a:ln w="12685"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4461851D-AFAE-47F4-8333-501AF79C3252}"/>
                </a:ext>
              </a:extLst>
            </p:cNvPr>
            <p:cNvSpPr/>
            <p:nvPr/>
          </p:nvSpPr>
          <p:spPr>
            <a:xfrm>
              <a:off x="1378269" y="2957711"/>
              <a:ext cx="37762" cy="19195"/>
            </a:xfrm>
            <a:custGeom>
              <a:avLst/>
              <a:gdLst>
                <a:gd name="connsiteX0" fmla="*/ 2161 w 37762"/>
                <a:gd name="connsiteY0" fmla="*/ 18306 h 19195"/>
                <a:gd name="connsiteX1" fmla="*/ 2161 w 37762"/>
                <a:gd name="connsiteY1" fmla="*/ 19196 h 19195"/>
                <a:gd name="connsiteX2" fmla="*/ 37763 w 37762"/>
                <a:gd name="connsiteY2" fmla="*/ 2415 h 19195"/>
                <a:gd name="connsiteX3" fmla="*/ 35220 w 37762"/>
                <a:gd name="connsiteY3" fmla="*/ 0 h 19195"/>
                <a:gd name="connsiteX4" fmla="*/ 890 w 37762"/>
                <a:gd name="connsiteY4" fmla="*/ 16145 h 19195"/>
                <a:gd name="connsiteX5" fmla="*/ 0 w 37762"/>
                <a:gd name="connsiteY5" fmla="*/ 16145 h 19195"/>
                <a:gd name="connsiteX6" fmla="*/ 0 w 37762"/>
                <a:gd name="connsiteY6" fmla="*/ 16145 h 19195"/>
                <a:gd name="connsiteX7" fmla="*/ 890 w 37762"/>
                <a:gd name="connsiteY7" fmla="*/ 16145 h 19195"/>
                <a:gd name="connsiteX8" fmla="*/ 2390 w 37762"/>
                <a:gd name="connsiteY8" fmla="*/ 17441 h 19195"/>
                <a:gd name="connsiteX9" fmla="*/ 2161 w 37762"/>
                <a:gd name="connsiteY9" fmla="*/ 18306 h 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62" h="19195">
                  <a:moveTo>
                    <a:pt x="2161" y="18306"/>
                  </a:moveTo>
                  <a:lnTo>
                    <a:pt x="2161" y="19196"/>
                  </a:lnTo>
                  <a:lnTo>
                    <a:pt x="37763" y="2415"/>
                  </a:lnTo>
                  <a:lnTo>
                    <a:pt x="35220" y="0"/>
                  </a:lnTo>
                  <a:lnTo>
                    <a:pt x="890" y="16145"/>
                  </a:lnTo>
                  <a:lnTo>
                    <a:pt x="0" y="16145"/>
                  </a:lnTo>
                  <a:lnTo>
                    <a:pt x="0" y="16145"/>
                  </a:lnTo>
                  <a:cubicBezTo>
                    <a:pt x="0" y="16145"/>
                    <a:pt x="0" y="16145"/>
                    <a:pt x="890" y="16145"/>
                  </a:cubicBezTo>
                  <a:cubicBezTo>
                    <a:pt x="1666" y="16094"/>
                    <a:pt x="2327" y="16666"/>
                    <a:pt x="2390" y="17441"/>
                  </a:cubicBezTo>
                  <a:cubicBezTo>
                    <a:pt x="2403" y="17746"/>
                    <a:pt x="2327" y="18052"/>
                    <a:pt x="2161" y="18306"/>
                  </a:cubicBezTo>
                  <a:close/>
                </a:path>
              </a:pathLst>
            </a:custGeom>
            <a:solidFill>
              <a:srgbClr val="000000"/>
            </a:solidFill>
            <a:ln w="12685"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110A20D1-3237-4730-A19D-EFED6E6E4F38}"/>
                </a:ext>
              </a:extLst>
            </p:cNvPr>
            <p:cNvSpPr/>
            <p:nvPr/>
          </p:nvSpPr>
          <p:spPr>
            <a:xfrm>
              <a:off x="981826" y="3386627"/>
              <a:ext cx="150668" cy="150641"/>
            </a:xfrm>
            <a:custGeom>
              <a:avLst/>
              <a:gdLst>
                <a:gd name="connsiteX0" fmla="*/ 254 w 150668"/>
                <a:gd name="connsiteY0" fmla="*/ 0 h 150641"/>
                <a:gd name="connsiteX1" fmla="*/ 254 w 150668"/>
                <a:gd name="connsiteY1" fmla="*/ 763 h 150641"/>
                <a:gd name="connsiteX2" fmla="*/ 0 w 150668"/>
                <a:gd name="connsiteY2" fmla="*/ 4322 h 150641"/>
                <a:gd name="connsiteX3" fmla="*/ 147617 w 150668"/>
                <a:gd name="connsiteY3" fmla="*/ 150642 h 150641"/>
                <a:gd name="connsiteX4" fmla="*/ 150669 w 150668"/>
                <a:gd name="connsiteY4" fmla="*/ 149116 h 150641"/>
                <a:gd name="connsiteX5" fmla="*/ 254 w 150668"/>
                <a:gd name="connsiteY5" fmla="*/ 0 h 1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668" h="150641">
                  <a:moveTo>
                    <a:pt x="254" y="0"/>
                  </a:moveTo>
                  <a:lnTo>
                    <a:pt x="254" y="763"/>
                  </a:lnTo>
                  <a:lnTo>
                    <a:pt x="0" y="4322"/>
                  </a:lnTo>
                  <a:lnTo>
                    <a:pt x="147617" y="150642"/>
                  </a:lnTo>
                  <a:lnTo>
                    <a:pt x="150669" y="149116"/>
                  </a:lnTo>
                  <a:lnTo>
                    <a:pt x="254" y="0"/>
                  </a:lnTo>
                  <a:close/>
                </a:path>
              </a:pathLst>
            </a:custGeom>
            <a:solidFill>
              <a:srgbClr val="000000"/>
            </a:solidFill>
            <a:ln w="12685"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3B5306F1-5C9A-4225-A47E-4CBFF43C09CF}"/>
                </a:ext>
              </a:extLst>
            </p:cNvPr>
            <p:cNvSpPr/>
            <p:nvPr/>
          </p:nvSpPr>
          <p:spPr>
            <a:xfrm>
              <a:off x="1159958" y="3908216"/>
              <a:ext cx="8264" cy="12458"/>
            </a:xfrm>
            <a:custGeom>
              <a:avLst/>
              <a:gdLst>
                <a:gd name="connsiteX0" fmla="*/ 0 w 8264"/>
                <a:gd name="connsiteY0" fmla="*/ 4322 h 12458"/>
                <a:gd name="connsiteX1" fmla="*/ 8010 w 8264"/>
                <a:gd name="connsiteY1" fmla="*/ 12458 h 12458"/>
                <a:gd name="connsiteX2" fmla="*/ 8010 w 8264"/>
                <a:gd name="connsiteY2" fmla="*/ 11823 h 12458"/>
                <a:gd name="connsiteX3" fmla="*/ 8010 w 8264"/>
                <a:gd name="connsiteY3" fmla="*/ 11823 h 12458"/>
                <a:gd name="connsiteX4" fmla="*/ 8010 w 8264"/>
                <a:gd name="connsiteY4" fmla="*/ 11696 h 12458"/>
                <a:gd name="connsiteX5" fmla="*/ 8264 w 8264"/>
                <a:gd name="connsiteY5" fmla="*/ 8136 h 12458"/>
                <a:gd name="connsiteX6" fmla="*/ 254 w 8264"/>
                <a:gd name="connsiteY6" fmla="*/ 0 h 12458"/>
                <a:gd name="connsiteX7" fmla="*/ 0 w 8264"/>
                <a:gd name="connsiteY7" fmla="*/ 4322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4" h="12458">
                  <a:moveTo>
                    <a:pt x="0" y="4322"/>
                  </a:moveTo>
                  <a:lnTo>
                    <a:pt x="8010" y="12458"/>
                  </a:lnTo>
                  <a:lnTo>
                    <a:pt x="8010" y="11823"/>
                  </a:lnTo>
                  <a:lnTo>
                    <a:pt x="8010" y="11823"/>
                  </a:lnTo>
                  <a:lnTo>
                    <a:pt x="8010" y="11696"/>
                  </a:lnTo>
                  <a:lnTo>
                    <a:pt x="8264" y="8136"/>
                  </a:lnTo>
                  <a:lnTo>
                    <a:pt x="254" y="0"/>
                  </a:lnTo>
                  <a:lnTo>
                    <a:pt x="0" y="4322"/>
                  </a:lnTo>
                  <a:close/>
                </a:path>
              </a:pathLst>
            </a:custGeom>
            <a:solidFill>
              <a:srgbClr val="000000"/>
            </a:solidFill>
            <a:ln w="12685"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068F32DD-0E39-457C-9C17-045E50092E2C}"/>
                </a:ext>
              </a:extLst>
            </p:cNvPr>
            <p:cNvSpPr/>
            <p:nvPr/>
          </p:nvSpPr>
          <p:spPr>
            <a:xfrm>
              <a:off x="1777891" y="2932413"/>
              <a:ext cx="150541" cy="74367"/>
            </a:xfrm>
            <a:custGeom>
              <a:avLst/>
              <a:gdLst>
                <a:gd name="connsiteX0" fmla="*/ 2543 w 150541"/>
                <a:gd name="connsiteY0" fmla="*/ 74368 h 74367"/>
                <a:gd name="connsiteX1" fmla="*/ 150160 w 150541"/>
                <a:gd name="connsiteY1" fmla="*/ 3814 h 74367"/>
                <a:gd name="connsiteX2" fmla="*/ 150542 w 150541"/>
                <a:gd name="connsiteY2" fmla="*/ 0 h 74367"/>
                <a:gd name="connsiteX3" fmla="*/ 0 w 150541"/>
                <a:gd name="connsiteY3" fmla="*/ 71952 h 74367"/>
                <a:gd name="connsiteX4" fmla="*/ 2543 w 150541"/>
                <a:gd name="connsiteY4" fmla="*/ 74368 h 74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541" h="74367">
                  <a:moveTo>
                    <a:pt x="2543" y="74368"/>
                  </a:moveTo>
                  <a:lnTo>
                    <a:pt x="150160" y="3814"/>
                  </a:lnTo>
                  <a:lnTo>
                    <a:pt x="150542" y="0"/>
                  </a:lnTo>
                  <a:lnTo>
                    <a:pt x="0" y="71952"/>
                  </a:lnTo>
                  <a:lnTo>
                    <a:pt x="2543" y="74368"/>
                  </a:lnTo>
                  <a:close/>
                </a:path>
              </a:pathLst>
            </a:custGeom>
            <a:solidFill>
              <a:srgbClr val="000000"/>
            </a:solidFill>
            <a:ln w="12685"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C650588B-D1E4-4F43-A34F-EDD240AE59F3}"/>
                </a:ext>
              </a:extLst>
            </p:cNvPr>
            <p:cNvSpPr/>
            <p:nvPr/>
          </p:nvSpPr>
          <p:spPr>
            <a:xfrm>
              <a:off x="1405987" y="3184119"/>
              <a:ext cx="213352" cy="202254"/>
            </a:xfrm>
            <a:custGeom>
              <a:avLst/>
              <a:gdLst>
                <a:gd name="connsiteX0" fmla="*/ 212716 w 213352"/>
                <a:gd name="connsiteY0" fmla="*/ 201364 h 202254"/>
                <a:gd name="connsiteX1" fmla="*/ 1017 w 213352"/>
                <a:gd name="connsiteY1" fmla="*/ 0 h 202254"/>
                <a:gd name="connsiteX2" fmla="*/ 1017 w 213352"/>
                <a:gd name="connsiteY2" fmla="*/ 0 h 202254"/>
                <a:gd name="connsiteX3" fmla="*/ 1017 w 213352"/>
                <a:gd name="connsiteY3" fmla="*/ 0 h 202254"/>
                <a:gd name="connsiteX4" fmla="*/ 1017 w 213352"/>
                <a:gd name="connsiteY4" fmla="*/ 0 h 202254"/>
                <a:gd name="connsiteX5" fmla="*/ 1017 w 213352"/>
                <a:gd name="connsiteY5" fmla="*/ 0 h 202254"/>
                <a:gd name="connsiteX6" fmla="*/ 0 w 213352"/>
                <a:gd name="connsiteY6" fmla="*/ 0 h 202254"/>
                <a:gd name="connsiteX7" fmla="*/ 212081 w 213352"/>
                <a:gd name="connsiteY7" fmla="*/ 202254 h 202254"/>
                <a:gd name="connsiteX8" fmla="*/ 213352 w 213352"/>
                <a:gd name="connsiteY8" fmla="*/ 202254 h 20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52" h="202254">
                  <a:moveTo>
                    <a:pt x="212716" y="201364"/>
                  </a:moveTo>
                  <a:lnTo>
                    <a:pt x="1017" y="0"/>
                  </a:lnTo>
                  <a:lnTo>
                    <a:pt x="1017" y="0"/>
                  </a:lnTo>
                  <a:lnTo>
                    <a:pt x="1017" y="0"/>
                  </a:lnTo>
                  <a:lnTo>
                    <a:pt x="1017" y="0"/>
                  </a:lnTo>
                  <a:lnTo>
                    <a:pt x="1017" y="0"/>
                  </a:lnTo>
                  <a:lnTo>
                    <a:pt x="0" y="0"/>
                  </a:lnTo>
                  <a:lnTo>
                    <a:pt x="212081" y="202254"/>
                  </a:lnTo>
                  <a:lnTo>
                    <a:pt x="213352" y="202254"/>
                  </a:lnTo>
                  <a:close/>
                </a:path>
              </a:pathLst>
            </a:custGeom>
            <a:solidFill>
              <a:srgbClr val="000000"/>
            </a:solidFill>
            <a:ln w="12685"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10C77680-7467-46D6-BA1C-934125DFA5BD}"/>
                </a:ext>
              </a:extLst>
            </p:cNvPr>
            <p:cNvSpPr/>
            <p:nvPr/>
          </p:nvSpPr>
          <p:spPr>
            <a:xfrm>
              <a:off x="1368097" y="3182975"/>
              <a:ext cx="38016" cy="19958"/>
            </a:xfrm>
            <a:custGeom>
              <a:avLst/>
              <a:gdLst>
                <a:gd name="connsiteX0" fmla="*/ 38017 w 38016"/>
                <a:gd name="connsiteY0" fmla="*/ 2797 h 19958"/>
                <a:gd name="connsiteX1" fmla="*/ 38017 w 38016"/>
                <a:gd name="connsiteY1" fmla="*/ 2797 h 19958"/>
                <a:gd name="connsiteX2" fmla="*/ 37000 w 38016"/>
                <a:gd name="connsiteY2" fmla="*/ 2797 h 19958"/>
                <a:gd name="connsiteX3" fmla="*/ 35601 w 38016"/>
                <a:gd name="connsiteY3" fmla="*/ 1017 h 19958"/>
                <a:gd name="connsiteX4" fmla="*/ 35601 w 38016"/>
                <a:gd name="connsiteY4" fmla="*/ 0 h 19958"/>
                <a:gd name="connsiteX5" fmla="*/ 0 w 38016"/>
                <a:gd name="connsiteY5" fmla="*/ 17035 h 19958"/>
                <a:gd name="connsiteX6" fmla="*/ 1017 w 38016"/>
                <a:gd name="connsiteY6" fmla="*/ 18306 h 19958"/>
                <a:gd name="connsiteX7" fmla="*/ 1017 w 38016"/>
                <a:gd name="connsiteY7" fmla="*/ 19958 h 19958"/>
                <a:gd name="connsiteX8" fmla="*/ 36364 w 38016"/>
                <a:gd name="connsiteY8" fmla="*/ 3051 h 1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6" h="19958">
                  <a:moveTo>
                    <a:pt x="38017" y="2797"/>
                  </a:moveTo>
                  <a:lnTo>
                    <a:pt x="38017" y="2797"/>
                  </a:lnTo>
                  <a:cubicBezTo>
                    <a:pt x="37686" y="2924"/>
                    <a:pt x="37330" y="2924"/>
                    <a:pt x="37000" y="2797"/>
                  </a:cubicBezTo>
                  <a:cubicBezTo>
                    <a:pt x="36135" y="2669"/>
                    <a:pt x="35525" y="1881"/>
                    <a:pt x="35601" y="1017"/>
                  </a:cubicBezTo>
                  <a:lnTo>
                    <a:pt x="35601" y="0"/>
                  </a:lnTo>
                  <a:lnTo>
                    <a:pt x="0" y="17035"/>
                  </a:lnTo>
                  <a:cubicBezTo>
                    <a:pt x="407" y="17403"/>
                    <a:pt x="750" y="17823"/>
                    <a:pt x="1017" y="18306"/>
                  </a:cubicBezTo>
                  <a:cubicBezTo>
                    <a:pt x="1068" y="18852"/>
                    <a:pt x="1068" y="19412"/>
                    <a:pt x="1017" y="19958"/>
                  </a:cubicBezTo>
                  <a:lnTo>
                    <a:pt x="36364" y="3051"/>
                  </a:lnTo>
                  <a:close/>
                </a:path>
              </a:pathLst>
            </a:custGeom>
            <a:solidFill>
              <a:srgbClr val="000000"/>
            </a:solidFill>
            <a:ln w="12685"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511419E9-2FD1-4B71-92FD-6898779FB10D}"/>
                </a:ext>
              </a:extLst>
            </p:cNvPr>
            <p:cNvSpPr/>
            <p:nvPr/>
          </p:nvSpPr>
          <p:spPr>
            <a:xfrm>
              <a:off x="1394925" y="3575279"/>
              <a:ext cx="34583" cy="206957"/>
            </a:xfrm>
            <a:custGeom>
              <a:avLst/>
              <a:gdLst>
                <a:gd name="connsiteX0" fmla="*/ 19326 w 34583"/>
                <a:gd name="connsiteY0" fmla="*/ 6102 h 206957"/>
                <a:gd name="connsiteX1" fmla="*/ 16402 w 34583"/>
                <a:gd name="connsiteY1" fmla="*/ 2924 h 206957"/>
                <a:gd name="connsiteX2" fmla="*/ 16402 w 34583"/>
                <a:gd name="connsiteY2" fmla="*/ 5721 h 206957"/>
                <a:gd name="connsiteX3" fmla="*/ 0 w 34583"/>
                <a:gd name="connsiteY3" fmla="*/ 205305 h 206957"/>
                <a:gd name="connsiteX4" fmla="*/ 9371 w 34583"/>
                <a:gd name="connsiteY4" fmla="*/ 196902 h 206957"/>
                <a:gd name="connsiteX5" fmla="*/ 9536 w 34583"/>
                <a:gd name="connsiteY5" fmla="*/ 196915 h 206957"/>
                <a:gd name="connsiteX6" fmla="*/ 17673 w 34583"/>
                <a:gd name="connsiteY6" fmla="*/ 206958 h 206957"/>
                <a:gd name="connsiteX7" fmla="*/ 34584 w 34583"/>
                <a:gd name="connsiteY7" fmla="*/ 0 h 206957"/>
                <a:gd name="connsiteX8" fmla="*/ 34584 w 34583"/>
                <a:gd name="connsiteY8" fmla="*/ 0 h 206957"/>
                <a:gd name="connsiteX9" fmla="*/ 32295 w 34583"/>
                <a:gd name="connsiteY9" fmla="*/ 6102 h 206957"/>
                <a:gd name="connsiteX10" fmla="*/ 20089 w 34583"/>
                <a:gd name="connsiteY10" fmla="*/ 6865 h 206957"/>
                <a:gd name="connsiteX11" fmla="*/ 19326 w 34583"/>
                <a:gd name="connsiteY11" fmla="*/ 6102 h 20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83" h="206957">
                  <a:moveTo>
                    <a:pt x="19326" y="6102"/>
                  </a:moveTo>
                  <a:lnTo>
                    <a:pt x="16402" y="2924"/>
                  </a:lnTo>
                  <a:lnTo>
                    <a:pt x="16402" y="5721"/>
                  </a:lnTo>
                  <a:lnTo>
                    <a:pt x="0" y="205305"/>
                  </a:lnTo>
                  <a:cubicBezTo>
                    <a:pt x="267" y="200398"/>
                    <a:pt x="4463" y="196635"/>
                    <a:pt x="9371" y="196902"/>
                  </a:cubicBezTo>
                  <a:cubicBezTo>
                    <a:pt x="9422" y="196902"/>
                    <a:pt x="9485" y="196915"/>
                    <a:pt x="9536" y="196915"/>
                  </a:cubicBezTo>
                  <a:cubicBezTo>
                    <a:pt x="14558" y="197449"/>
                    <a:pt x="18195" y="201936"/>
                    <a:pt x="17673" y="206958"/>
                  </a:cubicBezTo>
                  <a:lnTo>
                    <a:pt x="34584" y="0"/>
                  </a:lnTo>
                  <a:cubicBezTo>
                    <a:pt x="34584" y="0"/>
                    <a:pt x="34584" y="0"/>
                    <a:pt x="34584" y="0"/>
                  </a:cubicBezTo>
                  <a:cubicBezTo>
                    <a:pt x="34571" y="2237"/>
                    <a:pt x="33757" y="4411"/>
                    <a:pt x="32295" y="6102"/>
                  </a:cubicBezTo>
                  <a:cubicBezTo>
                    <a:pt x="29142" y="9687"/>
                    <a:pt x="23675" y="10030"/>
                    <a:pt x="20089" y="6865"/>
                  </a:cubicBezTo>
                  <a:cubicBezTo>
                    <a:pt x="19822" y="6623"/>
                    <a:pt x="19568" y="6369"/>
                    <a:pt x="19326" y="6102"/>
                  </a:cubicBezTo>
                  <a:close/>
                </a:path>
              </a:pathLst>
            </a:custGeom>
            <a:solidFill>
              <a:srgbClr val="000000"/>
            </a:solidFill>
            <a:ln w="12685"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844F71DB-A1B3-4B16-BC3B-57A009485EE8}"/>
                </a:ext>
              </a:extLst>
            </p:cNvPr>
            <p:cNvSpPr/>
            <p:nvPr/>
          </p:nvSpPr>
          <p:spPr>
            <a:xfrm>
              <a:off x="1172037" y="3689691"/>
              <a:ext cx="15130" cy="178100"/>
            </a:xfrm>
            <a:custGeom>
              <a:avLst/>
              <a:gdLst>
                <a:gd name="connsiteX0" fmla="*/ 14876 w 15130"/>
                <a:gd name="connsiteY0" fmla="*/ 0 h 178100"/>
                <a:gd name="connsiteX1" fmla="*/ 14876 w 15130"/>
                <a:gd name="connsiteY1" fmla="*/ 0 h 178100"/>
                <a:gd name="connsiteX2" fmla="*/ 14876 w 15130"/>
                <a:gd name="connsiteY2" fmla="*/ 1017 h 178100"/>
                <a:gd name="connsiteX3" fmla="*/ 12718 w 15130"/>
                <a:gd name="connsiteY3" fmla="*/ 1017 h 178100"/>
                <a:gd name="connsiteX4" fmla="*/ 12715 w 15130"/>
                <a:gd name="connsiteY4" fmla="*/ 1017 h 178100"/>
                <a:gd name="connsiteX5" fmla="*/ 12715 w 15130"/>
                <a:gd name="connsiteY5" fmla="*/ 1017 h 178100"/>
                <a:gd name="connsiteX6" fmla="*/ 0 w 15130"/>
                <a:gd name="connsiteY6" fmla="*/ 175050 h 178100"/>
                <a:gd name="connsiteX7" fmla="*/ 2416 w 15130"/>
                <a:gd name="connsiteY7" fmla="*/ 177465 h 178100"/>
                <a:gd name="connsiteX8" fmla="*/ 2416 w 15130"/>
                <a:gd name="connsiteY8" fmla="*/ 177465 h 178100"/>
                <a:gd name="connsiteX9" fmla="*/ 2416 w 15130"/>
                <a:gd name="connsiteY9" fmla="*/ 178101 h 178100"/>
                <a:gd name="connsiteX10" fmla="*/ 2416 w 15130"/>
                <a:gd name="connsiteY10" fmla="*/ 178101 h 178100"/>
                <a:gd name="connsiteX11" fmla="*/ 2416 w 15130"/>
                <a:gd name="connsiteY11" fmla="*/ 178101 h 178100"/>
                <a:gd name="connsiteX12" fmla="*/ 15130 w 15130"/>
                <a:gd name="connsiteY12" fmla="*/ 127 h 17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30" h="178100">
                  <a:moveTo>
                    <a:pt x="14876" y="0"/>
                  </a:moveTo>
                  <a:lnTo>
                    <a:pt x="14876" y="0"/>
                  </a:lnTo>
                  <a:cubicBezTo>
                    <a:pt x="15003" y="331"/>
                    <a:pt x="15003" y="686"/>
                    <a:pt x="14876" y="1017"/>
                  </a:cubicBezTo>
                  <a:cubicBezTo>
                    <a:pt x="14281" y="1614"/>
                    <a:pt x="13315" y="1614"/>
                    <a:pt x="12718" y="1017"/>
                  </a:cubicBezTo>
                  <a:cubicBezTo>
                    <a:pt x="12717" y="1017"/>
                    <a:pt x="12716" y="1017"/>
                    <a:pt x="12715" y="1017"/>
                  </a:cubicBezTo>
                  <a:lnTo>
                    <a:pt x="12715" y="1017"/>
                  </a:lnTo>
                  <a:lnTo>
                    <a:pt x="0" y="175050"/>
                  </a:lnTo>
                  <a:lnTo>
                    <a:pt x="2416" y="177465"/>
                  </a:lnTo>
                  <a:lnTo>
                    <a:pt x="2416" y="177465"/>
                  </a:lnTo>
                  <a:lnTo>
                    <a:pt x="2416" y="178101"/>
                  </a:lnTo>
                  <a:cubicBezTo>
                    <a:pt x="2416" y="178101"/>
                    <a:pt x="2416" y="178101"/>
                    <a:pt x="2416" y="178101"/>
                  </a:cubicBezTo>
                  <a:lnTo>
                    <a:pt x="2416" y="178101"/>
                  </a:lnTo>
                  <a:lnTo>
                    <a:pt x="15130" y="127"/>
                  </a:lnTo>
                  <a:close/>
                </a:path>
              </a:pathLst>
            </a:custGeom>
            <a:solidFill>
              <a:srgbClr val="000000"/>
            </a:solidFill>
            <a:ln w="12685"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F9EF3E19-CF41-41D4-9211-3AB2A9BC946F}"/>
                </a:ext>
              </a:extLst>
            </p:cNvPr>
            <p:cNvSpPr/>
            <p:nvPr/>
          </p:nvSpPr>
          <p:spPr>
            <a:xfrm>
              <a:off x="1404073" y="2963940"/>
              <a:ext cx="19968" cy="222053"/>
            </a:xfrm>
            <a:custGeom>
              <a:avLst/>
              <a:gdLst>
                <a:gd name="connsiteX0" fmla="*/ 2804 w 19968"/>
                <a:gd name="connsiteY0" fmla="*/ 220179 h 222053"/>
                <a:gd name="connsiteX1" fmla="*/ 2804 w 19968"/>
                <a:gd name="connsiteY1" fmla="*/ 220179 h 222053"/>
                <a:gd name="connsiteX2" fmla="*/ 19968 w 19968"/>
                <a:gd name="connsiteY2" fmla="*/ 0 h 222053"/>
                <a:gd name="connsiteX3" fmla="*/ 19968 w 19968"/>
                <a:gd name="connsiteY3" fmla="*/ 0 h 222053"/>
                <a:gd name="connsiteX4" fmla="*/ 18316 w 19968"/>
                <a:gd name="connsiteY4" fmla="*/ 0 h 222053"/>
                <a:gd name="connsiteX5" fmla="*/ 17298 w 19968"/>
                <a:gd name="connsiteY5" fmla="*/ 0 h 222053"/>
                <a:gd name="connsiteX6" fmla="*/ 6 w 19968"/>
                <a:gd name="connsiteY6" fmla="*/ 219416 h 222053"/>
                <a:gd name="connsiteX7" fmla="*/ 6 w 19968"/>
                <a:gd name="connsiteY7" fmla="*/ 220179 h 222053"/>
                <a:gd name="connsiteX8" fmla="*/ 1405 w 19968"/>
                <a:gd name="connsiteY8" fmla="*/ 221958 h 222053"/>
                <a:gd name="connsiteX9" fmla="*/ 2422 w 19968"/>
                <a:gd name="connsiteY9" fmla="*/ 221958 h 222053"/>
                <a:gd name="connsiteX10" fmla="*/ 2422 w 19968"/>
                <a:gd name="connsiteY10" fmla="*/ 221958 h 22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68" h="222053">
                  <a:moveTo>
                    <a:pt x="2804" y="220179"/>
                  </a:moveTo>
                  <a:lnTo>
                    <a:pt x="2804" y="220179"/>
                  </a:lnTo>
                  <a:lnTo>
                    <a:pt x="19968" y="0"/>
                  </a:lnTo>
                  <a:lnTo>
                    <a:pt x="19968" y="0"/>
                  </a:lnTo>
                  <a:lnTo>
                    <a:pt x="18316" y="0"/>
                  </a:lnTo>
                  <a:lnTo>
                    <a:pt x="17298" y="0"/>
                  </a:lnTo>
                  <a:lnTo>
                    <a:pt x="6" y="219416"/>
                  </a:lnTo>
                  <a:lnTo>
                    <a:pt x="6" y="220179"/>
                  </a:lnTo>
                  <a:cubicBezTo>
                    <a:pt x="-70" y="221043"/>
                    <a:pt x="540" y="221831"/>
                    <a:pt x="1405" y="221958"/>
                  </a:cubicBezTo>
                  <a:cubicBezTo>
                    <a:pt x="1736" y="222085"/>
                    <a:pt x="2092" y="222085"/>
                    <a:pt x="2422" y="221958"/>
                  </a:cubicBezTo>
                  <a:lnTo>
                    <a:pt x="2422" y="221958"/>
                  </a:lnTo>
                  <a:close/>
                </a:path>
              </a:pathLst>
            </a:custGeom>
            <a:solidFill>
              <a:srgbClr val="000000"/>
            </a:solidFill>
            <a:ln w="12685"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DA4CCCF5-6C27-4775-BA47-3487ABD23A20}"/>
                </a:ext>
              </a:extLst>
            </p:cNvPr>
            <p:cNvSpPr/>
            <p:nvPr/>
          </p:nvSpPr>
          <p:spPr>
            <a:xfrm>
              <a:off x="1360468" y="2974237"/>
              <a:ext cx="20017" cy="222593"/>
            </a:xfrm>
            <a:custGeom>
              <a:avLst/>
              <a:gdLst>
                <a:gd name="connsiteX0" fmla="*/ 19962 w 20017"/>
                <a:gd name="connsiteY0" fmla="*/ 1780 h 222593"/>
                <a:gd name="connsiteX1" fmla="*/ 18996 w 20017"/>
                <a:gd name="connsiteY1" fmla="*/ 51 h 222593"/>
                <a:gd name="connsiteX2" fmla="*/ 18563 w 20017"/>
                <a:gd name="connsiteY2" fmla="*/ 0 h 222593"/>
                <a:gd name="connsiteX3" fmla="*/ 17673 w 20017"/>
                <a:gd name="connsiteY3" fmla="*/ 0 h 222593"/>
                <a:gd name="connsiteX4" fmla="*/ 17673 w 20017"/>
                <a:gd name="connsiteY4" fmla="*/ 0 h 222593"/>
                <a:gd name="connsiteX5" fmla="*/ 17673 w 20017"/>
                <a:gd name="connsiteY5" fmla="*/ 0 h 222593"/>
                <a:gd name="connsiteX6" fmla="*/ 17673 w 20017"/>
                <a:gd name="connsiteY6" fmla="*/ 1017 h 222593"/>
                <a:gd name="connsiteX7" fmla="*/ 0 w 20017"/>
                <a:gd name="connsiteY7" fmla="*/ 222594 h 222593"/>
                <a:gd name="connsiteX8" fmla="*/ 3051 w 20017"/>
                <a:gd name="connsiteY8" fmla="*/ 222594 h 222593"/>
                <a:gd name="connsiteX9" fmla="*/ 19962 w 20017"/>
                <a:gd name="connsiteY9" fmla="*/ 3051 h 22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17" h="222593">
                  <a:moveTo>
                    <a:pt x="19962" y="1780"/>
                  </a:moveTo>
                  <a:cubicBezTo>
                    <a:pt x="20178" y="1042"/>
                    <a:pt x="19746" y="267"/>
                    <a:pt x="18996" y="51"/>
                  </a:cubicBezTo>
                  <a:cubicBezTo>
                    <a:pt x="18856" y="13"/>
                    <a:pt x="18716" y="0"/>
                    <a:pt x="18563" y="0"/>
                  </a:cubicBezTo>
                  <a:cubicBezTo>
                    <a:pt x="18563" y="0"/>
                    <a:pt x="18563" y="0"/>
                    <a:pt x="17673" y="0"/>
                  </a:cubicBezTo>
                  <a:lnTo>
                    <a:pt x="17673" y="0"/>
                  </a:lnTo>
                  <a:lnTo>
                    <a:pt x="17673" y="0"/>
                  </a:lnTo>
                  <a:lnTo>
                    <a:pt x="17673" y="1017"/>
                  </a:lnTo>
                  <a:lnTo>
                    <a:pt x="0" y="222594"/>
                  </a:lnTo>
                  <a:cubicBezTo>
                    <a:pt x="1004" y="222403"/>
                    <a:pt x="2047" y="222403"/>
                    <a:pt x="3051" y="222594"/>
                  </a:cubicBezTo>
                  <a:lnTo>
                    <a:pt x="19962" y="3051"/>
                  </a:lnTo>
                  <a:close/>
                </a:path>
              </a:pathLst>
            </a:custGeom>
            <a:solidFill>
              <a:srgbClr val="000000"/>
            </a:solidFill>
            <a:ln w="12685"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BF79FBD6-1B3F-4042-BB05-D4DC56B0575D}"/>
                </a:ext>
              </a:extLst>
            </p:cNvPr>
            <p:cNvSpPr/>
            <p:nvPr/>
          </p:nvSpPr>
          <p:spPr>
            <a:xfrm>
              <a:off x="1161611" y="3884826"/>
              <a:ext cx="8264" cy="12458"/>
            </a:xfrm>
            <a:custGeom>
              <a:avLst/>
              <a:gdLst>
                <a:gd name="connsiteX0" fmla="*/ 254 w 8264"/>
                <a:gd name="connsiteY0" fmla="*/ 0 h 12458"/>
                <a:gd name="connsiteX1" fmla="*/ 0 w 8264"/>
                <a:gd name="connsiteY1" fmla="*/ 4322 h 12458"/>
                <a:gd name="connsiteX2" fmla="*/ 8010 w 8264"/>
                <a:gd name="connsiteY2" fmla="*/ 12458 h 12458"/>
                <a:gd name="connsiteX3" fmla="*/ 8010 w 8264"/>
                <a:gd name="connsiteY3" fmla="*/ 11696 h 12458"/>
                <a:gd name="connsiteX4" fmla="*/ 8265 w 8264"/>
                <a:gd name="connsiteY4" fmla="*/ 8136 h 12458"/>
                <a:gd name="connsiteX5" fmla="*/ 254 w 8264"/>
                <a:gd name="connsiteY5" fmla="*/ 0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4" h="12458">
                  <a:moveTo>
                    <a:pt x="254" y="0"/>
                  </a:moveTo>
                  <a:lnTo>
                    <a:pt x="0" y="4322"/>
                  </a:lnTo>
                  <a:lnTo>
                    <a:pt x="8010" y="12458"/>
                  </a:lnTo>
                  <a:lnTo>
                    <a:pt x="8010" y="11696"/>
                  </a:lnTo>
                  <a:lnTo>
                    <a:pt x="8265" y="8136"/>
                  </a:lnTo>
                  <a:lnTo>
                    <a:pt x="254" y="0"/>
                  </a:lnTo>
                  <a:close/>
                </a:path>
              </a:pathLst>
            </a:custGeom>
            <a:solidFill>
              <a:srgbClr val="000000"/>
            </a:solidFill>
            <a:ln w="12685"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832C61D4-DAE3-4B09-8EDA-C1BCD2AF9EE2}"/>
                </a:ext>
              </a:extLst>
            </p:cNvPr>
            <p:cNvSpPr/>
            <p:nvPr/>
          </p:nvSpPr>
          <p:spPr>
            <a:xfrm>
              <a:off x="1394397" y="3810077"/>
              <a:ext cx="19" cy="1017"/>
            </a:xfrm>
            <a:custGeom>
              <a:avLst/>
              <a:gdLst>
                <a:gd name="connsiteX0" fmla="*/ 19 w 19"/>
                <a:gd name="connsiteY0" fmla="*/ 0 h 1017"/>
                <a:gd name="connsiteX1" fmla="*/ 19 w 19"/>
                <a:gd name="connsiteY1" fmla="*/ 0 h 1017"/>
                <a:gd name="connsiteX2" fmla="*/ 19 w 19"/>
                <a:gd name="connsiteY2" fmla="*/ 1017 h 1017"/>
                <a:gd name="connsiteX3" fmla="*/ 19 w 19"/>
                <a:gd name="connsiteY3" fmla="*/ 254 h 1017"/>
              </a:gdLst>
              <a:ahLst/>
              <a:cxnLst>
                <a:cxn ang="0">
                  <a:pos x="connsiteX0" y="connsiteY0"/>
                </a:cxn>
                <a:cxn ang="0">
                  <a:pos x="connsiteX1" y="connsiteY1"/>
                </a:cxn>
                <a:cxn ang="0">
                  <a:pos x="connsiteX2" y="connsiteY2"/>
                </a:cxn>
                <a:cxn ang="0">
                  <a:pos x="connsiteX3" y="connsiteY3"/>
                </a:cxn>
              </a:cxnLst>
              <a:rect l="l" t="t" r="r" b="b"/>
              <a:pathLst>
                <a:path w="19" h="1017">
                  <a:moveTo>
                    <a:pt x="19" y="0"/>
                  </a:moveTo>
                  <a:lnTo>
                    <a:pt x="19" y="0"/>
                  </a:lnTo>
                  <a:cubicBezTo>
                    <a:pt x="-6" y="343"/>
                    <a:pt x="-6" y="674"/>
                    <a:pt x="19" y="1017"/>
                  </a:cubicBezTo>
                  <a:lnTo>
                    <a:pt x="19" y="254"/>
                  </a:lnTo>
                  <a:close/>
                </a:path>
              </a:pathLst>
            </a:custGeom>
            <a:solidFill>
              <a:srgbClr val="000000"/>
            </a:solidFill>
            <a:ln w="12685"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CD486E4C-6575-4106-8424-FF95BCA7A78C}"/>
                </a:ext>
              </a:extLst>
            </p:cNvPr>
            <p:cNvSpPr/>
            <p:nvPr/>
          </p:nvSpPr>
          <p:spPr>
            <a:xfrm>
              <a:off x="1392961" y="3806050"/>
              <a:ext cx="56" cy="976"/>
            </a:xfrm>
            <a:custGeom>
              <a:avLst/>
              <a:gdLst>
                <a:gd name="connsiteX0" fmla="*/ 56 w 56"/>
                <a:gd name="connsiteY0" fmla="*/ 976 h 976"/>
                <a:gd name="connsiteX1" fmla="*/ 56 w 56"/>
                <a:gd name="connsiteY1" fmla="*/ 976 h 976"/>
                <a:gd name="connsiteX2" fmla="*/ 56 w 56"/>
                <a:gd name="connsiteY2" fmla="*/ 214 h 976"/>
                <a:gd name="connsiteX3" fmla="*/ 56 w 56"/>
                <a:gd name="connsiteY3" fmla="*/ 976 h 976"/>
              </a:gdLst>
              <a:ahLst/>
              <a:cxnLst>
                <a:cxn ang="0">
                  <a:pos x="connsiteX0" y="connsiteY0"/>
                </a:cxn>
                <a:cxn ang="0">
                  <a:pos x="connsiteX1" y="connsiteY1"/>
                </a:cxn>
                <a:cxn ang="0">
                  <a:pos x="connsiteX2" y="connsiteY2"/>
                </a:cxn>
                <a:cxn ang="0">
                  <a:pos x="connsiteX3" y="connsiteY3"/>
                </a:cxn>
              </a:cxnLst>
              <a:rect l="l" t="t" r="r" b="b"/>
              <a:pathLst>
                <a:path w="56" h="976">
                  <a:moveTo>
                    <a:pt x="56" y="976"/>
                  </a:moveTo>
                  <a:lnTo>
                    <a:pt x="56" y="976"/>
                  </a:lnTo>
                  <a:cubicBezTo>
                    <a:pt x="56" y="976"/>
                    <a:pt x="56" y="976"/>
                    <a:pt x="56" y="214"/>
                  </a:cubicBezTo>
                  <a:cubicBezTo>
                    <a:pt x="56" y="-549"/>
                    <a:pt x="-71" y="976"/>
                    <a:pt x="56" y="976"/>
                  </a:cubicBezTo>
                  <a:close/>
                </a:path>
              </a:pathLst>
            </a:custGeom>
            <a:solidFill>
              <a:srgbClr val="000000"/>
            </a:solidFill>
            <a:ln w="12685"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9356360F-5547-494A-B2AE-0D4D540F5D78}"/>
                </a:ext>
              </a:extLst>
            </p:cNvPr>
            <p:cNvSpPr/>
            <p:nvPr/>
          </p:nvSpPr>
          <p:spPr>
            <a:xfrm>
              <a:off x="1392891" y="3772170"/>
              <a:ext cx="18101" cy="31804"/>
            </a:xfrm>
            <a:custGeom>
              <a:avLst/>
              <a:gdLst>
                <a:gd name="connsiteX0" fmla="*/ 11189 w 18101"/>
                <a:gd name="connsiteY0" fmla="*/ 24 h 31804"/>
                <a:gd name="connsiteX1" fmla="*/ 1666 w 18101"/>
                <a:gd name="connsiteY1" fmla="*/ 8249 h 31804"/>
                <a:gd name="connsiteX2" fmla="*/ 1653 w 18101"/>
                <a:gd name="connsiteY2" fmla="*/ 8414 h 31804"/>
                <a:gd name="connsiteX3" fmla="*/ 1653 w 18101"/>
                <a:gd name="connsiteY3" fmla="*/ 11973 h 31804"/>
                <a:gd name="connsiteX4" fmla="*/ 10044 w 18101"/>
                <a:gd name="connsiteY4" fmla="*/ 7778 h 31804"/>
                <a:gd name="connsiteX5" fmla="*/ 12206 w 18101"/>
                <a:gd name="connsiteY5" fmla="*/ 8541 h 31804"/>
                <a:gd name="connsiteX6" fmla="*/ 11443 w 18101"/>
                <a:gd name="connsiteY6" fmla="*/ 10702 h 31804"/>
                <a:gd name="connsiteX7" fmla="*/ 1399 w 18101"/>
                <a:gd name="connsiteY7" fmla="*/ 15787 h 31804"/>
                <a:gd name="connsiteX8" fmla="*/ 0 w 18101"/>
                <a:gd name="connsiteY8" fmla="*/ 31805 h 31804"/>
                <a:gd name="connsiteX9" fmla="*/ 0 w 18101"/>
                <a:gd name="connsiteY9" fmla="*/ 31805 h 31804"/>
                <a:gd name="connsiteX10" fmla="*/ 0 w 18101"/>
                <a:gd name="connsiteY10" fmla="*/ 30661 h 31804"/>
                <a:gd name="connsiteX11" fmla="*/ 0 w 18101"/>
                <a:gd name="connsiteY11" fmla="*/ 28881 h 31804"/>
                <a:gd name="connsiteX12" fmla="*/ 636 w 18101"/>
                <a:gd name="connsiteY12" fmla="*/ 27864 h 31804"/>
                <a:gd name="connsiteX13" fmla="*/ 1780 w 18101"/>
                <a:gd name="connsiteY13" fmla="*/ 25830 h 31804"/>
                <a:gd name="connsiteX14" fmla="*/ 1780 w 18101"/>
                <a:gd name="connsiteY14" fmla="*/ 25830 h 31804"/>
                <a:gd name="connsiteX15" fmla="*/ 3306 w 18101"/>
                <a:gd name="connsiteY15" fmla="*/ 24686 h 31804"/>
                <a:gd name="connsiteX16" fmla="*/ 4450 w 18101"/>
                <a:gd name="connsiteY16" fmla="*/ 23796 h 31804"/>
                <a:gd name="connsiteX17" fmla="*/ 4450 w 18101"/>
                <a:gd name="connsiteY17" fmla="*/ 23796 h 31804"/>
                <a:gd name="connsiteX18" fmla="*/ 18055 w 18101"/>
                <a:gd name="connsiteY18" fmla="*/ 17059 h 31804"/>
                <a:gd name="connsiteX19" fmla="*/ 18055 w 18101"/>
                <a:gd name="connsiteY19" fmla="*/ 9812 h 31804"/>
                <a:gd name="connsiteX20" fmla="*/ 11189 w 18101"/>
                <a:gd name="connsiteY20" fmla="*/ 24 h 3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101" h="31804">
                  <a:moveTo>
                    <a:pt x="11189" y="24"/>
                  </a:moveTo>
                  <a:cubicBezTo>
                    <a:pt x="6281" y="-332"/>
                    <a:pt x="2022" y="3355"/>
                    <a:pt x="1666" y="8249"/>
                  </a:cubicBezTo>
                  <a:cubicBezTo>
                    <a:pt x="1666" y="8300"/>
                    <a:pt x="1653" y="8363"/>
                    <a:pt x="1653" y="8414"/>
                  </a:cubicBezTo>
                  <a:lnTo>
                    <a:pt x="1653" y="11973"/>
                  </a:lnTo>
                  <a:lnTo>
                    <a:pt x="10044" y="7778"/>
                  </a:lnTo>
                  <a:cubicBezTo>
                    <a:pt x="10858" y="7410"/>
                    <a:pt x="11812" y="7753"/>
                    <a:pt x="12206" y="8541"/>
                  </a:cubicBezTo>
                  <a:cubicBezTo>
                    <a:pt x="12575" y="9355"/>
                    <a:pt x="12231" y="10308"/>
                    <a:pt x="11443" y="10702"/>
                  </a:cubicBezTo>
                  <a:lnTo>
                    <a:pt x="1399" y="15787"/>
                  </a:lnTo>
                  <a:lnTo>
                    <a:pt x="0" y="31805"/>
                  </a:lnTo>
                  <a:cubicBezTo>
                    <a:pt x="0" y="31805"/>
                    <a:pt x="0" y="31805"/>
                    <a:pt x="0" y="31805"/>
                  </a:cubicBezTo>
                  <a:cubicBezTo>
                    <a:pt x="0" y="31805"/>
                    <a:pt x="0" y="31042"/>
                    <a:pt x="0" y="30661"/>
                  </a:cubicBezTo>
                  <a:cubicBezTo>
                    <a:pt x="0" y="30279"/>
                    <a:pt x="0" y="29517"/>
                    <a:pt x="0" y="28881"/>
                  </a:cubicBezTo>
                  <a:cubicBezTo>
                    <a:pt x="0" y="28245"/>
                    <a:pt x="0" y="28881"/>
                    <a:pt x="636" y="27864"/>
                  </a:cubicBezTo>
                  <a:cubicBezTo>
                    <a:pt x="941" y="27139"/>
                    <a:pt x="1322" y="26466"/>
                    <a:pt x="1780" y="25830"/>
                  </a:cubicBezTo>
                  <a:lnTo>
                    <a:pt x="1780" y="25830"/>
                  </a:lnTo>
                  <a:cubicBezTo>
                    <a:pt x="2238" y="25385"/>
                    <a:pt x="2746" y="24991"/>
                    <a:pt x="3306" y="24686"/>
                  </a:cubicBezTo>
                  <a:cubicBezTo>
                    <a:pt x="3662" y="24355"/>
                    <a:pt x="4043" y="24063"/>
                    <a:pt x="4450" y="23796"/>
                  </a:cubicBezTo>
                  <a:lnTo>
                    <a:pt x="4450" y="23796"/>
                  </a:lnTo>
                  <a:lnTo>
                    <a:pt x="18055" y="17059"/>
                  </a:lnTo>
                  <a:lnTo>
                    <a:pt x="18055" y="9812"/>
                  </a:lnTo>
                  <a:cubicBezTo>
                    <a:pt x="18512" y="5300"/>
                    <a:pt x="15588" y="1130"/>
                    <a:pt x="11189" y="24"/>
                  </a:cubicBezTo>
                  <a:close/>
                </a:path>
              </a:pathLst>
            </a:custGeom>
            <a:solidFill>
              <a:srgbClr val="000000"/>
            </a:solidFill>
            <a:ln w="12685"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F4EED72D-FEA8-4258-B466-5269D15A5382}"/>
                </a:ext>
              </a:extLst>
            </p:cNvPr>
            <p:cNvSpPr/>
            <p:nvPr/>
          </p:nvSpPr>
          <p:spPr>
            <a:xfrm>
              <a:off x="1057732" y="3763677"/>
              <a:ext cx="3432" cy="7373"/>
            </a:xfrm>
            <a:custGeom>
              <a:avLst/>
              <a:gdLst>
                <a:gd name="connsiteX0" fmla="*/ 254 w 3432"/>
                <a:gd name="connsiteY0" fmla="*/ 1653 h 7373"/>
                <a:gd name="connsiteX1" fmla="*/ 0 w 3432"/>
                <a:gd name="connsiteY1" fmla="*/ 4322 h 7373"/>
                <a:gd name="connsiteX2" fmla="*/ 3051 w 3432"/>
                <a:gd name="connsiteY2" fmla="*/ 7373 h 7373"/>
                <a:gd name="connsiteX3" fmla="*/ 3433 w 3432"/>
                <a:gd name="connsiteY3" fmla="*/ 0 h 7373"/>
                <a:gd name="connsiteX4" fmla="*/ 254 w 3432"/>
                <a:gd name="connsiteY4" fmla="*/ 1653 h 7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 h="7373">
                  <a:moveTo>
                    <a:pt x="254" y="1653"/>
                  </a:moveTo>
                  <a:lnTo>
                    <a:pt x="0" y="4322"/>
                  </a:lnTo>
                  <a:lnTo>
                    <a:pt x="3051" y="7373"/>
                  </a:lnTo>
                  <a:lnTo>
                    <a:pt x="3433" y="0"/>
                  </a:lnTo>
                  <a:lnTo>
                    <a:pt x="254" y="1653"/>
                  </a:lnTo>
                  <a:close/>
                </a:path>
              </a:pathLst>
            </a:custGeom>
            <a:solidFill>
              <a:srgbClr val="000000"/>
            </a:solidFill>
            <a:ln w="12685"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62DAD182-DB0A-43F1-8E11-09FE25379C91}"/>
                </a:ext>
              </a:extLst>
            </p:cNvPr>
            <p:cNvSpPr/>
            <p:nvPr/>
          </p:nvSpPr>
          <p:spPr>
            <a:xfrm>
              <a:off x="1756022" y="5247213"/>
              <a:ext cx="878328" cy="495401"/>
            </a:xfrm>
            <a:custGeom>
              <a:avLst/>
              <a:gdLst>
                <a:gd name="connsiteX0" fmla="*/ 876803 w 878328"/>
                <a:gd name="connsiteY0" fmla="*/ 1271 h 495401"/>
                <a:gd name="connsiteX1" fmla="*/ 876803 w 878328"/>
                <a:gd name="connsiteY1" fmla="*/ 1271 h 495401"/>
                <a:gd name="connsiteX2" fmla="*/ 876803 w 878328"/>
                <a:gd name="connsiteY2" fmla="*/ 0 h 495401"/>
                <a:gd name="connsiteX3" fmla="*/ 0 w 878328"/>
                <a:gd name="connsiteY3" fmla="*/ 492097 h 495401"/>
                <a:gd name="connsiteX4" fmla="*/ 0 w 878328"/>
                <a:gd name="connsiteY4" fmla="*/ 494385 h 495401"/>
                <a:gd name="connsiteX5" fmla="*/ 1017 w 878328"/>
                <a:gd name="connsiteY5" fmla="*/ 495402 h 495401"/>
                <a:gd name="connsiteX6" fmla="*/ 878329 w 878328"/>
                <a:gd name="connsiteY6" fmla="*/ 2797 h 495401"/>
                <a:gd name="connsiteX7" fmla="*/ 878329 w 878328"/>
                <a:gd name="connsiteY7" fmla="*/ 2797 h 49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28" h="495401">
                  <a:moveTo>
                    <a:pt x="876803" y="1271"/>
                  </a:moveTo>
                  <a:lnTo>
                    <a:pt x="876803" y="1271"/>
                  </a:lnTo>
                  <a:cubicBezTo>
                    <a:pt x="876727" y="852"/>
                    <a:pt x="876727" y="419"/>
                    <a:pt x="876803" y="0"/>
                  </a:cubicBezTo>
                  <a:lnTo>
                    <a:pt x="0" y="492097"/>
                  </a:lnTo>
                  <a:lnTo>
                    <a:pt x="0" y="494385"/>
                  </a:lnTo>
                  <a:lnTo>
                    <a:pt x="1017" y="495402"/>
                  </a:lnTo>
                  <a:lnTo>
                    <a:pt x="878329" y="2797"/>
                  </a:lnTo>
                  <a:lnTo>
                    <a:pt x="878329" y="2797"/>
                  </a:lnTo>
                  <a:close/>
                </a:path>
              </a:pathLst>
            </a:custGeom>
            <a:solidFill>
              <a:srgbClr val="000000"/>
            </a:solidFill>
            <a:ln w="12685"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2C9E76E9-3F9D-48D9-924C-96BB2068B2E8}"/>
                </a:ext>
              </a:extLst>
            </p:cNvPr>
            <p:cNvSpPr/>
            <p:nvPr/>
          </p:nvSpPr>
          <p:spPr>
            <a:xfrm>
              <a:off x="1755640" y="5741343"/>
              <a:ext cx="221489" cy="241916"/>
            </a:xfrm>
            <a:custGeom>
              <a:avLst/>
              <a:gdLst>
                <a:gd name="connsiteX0" fmla="*/ 0 w 221489"/>
                <a:gd name="connsiteY0" fmla="*/ 0 h 241916"/>
                <a:gd name="connsiteX1" fmla="*/ 0 w 221489"/>
                <a:gd name="connsiteY1" fmla="*/ 763 h 241916"/>
                <a:gd name="connsiteX2" fmla="*/ 0 w 221489"/>
                <a:gd name="connsiteY2" fmla="*/ 4195 h 241916"/>
                <a:gd name="connsiteX3" fmla="*/ 218819 w 221489"/>
                <a:gd name="connsiteY3" fmla="*/ 241917 h 241916"/>
                <a:gd name="connsiteX4" fmla="*/ 218819 w 221489"/>
                <a:gd name="connsiteY4" fmla="*/ 241027 h 241916"/>
                <a:gd name="connsiteX5" fmla="*/ 220447 w 221489"/>
                <a:gd name="connsiteY5" fmla="*/ 239616 h 241916"/>
                <a:gd name="connsiteX6" fmla="*/ 220599 w 221489"/>
                <a:gd name="connsiteY6" fmla="*/ 239629 h 241916"/>
                <a:gd name="connsiteX7" fmla="*/ 221489 w 221489"/>
                <a:gd name="connsiteY7" fmla="*/ 240264 h 241916"/>
                <a:gd name="connsiteX8" fmla="*/ 221489 w 221489"/>
                <a:gd name="connsiteY8" fmla="*/ 240264 h 241916"/>
                <a:gd name="connsiteX9" fmla="*/ 220599 w 221489"/>
                <a:gd name="connsiteY9" fmla="*/ 239374 h 241916"/>
                <a:gd name="connsiteX10" fmla="*/ 1271 w 221489"/>
                <a:gd name="connsiteY10" fmla="*/ 1144 h 24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489" h="241916">
                  <a:moveTo>
                    <a:pt x="0" y="0"/>
                  </a:moveTo>
                  <a:lnTo>
                    <a:pt x="0" y="763"/>
                  </a:lnTo>
                  <a:lnTo>
                    <a:pt x="0" y="4195"/>
                  </a:lnTo>
                  <a:lnTo>
                    <a:pt x="218819" y="241917"/>
                  </a:lnTo>
                  <a:lnTo>
                    <a:pt x="218819" y="241027"/>
                  </a:lnTo>
                  <a:cubicBezTo>
                    <a:pt x="218883" y="240188"/>
                    <a:pt x="219608" y="239552"/>
                    <a:pt x="220447" y="239616"/>
                  </a:cubicBezTo>
                  <a:cubicBezTo>
                    <a:pt x="220498" y="239616"/>
                    <a:pt x="220548" y="239616"/>
                    <a:pt x="220599" y="239629"/>
                  </a:cubicBezTo>
                  <a:cubicBezTo>
                    <a:pt x="220943" y="239768"/>
                    <a:pt x="221248" y="239984"/>
                    <a:pt x="221489" y="240264"/>
                  </a:cubicBezTo>
                  <a:lnTo>
                    <a:pt x="221489" y="240264"/>
                  </a:lnTo>
                  <a:lnTo>
                    <a:pt x="220599" y="239374"/>
                  </a:lnTo>
                  <a:lnTo>
                    <a:pt x="1271" y="1144"/>
                  </a:lnTo>
                  <a:close/>
                </a:path>
              </a:pathLst>
            </a:custGeom>
            <a:solidFill>
              <a:srgbClr val="000000"/>
            </a:solidFill>
            <a:ln w="12685"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56882E5D-54AC-4777-AFED-ADF8663AC3C4}"/>
                </a:ext>
              </a:extLst>
            </p:cNvPr>
            <p:cNvSpPr/>
            <p:nvPr/>
          </p:nvSpPr>
          <p:spPr>
            <a:xfrm>
              <a:off x="3351203" y="3166449"/>
              <a:ext cx="180929" cy="95342"/>
            </a:xfrm>
            <a:custGeom>
              <a:avLst/>
              <a:gdLst>
                <a:gd name="connsiteX0" fmla="*/ 180803 w 180929"/>
                <a:gd name="connsiteY0" fmla="*/ 0 h 95342"/>
                <a:gd name="connsiteX1" fmla="*/ 0 w 180929"/>
                <a:gd name="connsiteY1" fmla="*/ 92419 h 95342"/>
                <a:gd name="connsiteX2" fmla="*/ 763 w 180929"/>
                <a:gd name="connsiteY2" fmla="*/ 93055 h 95342"/>
                <a:gd name="connsiteX3" fmla="*/ 763 w 180929"/>
                <a:gd name="connsiteY3" fmla="*/ 93055 h 95342"/>
                <a:gd name="connsiteX4" fmla="*/ 763 w 180929"/>
                <a:gd name="connsiteY4" fmla="*/ 93690 h 95342"/>
                <a:gd name="connsiteX5" fmla="*/ 763 w 180929"/>
                <a:gd name="connsiteY5" fmla="*/ 95343 h 95342"/>
                <a:gd name="connsiteX6" fmla="*/ 180167 w 180929"/>
                <a:gd name="connsiteY6" fmla="*/ 3687 h 95342"/>
                <a:gd name="connsiteX7" fmla="*/ 180929 w 180929"/>
                <a:gd name="connsiteY7" fmla="*/ 254 h 95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29" h="95342">
                  <a:moveTo>
                    <a:pt x="180803" y="0"/>
                  </a:moveTo>
                  <a:lnTo>
                    <a:pt x="0" y="92419"/>
                  </a:lnTo>
                  <a:lnTo>
                    <a:pt x="763" y="93055"/>
                  </a:lnTo>
                  <a:lnTo>
                    <a:pt x="763" y="93055"/>
                  </a:lnTo>
                  <a:lnTo>
                    <a:pt x="763" y="93690"/>
                  </a:lnTo>
                  <a:lnTo>
                    <a:pt x="763" y="95343"/>
                  </a:lnTo>
                  <a:lnTo>
                    <a:pt x="180167" y="3687"/>
                  </a:lnTo>
                  <a:lnTo>
                    <a:pt x="180929" y="254"/>
                  </a:lnTo>
                  <a:close/>
                </a:path>
              </a:pathLst>
            </a:custGeom>
            <a:solidFill>
              <a:srgbClr val="000000"/>
            </a:solidFill>
            <a:ln w="12685"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E6C784B2-8FBB-44F7-9A95-449A643E73C0}"/>
                </a:ext>
              </a:extLst>
            </p:cNvPr>
            <p:cNvSpPr/>
            <p:nvPr/>
          </p:nvSpPr>
          <p:spPr>
            <a:xfrm>
              <a:off x="2591915" y="3145219"/>
              <a:ext cx="158011" cy="1004177"/>
            </a:xfrm>
            <a:custGeom>
              <a:avLst/>
              <a:gdLst>
                <a:gd name="connsiteX0" fmla="*/ 158011 w 158011"/>
                <a:gd name="connsiteY0" fmla="*/ 0 h 1004177"/>
                <a:gd name="connsiteX1" fmla="*/ 154578 w 158011"/>
                <a:gd name="connsiteY1" fmla="*/ 1780 h 1004177"/>
                <a:gd name="connsiteX2" fmla="*/ 95 w 158011"/>
                <a:gd name="connsiteY2" fmla="*/ 1002245 h 1004177"/>
                <a:gd name="connsiteX3" fmla="*/ 95 w 158011"/>
                <a:gd name="connsiteY3" fmla="*/ 1003262 h 1004177"/>
                <a:gd name="connsiteX4" fmla="*/ 1240 w 158011"/>
                <a:gd name="connsiteY4" fmla="*/ 1004152 h 1004177"/>
                <a:gd name="connsiteX5" fmla="*/ 2511 w 158011"/>
                <a:gd name="connsiteY5" fmla="*/ 1003516 h 1004177"/>
                <a:gd name="connsiteX6" fmla="*/ 2511 w 158011"/>
                <a:gd name="connsiteY6" fmla="*/ 1002753 h 100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11" h="1004177">
                  <a:moveTo>
                    <a:pt x="158011" y="0"/>
                  </a:moveTo>
                  <a:lnTo>
                    <a:pt x="154578" y="1780"/>
                  </a:lnTo>
                  <a:lnTo>
                    <a:pt x="95" y="1002245"/>
                  </a:lnTo>
                  <a:cubicBezTo>
                    <a:pt x="-32" y="1002575"/>
                    <a:pt x="-32" y="1002932"/>
                    <a:pt x="95" y="1003262"/>
                  </a:cubicBezTo>
                  <a:cubicBezTo>
                    <a:pt x="350" y="1003694"/>
                    <a:pt x="756" y="1003999"/>
                    <a:pt x="1240" y="1004152"/>
                  </a:cubicBezTo>
                  <a:cubicBezTo>
                    <a:pt x="1761" y="1004266"/>
                    <a:pt x="2282" y="1003999"/>
                    <a:pt x="2511" y="1003516"/>
                  </a:cubicBezTo>
                  <a:cubicBezTo>
                    <a:pt x="2626" y="1003274"/>
                    <a:pt x="2626" y="1002995"/>
                    <a:pt x="2511" y="1002753"/>
                  </a:cubicBezTo>
                  <a:close/>
                </a:path>
              </a:pathLst>
            </a:custGeom>
            <a:solidFill>
              <a:srgbClr val="000000"/>
            </a:solidFill>
            <a:ln w="12685"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D2859BAA-A414-4F99-9521-36B266111E43}"/>
                </a:ext>
              </a:extLst>
            </p:cNvPr>
            <p:cNvSpPr/>
            <p:nvPr/>
          </p:nvSpPr>
          <p:spPr>
            <a:xfrm>
              <a:off x="2602182" y="4430060"/>
              <a:ext cx="445140" cy="427136"/>
            </a:xfrm>
            <a:custGeom>
              <a:avLst/>
              <a:gdLst>
                <a:gd name="connsiteX0" fmla="*/ 0 w 445140"/>
                <a:gd name="connsiteY0" fmla="*/ 1525 h 427136"/>
                <a:gd name="connsiteX1" fmla="*/ 443360 w 445140"/>
                <a:gd name="connsiteY1" fmla="*/ 427136 h 427136"/>
                <a:gd name="connsiteX2" fmla="*/ 444759 w 445140"/>
                <a:gd name="connsiteY2" fmla="*/ 426373 h 427136"/>
                <a:gd name="connsiteX3" fmla="*/ 445140 w 445140"/>
                <a:gd name="connsiteY3" fmla="*/ 424212 h 427136"/>
                <a:gd name="connsiteX4" fmla="*/ 2924 w 445140"/>
                <a:gd name="connsiteY4" fmla="*/ 0 h 427136"/>
                <a:gd name="connsiteX5" fmla="*/ 0 w 445140"/>
                <a:gd name="connsiteY5" fmla="*/ 1525 h 42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140" h="427136">
                  <a:moveTo>
                    <a:pt x="0" y="1525"/>
                  </a:moveTo>
                  <a:lnTo>
                    <a:pt x="443360" y="427136"/>
                  </a:lnTo>
                  <a:lnTo>
                    <a:pt x="444759" y="426373"/>
                  </a:lnTo>
                  <a:lnTo>
                    <a:pt x="445140" y="424212"/>
                  </a:lnTo>
                  <a:lnTo>
                    <a:pt x="2924" y="0"/>
                  </a:lnTo>
                  <a:lnTo>
                    <a:pt x="0" y="1525"/>
                  </a:lnTo>
                  <a:close/>
                </a:path>
              </a:pathLst>
            </a:custGeom>
            <a:solidFill>
              <a:srgbClr val="000000"/>
            </a:solidFill>
            <a:ln w="12685"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605497AA-F72B-4874-A1A6-82C90D44D892}"/>
                </a:ext>
              </a:extLst>
            </p:cNvPr>
            <p:cNvSpPr/>
            <p:nvPr/>
          </p:nvSpPr>
          <p:spPr>
            <a:xfrm>
              <a:off x="3049230" y="4858722"/>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284DB8A8-108A-4D5D-93C7-F18BBD16986D}"/>
                </a:ext>
              </a:extLst>
            </p:cNvPr>
            <p:cNvSpPr/>
            <p:nvPr/>
          </p:nvSpPr>
          <p:spPr>
            <a:xfrm>
              <a:off x="3047577" y="3260393"/>
              <a:ext cx="305279" cy="1597947"/>
            </a:xfrm>
            <a:custGeom>
              <a:avLst/>
              <a:gdLst>
                <a:gd name="connsiteX0" fmla="*/ 304898 w 305279"/>
                <a:gd name="connsiteY0" fmla="*/ 0 h 1597947"/>
                <a:gd name="connsiteX1" fmla="*/ 304898 w 305279"/>
                <a:gd name="connsiteY1" fmla="*/ 1017 h 1597947"/>
                <a:gd name="connsiteX2" fmla="*/ 302609 w 305279"/>
                <a:gd name="connsiteY2" fmla="*/ 1017 h 1597947"/>
                <a:gd name="connsiteX3" fmla="*/ 301846 w 305279"/>
                <a:gd name="connsiteY3" fmla="*/ 1017 h 1597947"/>
                <a:gd name="connsiteX4" fmla="*/ 0 w 305279"/>
                <a:gd name="connsiteY4" fmla="*/ 1593880 h 1597947"/>
                <a:gd name="connsiteX5" fmla="*/ 0 w 305279"/>
                <a:gd name="connsiteY5" fmla="*/ 1596041 h 1597947"/>
                <a:gd name="connsiteX6" fmla="*/ 636 w 305279"/>
                <a:gd name="connsiteY6" fmla="*/ 1596041 h 1597947"/>
                <a:gd name="connsiteX7" fmla="*/ 2797 w 305279"/>
                <a:gd name="connsiteY7" fmla="*/ 1596676 h 1597947"/>
                <a:gd name="connsiteX8" fmla="*/ 2797 w 305279"/>
                <a:gd name="connsiteY8" fmla="*/ 1597948 h 1597947"/>
                <a:gd name="connsiteX9" fmla="*/ 2797 w 305279"/>
                <a:gd name="connsiteY9" fmla="*/ 1597948 h 1597947"/>
                <a:gd name="connsiteX10" fmla="*/ 305279 w 305279"/>
                <a:gd name="connsiteY10" fmla="*/ 2034 h 1597947"/>
                <a:gd name="connsiteX11" fmla="*/ 305279 w 305279"/>
                <a:gd name="connsiteY11" fmla="*/ 0 h 159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279" h="1597947">
                  <a:moveTo>
                    <a:pt x="304898" y="0"/>
                  </a:moveTo>
                  <a:cubicBezTo>
                    <a:pt x="304974" y="331"/>
                    <a:pt x="304974" y="686"/>
                    <a:pt x="304898" y="1017"/>
                  </a:cubicBezTo>
                  <a:cubicBezTo>
                    <a:pt x="304262" y="1627"/>
                    <a:pt x="303245" y="1627"/>
                    <a:pt x="302609" y="1017"/>
                  </a:cubicBezTo>
                  <a:lnTo>
                    <a:pt x="301846" y="1017"/>
                  </a:lnTo>
                  <a:lnTo>
                    <a:pt x="0" y="1593880"/>
                  </a:lnTo>
                  <a:lnTo>
                    <a:pt x="0" y="1596041"/>
                  </a:lnTo>
                  <a:lnTo>
                    <a:pt x="636" y="1596041"/>
                  </a:lnTo>
                  <a:cubicBezTo>
                    <a:pt x="1411" y="1595647"/>
                    <a:pt x="2352" y="1595926"/>
                    <a:pt x="2797" y="1596676"/>
                  </a:cubicBezTo>
                  <a:cubicBezTo>
                    <a:pt x="2924" y="1597096"/>
                    <a:pt x="2924" y="1597528"/>
                    <a:pt x="2797" y="1597948"/>
                  </a:cubicBezTo>
                  <a:lnTo>
                    <a:pt x="2797" y="1597948"/>
                  </a:lnTo>
                  <a:lnTo>
                    <a:pt x="305279" y="2034"/>
                  </a:lnTo>
                  <a:lnTo>
                    <a:pt x="305279" y="0"/>
                  </a:lnTo>
                  <a:close/>
                </a:path>
              </a:pathLst>
            </a:custGeom>
            <a:solidFill>
              <a:srgbClr val="000000"/>
            </a:solidFill>
            <a:ln w="12685"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028BAE48-7ED9-4F92-8BD9-C6ADEE138B3F}"/>
                </a:ext>
              </a:extLst>
            </p:cNvPr>
            <p:cNvSpPr/>
            <p:nvPr/>
          </p:nvSpPr>
          <p:spPr>
            <a:xfrm>
              <a:off x="3049103" y="4858849"/>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3883BD4B-6C13-43B1-AF11-2C2CA09D88BB}"/>
                </a:ext>
              </a:extLst>
            </p:cNvPr>
            <p:cNvSpPr/>
            <p:nvPr/>
          </p:nvSpPr>
          <p:spPr>
            <a:xfrm>
              <a:off x="2811211" y="2797026"/>
              <a:ext cx="541066" cy="464841"/>
            </a:xfrm>
            <a:custGeom>
              <a:avLst/>
              <a:gdLst>
                <a:gd name="connsiteX0" fmla="*/ 537957 w 541066"/>
                <a:gd name="connsiteY0" fmla="*/ 464384 h 464841"/>
                <a:gd name="connsiteX1" fmla="*/ 538720 w 541066"/>
                <a:gd name="connsiteY1" fmla="*/ 464384 h 464841"/>
                <a:gd name="connsiteX2" fmla="*/ 541009 w 541066"/>
                <a:gd name="connsiteY2" fmla="*/ 464384 h 464841"/>
                <a:gd name="connsiteX3" fmla="*/ 541009 w 541066"/>
                <a:gd name="connsiteY3" fmla="*/ 463367 h 464841"/>
                <a:gd name="connsiteX4" fmla="*/ 541009 w 541066"/>
                <a:gd name="connsiteY4" fmla="*/ 463367 h 464841"/>
                <a:gd name="connsiteX5" fmla="*/ 541009 w 541066"/>
                <a:gd name="connsiteY5" fmla="*/ 462731 h 464841"/>
                <a:gd name="connsiteX6" fmla="*/ 541009 w 541066"/>
                <a:gd name="connsiteY6" fmla="*/ 462731 h 464841"/>
                <a:gd name="connsiteX7" fmla="*/ 540246 w 541066"/>
                <a:gd name="connsiteY7" fmla="*/ 462095 h 464841"/>
                <a:gd name="connsiteX8" fmla="*/ 1271 w 541066"/>
                <a:gd name="connsiteY8" fmla="*/ 0 h 464841"/>
                <a:gd name="connsiteX9" fmla="*/ 0 w 541066"/>
                <a:gd name="connsiteY9" fmla="*/ 636 h 464841"/>
                <a:gd name="connsiteX10" fmla="*/ 0 w 541066"/>
                <a:gd name="connsiteY10" fmla="*/ 2924 h 4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066" h="464841">
                  <a:moveTo>
                    <a:pt x="537957" y="464384"/>
                  </a:moveTo>
                  <a:lnTo>
                    <a:pt x="538720" y="464384"/>
                  </a:lnTo>
                  <a:cubicBezTo>
                    <a:pt x="539356" y="464994"/>
                    <a:pt x="540373" y="464994"/>
                    <a:pt x="541009" y="464384"/>
                  </a:cubicBezTo>
                  <a:cubicBezTo>
                    <a:pt x="541085" y="464053"/>
                    <a:pt x="541085" y="463697"/>
                    <a:pt x="541009" y="463367"/>
                  </a:cubicBezTo>
                  <a:lnTo>
                    <a:pt x="541009" y="463367"/>
                  </a:lnTo>
                  <a:lnTo>
                    <a:pt x="541009" y="462731"/>
                  </a:lnTo>
                  <a:lnTo>
                    <a:pt x="541009" y="462731"/>
                  </a:lnTo>
                  <a:lnTo>
                    <a:pt x="540246" y="462095"/>
                  </a:lnTo>
                  <a:lnTo>
                    <a:pt x="1271" y="0"/>
                  </a:lnTo>
                  <a:lnTo>
                    <a:pt x="0" y="636"/>
                  </a:lnTo>
                  <a:lnTo>
                    <a:pt x="0" y="2924"/>
                  </a:lnTo>
                  <a:close/>
                </a:path>
              </a:pathLst>
            </a:custGeom>
            <a:solidFill>
              <a:srgbClr val="000000"/>
            </a:solidFill>
            <a:ln w="12685"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E9F1E9DE-02DC-4B18-A2C4-AB98E1C3B341}"/>
                </a:ext>
              </a:extLst>
            </p:cNvPr>
            <p:cNvSpPr/>
            <p:nvPr/>
          </p:nvSpPr>
          <p:spPr>
            <a:xfrm>
              <a:off x="1783994" y="4856027"/>
              <a:ext cx="1265585" cy="706833"/>
            </a:xfrm>
            <a:custGeom>
              <a:avLst/>
              <a:gdLst>
                <a:gd name="connsiteX0" fmla="*/ 1263583 w 1265585"/>
                <a:gd name="connsiteY0" fmla="*/ 25 h 706833"/>
                <a:gd name="connsiteX1" fmla="*/ 1262948 w 1265585"/>
                <a:gd name="connsiteY1" fmla="*/ 25 h 706833"/>
                <a:gd name="connsiteX2" fmla="*/ 1261676 w 1265585"/>
                <a:gd name="connsiteY2" fmla="*/ 788 h 706833"/>
                <a:gd name="connsiteX3" fmla="*/ 0 w 1265585"/>
                <a:gd name="connsiteY3" fmla="*/ 702893 h 706833"/>
                <a:gd name="connsiteX4" fmla="*/ 0 w 1265585"/>
                <a:gd name="connsiteY4" fmla="*/ 706834 h 706833"/>
                <a:gd name="connsiteX5" fmla="*/ 1265490 w 1265585"/>
                <a:gd name="connsiteY5" fmla="*/ 2568 h 706833"/>
                <a:gd name="connsiteX6" fmla="*/ 1265490 w 1265585"/>
                <a:gd name="connsiteY6" fmla="*/ 2568 h 706833"/>
                <a:gd name="connsiteX7" fmla="*/ 1265490 w 1265585"/>
                <a:gd name="connsiteY7" fmla="*/ 2568 h 706833"/>
                <a:gd name="connsiteX8" fmla="*/ 1265490 w 1265585"/>
                <a:gd name="connsiteY8" fmla="*/ 2568 h 706833"/>
                <a:gd name="connsiteX9" fmla="*/ 1265490 w 1265585"/>
                <a:gd name="connsiteY9" fmla="*/ 2568 h 706833"/>
                <a:gd name="connsiteX10" fmla="*/ 1265490 w 1265585"/>
                <a:gd name="connsiteY10" fmla="*/ 1296 h 706833"/>
                <a:gd name="connsiteX11" fmla="*/ 1263583 w 1265585"/>
                <a:gd name="connsiteY11" fmla="*/ 25 h 70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5585" h="706833">
                  <a:moveTo>
                    <a:pt x="1263583" y="25"/>
                  </a:moveTo>
                  <a:lnTo>
                    <a:pt x="1262948" y="25"/>
                  </a:lnTo>
                  <a:lnTo>
                    <a:pt x="1261676" y="788"/>
                  </a:lnTo>
                  <a:lnTo>
                    <a:pt x="0" y="702893"/>
                  </a:lnTo>
                  <a:lnTo>
                    <a:pt x="0" y="706834"/>
                  </a:lnTo>
                  <a:lnTo>
                    <a:pt x="1265490" y="2568"/>
                  </a:lnTo>
                  <a:lnTo>
                    <a:pt x="1265490" y="2568"/>
                  </a:lnTo>
                  <a:lnTo>
                    <a:pt x="1265490" y="2568"/>
                  </a:lnTo>
                  <a:lnTo>
                    <a:pt x="1265490" y="2568"/>
                  </a:lnTo>
                  <a:lnTo>
                    <a:pt x="1265490" y="2568"/>
                  </a:lnTo>
                  <a:cubicBezTo>
                    <a:pt x="1265618" y="2148"/>
                    <a:pt x="1265618" y="1716"/>
                    <a:pt x="1265490" y="1296"/>
                  </a:cubicBezTo>
                  <a:cubicBezTo>
                    <a:pt x="1265300" y="432"/>
                    <a:pt x="1264461" y="-127"/>
                    <a:pt x="1263583" y="25"/>
                  </a:cubicBezTo>
                  <a:close/>
                </a:path>
              </a:pathLst>
            </a:custGeom>
            <a:solidFill>
              <a:srgbClr val="000000"/>
            </a:solidFill>
            <a:ln w="12685"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95870E99-2A48-460A-8CB6-15DDEFDBFC9D}"/>
                </a:ext>
              </a:extLst>
            </p:cNvPr>
            <p:cNvSpPr/>
            <p:nvPr/>
          </p:nvSpPr>
          <p:spPr>
            <a:xfrm>
              <a:off x="1171910" y="3807280"/>
              <a:ext cx="223269" cy="113267"/>
            </a:xfrm>
            <a:custGeom>
              <a:avLst/>
              <a:gdLst>
                <a:gd name="connsiteX0" fmla="*/ 222507 w 223269"/>
                <a:gd name="connsiteY0" fmla="*/ 2797 h 113267"/>
                <a:gd name="connsiteX1" fmla="*/ 221617 w 223269"/>
                <a:gd name="connsiteY1" fmla="*/ 1525 h 113267"/>
                <a:gd name="connsiteX2" fmla="*/ 221617 w 223269"/>
                <a:gd name="connsiteY2" fmla="*/ 1525 h 113267"/>
                <a:gd name="connsiteX3" fmla="*/ 221617 w 223269"/>
                <a:gd name="connsiteY3" fmla="*/ 0 h 113267"/>
                <a:gd name="connsiteX4" fmla="*/ 221617 w 223269"/>
                <a:gd name="connsiteY4" fmla="*/ 0 h 113267"/>
                <a:gd name="connsiteX5" fmla="*/ 0 w 223269"/>
                <a:gd name="connsiteY5" fmla="*/ 110089 h 113267"/>
                <a:gd name="connsiteX6" fmla="*/ 0 w 223269"/>
                <a:gd name="connsiteY6" fmla="*/ 112123 h 113267"/>
                <a:gd name="connsiteX7" fmla="*/ 1144 w 223269"/>
                <a:gd name="connsiteY7" fmla="*/ 113267 h 113267"/>
                <a:gd name="connsiteX8" fmla="*/ 223270 w 223269"/>
                <a:gd name="connsiteY8" fmla="*/ 2924 h 11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69" h="113267">
                  <a:moveTo>
                    <a:pt x="222507" y="2797"/>
                  </a:moveTo>
                  <a:cubicBezTo>
                    <a:pt x="222176" y="2390"/>
                    <a:pt x="221884" y="1970"/>
                    <a:pt x="221617" y="1525"/>
                  </a:cubicBezTo>
                  <a:lnTo>
                    <a:pt x="221617" y="1525"/>
                  </a:lnTo>
                  <a:cubicBezTo>
                    <a:pt x="221553" y="1017"/>
                    <a:pt x="221553" y="508"/>
                    <a:pt x="221617" y="0"/>
                  </a:cubicBezTo>
                  <a:lnTo>
                    <a:pt x="221617" y="0"/>
                  </a:lnTo>
                  <a:lnTo>
                    <a:pt x="0" y="110089"/>
                  </a:lnTo>
                  <a:lnTo>
                    <a:pt x="0" y="112123"/>
                  </a:lnTo>
                  <a:lnTo>
                    <a:pt x="1144" y="113267"/>
                  </a:lnTo>
                  <a:lnTo>
                    <a:pt x="223270" y="2924"/>
                  </a:lnTo>
                  <a:close/>
                </a:path>
              </a:pathLst>
            </a:custGeom>
            <a:solidFill>
              <a:srgbClr val="000000"/>
            </a:solidFill>
            <a:ln w="12685"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AAFEA91C-8F02-4E88-B970-88A869100273}"/>
                </a:ext>
              </a:extLst>
            </p:cNvPr>
            <p:cNvSpPr/>
            <p:nvPr/>
          </p:nvSpPr>
          <p:spPr>
            <a:xfrm>
              <a:off x="1172927" y="3779800"/>
              <a:ext cx="232063" cy="117865"/>
            </a:xfrm>
            <a:custGeom>
              <a:avLst/>
              <a:gdLst>
                <a:gd name="connsiteX0" fmla="*/ 231153 w 232063"/>
                <a:gd name="connsiteY0" fmla="*/ 3072 h 117865"/>
                <a:gd name="connsiteX1" fmla="*/ 231915 w 232063"/>
                <a:gd name="connsiteY1" fmla="*/ 911 h 117865"/>
                <a:gd name="connsiteX2" fmla="*/ 229754 w 232063"/>
                <a:gd name="connsiteY2" fmla="*/ 148 h 117865"/>
                <a:gd name="connsiteX3" fmla="*/ 221362 w 232063"/>
                <a:gd name="connsiteY3" fmla="*/ 4343 h 117865"/>
                <a:gd name="connsiteX4" fmla="*/ 0 w 232063"/>
                <a:gd name="connsiteY4" fmla="*/ 114051 h 117865"/>
                <a:gd name="connsiteX5" fmla="*/ 0 w 232063"/>
                <a:gd name="connsiteY5" fmla="*/ 117865 h 117865"/>
                <a:gd name="connsiteX6" fmla="*/ 221362 w 232063"/>
                <a:gd name="connsiteY6" fmla="*/ 8157 h 11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063" h="117865">
                  <a:moveTo>
                    <a:pt x="231153" y="3072"/>
                  </a:moveTo>
                  <a:cubicBezTo>
                    <a:pt x="231941" y="2678"/>
                    <a:pt x="232284" y="1725"/>
                    <a:pt x="231915" y="911"/>
                  </a:cubicBezTo>
                  <a:cubicBezTo>
                    <a:pt x="231521" y="123"/>
                    <a:pt x="230568" y="-220"/>
                    <a:pt x="229754" y="148"/>
                  </a:cubicBezTo>
                  <a:lnTo>
                    <a:pt x="221362" y="4343"/>
                  </a:lnTo>
                  <a:lnTo>
                    <a:pt x="0" y="114051"/>
                  </a:lnTo>
                  <a:lnTo>
                    <a:pt x="0" y="117865"/>
                  </a:lnTo>
                  <a:lnTo>
                    <a:pt x="221362" y="8157"/>
                  </a:lnTo>
                  <a:close/>
                </a:path>
              </a:pathLst>
            </a:custGeom>
            <a:solidFill>
              <a:srgbClr val="000000"/>
            </a:solidFill>
            <a:ln w="12685"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EB9BAA75-E371-40EC-B7DD-207D5302E531}"/>
                </a:ext>
              </a:extLst>
            </p:cNvPr>
            <p:cNvSpPr/>
            <p:nvPr/>
          </p:nvSpPr>
          <p:spPr>
            <a:xfrm>
              <a:off x="1168350" y="3896013"/>
              <a:ext cx="4323" cy="23263"/>
            </a:xfrm>
            <a:custGeom>
              <a:avLst/>
              <a:gdLst>
                <a:gd name="connsiteX0" fmla="*/ 4323 w 4323"/>
                <a:gd name="connsiteY0" fmla="*/ 1653 h 23263"/>
                <a:gd name="connsiteX1" fmla="*/ 4323 w 4323"/>
                <a:gd name="connsiteY1" fmla="*/ 763 h 23263"/>
                <a:gd name="connsiteX2" fmla="*/ 2680 w 4323"/>
                <a:gd name="connsiteY2" fmla="*/ 2161 h 23263"/>
                <a:gd name="connsiteX3" fmla="*/ 2670 w 4323"/>
                <a:gd name="connsiteY3" fmla="*/ 2161 h 23263"/>
                <a:gd name="connsiteX4" fmla="*/ 1263 w 4323"/>
                <a:gd name="connsiteY4" fmla="*/ 521 h 23263"/>
                <a:gd name="connsiteX5" fmla="*/ 1399 w 4323"/>
                <a:gd name="connsiteY5" fmla="*/ 0 h 23263"/>
                <a:gd name="connsiteX6" fmla="*/ 1399 w 4323"/>
                <a:gd name="connsiteY6" fmla="*/ 763 h 23263"/>
                <a:gd name="connsiteX7" fmla="*/ 0 w 4323"/>
                <a:gd name="connsiteY7" fmla="*/ 19831 h 23263"/>
                <a:gd name="connsiteX8" fmla="*/ 0 w 4323"/>
                <a:gd name="connsiteY8" fmla="*/ 23264 h 23263"/>
                <a:gd name="connsiteX9" fmla="*/ 0 w 4323"/>
                <a:gd name="connsiteY9" fmla="*/ 23264 h 23263"/>
                <a:gd name="connsiteX10" fmla="*/ 0 w 4323"/>
                <a:gd name="connsiteY10" fmla="*/ 23264 h 23263"/>
                <a:gd name="connsiteX11" fmla="*/ 0 w 4323"/>
                <a:gd name="connsiteY11" fmla="*/ 23264 h 23263"/>
                <a:gd name="connsiteX12" fmla="*/ 0 w 4323"/>
                <a:gd name="connsiteY12" fmla="*/ 23264 h 23263"/>
                <a:gd name="connsiteX13" fmla="*/ 0 w 4323"/>
                <a:gd name="connsiteY13" fmla="*/ 23264 h 23263"/>
                <a:gd name="connsiteX14" fmla="*/ 0 w 4323"/>
                <a:gd name="connsiteY14" fmla="*/ 23264 h 23263"/>
                <a:gd name="connsiteX15" fmla="*/ 0 w 4323"/>
                <a:gd name="connsiteY15" fmla="*/ 23264 h 23263"/>
                <a:gd name="connsiteX16" fmla="*/ 0 w 4323"/>
                <a:gd name="connsiteY16" fmla="*/ 23264 h 23263"/>
                <a:gd name="connsiteX17" fmla="*/ 0 w 4323"/>
                <a:gd name="connsiteY17" fmla="*/ 21230 h 2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3" h="23263">
                  <a:moveTo>
                    <a:pt x="4323" y="1653"/>
                  </a:moveTo>
                  <a:lnTo>
                    <a:pt x="4323" y="763"/>
                  </a:lnTo>
                  <a:cubicBezTo>
                    <a:pt x="4256" y="1602"/>
                    <a:pt x="3521" y="2225"/>
                    <a:pt x="2680" y="2161"/>
                  </a:cubicBezTo>
                  <a:cubicBezTo>
                    <a:pt x="2678" y="2161"/>
                    <a:pt x="2674" y="2161"/>
                    <a:pt x="2670" y="2161"/>
                  </a:cubicBezTo>
                  <a:cubicBezTo>
                    <a:pt x="1830" y="2098"/>
                    <a:pt x="1199" y="1373"/>
                    <a:pt x="1263" y="521"/>
                  </a:cubicBezTo>
                  <a:cubicBezTo>
                    <a:pt x="1275" y="343"/>
                    <a:pt x="1322" y="165"/>
                    <a:pt x="1399" y="0"/>
                  </a:cubicBezTo>
                  <a:lnTo>
                    <a:pt x="1399" y="763"/>
                  </a:lnTo>
                  <a:lnTo>
                    <a:pt x="0" y="19831"/>
                  </a:lnTo>
                  <a:lnTo>
                    <a:pt x="0" y="23264"/>
                  </a:lnTo>
                  <a:cubicBezTo>
                    <a:pt x="0" y="23264"/>
                    <a:pt x="0" y="23264"/>
                    <a:pt x="0" y="23264"/>
                  </a:cubicBezTo>
                  <a:lnTo>
                    <a:pt x="0" y="23264"/>
                  </a:lnTo>
                  <a:lnTo>
                    <a:pt x="0" y="23264"/>
                  </a:lnTo>
                  <a:lnTo>
                    <a:pt x="0" y="23264"/>
                  </a:lnTo>
                  <a:lnTo>
                    <a:pt x="0" y="23264"/>
                  </a:lnTo>
                  <a:lnTo>
                    <a:pt x="0" y="23264"/>
                  </a:lnTo>
                  <a:lnTo>
                    <a:pt x="0" y="23264"/>
                  </a:lnTo>
                  <a:lnTo>
                    <a:pt x="0" y="23264"/>
                  </a:lnTo>
                  <a:lnTo>
                    <a:pt x="0" y="21230"/>
                  </a:lnTo>
                  <a:close/>
                </a:path>
              </a:pathLst>
            </a:custGeom>
            <a:solidFill>
              <a:srgbClr val="000000"/>
            </a:solidFill>
            <a:ln w="12685"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B2DC6A4D-44F2-4842-85FE-91E2F024F74F}"/>
                </a:ext>
              </a:extLst>
            </p:cNvPr>
            <p:cNvSpPr/>
            <p:nvPr/>
          </p:nvSpPr>
          <p:spPr>
            <a:xfrm>
              <a:off x="602929" y="4020721"/>
              <a:ext cx="20979" cy="112250"/>
            </a:xfrm>
            <a:custGeom>
              <a:avLst/>
              <a:gdLst>
                <a:gd name="connsiteX0" fmla="*/ 8900 w 20979"/>
                <a:gd name="connsiteY0" fmla="*/ 102589 h 112250"/>
                <a:gd name="connsiteX1" fmla="*/ 17419 w 20979"/>
                <a:gd name="connsiteY1" fmla="*/ 112251 h 112250"/>
                <a:gd name="connsiteX2" fmla="*/ 20979 w 20979"/>
                <a:gd name="connsiteY2" fmla="*/ 13475 h 112250"/>
                <a:gd name="connsiteX3" fmla="*/ 17673 w 20979"/>
                <a:gd name="connsiteY3" fmla="*/ 10043 h 112250"/>
                <a:gd name="connsiteX4" fmla="*/ 16275 w 20979"/>
                <a:gd name="connsiteY4" fmla="*/ 10043 h 112250"/>
                <a:gd name="connsiteX5" fmla="*/ 4853 w 20979"/>
                <a:gd name="connsiteY5" fmla="*/ 6204 h 112250"/>
                <a:gd name="connsiteX6" fmla="*/ 4577 w 20979"/>
                <a:gd name="connsiteY6" fmla="*/ 5593 h 112250"/>
                <a:gd name="connsiteX7" fmla="*/ 3942 w 20979"/>
                <a:gd name="connsiteY7" fmla="*/ 0 h 112250"/>
                <a:gd name="connsiteX8" fmla="*/ 3942 w 20979"/>
                <a:gd name="connsiteY8" fmla="*/ 1271 h 112250"/>
                <a:gd name="connsiteX9" fmla="*/ 0 w 20979"/>
                <a:gd name="connsiteY9" fmla="*/ 110979 h 112250"/>
                <a:gd name="connsiteX10" fmla="*/ 8900 w 20979"/>
                <a:gd name="connsiteY10" fmla="*/ 102589 h 11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9" h="112250">
                  <a:moveTo>
                    <a:pt x="8900" y="102589"/>
                  </a:moveTo>
                  <a:cubicBezTo>
                    <a:pt x="13877" y="102996"/>
                    <a:pt x="17640" y="107267"/>
                    <a:pt x="17419" y="112251"/>
                  </a:cubicBezTo>
                  <a:lnTo>
                    <a:pt x="20979" y="13475"/>
                  </a:lnTo>
                  <a:lnTo>
                    <a:pt x="17673" y="10043"/>
                  </a:lnTo>
                  <a:lnTo>
                    <a:pt x="16275" y="10043"/>
                  </a:lnTo>
                  <a:cubicBezTo>
                    <a:pt x="12062" y="12141"/>
                    <a:pt x="6949" y="10424"/>
                    <a:pt x="4853" y="6204"/>
                  </a:cubicBezTo>
                  <a:cubicBezTo>
                    <a:pt x="4754" y="6013"/>
                    <a:pt x="4661" y="5797"/>
                    <a:pt x="4577" y="5593"/>
                  </a:cubicBezTo>
                  <a:cubicBezTo>
                    <a:pt x="3807" y="3839"/>
                    <a:pt x="3586" y="1882"/>
                    <a:pt x="3942" y="0"/>
                  </a:cubicBezTo>
                  <a:cubicBezTo>
                    <a:pt x="3942" y="0"/>
                    <a:pt x="3942" y="890"/>
                    <a:pt x="3942" y="1271"/>
                  </a:cubicBezTo>
                  <a:lnTo>
                    <a:pt x="0" y="110979"/>
                  </a:lnTo>
                  <a:cubicBezTo>
                    <a:pt x="331" y="106288"/>
                    <a:pt x="4202" y="102640"/>
                    <a:pt x="8900" y="102589"/>
                  </a:cubicBezTo>
                  <a:close/>
                </a:path>
              </a:pathLst>
            </a:custGeom>
            <a:solidFill>
              <a:srgbClr val="000000"/>
            </a:solidFill>
            <a:ln w="12685"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276ED0B8-7B08-4528-B9E1-6E04F0669B2E}"/>
                </a:ext>
              </a:extLst>
            </p:cNvPr>
            <p:cNvSpPr/>
            <p:nvPr/>
          </p:nvSpPr>
          <p:spPr>
            <a:xfrm>
              <a:off x="623654" y="4028984"/>
              <a:ext cx="381" cy="762"/>
            </a:xfrm>
            <a:custGeom>
              <a:avLst/>
              <a:gdLst>
                <a:gd name="connsiteX0" fmla="*/ 381 w 381"/>
                <a:gd name="connsiteY0" fmla="*/ 0 h 762"/>
                <a:gd name="connsiteX1" fmla="*/ 0 w 381"/>
                <a:gd name="connsiteY1" fmla="*/ 254 h 762"/>
                <a:gd name="connsiteX2" fmla="*/ 381 w 381"/>
                <a:gd name="connsiteY2" fmla="*/ 763 h 762"/>
                <a:gd name="connsiteX3" fmla="*/ 381 w 381"/>
                <a:gd name="connsiteY3" fmla="*/ 0 h 762"/>
              </a:gdLst>
              <a:ahLst/>
              <a:cxnLst>
                <a:cxn ang="0">
                  <a:pos x="connsiteX0" y="connsiteY0"/>
                </a:cxn>
                <a:cxn ang="0">
                  <a:pos x="connsiteX1" y="connsiteY1"/>
                </a:cxn>
                <a:cxn ang="0">
                  <a:pos x="connsiteX2" y="connsiteY2"/>
                </a:cxn>
                <a:cxn ang="0">
                  <a:pos x="connsiteX3" y="connsiteY3"/>
                </a:cxn>
              </a:cxnLst>
              <a:rect l="l" t="t" r="r" b="b"/>
              <a:pathLst>
                <a:path w="381" h="762">
                  <a:moveTo>
                    <a:pt x="381" y="0"/>
                  </a:moveTo>
                  <a:lnTo>
                    <a:pt x="0" y="254"/>
                  </a:lnTo>
                  <a:lnTo>
                    <a:pt x="381" y="763"/>
                  </a:lnTo>
                  <a:lnTo>
                    <a:pt x="381" y="0"/>
                  </a:lnTo>
                  <a:close/>
                </a:path>
              </a:pathLst>
            </a:custGeom>
            <a:solidFill>
              <a:srgbClr val="000000"/>
            </a:solidFill>
            <a:ln w="12685"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394A20BD-174E-4809-8AA8-11D00209F2B2}"/>
                </a:ext>
              </a:extLst>
            </p:cNvPr>
            <p:cNvSpPr/>
            <p:nvPr/>
          </p:nvSpPr>
          <p:spPr>
            <a:xfrm>
              <a:off x="1518766" y="5739182"/>
              <a:ext cx="232042" cy="133861"/>
            </a:xfrm>
            <a:custGeom>
              <a:avLst/>
              <a:gdLst>
                <a:gd name="connsiteX0" fmla="*/ 0 w 232042"/>
                <a:gd name="connsiteY0" fmla="*/ 132972 h 133861"/>
                <a:gd name="connsiteX1" fmla="*/ 1017 w 232042"/>
                <a:gd name="connsiteY1" fmla="*/ 132972 h 133861"/>
                <a:gd name="connsiteX2" fmla="*/ 1017 w 232042"/>
                <a:gd name="connsiteY2" fmla="*/ 132972 h 133861"/>
                <a:gd name="connsiteX3" fmla="*/ 1017 w 232042"/>
                <a:gd name="connsiteY3" fmla="*/ 132972 h 133861"/>
                <a:gd name="connsiteX4" fmla="*/ 1017 w 232042"/>
                <a:gd name="connsiteY4" fmla="*/ 132972 h 133861"/>
                <a:gd name="connsiteX5" fmla="*/ 1017 w 232042"/>
                <a:gd name="connsiteY5" fmla="*/ 132972 h 133861"/>
                <a:gd name="connsiteX6" fmla="*/ 1017 w 232042"/>
                <a:gd name="connsiteY6" fmla="*/ 132972 h 133861"/>
                <a:gd name="connsiteX7" fmla="*/ 1017 w 232042"/>
                <a:gd name="connsiteY7" fmla="*/ 133861 h 133861"/>
                <a:gd name="connsiteX8" fmla="*/ 232043 w 232042"/>
                <a:gd name="connsiteY8" fmla="*/ 4068 h 133861"/>
                <a:gd name="connsiteX9" fmla="*/ 232043 w 232042"/>
                <a:gd name="connsiteY9" fmla="*/ 890 h 133861"/>
                <a:gd name="connsiteX10" fmla="*/ 232043 w 232042"/>
                <a:gd name="connsiteY10" fmla="*/ 0 h 1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042" h="133861">
                  <a:moveTo>
                    <a:pt x="0" y="132972"/>
                  </a:moveTo>
                  <a:lnTo>
                    <a:pt x="1017" y="132972"/>
                  </a:lnTo>
                  <a:lnTo>
                    <a:pt x="1017" y="132972"/>
                  </a:lnTo>
                  <a:cubicBezTo>
                    <a:pt x="1017" y="132972"/>
                    <a:pt x="1017" y="132972"/>
                    <a:pt x="1017" y="132972"/>
                  </a:cubicBezTo>
                  <a:lnTo>
                    <a:pt x="1017" y="132972"/>
                  </a:lnTo>
                  <a:cubicBezTo>
                    <a:pt x="1017" y="132972"/>
                    <a:pt x="1017" y="132972"/>
                    <a:pt x="1017" y="132972"/>
                  </a:cubicBezTo>
                  <a:lnTo>
                    <a:pt x="1017" y="132972"/>
                  </a:lnTo>
                  <a:lnTo>
                    <a:pt x="1017" y="133861"/>
                  </a:lnTo>
                  <a:lnTo>
                    <a:pt x="232043" y="4068"/>
                  </a:lnTo>
                  <a:lnTo>
                    <a:pt x="232043" y="890"/>
                  </a:lnTo>
                  <a:lnTo>
                    <a:pt x="232043" y="0"/>
                  </a:lnTo>
                  <a:close/>
                </a:path>
              </a:pathLst>
            </a:custGeom>
            <a:solidFill>
              <a:srgbClr val="000000"/>
            </a:solidFill>
            <a:ln w="12685"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5E85353B-39EC-4242-BD10-84765FB4A5BF}"/>
                </a:ext>
              </a:extLst>
            </p:cNvPr>
            <p:cNvSpPr/>
            <p:nvPr/>
          </p:nvSpPr>
          <p:spPr>
            <a:xfrm>
              <a:off x="1126900" y="5872154"/>
              <a:ext cx="392374" cy="223992"/>
            </a:xfrm>
            <a:custGeom>
              <a:avLst/>
              <a:gdLst>
                <a:gd name="connsiteX0" fmla="*/ 391103 w 392374"/>
                <a:gd name="connsiteY0" fmla="*/ 1271 h 223992"/>
                <a:gd name="connsiteX1" fmla="*/ 392375 w 392374"/>
                <a:gd name="connsiteY1" fmla="*/ 0 h 223992"/>
                <a:gd name="connsiteX2" fmla="*/ 392375 w 392374"/>
                <a:gd name="connsiteY2" fmla="*/ 0 h 223992"/>
                <a:gd name="connsiteX3" fmla="*/ 0 w 392374"/>
                <a:gd name="connsiteY3" fmla="*/ 220178 h 223992"/>
                <a:gd name="connsiteX4" fmla="*/ 0 w 392374"/>
                <a:gd name="connsiteY4" fmla="*/ 223102 h 223992"/>
                <a:gd name="connsiteX5" fmla="*/ 0 w 392374"/>
                <a:gd name="connsiteY5" fmla="*/ 223992 h 223992"/>
                <a:gd name="connsiteX6" fmla="*/ 391103 w 392374"/>
                <a:gd name="connsiteY6" fmla="*/ 4449 h 22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374" h="223992">
                  <a:moveTo>
                    <a:pt x="391103" y="1271"/>
                  </a:moveTo>
                  <a:cubicBezTo>
                    <a:pt x="391205" y="610"/>
                    <a:pt x="391713" y="102"/>
                    <a:pt x="392375" y="0"/>
                  </a:cubicBezTo>
                  <a:lnTo>
                    <a:pt x="392375" y="0"/>
                  </a:lnTo>
                  <a:lnTo>
                    <a:pt x="0" y="220178"/>
                  </a:lnTo>
                  <a:lnTo>
                    <a:pt x="0" y="223102"/>
                  </a:lnTo>
                  <a:lnTo>
                    <a:pt x="0" y="223992"/>
                  </a:lnTo>
                  <a:lnTo>
                    <a:pt x="391103" y="4449"/>
                  </a:lnTo>
                  <a:close/>
                </a:path>
              </a:pathLst>
            </a:custGeom>
            <a:solidFill>
              <a:srgbClr val="000000"/>
            </a:solidFill>
            <a:ln w="12685"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D21CA970-87B0-42E1-AAF6-DBA6598A8565}"/>
                </a:ext>
              </a:extLst>
            </p:cNvPr>
            <p:cNvSpPr/>
            <p:nvPr/>
          </p:nvSpPr>
          <p:spPr>
            <a:xfrm>
              <a:off x="1520800" y="5872789"/>
              <a:ext cx="57" cy="635"/>
            </a:xfrm>
            <a:custGeom>
              <a:avLst/>
              <a:gdLst>
                <a:gd name="connsiteX0" fmla="*/ 0 w 57"/>
                <a:gd name="connsiteY0" fmla="*/ 0 h 635"/>
                <a:gd name="connsiteX1" fmla="*/ 0 w 57"/>
                <a:gd name="connsiteY1" fmla="*/ 635 h 635"/>
                <a:gd name="connsiteX2" fmla="*/ 0 w 57"/>
                <a:gd name="connsiteY2" fmla="*/ 635 h 635"/>
              </a:gdLst>
              <a:ahLst/>
              <a:cxnLst>
                <a:cxn ang="0">
                  <a:pos x="connsiteX0" y="connsiteY0"/>
                </a:cxn>
                <a:cxn ang="0">
                  <a:pos x="connsiteX1" y="connsiteY1"/>
                </a:cxn>
                <a:cxn ang="0">
                  <a:pos x="connsiteX2" y="connsiteY2"/>
                </a:cxn>
              </a:cxnLst>
              <a:rect l="l" t="t" r="r" b="b"/>
              <a:pathLst>
                <a:path w="57" h="635">
                  <a:moveTo>
                    <a:pt x="0" y="0"/>
                  </a:moveTo>
                  <a:cubicBezTo>
                    <a:pt x="76" y="203"/>
                    <a:pt x="76" y="432"/>
                    <a:pt x="0" y="635"/>
                  </a:cubicBezTo>
                  <a:cubicBezTo>
                    <a:pt x="0" y="635"/>
                    <a:pt x="0" y="635"/>
                    <a:pt x="0" y="635"/>
                  </a:cubicBezTo>
                  <a:close/>
                </a:path>
              </a:pathLst>
            </a:custGeom>
            <a:solidFill>
              <a:srgbClr val="000000"/>
            </a:solidFill>
            <a:ln w="12685"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54F29C61-45C3-466A-9F8A-0D1DE64EA9CD}"/>
                </a:ext>
              </a:extLst>
            </p:cNvPr>
            <p:cNvSpPr/>
            <p:nvPr/>
          </p:nvSpPr>
          <p:spPr>
            <a:xfrm>
              <a:off x="1125120" y="5420228"/>
              <a:ext cx="52638" cy="674900"/>
            </a:xfrm>
            <a:custGeom>
              <a:avLst/>
              <a:gdLst>
                <a:gd name="connsiteX0" fmla="*/ 52639 w 52638"/>
                <a:gd name="connsiteY0" fmla="*/ 0 h 674900"/>
                <a:gd name="connsiteX1" fmla="*/ 51876 w 52638"/>
                <a:gd name="connsiteY1" fmla="*/ 0 h 674900"/>
                <a:gd name="connsiteX2" fmla="*/ 50859 w 52638"/>
                <a:gd name="connsiteY2" fmla="*/ 0 h 674900"/>
                <a:gd name="connsiteX3" fmla="*/ 50859 w 52638"/>
                <a:gd name="connsiteY3" fmla="*/ 0 h 674900"/>
                <a:gd name="connsiteX4" fmla="*/ 50859 w 52638"/>
                <a:gd name="connsiteY4" fmla="*/ 0 h 674900"/>
                <a:gd name="connsiteX5" fmla="*/ 50859 w 52638"/>
                <a:gd name="connsiteY5" fmla="*/ 0 h 674900"/>
                <a:gd name="connsiteX6" fmla="*/ 0 w 52638"/>
                <a:gd name="connsiteY6" fmla="*/ 671341 h 674900"/>
                <a:gd name="connsiteX7" fmla="*/ 2416 w 52638"/>
                <a:gd name="connsiteY7" fmla="*/ 674138 h 674900"/>
                <a:gd name="connsiteX8" fmla="*/ 2416 w 52638"/>
                <a:gd name="connsiteY8" fmla="*/ 674138 h 674900"/>
                <a:gd name="connsiteX9" fmla="*/ 2416 w 52638"/>
                <a:gd name="connsiteY9" fmla="*/ 674901 h 674900"/>
                <a:gd name="connsiteX10" fmla="*/ 2416 w 52638"/>
                <a:gd name="connsiteY10" fmla="*/ 674901 h 674900"/>
                <a:gd name="connsiteX11" fmla="*/ 2416 w 52638"/>
                <a:gd name="connsiteY11" fmla="*/ 674901 h 674900"/>
                <a:gd name="connsiteX12" fmla="*/ 2416 w 52638"/>
                <a:gd name="connsiteY12" fmla="*/ 671977 h 6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38" h="674900">
                  <a:moveTo>
                    <a:pt x="52639" y="0"/>
                  </a:moveTo>
                  <a:lnTo>
                    <a:pt x="51876" y="0"/>
                  </a:lnTo>
                  <a:lnTo>
                    <a:pt x="50859" y="0"/>
                  </a:lnTo>
                  <a:lnTo>
                    <a:pt x="50859" y="0"/>
                  </a:lnTo>
                  <a:lnTo>
                    <a:pt x="50859" y="0"/>
                  </a:lnTo>
                  <a:lnTo>
                    <a:pt x="50859" y="0"/>
                  </a:lnTo>
                  <a:lnTo>
                    <a:pt x="0" y="671341"/>
                  </a:lnTo>
                  <a:lnTo>
                    <a:pt x="2416" y="674138"/>
                  </a:lnTo>
                  <a:lnTo>
                    <a:pt x="2416" y="674138"/>
                  </a:lnTo>
                  <a:cubicBezTo>
                    <a:pt x="2416" y="674138"/>
                    <a:pt x="2416" y="674138"/>
                    <a:pt x="2416" y="674901"/>
                  </a:cubicBezTo>
                  <a:lnTo>
                    <a:pt x="2416" y="674901"/>
                  </a:lnTo>
                  <a:lnTo>
                    <a:pt x="2416" y="674901"/>
                  </a:lnTo>
                  <a:lnTo>
                    <a:pt x="2416" y="671977"/>
                  </a:lnTo>
                  <a:close/>
                </a:path>
              </a:pathLst>
            </a:custGeom>
            <a:solidFill>
              <a:srgbClr val="000000"/>
            </a:solidFill>
            <a:ln w="12685"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9A013733-CAD6-45E8-8C98-834DB62E77E3}"/>
                </a:ext>
              </a:extLst>
            </p:cNvPr>
            <p:cNvSpPr/>
            <p:nvPr/>
          </p:nvSpPr>
          <p:spPr>
            <a:xfrm>
              <a:off x="1683294" y="4320606"/>
              <a:ext cx="225430" cy="120132"/>
            </a:xfrm>
            <a:custGeom>
              <a:avLst/>
              <a:gdLst>
                <a:gd name="connsiteX0" fmla="*/ 225431 w 225430"/>
                <a:gd name="connsiteY0" fmla="*/ 0 h 120132"/>
                <a:gd name="connsiteX1" fmla="*/ 0 w 225430"/>
                <a:gd name="connsiteY1" fmla="*/ 117336 h 120132"/>
                <a:gd name="connsiteX2" fmla="*/ 763 w 225430"/>
                <a:gd name="connsiteY2" fmla="*/ 118098 h 120132"/>
                <a:gd name="connsiteX3" fmla="*/ 763 w 225430"/>
                <a:gd name="connsiteY3" fmla="*/ 118098 h 120132"/>
                <a:gd name="connsiteX4" fmla="*/ 763 w 225430"/>
                <a:gd name="connsiteY4" fmla="*/ 119242 h 120132"/>
                <a:gd name="connsiteX5" fmla="*/ 763 w 225430"/>
                <a:gd name="connsiteY5" fmla="*/ 119242 h 120132"/>
                <a:gd name="connsiteX6" fmla="*/ 763 w 225430"/>
                <a:gd name="connsiteY6" fmla="*/ 120132 h 120132"/>
                <a:gd name="connsiteX7" fmla="*/ 225049 w 225430"/>
                <a:gd name="connsiteY7" fmla="*/ 3433 h 120132"/>
                <a:gd name="connsiteX8" fmla="*/ 225049 w 225430"/>
                <a:gd name="connsiteY8" fmla="*/ 127 h 12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30" h="120132">
                  <a:moveTo>
                    <a:pt x="225431" y="0"/>
                  </a:moveTo>
                  <a:lnTo>
                    <a:pt x="0" y="117336"/>
                  </a:lnTo>
                  <a:lnTo>
                    <a:pt x="763" y="118098"/>
                  </a:lnTo>
                  <a:lnTo>
                    <a:pt x="763" y="118098"/>
                  </a:lnTo>
                  <a:cubicBezTo>
                    <a:pt x="737" y="118480"/>
                    <a:pt x="737" y="118861"/>
                    <a:pt x="763" y="119242"/>
                  </a:cubicBezTo>
                  <a:lnTo>
                    <a:pt x="763" y="119242"/>
                  </a:lnTo>
                  <a:lnTo>
                    <a:pt x="763" y="120132"/>
                  </a:lnTo>
                  <a:lnTo>
                    <a:pt x="225049" y="3433"/>
                  </a:lnTo>
                  <a:lnTo>
                    <a:pt x="225049" y="127"/>
                  </a:lnTo>
                  <a:close/>
                </a:path>
              </a:pathLst>
            </a:custGeom>
            <a:solidFill>
              <a:srgbClr val="000000"/>
            </a:solidFill>
            <a:ln w="12685"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A6F0568F-A202-42F9-9EDF-1280A6AD1146}"/>
                </a:ext>
              </a:extLst>
            </p:cNvPr>
            <p:cNvSpPr/>
            <p:nvPr/>
          </p:nvSpPr>
          <p:spPr>
            <a:xfrm>
              <a:off x="1168477" y="391876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075B3E81-5EB1-4772-A781-8AC7EFD0E441}"/>
                </a:ext>
              </a:extLst>
            </p:cNvPr>
            <p:cNvSpPr/>
            <p:nvPr/>
          </p:nvSpPr>
          <p:spPr>
            <a:xfrm>
              <a:off x="1171147" y="3919276"/>
              <a:ext cx="514180" cy="522097"/>
            </a:xfrm>
            <a:custGeom>
              <a:avLst/>
              <a:gdLst>
                <a:gd name="connsiteX0" fmla="*/ 512147 w 514180"/>
                <a:gd name="connsiteY0" fmla="*/ 518666 h 522097"/>
                <a:gd name="connsiteX1" fmla="*/ 1144 w 514180"/>
                <a:gd name="connsiteY1" fmla="*/ 1144 h 522097"/>
                <a:gd name="connsiteX2" fmla="*/ 0 w 514180"/>
                <a:gd name="connsiteY2" fmla="*/ 0 h 522097"/>
                <a:gd name="connsiteX3" fmla="*/ 0 w 514180"/>
                <a:gd name="connsiteY3" fmla="*/ 0 h 522097"/>
                <a:gd name="connsiteX4" fmla="*/ 0 w 514180"/>
                <a:gd name="connsiteY4" fmla="*/ 0 h 522097"/>
                <a:gd name="connsiteX5" fmla="*/ 1017 w 514180"/>
                <a:gd name="connsiteY5" fmla="*/ 1526 h 522097"/>
                <a:gd name="connsiteX6" fmla="*/ 1017 w 514180"/>
                <a:gd name="connsiteY6" fmla="*/ 5085 h 522097"/>
                <a:gd name="connsiteX7" fmla="*/ 511511 w 514180"/>
                <a:gd name="connsiteY7" fmla="*/ 522098 h 522097"/>
                <a:gd name="connsiteX8" fmla="*/ 511511 w 514180"/>
                <a:gd name="connsiteY8" fmla="*/ 521208 h 522097"/>
                <a:gd name="connsiteX9" fmla="*/ 513138 w 514180"/>
                <a:gd name="connsiteY9" fmla="*/ 519797 h 522097"/>
                <a:gd name="connsiteX10" fmla="*/ 513291 w 514180"/>
                <a:gd name="connsiteY10" fmla="*/ 519810 h 522097"/>
                <a:gd name="connsiteX11" fmla="*/ 514181 w 514180"/>
                <a:gd name="connsiteY11" fmla="*/ 519810 h 522097"/>
                <a:gd name="connsiteX12" fmla="*/ 514181 w 514180"/>
                <a:gd name="connsiteY12" fmla="*/ 519810 h 52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180" h="522097">
                  <a:moveTo>
                    <a:pt x="512147" y="518666"/>
                  </a:moveTo>
                  <a:lnTo>
                    <a:pt x="1144" y="1144"/>
                  </a:lnTo>
                  <a:lnTo>
                    <a:pt x="0" y="0"/>
                  </a:lnTo>
                  <a:lnTo>
                    <a:pt x="0" y="0"/>
                  </a:lnTo>
                  <a:lnTo>
                    <a:pt x="0" y="0"/>
                  </a:lnTo>
                  <a:cubicBezTo>
                    <a:pt x="615" y="254"/>
                    <a:pt x="1017" y="852"/>
                    <a:pt x="1017" y="1526"/>
                  </a:cubicBezTo>
                  <a:lnTo>
                    <a:pt x="1017" y="5085"/>
                  </a:lnTo>
                  <a:lnTo>
                    <a:pt x="511511" y="522098"/>
                  </a:lnTo>
                  <a:lnTo>
                    <a:pt x="511511" y="521208"/>
                  </a:lnTo>
                  <a:cubicBezTo>
                    <a:pt x="511574" y="520369"/>
                    <a:pt x="512299" y="519733"/>
                    <a:pt x="513138" y="519797"/>
                  </a:cubicBezTo>
                  <a:cubicBezTo>
                    <a:pt x="513189" y="519797"/>
                    <a:pt x="513240" y="519797"/>
                    <a:pt x="513291" y="519810"/>
                  </a:cubicBezTo>
                  <a:cubicBezTo>
                    <a:pt x="513583" y="519708"/>
                    <a:pt x="513888" y="519708"/>
                    <a:pt x="514181" y="519810"/>
                  </a:cubicBezTo>
                  <a:lnTo>
                    <a:pt x="514181" y="519810"/>
                  </a:lnTo>
                  <a:close/>
                </a:path>
              </a:pathLst>
            </a:custGeom>
            <a:solidFill>
              <a:srgbClr val="000000"/>
            </a:solidFill>
            <a:ln w="12685"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1BEC6E65-D2EA-458E-A53B-0D7FDEBA262A}"/>
                </a:ext>
              </a:extLst>
            </p:cNvPr>
            <p:cNvSpPr/>
            <p:nvPr/>
          </p:nvSpPr>
          <p:spPr>
            <a:xfrm>
              <a:off x="619966" y="4031145"/>
              <a:ext cx="105786" cy="109580"/>
            </a:xfrm>
            <a:custGeom>
              <a:avLst/>
              <a:gdLst>
                <a:gd name="connsiteX0" fmla="*/ 104769 w 105786"/>
                <a:gd name="connsiteY0" fmla="*/ 108945 h 109580"/>
                <a:gd name="connsiteX1" fmla="*/ 104769 w 105786"/>
                <a:gd name="connsiteY1" fmla="*/ 108945 h 109580"/>
                <a:gd name="connsiteX2" fmla="*/ 104769 w 105786"/>
                <a:gd name="connsiteY2" fmla="*/ 108309 h 109580"/>
                <a:gd name="connsiteX3" fmla="*/ 104769 w 105786"/>
                <a:gd name="connsiteY3" fmla="*/ 108309 h 109580"/>
                <a:gd name="connsiteX4" fmla="*/ 104769 w 105786"/>
                <a:gd name="connsiteY4" fmla="*/ 108309 h 109580"/>
                <a:gd name="connsiteX5" fmla="*/ 104769 w 105786"/>
                <a:gd name="connsiteY5" fmla="*/ 108309 h 109580"/>
                <a:gd name="connsiteX6" fmla="*/ 105786 w 105786"/>
                <a:gd name="connsiteY6" fmla="*/ 108309 h 109580"/>
                <a:gd name="connsiteX7" fmla="*/ 3052 w 105786"/>
                <a:gd name="connsiteY7" fmla="*/ 0 h 109580"/>
                <a:gd name="connsiteX8" fmla="*/ 3052 w 105786"/>
                <a:gd name="connsiteY8" fmla="*/ 0 h 109580"/>
                <a:gd name="connsiteX9" fmla="*/ 0 w 105786"/>
                <a:gd name="connsiteY9" fmla="*/ 1525 h 109580"/>
                <a:gd name="connsiteX10" fmla="*/ 3306 w 105786"/>
                <a:gd name="connsiteY10" fmla="*/ 4958 h 109580"/>
                <a:gd name="connsiteX11" fmla="*/ 104769 w 105786"/>
                <a:gd name="connsiteY11" fmla="*/ 109581 h 109580"/>
                <a:gd name="connsiteX12" fmla="*/ 104769 w 105786"/>
                <a:gd name="connsiteY12" fmla="*/ 108945 h 10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86" h="109580">
                  <a:moveTo>
                    <a:pt x="104769" y="108945"/>
                  </a:moveTo>
                  <a:lnTo>
                    <a:pt x="104769" y="108945"/>
                  </a:lnTo>
                  <a:cubicBezTo>
                    <a:pt x="104769" y="108945"/>
                    <a:pt x="104769" y="108945"/>
                    <a:pt x="104769" y="108309"/>
                  </a:cubicBezTo>
                  <a:cubicBezTo>
                    <a:pt x="104769" y="107674"/>
                    <a:pt x="104769" y="108309"/>
                    <a:pt x="104769" y="108309"/>
                  </a:cubicBezTo>
                  <a:lnTo>
                    <a:pt x="104769" y="108309"/>
                  </a:lnTo>
                  <a:lnTo>
                    <a:pt x="104769" y="108309"/>
                  </a:lnTo>
                  <a:lnTo>
                    <a:pt x="105786" y="108309"/>
                  </a:lnTo>
                  <a:lnTo>
                    <a:pt x="3052" y="0"/>
                  </a:lnTo>
                  <a:lnTo>
                    <a:pt x="3052" y="0"/>
                  </a:lnTo>
                  <a:lnTo>
                    <a:pt x="0" y="1525"/>
                  </a:lnTo>
                  <a:lnTo>
                    <a:pt x="3306" y="4958"/>
                  </a:lnTo>
                  <a:lnTo>
                    <a:pt x="104769" y="109581"/>
                  </a:lnTo>
                  <a:lnTo>
                    <a:pt x="104769" y="108945"/>
                  </a:lnTo>
                  <a:close/>
                </a:path>
              </a:pathLst>
            </a:custGeom>
            <a:solidFill>
              <a:srgbClr val="000000"/>
            </a:solidFill>
            <a:ln w="12685"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93678034-646A-4431-91C4-209087C38D24}"/>
                </a:ext>
              </a:extLst>
            </p:cNvPr>
            <p:cNvSpPr/>
            <p:nvPr/>
          </p:nvSpPr>
          <p:spPr>
            <a:xfrm>
              <a:off x="1042475" y="3820628"/>
              <a:ext cx="99301" cy="102715"/>
            </a:xfrm>
            <a:custGeom>
              <a:avLst/>
              <a:gdLst>
                <a:gd name="connsiteX0" fmla="*/ 99302 w 99301"/>
                <a:gd name="connsiteY0" fmla="*/ 98521 h 102715"/>
                <a:gd name="connsiteX1" fmla="*/ 2162 w 99301"/>
                <a:gd name="connsiteY1" fmla="*/ 0 h 102715"/>
                <a:gd name="connsiteX2" fmla="*/ 2162 w 99301"/>
                <a:gd name="connsiteY2" fmla="*/ 0 h 102715"/>
                <a:gd name="connsiteX3" fmla="*/ 1144 w 99301"/>
                <a:gd name="connsiteY3" fmla="*/ 1398 h 102715"/>
                <a:gd name="connsiteX4" fmla="*/ 0 w 99301"/>
                <a:gd name="connsiteY4" fmla="*/ 2288 h 102715"/>
                <a:gd name="connsiteX5" fmla="*/ 99047 w 99301"/>
                <a:gd name="connsiteY5" fmla="*/ 102716 h 10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01" h="102715">
                  <a:moveTo>
                    <a:pt x="99302" y="98521"/>
                  </a:moveTo>
                  <a:lnTo>
                    <a:pt x="2162" y="0"/>
                  </a:lnTo>
                  <a:lnTo>
                    <a:pt x="2162" y="0"/>
                  </a:lnTo>
                  <a:cubicBezTo>
                    <a:pt x="1791" y="445"/>
                    <a:pt x="1451" y="915"/>
                    <a:pt x="1144" y="1398"/>
                  </a:cubicBezTo>
                  <a:lnTo>
                    <a:pt x="0" y="2288"/>
                  </a:lnTo>
                  <a:lnTo>
                    <a:pt x="99047" y="102716"/>
                  </a:lnTo>
                  <a:close/>
                </a:path>
              </a:pathLst>
            </a:custGeom>
            <a:solidFill>
              <a:srgbClr val="000000"/>
            </a:solidFill>
            <a:ln w="12685"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E610AEBD-CF6D-44BF-87BD-E85334393100}"/>
                </a:ext>
              </a:extLst>
            </p:cNvPr>
            <p:cNvSpPr/>
            <p:nvPr/>
          </p:nvSpPr>
          <p:spPr>
            <a:xfrm>
              <a:off x="1169743" y="3868045"/>
              <a:ext cx="5075" cy="30134"/>
            </a:xfrm>
            <a:custGeom>
              <a:avLst/>
              <a:gdLst>
                <a:gd name="connsiteX0" fmla="*/ 4964 w 5075"/>
                <a:gd name="connsiteY0" fmla="*/ 0 h 30134"/>
                <a:gd name="connsiteX1" fmla="*/ 4964 w 5075"/>
                <a:gd name="connsiteY1" fmla="*/ 0 h 30134"/>
                <a:gd name="connsiteX2" fmla="*/ 4964 w 5075"/>
                <a:gd name="connsiteY2" fmla="*/ 1144 h 30134"/>
                <a:gd name="connsiteX3" fmla="*/ 2675 w 5075"/>
                <a:gd name="connsiteY3" fmla="*/ 1144 h 30134"/>
                <a:gd name="connsiteX4" fmla="*/ 2675 w 5075"/>
                <a:gd name="connsiteY4" fmla="*/ 509 h 30134"/>
                <a:gd name="connsiteX5" fmla="*/ 5 w 5075"/>
                <a:gd name="connsiteY5" fmla="*/ 24917 h 30134"/>
                <a:gd name="connsiteX6" fmla="*/ 5 w 5075"/>
                <a:gd name="connsiteY6" fmla="*/ 28476 h 30134"/>
                <a:gd name="connsiteX7" fmla="*/ 1399 w 5075"/>
                <a:gd name="connsiteY7" fmla="*/ 30129 h 30134"/>
                <a:gd name="connsiteX8" fmla="*/ 1531 w 5075"/>
                <a:gd name="connsiteY8" fmla="*/ 30129 h 30134"/>
                <a:gd name="connsiteX9" fmla="*/ 3183 w 5075"/>
                <a:gd name="connsiteY9" fmla="*/ 28743 h 30134"/>
                <a:gd name="connsiteX10" fmla="*/ 3184 w 5075"/>
                <a:gd name="connsiteY10" fmla="*/ 28730 h 30134"/>
                <a:gd name="connsiteX11" fmla="*/ 3184 w 5075"/>
                <a:gd name="connsiteY11" fmla="*/ 25806 h 3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5" h="30134">
                  <a:moveTo>
                    <a:pt x="4964" y="0"/>
                  </a:moveTo>
                  <a:lnTo>
                    <a:pt x="4964" y="0"/>
                  </a:lnTo>
                  <a:cubicBezTo>
                    <a:pt x="5113" y="369"/>
                    <a:pt x="5113" y="776"/>
                    <a:pt x="4964" y="1144"/>
                  </a:cubicBezTo>
                  <a:cubicBezTo>
                    <a:pt x="4325" y="1754"/>
                    <a:pt x="3315" y="1754"/>
                    <a:pt x="2675" y="1144"/>
                  </a:cubicBezTo>
                  <a:lnTo>
                    <a:pt x="2675" y="509"/>
                  </a:lnTo>
                  <a:lnTo>
                    <a:pt x="5" y="24917"/>
                  </a:lnTo>
                  <a:lnTo>
                    <a:pt x="5" y="28476"/>
                  </a:lnTo>
                  <a:cubicBezTo>
                    <a:pt x="-65" y="29315"/>
                    <a:pt x="558" y="30052"/>
                    <a:pt x="1399" y="30129"/>
                  </a:cubicBezTo>
                  <a:cubicBezTo>
                    <a:pt x="1442" y="30129"/>
                    <a:pt x="1487" y="30129"/>
                    <a:pt x="1531" y="30129"/>
                  </a:cubicBezTo>
                  <a:cubicBezTo>
                    <a:pt x="2370" y="30205"/>
                    <a:pt x="3110" y="29582"/>
                    <a:pt x="3183" y="28743"/>
                  </a:cubicBezTo>
                  <a:cubicBezTo>
                    <a:pt x="3184" y="28743"/>
                    <a:pt x="3184" y="28730"/>
                    <a:pt x="3184" y="28730"/>
                  </a:cubicBezTo>
                  <a:lnTo>
                    <a:pt x="3184" y="25806"/>
                  </a:lnTo>
                  <a:close/>
                </a:path>
              </a:pathLst>
            </a:custGeom>
            <a:solidFill>
              <a:srgbClr val="000000"/>
            </a:solidFill>
            <a:ln w="12685"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186F5303-3928-497B-B987-17AD6EEC021A}"/>
                </a:ext>
              </a:extLst>
            </p:cNvPr>
            <p:cNvSpPr/>
            <p:nvPr/>
          </p:nvSpPr>
          <p:spPr>
            <a:xfrm>
              <a:off x="816535" y="2031146"/>
              <a:ext cx="193008" cy="103691"/>
            </a:xfrm>
            <a:custGeom>
              <a:avLst/>
              <a:gdLst>
                <a:gd name="connsiteX0" fmla="*/ 0 w 193008"/>
                <a:gd name="connsiteY0" fmla="*/ 103692 h 103691"/>
                <a:gd name="connsiteX1" fmla="*/ 193009 w 193008"/>
                <a:gd name="connsiteY1" fmla="*/ 19154 h 103691"/>
                <a:gd name="connsiteX2" fmla="*/ 188813 w 193008"/>
                <a:gd name="connsiteY2" fmla="*/ 15468 h 103691"/>
                <a:gd name="connsiteX3" fmla="*/ 187923 w 193008"/>
                <a:gd name="connsiteY3" fmla="*/ 2755 h 103691"/>
                <a:gd name="connsiteX4" fmla="*/ 192500 w 193008"/>
                <a:gd name="connsiteY4" fmla="*/ 86 h 103691"/>
                <a:gd name="connsiteX5" fmla="*/ 191229 w 193008"/>
                <a:gd name="connsiteY5" fmla="*/ 86 h 103691"/>
                <a:gd name="connsiteX6" fmla="*/ 509 w 193008"/>
                <a:gd name="connsiteY6" fmla="*/ 83352 h 103691"/>
                <a:gd name="connsiteX7" fmla="*/ 254 w 193008"/>
                <a:gd name="connsiteY7" fmla="*/ 97844 h 10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08" h="103691">
                  <a:moveTo>
                    <a:pt x="0" y="103692"/>
                  </a:moveTo>
                  <a:lnTo>
                    <a:pt x="193009" y="19154"/>
                  </a:lnTo>
                  <a:lnTo>
                    <a:pt x="188813" y="15468"/>
                  </a:lnTo>
                  <a:cubicBezTo>
                    <a:pt x="185420" y="12035"/>
                    <a:pt x="185042" y="6633"/>
                    <a:pt x="187923" y="2755"/>
                  </a:cubicBezTo>
                  <a:cubicBezTo>
                    <a:pt x="189125" y="1408"/>
                    <a:pt x="190729" y="467"/>
                    <a:pt x="192500" y="86"/>
                  </a:cubicBezTo>
                  <a:cubicBezTo>
                    <a:pt x="192084" y="-29"/>
                    <a:pt x="191644" y="-29"/>
                    <a:pt x="191229" y="86"/>
                  </a:cubicBezTo>
                  <a:lnTo>
                    <a:pt x="509" y="83352"/>
                  </a:lnTo>
                  <a:lnTo>
                    <a:pt x="254" y="97844"/>
                  </a:lnTo>
                  <a:close/>
                </a:path>
              </a:pathLst>
            </a:custGeom>
            <a:solidFill>
              <a:srgbClr val="000000"/>
            </a:solidFill>
            <a:ln w="12685"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EC97DB62-9D6E-4A7C-B2B5-7513B0921FA2}"/>
                </a:ext>
              </a:extLst>
            </p:cNvPr>
            <p:cNvSpPr/>
            <p:nvPr/>
          </p:nvSpPr>
          <p:spPr>
            <a:xfrm>
              <a:off x="1002775" y="2031400"/>
              <a:ext cx="32197" cy="25891"/>
            </a:xfrm>
            <a:custGeom>
              <a:avLst/>
              <a:gdLst>
                <a:gd name="connsiteX0" fmla="*/ 2573 w 32197"/>
                <a:gd name="connsiteY0" fmla="*/ 15214 h 25891"/>
                <a:gd name="connsiteX1" fmla="*/ 6768 w 32197"/>
                <a:gd name="connsiteY1" fmla="*/ 18900 h 25891"/>
                <a:gd name="connsiteX2" fmla="*/ 14524 w 32197"/>
                <a:gd name="connsiteY2" fmla="*/ 25892 h 25891"/>
                <a:gd name="connsiteX3" fmla="*/ 27239 w 32197"/>
                <a:gd name="connsiteY3" fmla="*/ 20171 h 25891"/>
                <a:gd name="connsiteX4" fmla="*/ 32198 w 32197"/>
                <a:gd name="connsiteY4" fmla="*/ 17883 h 25891"/>
                <a:gd name="connsiteX5" fmla="*/ 14397 w 32197"/>
                <a:gd name="connsiteY5" fmla="*/ 1103 h 25891"/>
                <a:gd name="connsiteX6" fmla="*/ 13253 w 32197"/>
                <a:gd name="connsiteY6" fmla="*/ 1103 h 25891"/>
                <a:gd name="connsiteX7" fmla="*/ 11600 w 32197"/>
                <a:gd name="connsiteY7" fmla="*/ 86 h 25891"/>
                <a:gd name="connsiteX8" fmla="*/ 10074 w 32197"/>
                <a:gd name="connsiteY8" fmla="*/ 86 h 25891"/>
                <a:gd name="connsiteX9" fmla="*/ 8294 w 32197"/>
                <a:gd name="connsiteY9" fmla="*/ 86 h 25891"/>
                <a:gd name="connsiteX10" fmla="*/ 6514 w 32197"/>
                <a:gd name="connsiteY10" fmla="*/ 86 h 25891"/>
                <a:gd name="connsiteX11" fmla="*/ 1937 w 32197"/>
                <a:gd name="connsiteY11" fmla="*/ 2755 h 25891"/>
                <a:gd name="connsiteX12" fmla="*/ 2573 w 32197"/>
                <a:gd name="connsiteY12" fmla="*/ 15214 h 2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97" h="25891">
                  <a:moveTo>
                    <a:pt x="2573" y="15214"/>
                  </a:moveTo>
                  <a:lnTo>
                    <a:pt x="6768" y="18900"/>
                  </a:lnTo>
                  <a:lnTo>
                    <a:pt x="14524" y="25892"/>
                  </a:lnTo>
                  <a:lnTo>
                    <a:pt x="27239" y="20171"/>
                  </a:lnTo>
                  <a:lnTo>
                    <a:pt x="32198" y="17883"/>
                  </a:lnTo>
                  <a:lnTo>
                    <a:pt x="14397" y="1103"/>
                  </a:lnTo>
                  <a:cubicBezTo>
                    <a:pt x="14397" y="1103"/>
                    <a:pt x="13634" y="1103"/>
                    <a:pt x="13253" y="1103"/>
                  </a:cubicBezTo>
                  <a:cubicBezTo>
                    <a:pt x="12751" y="696"/>
                    <a:pt x="12194" y="353"/>
                    <a:pt x="11600" y="86"/>
                  </a:cubicBezTo>
                  <a:lnTo>
                    <a:pt x="10074" y="86"/>
                  </a:lnTo>
                  <a:cubicBezTo>
                    <a:pt x="9483" y="22"/>
                    <a:pt x="8885" y="22"/>
                    <a:pt x="8294" y="86"/>
                  </a:cubicBezTo>
                  <a:cubicBezTo>
                    <a:pt x="7707" y="-29"/>
                    <a:pt x="7102" y="-29"/>
                    <a:pt x="6514" y="86"/>
                  </a:cubicBezTo>
                  <a:cubicBezTo>
                    <a:pt x="4743" y="467"/>
                    <a:pt x="3140" y="1408"/>
                    <a:pt x="1937" y="2755"/>
                  </a:cubicBezTo>
                  <a:cubicBezTo>
                    <a:pt x="-868" y="6518"/>
                    <a:pt x="-601" y="11756"/>
                    <a:pt x="2573" y="15214"/>
                  </a:cubicBezTo>
                  <a:close/>
                </a:path>
              </a:pathLst>
            </a:custGeom>
            <a:solidFill>
              <a:srgbClr val="000000"/>
            </a:solidFill>
            <a:ln w="12685"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524F42E5-F71B-4ABD-B7D9-8BB48F4B5C9B}"/>
                </a:ext>
              </a:extLst>
            </p:cNvPr>
            <p:cNvSpPr/>
            <p:nvPr/>
          </p:nvSpPr>
          <p:spPr>
            <a:xfrm>
              <a:off x="485572" y="2624265"/>
              <a:ext cx="279722" cy="273062"/>
            </a:xfrm>
            <a:custGeom>
              <a:avLst/>
              <a:gdLst>
                <a:gd name="connsiteX0" fmla="*/ 2289 w 279722"/>
                <a:gd name="connsiteY0" fmla="*/ 1271 h 273062"/>
                <a:gd name="connsiteX1" fmla="*/ 1017 w 279722"/>
                <a:gd name="connsiteY1" fmla="*/ 0 h 273062"/>
                <a:gd name="connsiteX2" fmla="*/ 1017 w 279722"/>
                <a:gd name="connsiteY2" fmla="*/ 508 h 273062"/>
                <a:gd name="connsiteX3" fmla="*/ 1017 w 279722"/>
                <a:gd name="connsiteY3" fmla="*/ 1144 h 273062"/>
                <a:gd name="connsiteX4" fmla="*/ 1017 w 279722"/>
                <a:gd name="connsiteY4" fmla="*/ 1144 h 273062"/>
                <a:gd name="connsiteX5" fmla="*/ 1017 w 279722"/>
                <a:gd name="connsiteY5" fmla="*/ 1144 h 273062"/>
                <a:gd name="connsiteX6" fmla="*/ 0 w 279722"/>
                <a:gd name="connsiteY6" fmla="*/ 1144 h 273062"/>
                <a:gd name="connsiteX7" fmla="*/ 279723 w 279722"/>
                <a:gd name="connsiteY7" fmla="*/ 273062 h 273062"/>
                <a:gd name="connsiteX8" fmla="*/ 279723 w 279722"/>
                <a:gd name="connsiteY8" fmla="*/ 268740 h 27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722" h="273062">
                  <a:moveTo>
                    <a:pt x="2289" y="1271"/>
                  </a:moveTo>
                  <a:lnTo>
                    <a:pt x="1017" y="0"/>
                  </a:lnTo>
                  <a:lnTo>
                    <a:pt x="1017" y="508"/>
                  </a:lnTo>
                  <a:cubicBezTo>
                    <a:pt x="1017" y="508"/>
                    <a:pt x="1017" y="508"/>
                    <a:pt x="1017" y="1144"/>
                  </a:cubicBezTo>
                  <a:lnTo>
                    <a:pt x="1017" y="1144"/>
                  </a:lnTo>
                  <a:lnTo>
                    <a:pt x="1017" y="1144"/>
                  </a:lnTo>
                  <a:lnTo>
                    <a:pt x="0" y="1144"/>
                  </a:lnTo>
                  <a:lnTo>
                    <a:pt x="279723" y="273062"/>
                  </a:lnTo>
                  <a:lnTo>
                    <a:pt x="279723" y="268740"/>
                  </a:lnTo>
                  <a:close/>
                </a:path>
              </a:pathLst>
            </a:custGeom>
            <a:solidFill>
              <a:srgbClr val="000000"/>
            </a:solidFill>
            <a:ln w="12685"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0E35CD4D-32F4-43E2-A3F4-0B8A873FC1E1}"/>
                </a:ext>
              </a:extLst>
            </p:cNvPr>
            <p:cNvSpPr/>
            <p:nvPr/>
          </p:nvSpPr>
          <p:spPr>
            <a:xfrm>
              <a:off x="3305" y="3930844"/>
              <a:ext cx="403436" cy="442010"/>
            </a:xfrm>
            <a:custGeom>
              <a:avLst/>
              <a:gdLst>
                <a:gd name="connsiteX0" fmla="*/ 403436 w 403436"/>
                <a:gd name="connsiteY0" fmla="*/ 440485 h 442010"/>
                <a:gd name="connsiteX1" fmla="*/ 0 w 403436"/>
                <a:gd name="connsiteY1" fmla="*/ 0 h 442010"/>
                <a:gd name="connsiteX2" fmla="*/ 0 w 403436"/>
                <a:gd name="connsiteY2" fmla="*/ 4704 h 442010"/>
                <a:gd name="connsiteX3" fmla="*/ 400512 w 403436"/>
                <a:gd name="connsiteY3" fmla="*/ 442010 h 442010"/>
                <a:gd name="connsiteX4" fmla="*/ 403436 w 403436"/>
                <a:gd name="connsiteY4" fmla="*/ 440485 h 44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36" h="442010">
                  <a:moveTo>
                    <a:pt x="403436" y="440485"/>
                  </a:moveTo>
                  <a:lnTo>
                    <a:pt x="0" y="0"/>
                  </a:lnTo>
                  <a:lnTo>
                    <a:pt x="0" y="4704"/>
                  </a:lnTo>
                  <a:lnTo>
                    <a:pt x="400512" y="442010"/>
                  </a:lnTo>
                  <a:lnTo>
                    <a:pt x="403436" y="440485"/>
                  </a:lnTo>
                  <a:close/>
                </a:path>
              </a:pathLst>
            </a:custGeom>
            <a:solidFill>
              <a:srgbClr val="000000"/>
            </a:solidFill>
            <a:ln w="12685"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D80C9723-25CE-41B8-B93E-551845A2F8BF}"/>
                </a:ext>
              </a:extLst>
            </p:cNvPr>
            <p:cNvSpPr/>
            <p:nvPr/>
          </p:nvSpPr>
          <p:spPr>
            <a:xfrm>
              <a:off x="3305" y="3419044"/>
              <a:ext cx="508840" cy="260858"/>
            </a:xfrm>
            <a:custGeom>
              <a:avLst/>
              <a:gdLst>
                <a:gd name="connsiteX0" fmla="*/ 508586 w 508840"/>
                <a:gd name="connsiteY0" fmla="*/ 5848 h 260858"/>
                <a:gd name="connsiteX1" fmla="*/ 508841 w 508840"/>
                <a:gd name="connsiteY1" fmla="*/ 0 h 260858"/>
                <a:gd name="connsiteX2" fmla="*/ 0 w 508840"/>
                <a:gd name="connsiteY2" fmla="*/ 240391 h 260858"/>
                <a:gd name="connsiteX3" fmla="*/ 0 w 508840"/>
                <a:gd name="connsiteY3" fmla="*/ 260858 h 260858"/>
                <a:gd name="connsiteX4" fmla="*/ 508205 w 508840"/>
                <a:gd name="connsiteY4" fmla="*/ 20721 h 260858"/>
                <a:gd name="connsiteX5" fmla="*/ 508586 w 508840"/>
                <a:gd name="connsiteY5" fmla="*/ 5848 h 26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840" h="260858">
                  <a:moveTo>
                    <a:pt x="508586" y="5848"/>
                  </a:moveTo>
                  <a:lnTo>
                    <a:pt x="508841" y="0"/>
                  </a:lnTo>
                  <a:lnTo>
                    <a:pt x="0" y="240391"/>
                  </a:lnTo>
                  <a:lnTo>
                    <a:pt x="0" y="260858"/>
                  </a:lnTo>
                  <a:lnTo>
                    <a:pt x="508205" y="20721"/>
                  </a:lnTo>
                  <a:lnTo>
                    <a:pt x="508586" y="5848"/>
                  </a:lnTo>
                  <a:close/>
                </a:path>
              </a:pathLst>
            </a:custGeom>
            <a:solidFill>
              <a:srgbClr val="000000"/>
            </a:solidFill>
            <a:ln w="12685"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23224056-141B-46F5-9B64-B93296AB01F2}"/>
                </a:ext>
              </a:extLst>
            </p:cNvPr>
            <p:cNvSpPr/>
            <p:nvPr/>
          </p:nvSpPr>
          <p:spPr>
            <a:xfrm>
              <a:off x="593266" y="4775202"/>
              <a:ext cx="118882" cy="132336"/>
            </a:xfrm>
            <a:custGeom>
              <a:avLst/>
              <a:gdLst>
                <a:gd name="connsiteX0" fmla="*/ 2162 w 118882"/>
                <a:gd name="connsiteY0" fmla="*/ 0 h 132336"/>
                <a:gd name="connsiteX1" fmla="*/ 1271 w 118882"/>
                <a:gd name="connsiteY1" fmla="*/ 1017 h 132336"/>
                <a:gd name="connsiteX2" fmla="*/ 0 w 118882"/>
                <a:gd name="connsiteY2" fmla="*/ 2034 h 132336"/>
                <a:gd name="connsiteX3" fmla="*/ 0 w 118882"/>
                <a:gd name="connsiteY3" fmla="*/ 2034 h 132336"/>
                <a:gd name="connsiteX4" fmla="*/ 117865 w 118882"/>
                <a:gd name="connsiteY4" fmla="*/ 132336 h 132336"/>
                <a:gd name="connsiteX5" fmla="*/ 118882 w 118882"/>
                <a:gd name="connsiteY5" fmla="*/ 131700 h 132336"/>
                <a:gd name="connsiteX6" fmla="*/ 118882 w 118882"/>
                <a:gd name="connsiteY6" fmla="*/ 128777 h 13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82" h="132336">
                  <a:moveTo>
                    <a:pt x="2162" y="0"/>
                  </a:moveTo>
                  <a:lnTo>
                    <a:pt x="1271" y="1017"/>
                  </a:lnTo>
                  <a:cubicBezTo>
                    <a:pt x="907" y="1424"/>
                    <a:pt x="477" y="1767"/>
                    <a:pt x="0" y="2034"/>
                  </a:cubicBezTo>
                  <a:lnTo>
                    <a:pt x="0" y="2034"/>
                  </a:lnTo>
                  <a:lnTo>
                    <a:pt x="117865" y="132336"/>
                  </a:lnTo>
                  <a:lnTo>
                    <a:pt x="118882" y="131700"/>
                  </a:lnTo>
                  <a:lnTo>
                    <a:pt x="118882" y="128777"/>
                  </a:lnTo>
                  <a:close/>
                </a:path>
              </a:pathLst>
            </a:custGeom>
            <a:solidFill>
              <a:srgbClr val="000000"/>
            </a:solidFill>
            <a:ln w="12685"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BDB87C6E-C9F6-413A-9549-A8E7E9487B8F}"/>
                </a:ext>
              </a:extLst>
            </p:cNvPr>
            <p:cNvSpPr/>
            <p:nvPr/>
          </p:nvSpPr>
          <p:spPr>
            <a:xfrm>
              <a:off x="1811839" y="3315056"/>
              <a:ext cx="75397" cy="40552"/>
            </a:xfrm>
            <a:custGeom>
              <a:avLst/>
              <a:gdLst>
                <a:gd name="connsiteX0" fmla="*/ 0 w 75397"/>
                <a:gd name="connsiteY0" fmla="*/ 40553 h 40552"/>
                <a:gd name="connsiteX1" fmla="*/ 75016 w 75397"/>
                <a:gd name="connsiteY1" fmla="*/ 3814 h 40552"/>
                <a:gd name="connsiteX2" fmla="*/ 75398 w 75397"/>
                <a:gd name="connsiteY2" fmla="*/ 0 h 40552"/>
                <a:gd name="connsiteX3" fmla="*/ 381 w 75397"/>
                <a:gd name="connsiteY3" fmla="*/ 36612 h 40552"/>
                <a:gd name="connsiteX4" fmla="*/ 0 w 75397"/>
                <a:gd name="connsiteY4" fmla="*/ 40553 h 40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97" h="40552">
                  <a:moveTo>
                    <a:pt x="0" y="40553"/>
                  </a:moveTo>
                  <a:lnTo>
                    <a:pt x="75016" y="3814"/>
                  </a:lnTo>
                  <a:lnTo>
                    <a:pt x="75398" y="0"/>
                  </a:lnTo>
                  <a:lnTo>
                    <a:pt x="381" y="36612"/>
                  </a:lnTo>
                  <a:lnTo>
                    <a:pt x="0" y="40553"/>
                  </a:lnTo>
                  <a:close/>
                </a:path>
              </a:pathLst>
            </a:custGeom>
            <a:solidFill>
              <a:srgbClr val="000000"/>
            </a:solidFill>
            <a:ln w="12685"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14C22ACF-CDAF-4CE0-A68D-B4FBD8D9D9C2}"/>
                </a:ext>
              </a:extLst>
            </p:cNvPr>
            <p:cNvSpPr/>
            <p:nvPr/>
          </p:nvSpPr>
          <p:spPr>
            <a:xfrm>
              <a:off x="1893340" y="4209606"/>
              <a:ext cx="768977" cy="409868"/>
            </a:xfrm>
            <a:custGeom>
              <a:avLst/>
              <a:gdLst>
                <a:gd name="connsiteX0" fmla="*/ 768093 w 768977"/>
                <a:gd name="connsiteY0" fmla="*/ 3199 h 409868"/>
                <a:gd name="connsiteX1" fmla="*/ 768856 w 768977"/>
                <a:gd name="connsiteY1" fmla="*/ 911 h 409868"/>
                <a:gd name="connsiteX2" fmla="*/ 766694 w 768977"/>
                <a:gd name="connsiteY2" fmla="*/ 148 h 409868"/>
                <a:gd name="connsiteX3" fmla="*/ 766694 w 768977"/>
                <a:gd name="connsiteY3" fmla="*/ 148 h 409868"/>
                <a:gd name="connsiteX4" fmla="*/ 0 w 768977"/>
                <a:gd name="connsiteY4" fmla="*/ 405928 h 409868"/>
                <a:gd name="connsiteX5" fmla="*/ 0 w 768977"/>
                <a:gd name="connsiteY5" fmla="*/ 409869 h 409868"/>
                <a:gd name="connsiteX6" fmla="*/ 767966 w 768977"/>
                <a:gd name="connsiteY6" fmla="*/ 3072 h 40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977" h="409868">
                  <a:moveTo>
                    <a:pt x="768093" y="3199"/>
                  </a:moveTo>
                  <a:cubicBezTo>
                    <a:pt x="768856" y="2716"/>
                    <a:pt x="769173" y="1763"/>
                    <a:pt x="768856" y="911"/>
                  </a:cubicBezTo>
                  <a:cubicBezTo>
                    <a:pt x="768461" y="123"/>
                    <a:pt x="767508" y="-220"/>
                    <a:pt x="766694" y="148"/>
                  </a:cubicBezTo>
                  <a:lnTo>
                    <a:pt x="766694" y="148"/>
                  </a:lnTo>
                  <a:lnTo>
                    <a:pt x="0" y="405928"/>
                  </a:lnTo>
                  <a:lnTo>
                    <a:pt x="0" y="409869"/>
                  </a:lnTo>
                  <a:lnTo>
                    <a:pt x="767966" y="3072"/>
                  </a:lnTo>
                  <a:close/>
                </a:path>
              </a:pathLst>
            </a:custGeom>
            <a:solidFill>
              <a:srgbClr val="000000"/>
            </a:solidFill>
            <a:ln w="12685"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9C93939D-A562-4FB5-857C-537ADA004BFA}"/>
                </a:ext>
              </a:extLst>
            </p:cNvPr>
            <p:cNvSpPr/>
            <p:nvPr/>
          </p:nvSpPr>
          <p:spPr>
            <a:xfrm>
              <a:off x="738849" y="3149033"/>
              <a:ext cx="15639" cy="300520"/>
            </a:xfrm>
            <a:custGeom>
              <a:avLst/>
              <a:gdLst>
                <a:gd name="connsiteX0" fmla="*/ 12842 w 15639"/>
                <a:gd name="connsiteY0" fmla="*/ 0 h 300520"/>
                <a:gd name="connsiteX1" fmla="*/ 12587 w 15639"/>
                <a:gd name="connsiteY1" fmla="*/ 127 h 300520"/>
                <a:gd name="connsiteX2" fmla="*/ 0 w 15639"/>
                <a:gd name="connsiteY2" fmla="*/ 297470 h 300520"/>
                <a:gd name="connsiteX3" fmla="*/ 3051 w 15639"/>
                <a:gd name="connsiteY3" fmla="*/ 300521 h 300520"/>
                <a:gd name="connsiteX4" fmla="*/ 15639 w 15639"/>
                <a:gd name="connsiteY4" fmla="*/ 2669 h 300520"/>
                <a:gd name="connsiteX5" fmla="*/ 12842 w 15639"/>
                <a:gd name="connsiteY5" fmla="*/ 0 h 3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39" h="300520">
                  <a:moveTo>
                    <a:pt x="12842" y="0"/>
                  </a:moveTo>
                  <a:lnTo>
                    <a:pt x="12587" y="127"/>
                  </a:lnTo>
                  <a:lnTo>
                    <a:pt x="0" y="297470"/>
                  </a:lnTo>
                  <a:lnTo>
                    <a:pt x="3051" y="300521"/>
                  </a:lnTo>
                  <a:lnTo>
                    <a:pt x="15639" y="2669"/>
                  </a:lnTo>
                  <a:lnTo>
                    <a:pt x="12842" y="0"/>
                  </a:lnTo>
                  <a:close/>
                </a:path>
              </a:pathLst>
            </a:custGeom>
            <a:solidFill>
              <a:srgbClr val="000000"/>
            </a:solidFill>
            <a:ln w="12685"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619A37D6-C9F7-49A4-B863-781ECEF7466C}"/>
                </a:ext>
              </a:extLst>
            </p:cNvPr>
            <p:cNvSpPr/>
            <p:nvPr/>
          </p:nvSpPr>
          <p:spPr>
            <a:xfrm>
              <a:off x="979008" y="3374678"/>
              <a:ext cx="3072" cy="12839"/>
            </a:xfrm>
            <a:custGeom>
              <a:avLst/>
              <a:gdLst>
                <a:gd name="connsiteX0" fmla="*/ 1546 w 3072"/>
                <a:gd name="connsiteY0" fmla="*/ 10933 h 12839"/>
                <a:gd name="connsiteX1" fmla="*/ 3072 w 3072"/>
                <a:gd name="connsiteY1" fmla="*/ 12712 h 12839"/>
                <a:gd name="connsiteX2" fmla="*/ 3072 w 3072"/>
                <a:gd name="connsiteY2" fmla="*/ 11949 h 12839"/>
                <a:gd name="connsiteX3" fmla="*/ 3072 w 3072"/>
                <a:gd name="connsiteY3" fmla="*/ 2924 h 12839"/>
                <a:gd name="connsiteX4" fmla="*/ 148 w 3072"/>
                <a:gd name="connsiteY4" fmla="*/ 0 h 12839"/>
                <a:gd name="connsiteX5" fmla="*/ 20 w 3072"/>
                <a:gd name="connsiteY5" fmla="*/ 12839 h 12839"/>
                <a:gd name="connsiteX6" fmla="*/ 1395 w 3072"/>
                <a:gd name="connsiteY6" fmla="*/ 10945 h 12839"/>
                <a:gd name="connsiteX7" fmla="*/ 1546 w 3072"/>
                <a:gd name="connsiteY7" fmla="*/ 10933 h 1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2" h="12839">
                  <a:moveTo>
                    <a:pt x="1546" y="10933"/>
                  </a:moveTo>
                  <a:cubicBezTo>
                    <a:pt x="2429" y="11060"/>
                    <a:pt x="3081" y="11822"/>
                    <a:pt x="3072" y="12712"/>
                  </a:cubicBezTo>
                  <a:lnTo>
                    <a:pt x="3072" y="11949"/>
                  </a:lnTo>
                  <a:lnTo>
                    <a:pt x="3072" y="2924"/>
                  </a:lnTo>
                  <a:lnTo>
                    <a:pt x="148" y="0"/>
                  </a:lnTo>
                  <a:lnTo>
                    <a:pt x="20" y="12839"/>
                  </a:lnTo>
                  <a:cubicBezTo>
                    <a:pt x="-122" y="11937"/>
                    <a:pt x="493" y="11098"/>
                    <a:pt x="1395" y="10945"/>
                  </a:cubicBezTo>
                  <a:cubicBezTo>
                    <a:pt x="1446" y="10945"/>
                    <a:pt x="1495" y="10933"/>
                    <a:pt x="1546" y="10933"/>
                  </a:cubicBezTo>
                  <a:close/>
                </a:path>
              </a:pathLst>
            </a:custGeom>
            <a:solidFill>
              <a:srgbClr val="000000"/>
            </a:solidFill>
            <a:ln w="12685"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2BACB7F1-9260-49D4-BD1F-14194237606C}"/>
                </a:ext>
              </a:extLst>
            </p:cNvPr>
            <p:cNvSpPr/>
            <p:nvPr/>
          </p:nvSpPr>
          <p:spPr>
            <a:xfrm>
              <a:off x="76287" y="4539641"/>
              <a:ext cx="17800" cy="183821"/>
            </a:xfrm>
            <a:custGeom>
              <a:avLst/>
              <a:gdLst>
                <a:gd name="connsiteX0" fmla="*/ 16911 w 17800"/>
                <a:gd name="connsiteY0" fmla="*/ 178482 h 183821"/>
                <a:gd name="connsiteX1" fmla="*/ 16911 w 17800"/>
                <a:gd name="connsiteY1" fmla="*/ 183821 h 183821"/>
                <a:gd name="connsiteX2" fmla="*/ 16911 w 17800"/>
                <a:gd name="connsiteY2" fmla="*/ 182550 h 183821"/>
                <a:gd name="connsiteX3" fmla="*/ 17801 w 17800"/>
                <a:gd name="connsiteY3" fmla="*/ 14238 h 183821"/>
                <a:gd name="connsiteX4" fmla="*/ 13859 w 17800"/>
                <a:gd name="connsiteY4" fmla="*/ 9916 h 183821"/>
                <a:gd name="connsiteX5" fmla="*/ 12842 w 17800"/>
                <a:gd name="connsiteY5" fmla="*/ 9916 h 183821"/>
                <a:gd name="connsiteX6" fmla="*/ 1151 w 17800"/>
                <a:gd name="connsiteY6" fmla="*/ 5759 h 183821"/>
                <a:gd name="connsiteX7" fmla="*/ 1017 w 17800"/>
                <a:gd name="connsiteY7" fmla="*/ 5466 h 183821"/>
                <a:gd name="connsiteX8" fmla="*/ 1017 w 17800"/>
                <a:gd name="connsiteY8" fmla="*/ 0 h 183821"/>
                <a:gd name="connsiteX9" fmla="*/ 1017 w 17800"/>
                <a:gd name="connsiteY9" fmla="*/ 1398 h 183821"/>
                <a:gd name="connsiteX10" fmla="*/ 0 w 17800"/>
                <a:gd name="connsiteY10" fmla="*/ 176575 h 183821"/>
                <a:gd name="connsiteX11" fmla="*/ 5086 w 17800"/>
                <a:gd name="connsiteY11" fmla="*/ 174033 h 183821"/>
                <a:gd name="connsiteX12" fmla="*/ 16559 w 17800"/>
                <a:gd name="connsiteY12" fmla="*/ 177707 h 183821"/>
                <a:gd name="connsiteX13" fmla="*/ 16911 w 17800"/>
                <a:gd name="connsiteY13" fmla="*/ 178482 h 18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0" h="183821">
                  <a:moveTo>
                    <a:pt x="16911" y="178482"/>
                  </a:moveTo>
                  <a:cubicBezTo>
                    <a:pt x="17419" y="180224"/>
                    <a:pt x="17419" y="182080"/>
                    <a:pt x="16911" y="183821"/>
                  </a:cubicBezTo>
                  <a:cubicBezTo>
                    <a:pt x="16959" y="183402"/>
                    <a:pt x="16959" y="182970"/>
                    <a:pt x="16911" y="182550"/>
                  </a:cubicBezTo>
                  <a:lnTo>
                    <a:pt x="17801" y="14238"/>
                  </a:lnTo>
                  <a:lnTo>
                    <a:pt x="13859" y="9916"/>
                  </a:lnTo>
                  <a:lnTo>
                    <a:pt x="12842" y="9916"/>
                  </a:lnTo>
                  <a:cubicBezTo>
                    <a:pt x="8466" y="12000"/>
                    <a:pt x="3232" y="10132"/>
                    <a:pt x="1151" y="5759"/>
                  </a:cubicBezTo>
                  <a:cubicBezTo>
                    <a:pt x="1105" y="5670"/>
                    <a:pt x="1060" y="5568"/>
                    <a:pt x="1017" y="5466"/>
                  </a:cubicBezTo>
                  <a:cubicBezTo>
                    <a:pt x="452" y="3687"/>
                    <a:pt x="452" y="1780"/>
                    <a:pt x="1017" y="0"/>
                  </a:cubicBezTo>
                  <a:cubicBezTo>
                    <a:pt x="960" y="470"/>
                    <a:pt x="960" y="941"/>
                    <a:pt x="1017" y="1398"/>
                  </a:cubicBezTo>
                  <a:lnTo>
                    <a:pt x="0" y="176575"/>
                  </a:lnTo>
                  <a:lnTo>
                    <a:pt x="5086" y="174033"/>
                  </a:lnTo>
                  <a:cubicBezTo>
                    <a:pt x="9269" y="171884"/>
                    <a:pt x="14406" y="173524"/>
                    <a:pt x="16559" y="177707"/>
                  </a:cubicBezTo>
                  <a:cubicBezTo>
                    <a:pt x="16689" y="177961"/>
                    <a:pt x="16806" y="178215"/>
                    <a:pt x="16911" y="178482"/>
                  </a:cubicBezTo>
                  <a:close/>
                </a:path>
              </a:pathLst>
            </a:custGeom>
            <a:solidFill>
              <a:srgbClr val="000000"/>
            </a:solidFill>
            <a:ln w="12685"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1876544C-0816-4512-9759-3DFD6A9432D2}"/>
                </a:ext>
              </a:extLst>
            </p:cNvPr>
            <p:cNvSpPr/>
            <p:nvPr/>
          </p:nvSpPr>
          <p:spPr>
            <a:xfrm>
              <a:off x="93961" y="4547523"/>
              <a:ext cx="1017" cy="1652"/>
            </a:xfrm>
            <a:custGeom>
              <a:avLst/>
              <a:gdLst>
                <a:gd name="connsiteX0" fmla="*/ 1017 w 1017"/>
                <a:gd name="connsiteY0" fmla="*/ 0 h 1652"/>
                <a:gd name="connsiteX1" fmla="*/ 0 w 1017"/>
                <a:gd name="connsiteY1" fmla="*/ 509 h 1652"/>
                <a:gd name="connsiteX2" fmla="*/ 1017 w 1017"/>
                <a:gd name="connsiteY2" fmla="*/ 1653 h 1652"/>
                <a:gd name="connsiteX3" fmla="*/ 1017 w 1017"/>
                <a:gd name="connsiteY3" fmla="*/ 0 h 1652"/>
              </a:gdLst>
              <a:ahLst/>
              <a:cxnLst>
                <a:cxn ang="0">
                  <a:pos x="connsiteX0" y="connsiteY0"/>
                </a:cxn>
                <a:cxn ang="0">
                  <a:pos x="connsiteX1" y="connsiteY1"/>
                </a:cxn>
                <a:cxn ang="0">
                  <a:pos x="connsiteX2" y="connsiteY2"/>
                </a:cxn>
                <a:cxn ang="0">
                  <a:pos x="connsiteX3" y="connsiteY3"/>
                </a:cxn>
              </a:cxnLst>
              <a:rect l="l" t="t" r="r" b="b"/>
              <a:pathLst>
                <a:path w="1017" h="1652">
                  <a:moveTo>
                    <a:pt x="1017" y="0"/>
                  </a:moveTo>
                  <a:lnTo>
                    <a:pt x="0" y="509"/>
                  </a:lnTo>
                  <a:lnTo>
                    <a:pt x="1017" y="1653"/>
                  </a:lnTo>
                  <a:lnTo>
                    <a:pt x="1017" y="0"/>
                  </a:lnTo>
                  <a:close/>
                </a:path>
              </a:pathLst>
            </a:custGeom>
            <a:solidFill>
              <a:srgbClr val="000000"/>
            </a:solidFill>
            <a:ln w="12685"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B53DC629-CE18-4F21-820E-E881CF69E577}"/>
                </a:ext>
              </a:extLst>
            </p:cNvPr>
            <p:cNvSpPr/>
            <p:nvPr/>
          </p:nvSpPr>
          <p:spPr>
            <a:xfrm>
              <a:off x="89892" y="4727657"/>
              <a:ext cx="175843" cy="198821"/>
            </a:xfrm>
            <a:custGeom>
              <a:avLst/>
              <a:gdLst>
                <a:gd name="connsiteX0" fmla="*/ 0 w 175843"/>
                <a:gd name="connsiteY0" fmla="*/ 2161 h 198821"/>
                <a:gd name="connsiteX1" fmla="*/ 172919 w 175843"/>
                <a:gd name="connsiteY1" fmla="*/ 198822 h 198821"/>
                <a:gd name="connsiteX2" fmla="*/ 175844 w 175843"/>
                <a:gd name="connsiteY2" fmla="*/ 197296 h 198821"/>
                <a:gd name="connsiteX3" fmla="*/ 2416 w 175843"/>
                <a:gd name="connsiteY3" fmla="*/ 0 h 198821"/>
                <a:gd name="connsiteX4" fmla="*/ 0 w 175843"/>
                <a:gd name="connsiteY4" fmla="*/ 2161 h 198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43" h="198821">
                  <a:moveTo>
                    <a:pt x="0" y="2161"/>
                  </a:moveTo>
                  <a:lnTo>
                    <a:pt x="172919" y="198822"/>
                  </a:lnTo>
                  <a:lnTo>
                    <a:pt x="175844" y="197296"/>
                  </a:lnTo>
                  <a:lnTo>
                    <a:pt x="2416" y="0"/>
                  </a:lnTo>
                  <a:cubicBezTo>
                    <a:pt x="1736" y="852"/>
                    <a:pt x="920" y="1576"/>
                    <a:pt x="0" y="2161"/>
                  </a:cubicBezTo>
                  <a:close/>
                </a:path>
              </a:pathLst>
            </a:custGeom>
            <a:solidFill>
              <a:srgbClr val="000000"/>
            </a:solidFill>
            <a:ln w="12685"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2AF42114-90FD-45AA-A77E-E5FA5C182D1D}"/>
                </a:ext>
              </a:extLst>
            </p:cNvPr>
            <p:cNvSpPr/>
            <p:nvPr/>
          </p:nvSpPr>
          <p:spPr>
            <a:xfrm>
              <a:off x="498414" y="4343616"/>
              <a:ext cx="92817" cy="102716"/>
            </a:xfrm>
            <a:custGeom>
              <a:avLst/>
              <a:gdLst>
                <a:gd name="connsiteX0" fmla="*/ 92817 w 92817"/>
                <a:gd name="connsiteY0" fmla="*/ 102716 h 102716"/>
                <a:gd name="connsiteX1" fmla="*/ 92817 w 92817"/>
                <a:gd name="connsiteY1" fmla="*/ 98140 h 102716"/>
                <a:gd name="connsiteX2" fmla="*/ 2161 w 92817"/>
                <a:gd name="connsiteY2" fmla="*/ 0 h 102716"/>
                <a:gd name="connsiteX3" fmla="*/ 1399 w 92817"/>
                <a:gd name="connsiteY3" fmla="*/ 1144 h 102716"/>
                <a:gd name="connsiteX4" fmla="*/ 0 w 92817"/>
                <a:gd name="connsiteY4" fmla="*/ 2289 h 102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17" h="102716">
                  <a:moveTo>
                    <a:pt x="92817" y="102716"/>
                  </a:moveTo>
                  <a:lnTo>
                    <a:pt x="92817" y="98140"/>
                  </a:lnTo>
                  <a:lnTo>
                    <a:pt x="2161" y="0"/>
                  </a:lnTo>
                  <a:lnTo>
                    <a:pt x="1399" y="1144"/>
                  </a:lnTo>
                  <a:lnTo>
                    <a:pt x="0" y="2289"/>
                  </a:lnTo>
                  <a:close/>
                </a:path>
              </a:pathLst>
            </a:custGeom>
            <a:solidFill>
              <a:srgbClr val="000000"/>
            </a:solidFill>
            <a:ln w="12685"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AD9DF307-9371-4FC4-9554-785E0C168BB2}"/>
                </a:ext>
              </a:extLst>
            </p:cNvPr>
            <p:cNvSpPr/>
            <p:nvPr/>
          </p:nvSpPr>
          <p:spPr>
            <a:xfrm>
              <a:off x="91036" y="4548031"/>
              <a:ext cx="286715" cy="320987"/>
            </a:xfrm>
            <a:custGeom>
              <a:avLst/>
              <a:gdLst>
                <a:gd name="connsiteX0" fmla="*/ 2924 w 286715"/>
                <a:gd name="connsiteY0" fmla="*/ 0 h 320987"/>
                <a:gd name="connsiteX1" fmla="*/ 0 w 286715"/>
                <a:gd name="connsiteY1" fmla="*/ 1525 h 320987"/>
                <a:gd name="connsiteX2" fmla="*/ 3942 w 286715"/>
                <a:gd name="connsiteY2" fmla="*/ 5848 h 320987"/>
                <a:gd name="connsiteX3" fmla="*/ 283791 w 286715"/>
                <a:gd name="connsiteY3" fmla="*/ 320988 h 320987"/>
                <a:gd name="connsiteX4" fmla="*/ 286716 w 286715"/>
                <a:gd name="connsiteY4" fmla="*/ 319462 h 320987"/>
                <a:gd name="connsiteX5" fmla="*/ 3942 w 286715"/>
                <a:gd name="connsiteY5" fmla="*/ 1144 h 320987"/>
                <a:gd name="connsiteX6" fmla="*/ 2924 w 286715"/>
                <a:gd name="connsiteY6" fmla="*/ 0 h 32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715" h="320987">
                  <a:moveTo>
                    <a:pt x="2924" y="0"/>
                  </a:moveTo>
                  <a:lnTo>
                    <a:pt x="0" y="1525"/>
                  </a:lnTo>
                  <a:lnTo>
                    <a:pt x="3942" y="5848"/>
                  </a:lnTo>
                  <a:lnTo>
                    <a:pt x="283791" y="320988"/>
                  </a:lnTo>
                  <a:lnTo>
                    <a:pt x="286716" y="319462"/>
                  </a:lnTo>
                  <a:lnTo>
                    <a:pt x="3942" y="1144"/>
                  </a:lnTo>
                  <a:lnTo>
                    <a:pt x="2924" y="0"/>
                  </a:lnTo>
                  <a:close/>
                </a:path>
              </a:pathLst>
            </a:custGeom>
            <a:solidFill>
              <a:srgbClr val="000000"/>
            </a:solidFill>
            <a:ln w="12685"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CF525BE2-369F-4242-8811-A8C0F61F438B}"/>
                </a:ext>
              </a:extLst>
            </p:cNvPr>
            <p:cNvSpPr/>
            <p:nvPr/>
          </p:nvSpPr>
          <p:spPr>
            <a:xfrm>
              <a:off x="269042" y="2224079"/>
              <a:ext cx="226320" cy="101317"/>
            </a:xfrm>
            <a:custGeom>
              <a:avLst/>
              <a:gdLst>
                <a:gd name="connsiteX0" fmla="*/ 225050 w 226320"/>
                <a:gd name="connsiteY0" fmla="*/ 1525 h 101317"/>
                <a:gd name="connsiteX1" fmla="*/ 226321 w 226320"/>
                <a:gd name="connsiteY1" fmla="*/ 0 h 101317"/>
                <a:gd name="connsiteX2" fmla="*/ 226321 w 226320"/>
                <a:gd name="connsiteY2" fmla="*/ 0 h 101317"/>
                <a:gd name="connsiteX3" fmla="*/ 1017 w 226320"/>
                <a:gd name="connsiteY3" fmla="*/ 98521 h 101317"/>
                <a:gd name="connsiteX4" fmla="*/ 0 w 226320"/>
                <a:gd name="connsiteY4" fmla="*/ 98521 h 101317"/>
                <a:gd name="connsiteX5" fmla="*/ 0 w 226320"/>
                <a:gd name="connsiteY5" fmla="*/ 98521 h 101317"/>
                <a:gd name="connsiteX6" fmla="*/ 763 w 226320"/>
                <a:gd name="connsiteY6" fmla="*/ 98521 h 101317"/>
                <a:gd name="connsiteX7" fmla="*/ 2294 w 226320"/>
                <a:gd name="connsiteY7" fmla="*/ 100047 h 101317"/>
                <a:gd name="connsiteX8" fmla="*/ 2289 w 226320"/>
                <a:gd name="connsiteY8" fmla="*/ 100174 h 101317"/>
                <a:gd name="connsiteX9" fmla="*/ 2289 w 226320"/>
                <a:gd name="connsiteY9" fmla="*/ 101318 h 101317"/>
                <a:gd name="connsiteX10" fmla="*/ 225431 w 226320"/>
                <a:gd name="connsiteY10" fmla="*/ 3814 h 10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320" h="101317">
                  <a:moveTo>
                    <a:pt x="225050" y="1525"/>
                  </a:moveTo>
                  <a:cubicBezTo>
                    <a:pt x="225086" y="788"/>
                    <a:pt x="225605" y="165"/>
                    <a:pt x="226321" y="0"/>
                  </a:cubicBezTo>
                  <a:lnTo>
                    <a:pt x="226321" y="0"/>
                  </a:lnTo>
                  <a:lnTo>
                    <a:pt x="1017" y="98521"/>
                  </a:lnTo>
                  <a:lnTo>
                    <a:pt x="0" y="98521"/>
                  </a:lnTo>
                  <a:cubicBezTo>
                    <a:pt x="0" y="98521"/>
                    <a:pt x="0" y="98521"/>
                    <a:pt x="0" y="98521"/>
                  </a:cubicBezTo>
                  <a:cubicBezTo>
                    <a:pt x="247" y="98432"/>
                    <a:pt x="516" y="98432"/>
                    <a:pt x="763" y="98521"/>
                  </a:cubicBezTo>
                  <a:cubicBezTo>
                    <a:pt x="1606" y="98521"/>
                    <a:pt x="2291" y="99195"/>
                    <a:pt x="2294" y="100047"/>
                  </a:cubicBezTo>
                  <a:cubicBezTo>
                    <a:pt x="2294" y="100085"/>
                    <a:pt x="2292" y="100135"/>
                    <a:pt x="2289" y="100174"/>
                  </a:cubicBezTo>
                  <a:lnTo>
                    <a:pt x="2289" y="101318"/>
                  </a:lnTo>
                  <a:lnTo>
                    <a:pt x="225431" y="3814"/>
                  </a:lnTo>
                  <a:close/>
                </a:path>
              </a:pathLst>
            </a:custGeom>
            <a:solidFill>
              <a:srgbClr val="000000"/>
            </a:solidFill>
            <a:ln w="12685"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AC9AB7DA-E381-41E8-BD60-130ABD2CC37E}"/>
                </a:ext>
              </a:extLst>
            </p:cNvPr>
            <p:cNvSpPr/>
            <p:nvPr/>
          </p:nvSpPr>
          <p:spPr>
            <a:xfrm>
              <a:off x="496889" y="2224842"/>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2B28AC6E-36BC-4FAA-B5A6-F38E3FE4D864}"/>
                </a:ext>
              </a:extLst>
            </p:cNvPr>
            <p:cNvSpPr/>
            <p:nvPr/>
          </p:nvSpPr>
          <p:spPr>
            <a:xfrm>
              <a:off x="262684" y="2725583"/>
              <a:ext cx="635" cy="12712"/>
            </a:xfrm>
            <a:custGeom>
              <a:avLst/>
              <a:gdLst>
                <a:gd name="connsiteX0" fmla="*/ 0 w 635"/>
                <a:gd name="connsiteY0" fmla="*/ 0 h 12712"/>
                <a:gd name="connsiteX1" fmla="*/ 636 w 635"/>
                <a:gd name="connsiteY1" fmla="*/ 0 h 12712"/>
                <a:gd name="connsiteX2" fmla="*/ 0 w 635"/>
                <a:gd name="connsiteY2" fmla="*/ 0 h 12712"/>
              </a:gdLst>
              <a:ahLst/>
              <a:cxnLst>
                <a:cxn ang="0">
                  <a:pos x="connsiteX0" y="connsiteY0"/>
                </a:cxn>
                <a:cxn ang="0">
                  <a:pos x="connsiteX1" y="connsiteY1"/>
                </a:cxn>
                <a:cxn ang="0">
                  <a:pos x="connsiteX2" y="connsiteY2"/>
                </a:cxn>
              </a:cxnLst>
              <a:rect l="l" t="t" r="r" b="b"/>
              <a:pathLst>
                <a:path w="635" h="12712">
                  <a:moveTo>
                    <a:pt x="0" y="0"/>
                  </a:moveTo>
                  <a:lnTo>
                    <a:pt x="636" y="0"/>
                  </a:lnTo>
                  <a:lnTo>
                    <a:pt x="0" y="0"/>
                  </a:lnTo>
                  <a:close/>
                </a:path>
              </a:pathLst>
            </a:custGeom>
            <a:solidFill>
              <a:srgbClr val="000000"/>
            </a:solidFill>
            <a:ln w="12685"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4192B851-6421-4601-BF33-ADA6A395A097}"/>
                </a:ext>
              </a:extLst>
            </p:cNvPr>
            <p:cNvSpPr/>
            <p:nvPr/>
          </p:nvSpPr>
          <p:spPr>
            <a:xfrm>
              <a:off x="264719" y="2623629"/>
              <a:ext cx="221616" cy="100427"/>
            </a:xfrm>
            <a:custGeom>
              <a:avLst/>
              <a:gdLst>
                <a:gd name="connsiteX0" fmla="*/ 221108 w 221616"/>
                <a:gd name="connsiteY0" fmla="*/ 2669 h 100427"/>
                <a:gd name="connsiteX1" fmla="*/ 220218 w 221616"/>
                <a:gd name="connsiteY1" fmla="*/ 2669 h 100427"/>
                <a:gd name="connsiteX2" fmla="*/ 218460 w 221616"/>
                <a:gd name="connsiteY2" fmla="*/ 1424 h 100427"/>
                <a:gd name="connsiteX3" fmla="*/ 218438 w 221616"/>
                <a:gd name="connsiteY3" fmla="*/ 1144 h 100427"/>
                <a:gd name="connsiteX4" fmla="*/ 218438 w 221616"/>
                <a:gd name="connsiteY4" fmla="*/ 0 h 100427"/>
                <a:gd name="connsiteX5" fmla="*/ 0 w 221616"/>
                <a:gd name="connsiteY5" fmla="*/ 97885 h 100427"/>
                <a:gd name="connsiteX6" fmla="*/ 0 w 221616"/>
                <a:gd name="connsiteY6" fmla="*/ 100428 h 100427"/>
                <a:gd name="connsiteX7" fmla="*/ 0 w 221616"/>
                <a:gd name="connsiteY7" fmla="*/ 100428 h 100427"/>
                <a:gd name="connsiteX8" fmla="*/ 0 w 221616"/>
                <a:gd name="connsiteY8" fmla="*/ 100428 h 100427"/>
                <a:gd name="connsiteX9" fmla="*/ 0 w 221616"/>
                <a:gd name="connsiteY9" fmla="*/ 100428 h 100427"/>
                <a:gd name="connsiteX10" fmla="*/ 0 w 221616"/>
                <a:gd name="connsiteY10" fmla="*/ 100428 h 100427"/>
                <a:gd name="connsiteX11" fmla="*/ 0 w 221616"/>
                <a:gd name="connsiteY11" fmla="*/ 100428 h 100427"/>
                <a:gd name="connsiteX12" fmla="*/ 0 w 221616"/>
                <a:gd name="connsiteY12" fmla="*/ 100428 h 100427"/>
                <a:gd name="connsiteX13" fmla="*/ 0 w 221616"/>
                <a:gd name="connsiteY13" fmla="*/ 100428 h 100427"/>
                <a:gd name="connsiteX14" fmla="*/ 220599 w 221616"/>
                <a:gd name="connsiteY14" fmla="*/ 1525 h 100427"/>
                <a:gd name="connsiteX15" fmla="*/ 221617 w 221616"/>
                <a:gd name="connsiteY15" fmla="*/ 1525 h 10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16" h="100427">
                  <a:moveTo>
                    <a:pt x="221108" y="2669"/>
                  </a:moveTo>
                  <a:cubicBezTo>
                    <a:pt x="220823" y="2784"/>
                    <a:pt x="220503" y="2784"/>
                    <a:pt x="220218" y="2669"/>
                  </a:cubicBezTo>
                  <a:cubicBezTo>
                    <a:pt x="219388" y="2809"/>
                    <a:pt x="218599" y="2250"/>
                    <a:pt x="218460" y="1424"/>
                  </a:cubicBezTo>
                  <a:cubicBezTo>
                    <a:pt x="218444" y="1335"/>
                    <a:pt x="218437" y="1233"/>
                    <a:pt x="218438" y="1144"/>
                  </a:cubicBezTo>
                  <a:lnTo>
                    <a:pt x="218438" y="0"/>
                  </a:lnTo>
                  <a:lnTo>
                    <a:pt x="0" y="97885"/>
                  </a:lnTo>
                  <a:lnTo>
                    <a:pt x="0" y="100428"/>
                  </a:lnTo>
                  <a:lnTo>
                    <a:pt x="0" y="100428"/>
                  </a:lnTo>
                  <a:cubicBezTo>
                    <a:pt x="0" y="100428"/>
                    <a:pt x="0" y="100428"/>
                    <a:pt x="0" y="100428"/>
                  </a:cubicBezTo>
                  <a:cubicBezTo>
                    <a:pt x="0" y="100428"/>
                    <a:pt x="0" y="100428"/>
                    <a:pt x="0" y="100428"/>
                  </a:cubicBezTo>
                  <a:lnTo>
                    <a:pt x="0" y="100428"/>
                  </a:lnTo>
                  <a:cubicBezTo>
                    <a:pt x="0" y="100428"/>
                    <a:pt x="0" y="100428"/>
                    <a:pt x="0" y="100428"/>
                  </a:cubicBezTo>
                  <a:lnTo>
                    <a:pt x="0" y="100428"/>
                  </a:lnTo>
                  <a:cubicBezTo>
                    <a:pt x="0" y="100428"/>
                    <a:pt x="0" y="100428"/>
                    <a:pt x="0" y="100428"/>
                  </a:cubicBezTo>
                  <a:lnTo>
                    <a:pt x="220599" y="1525"/>
                  </a:lnTo>
                  <a:lnTo>
                    <a:pt x="221617" y="1525"/>
                  </a:lnTo>
                  <a:close/>
                </a:path>
              </a:pathLst>
            </a:custGeom>
            <a:solidFill>
              <a:srgbClr val="000000"/>
            </a:solidFill>
            <a:ln w="12685"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B102E1D2-CB54-48C1-BD86-C97B4B1F4E39}"/>
                </a:ext>
              </a:extLst>
            </p:cNvPr>
            <p:cNvSpPr/>
            <p:nvPr/>
          </p:nvSpPr>
          <p:spPr>
            <a:xfrm>
              <a:off x="226829" y="2686810"/>
              <a:ext cx="36999" cy="38009"/>
            </a:xfrm>
            <a:custGeom>
              <a:avLst/>
              <a:gdLst>
                <a:gd name="connsiteX0" fmla="*/ 35220 w 36999"/>
                <a:gd name="connsiteY0" fmla="*/ 33815 h 38009"/>
                <a:gd name="connsiteX1" fmla="*/ 1271 w 36999"/>
                <a:gd name="connsiteY1" fmla="*/ 0 h 38009"/>
                <a:gd name="connsiteX2" fmla="*/ 1271 w 36999"/>
                <a:gd name="connsiteY2" fmla="*/ 635 h 38009"/>
                <a:gd name="connsiteX3" fmla="*/ 1271 w 36999"/>
                <a:gd name="connsiteY3" fmla="*/ 635 h 38009"/>
                <a:gd name="connsiteX4" fmla="*/ 1271 w 36999"/>
                <a:gd name="connsiteY4" fmla="*/ 1271 h 38009"/>
                <a:gd name="connsiteX5" fmla="*/ 1271 w 36999"/>
                <a:gd name="connsiteY5" fmla="*/ 1271 h 38009"/>
                <a:gd name="connsiteX6" fmla="*/ 636 w 36999"/>
                <a:gd name="connsiteY6" fmla="*/ 1271 h 38009"/>
                <a:gd name="connsiteX7" fmla="*/ 636 w 36999"/>
                <a:gd name="connsiteY7" fmla="*/ 1271 h 38009"/>
                <a:gd name="connsiteX8" fmla="*/ 636 w 36999"/>
                <a:gd name="connsiteY8" fmla="*/ 1271 h 38009"/>
                <a:gd name="connsiteX9" fmla="*/ 636 w 36999"/>
                <a:gd name="connsiteY9" fmla="*/ 1271 h 38009"/>
                <a:gd name="connsiteX10" fmla="*/ 0 w 36999"/>
                <a:gd name="connsiteY10" fmla="*/ 1271 h 38009"/>
                <a:gd name="connsiteX11" fmla="*/ 37000 w 36999"/>
                <a:gd name="connsiteY11" fmla="*/ 38010 h 38009"/>
                <a:gd name="connsiteX12" fmla="*/ 37000 w 36999"/>
                <a:gd name="connsiteY12" fmla="*/ 36866 h 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999" h="38009">
                  <a:moveTo>
                    <a:pt x="35220" y="33815"/>
                  </a:moveTo>
                  <a:lnTo>
                    <a:pt x="1271" y="0"/>
                  </a:lnTo>
                  <a:lnTo>
                    <a:pt x="1271" y="635"/>
                  </a:lnTo>
                  <a:lnTo>
                    <a:pt x="1271" y="635"/>
                  </a:lnTo>
                  <a:cubicBezTo>
                    <a:pt x="1271" y="635"/>
                    <a:pt x="1271" y="635"/>
                    <a:pt x="1271" y="1271"/>
                  </a:cubicBezTo>
                  <a:lnTo>
                    <a:pt x="1271" y="1271"/>
                  </a:lnTo>
                  <a:lnTo>
                    <a:pt x="636" y="1271"/>
                  </a:lnTo>
                  <a:lnTo>
                    <a:pt x="636" y="1271"/>
                  </a:lnTo>
                  <a:lnTo>
                    <a:pt x="636" y="1271"/>
                  </a:lnTo>
                  <a:lnTo>
                    <a:pt x="636" y="1271"/>
                  </a:lnTo>
                  <a:cubicBezTo>
                    <a:pt x="434" y="1360"/>
                    <a:pt x="202" y="1360"/>
                    <a:pt x="0" y="1271"/>
                  </a:cubicBezTo>
                  <a:lnTo>
                    <a:pt x="37000" y="38010"/>
                  </a:lnTo>
                  <a:cubicBezTo>
                    <a:pt x="36864" y="37641"/>
                    <a:pt x="36864" y="37235"/>
                    <a:pt x="37000" y="36866"/>
                  </a:cubicBezTo>
                  <a:close/>
                </a:path>
              </a:pathLst>
            </a:custGeom>
            <a:solidFill>
              <a:srgbClr val="000000"/>
            </a:solidFill>
            <a:ln w="12685"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479EE7D4-FC4F-4AFC-A0F6-127F39084CE6}"/>
                </a:ext>
              </a:extLst>
            </p:cNvPr>
            <p:cNvSpPr/>
            <p:nvPr/>
          </p:nvSpPr>
          <p:spPr>
            <a:xfrm>
              <a:off x="262430" y="2725456"/>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5A74EEEF-79E0-40CC-BAD2-83AA5397DB67}"/>
                </a:ext>
              </a:extLst>
            </p:cNvPr>
            <p:cNvSpPr/>
            <p:nvPr/>
          </p:nvSpPr>
          <p:spPr>
            <a:xfrm>
              <a:off x="264719" y="272545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F1625DC6-564A-47C6-B37A-03744FF83740}"/>
                </a:ext>
              </a:extLst>
            </p:cNvPr>
            <p:cNvSpPr/>
            <p:nvPr/>
          </p:nvSpPr>
          <p:spPr>
            <a:xfrm>
              <a:off x="263574" y="2726473"/>
              <a:ext cx="635" cy="12712"/>
            </a:xfrm>
            <a:custGeom>
              <a:avLst/>
              <a:gdLst>
                <a:gd name="connsiteX0" fmla="*/ 0 w 635"/>
                <a:gd name="connsiteY0" fmla="*/ 0 h 12712"/>
                <a:gd name="connsiteX1" fmla="*/ 636 w 635"/>
                <a:gd name="connsiteY1" fmla="*/ 0 h 12712"/>
              </a:gdLst>
              <a:ahLst/>
              <a:cxnLst>
                <a:cxn ang="0">
                  <a:pos x="connsiteX0" y="connsiteY0"/>
                </a:cxn>
                <a:cxn ang="0">
                  <a:pos x="connsiteX1" y="connsiteY1"/>
                </a:cxn>
              </a:cxnLst>
              <a:rect l="l" t="t" r="r" b="b"/>
              <a:pathLst>
                <a:path w="635" h="12712">
                  <a:moveTo>
                    <a:pt x="0" y="0"/>
                  </a:moveTo>
                  <a:lnTo>
                    <a:pt x="636" y="0"/>
                  </a:lnTo>
                  <a:close/>
                </a:path>
              </a:pathLst>
            </a:custGeom>
            <a:solidFill>
              <a:srgbClr val="000000"/>
            </a:solidFill>
            <a:ln w="12685"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50D8C357-78F2-4050-B23F-6A8E2E122F3C}"/>
                </a:ext>
              </a:extLst>
            </p:cNvPr>
            <p:cNvSpPr/>
            <p:nvPr/>
          </p:nvSpPr>
          <p:spPr>
            <a:xfrm>
              <a:off x="69294" y="2128609"/>
              <a:ext cx="160713" cy="160048"/>
            </a:xfrm>
            <a:custGeom>
              <a:avLst/>
              <a:gdLst>
                <a:gd name="connsiteX0" fmla="*/ 160586 w 160713"/>
                <a:gd name="connsiteY0" fmla="*/ 159286 h 160048"/>
                <a:gd name="connsiteX1" fmla="*/ 160713 w 160713"/>
                <a:gd name="connsiteY1" fmla="*/ 155600 h 160048"/>
                <a:gd name="connsiteX2" fmla="*/ 127 w 160713"/>
                <a:gd name="connsiteY2" fmla="*/ 0 h 160048"/>
                <a:gd name="connsiteX3" fmla="*/ 127 w 160713"/>
                <a:gd name="connsiteY3" fmla="*/ 763 h 160048"/>
                <a:gd name="connsiteX4" fmla="*/ 0 w 160713"/>
                <a:gd name="connsiteY4" fmla="*/ 4449 h 160048"/>
                <a:gd name="connsiteX5" fmla="*/ 160586 w 160713"/>
                <a:gd name="connsiteY5" fmla="*/ 160049 h 160048"/>
                <a:gd name="connsiteX6" fmla="*/ 160586 w 160713"/>
                <a:gd name="connsiteY6" fmla="*/ 159286 h 16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713" h="160048">
                  <a:moveTo>
                    <a:pt x="160586" y="159286"/>
                  </a:moveTo>
                  <a:lnTo>
                    <a:pt x="160713" y="155600"/>
                  </a:lnTo>
                  <a:lnTo>
                    <a:pt x="127" y="0"/>
                  </a:lnTo>
                  <a:lnTo>
                    <a:pt x="127" y="763"/>
                  </a:lnTo>
                  <a:lnTo>
                    <a:pt x="0" y="4449"/>
                  </a:lnTo>
                  <a:lnTo>
                    <a:pt x="160586" y="160049"/>
                  </a:lnTo>
                  <a:lnTo>
                    <a:pt x="160586" y="159286"/>
                  </a:lnTo>
                  <a:close/>
                </a:path>
              </a:pathLst>
            </a:custGeom>
            <a:solidFill>
              <a:srgbClr val="000000"/>
            </a:solidFill>
            <a:ln w="12685"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1B61799A-680E-4A53-A523-B94C871BE138}"/>
                </a:ext>
              </a:extLst>
            </p:cNvPr>
            <p:cNvSpPr/>
            <p:nvPr/>
          </p:nvSpPr>
          <p:spPr>
            <a:xfrm>
              <a:off x="3305" y="3358151"/>
              <a:ext cx="510620" cy="243950"/>
            </a:xfrm>
            <a:custGeom>
              <a:avLst/>
              <a:gdLst>
                <a:gd name="connsiteX0" fmla="*/ 510621 w 510620"/>
                <a:gd name="connsiteY0" fmla="*/ 0 h 243950"/>
                <a:gd name="connsiteX1" fmla="*/ 0 w 510620"/>
                <a:gd name="connsiteY1" fmla="*/ 240264 h 243950"/>
                <a:gd name="connsiteX2" fmla="*/ 0 w 510620"/>
                <a:gd name="connsiteY2" fmla="*/ 243951 h 243950"/>
                <a:gd name="connsiteX3" fmla="*/ 510494 w 510620"/>
                <a:gd name="connsiteY3" fmla="*/ 3687 h 243950"/>
                <a:gd name="connsiteX4" fmla="*/ 510621 w 510620"/>
                <a:gd name="connsiteY4" fmla="*/ 0 h 243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620" h="243950">
                  <a:moveTo>
                    <a:pt x="510621" y="0"/>
                  </a:moveTo>
                  <a:lnTo>
                    <a:pt x="0" y="240264"/>
                  </a:lnTo>
                  <a:lnTo>
                    <a:pt x="0" y="243951"/>
                  </a:lnTo>
                  <a:lnTo>
                    <a:pt x="510494" y="3687"/>
                  </a:lnTo>
                  <a:lnTo>
                    <a:pt x="510621" y="0"/>
                  </a:lnTo>
                  <a:close/>
                </a:path>
              </a:pathLst>
            </a:custGeom>
            <a:solidFill>
              <a:srgbClr val="000000"/>
            </a:solidFill>
            <a:ln w="12685"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23B418CD-C532-404D-8F13-EBDB41473205}"/>
                </a:ext>
              </a:extLst>
            </p:cNvPr>
            <p:cNvSpPr/>
            <p:nvPr/>
          </p:nvSpPr>
          <p:spPr>
            <a:xfrm>
              <a:off x="230771" y="1907541"/>
              <a:ext cx="7883" cy="381244"/>
            </a:xfrm>
            <a:custGeom>
              <a:avLst/>
              <a:gdLst>
                <a:gd name="connsiteX0" fmla="*/ 5976 w 7883"/>
                <a:gd name="connsiteY0" fmla="*/ 0 h 381244"/>
                <a:gd name="connsiteX1" fmla="*/ 5213 w 7883"/>
                <a:gd name="connsiteY1" fmla="*/ 0 h 381244"/>
                <a:gd name="connsiteX2" fmla="*/ 5213 w 7883"/>
                <a:gd name="connsiteY2" fmla="*/ 0 h 381244"/>
                <a:gd name="connsiteX3" fmla="*/ 5213 w 7883"/>
                <a:gd name="connsiteY3" fmla="*/ 0 h 381244"/>
                <a:gd name="connsiteX4" fmla="*/ 4577 w 7883"/>
                <a:gd name="connsiteY4" fmla="*/ 0 h 381244"/>
                <a:gd name="connsiteX5" fmla="*/ 0 w 7883"/>
                <a:gd name="connsiteY5" fmla="*/ 377558 h 381244"/>
                <a:gd name="connsiteX6" fmla="*/ 0 w 7883"/>
                <a:gd name="connsiteY6" fmla="*/ 381245 h 381244"/>
                <a:gd name="connsiteX7" fmla="*/ 1653 w 7883"/>
                <a:gd name="connsiteY7" fmla="*/ 379592 h 381244"/>
                <a:gd name="connsiteX8" fmla="*/ 3184 w 7883"/>
                <a:gd name="connsiteY8" fmla="*/ 381117 h 381244"/>
                <a:gd name="connsiteX9" fmla="*/ 3179 w 7883"/>
                <a:gd name="connsiteY9" fmla="*/ 381245 h 381244"/>
                <a:gd name="connsiteX10" fmla="*/ 3179 w 7883"/>
                <a:gd name="connsiteY10" fmla="*/ 381245 h 381244"/>
                <a:gd name="connsiteX11" fmla="*/ 3179 w 7883"/>
                <a:gd name="connsiteY11" fmla="*/ 380609 h 381244"/>
                <a:gd name="connsiteX12" fmla="*/ 7883 w 7883"/>
                <a:gd name="connsiteY12" fmla="*/ 509 h 38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83" h="381244">
                  <a:moveTo>
                    <a:pt x="5976" y="0"/>
                  </a:moveTo>
                  <a:lnTo>
                    <a:pt x="5213" y="0"/>
                  </a:lnTo>
                  <a:lnTo>
                    <a:pt x="5213" y="0"/>
                  </a:lnTo>
                  <a:cubicBezTo>
                    <a:pt x="5213" y="0"/>
                    <a:pt x="5213" y="0"/>
                    <a:pt x="5213" y="0"/>
                  </a:cubicBezTo>
                  <a:lnTo>
                    <a:pt x="4577" y="0"/>
                  </a:lnTo>
                  <a:lnTo>
                    <a:pt x="0" y="377558"/>
                  </a:lnTo>
                  <a:lnTo>
                    <a:pt x="0" y="381245"/>
                  </a:lnTo>
                  <a:cubicBezTo>
                    <a:pt x="0" y="380329"/>
                    <a:pt x="740" y="379592"/>
                    <a:pt x="1653" y="379592"/>
                  </a:cubicBezTo>
                  <a:cubicBezTo>
                    <a:pt x="2496" y="379592"/>
                    <a:pt x="3181" y="380266"/>
                    <a:pt x="3184" y="381117"/>
                  </a:cubicBezTo>
                  <a:cubicBezTo>
                    <a:pt x="3184" y="381156"/>
                    <a:pt x="3182" y="381206"/>
                    <a:pt x="3179" y="381245"/>
                  </a:cubicBezTo>
                  <a:lnTo>
                    <a:pt x="3179" y="381245"/>
                  </a:lnTo>
                  <a:lnTo>
                    <a:pt x="3179" y="380609"/>
                  </a:lnTo>
                  <a:lnTo>
                    <a:pt x="7883" y="509"/>
                  </a:lnTo>
                  <a:close/>
                </a:path>
              </a:pathLst>
            </a:custGeom>
            <a:solidFill>
              <a:srgbClr val="000000"/>
            </a:solidFill>
            <a:ln w="12685"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F9F8173C-D582-4885-90D8-9418C4692300}"/>
                </a:ext>
              </a:extLst>
            </p:cNvPr>
            <p:cNvSpPr/>
            <p:nvPr/>
          </p:nvSpPr>
          <p:spPr>
            <a:xfrm>
              <a:off x="72855" y="690710"/>
              <a:ext cx="230898" cy="92546"/>
            </a:xfrm>
            <a:custGeom>
              <a:avLst/>
              <a:gdLst>
                <a:gd name="connsiteX0" fmla="*/ 763 w 230898"/>
                <a:gd name="connsiteY0" fmla="*/ 90766 h 92546"/>
                <a:gd name="connsiteX1" fmla="*/ 763 w 230898"/>
                <a:gd name="connsiteY1" fmla="*/ 90766 h 92546"/>
                <a:gd name="connsiteX2" fmla="*/ 763 w 230898"/>
                <a:gd name="connsiteY2" fmla="*/ 91402 h 92546"/>
                <a:gd name="connsiteX3" fmla="*/ 763 w 230898"/>
                <a:gd name="connsiteY3" fmla="*/ 91402 h 92546"/>
                <a:gd name="connsiteX4" fmla="*/ 763 w 230898"/>
                <a:gd name="connsiteY4" fmla="*/ 91402 h 92546"/>
                <a:gd name="connsiteX5" fmla="*/ 763 w 230898"/>
                <a:gd name="connsiteY5" fmla="*/ 92546 h 92546"/>
                <a:gd name="connsiteX6" fmla="*/ 230898 w 230898"/>
                <a:gd name="connsiteY6" fmla="*/ 3559 h 92546"/>
                <a:gd name="connsiteX7" fmla="*/ 230898 w 230898"/>
                <a:gd name="connsiteY7" fmla="*/ 0 h 92546"/>
                <a:gd name="connsiteX8" fmla="*/ 228864 w 230898"/>
                <a:gd name="connsiteY8" fmla="*/ 890 h 92546"/>
                <a:gd name="connsiteX9" fmla="*/ 0 w 230898"/>
                <a:gd name="connsiteY9" fmla="*/ 89877 h 9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898" h="92546">
                  <a:moveTo>
                    <a:pt x="763" y="90766"/>
                  </a:moveTo>
                  <a:lnTo>
                    <a:pt x="763" y="90766"/>
                  </a:lnTo>
                  <a:cubicBezTo>
                    <a:pt x="831" y="90972"/>
                    <a:pt x="831" y="91196"/>
                    <a:pt x="763" y="91402"/>
                  </a:cubicBezTo>
                  <a:lnTo>
                    <a:pt x="763" y="91402"/>
                  </a:lnTo>
                  <a:lnTo>
                    <a:pt x="763" y="91402"/>
                  </a:lnTo>
                  <a:lnTo>
                    <a:pt x="763" y="92546"/>
                  </a:lnTo>
                  <a:lnTo>
                    <a:pt x="230898" y="3559"/>
                  </a:lnTo>
                  <a:lnTo>
                    <a:pt x="230898" y="0"/>
                  </a:lnTo>
                  <a:lnTo>
                    <a:pt x="228864" y="890"/>
                  </a:lnTo>
                  <a:lnTo>
                    <a:pt x="0" y="89877"/>
                  </a:lnTo>
                  <a:close/>
                </a:path>
              </a:pathLst>
            </a:custGeom>
            <a:solidFill>
              <a:srgbClr val="000000"/>
            </a:solidFill>
            <a:ln w="12685"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E0DE8419-360D-44FD-98CF-64774EC02321}"/>
                </a:ext>
              </a:extLst>
            </p:cNvPr>
            <p:cNvSpPr/>
            <p:nvPr/>
          </p:nvSpPr>
          <p:spPr>
            <a:xfrm>
              <a:off x="0" y="604139"/>
              <a:ext cx="233214" cy="105004"/>
            </a:xfrm>
            <a:custGeom>
              <a:avLst/>
              <a:gdLst>
                <a:gd name="connsiteX0" fmla="*/ 222634 w 233214"/>
                <a:gd name="connsiteY0" fmla="*/ 19069 h 105004"/>
                <a:gd name="connsiteX1" fmla="*/ 227338 w 233214"/>
                <a:gd name="connsiteY1" fmla="*/ 17289 h 105004"/>
                <a:gd name="connsiteX2" fmla="*/ 232678 w 233214"/>
                <a:gd name="connsiteY2" fmla="*/ 5339 h 105004"/>
                <a:gd name="connsiteX3" fmla="*/ 228864 w 233214"/>
                <a:gd name="connsiteY3" fmla="*/ 890 h 105004"/>
                <a:gd name="connsiteX4" fmla="*/ 227338 w 233214"/>
                <a:gd name="connsiteY4" fmla="*/ 0 h 105004"/>
                <a:gd name="connsiteX5" fmla="*/ 225685 w 233214"/>
                <a:gd name="connsiteY5" fmla="*/ 0 h 105004"/>
                <a:gd name="connsiteX6" fmla="*/ 224032 w 233214"/>
                <a:gd name="connsiteY6" fmla="*/ 0 h 105004"/>
                <a:gd name="connsiteX7" fmla="*/ 222252 w 233214"/>
                <a:gd name="connsiteY7" fmla="*/ 0 h 105004"/>
                <a:gd name="connsiteX8" fmla="*/ 221235 w 233214"/>
                <a:gd name="connsiteY8" fmla="*/ 0 h 105004"/>
                <a:gd name="connsiteX9" fmla="*/ 0 w 233214"/>
                <a:gd name="connsiteY9" fmla="*/ 85300 h 105004"/>
                <a:gd name="connsiteX10" fmla="*/ 0 w 233214"/>
                <a:gd name="connsiteY10" fmla="*/ 105004 h 10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14" h="105004">
                  <a:moveTo>
                    <a:pt x="222634" y="19069"/>
                  </a:moveTo>
                  <a:lnTo>
                    <a:pt x="227338" y="17289"/>
                  </a:lnTo>
                  <a:cubicBezTo>
                    <a:pt x="232003" y="15349"/>
                    <a:pt x="234345" y="10108"/>
                    <a:pt x="232678" y="5339"/>
                  </a:cubicBezTo>
                  <a:cubicBezTo>
                    <a:pt x="231964" y="3457"/>
                    <a:pt x="230615" y="1884"/>
                    <a:pt x="228864" y="890"/>
                  </a:cubicBezTo>
                  <a:cubicBezTo>
                    <a:pt x="228416" y="500"/>
                    <a:pt x="227899" y="198"/>
                    <a:pt x="227338" y="0"/>
                  </a:cubicBezTo>
                  <a:lnTo>
                    <a:pt x="225685" y="0"/>
                  </a:lnTo>
                  <a:lnTo>
                    <a:pt x="224032" y="0"/>
                  </a:lnTo>
                  <a:lnTo>
                    <a:pt x="222252" y="0"/>
                  </a:lnTo>
                  <a:cubicBezTo>
                    <a:pt x="222252" y="0"/>
                    <a:pt x="221489" y="0"/>
                    <a:pt x="221235" y="0"/>
                  </a:cubicBezTo>
                  <a:lnTo>
                    <a:pt x="0" y="85300"/>
                  </a:lnTo>
                  <a:lnTo>
                    <a:pt x="0" y="105004"/>
                  </a:lnTo>
                  <a:close/>
                </a:path>
              </a:pathLst>
            </a:custGeom>
            <a:solidFill>
              <a:srgbClr val="000000"/>
            </a:solidFill>
            <a:ln w="12685"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0195C67A-78CB-4ECA-9355-2025ACB51328}"/>
                </a:ext>
              </a:extLst>
            </p:cNvPr>
            <p:cNvSpPr/>
            <p:nvPr/>
          </p:nvSpPr>
          <p:spPr>
            <a:xfrm>
              <a:off x="483151" y="2225732"/>
              <a:ext cx="13991" cy="400780"/>
            </a:xfrm>
            <a:custGeom>
              <a:avLst/>
              <a:gdLst>
                <a:gd name="connsiteX0" fmla="*/ 13992 w 13991"/>
                <a:gd name="connsiteY0" fmla="*/ 1017 h 400780"/>
                <a:gd name="connsiteX1" fmla="*/ 13992 w 13991"/>
                <a:gd name="connsiteY1" fmla="*/ 0 h 400780"/>
                <a:gd name="connsiteX2" fmla="*/ 13992 w 13991"/>
                <a:gd name="connsiteY2" fmla="*/ 0 h 400780"/>
                <a:gd name="connsiteX3" fmla="*/ 13992 w 13991"/>
                <a:gd name="connsiteY3" fmla="*/ 0 h 400780"/>
                <a:gd name="connsiteX4" fmla="*/ 13992 w 13991"/>
                <a:gd name="connsiteY4" fmla="*/ 0 h 400780"/>
                <a:gd name="connsiteX5" fmla="*/ 13992 w 13991"/>
                <a:gd name="connsiteY5" fmla="*/ 0 h 400780"/>
                <a:gd name="connsiteX6" fmla="*/ 12720 w 13991"/>
                <a:gd name="connsiteY6" fmla="*/ 1526 h 400780"/>
                <a:gd name="connsiteX7" fmla="*/ 12720 w 13991"/>
                <a:gd name="connsiteY7" fmla="*/ 4068 h 400780"/>
                <a:gd name="connsiteX8" fmla="*/ 6 w 13991"/>
                <a:gd name="connsiteY8" fmla="*/ 398152 h 400780"/>
                <a:gd name="connsiteX9" fmla="*/ 6 w 13991"/>
                <a:gd name="connsiteY9" fmla="*/ 399042 h 400780"/>
                <a:gd name="connsiteX10" fmla="*/ 1394 w 13991"/>
                <a:gd name="connsiteY10" fmla="*/ 400695 h 400780"/>
                <a:gd name="connsiteX11" fmla="*/ 1404 w 13991"/>
                <a:gd name="connsiteY11" fmla="*/ 400695 h 400780"/>
                <a:gd name="connsiteX12" fmla="*/ 2294 w 13991"/>
                <a:gd name="connsiteY12" fmla="*/ 400695 h 400780"/>
                <a:gd name="connsiteX13" fmla="*/ 2294 w 13991"/>
                <a:gd name="connsiteY13" fmla="*/ 400695 h 400780"/>
                <a:gd name="connsiteX14" fmla="*/ 2294 w 13991"/>
                <a:gd name="connsiteY14" fmla="*/ 400059 h 400780"/>
                <a:gd name="connsiteX15" fmla="*/ 2294 w 13991"/>
                <a:gd name="connsiteY15" fmla="*/ 397262 h 40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91" h="400780">
                  <a:moveTo>
                    <a:pt x="13992" y="1017"/>
                  </a:moveTo>
                  <a:lnTo>
                    <a:pt x="13992" y="0"/>
                  </a:lnTo>
                  <a:cubicBezTo>
                    <a:pt x="13992" y="0"/>
                    <a:pt x="13992" y="0"/>
                    <a:pt x="13992" y="0"/>
                  </a:cubicBezTo>
                  <a:cubicBezTo>
                    <a:pt x="13992" y="0"/>
                    <a:pt x="13992" y="0"/>
                    <a:pt x="13992" y="0"/>
                  </a:cubicBezTo>
                  <a:lnTo>
                    <a:pt x="13992" y="0"/>
                  </a:lnTo>
                  <a:lnTo>
                    <a:pt x="13992" y="0"/>
                  </a:lnTo>
                  <a:cubicBezTo>
                    <a:pt x="13276" y="165"/>
                    <a:pt x="12757" y="788"/>
                    <a:pt x="12720" y="1526"/>
                  </a:cubicBezTo>
                  <a:lnTo>
                    <a:pt x="12720" y="4068"/>
                  </a:lnTo>
                  <a:lnTo>
                    <a:pt x="6" y="398152"/>
                  </a:lnTo>
                  <a:lnTo>
                    <a:pt x="6" y="399042"/>
                  </a:lnTo>
                  <a:cubicBezTo>
                    <a:pt x="-67" y="399881"/>
                    <a:pt x="554" y="400618"/>
                    <a:pt x="1394" y="400695"/>
                  </a:cubicBezTo>
                  <a:cubicBezTo>
                    <a:pt x="1397" y="400695"/>
                    <a:pt x="1401" y="400695"/>
                    <a:pt x="1404" y="400695"/>
                  </a:cubicBezTo>
                  <a:cubicBezTo>
                    <a:pt x="1689" y="400809"/>
                    <a:pt x="2010" y="400809"/>
                    <a:pt x="2294" y="400695"/>
                  </a:cubicBezTo>
                  <a:lnTo>
                    <a:pt x="2294" y="400695"/>
                  </a:lnTo>
                  <a:cubicBezTo>
                    <a:pt x="2294" y="400695"/>
                    <a:pt x="2294" y="400695"/>
                    <a:pt x="2294" y="400059"/>
                  </a:cubicBezTo>
                  <a:lnTo>
                    <a:pt x="2294" y="397262"/>
                  </a:lnTo>
                  <a:close/>
                </a:path>
              </a:pathLst>
            </a:custGeom>
            <a:solidFill>
              <a:srgbClr val="000000"/>
            </a:solidFill>
            <a:ln w="12685"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94400C1F-1CE3-4826-B85E-F46BD0A2FF3D}"/>
                </a:ext>
              </a:extLst>
            </p:cNvPr>
            <p:cNvSpPr/>
            <p:nvPr/>
          </p:nvSpPr>
          <p:spPr>
            <a:xfrm>
              <a:off x="262201" y="2323932"/>
              <a:ext cx="8117" cy="401540"/>
            </a:xfrm>
            <a:custGeom>
              <a:avLst/>
              <a:gdLst>
                <a:gd name="connsiteX0" fmla="*/ 2391 w 8117"/>
                <a:gd name="connsiteY0" fmla="*/ 401524 h 401540"/>
                <a:gd name="connsiteX1" fmla="*/ 2391 w 8117"/>
                <a:gd name="connsiteY1" fmla="*/ 401524 h 401540"/>
                <a:gd name="connsiteX2" fmla="*/ 2391 w 8117"/>
                <a:gd name="connsiteY2" fmla="*/ 401524 h 401540"/>
                <a:gd name="connsiteX3" fmla="*/ 2391 w 8117"/>
                <a:gd name="connsiteY3" fmla="*/ 401524 h 401540"/>
                <a:gd name="connsiteX4" fmla="*/ 2391 w 8117"/>
                <a:gd name="connsiteY4" fmla="*/ 398982 h 401540"/>
                <a:gd name="connsiteX5" fmla="*/ 8112 w 8117"/>
                <a:gd name="connsiteY5" fmla="*/ 2864 h 401540"/>
                <a:gd name="connsiteX6" fmla="*/ 8112 w 8117"/>
                <a:gd name="connsiteY6" fmla="*/ 1719 h 401540"/>
                <a:gd name="connsiteX7" fmla="*/ 6719 w 8117"/>
                <a:gd name="connsiteY7" fmla="*/ 67 h 401540"/>
                <a:gd name="connsiteX8" fmla="*/ 6587 w 8117"/>
                <a:gd name="connsiteY8" fmla="*/ 67 h 401540"/>
                <a:gd name="connsiteX9" fmla="*/ 5824 w 8117"/>
                <a:gd name="connsiteY9" fmla="*/ 67 h 401540"/>
                <a:gd name="connsiteX10" fmla="*/ 5824 w 8117"/>
                <a:gd name="connsiteY10" fmla="*/ 67 h 401540"/>
                <a:gd name="connsiteX11" fmla="*/ 5824 w 8117"/>
                <a:gd name="connsiteY11" fmla="*/ 67 h 401540"/>
                <a:gd name="connsiteX12" fmla="*/ 5824 w 8117"/>
                <a:gd name="connsiteY12" fmla="*/ 67 h 401540"/>
                <a:gd name="connsiteX13" fmla="*/ 5824 w 8117"/>
                <a:gd name="connsiteY13" fmla="*/ 829 h 401540"/>
                <a:gd name="connsiteX14" fmla="*/ 102 w 8117"/>
                <a:gd name="connsiteY14" fmla="*/ 396185 h 401540"/>
                <a:gd name="connsiteX15" fmla="*/ 102 w 8117"/>
                <a:gd name="connsiteY15" fmla="*/ 399871 h 401540"/>
                <a:gd name="connsiteX16" fmla="*/ 102 w 8117"/>
                <a:gd name="connsiteY16" fmla="*/ 401016 h 401540"/>
                <a:gd name="connsiteX17" fmla="*/ 102 w 8117"/>
                <a:gd name="connsiteY17" fmla="*/ 401016 h 401540"/>
                <a:gd name="connsiteX18" fmla="*/ 102 w 8117"/>
                <a:gd name="connsiteY18" fmla="*/ 401016 h 401540"/>
                <a:gd name="connsiteX19" fmla="*/ 738 w 8117"/>
                <a:gd name="connsiteY19" fmla="*/ 401016 h 401540"/>
                <a:gd name="connsiteX20" fmla="*/ 1373 w 8117"/>
                <a:gd name="connsiteY20" fmla="*/ 401016 h 401540"/>
                <a:gd name="connsiteX21" fmla="*/ 2391 w 8117"/>
                <a:gd name="connsiteY21" fmla="*/ 401524 h 40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17" h="401540">
                  <a:moveTo>
                    <a:pt x="2391" y="401524"/>
                  </a:moveTo>
                  <a:cubicBezTo>
                    <a:pt x="2391" y="401524"/>
                    <a:pt x="2391" y="401524"/>
                    <a:pt x="2391" y="401524"/>
                  </a:cubicBezTo>
                  <a:cubicBezTo>
                    <a:pt x="2391" y="401524"/>
                    <a:pt x="2391" y="401524"/>
                    <a:pt x="2391" y="401524"/>
                  </a:cubicBezTo>
                  <a:lnTo>
                    <a:pt x="2391" y="401524"/>
                  </a:lnTo>
                  <a:lnTo>
                    <a:pt x="2391" y="398982"/>
                  </a:lnTo>
                  <a:lnTo>
                    <a:pt x="8112" y="2864"/>
                  </a:lnTo>
                  <a:lnTo>
                    <a:pt x="8112" y="1719"/>
                  </a:lnTo>
                  <a:cubicBezTo>
                    <a:pt x="8182" y="881"/>
                    <a:pt x="7559" y="143"/>
                    <a:pt x="6719" y="67"/>
                  </a:cubicBezTo>
                  <a:cubicBezTo>
                    <a:pt x="6676" y="67"/>
                    <a:pt x="6631" y="67"/>
                    <a:pt x="6587" y="67"/>
                  </a:cubicBezTo>
                  <a:cubicBezTo>
                    <a:pt x="6340" y="-22"/>
                    <a:pt x="6070" y="-22"/>
                    <a:pt x="5824" y="67"/>
                  </a:cubicBezTo>
                  <a:cubicBezTo>
                    <a:pt x="5824" y="67"/>
                    <a:pt x="5824" y="67"/>
                    <a:pt x="5824" y="67"/>
                  </a:cubicBezTo>
                  <a:lnTo>
                    <a:pt x="5824" y="67"/>
                  </a:lnTo>
                  <a:lnTo>
                    <a:pt x="5824" y="67"/>
                  </a:lnTo>
                  <a:lnTo>
                    <a:pt x="5824" y="829"/>
                  </a:lnTo>
                  <a:lnTo>
                    <a:pt x="102" y="396185"/>
                  </a:lnTo>
                  <a:lnTo>
                    <a:pt x="102" y="399871"/>
                  </a:lnTo>
                  <a:cubicBezTo>
                    <a:pt x="-34" y="400240"/>
                    <a:pt x="-34" y="400647"/>
                    <a:pt x="102" y="401016"/>
                  </a:cubicBezTo>
                  <a:lnTo>
                    <a:pt x="102" y="401016"/>
                  </a:lnTo>
                  <a:lnTo>
                    <a:pt x="102" y="401016"/>
                  </a:lnTo>
                  <a:lnTo>
                    <a:pt x="738" y="401016"/>
                  </a:lnTo>
                  <a:lnTo>
                    <a:pt x="1373" y="401016"/>
                  </a:lnTo>
                  <a:cubicBezTo>
                    <a:pt x="1373" y="401016"/>
                    <a:pt x="2391" y="401651"/>
                    <a:pt x="2391" y="401524"/>
                  </a:cubicBezTo>
                  <a:close/>
                </a:path>
              </a:pathLst>
            </a:custGeom>
            <a:solidFill>
              <a:schemeClr val="accent2"/>
            </a:solidFill>
            <a:ln w="12685"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3646FC3F-6B6C-49C2-9383-FF57193C0B2E}"/>
                </a:ext>
              </a:extLst>
            </p:cNvPr>
            <p:cNvSpPr/>
            <p:nvPr/>
          </p:nvSpPr>
          <p:spPr>
            <a:xfrm>
              <a:off x="225049" y="2286243"/>
              <a:ext cx="8015" cy="401203"/>
            </a:xfrm>
            <a:custGeom>
              <a:avLst/>
              <a:gdLst>
                <a:gd name="connsiteX0" fmla="*/ 8010 w 8015"/>
                <a:gd name="connsiteY0" fmla="*/ 1653 h 401203"/>
                <a:gd name="connsiteX1" fmla="*/ 6617 w 8015"/>
                <a:gd name="connsiteY1" fmla="*/ 0 h 401203"/>
                <a:gd name="connsiteX2" fmla="*/ 6484 w 8015"/>
                <a:gd name="connsiteY2" fmla="*/ 0 h 401203"/>
                <a:gd name="connsiteX3" fmla="*/ 4832 w 8015"/>
                <a:gd name="connsiteY3" fmla="*/ 1653 h 401203"/>
                <a:gd name="connsiteX4" fmla="*/ 4832 w 8015"/>
                <a:gd name="connsiteY4" fmla="*/ 2288 h 401203"/>
                <a:gd name="connsiteX5" fmla="*/ 0 w 8015"/>
                <a:gd name="connsiteY5" fmla="*/ 397517 h 401203"/>
                <a:gd name="connsiteX6" fmla="*/ 2543 w 8015"/>
                <a:gd name="connsiteY6" fmla="*/ 400059 h 401203"/>
                <a:gd name="connsiteX7" fmla="*/ 2543 w 8015"/>
                <a:gd name="connsiteY7" fmla="*/ 401203 h 401203"/>
                <a:gd name="connsiteX8" fmla="*/ 2543 w 8015"/>
                <a:gd name="connsiteY8" fmla="*/ 400568 h 401203"/>
                <a:gd name="connsiteX9" fmla="*/ 7502 w 8015"/>
                <a:gd name="connsiteY9" fmla="*/ 5339 h 40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5" h="401203">
                  <a:moveTo>
                    <a:pt x="8010" y="1653"/>
                  </a:moveTo>
                  <a:cubicBezTo>
                    <a:pt x="8080" y="814"/>
                    <a:pt x="7457" y="76"/>
                    <a:pt x="6617" y="0"/>
                  </a:cubicBezTo>
                  <a:cubicBezTo>
                    <a:pt x="6573" y="0"/>
                    <a:pt x="6529" y="0"/>
                    <a:pt x="6484" y="0"/>
                  </a:cubicBezTo>
                  <a:cubicBezTo>
                    <a:pt x="5572" y="0"/>
                    <a:pt x="4832" y="737"/>
                    <a:pt x="4832" y="1653"/>
                  </a:cubicBezTo>
                  <a:lnTo>
                    <a:pt x="4832" y="2288"/>
                  </a:lnTo>
                  <a:lnTo>
                    <a:pt x="0" y="397517"/>
                  </a:lnTo>
                  <a:lnTo>
                    <a:pt x="2543" y="400059"/>
                  </a:lnTo>
                  <a:cubicBezTo>
                    <a:pt x="2692" y="400428"/>
                    <a:pt x="2692" y="400834"/>
                    <a:pt x="2543" y="401203"/>
                  </a:cubicBezTo>
                  <a:lnTo>
                    <a:pt x="2543" y="400568"/>
                  </a:lnTo>
                  <a:lnTo>
                    <a:pt x="7502" y="5339"/>
                  </a:lnTo>
                  <a:close/>
                </a:path>
              </a:pathLst>
            </a:custGeom>
            <a:solidFill>
              <a:srgbClr val="000000"/>
            </a:solidFill>
            <a:ln w="12685"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ECE66F96-9825-4201-BD16-8D554F76B514}"/>
                </a:ext>
              </a:extLst>
            </p:cNvPr>
            <p:cNvSpPr/>
            <p:nvPr/>
          </p:nvSpPr>
          <p:spPr>
            <a:xfrm>
              <a:off x="228101" y="2687573"/>
              <a:ext cx="12714" cy="923"/>
            </a:xfrm>
            <a:custGeom>
              <a:avLst/>
              <a:gdLst>
                <a:gd name="connsiteX0" fmla="*/ 0 w 12714"/>
                <a:gd name="connsiteY0" fmla="*/ 0 h 923"/>
                <a:gd name="connsiteX1" fmla="*/ 0 w 12714"/>
                <a:gd name="connsiteY1" fmla="*/ 0 h 923"/>
                <a:gd name="connsiteX2" fmla="*/ 0 w 12714"/>
                <a:gd name="connsiteY2" fmla="*/ 636 h 923"/>
                <a:gd name="connsiteX3" fmla="*/ 0 w 12714"/>
                <a:gd name="connsiteY3" fmla="*/ 0 h 923"/>
              </a:gdLst>
              <a:ahLst/>
              <a:cxnLst>
                <a:cxn ang="0">
                  <a:pos x="connsiteX0" y="connsiteY0"/>
                </a:cxn>
                <a:cxn ang="0">
                  <a:pos x="connsiteX1" y="connsiteY1"/>
                </a:cxn>
                <a:cxn ang="0">
                  <a:pos x="connsiteX2" y="connsiteY2"/>
                </a:cxn>
                <a:cxn ang="0">
                  <a:pos x="connsiteX3" y="connsiteY3"/>
                </a:cxn>
              </a:cxnLst>
              <a:rect l="l" t="t" r="r" b="b"/>
              <a:pathLst>
                <a:path w="12714" h="923">
                  <a:moveTo>
                    <a:pt x="0" y="0"/>
                  </a:moveTo>
                  <a:lnTo>
                    <a:pt x="0" y="0"/>
                  </a:lnTo>
                  <a:cubicBezTo>
                    <a:pt x="0" y="0"/>
                    <a:pt x="0" y="0"/>
                    <a:pt x="0" y="636"/>
                  </a:cubicBezTo>
                  <a:cubicBezTo>
                    <a:pt x="0" y="1271"/>
                    <a:pt x="0" y="763"/>
                    <a:pt x="0" y="0"/>
                  </a:cubicBezTo>
                  <a:close/>
                </a:path>
              </a:pathLst>
            </a:custGeom>
            <a:solidFill>
              <a:srgbClr val="000000"/>
            </a:solidFill>
            <a:ln w="12685"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6E487542-86DC-4F31-9688-CE6A731A15AA}"/>
                </a:ext>
              </a:extLst>
            </p:cNvPr>
            <p:cNvSpPr/>
            <p:nvPr/>
          </p:nvSpPr>
          <p:spPr>
            <a:xfrm>
              <a:off x="226575" y="2689225"/>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1717C212-4565-4482-86AF-3521EC69FF20}"/>
                </a:ext>
              </a:extLst>
            </p:cNvPr>
            <p:cNvSpPr/>
            <p:nvPr/>
          </p:nvSpPr>
          <p:spPr>
            <a:xfrm>
              <a:off x="963008" y="3385737"/>
              <a:ext cx="19072" cy="290605"/>
            </a:xfrm>
            <a:custGeom>
              <a:avLst/>
              <a:gdLst>
                <a:gd name="connsiteX0" fmla="*/ 19072 w 19072"/>
                <a:gd name="connsiteY0" fmla="*/ 1780 h 290605"/>
                <a:gd name="connsiteX1" fmla="*/ 17546 w 19072"/>
                <a:gd name="connsiteY1" fmla="*/ 0 h 290605"/>
                <a:gd name="connsiteX2" fmla="*/ 16019 w 19072"/>
                <a:gd name="connsiteY2" fmla="*/ 1767 h 290605"/>
                <a:gd name="connsiteX3" fmla="*/ 16021 w 19072"/>
                <a:gd name="connsiteY3" fmla="*/ 1780 h 290605"/>
                <a:gd name="connsiteX4" fmla="*/ 0 w 19072"/>
                <a:gd name="connsiteY4" fmla="*/ 287554 h 290605"/>
                <a:gd name="connsiteX5" fmla="*/ 3052 w 19072"/>
                <a:gd name="connsiteY5" fmla="*/ 290605 h 290605"/>
                <a:gd name="connsiteX6" fmla="*/ 18945 w 19072"/>
                <a:gd name="connsiteY6" fmla="*/ 5466 h 29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72" h="290605">
                  <a:moveTo>
                    <a:pt x="19072" y="1780"/>
                  </a:moveTo>
                  <a:cubicBezTo>
                    <a:pt x="19081" y="890"/>
                    <a:pt x="18429" y="127"/>
                    <a:pt x="17546" y="0"/>
                  </a:cubicBezTo>
                  <a:cubicBezTo>
                    <a:pt x="16636" y="64"/>
                    <a:pt x="15952" y="864"/>
                    <a:pt x="16019" y="1767"/>
                  </a:cubicBezTo>
                  <a:cubicBezTo>
                    <a:pt x="16021" y="1767"/>
                    <a:pt x="16021" y="1780"/>
                    <a:pt x="16021" y="1780"/>
                  </a:cubicBezTo>
                  <a:lnTo>
                    <a:pt x="0" y="287554"/>
                  </a:lnTo>
                  <a:lnTo>
                    <a:pt x="3052" y="290605"/>
                  </a:lnTo>
                  <a:lnTo>
                    <a:pt x="18945" y="5466"/>
                  </a:lnTo>
                  <a:close/>
                </a:path>
              </a:pathLst>
            </a:custGeom>
            <a:solidFill>
              <a:srgbClr val="000000"/>
            </a:solidFill>
            <a:ln w="12685"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CAAED4F1-B88B-489C-BA2C-5D8C6A7959AE}"/>
                </a:ext>
              </a:extLst>
            </p:cNvPr>
            <p:cNvSpPr/>
            <p:nvPr/>
          </p:nvSpPr>
          <p:spPr>
            <a:xfrm>
              <a:off x="3391636" y="3889784"/>
              <a:ext cx="134266" cy="73985"/>
            </a:xfrm>
            <a:custGeom>
              <a:avLst/>
              <a:gdLst>
                <a:gd name="connsiteX0" fmla="*/ 890 w 134266"/>
                <a:gd name="connsiteY0" fmla="*/ 69791 h 73985"/>
                <a:gd name="connsiteX1" fmla="*/ 0 w 134266"/>
                <a:gd name="connsiteY1" fmla="*/ 73986 h 73985"/>
                <a:gd name="connsiteX2" fmla="*/ 134140 w 134266"/>
                <a:gd name="connsiteY2" fmla="*/ 2415 h 73985"/>
                <a:gd name="connsiteX3" fmla="*/ 134267 w 134266"/>
                <a:gd name="connsiteY3" fmla="*/ 2288 h 73985"/>
                <a:gd name="connsiteX4" fmla="*/ 133504 w 134266"/>
                <a:gd name="connsiteY4" fmla="*/ 1653 h 73985"/>
                <a:gd name="connsiteX5" fmla="*/ 131724 w 134266"/>
                <a:gd name="connsiteY5" fmla="*/ 0 h 73985"/>
                <a:gd name="connsiteX6" fmla="*/ 890 w 134266"/>
                <a:gd name="connsiteY6" fmla="*/ 69791 h 7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266" h="73985">
                  <a:moveTo>
                    <a:pt x="890" y="69791"/>
                  </a:moveTo>
                  <a:lnTo>
                    <a:pt x="0" y="73986"/>
                  </a:lnTo>
                  <a:lnTo>
                    <a:pt x="134140" y="2415"/>
                  </a:lnTo>
                  <a:lnTo>
                    <a:pt x="134267" y="2288"/>
                  </a:lnTo>
                  <a:lnTo>
                    <a:pt x="133504" y="1653"/>
                  </a:lnTo>
                  <a:lnTo>
                    <a:pt x="131724" y="0"/>
                  </a:lnTo>
                  <a:lnTo>
                    <a:pt x="890" y="69791"/>
                  </a:lnTo>
                  <a:close/>
                </a:path>
              </a:pathLst>
            </a:custGeom>
            <a:solidFill>
              <a:srgbClr val="000000"/>
            </a:solidFill>
            <a:ln w="12685"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3F64D5F3-1072-4828-8916-73CC6612B489}"/>
                </a:ext>
              </a:extLst>
            </p:cNvPr>
            <p:cNvSpPr/>
            <p:nvPr/>
          </p:nvSpPr>
          <p:spPr>
            <a:xfrm>
              <a:off x="1079729" y="3582652"/>
              <a:ext cx="106898" cy="108630"/>
            </a:xfrm>
            <a:custGeom>
              <a:avLst/>
              <a:gdLst>
                <a:gd name="connsiteX0" fmla="*/ 104642 w 106898"/>
                <a:gd name="connsiteY0" fmla="*/ 108182 h 108630"/>
                <a:gd name="connsiteX1" fmla="*/ 106799 w 106898"/>
                <a:gd name="connsiteY1" fmla="*/ 108182 h 108630"/>
                <a:gd name="connsiteX2" fmla="*/ 106803 w 106898"/>
                <a:gd name="connsiteY2" fmla="*/ 108182 h 108630"/>
                <a:gd name="connsiteX3" fmla="*/ 106803 w 106898"/>
                <a:gd name="connsiteY3" fmla="*/ 107165 h 108630"/>
                <a:gd name="connsiteX4" fmla="*/ 106803 w 106898"/>
                <a:gd name="connsiteY4" fmla="*/ 106530 h 108630"/>
                <a:gd name="connsiteX5" fmla="*/ 106803 w 106898"/>
                <a:gd name="connsiteY5" fmla="*/ 106530 h 108630"/>
                <a:gd name="connsiteX6" fmla="*/ 106803 w 106898"/>
                <a:gd name="connsiteY6" fmla="*/ 106530 h 108630"/>
                <a:gd name="connsiteX7" fmla="*/ 106040 w 106898"/>
                <a:gd name="connsiteY7" fmla="*/ 105767 h 108630"/>
                <a:gd name="connsiteX8" fmla="*/ 0 w 106898"/>
                <a:gd name="connsiteY8" fmla="*/ 0 h 108630"/>
                <a:gd name="connsiteX9" fmla="*/ 0 w 106898"/>
                <a:gd name="connsiteY9" fmla="*/ 4195 h 108630"/>
                <a:gd name="connsiteX10" fmla="*/ 104387 w 106898"/>
                <a:gd name="connsiteY10" fmla="*/ 108437 h 10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898" h="108630">
                  <a:moveTo>
                    <a:pt x="104642" y="108182"/>
                  </a:moveTo>
                  <a:cubicBezTo>
                    <a:pt x="105237" y="108780"/>
                    <a:pt x="106203" y="108780"/>
                    <a:pt x="106799" y="108182"/>
                  </a:cubicBezTo>
                  <a:cubicBezTo>
                    <a:pt x="106801" y="108182"/>
                    <a:pt x="106802" y="108182"/>
                    <a:pt x="106803" y="108182"/>
                  </a:cubicBezTo>
                  <a:cubicBezTo>
                    <a:pt x="106930" y="107852"/>
                    <a:pt x="106930" y="107496"/>
                    <a:pt x="106803" y="107165"/>
                  </a:cubicBezTo>
                  <a:cubicBezTo>
                    <a:pt x="106816" y="106949"/>
                    <a:pt x="106816" y="106746"/>
                    <a:pt x="106803" y="106530"/>
                  </a:cubicBezTo>
                  <a:lnTo>
                    <a:pt x="106803" y="106530"/>
                  </a:lnTo>
                  <a:lnTo>
                    <a:pt x="106803" y="106530"/>
                  </a:lnTo>
                  <a:lnTo>
                    <a:pt x="106040" y="105767"/>
                  </a:lnTo>
                  <a:lnTo>
                    <a:pt x="0" y="0"/>
                  </a:lnTo>
                  <a:lnTo>
                    <a:pt x="0" y="4195"/>
                  </a:lnTo>
                  <a:lnTo>
                    <a:pt x="104387" y="108437"/>
                  </a:lnTo>
                  <a:close/>
                </a:path>
              </a:pathLst>
            </a:custGeom>
            <a:solidFill>
              <a:srgbClr val="000000"/>
            </a:solidFill>
            <a:ln w="12685"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2377728C-5841-4F80-B81A-FDF04E529002}"/>
                </a:ext>
              </a:extLst>
            </p:cNvPr>
            <p:cNvSpPr/>
            <p:nvPr/>
          </p:nvSpPr>
          <p:spPr>
            <a:xfrm>
              <a:off x="1752523" y="5575065"/>
              <a:ext cx="22316" cy="166151"/>
            </a:xfrm>
            <a:custGeom>
              <a:avLst/>
              <a:gdLst>
                <a:gd name="connsiteX0" fmla="*/ 22316 w 22316"/>
                <a:gd name="connsiteY0" fmla="*/ 636 h 166151"/>
                <a:gd name="connsiteX1" fmla="*/ 20663 w 22316"/>
                <a:gd name="connsiteY1" fmla="*/ 636 h 166151"/>
                <a:gd name="connsiteX2" fmla="*/ 19137 w 22316"/>
                <a:gd name="connsiteY2" fmla="*/ 0 h 166151"/>
                <a:gd name="connsiteX3" fmla="*/ 65 w 22316"/>
                <a:gd name="connsiteY3" fmla="*/ 165261 h 166151"/>
                <a:gd name="connsiteX4" fmla="*/ 65 w 22316"/>
                <a:gd name="connsiteY4" fmla="*/ 166151 h 166151"/>
                <a:gd name="connsiteX5" fmla="*/ 1197 w 22316"/>
                <a:gd name="connsiteY5" fmla="*/ 164105 h 166151"/>
                <a:gd name="connsiteX6" fmla="*/ 3244 w 22316"/>
                <a:gd name="connsiteY6" fmla="*/ 165249 h 166151"/>
                <a:gd name="connsiteX7" fmla="*/ 3244 w 22316"/>
                <a:gd name="connsiteY7" fmla="*/ 166151 h 166151"/>
                <a:gd name="connsiteX8" fmla="*/ 3244 w 22316"/>
                <a:gd name="connsiteY8" fmla="*/ 165388 h 166151"/>
                <a:gd name="connsiteX9" fmla="*/ 3244 w 22316"/>
                <a:gd name="connsiteY9" fmla="*/ 163100 h 16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6" h="166151">
                  <a:moveTo>
                    <a:pt x="22316" y="636"/>
                  </a:moveTo>
                  <a:lnTo>
                    <a:pt x="20663" y="636"/>
                  </a:lnTo>
                  <a:lnTo>
                    <a:pt x="19137" y="0"/>
                  </a:lnTo>
                  <a:lnTo>
                    <a:pt x="65" y="165261"/>
                  </a:lnTo>
                  <a:lnTo>
                    <a:pt x="65" y="166151"/>
                  </a:lnTo>
                  <a:cubicBezTo>
                    <a:pt x="-189" y="165274"/>
                    <a:pt x="320" y="164359"/>
                    <a:pt x="1197" y="164105"/>
                  </a:cubicBezTo>
                  <a:cubicBezTo>
                    <a:pt x="2074" y="163863"/>
                    <a:pt x="2990" y="164372"/>
                    <a:pt x="3244" y="165249"/>
                  </a:cubicBezTo>
                  <a:cubicBezTo>
                    <a:pt x="3333" y="165541"/>
                    <a:pt x="3333" y="165859"/>
                    <a:pt x="3244" y="166151"/>
                  </a:cubicBezTo>
                  <a:lnTo>
                    <a:pt x="3244" y="165388"/>
                  </a:lnTo>
                  <a:lnTo>
                    <a:pt x="3244" y="163100"/>
                  </a:lnTo>
                  <a:close/>
                </a:path>
              </a:pathLst>
            </a:custGeom>
            <a:solidFill>
              <a:srgbClr val="000000"/>
            </a:solidFill>
            <a:ln w="12685"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B43A1802-96D0-4C96-B256-16A151986D48}"/>
                </a:ext>
              </a:extLst>
            </p:cNvPr>
            <p:cNvSpPr/>
            <p:nvPr/>
          </p:nvSpPr>
          <p:spPr>
            <a:xfrm>
              <a:off x="1459388" y="6357386"/>
              <a:ext cx="224286" cy="131319"/>
            </a:xfrm>
            <a:custGeom>
              <a:avLst/>
              <a:gdLst>
                <a:gd name="connsiteX0" fmla="*/ 222380 w 224286"/>
                <a:gd name="connsiteY0" fmla="*/ 1525 h 131319"/>
                <a:gd name="connsiteX1" fmla="*/ 222380 w 224286"/>
                <a:gd name="connsiteY1" fmla="*/ 1525 h 131319"/>
                <a:gd name="connsiteX2" fmla="*/ 222380 w 224286"/>
                <a:gd name="connsiteY2" fmla="*/ 890 h 131319"/>
                <a:gd name="connsiteX3" fmla="*/ 222380 w 224286"/>
                <a:gd name="connsiteY3" fmla="*/ 890 h 131319"/>
                <a:gd name="connsiteX4" fmla="*/ 222380 w 224286"/>
                <a:gd name="connsiteY4" fmla="*/ 0 h 131319"/>
                <a:gd name="connsiteX5" fmla="*/ 0 w 224286"/>
                <a:gd name="connsiteY5" fmla="*/ 128141 h 131319"/>
                <a:gd name="connsiteX6" fmla="*/ 0 w 224286"/>
                <a:gd name="connsiteY6" fmla="*/ 131319 h 131319"/>
                <a:gd name="connsiteX7" fmla="*/ 0 w 224286"/>
                <a:gd name="connsiteY7" fmla="*/ 131319 h 131319"/>
                <a:gd name="connsiteX8" fmla="*/ 0 w 224286"/>
                <a:gd name="connsiteY8" fmla="*/ 131319 h 131319"/>
                <a:gd name="connsiteX9" fmla="*/ 0 w 224286"/>
                <a:gd name="connsiteY9" fmla="*/ 131319 h 131319"/>
                <a:gd name="connsiteX10" fmla="*/ 224287 w 224286"/>
                <a:gd name="connsiteY10" fmla="*/ 1271 h 131319"/>
                <a:gd name="connsiteX11" fmla="*/ 223524 w 224286"/>
                <a:gd name="connsiteY11" fmla="*/ 381 h 13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286" h="131319">
                  <a:moveTo>
                    <a:pt x="222380" y="1525"/>
                  </a:moveTo>
                  <a:cubicBezTo>
                    <a:pt x="222380" y="1525"/>
                    <a:pt x="222380" y="1525"/>
                    <a:pt x="222380" y="1525"/>
                  </a:cubicBezTo>
                  <a:cubicBezTo>
                    <a:pt x="222380" y="1525"/>
                    <a:pt x="222380" y="1525"/>
                    <a:pt x="222380" y="890"/>
                  </a:cubicBezTo>
                  <a:lnTo>
                    <a:pt x="222380" y="890"/>
                  </a:lnTo>
                  <a:lnTo>
                    <a:pt x="222380" y="0"/>
                  </a:lnTo>
                  <a:lnTo>
                    <a:pt x="0" y="128141"/>
                  </a:lnTo>
                  <a:lnTo>
                    <a:pt x="0" y="131319"/>
                  </a:lnTo>
                  <a:lnTo>
                    <a:pt x="0" y="131319"/>
                  </a:lnTo>
                  <a:cubicBezTo>
                    <a:pt x="0" y="131319"/>
                    <a:pt x="0" y="131319"/>
                    <a:pt x="0" y="131319"/>
                  </a:cubicBezTo>
                  <a:lnTo>
                    <a:pt x="0" y="131319"/>
                  </a:lnTo>
                  <a:lnTo>
                    <a:pt x="224287" y="1271"/>
                  </a:lnTo>
                  <a:lnTo>
                    <a:pt x="223524" y="381"/>
                  </a:lnTo>
                  <a:close/>
                </a:path>
              </a:pathLst>
            </a:custGeom>
            <a:solidFill>
              <a:srgbClr val="000000"/>
            </a:solidFill>
            <a:ln w="12685"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105E7A7C-D0B9-4A8F-AB6F-EF738B8BFD9A}"/>
                </a:ext>
              </a:extLst>
            </p:cNvPr>
            <p:cNvSpPr/>
            <p:nvPr/>
          </p:nvSpPr>
          <p:spPr>
            <a:xfrm>
              <a:off x="1077821" y="6709264"/>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F6D664C5-760D-4932-8466-28F2F28565AE}"/>
                </a:ext>
              </a:extLst>
            </p:cNvPr>
            <p:cNvSpPr/>
            <p:nvPr/>
          </p:nvSpPr>
          <p:spPr>
            <a:xfrm>
              <a:off x="1080746" y="6487433"/>
              <a:ext cx="378896" cy="221830"/>
            </a:xfrm>
            <a:custGeom>
              <a:avLst/>
              <a:gdLst>
                <a:gd name="connsiteX0" fmla="*/ 376608 w 378896"/>
                <a:gd name="connsiteY0" fmla="*/ 2669 h 221830"/>
                <a:gd name="connsiteX1" fmla="*/ 375210 w 378896"/>
                <a:gd name="connsiteY1" fmla="*/ 890 h 221830"/>
                <a:gd name="connsiteX2" fmla="*/ 375210 w 378896"/>
                <a:gd name="connsiteY2" fmla="*/ 0 h 221830"/>
                <a:gd name="connsiteX3" fmla="*/ 0 w 378896"/>
                <a:gd name="connsiteY3" fmla="*/ 218017 h 221830"/>
                <a:gd name="connsiteX4" fmla="*/ 0 w 378896"/>
                <a:gd name="connsiteY4" fmla="*/ 220941 h 221830"/>
                <a:gd name="connsiteX5" fmla="*/ 0 w 378896"/>
                <a:gd name="connsiteY5" fmla="*/ 220941 h 221830"/>
                <a:gd name="connsiteX6" fmla="*/ 0 w 378896"/>
                <a:gd name="connsiteY6" fmla="*/ 221831 h 221830"/>
                <a:gd name="connsiteX7" fmla="*/ 0 w 378896"/>
                <a:gd name="connsiteY7" fmla="*/ 221831 h 221830"/>
                <a:gd name="connsiteX8" fmla="*/ 378897 w 378896"/>
                <a:gd name="connsiteY8" fmla="*/ 2415 h 221830"/>
                <a:gd name="connsiteX9" fmla="*/ 378897 w 378896"/>
                <a:gd name="connsiteY9" fmla="*/ 2415 h 22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896" h="221830">
                  <a:moveTo>
                    <a:pt x="376608" y="2669"/>
                  </a:moveTo>
                  <a:cubicBezTo>
                    <a:pt x="375782" y="2491"/>
                    <a:pt x="375184" y="1742"/>
                    <a:pt x="375210" y="890"/>
                  </a:cubicBezTo>
                  <a:lnTo>
                    <a:pt x="375210" y="0"/>
                  </a:lnTo>
                  <a:lnTo>
                    <a:pt x="0" y="218017"/>
                  </a:lnTo>
                  <a:lnTo>
                    <a:pt x="0" y="220941"/>
                  </a:lnTo>
                  <a:lnTo>
                    <a:pt x="0" y="220941"/>
                  </a:lnTo>
                  <a:cubicBezTo>
                    <a:pt x="0" y="220941"/>
                    <a:pt x="0" y="220941"/>
                    <a:pt x="0" y="221831"/>
                  </a:cubicBezTo>
                  <a:lnTo>
                    <a:pt x="0" y="221831"/>
                  </a:lnTo>
                  <a:lnTo>
                    <a:pt x="378897" y="2415"/>
                  </a:lnTo>
                  <a:lnTo>
                    <a:pt x="378897" y="2415"/>
                  </a:lnTo>
                  <a:close/>
                </a:path>
              </a:pathLst>
            </a:custGeom>
            <a:solidFill>
              <a:srgbClr val="000000"/>
            </a:solidFill>
            <a:ln w="12685"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DF5F1B80-75C7-4F5D-AD05-0EB753D67B4F}"/>
                </a:ext>
              </a:extLst>
            </p:cNvPr>
            <p:cNvSpPr/>
            <p:nvPr/>
          </p:nvSpPr>
          <p:spPr>
            <a:xfrm>
              <a:off x="638530" y="6183353"/>
              <a:ext cx="96631" cy="115301"/>
            </a:xfrm>
            <a:custGeom>
              <a:avLst/>
              <a:gdLst>
                <a:gd name="connsiteX0" fmla="*/ 1144 w 96631"/>
                <a:gd name="connsiteY0" fmla="*/ 127 h 115301"/>
                <a:gd name="connsiteX1" fmla="*/ 1144 w 96631"/>
                <a:gd name="connsiteY1" fmla="*/ 127 h 115301"/>
                <a:gd name="connsiteX2" fmla="*/ 1144 w 96631"/>
                <a:gd name="connsiteY2" fmla="*/ 127 h 115301"/>
                <a:gd name="connsiteX3" fmla="*/ 1144 w 96631"/>
                <a:gd name="connsiteY3" fmla="*/ 127 h 115301"/>
                <a:gd name="connsiteX4" fmla="*/ 1144 w 96631"/>
                <a:gd name="connsiteY4" fmla="*/ 127 h 115301"/>
                <a:gd name="connsiteX5" fmla="*/ 0 w 96631"/>
                <a:gd name="connsiteY5" fmla="*/ 127 h 115301"/>
                <a:gd name="connsiteX6" fmla="*/ 93834 w 96631"/>
                <a:gd name="connsiteY6" fmla="*/ 115301 h 115301"/>
                <a:gd name="connsiteX7" fmla="*/ 96631 w 96631"/>
                <a:gd name="connsiteY7" fmla="*/ 113649 h 115301"/>
                <a:gd name="connsiteX8" fmla="*/ 1271 w 96631"/>
                <a:gd name="connsiteY8" fmla="*/ 0 h 11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1" h="115301">
                  <a:moveTo>
                    <a:pt x="1144" y="127"/>
                  </a:moveTo>
                  <a:lnTo>
                    <a:pt x="1144" y="127"/>
                  </a:lnTo>
                  <a:lnTo>
                    <a:pt x="1144" y="127"/>
                  </a:lnTo>
                  <a:lnTo>
                    <a:pt x="1144" y="127"/>
                  </a:lnTo>
                  <a:lnTo>
                    <a:pt x="1144" y="127"/>
                  </a:lnTo>
                  <a:lnTo>
                    <a:pt x="0" y="127"/>
                  </a:lnTo>
                  <a:lnTo>
                    <a:pt x="93834" y="115301"/>
                  </a:lnTo>
                  <a:lnTo>
                    <a:pt x="96631" y="113649"/>
                  </a:lnTo>
                  <a:lnTo>
                    <a:pt x="1271" y="0"/>
                  </a:lnTo>
                  <a:close/>
                </a:path>
              </a:pathLst>
            </a:custGeom>
            <a:solidFill>
              <a:srgbClr val="000000"/>
            </a:solidFill>
            <a:ln w="12685"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C9FB82E7-ED2E-4661-AC7B-3896950E4D3A}"/>
                </a:ext>
              </a:extLst>
            </p:cNvPr>
            <p:cNvSpPr/>
            <p:nvPr/>
          </p:nvSpPr>
          <p:spPr>
            <a:xfrm>
              <a:off x="1078584" y="6709519"/>
              <a:ext cx="113" cy="56"/>
            </a:xfrm>
            <a:custGeom>
              <a:avLst/>
              <a:gdLst>
                <a:gd name="connsiteX0" fmla="*/ 0 w 113"/>
                <a:gd name="connsiteY0" fmla="*/ 0 h 56"/>
                <a:gd name="connsiteX1" fmla="*/ 0 w 113"/>
                <a:gd name="connsiteY1" fmla="*/ 0 h 56"/>
                <a:gd name="connsiteX2" fmla="*/ 0 w 113"/>
                <a:gd name="connsiteY2" fmla="*/ 0 h 56"/>
                <a:gd name="connsiteX3" fmla="*/ 0 w 113"/>
                <a:gd name="connsiteY3" fmla="*/ 0 h 56"/>
              </a:gdLst>
              <a:ahLst/>
              <a:cxnLst>
                <a:cxn ang="0">
                  <a:pos x="connsiteX0" y="connsiteY0"/>
                </a:cxn>
                <a:cxn ang="0">
                  <a:pos x="connsiteX1" y="connsiteY1"/>
                </a:cxn>
                <a:cxn ang="0">
                  <a:pos x="connsiteX2" y="connsiteY2"/>
                </a:cxn>
                <a:cxn ang="0">
                  <a:pos x="connsiteX3" y="connsiteY3"/>
                </a:cxn>
              </a:cxnLst>
              <a:rect l="l" t="t" r="r" b="b"/>
              <a:pathLst>
                <a:path w="113" h="56">
                  <a:moveTo>
                    <a:pt x="0" y="0"/>
                  </a:moveTo>
                  <a:cubicBezTo>
                    <a:pt x="0" y="0"/>
                    <a:pt x="0" y="0"/>
                    <a:pt x="0" y="0"/>
                  </a:cubicBezTo>
                  <a:lnTo>
                    <a:pt x="0" y="0"/>
                  </a:lnTo>
                  <a:cubicBezTo>
                    <a:pt x="0" y="0"/>
                    <a:pt x="254" y="127"/>
                    <a:pt x="0" y="0"/>
                  </a:cubicBezTo>
                  <a:close/>
                </a:path>
              </a:pathLst>
            </a:custGeom>
            <a:solidFill>
              <a:srgbClr val="000000"/>
            </a:solidFill>
            <a:ln w="12685"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83A65849-AC00-45E9-AF4E-05CE9A436DBF}"/>
                </a:ext>
              </a:extLst>
            </p:cNvPr>
            <p:cNvSpPr/>
            <p:nvPr/>
          </p:nvSpPr>
          <p:spPr>
            <a:xfrm>
              <a:off x="818616" y="6398078"/>
              <a:ext cx="258696" cy="309788"/>
            </a:xfrm>
            <a:custGeom>
              <a:avLst/>
              <a:gdLst>
                <a:gd name="connsiteX0" fmla="*/ 258442 w 258696"/>
                <a:gd name="connsiteY0" fmla="*/ 309788 h 309788"/>
                <a:gd name="connsiteX1" fmla="*/ 258442 w 258696"/>
                <a:gd name="connsiteY1" fmla="*/ 305848 h 309788"/>
                <a:gd name="connsiteX2" fmla="*/ 2496 w 258696"/>
                <a:gd name="connsiteY2" fmla="*/ 750 h 309788"/>
                <a:gd name="connsiteX3" fmla="*/ 1352 w 258696"/>
                <a:gd name="connsiteY3" fmla="*/ 114 h 309788"/>
                <a:gd name="connsiteX4" fmla="*/ 335 w 258696"/>
                <a:gd name="connsiteY4" fmla="*/ 114 h 309788"/>
                <a:gd name="connsiteX5" fmla="*/ 335 w 258696"/>
                <a:gd name="connsiteY5" fmla="*/ 2022 h 309788"/>
                <a:gd name="connsiteX6" fmla="*/ 335 w 258696"/>
                <a:gd name="connsiteY6" fmla="*/ 2022 h 309788"/>
                <a:gd name="connsiteX7" fmla="*/ 258697 w 258696"/>
                <a:gd name="connsiteY7" fmla="*/ 309661 h 309788"/>
                <a:gd name="connsiteX8" fmla="*/ 258697 w 258696"/>
                <a:gd name="connsiteY8" fmla="*/ 309661 h 309788"/>
                <a:gd name="connsiteX9" fmla="*/ 258697 w 258696"/>
                <a:gd name="connsiteY9" fmla="*/ 309661 h 309788"/>
                <a:gd name="connsiteX10" fmla="*/ 258442 w 258696"/>
                <a:gd name="connsiteY10" fmla="*/ 309788 h 3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96" h="309788">
                  <a:moveTo>
                    <a:pt x="258442" y="309788"/>
                  </a:moveTo>
                  <a:lnTo>
                    <a:pt x="258442" y="305848"/>
                  </a:lnTo>
                  <a:lnTo>
                    <a:pt x="2496" y="750"/>
                  </a:lnTo>
                  <a:cubicBezTo>
                    <a:pt x="2219" y="394"/>
                    <a:pt x="1804" y="166"/>
                    <a:pt x="1352" y="114"/>
                  </a:cubicBezTo>
                  <a:cubicBezTo>
                    <a:pt x="1031" y="-38"/>
                    <a:pt x="655" y="-38"/>
                    <a:pt x="335" y="114"/>
                  </a:cubicBezTo>
                  <a:cubicBezTo>
                    <a:pt x="-112" y="674"/>
                    <a:pt x="-112" y="1462"/>
                    <a:pt x="335" y="2022"/>
                  </a:cubicBezTo>
                  <a:lnTo>
                    <a:pt x="335" y="2022"/>
                  </a:lnTo>
                  <a:lnTo>
                    <a:pt x="258697" y="309661"/>
                  </a:lnTo>
                  <a:lnTo>
                    <a:pt x="258697" y="309661"/>
                  </a:lnTo>
                  <a:lnTo>
                    <a:pt x="258697" y="309661"/>
                  </a:lnTo>
                  <a:cubicBezTo>
                    <a:pt x="258615" y="309712"/>
                    <a:pt x="258530" y="309750"/>
                    <a:pt x="258442" y="309788"/>
                  </a:cubicBezTo>
                  <a:close/>
                </a:path>
              </a:pathLst>
            </a:custGeom>
            <a:solidFill>
              <a:srgbClr val="000000"/>
            </a:solidFill>
            <a:ln w="12685"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8FBC0095-A1C4-481C-BBEE-8E674F46E00B}"/>
                </a:ext>
              </a:extLst>
            </p:cNvPr>
            <p:cNvSpPr/>
            <p:nvPr/>
          </p:nvSpPr>
          <p:spPr>
            <a:xfrm>
              <a:off x="1079729" y="6708248"/>
              <a:ext cx="32" cy="889"/>
            </a:xfrm>
            <a:custGeom>
              <a:avLst/>
              <a:gdLst>
                <a:gd name="connsiteX0" fmla="*/ 0 w 32"/>
                <a:gd name="connsiteY0" fmla="*/ 890 h 889"/>
                <a:gd name="connsiteX1" fmla="*/ 0 w 32"/>
                <a:gd name="connsiteY1" fmla="*/ 0 h 889"/>
                <a:gd name="connsiteX2" fmla="*/ 0 w 32"/>
                <a:gd name="connsiteY2" fmla="*/ 890 h 889"/>
              </a:gdLst>
              <a:ahLst/>
              <a:cxnLst>
                <a:cxn ang="0">
                  <a:pos x="connsiteX0" y="connsiteY0"/>
                </a:cxn>
                <a:cxn ang="0">
                  <a:pos x="connsiteX1" y="connsiteY1"/>
                </a:cxn>
                <a:cxn ang="0">
                  <a:pos x="connsiteX2" y="connsiteY2"/>
                </a:cxn>
              </a:cxnLst>
              <a:rect l="l" t="t" r="r" b="b"/>
              <a:pathLst>
                <a:path w="32" h="889">
                  <a:moveTo>
                    <a:pt x="0" y="890"/>
                  </a:moveTo>
                  <a:cubicBezTo>
                    <a:pt x="0" y="890"/>
                    <a:pt x="0" y="890"/>
                    <a:pt x="0" y="0"/>
                  </a:cubicBezTo>
                  <a:cubicBezTo>
                    <a:pt x="43" y="293"/>
                    <a:pt x="43" y="597"/>
                    <a:pt x="0" y="890"/>
                  </a:cubicBezTo>
                  <a:close/>
                </a:path>
              </a:pathLst>
            </a:custGeom>
            <a:solidFill>
              <a:srgbClr val="000000"/>
            </a:solidFill>
            <a:ln w="12685"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E61AC5E2-28B2-40C2-9507-CACB5603FBB4}"/>
                </a:ext>
              </a:extLst>
            </p:cNvPr>
            <p:cNvSpPr/>
            <p:nvPr/>
          </p:nvSpPr>
          <p:spPr>
            <a:xfrm>
              <a:off x="3305" y="6181573"/>
              <a:ext cx="635605" cy="356582"/>
            </a:xfrm>
            <a:custGeom>
              <a:avLst/>
              <a:gdLst>
                <a:gd name="connsiteX0" fmla="*/ 635606 w 635605"/>
                <a:gd name="connsiteY0" fmla="*/ 2669 h 356582"/>
                <a:gd name="connsiteX1" fmla="*/ 635606 w 635605"/>
                <a:gd name="connsiteY1" fmla="*/ 2669 h 356582"/>
                <a:gd name="connsiteX2" fmla="*/ 634716 w 635605"/>
                <a:gd name="connsiteY2" fmla="*/ 2669 h 356582"/>
                <a:gd name="connsiteX3" fmla="*/ 633189 w 635605"/>
                <a:gd name="connsiteY3" fmla="*/ 902 h 356582"/>
                <a:gd name="connsiteX4" fmla="*/ 633190 w 635605"/>
                <a:gd name="connsiteY4" fmla="*/ 890 h 356582"/>
                <a:gd name="connsiteX5" fmla="*/ 633190 w 635605"/>
                <a:gd name="connsiteY5" fmla="*/ 0 h 356582"/>
                <a:gd name="connsiteX6" fmla="*/ 0 w 635605"/>
                <a:gd name="connsiteY6" fmla="*/ 352896 h 356582"/>
                <a:gd name="connsiteX7" fmla="*/ 0 w 635605"/>
                <a:gd name="connsiteY7" fmla="*/ 356582 h 356582"/>
                <a:gd name="connsiteX8" fmla="*/ 634462 w 635605"/>
                <a:gd name="connsiteY8" fmla="*/ 3814 h 35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605" h="356582">
                  <a:moveTo>
                    <a:pt x="635606" y="2669"/>
                  </a:moveTo>
                  <a:lnTo>
                    <a:pt x="635606" y="2669"/>
                  </a:lnTo>
                  <a:cubicBezTo>
                    <a:pt x="635317" y="2771"/>
                    <a:pt x="635005" y="2771"/>
                    <a:pt x="634716" y="2669"/>
                  </a:cubicBezTo>
                  <a:cubicBezTo>
                    <a:pt x="633806" y="2606"/>
                    <a:pt x="633122" y="1805"/>
                    <a:pt x="633189" y="902"/>
                  </a:cubicBezTo>
                  <a:cubicBezTo>
                    <a:pt x="633190" y="902"/>
                    <a:pt x="633190" y="890"/>
                    <a:pt x="633190" y="890"/>
                  </a:cubicBezTo>
                  <a:lnTo>
                    <a:pt x="633190" y="0"/>
                  </a:lnTo>
                  <a:lnTo>
                    <a:pt x="0" y="352896"/>
                  </a:lnTo>
                  <a:lnTo>
                    <a:pt x="0" y="356582"/>
                  </a:lnTo>
                  <a:lnTo>
                    <a:pt x="634462" y="3814"/>
                  </a:lnTo>
                  <a:close/>
                </a:path>
              </a:pathLst>
            </a:custGeom>
            <a:solidFill>
              <a:srgbClr val="000000"/>
            </a:solidFill>
            <a:ln w="12685"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3D5D09B2-8822-4C77-AADC-6010FD2066B7}"/>
                </a:ext>
              </a:extLst>
            </p:cNvPr>
            <p:cNvSpPr/>
            <p:nvPr/>
          </p:nvSpPr>
          <p:spPr>
            <a:xfrm>
              <a:off x="0" y="603504"/>
              <a:ext cx="12714" cy="12712"/>
            </a:xfrm>
            <a:custGeom>
              <a:avLst/>
              <a:gdLst/>
              <a:ahLst/>
              <a:cxnLst/>
              <a:rect l="l" t="t" r="r" b="b"/>
              <a:pathLst>
                <a:path w="12714" h="12712"/>
              </a:pathLst>
            </a:custGeom>
            <a:solidFill>
              <a:srgbClr val="000000"/>
            </a:solidFill>
            <a:ln w="12685"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B8833F50-A805-46B7-8EC5-9DFC6E59FED6}"/>
                </a:ext>
              </a:extLst>
            </p:cNvPr>
            <p:cNvSpPr/>
            <p:nvPr/>
          </p:nvSpPr>
          <p:spPr>
            <a:xfrm>
              <a:off x="1439554" y="6596251"/>
              <a:ext cx="457219" cy="267977"/>
            </a:xfrm>
            <a:custGeom>
              <a:avLst/>
              <a:gdLst>
                <a:gd name="connsiteX0" fmla="*/ 455948 w 457219"/>
                <a:gd name="connsiteY0" fmla="*/ 1525 h 267977"/>
                <a:gd name="connsiteX1" fmla="*/ 455948 w 457219"/>
                <a:gd name="connsiteY1" fmla="*/ 1525 h 267977"/>
                <a:gd name="connsiteX2" fmla="*/ 455312 w 457219"/>
                <a:gd name="connsiteY2" fmla="*/ 1525 h 267977"/>
                <a:gd name="connsiteX3" fmla="*/ 455312 w 457219"/>
                <a:gd name="connsiteY3" fmla="*/ 1525 h 267977"/>
                <a:gd name="connsiteX4" fmla="*/ 455312 w 457219"/>
                <a:gd name="connsiteY4" fmla="*/ 1525 h 267977"/>
                <a:gd name="connsiteX5" fmla="*/ 455312 w 457219"/>
                <a:gd name="connsiteY5" fmla="*/ 1525 h 267977"/>
                <a:gd name="connsiteX6" fmla="*/ 453913 w 457219"/>
                <a:gd name="connsiteY6" fmla="*/ 0 h 267977"/>
                <a:gd name="connsiteX7" fmla="*/ 0 w 457219"/>
                <a:gd name="connsiteY7" fmla="*/ 267977 h 267977"/>
                <a:gd name="connsiteX8" fmla="*/ 6357 w 457219"/>
                <a:gd name="connsiteY8" fmla="*/ 267977 h 267977"/>
                <a:gd name="connsiteX9" fmla="*/ 457219 w 457219"/>
                <a:gd name="connsiteY9" fmla="*/ 1780 h 267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19" h="267977">
                  <a:moveTo>
                    <a:pt x="455948" y="1525"/>
                  </a:moveTo>
                  <a:lnTo>
                    <a:pt x="455948" y="1525"/>
                  </a:lnTo>
                  <a:lnTo>
                    <a:pt x="455312" y="1525"/>
                  </a:lnTo>
                  <a:lnTo>
                    <a:pt x="455312" y="1525"/>
                  </a:lnTo>
                  <a:lnTo>
                    <a:pt x="455312" y="1525"/>
                  </a:lnTo>
                  <a:lnTo>
                    <a:pt x="455312" y="1525"/>
                  </a:lnTo>
                  <a:lnTo>
                    <a:pt x="453913" y="0"/>
                  </a:lnTo>
                  <a:lnTo>
                    <a:pt x="0" y="267977"/>
                  </a:lnTo>
                  <a:lnTo>
                    <a:pt x="6357" y="267977"/>
                  </a:lnTo>
                  <a:lnTo>
                    <a:pt x="457219" y="1780"/>
                  </a:lnTo>
                  <a:close/>
                </a:path>
              </a:pathLst>
            </a:custGeom>
            <a:solidFill>
              <a:srgbClr val="000000"/>
            </a:solidFill>
            <a:ln w="12685"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98341E59-C13B-4EF2-8E4F-39C6E6C43EB1}"/>
                </a:ext>
              </a:extLst>
            </p:cNvPr>
            <p:cNvSpPr/>
            <p:nvPr/>
          </p:nvSpPr>
          <p:spPr>
            <a:xfrm>
              <a:off x="1895628" y="6597777"/>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C18E301B-8224-43C6-BFD3-BE86564F2FE1}"/>
                </a:ext>
              </a:extLst>
            </p:cNvPr>
            <p:cNvSpPr/>
            <p:nvPr/>
          </p:nvSpPr>
          <p:spPr>
            <a:xfrm>
              <a:off x="1681259" y="6357386"/>
              <a:ext cx="211826" cy="240137"/>
            </a:xfrm>
            <a:custGeom>
              <a:avLst/>
              <a:gdLst>
                <a:gd name="connsiteX0" fmla="*/ 211826 w 211826"/>
                <a:gd name="connsiteY0" fmla="*/ 238866 h 240137"/>
                <a:gd name="connsiteX1" fmla="*/ 211826 w 211826"/>
                <a:gd name="connsiteY1" fmla="*/ 235434 h 240137"/>
                <a:gd name="connsiteX2" fmla="*/ 2797 w 211826"/>
                <a:gd name="connsiteY2" fmla="*/ 0 h 240137"/>
                <a:gd name="connsiteX3" fmla="*/ 2797 w 211826"/>
                <a:gd name="connsiteY3" fmla="*/ 763 h 240137"/>
                <a:gd name="connsiteX4" fmla="*/ 1170 w 211826"/>
                <a:gd name="connsiteY4" fmla="*/ 2174 h 240137"/>
                <a:gd name="connsiteX5" fmla="*/ 1017 w 211826"/>
                <a:gd name="connsiteY5" fmla="*/ 2161 h 240137"/>
                <a:gd name="connsiteX6" fmla="*/ 0 w 211826"/>
                <a:gd name="connsiteY6" fmla="*/ 1525 h 240137"/>
                <a:gd name="connsiteX7" fmla="*/ 0 w 211826"/>
                <a:gd name="connsiteY7" fmla="*/ 1525 h 240137"/>
                <a:gd name="connsiteX8" fmla="*/ 763 w 211826"/>
                <a:gd name="connsiteY8" fmla="*/ 2415 h 240137"/>
                <a:gd name="connsiteX9" fmla="*/ 210173 w 211826"/>
                <a:gd name="connsiteY9" fmla="*/ 238612 h 240137"/>
                <a:gd name="connsiteX10" fmla="*/ 211572 w 211826"/>
                <a:gd name="connsiteY10" fmla="*/ 240137 h 240137"/>
                <a:gd name="connsiteX11" fmla="*/ 211572 w 211826"/>
                <a:gd name="connsiteY11" fmla="*/ 240137 h 240137"/>
                <a:gd name="connsiteX12" fmla="*/ 211826 w 211826"/>
                <a:gd name="connsiteY12" fmla="*/ 238866 h 24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826" h="240137">
                  <a:moveTo>
                    <a:pt x="211826" y="238866"/>
                  </a:moveTo>
                  <a:lnTo>
                    <a:pt x="211826" y="235434"/>
                  </a:lnTo>
                  <a:lnTo>
                    <a:pt x="2797" y="0"/>
                  </a:lnTo>
                  <a:lnTo>
                    <a:pt x="2797" y="763"/>
                  </a:lnTo>
                  <a:cubicBezTo>
                    <a:pt x="2734" y="1602"/>
                    <a:pt x="2009" y="2237"/>
                    <a:pt x="1170" y="2174"/>
                  </a:cubicBezTo>
                  <a:cubicBezTo>
                    <a:pt x="1119" y="2174"/>
                    <a:pt x="1068" y="2174"/>
                    <a:pt x="1017" y="2161"/>
                  </a:cubicBezTo>
                  <a:cubicBezTo>
                    <a:pt x="598" y="2136"/>
                    <a:pt x="216" y="1894"/>
                    <a:pt x="0" y="1525"/>
                  </a:cubicBezTo>
                  <a:lnTo>
                    <a:pt x="0" y="1525"/>
                  </a:lnTo>
                  <a:lnTo>
                    <a:pt x="763" y="2415"/>
                  </a:lnTo>
                  <a:lnTo>
                    <a:pt x="210173" y="238612"/>
                  </a:lnTo>
                  <a:lnTo>
                    <a:pt x="211572" y="240137"/>
                  </a:lnTo>
                  <a:lnTo>
                    <a:pt x="211572" y="240137"/>
                  </a:lnTo>
                  <a:cubicBezTo>
                    <a:pt x="211496" y="239692"/>
                    <a:pt x="211585" y="239247"/>
                    <a:pt x="211826" y="238866"/>
                  </a:cubicBezTo>
                  <a:close/>
                </a:path>
              </a:pathLst>
            </a:custGeom>
            <a:solidFill>
              <a:srgbClr val="000000"/>
            </a:solidFill>
            <a:ln w="12685"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38C3B8C7-2A6D-4C43-AB21-52C7DE009D40}"/>
                </a:ext>
              </a:extLst>
            </p:cNvPr>
            <p:cNvSpPr/>
            <p:nvPr/>
          </p:nvSpPr>
          <p:spPr>
            <a:xfrm>
              <a:off x="1458243" y="5873171"/>
              <a:ext cx="64082" cy="617949"/>
            </a:xfrm>
            <a:custGeom>
              <a:avLst/>
              <a:gdLst>
                <a:gd name="connsiteX0" fmla="*/ 62811 w 64082"/>
                <a:gd name="connsiteY0" fmla="*/ 635 h 617949"/>
                <a:gd name="connsiteX1" fmla="*/ 62811 w 64082"/>
                <a:gd name="connsiteY1" fmla="*/ 635 h 617949"/>
                <a:gd name="connsiteX2" fmla="*/ 62811 w 64082"/>
                <a:gd name="connsiteY2" fmla="*/ 0 h 617949"/>
                <a:gd name="connsiteX3" fmla="*/ 62811 w 64082"/>
                <a:gd name="connsiteY3" fmla="*/ 0 h 617949"/>
                <a:gd name="connsiteX4" fmla="*/ 62811 w 64082"/>
                <a:gd name="connsiteY4" fmla="*/ 0 h 617949"/>
                <a:gd name="connsiteX5" fmla="*/ 62811 w 64082"/>
                <a:gd name="connsiteY5" fmla="*/ 0 h 617949"/>
                <a:gd name="connsiteX6" fmla="*/ 61540 w 64082"/>
                <a:gd name="connsiteY6" fmla="*/ 1271 h 617949"/>
                <a:gd name="connsiteX7" fmla="*/ 61540 w 64082"/>
                <a:gd name="connsiteY7" fmla="*/ 4449 h 617949"/>
                <a:gd name="connsiteX8" fmla="*/ 1 w 64082"/>
                <a:gd name="connsiteY8" fmla="*/ 615280 h 617949"/>
                <a:gd name="connsiteX9" fmla="*/ 1 w 64082"/>
                <a:gd name="connsiteY9" fmla="*/ 616170 h 617949"/>
                <a:gd name="connsiteX10" fmla="*/ 1399 w 64082"/>
                <a:gd name="connsiteY10" fmla="*/ 617950 h 617949"/>
                <a:gd name="connsiteX11" fmla="*/ 2417 w 64082"/>
                <a:gd name="connsiteY11" fmla="*/ 617950 h 617949"/>
                <a:gd name="connsiteX12" fmla="*/ 2417 w 64082"/>
                <a:gd name="connsiteY12" fmla="*/ 617950 h 617949"/>
                <a:gd name="connsiteX13" fmla="*/ 2417 w 64082"/>
                <a:gd name="connsiteY13" fmla="*/ 617950 h 617949"/>
                <a:gd name="connsiteX14" fmla="*/ 2417 w 64082"/>
                <a:gd name="connsiteY14" fmla="*/ 614771 h 617949"/>
                <a:gd name="connsiteX15" fmla="*/ 64083 w 64082"/>
                <a:gd name="connsiteY15" fmla="*/ 3941 h 61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082" h="617949">
                  <a:moveTo>
                    <a:pt x="62811" y="635"/>
                  </a:moveTo>
                  <a:lnTo>
                    <a:pt x="62811" y="635"/>
                  </a:lnTo>
                  <a:cubicBezTo>
                    <a:pt x="62887" y="432"/>
                    <a:pt x="62887" y="203"/>
                    <a:pt x="62811" y="0"/>
                  </a:cubicBezTo>
                  <a:cubicBezTo>
                    <a:pt x="62811" y="0"/>
                    <a:pt x="62811" y="0"/>
                    <a:pt x="62811" y="0"/>
                  </a:cubicBezTo>
                  <a:lnTo>
                    <a:pt x="62811" y="0"/>
                  </a:lnTo>
                  <a:lnTo>
                    <a:pt x="62811" y="0"/>
                  </a:lnTo>
                  <a:cubicBezTo>
                    <a:pt x="62150" y="102"/>
                    <a:pt x="61641" y="610"/>
                    <a:pt x="61540" y="1271"/>
                  </a:cubicBezTo>
                  <a:lnTo>
                    <a:pt x="61540" y="4449"/>
                  </a:lnTo>
                  <a:lnTo>
                    <a:pt x="1" y="615280"/>
                  </a:lnTo>
                  <a:lnTo>
                    <a:pt x="1" y="616170"/>
                  </a:lnTo>
                  <a:cubicBezTo>
                    <a:pt x="-25" y="617021"/>
                    <a:pt x="573" y="617771"/>
                    <a:pt x="1399" y="617950"/>
                  </a:cubicBezTo>
                  <a:lnTo>
                    <a:pt x="2417" y="617950"/>
                  </a:lnTo>
                  <a:cubicBezTo>
                    <a:pt x="2417" y="617950"/>
                    <a:pt x="2417" y="617950"/>
                    <a:pt x="2417" y="617950"/>
                  </a:cubicBezTo>
                  <a:lnTo>
                    <a:pt x="2417" y="617950"/>
                  </a:lnTo>
                  <a:lnTo>
                    <a:pt x="2417" y="614771"/>
                  </a:lnTo>
                  <a:lnTo>
                    <a:pt x="64083" y="3941"/>
                  </a:lnTo>
                  <a:close/>
                </a:path>
              </a:pathLst>
            </a:custGeom>
            <a:solidFill>
              <a:srgbClr val="000000"/>
            </a:solidFill>
            <a:ln w="12685"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FE6B4644-D2D4-4BE4-A60D-64EB3CDC8F9E}"/>
                </a:ext>
              </a:extLst>
            </p:cNvPr>
            <p:cNvSpPr/>
            <p:nvPr/>
          </p:nvSpPr>
          <p:spPr>
            <a:xfrm>
              <a:off x="1681895" y="5739999"/>
              <a:ext cx="73810" cy="619441"/>
            </a:xfrm>
            <a:custGeom>
              <a:avLst/>
              <a:gdLst>
                <a:gd name="connsiteX0" fmla="*/ 73745 w 73810"/>
                <a:gd name="connsiteY0" fmla="*/ 2107 h 619441"/>
                <a:gd name="connsiteX1" fmla="*/ 72613 w 73810"/>
                <a:gd name="connsiteY1" fmla="*/ 60 h 619441"/>
                <a:gd name="connsiteX2" fmla="*/ 70566 w 73810"/>
                <a:gd name="connsiteY2" fmla="*/ 1204 h 619441"/>
                <a:gd name="connsiteX3" fmla="*/ 70566 w 73810"/>
                <a:gd name="connsiteY3" fmla="*/ 2107 h 619441"/>
                <a:gd name="connsiteX4" fmla="*/ 70566 w 73810"/>
                <a:gd name="connsiteY4" fmla="*/ 5285 h 619441"/>
                <a:gd name="connsiteX5" fmla="*/ 0 w 73810"/>
                <a:gd name="connsiteY5" fmla="*/ 617259 h 619441"/>
                <a:gd name="connsiteX6" fmla="*/ 0 w 73810"/>
                <a:gd name="connsiteY6" fmla="*/ 618149 h 619441"/>
                <a:gd name="connsiteX7" fmla="*/ 0 w 73810"/>
                <a:gd name="connsiteY7" fmla="*/ 618149 h 619441"/>
                <a:gd name="connsiteX8" fmla="*/ 0 w 73810"/>
                <a:gd name="connsiteY8" fmla="*/ 618785 h 619441"/>
                <a:gd name="connsiteX9" fmla="*/ 0 w 73810"/>
                <a:gd name="connsiteY9" fmla="*/ 618785 h 619441"/>
                <a:gd name="connsiteX10" fmla="*/ 1017 w 73810"/>
                <a:gd name="connsiteY10" fmla="*/ 619420 h 619441"/>
                <a:gd name="connsiteX11" fmla="*/ 2784 w 73810"/>
                <a:gd name="connsiteY11" fmla="*/ 618175 h 619441"/>
                <a:gd name="connsiteX12" fmla="*/ 2797 w 73810"/>
                <a:gd name="connsiteY12" fmla="*/ 618022 h 619441"/>
                <a:gd name="connsiteX13" fmla="*/ 2797 w 73810"/>
                <a:gd name="connsiteY13" fmla="*/ 617259 h 619441"/>
                <a:gd name="connsiteX14" fmla="*/ 73491 w 73810"/>
                <a:gd name="connsiteY14" fmla="*/ 5412 h 61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810" h="619441">
                  <a:moveTo>
                    <a:pt x="73745" y="2107"/>
                  </a:moveTo>
                  <a:cubicBezTo>
                    <a:pt x="73999" y="1230"/>
                    <a:pt x="73491" y="314"/>
                    <a:pt x="72613" y="60"/>
                  </a:cubicBezTo>
                  <a:cubicBezTo>
                    <a:pt x="71736" y="-181"/>
                    <a:pt x="70821" y="327"/>
                    <a:pt x="70566" y="1204"/>
                  </a:cubicBezTo>
                  <a:cubicBezTo>
                    <a:pt x="70477" y="1497"/>
                    <a:pt x="70477" y="1814"/>
                    <a:pt x="70566" y="2107"/>
                  </a:cubicBezTo>
                  <a:lnTo>
                    <a:pt x="70566" y="5285"/>
                  </a:lnTo>
                  <a:lnTo>
                    <a:pt x="0" y="617259"/>
                  </a:lnTo>
                  <a:lnTo>
                    <a:pt x="0" y="618149"/>
                  </a:lnTo>
                  <a:lnTo>
                    <a:pt x="0" y="618149"/>
                  </a:lnTo>
                  <a:cubicBezTo>
                    <a:pt x="0" y="618149"/>
                    <a:pt x="0" y="618149"/>
                    <a:pt x="0" y="618785"/>
                  </a:cubicBezTo>
                  <a:cubicBezTo>
                    <a:pt x="0" y="619420"/>
                    <a:pt x="0" y="618785"/>
                    <a:pt x="0" y="618785"/>
                  </a:cubicBezTo>
                  <a:cubicBezTo>
                    <a:pt x="216" y="619154"/>
                    <a:pt x="598" y="619395"/>
                    <a:pt x="1017" y="619420"/>
                  </a:cubicBezTo>
                  <a:cubicBezTo>
                    <a:pt x="1844" y="619560"/>
                    <a:pt x="2632" y="619001"/>
                    <a:pt x="2784" y="618175"/>
                  </a:cubicBezTo>
                  <a:cubicBezTo>
                    <a:pt x="2784" y="618124"/>
                    <a:pt x="2797" y="618073"/>
                    <a:pt x="2797" y="618022"/>
                  </a:cubicBezTo>
                  <a:lnTo>
                    <a:pt x="2797" y="617259"/>
                  </a:lnTo>
                  <a:lnTo>
                    <a:pt x="73491" y="5412"/>
                  </a:lnTo>
                  <a:close/>
                </a:path>
              </a:pathLst>
            </a:custGeom>
            <a:solidFill>
              <a:srgbClr val="000000"/>
            </a:solidFill>
            <a:ln w="12685"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E5C174D3-1284-402E-BFAD-2C420C4A0066}"/>
                </a:ext>
              </a:extLst>
            </p:cNvPr>
            <p:cNvSpPr/>
            <p:nvPr/>
          </p:nvSpPr>
          <p:spPr>
            <a:xfrm>
              <a:off x="1077567" y="6095256"/>
              <a:ext cx="48261" cy="614898"/>
            </a:xfrm>
            <a:custGeom>
              <a:avLst/>
              <a:gdLst>
                <a:gd name="connsiteX0" fmla="*/ 2161 w 48261"/>
                <a:gd name="connsiteY0" fmla="*/ 613881 h 614898"/>
                <a:gd name="connsiteX1" fmla="*/ 2161 w 48261"/>
                <a:gd name="connsiteY1" fmla="*/ 612992 h 614898"/>
                <a:gd name="connsiteX2" fmla="*/ 2161 w 48261"/>
                <a:gd name="connsiteY2" fmla="*/ 612992 h 614898"/>
                <a:gd name="connsiteX3" fmla="*/ 2161 w 48261"/>
                <a:gd name="connsiteY3" fmla="*/ 610068 h 614898"/>
                <a:gd name="connsiteX4" fmla="*/ 48189 w 48261"/>
                <a:gd name="connsiteY4" fmla="*/ 1144 h 614898"/>
                <a:gd name="connsiteX5" fmla="*/ 48189 w 48261"/>
                <a:gd name="connsiteY5" fmla="*/ 0 h 614898"/>
                <a:gd name="connsiteX6" fmla="*/ 48189 w 48261"/>
                <a:gd name="connsiteY6" fmla="*/ 0 h 614898"/>
                <a:gd name="connsiteX7" fmla="*/ 48189 w 48261"/>
                <a:gd name="connsiteY7" fmla="*/ 1144 h 614898"/>
                <a:gd name="connsiteX8" fmla="*/ 46031 w 48261"/>
                <a:gd name="connsiteY8" fmla="*/ 1144 h 614898"/>
                <a:gd name="connsiteX9" fmla="*/ 46027 w 48261"/>
                <a:gd name="connsiteY9" fmla="*/ 1144 h 614898"/>
                <a:gd name="connsiteX10" fmla="*/ 46027 w 48261"/>
                <a:gd name="connsiteY10" fmla="*/ 1144 h 614898"/>
                <a:gd name="connsiteX11" fmla="*/ 0 w 48261"/>
                <a:gd name="connsiteY11" fmla="*/ 609305 h 614898"/>
                <a:gd name="connsiteX12" fmla="*/ 0 w 48261"/>
                <a:gd name="connsiteY12" fmla="*/ 613246 h 614898"/>
                <a:gd name="connsiteX13" fmla="*/ 1271 w 48261"/>
                <a:gd name="connsiteY13" fmla="*/ 614898 h 614898"/>
                <a:gd name="connsiteX14" fmla="*/ 1271 w 48261"/>
                <a:gd name="connsiteY14" fmla="*/ 614898 h 614898"/>
                <a:gd name="connsiteX15" fmla="*/ 2034 w 48261"/>
                <a:gd name="connsiteY15" fmla="*/ 614898 h 61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261" h="614898">
                  <a:moveTo>
                    <a:pt x="2161" y="613881"/>
                  </a:moveTo>
                  <a:cubicBezTo>
                    <a:pt x="2205" y="613589"/>
                    <a:pt x="2205" y="613284"/>
                    <a:pt x="2161" y="612992"/>
                  </a:cubicBezTo>
                  <a:lnTo>
                    <a:pt x="2161" y="612992"/>
                  </a:lnTo>
                  <a:lnTo>
                    <a:pt x="2161" y="610068"/>
                  </a:lnTo>
                  <a:lnTo>
                    <a:pt x="48189" y="1144"/>
                  </a:lnTo>
                  <a:lnTo>
                    <a:pt x="48189" y="0"/>
                  </a:lnTo>
                  <a:lnTo>
                    <a:pt x="48189" y="0"/>
                  </a:lnTo>
                  <a:cubicBezTo>
                    <a:pt x="48285" y="381"/>
                    <a:pt x="48285" y="763"/>
                    <a:pt x="48189" y="1144"/>
                  </a:cubicBezTo>
                  <a:cubicBezTo>
                    <a:pt x="47594" y="1742"/>
                    <a:pt x="46627" y="1742"/>
                    <a:pt x="46031" y="1144"/>
                  </a:cubicBezTo>
                  <a:cubicBezTo>
                    <a:pt x="46030" y="1144"/>
                    <a:pt x="46028" y="1144"/>
                    <a:pt x="46027" y="1144"/>
                  </a:cubicBezTo>
                  <a:lnTo>
                    <a:pt x="46027" y="1144"/>
                  </a:lnTo>
                  <a:lnTo>
                    <a:pt x="0" y="609305"/>
                  </a:lnTo>
                  <a:lnTo>
                    <a:pt x="0" y="613246"/>
                  </a:lnTo>
                  <a:cubicBezTo>
                    <a:pt x="23" y="614008"/>
                    <a:pt x="535" y="614682"/>
                    <a:pt x="1271" y="614898"/>
                  </a:cubicBezTo>
                  <a:lnTo>
                    <a:pt x="1271" y="614898"/>
                  </a:lnTo>
                  <a:cubicBezTo>
                    <a:pt x="1271" y="614898"/>
                    <a:pt x="1271" y="614898"/>
                    <a:pt x="2034" y="614898"/>
                  </a:cubicBezTo>
                  <a:close/>
                </a:path>
              </a:pathLst>
            </a:custGeom>
            <a:solidFill>
              <a:srgbClr val="000000"/>
            </a:solidFill>
            <a:ln w="12685"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14DE67B0-E473-44CD-B852-0C5A338723AC}"/>
                </a:ext>
              </a:extLst>
            </p:cNvPr>
            <p:cNvSpPr/>
            <p:nvPr/>
          </p:nvSpPr>
          <p:spPr>
            <a:xfrm>
              <a:off x="1894100" y="5981459"/>
              <a:ext cx="83156" cy="616953"/>
            </a:xfrm>
            <a:custGeom>
              <a:avLst/>
              <a:gdLst>
                <a:gd name="connsiteX0" fmla="*/ 83157 w 83156"/>
                <a:gd name="connsiteY0" fmla="*/ 1293 h 616953"/>
                <a:gd name="connsiteX1" fmla="*/ 83157 w 83156"/>
                <a:gd name="connsiteY1" fmla="*/ 1293 h 616953"/>
                <a:gd name="connsiteX2" fmla="*/ 83157 w 83156"/>
                <a:gd name="connsiteY2" fmla="*/ 657 h 616953"/>
                <a:gd name="connsiteX3" fmla="*/ 82267 w 83156"/>
                <a:gd name="connsiteY3" fmla="*/ 21 h 616953"/>
                <a:gd name="connsiteX4" fmla="*/ 80499 w 83156"/>
                <a:gd name="connsiteY4" fmla="*/ 1267 h 616953"/>
                <a:gd name="connsiteX5" fmla="*/ 80487 w 83156"/>
                <a:gd name="connsiteY5" fmla="*/ 1420 h 616953"/>
                <a:gd name="connsiteX6" fmla="*/ 80487 w 83156"/>
                <a:gd name="connsiteY6" fmla="*/ 2310 h 616953"/>
                <a:gd name="connsiteX7" fmla="*/ 3 w 83156"/>
                <a:gd name="connsiteY7" fmla="*/ 611869 h 616953"/>
                <a:gd name="connsiteX8" fmla="*/ 3 w 83156"/>
                <a:gd name="connsiteY8" fmla="*/ 615301 h 616953"/>
                <a:gd name="connsiteX9" fmla="*/ 893 w 83156"/>
                <a:gd name="connsiteY9" fmla="*/ 616954 h 616953"/>
                <a:gd name="connsiteX10" fmla="*/ 893 w 83156"/>
                <a:gd name="connsiteY10" fmla="*/ 616954 h 616953"/>
                <a:gd name="connsiteX11" fmla="*/ 893 w 83156"/>
                <a:gd name="connsiteY11" fmla="*/ 616954 h 616953"/>
                <a:gd name="connsiteX12" fmla="*/ 1529 w 83156"/>
                <a:gd name="connsiteY12" fmla="*/ 616954 h 616953"/>
                <a:gd name="connsiteX13" fmla="*/ 1529 w 83156"/>
                <a:gd name="connsiteY13" fmla="*/ 616954 h 616953"/>
                <a:gd name="connsiteX14" fmla="*/ 1529 w 83156"/>
                <a:gd name="connsiteY14" fmla="*/ 616954 h 616953"/>
                <a:gd name="connsiteX15" fmla="*/ 1529 w 83156"/>
                <a:gd name="connsiteY15" fmla="*/ 616954 h 616953"/>
                <a:gd name="connsiteX16" fmla="*/ 82521 w 83156"/>
                <a:gd name="connsiteY16" fmla="*/ 3835 h 616953"/>
                <a:gd name="connsiteX17" fmla="*/ 82521 w 83156"/>
                <a:gd name="connsiteY17" fmla="*/ 3073 h 61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156" h="616953">
                  <a:moveTo>
                    <a:pt x="83157" y="1293"/>
                  </a:moveTo>
                  <a:cubicBezTo>
                    <a:pt x="83157" y="1293"/>
                    <a:pt x="83157" y="1293"/>
                    <a:pt x="83157" y="1293"/>
                  </a:cubicBezTo>
                  <a:cubicBezTo>
                    <a:pt x="83157" y="1293"/>
                    <a:pt x="83157" y="1293"/>
                    <a:pt x="83157" y="657"/>
                  </a:cubicBezTo>
                  <a:cubicBezTo>
                    <a:pt x="82915" y="378"/>
                    <a:pt x="82610" y="161"/>
                    <a:pt x="82267" y="21"/>
                  </a:cubicBezTo>
                  <a:cubicBezTo>
                    <a:pt x="81440" y="-118"/>
                    <a:pt x="80652" y="441"/>
                    <a:pt x="80499" y="1267"/>
                  </a:cubicBezTo>
                  <a:cubicBezTo>
                    <a:pt x="80499" y="1318"/>
                    <a:pt x="80487" y="1369"/>
                    <a:pt x="80487" y="1420"/>
                  </a:cubicBezTo>
                  <a:lnTo>
                    <a:pt x="80487" y="2310"/>
                  </a:lnTo>
                  <a:lnTo>
                    <a:pt x="3" y="611869"/>
                  </a:lnTo>
                  <a:lnTo>
                    <a:pt x="3" y="615301"/>
                  </a:lnTo>
                  <a:cubicBezTo>
                    <a:pt x="-35" y="615975"/>
                    <a:pt x="308" y="616611"/>
                    <a:pt x="893" y="616954"/>
                  </a:cubicBezTo>
                  <a:lnTo>
                    <a:pt x="893" y="616954"/>
                  </a:lnTo>
                  <a:lnTo>
                    <a:pt x="893" y="616954"/>
                  </a:lnTo>
                  <a:lnTo>
                    <a:pt x="1529" y="616954"/>
                  </a:lnTo>
                  <a:lnTo>
                    <a:pt x="1529" y="616954"/>
                  </a:lnTo>
                  <a:lnTo>
                    <a:pt x="1529" y="616954"/>
                  </a:lnTo>
                  <a:lnTo>
                    <a:pt x="1529" y="616954"/>
                  </a:lnTo>
                  <a:lnTo>
                    <a:pt x="82521" y="3835"/>
                  </a:lnTo>
                  <a:lnTo>
                    <a:pt x="82521" y="3073"/>
                  </a:lnTo>
                  <a:close/>
                </a:path>
              </a:pathLst>
            </a:custGeom>
            <a:solidFill>
              <a:srgbClr val="000000"/>
            </a:solidFill>
            <a:ln w="12685"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369FBD82-81CC-408A-9E15-5C1533A05A10}"/>
                </a:ext>
              </a:extLst>
            </p:cNvPr>
            <p:cNvSpPr/>
            <p:nvPr/>
          </p:nvSpPr>
          <p:spPr>
            <a:xfrm>
              <a:off x="715199" y="4699944"/>
              <a:ext cx="396951" cy="208610"/>
            </a:xfrm>
            <a:custGeom>
              <a:avLst/>
              <a:gdLst>
                <a:gd name="connsiteX0" fmla="*/ 395553 w 396951"/>
                <a:gd name="connsiteY0" fmla="*/ 0 h 208610"/>
                <a:gd name="connsiteX1" fmla="*/ 0 w 396951"/>
                <a:gd name="connsiteY1" fmla="*/ 205432 h 208610"/>
                <a:gd name="connsiteX2" fmla="*/ 0 w 396951"/>
                <a:gd name="connsiteY2" fmla="*/ 207466 h 208610"/>
                <a:gd name="connsiteX3" fmla="*/ 1017 w 396951"/>
                <a:gd name="connsiteY3" fmla="*/ 208610 h 208610"/>
                <a:gd name="connsiteX4" fmla="*/ 396952 w 396951"/>
                <a:gd name="connsiteY4" fmla="*/ 2924 h 208610"/>
                <a:gd name="connsiteX5" fmla="*/ 395553 w 396951"/>
                <a:gd name="connsiteY5" fmla="*/ 0 h 20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951" h="208610">
                  <a:moveTo>
                    <a:pt x="395553" y="0"/>
                  </a:moveTo>
                  <a:lnTo>
                    <a:pt x="0" y="205432"/>
                  </a:lnTo>
                  <a:lnTo>
                    <a:pt x="0" y="207466"/>
                  </a:lnTo>
                  <a:lnTo>
                    <a:pt x="1017" y="208610"/>
                  </a:lnTo>
                  <a:lnTo>
                    <a:pt x="396952" y="2924"/>
                  </a:lnTo>
                  <a:cubicBezTo>
                    <a:pt x="396284" y="2060"/>
                    <a:pt x="395809" y="1068"/>
                    <a:pt x="395553" y="0"/>
                  </a:cubicBezTo>
                  <a:close/>
                </a:path>
              </a:pathLst>
            </a:custGeom>
            <a:solidFill>
              <a:srgbClr val="000000"/>
            </a:solidFill>
            <a:ln w="12685"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9B572F23-7F54-4310-973C-21B3FD60F2A6}"/>
                </a:ext>
              </a:extLst>
            </p:cNvPr>
            <p:cNvSpPr/>
            <p:nvPr/>
          </p:nvSpPr>
          <p:spPr>
            <a:xfrm>
              <a:off x="1607896" y="5186956"/>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0B94FB18-C64E-45EB-BA12-877B6B328483}"/>
                </a:ext>
              </a:extLst>
            </p:cNvPr>
            <p:cNvSpPr/>
            <p:nvPr/>
          </p:nvSpPr>
          <p:spPr>
            <a:xfrm>
              <a:off x="1129189" y="4676299"/>
              <a:ext cx="476545" cy="509004"/>
            </a:xfrm>
            <a:custGeom>
              <a:avLst/>
              <a:gdLst>
                <a:gd name="connsiteX0" fmla="*/ 254 w 476545"/>
                <a:gd name="connsiteY0" fmla="*/ 0 h 509004"/>
                <a:gd name="connsiteX1" fmla="*/ 0 w 476545"/>
                <a:gd name="connsiteY1" fmla="*/ 4322 h 509004"/>
                <a:gd name="connsiteX2" fmla="*/ 475147 w 476545"/>
                <a:gd name="connsiteY2" fmla="*/ 509004 h 509004"/>
                <a:gd name="connsiteX3" fmla="*/ 476291 w 476545"/>
                <a:gd name="connsiteY3" fmla="*/ 508368 h 509004"/>
                <a:gd name="connsiteX4" fmla="*/ 476546 w 476545"/>
                <a:gd name="connsiteY4" fmla="*/ 505826 h 509004"/>
                <a:gd name="connsiteX5" fmla="*/ 254 w 476545"/>
                <a:gd name="connsiteY5" fmla="*/ 0 h 50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545" h="509004">
                  <a:moveTo>
                    <a:pt x="254" y="0"/>
                  </a:moveTo>
                  <a:lnTo>
                    <a:pt x="0" y="4322"/>
                  </a:lnTo>
                  <a:lnTo>
                    <a:pt x="475147" y="509004"/>
                  </a:lnTo>
                  <a:lnTo>
                    <a:pt x="476291" y="508368"/>
                  </a:lnTo>
                  <a:lnTo>
                    <a:pt x="476546" y="505826"/>
                  </a:lnTo>
                  <a:lnTo>
                    <a:pt x="254" y="0"/>
                  </a:lnTo>
                  <a:close/>
                </a:path>
              </a:pathLst>
            </a:custGeom>
            <a:solidFill>
              <a:srgbClr val="000000"/>
            </a:solidFill>
            <a:ln w="12685"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A9E7D6A2-1DB1-4ECB-846E-9D01EEF28A5E}"/>
                </a:ext>
              </a:extLst>
            </p:cNvPr>
            <p:cNvSpPr/>
            <p:nvPr/>
          </p:nvSpPr>
          <p:spPr>
            <a:xfrm>
              <a:off x="1176614" y="5184413"/>
              <a:ext cx="431027" cy="235941"/>
            </a:xfrm>
            <a:custGeom>
              <a:avLst/>
              <a:gdLst>
                <a:gd name="connsiteX0" fmla="*/ 1144 w 431027"/>
                <a:gd name="connsiteY0" fmla="*/ 235815 h 235941"/>
                <a:gd name="connsiteX1" fmla="*/ 431027 w 431027"/>
                <a:gd name="connsiteY1" fmla="*/ 2797 h 235941"/>
                <a:gd name="connsiteX2" fmla="*/ 431027 w 431027"/>
                <a:gd name="connsiteY2" fmla="*/ 2797 h 235941"/>
                <a:gd name="connsiteX3" fmla="*/ 430010 w 431027"/>
                <a:gd name="connsiteY3" fmla="*/ 2797 h 235941"/>
                <a:gd name="connsiteX4" fmla="*/ 428611 w 431027"/>
                <a:gd name="connsiteY4" fmla="*/ 928 h 235941"/>
                <a:gd name="connsiteX5" fmla="*/ 428611 w 431027"/>
                <a:gd name="connsiteY5" fmla="*/ 890 h 235941"/>
                <a:gd name="connsiteX6" fmla="*/ 428611 w 431027"/>
                <a:gd name="connsiteY6" fmla="*/ 0 h 235941"/>
                <a:gd name="connsiteX7" fmla="*/ 427467 w 431027"/>
                <a:gd name="connsiteY7" fmla="*/ 635 h 235941"/>
                <a:gd name="connsiteX8" fmla="*/ 0 w 431027"/>
                <a:gd name="connsiteY8" fmla="*/ 232764 h 235941"/>
                <a:gd name="connsiteX9" fmla="*/ 763 w 431027"/>
                <a:gd name="connsiteY9" fmla="*/ 233654 h 235941"/>
                <a:gd name="connsiteX10" fmla="*/ 763 w 431027"/>
                <a:gd name="connsiteY10" fmla="*/ 235942 h 235941"/>
                <a:gd name="connsiteX11" fmla="*/ 0 w 431027"/>
                <a:gd name="connsiteY11" fmla="*/ 235942 h 235941"/>
                <a:gd name="connsiteX12" fmla="*/ 0 w 431027"/>
                <a:gd name="connsiteY12" fmla="*/ 235942 h 2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027" h="235941">
                  <a:moveTo>
                    <a:pt x="1144" y="235815"/>
                  </a:moveTo>
                  <a:lnTo>
                    <a:pt x="431027" y="2797"/>
                  </a:lnTo>
                  <a:lnTo>
                    <a:pt x="431027" y="2797"/>
                  </a:lnTo>
                  <a:cubicBezTo>
                    <a:pt x="430697" y="2924"/>
                    <a:pt x="430340" y="2924"/>
                    <a:pt x="430010" y="2797"/>
                  </a:cubicBezTo>
                  <a:cubicBezTo>
                    <a:pt x="429107" y="2669"/>
                    <a:pt x="428471" y="1830"/>
                    <a:pt x="428611" y="928"/>
                  </a:cubicBezTo>
                  <a:cubicBezTo>
                    <a:pt x="428611" y="915"/>
                    <a:pt x="428611" y="902"/>
                    <a:pt x="428611" y="890"/>
                  </a:cubicBezTo>
                  <a:lnTo>
                    <a:pt x="428611" y="0"/>
                  </a:lnTo>
                  <a:lnTo>
                    <a:pt x="427467" y="635"/>
                  </a:lnTo>
                  <a:lnTo>
                    <a:pt x="0" y="232764"/>
                  </a:lnTo>
                  <a:lnTo>
                    <a:pt x="763" y="233654"/>
                  </a:lnTo>
                  <a:cubicBezTo>
                    <a:pt x="1377" y="234289"/>
                    <a:pt x="1377" y="235306"/>
                    <a:pt x="763" y="235942"/>
                  </a:cubicBezTo>
                  <a:lnTo>
                    <a:pt x="0" y="235942"/>
                  </a:lnTo>
                  <a:lnTo>
                    <a:pt x="0" y="235942"/>
                  </a:lnTo>
                  <a:close/>
                </a:path>
              </a:pathLst>
            </a:custGeom>
            <a:solidFill>
              <a:srgbClr val="000000"/>
            </a:solidFill>
            <a:ln w="12685"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2B07B213-BFB4-4582-9184-EE20632B184F}"/>
                </a:ext>
              </a:extLst>
            </p:cNvPr>
            <p:cNvSpPr/>
            <p:nvPr/>
          </p:nvSpPr>
          <p:spPr>
            <a:xfrm>
              <a:off x="1608150" y="5186574"/>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27603976-5D1F-468F-99E7-BBC9FBC3D48A}"/>
                </a:ext>
              </a:extLst>
            </p:cNvPr>
            <p:cNvSpPr/>
            <p:nvPr/>
          </p:nvSpPr>
          <p:spPr>
            <a:xfrm>
              <a:off x="1167078" y="3918387"/>
              <a:ext cx="3814" cy="18687"/>
            </a:xfrm>
            <a:custGeom>
              <a:avLst/>
              <a:gdLst>
                <a:gd name="connsiteX0" fmla="*/ 2670 w 3814"/>
                <a:gd name="connsiteY0" fmla="*/ 0 h 18687"/>
                <a:gd name="connsiteX1" fmla="*/ 2670 w 3814"/>
                <a:gd name="connsiteY1" fmla="*/ 0 h 18687"/>
                <a:gd name="connsiteX2" fmla="*/ 2670 w 3814"/>
                <a:gd name="connsiteY2" fmla="*/ 0 h 18687"/>
                <a:gd name="connsiteX3" fmla="*/ 2670 w 3814"/>
                <a:gd name="connsiteY3" fmla="*/ 0 h 18687"/>
                <a:gd name="connsiteX4" fmla="*/ 2670 w 3814"/>
                <a:gd name="connsiteY4" fmla="*/ 0 h 18687"/>
                <a:gd name="connsiteX5" fmla="*/ 2670 w 3814"/>
                <a:gd name="connsiteY5" fmla="*/ 0 h 18687"/>
                <a:gd name="connsiteX6" fmla="*/ 2670 w 3814"/>
                <a:gd name="connsiteY6" fmla="*/ 0 h 18687"/>
                <a:gd name="connsiteX7" fmla="*/ 2670 w 3814"/>
                <a:gd name="connsiteY7" fmla="*/ 0 h 18687"/>
                <a:gd name="connsiteX8" fmla="*/ 0 w 3814"/>
                <a:gd name="connsiteY8" fmla="*/ 15763 h 18687"/>
                <a:gd name="connsiteX9" fmla="*/ 2924 w 3814"/>
                <a:gd name="connsiteY9" fmla="*/ 18687 h 18687"/>
                <a:gd name="connsiteX10" fmla="*/ 3814 w 3814"/>
                <a:gd name="connsiteY10" fmla="*/ 5212 h 18687"/>
                <a:gd name="connsiteX11" fmla="*/ 3814 w 3814"/>
                <a:gd name="connsiteY11" fmla="*/ 1653 h 18687"/>
                <a:gd name="connsiteX12" fmla="*/ 2797 w 3814"/>
                <a:gd name="connsiteY12" fmla="*/ 127 h 18687"/>
                <a:gd name="connsiteX13" fmla="*/ 2797 w 3814"/>
                <a:gd name="connsiteY13" fmla="*/ 127 h 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4" h="18687">
                  <a:moveTo>
                    <a:pt x="2670" y="0"/>
                  </a:moveTo>
                  <a:lnTo>
                    <a:pt x="2670" y="0"/>
                  </a:lnTo>
                  <a:lnTo>
                    <a:pt x="2670" y="0"/>
                  </a:lnTo>
                  <a:cubicBezTo>
                    <a:pt x="2670" y="0"/>
                    <a:pt x="2670" y="0"/>
                    <a:pt x="2670" y="0"/>
                  </a:cubicBezTo>
                  <a:cubicBezTo>
                    <a:pt x="2670" y="0"/>
                    <a:pt x="2670" y="0"/>
                    <a:pt x="2670" y="0"/>
                  </a:cubicBezTo>
                  <a:lnTo>
                    <a:pt x="2670" y="0"/>
                  </a:lnTo>
                  <a:lnTo>
                    <a:pt x="2670" y="0"/>
                  </a:lnTo>
                  <a:lnTo>
                    <a:pt x="2670" y="0"/>
                  </a:lnTo>
                  <a:lnTo>
                    <a:pt x="0" y="15763"/>
                  </a:lnTo>
                  <a:lnTo>
                    <a:pt x="2924" y="18687"/>
                  </a:lnTo>
                  <a:lnTo>
                    <a:pt x="3814" y="5212"/>
                  </a:lnTo>
                  <a:lnTo>
                    <a:pt x="3814" y="1653"/>
                  </a:lnTo>
                  <a:cubicBezTo>
                    <a:pt x="3814" y="992"/>
                    <a:pt x="3413" y="381"/>
                    <a:pt x="2797" y="127"/>
                  </a:cubicBezTo>
                  <a:lnTo>
                    <a:pt x="2797" y="127"/>
                  </a:lnTo>
                  <a:close/>
                </a:path>
              </a:pathLst>
            </a:custGeom>
            <a:solidFill>
              <a:srgbClr val="000000"/>
            </a:solidFill>
            <a:ln w="12685"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BC1CD784-8568-4E0D-82FB-8EB71B4D1D4F}"/>
                </a:ext>
              </a:extLst>
            </p:cNvPr>
            <p:cNvSpPr/>
            <p:nvPr/>
          </p:nvSpPr>
          <p:spPr>
            <a:xfrm>
              <a:off x="1605457" y="4439645"/>
              <a:ext cx="78981" cy="749312"/>
            </a:xfrm>
            <a:custGeom>
              <a:avLst/>
              <a:gdLst>
                <a:gd name="connsiteX0" fmla="*/ 2694 w 78981"/>
                <a:gd name="connsiteY0" fmla="*/ 747056 h 749312"/>
                <a:gd name="connsiteX1" fmla="*/ 2694 w 78981"/>
                <a:gd name="connsiteY1" fmla="*/ 747056 h 749312"/>
                <a:gd name="connsiteX2" fmla="*/ 2694 w 78981"/>
                <a:gd name="connsiteY2" fmla="*/ 747056 h 749312"/>
                <a:gd name="connsiteX3" fmla="*/ 78981 w 78981"/>
                <a:gd name="connsiteY3" fmla="*/ 2110 h 749312"/>
                <a:gd name="connsiteX4" fmla="*/ 78981 w 78981"/>
                <a:gd name="connsiteY4" fmla="*/ 1220 h 749312"/>
                <a:gd name="connsiteX5" fmla="*/ 78981 w 78981"/>
                <a:gd name="connsiteY5" fmla="*/ 1220 h 749312"/>
                <a:gd name="connsiteX6" fmla="*/ 78981 w 78981"/>
                <a:gd name="connsiteY6" fmla="*/ 76 h 749312"/>
                <a:gd name="connsiteX7" fmla="*/ 78091 w 78981"/>
                <a:gd name="connsiteY7" fmla="*/ 76 h 749312"/>
                <a:gd name="connsiteX8" fmla="*/ 76324 w 78981"/>
                <a:gd name="connsiteY8" fmla="*/ 1322 h 749312"/>
                <a:gd name="connsiteX9" fmla="*/ 76311 w 78981"/>
                <a:gd name="connsiteY9" fmla="*/ 1475 h 749312"/>
                <a:gd name="connsiteX10" fmla="*/ 76311 w 78981"/>
                <a:gd name="connsiteY10" fmla="*/ 2365 h 749312"/>
                <a:gd name="connsiteX11" fmla="*/ 23 w 78981"/>
                <a:gd name="connsiteY11" fmla="*/ 743878 h 749312"/>
                <a:gd name="connsiteX12" fmla="*/ 23 w 78981"/>
                <a:gd name="connsiteY12" fmla="*/ 746421 h 749312"/>
                <a:gd name="connsiteX13" fmla="*/ 23 w 78981"/>
                <a:gd name="connsiteY13" fmla="*/ 747311 h 749312"/>
                <a:gd name="connsiteX14" fmla="*/ 1384 w 78981"/>
                <a:gd name="connsiteY14" fmla="*/ 749218 h 749312"/>
                <a:gd name="connsiteX15" fmla="*/ 1422 w 78981"/>
                <a:gd name="connsiteY15" fmla="*/ 749218 h 749312"/>
                <a:gd name="connsiteX16" fmla="*/ 2439 w 78981"/>
                <a:gd name="connsiteY16" fmla="*/ 749218 h 749312"/>
                <a:gd name="connsiteX17" fmla="*/ 2439 w 78981"/>
                <a:gd name="connsiteY17" fmla="*/ 749218 h 74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981" h="749312">
                  <a:moveTo>
                    <a:pt x="2694" y="747056"/>
                  </a:moveTo>
                  <a:cubicBezTo>
                    <a:pt x="2694" y="747056"/>
                    <a:pt x="2694" y="747056"/>
                    <a:pt x="2694" y="747056"/>
                  </a:cubicBezTo>
                  <a:lnTo>
                    <a:pt x="2694" y="747056"/>
                  </a:lnTo>
                  <a:lnTo>
                    <a:pt x="78981" y="2110"/>
                  </a:lnTo>
                  <a:lnTo>
                    <a:pt x="78981" y="1220"/>
                  </a:lnTo>
                  <a:lnTo>
                    <a:pt x="78981" y="1220"/>
                  </a:lnTo>
                  <a:cubicBezTo>
                    <a:pt x="78956" y="839"/>
                    <a:pt x="78956" y="458"/>
                    <a:pt x="78981" y="76"/>
                  </a:cubicBezTo>
                  <a:cubicBezTo>
                    <a:pt x="78689" y="-25"/>
                    <a:pt x="78384" y="-25"/>
                    <a:pt x="78091" y="76"/>
                  </a:cubicBezTo>
                  <a:cubicBezTo>
                    <a:pt x="77265" y="-63"/>
                    <a:pt x="76477" y="496"/>
                    <a:pt x="76324" y="1322"/>
                  </a:cubicBezTo>
                  <a:cubicBezTo>
                    <a:pt x="76324" y="1373"/>
                    <a:pt x="76311" y="1424"/>
                    <a:pt x="76311" y="1475"/>
                  </a:cubicBezTo>
                  <a:lnTo>
                    <a:pt x="76311" y="2365"/>
                  </a:lnTo>
                  <a:lnTo>
                    <a:pt x="23" y="743878"/>
                  </a:lnTo>
                  <a:lnTo>
                    <a:pt x="23" y="746421"/>
                  </a:lnTo>
                  <a:lnTo>
                    <a:pt x="23" y="747311"/>
                  </a:lnTo>
                  <a:cubicBezTo>
                    <a:pt x="-129" y="748213"/>
                    <a:pt x="481" y="749065"/>
                    <a:pt x="1384" y="749218"/>
                  </a:cubicBezTo>
                  <a:cubicBezTo>
                    <a:pt x="1397" y="749218"/>
                    <a:pt x="1409" y="749218"/>
                    <a:pt x="1422" y="749218"/>
                  </a:cubicBezTo>
                  <a:cubicBezTo>
                    <a:pt x="1753" y="749345"/>
                    <a:pt x="2109" y="749345"/>
                    <a:pt x="2439" y="749218"/>
                  </a:cubicBezTo>
                  <a:lnTo>
                    <a:pt x="2439" y="749218"/>
                  </a:lnTo>
                  <a:close/>
                </a:path>
              </a:pathLst>
            </a:custGeom>
            <a:solidFill>
              <a:srgbClr val="000000"/>
            </a:solidFill>
            <a:ln w="12685"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41A3B714-3F75-4BA2-B540-8BC97E3D341C}"/>
                </a:ext>
              </a:extLst>
            </p:cNvPr>
            <p:cNvSpPr/>
            <p:nvPr/>
          </p:nvSpPr>
          <p:spPr>
            <a:xfrm>
              <a:off x="1640572" y="3070216"/>
              <a:ext cx="182709" cy="89749"/>
            </a:xfrm>
            <a:custGeom>
              <a:avLst/>
              <a:gdLst>
                <a:gd name="connsiteX0" fmla="*/ 182583 w 182709"/>
                <a:gd name="connsiteY0" fmla="*/ 763 h 89749"/>
                <a:gd name="connsiteX1" fmla="*/ 181820 w 182709"/>
                <a:gd name="connsiteY1" fmla="*/ 0 h 89749"/>
                <a:gd name="connsiteX2" fmla="*/ 890 w 182709"/>
                <a:gd name="connsiteY2" fmla="*/ 86953 h 89749"/>
                <a:gd name="connsiteX3" fmla="*/ 0 w 182709"/>
                <a:gd name="connsiteY3" fmla="*/ 86953 h 89749"/>
                <a:gd name="connsiteX4" fmla="*/ 0 w 182709"/>
                <a:gd name="connsiteY4" fmla="*/ 86953 h 89749"/>
                <a:gd name="connsiteX5" fmla="*/ 1017 w 182709"/>
                <a:gd name="connsiteY5" fmla="*/ 86953 h 89749"/>
                <a:gd name="connsiteX6" fmla="*/ 2428 w 182709"/>
                <a:gd name="connsiteY6" fmla="*/ 88580 h 89749"/>
                <a:gd name="connsiteX7" fmla="*/ 2416 w 182709"/>
                <a:gd name="connsiteY7" fmla="*/ 88733 h 89749"/>
                <a:gd name="connsiteX8" fmla="*/ 2416 w 182709"/>
                <a:gd name="connsiteY8" fmla="*/ 89750 h 89749"/>
                <a:gd name="connsiteX9" fmla="*/ 182710 w 182709"/>
                <a:gd name="connsiteY9" fmla="*/ 3051 h 8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709" h="89749">
                  <a:moveTo>
                    <a:pt x="182583" y="763"/>
                  </a:moveTo>
                  <a:lnTo>
                    <a:pt x="181820" y="0"/>
                  </a:lnTo>
                  <a:lnTo>
                    <a:pt x="890" y="86953"/>
                  </a:lnTo>
                  <a:lnTo>
                    <a:pt x="0" y="86953"/>
                  </a:lnTo>
                  <a:lnTo>
                    <a:pt x="0" y="86953"/>
                  </a:lnTo>
                  <a:cubicBezTo>
                    <a:pt x="331" y="86851"/>
                    <a:pt x="687" y="86851"/>
                    <a:pt x="1017" y="86953"/>
                  </a:cubicBezTo>
                  <a:cubicBezTo>
                    <a:pt x="1856" y="87016"/>
                    <a:pt x="2492" y="87741"/>
                    <a:pt x="2428" y="88580"/>
                  </a:cubicBezTo>
                  <a:cubicBezTo>
                    <a:pt x="2428" y="88631"/>
                    <a:pt x="2428" y="88682"/>
                    <a:pt x="2416" y="88733"/>
                  </a:cubicBezTo>
                  <a:lnTo>
                    <a:pt x="2416" y="89750"/>
                  </a:lnTo>
                  <a:lnTo>
                    <a:pt x="182710" y="3051"/>
                  </a:lnTo>
                  <a:close/>
                </a:path>
              </a:pathLst>
            </a:custGeom>
            <a:solidFill>
              <a:srgbClr val="000000"/>
            </a:solidFill>
            <a:ln w="12685"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1EAF4F77-6FCD-4607-B58C-6EC70D45940E}"/>
                </a:ext>
              </a:extLst>
            </p:cNvPr>
            <p:cNvSpPr/>
            <p:nvPr/>
          </p:nvSpPr>
          <p:spPr>
            <a:xfrm>
              <a:off x="1574329" y="3387517"/>
              <a:ext cx="43484" cy="24026"/>
            </a:xfrm>
            <a:custGeom>
              <a:avLst/>
              <a:gdLst>
                <a:gd name="connsiteX0" fmla="*/ 2289 w 43484"/>
                <a:gd name="connsiteY0" fmla="*/ 23137 h 24026"/>
                <a:gd name="connsiteX1" fmla="*/ 2289 w 43484"/>
                <a:gd name="connsiteY1" fmla="*/ 24026 h 24026"/>
                <a:gd name="connsiteX2" fmla="*/ 43484 w 43484"/>
                <a:gd name="connsiteY2" fmla="*/ 4068 h 24026"/>
                <a:gd name="connsiteX3" fmla="*/ 43484 w 43484"/>
                <a:gd name="connsiteY3" fmla="*/ 1144 h 24026"/>
                <a:gd name="connsiteX4" fmla="*/ 43484 w 43484"/>
                <a:gd name="connsiteY4" fmla="*/ 0 h 24026"/>
                <a:gd name="connsiteX5" fmla="*/ 42213 w 43484"/>
                <a:gd name="connsiteY5" fmla="*/ 0 h 24026"/>
                <a:gd name="connsiteX6" fmla="*/ 890 w 43484"/>
                <a:gd name="connsiteY6" fmla="*/ 20086 h 24026"/>
                <a:gd name="connsiteX7" fmla="*/ 0 w 43484"/>
                <a:gd name="connsiteY7" fmla="*/ 20086 h 24026"/>
                <a:gd name="connsiteX8" fmla="*/ 0 w 43484"/>
                <a:gd name="connsiteY8" fmla="*/ 20086 h 24026"/>
                <a:gd name="connsiteX9" fmla="*/ 1017 w 43484"/>
                <a:gd name="connsiteY9" fmla="*/ 20086 h 24026"/>
                <a:gd name="connsiteX10" fmla="*/ 3179 w 43484"/>
                <a:gd name="connsiteY10" fmla="*/ 20975 h 24026"/>
                <a:gd name="connsiteX11" fmla="*/ 2289 w 43484"/>
                <a:gd name="connsiteY11" fmla="*/ 23137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84" h="24026">
                  <a:moveTo>
                    <a:pt x="2289" y="23137"/>
                  </a:moveTo>
                  <a:lnTo>
                    <a:pt x="2289" y="24026"/>
                  </a:lnTo>
                  <a:lnTo>
                    <a:pt x="43484" y="4068"/>
                  </a:lnTo>
                  <a:lnTo>
                    <a:pt x="43484" y="1144"/>
                  </a:lnTo>
                  <a:lnTo>
                    <a:pt x="43484" y="0"/>
                  </a:lnTo>
                  <a:lnTo>
                    <a:pt x="42213" y="0"/>
                  </a:lnTo>
                  <a:lnTo>
                    <a:pt x="890" y="20086"/>
                  </a:lnTo>
                  <a:lnTo>
                    <a:pt x="0" y="20086"/>
                  </a:lnTo>
                  <a:lnTo>
                    <a:pt x="0" y="20086"/>
                  </a:lnTo>
                  <a:lnTo>
                    <a:pt x="1017" y="20086"/>
                  </a:lnTo>
                  <a:cubicBezTo>
                    <a:pt x="1856" y="19730"/>
                    <a:pt x="2823" y="20136"/>
                    <a:pt x="3179" y="20975"/>
                  </a:cubicBezTo>
                  <a:cubicBezTo>
                    <a:pt x="3535" y="21815"/>
                    <a:pt x="3128" y="22781"/>
                    <a:pt x="2289" y="23137"/>
                  </a:cubicBezTo>
                  <a:close/>
                </a:path>
              </a:pathLst>
            </a:custGeom>
            <a:solidFill>
              <a:srgbClr val="000000"/>
            </a:solidFill>
            <a:ln w="12685"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B241E4FC-8335-4C59-9B5C-984098954C13}"/>
                </a:ext>
              </a:extLst>
            </p:cNvPr>
            <p:cNvSpPr/>
            <p:nvPr/>
          </p:nvSpPr>
          <p:spPr>
            <a:xfrm>
              <a:off x="1619339" y="3156838"/>
              <a:ext cx="23289" cy="232458"/>
            </a:xfrm>
            <a:custGeom>
              <a:avLst/>
              <a:gdLst>
                <a:gd name="connsiteX0" fmla="*/ 763 w 23289"/>
                <a:gd name="connsiteY0" fmla="*/ 230679 h 232458"/>
                <a:gd name="connsiteX1" fmla="*/ 2174 w 23289"/>
                <a:gd name="connsiteY1" fmla="*/ 232306 h 232458"/>
                <a:gd name="connsiteX2" fmla="*/ 2161 w 23289"/>
                <a:gd name="connsiteY2" fmla="*/ 232459 h 232458"/>
                <a:gd name="connsiteX3" fmla="*/ 23268 w 23289"/>
                <a:gd name="connsiteY3" fmla="*/ 3636 h 232458"/>
                <a:gd name="connsiteX4" fmla="*/ 23268 w 23289"/>
                <a:gd name="connsiteY4" fmla="*/ 1856 h 232458"/>
                <a:gd name="connsiteX5" fmla="*/ 22022 w 23289"/>
                <a:gd name="connsiteY5" fmla="*/ 89 h 232458"/>
                <a:gd name="connsiteX6" fmla="*/ 21869 w 23289"/>
                <a:gd name="connsiteY6" fmla="*/ 76 h 232458"/>
                <a:gd name="connsiteX7" fmla="*/ 20852 w 23289"/>
                <a:gd name="connsiteY7" fmla="*/ 76 h 232458"/>
                <a:gd name="connsiteX8" fmla="*/ 20852 w 23289"/>
                <a:gd name="connsiteY8" fmla="*/ 76 h 232458"/>
                <a:gd name="connsiteX9" fmla="*/ 20852 w 23289"/>
                <a:gd name="connsiteY9" fmla="*/ 76 h 232458"/>
                <a:gd name="connsiteX10" fmla="*/ 20852 w 23289"/>
                <a:gd name="connsiteY10" fmla="*/ 1093 h 232458"/>
                <a:gd name="connsiteX11" fmla="*/ 0 w 23289"/>
                <a:gd name="connsiteY11" fmla="*/ 226865 h 232458"/>
                <a:gd name="connsiteX12" fmla="*/ 0 w 23289"/>
                <a:gd name="connsiteY12" fmla="*/ 229154 h 232458"/>
                <a:gd name="connsiteX13" fmla="*/ 0 w 23289"/>
                <a:gd name="connsiteY13" fmla="*/ 230043 h 232458"/>
                <a:gd name="connsiteX14" fmla="*/ 763 w 23289"/>
                <a:gd name="connsiteY14" fmla="*/ 230679 h 23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89" h="232458">
                  <a:moveTo>
                    <a:pt x="763" y="230679"/>
                  </a:moveTo>
                  <a:cubicBezTo>
                    <a:pt x="1602" y="230743"/>
                    <a:pt x="2238" y="231467"/>
                    <a:pt x="2174" y="232306"/>
                  </a:cubicBezTo>
                  <a:cubicBezTo>
                    <a:pt x="2174" y="232357"/>
                    <a:pt x="2174" y="232408"/>
                    <a:pt x="2161" y="232459"/>
                  </a:cubicBezTo>
                  <a:lnTo>
                    <a:pt x="23268" y="3636"/>
                  </a:lnTo>
                  <a:lnTo>
                    <a:pt x="23268" y="1856"/>
                  </a:lnTo>
                  <a:cubicBezTo>
                    <a:pt x="23408" y="1030"/>
                    <a:pt x="22848" y="241"/>
                    <a:pt x="22022" y="89"/>
                  </a:cubicBezTo>
                  <a:cubicBezTo>
                    <a:pt x="21971" y="89"/>
                    <a:pt x="21920" y="76"/>
                    <a:pt x="21869" y="76"/>
                  </a:cubicBezTo>
                  <a:cubicBezTo>
                    <a:pt x="21539" y="-25"/>
                    <a:pt x="21183" y="-25"/>
                    <a:pt x="20852" y="76"/>
                  </a:cubicBezTo>
                  <a:lnTo>
                    <a:pt x="20852" y="76"/>
                  </a:lnTo>
                  <a:cubicBezTo>
                    <a:pt x="20852" y="76"/>
                    <a:pt x="20852" y="76"/>
                    <a:pt x="20852" y="76"/>
                  </a:cubicBezTo>
                  <a:lnTo>
                    <a:pt x="20852" y="1093"/>
                  </a:lnTo>
                  <a:lnTo>
                    <a:pt x="0" y="226865"/>
                  </a:lnTo>
                  <a:lnTo>
                    <a:pt x="0" y="229154"/>
                  </a:lnTo>
                  <a:lnTo>
                    <a:pt x="0" y="230043"/>
                  </a:lnTo>
                  <a:cubicBezTo>
                    <a:pt x="318" y="230158"/>
                    <a:pt x="598" y="230387"/>
                    <a:pt x="763" y="230679"/>
                  </a:cubicBezTo>
                  <a:close/>
                </a:path>
              </a:pathLst>
            </a:custGeom>
            <a:solidFill>
              <a:srgbClr val="000000"/>
            </a:solidFill>
            <a:ln w="12685"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DBDC7A41-989D-4EA1-901E-3E2BD73710F9}"/>
                </a:ext>
              </a:extLst>
            </p:cNvPr>
            <p:cNvSpPr/>
            <p:nvPr/>
          </p:nvSpPr>
          <p:spPr>
            <a:xfrm>
              <a:off x="2561766" y="4784609"/>
              <a:ext cx="32406" cy="103092"/>
            </a:xfrm>
            <a:custGeom>
              <a:avLst/>
              <a:gdLst>
                <a:gd name="connsiteX0" fmla="*/ 18039 w 32406"/>
                <a:gd name="connsiteY0" fmla="*/ 6865 h 103092"/>
                <a:gd name="connsiteX1" fmla="*/ 17022 w 32406"/>
                <a:gd name="connsiteY1" fmla="*/ 5721 h 103092"/>
                <a:gd name="connsiteX2" fmla="*/ 13970 w 32406"/>
                <a:gd name="connsiteY2" fmla="*/ 7373 h 103092"/>
                <a:gd name="connsiteX3" fmla="*/ 238 w 32406"/>
                <a:gd name="connsiteY3" fmla="*/ 92928 h 103092"/>
                <a:gd name="connsiteX4" fmla="*/ 238 w 32406"/>
                <a:gd name="connsiteY4" fmla="*/ 97250 h 103092"/>
                <a:gd name="connsiteX5" fmla="*/ 7867 w 32406"/>
                <a:gd name="connsiteY5" fmla="*/ 93055 h 103092"/>
                <a:gd name="connsiteX6" fmla="*/ 10029 w 32406"/>
                <a:gd name="connsiteY6" fmla="*/ 93055 h 103092"/>
                <a:gd name="connsiteX7" fmla="*/ 10029 w 32406"/>
                <a:gd name="connsiteY7" fmla="*/ 93055 h 103092"/>
                <a:gd name="connsiteX8" fmla="*/ 9266 w 32406"/>
                <a:gd name="connsiteY8" fmla="*/ 95343 h 103092"/>
                <a:gd name="connsiteX9" fmla="*/ 1637 w 32406"/>
                <a:gd name="connsiteY9" fmla="*/ 99538 h 103092"/>
                <a:gd name="connsiteX10" fmla="*/ 7104 w 32406"/>
                <a:gd name="connsiteY10" fmla="*/ 102970 h 103092"/>
                <a:gd name="connsiteX11" fmla="*/ 17213 w 32406"/>
                <a:gd name="connsiteY11" fmla="*/ 95775 h 103092"/>
                <a:gd name="connsiteX12" fmla="*/ 17276 w 32406"/>
                <a:gd name="connsiteY12" fmla="*/ 95343 h 103092"/>
                <a:gd name="connsiteX13" fmla="*/ 32406 w 32406"/>
                <a:gd name="connsiteY13" fmla="*/ 890 h 103092"/>
                <a:gd name="connsiteX14" fmla="*/ 32406 w 32406"/>
                <a:gd name="connsiteY14" fmla="*/ 0 h 103092"/>
                <a:gd name="connsiteX15" fmla="*/ 30118 w 32406"/>
                <a:gd name="connsiteY15" fmla="*/ 5721 h 103092"/>
                <a:gd name="connsiteX16" fmla="*/ 18128 w 32406"/>
                <a:gd name="connsiteY16" fmla="*/ 6941 h 103092"/>
                <a:gd name="connsiteX17" fmla="*/ 18039 w 32406"/>
                <a:gd name="connsiteY17" fmla="*/ 6865 h 10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06" h="103092">
                  <a:moveTo>
                    <a:pt x="18039" y="6865"/>
                  </a:moveTo>
                  <a:lnTo>
                    <a:pt x="17022" y="5721"/>
                  </a:lnTo>
                  <a:lnTo>
                    <a:pt x="13970" y="7373"/>
                  </a:lnTo>
                  <a:lnTo>
                    <a:pt x="238" y="92928"/>
                  </a:lnTo>
                  <a:cubicBezTo>
                    <a:pt x="-79" y="94351"/>
                    <a:pt x="-79" y="95826"/>
                    <a:pt x="238" y="97250"/>
                  </a:cubicBezTo>
                  <a:lnTo>
                    <a:pt x="7867" y="93055"/>
                  </a:lnTo>
                  <a:cubicBezTo>
                    <a:pt x="8465" y="92457"/>
                    <a:pt x="9431" y="92457"/>
                    <a:pt x="10029" y="93055"/>
                  </a:cubicBezTo>
                  <a:cubicBezTo>
                    <a:pt x="10029" y="93055"/>
                    <a:pt x="10029" y="93055"/>
                    <a:pt x="10029" y="93055"/>
                  </a:cubicBezTo>
                  <a:cubicBezTo>
                    <a:pt x="10410" y="93894"/>
                    <a:pt x="10080" y="94898"/>
                    <a:pt x="9266" y="95343"/>
                  </a:cubicBezTo>
                  <a:lnTo>
                    <a:pt x="1637" y="99538"/>
                  </a:lnTo>
                  <a:cubicBezTo>
                    <a:pt x="2934" y="101369"/>
                    <a:pt x="4892" y="102602"/>
                    <a:pt x="7104" y="102970"/>
                  </a:cubicBezTo>
                  <a:cubicBezTo>
                    <a:pt x="11885" y="103771"/>
                    <a:pt x="16411" y="100555"/>
                    <a:pt x="17213" y="95775"/>
                  </a:cubicBezTo>
                  <a:cubicBezTo>
                    <a:pt x="17238" y="95635"/>
                    <a:pt x="17263" y="95483"/>
                    <a:pt x="17276" y="95343"/>
                  </a:cubicBezTo>
                  <a:lnTo>
                    <a:pt x="32406" y="890"/>
                  </a:lnTo>
                  <a:cubicBezTo>
                    <a:pt x="32406" y="890"/>
                    <a:pt x="32406" y="890"/>
                    <a:pt x="32406" y="0"/>
                  </a:cubicBezTo>
                  <a:cubicBezTo>
                    <a:pt x="32343" y="2110"/>
                    <a:pt x="31529" y="4144"/>
                    <a:pt x="30118" y="5721"/>
                  </a:cubicBezTo>
                  <a:cubicBezTo>
                    <a:pt x="27143" y="9369"/>
                    <a:pt x="21777" y="9916"/>
                    <a:pt x="18128" y="6941"/>
                  </a:cubicBezTo>
                  <a:cubicBezTo>
                    <a:pt x="18102" y="6916"/>
                    <a:pt x="18064" y="6890"/>
                    <a:pt x="18039" y="6865"/>
                  </a:cubicBezTo>
                  <a:close/>
                </a:path>
              </a:pathLst>
            </a:custGeom>
            <a:solidFill>
              <a:srgbClr val="000000"/>
            </a:solidFill>
            <a:ln w="12685"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06EB15F6-6178-4653-BF36-1704A50AFEEE}"/>
                </a:ext>
              </a:extLst>
            </p:cNvPr>
            <p:cNvSpPr/>
            <p:nvPr/>
          </p:nvSpPr>
          <p:spPr>
            <a:xfrm>
              <a:off x="1981707" y="5203355"/>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13B38777-7E5A-4E3E-9782-53D44E91A755}"/>
                </a:ext>
              </a:extLst>
            </p:cNvPr>
            <p:cNvSpPr/>
            <p:nvPr/>
          </p:nvSpPr>
          <p:spPr>
            <a:xfrm>
              <a:off x="1983741" y="4877851"/>
              <a:ext cx="588461" cy="324359"/>
            </a:xfrm>
            <a:custGeom>
              <a:avLst/>
              <a:gdLst>
                <a:gd name="connsiteX0" fmla="*/ 588435 w 588461"/>
                <a:gd name="connsiteY0" fmla="*/ 448 h 324359"/>
                <a:gd name="connsiteX1" fmla="*/ 586273 w 588461"/>
                <a:gd name="connsiteY1" fmla="*/ 448 h 324359"/>
                <a:gd name="connsiteX2" fmla="*/ 586273 w 588461"/>
                <a:gd name="connsiteY2" fmla="*/ 448 h 324359"/>
                <a:gd name="connsiteX3" fmla="*/ 578644 w 588461"/>
                <a:gd name="connsiteY3" fmla="*/ 4643 h 324359"/>
                <a:gd name="connsiteX4" fmla="*/ 636 w 588461"/>
                <a:gd name="connsiteY4" fmla="*/ 321182 h 324359"/>
                <a:gd name="connsiteX5" fmla="*/ 636 w 588461"/>
                <a:gd name="connsiteY5" fmla="*/ 324360 h 324359"/>
                <a:gd name="connsiteX6" fmla="*/ 636 w 588461"/>
                <a:gd name="connsiteY6" fmla="*/ 324360 h 324359"/>
                <a:gd name="connsiteX7" fmla="*/ 636 w 588461"/>
                <a:gd name="connsiteY7" fmla="*/ 324360 h 324359"/>
                <a:gd name="connsiteX8" fmla="*/ 636 w 588461"/>
                <a:gd name="connsiteY8" fmla="*/ 324360 h 324359"/>
                <a:gd name="connsiteX9" fmla="*/ 0 w 588461"/>
                <a:gd name="connsiteY9" fmla="*/ 324360 h 324359"/>
                <a:gd name="connsiteX10" fmla="*/ 0 w 588461"/>
                <a:gd name="connsiteY10" fmla="*/ 324360 h 324359"/>
                <a:gd name="connsiteX11" fmla="*/ 580679 w 588461"/>
                <a:gd name="connsiteY11" fmla="*/ 5660 h 324359"/>
                <a:gd name="connsiteX12" fmla="*/ 588307 w 588461"/>
                <a:gd name="connsiteY12" fmla="*/ 1465 h 324359"/>
                <a:gd name="connsiteX13" fmla="*/ 588435 w 588461"/>
                <a:gd name="connsiteY13" fmla="*/ 448 h 32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461" h="324359">
                  <a:moveTo>
                    <a:pt x="588435" y="448"/>
                  </a:moveTo>
                  <a:cubicBezTo>
                    <a:pt x="587837" y="-149"/>
                    <a:pt x="586871" y="-149"/>
                    <a:pt x="586273" y="448"/>
                  </a:cubicBezTo>
                  <a:cubicBezTo>
                    <a:pt x="586273" y="448"/>
                    <a:pt x="586273" y="448"/>
                    <a:pt x="586273" y="448"/>
                  </a:cubicBezTo>
                  <a:lnTo>
                    <a:pt x="578644" y="4643"/>
                  </a:lnTo>
                  <a:lnTo>
                    <a:pt x="636" y="321182"/>
                  </a:lnTo>
                  <a:lnTo>
                    <a:pt x="636" y="324360"/>
                  </a:lnTo>
                  <a:cubicBezTo>
                    <a:pt x="636" y="324360"/>
                    <a:pt x="636" y="324360"/>
                    <a:pt x="636" y="324360"/>
                  </a:cubicBezTo>
                  <a:lnTo>
                    <a:pt x="636" y="324360"/>
                  </a:lnTo>
                  <a:lnTo>
                    <a:pt x="636" y="324360"/>
                  </a:lnTo>
                  <a:lnTo>
                    <a:pt x="0" y="324360"/>
                  </a:lnTo>
                  <a:lnTo>
                    <a:pt x="0" y="324360"/>
                  </a:lnTo>
                  <a:lnTo>
                    <a:pt x="580679" y="5660"/>
                  </a:lnTo>
                  <a:lnTo>
                    <a:pt x="588307" y="1465"/>
                  </a:lnTo>
                  <a:cubicBezTo>
                    <a:pt x="588447" y="1148"/>
                    <a:pt x="588498" y="791"/>
                    <a:pt x="588435" y="448"/>
                  </a:cubicBezTo>
                  <a:close/>
                </a:path>
              </a:pathLst>
            </a:custGeom>
            <a:solidFill>
              <a:srgbClr val="000000"/>
            </a:solidFill>
            <a:ln w="12685"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32966A02-B1D2-4CA7-8A07-1D611F024C1A}"/>
                </a:ext>
              </a:extLst>
            </p:cNvPr>
            <p:cNvSpPr/>
            <p:nvPr/>
          </p:nvSpPr>
          <p:spPr>
            <a:xfrm>
              <a:off x="1982724" y="5108139"/>
              <a:ext cx="12969" cy="94452"/>
            </a:xfrm>
            <a:custGeom>
              <a:avLst/>
              <a:gdLst>
                <a:gd name="connsiteX0" fmla="*/ 1653 w 12969"/>
                <a:gd name="connsiteY0" fmla="*/ 90894 h 94452"/>
                <a:gd name="connsiteX1" fmla="*/ 12969 w 12969"/>
                <a:gd name="connsiteY1" fmla="*/ 635 h 94452"/>
                <a:gd name="connsiteX2" fmla="*/ 12333 w 12969"/>
                <a:gd name="connsiteY2" fmla="*/ 635 h 94452"/>
                <a:gd name="connsiteX3" fmla="*/ 11316 w 12969"/>
                <a:gd name="connsiteY3" fmla="*/ 635 h 94452"/>
                <a:gd name="connsiteX4" fmla="*/ 11316 w 12969"/>
                <a:gd name="connsiteY4" fmla="*/ 635 h 94452"/>
                <a:gd name="connsiteX5" fmla="*/ 11316 w 12969"/>
                <a:gd name="connsiteY5" fmla="*/ 635 h 94452"/>
                <a:gd name="connsiteX6" fmla="*/ 11316 w 12969"/>
                <a:gd name="connsiteY6" fmla="*/ 0 h 94452"/>
                <a:gd name="connsiteX7" fmla="*/ 0 w 12969"/>
                <a:gd name="connsiteY7" fmla="*/ 90258 h 94452"/>
                <a:gd name="connsiteX8" fmla="*/ 2161 w 12969"/>
                <a:gd name="connsiteY8" fmla="*/ 92546 h 94452"/>
                <a:gd name="connsiteX9" fmla="*/ 2161 w 12969"/>
                <a:gd name="connsiteY9" fmla="*/ 94453 h 94452"/>
                <a:gd name="connsiteX10" fmla="*/ 2161 w 12969"/>
                <a:gd name="connsiteY10" fmla="*/ 94453 h 9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69" h="94452">
                  <a:moveTo>
                    <a:pt x="1653" y="90894"/>
                  </a:moveTo>
                  <a:lnTo>
                    <a:pt x="12969" y="635"/>
                  </a:lnTo>
                  <a:lnTo>
                    <a:pt x="12333" y="635"/>
                  </a:lnTo>
                  <a:lnTo>
                    <a:pt x="11316" y="635"/>
                  </a:lnTo>
                  <a:lnTo>
                    <a:pt x="11316" y="635"/>
                  </a:lnTo>
                  <a:lnTo>
                    <a:pt x="11316" y="635"/>
                  </a:lnTo>
                  <a:lnTo>
                    <a:pt x="11316" y="0"/>
                  </a:lnTo>
                  <a:lnTo>
                    <a:pt x="0" y="90258"/>
                  </a:lnTo>
                  <a:lnTo>
                    <a:pt x="2161" y="92546"/>
                  </a:lnTo>
                  <a:cubicBezTo>
                    <a:pt x="2530" y="93131"/>
                    <a:pt x="2530" y="93868"/>
                    <a:pt x="2161" y="94453"/>
                  </a:cubicBezTo>
                  <a:cubicBezTo>
                    <a:pt x="2161" y="94453"/>
                    <a:pt x="2161" y="94453"/>
                    <a:pt x="2161" y="94453"/>
                  </a:cubicBezTo>
                  <a:close/>
                </a:path>
              </a:pathLst>
            </a:custGeom>
            <a:solidFill>
              <a:srgbClr val="000000"/>
            </a:solidFill>
            <a:ln w="12685"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7A301677-335A-473C-A2FD-908FA9685902}"/>
                </a:ext>
              </a:extLst>
            </p:cNvPr>
            <p:cNvSpPr/>
            <p:nvPr/>
          </p:nvSpPr>
          <p:spPr>
            <a:xfrm>
              <a:off x="1982088" y="5203482"/>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DA5BB5FE-87A6-4B37-8BEE-F26719F54A28}"/>
                </a:ext>
              </a:extLst>
            </p:cNvPr>
            <p:cNvSpPr/>
            <p:nvPr/>
          </p:nvSpPr>
          <p:spPr>
            <a:xfrm>
              <a:off x="1852907" y="4959913"/>
              <a:ext cx="141259" cy="148989"/>
            </a:xfrm>
            <a:custGeom>
              <a:avLst/>
              <a:gdLst>
                <a:gd name="connsiteX0" fmla="*/ 140243 w 141259"/>
                <a:gd name="connsiteY0" fmla="*/ 148989 h 148989"/>
                <a:gd name="connsiteX1" fmla="*/ 140243 w 141259"/>
                <a:gd name="connsiteY1" fmla="*/ 148989 h 148989"/>
                <a:gd name="connsiteX2" fmla="*/ 140243 w 141259"/>
                <a:gd name="connsiteY2" fmla="*/ 148353 h 148989"/>
                <a:gd name="connsiteX3" fmla="*/ 140243 w 141259"/>
                <a:gd name="connsiteY3" fmla="*/ 146192 h 148989"/>
                <a:gd name="connsiteX4" fmla="*/ 141260 w 141259"/>
                <a:gd name="connsiteY4" fmla="*/ 146192 h 148989"/>
                <a:gd name="connsiteX5" fmla="*/ 0 w 141259"/>
                <a:gd name="connsiteY5" fmla="*/ 0 h 148989"/>
                <a:gd name="connsiteX6" fmla="*/ 0 w 141259"/>
                <a:gd name="connsiteY6" fmla="*/ 4195 h 148989"/>
                <a:gd name="connsiteX7" fmla="*/ 139861 w 141259"/>
                <a:gd name="connsiteY7" fmla="*/ 148735 h 1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259" h="148989">
                  <a:moveTo>
                    <a:pt x="140243" y="148989"/>
                  </a:moveTo>
                  <a:lnTo>
                    <a:pt x="140243" y="148989"/>
                  </a:lnTo>
                  <a:cubicBezTo>
                    <a:pt x="140179" y="148786"/>
                    <a:pt x="140179" y="148557"/>
                    <a:pt x="140243" y="148353"/>
                  </a:cubicBezTo>
                  <a:cubicBezTo>
                    <a:pt x="139709" y="147731"/>
                    <a:pt x="139709" y="146816"/>
                    <a:pt x="140243" y="146192"/>
                  </a:cubicBezTo>
                  <a:lnTo>
                    <a:pt x="141260" y="146192"/>
                  </a:lnTo>
                  <a:lnTo>
                    <a:pt x="0" y="0"/>
                  </a:lnTo>
                  <a:lnTo>
                    <a:pt x="0" y="4195"/>
                  </a:lnTo>
                  <a:lnTo>
                    <a:pt x="139861" y="148735"/>
                  </a:lnTo>
                  <a:close/>
                </a:path>
              </a:pathLst>
            </a:custGeom>
            <a:solidFill>
              <a:srgbClr val="000000"/>
            </a:solidFill>
            <a:ln w="12685"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D31CB53A-7DF5-4275-BD3C-FCD94070839E}"/>
                </a:ext>
              </a:extLst>
            </p:cNvPr>
            <p:cNvSpPr/>
            <p:nvPr/>
          </p:nvSpPr>
          <p:spPr>
            <a:xfrm>
              <a:off x="1992749" y="4788295"/>
              <a:ext cx="585656" cy="320860"/>
            </a:xfrm>
            <a:custGeom>
              <a:avLst/>
              <a:gdLst>
                <a:gd name="connsiteX0" fmla="*/ 1926 w 585656"/>
                <a:gd name="connsiteY0" fmla="*/ 320861 h 320860"/>
                <a:gd name="connsiteX1" fmla="*/ 1926 w 585656"/>
                <a:gd name="connsiteY1" fmla="*/ 320861 h 320860"/>
                <a:gd name="connsiteX2" fmla="*/ 2562 w 585656"/>
                <a:gd name="connsiteY2" fmla="*/ 320861 h 320860"/>
                <a:gd name="connsiteX3" fmla="*/ 582605 w 585656"/>
                <a:gd name="connsiteY3" fmla="*/ 4068 h 320860"/>
                <a:gd name="connsiteX4" fmla="*/ 585656 w 585656"/>
                <a:gd name="connsiteY4" fmla="*/ 2415 h 320860"/>
                <a:gd name="connsiteX5" fmla="*/ 583241 w 585656"/>
                <a:gd name="connsiteY5" fmla="*/ 0 h 320860"/>
                <a:gd name="connsiteX6" fmla="*/ 1418 w 585656"/>
                <a:gd name="connsiteY6" fmla="*/ 317810 h 320860"/>
                <a:gd name="connsiteX7" fmla="*/ 400 w 585656"/>
                <a:gd name="connsiteY7" fmla="*/ 317810 h 320860"/>
                <a:gd name="connsiteX8" fmla="*/ 400 w 585656"/>
                <a:gd name="connsiteY8" fmla="*/ 319971 h 320860"/>
                <a:gd name="connsiteX9" fmla="*/ 400 w 585656"/>
                <a:gd name="connsiteY9" fmla="*/ 320607 h 320860"/>
                <a:gd name="connsiteX10" fmla="*/ 400 w 585656"/>
                <a:gd name="connsiteY10" fmla="*/ 320607 h 32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656" h="320860">
                  <a:moveTo>
                    <a:pt x="1926" y="320861"/>
                  </a:moveTo>
                  <a:lnTo>
                    <a:pt x="1926" y="320861"/>
                  </a:lnTo>
                  <a:lnTo>
                    <a:pt x="2562" y="320861"/>
                  </a:lnTo>
                  <a:lnTo>
                    <a:pt x="582605" y="4068"/>
                  </a:lnTo>
                  <a:lnTo>
                    <a:pt x="585656" y="2415"/>
                  </a:lnTo>
                  <a:lnTo>
                    <a:pt x="583241" y="0"/>
                  </a:lnTo>
                  <a:lnTo>
                    <a:pt x="1418" y="317810"/>
                  </a:lnTo>
                  <a:lnTo>
                    <a:pt x="400" y="317810"/>
                  </a:lnTo>
                  <a:cubicBezTo>
                    <a:pt x="-133" y="318433"/>
                    <a:pt x="-133" y="319348"/>
                    <a:pt x="400" y="319971"/>
                  </a:cubicBezTo>
                  <a:cubicBezTo>
                    <a:pt x="337" y="320174"/>
                    <a:pt x="337" y="320403"/>
                    <a:pt x="400" y="320607"/>
                  </a:cubicBezTo>
                  <a:lnTo>
                    <a:pt x="400" y="320607"/>
                  </a:lnTo>
                  <a:close/>
                </a:path>
              </a:pathLst>
            </a:custGeom>
            <a:solidFill>
              <a:srgbClr val="000000"/>
            </a:solidFill>
            <a:ln w="12685"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782D1AFA-D8D7-4100-B67D-5CD2AB892020}"/>
                </a:ext>
              </a:extLst>
            </p:cNvPr>
            <p:cNvSpPr/>
            <p:nvPr/>
          </p:nvSpPr>
          <p:spPr>
            <a:xfrm>
              <a:off x="1726651" y="3613416"/>
              <a:ext cx="69294" cy="516885"/>
            </a:xfrm>
            <a:custGeom>
              <a:avLst/>
              <a:gdLst>
                <a:gd name="connsiteX0" fmla="*/ 69295 w 69294"/>
                <a:gd name="connsiteY0" fmla="*/ 0 h 516885"/>
                <a:gd name="connsiteX1" fmla="*/ 64336 w 69294"/>
                <a:gd name="connsiteY1" fmla="*/ 8136 h 516885"/>
                <a:gd name="connsiteX2" fmla="*/ 53020 w 69294"/>
                <a:gd name="connsiteY2" fmla="*/ 13729 h 516885"/>
                <a:gd name="connsiteX3" fmla="*/ 50096 w 69294"/>
                <a:gd name="connsiteY3" fmla="*/ 15255 h 516885"/>
                <a:gd name="connsiteX4" fmla="*/ 0 w 69294"/>
                <a:gd name="connsiteY4" fmla="*/ 500995 h 516885"/>
                <a:gd name="connsiteX5" fmla="*/ 12715 w 69294"/>
                <a:gd name="connsiteY5" fmla="*/ 513708 h 516885"/>
                <a:gd name="connsiteX6" fmla="*/ 15893 w 69294"/>
                <a:gd name="connsiteY6" fmla="*/ 516886 h 516885"/>
                <a:gd name="connsiteX7" fmla="*/ 69041 w 69294"/>
                <a:gd name="connsiteY7" fmla="*/ 636 h 516885"/>
                <a:gd name="connsiteX8" fmla="*/ 69295 w 69294"/>
                <a:gd name="connsiteY8" fmla="*/ 0 h 51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294" h="516885">
                  <a:moveTo>
                    <a:pt x="69295" y="0"/>
                  </a:moveTo>
                  <a:cubicBezTo>
                    <a:pt x="69269" y="3420"/>
                    <a:pt x="67362" y="6547"/>
                    <a:pt x="64336" y="8136"/>
                  </a:cubicBezTo>
                  <a:lnTo>
                    <a:pt x="53020" y="13729"/>
                  </a:lnTo>
                  <a:lnTo>
                    <a:pt x="50096" y="15255"/>
                  </a:lnTo>
                  <a:lnTo>
                    <a:pt x="0" y="500995"/>
                  </a:lnTo>
                  <a:lnTo>
                    <a:pt x="12715" y="513708"/>
                  </a:lnTo>
                  <a:lnTo>
                    <a:pt x="15893" y="516886"/>
                  </a:lnTo>
                  <a:lnTo>
                    <a:pt x="69041" y="636"/>
                  </a:lnTo>
                  <a:cubicBezTo>
                    <a:pt x="69041" y="636"/>
                    <a:pt x="69295" y="254"/>
                    <a:pt x="69295" y="0"/>
                  </a:cubicBezTo>
                  <a:close/>
                </a:path>
              </a:pathLst>
            </a:custGeom>
            <a:solidFill>
              <a:srgbClr val="000000"/>
            </a:solidFill>
            <a:ln w="12685"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F7ADE21B-A81C-43B9-89E1-5081D28D3388}"/>
                </a:ext>
              </a:extLst>
            </p:cNvPr>
            <p:cNvSpPr/>
            <p:nvPr/>
          </p:nvSpPr>
          <p:spPr>
            <a:xfrm>
              <a:off x="1788190" y="3603628"/>
              <a:ext cx="1525" cy="12712"/>
            </a:xfrm>
            <a:custGeom>
              <a:avLst/>
              <a:gdLst>
                <a:gd name="connsiteX0" fmla="*/ 0 w 1525"/>
                <a:gd name="connsiteY0" fmla="*/ 0 h 12712"/>
                <a:gd name="connsiteX1" fmla="*/ 0 w 1525"/>
                <a:gd name="connsiteY1" fmla="*/ 0 h 12712"/>
                <a:gd name="connsiteX2" fmla="*/ 1526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0" y="0"/>
                  </a:lnTo>
                  <a:lnTo>
                    <a:pt x="1526" y="0"/>
                  </a:lnTo>
                  <a:close/>
                </a:path>
              </a:pathLst>
            </a:custGeom>
            <a:solidFill>
              <a:srgbClr val="000000"/>
            </a:solidFill>
            <a:ln w="12685"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248F986F-461B-4DDA-A247-10C55E990DC7}"/>
                </a:ext>
              </a:extLst>
            </p:cNvPr>
            <p:cNvSpPr/>
            <p:nvPr/>
          </p:nvSpPr>
          <p:spPr>
            <a:xfrm>
              <a:off x="1546230" y="3408874"/>
              <a:ext cx="30409" cy="312597"/>
            </a:xfrm>
            <a:custGeom>
              <a:avLst/>
              <a:gdLst>
                <a:gd name="connsiteX0" fmla="*/ 30388 w 30409"/>
                <a:gd name="connsiteY0" fmla="*/ 2670 h 312597"/>
                <a:gd name="connsiteX1" fmla="*/ 30388 w 30409"/>
                <a:gd name="connsiteY1" fmla="*/ 1780 h 312597"/>
                <a:gd name="connsiteX2" fmla="*/ 29142 w 30409"/>
                <a:gd name="connsiteY2" fmla="*/ 13 h 312597"/>
                <a:gd name="connsiteX3" fmla="*/ 28989 w 30409"/>
                <a:gd name="connsiteY3" fmla="*/ 0 h 312597"/>
                <a:gd name="connsiteX4" fmla="*/ 27972 w 30409"/>
                <a:gd name="connsiteY4" fmla="*/ 0 h 312597"/>
                <a:gd name="connsiteX5" fmla="*/ 27972 w 30409"/>
                <a:gd name="connsiteY5" fmla="*/ 0 h 312597"/>
                <a:gd name="connsiteX6" fmla="*/ 27972 w 30409"/>
                <a:gd name="connsiteY6" fmla="*/ 0 h 312597"/>
                <a:gd name="connsiteX7" fmla="*/ 27972 w 30409"/>
                <a:gd name="connsiteY7" fmla="*/ 1017 h 312597"/>
                <a:gd name="connsiteX8" fmla="*/ 0 w 30409"/>
                <a:gd name="connsiteY8" fmla="*/ 312598 h 312597"/>
                <a:gd name="connsiteX9" fmla="*/ 3306 w 30409"/>
                <a:gd name="connsiteY9" fmla="*/ 310945 h 31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09" h="312597">
                  <a:moveTo>
                    <a:pt x="30388" y="2670"/>
                  </a:moveTo>
                  <a:lnTo>
                    <a:pt x="30388" y="1780"/>
                  </a:lnTo>
                  <a:cubicBezTo>
                    <a:pt x="30528" y="954"/>
                    <a:pt x="29968" y="165"/>
                    <a:pt x="29142" y="13"/>
                  </a:cubicBezTo>
                  <a:cubicBezTo>
                    <a:pt x="29091" y="13"/>
                    <a:pt x="29040" y="0"/>
                    <a:pt x="28989" y="0"/>
                  </a:cubicBezTo>
                  <a:lnTo>
                    <a:pt x="27972" y="0"/>
                  </a:lnTo>
                  <a:lnTo>
                    <a:pt x="27972" y="0"/>
                  </a:lnTo>
                  <a:lnTo>
                    <a:pt x="27972" y="0"/>
                  </a:lnTo>
                  <a:lnTo>
                    <a:pt x="27972" y="1017"/>
                  </a:lnTo>
                  <a:lnTo>
                    <a:pt x="0" y="312598"/>
                  </a:lnTo>
                  <a:lnTo>
                    <a:pt x="3306" y="310945"/>
                  </a:lnTo>
                  <a:close/>
                </a:path>
              </a:pathLst>
            </a:custGeom>
            <a:solidFill>
              <a:srgbClr val="000000"/>
            </a:solidFill>
            <a:ln w="12685"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89FAE4A4-2276-4CDE-99CE-799F00F43217}"/>
                </a:ext>
              </a:extLst>
            </p:cNvPr>
            <p:cNvSpPr/>
            <p:nvPr/>
          </p:nvSpPr>
          <p:spPr>
            <a:xfrm>
              <a:off x="1589332" y="3387239"/>
              <a:ext cx="32189" cy="313765"/>
            </a:xfrm>
            <a:custGeom>
              <a:avLst/>
              <a:gdLst>
                <a:gd name="connsiteX0" fmla="*/ 3560 w 32189"/>
                <a:gd name="connsiteY0" fmla="*/ 312240 h 313765"/>
                <a:gd name="connsiteX1" fmla="*/ 32168 w 32189"/>
                <a:gd name="connsiteY1" fmla="*/ 1803 h 313765"/>
                <a:gd name="connsiteX2" fmla="*/ 30922 w 32189"/>
                <a:gd name="connsiteY2" fmla="*/ 36 h 313765"/>
                <a:gd name="connsiteX3" fmla="*/ 30769 w 32189"/>
                <a:gd name="connsiteY3" fmla="*/ 24 h 313765"/>
                <a:gd name="connsiteX4" fmla="*/ 29142 w 32189"/>
                <a:gd name="connsiteY4" fmla="*/ 1142 h 313765"/>
                <a:gd name="connsiteX5" fmla="*/ 29117 w 32189"/>
                <a:gd name="connsiteY5" fmla="*/ 1422 h 313765"/>
                <a:gd name="connsiteX6" fmla="*/ 29117 w 32189"/>
                <a:gd name="connsiteY6" fmla="*/ 4346 h 313765"/>
                <a:gd name="connsiteX7" fmla="*/ 0 w 32189"/>
                <a:gd name="connsiteY7" fmla="*/ 313766 h 31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 h="313765">
                  <a:moveTo>
                    <a:pt x="3560" y="312240"/>
                  </a:moveTo>
                  <a:lnTo>
                    <a:pt x="32168" y="1803"/>
                  </a:lnTo>
                  <a:cubicBezTo>
                    <a:pt x="32308" y="977"/>
                    <a:pt x="31749" y="189"/>
                    <a:pt x="30922" y="36"/>
                  </a:cubicBezTo>
                  <a:cubicBezTo>
                    <a:pt x="30871" y="36"/>
                    <a:pt x="30820" y="24"/>
                    <a:pt x="30769" y="24"/>
                  </a:cubicBezTo>
                  <a:cubicBezTo>
                    <a:pt x="30007" y="-116"/>
                    <a:pt x="29282" y="380"/>
                    <a:pt x="29142" y="1142"/>
                  </a:cubicBezTo>
                  <a:cubicBezTo>
                    <a:pt x="29117" y="1231"/>
                    <a:pt x="29117" y="1333"/>
                    <a:pt x="29117" y="1422"/>
                  </a:cubicBezTo>
                  <a:lnTo>
                    <a:pt x="29117" y="4346"/>
                  </a:lnTo>
                  <a:lnTo>
                    <a:pt x="0" y="313766"/>
                  </a:lnTo>
                  <a:close/>
                </a:path>
              </a:pathLst>
            </a:custGeom>
            <a:solidFill>
              <a:srgbClr val="000000"/>
            </a:solidFill>
            <a:ln w="12685"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2472D0C8-0770-4CEC-B477-CE66B96D15F2}"/>
                </a:ext>
              </a:extLst>
            </p:cNvPr>
            <p:cNvSpPr/>
            <p:nvPr/>
          </p:nvSpPr>
          <p:spPr>
            <a:xfrm>
              <a:off x="3906961" y="3676597"/>
              <a:ext cx="98538" cy="84664"/>
            </a:xfrm>
            <a:custGeom>
              <a:avLst/>
              <a:gdLst>
                <a:gd name="connsiteX0" fmla="*/ 12715 w 98538"/>
                <a:gd name="connsiteY0" fmla="*/ 13094 h 84664"/>
                <a:gd name="connsiteX1" fmla="*/ 826 w 98538"/>
                <a:gd name="connsiteY1" fmla="*/ 15039 h 84664"/>
                <a:gd name="connsiteX2" fmla="*/ 0 w 98538"/>
                <a:gd name="connsiteY2" fmla="*/ 14365 h 84664"/>
                <a:gd name="connsiteX3" fmla="*/ 82264 w 98538"/>
                <a:gd name="connsiteY3" fmla="*/ 84664 h 84664"/>
                <a:gd name="connsiteX4" fmla="*/ 82264 w 98538"/>
                <a:gd name="connsiteY4" fmla="*/ 84664 h 84664"/>
                <a:gd name="connsiteX5" fmla="*/ 83535 w 98538"/>
                <a:gd name="connsiteY5" fmla="*/ 78944 h 84664"/>
                <a:gd name="connsiteX6" fmla="*/ 94063 w 98538"/>
                <a:gd name="connsiteY6" fmla="*/ 72041 h 84664"/>
                <a:gd name="connsiteX7" fmla="*/ 94216 w 98538"/>
                <a:gd name="connsiteY7" fmla="*/ 72079 h 84664"/>
                <a:gd name="connsiteX8" fmla="*/ 98539 w 98538"/>
                <a:gd name="connsiteY8" fmla="*/ 75003 h 84664"/>
                <a:gd name="connsiteX9" fmla="*/ 97776 w 98538"/>
                <a:gd name="connsiteY9" fmla="*/ 73859 h 84664"/>
                <a:gd name="connsiteX10" fmla="*/ 11189 w 98538"/>
                <a:gd name="connsiteY10" fmla="*/ 0 h 84664"/>
                <a:gd name="connsiteX11" fmla="*/ 12715 w 98538"/>
                <a:gd name="connsiteY11" fmla="*/ 13094 h 8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538" h="84664">
                  <a:moveTo>
                    <a:pt x="12715" y="13094"/>
                  </a:moveTo>
                  <a:cubicBezTo>
                    <a:pt x="9968" y="16908"/>
                    <a:pt x="4641" y="17785"/>
                    <a:pt x="826" y="15039"/>
                  </a:cubicBezTo>
                  <a:cubicBezTo>
                    <a:pt x="534" y="14835"/>
                    <a:pt x="267" y="14607"/>
                    <a:pt x="0" y="14365"/>
                  </a:cubicBezTo>
                  <a:lnTo>
                    <a:pt x="82264" y="84664"/>
                  </a:lnTo>
                  <a:lnTo>
                    <a:pt x="82264" y="84664"/>
                  </a:lnTo>
                  <a:lnTo>
                    <a:pt x="83535" y="78944"/>
                  </a:lnTo>
                  <a:cubicBezTo>
                    <a:pt x="84540" y="74139"/>
                    <a:pt x="89257" y="71049"/>
                    <a:pt x="94063" y="72041"/>
                  </a:cubicBezTo>
                  <a:cubicBezTo>
                    <a:pt x="94114" y="72054"/>
                    <a:pt x="94165" y="72066"/>
                    <a:pt x="94216" y="72079"/>
                  </a:cubicBezTo>
                  <a:cubicBezTo>
                    <a:pt x="95907" y="72626"/>
                    <a:pt x="97407" y="73643"/>
                    <a:pt x="98539" y="75003"/>
                  </a:cubicBezTo>
                  <a:lnTo>
                    <a:pt x="97776" y="73859"/>
                  </a:lnTo>
                  <a:lnTo>
                    <a:pt x="11189" y="0"/>
                  </a:lnTo>
                  <a:cubicBezTo>
                    <a:pt x="15054" y="3280"/>
                    <a:pt x="15728" y="9000"/>
                    <a:pt x="12715" y="13094"/>
                  </a:cubicBezTo>
                  <a:close/>
                </a:path>
              </a:pathLst>
            </a:custGeom>
            <a:solidFill>
              <a:srgbClr val="000000"/>
            </a:solidFill>
            <a:ln w="12685"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5A17511F-E520-4E5F-B991-3BF45A6CCD89}"/>
                </a:ext>
              </a:extLst>
            </p:cNvPr>
            <p:cNvSpPr/>
            <p:nvPr/>
          </p:nvSpPr>
          <p:spPr>
            <a:xfrm>
              <a:off x="3525140" y="3891436"/>
              <a:ext cx="88207" cy="76340"/>
            </a:xfrm>
            <a:custGeom>
              <a:avLst/>
              <a:gdLst>
                <a:gd name="connsiteX0" fmla="*/ 1780 w 88207"/>
                <a:gd name="connsiteY0" fmla="*/ 127 h 76340"/>
                <a:gd name="connsiteX1" fmla="*/ 0 w 88207"/>
                <a:gd name="connsiteY1" fmla="*/ 127 h 76340"/>
                <a:gd name="connsiteX2" fmla="*/ 763 w 88207"/>
                <a:gd name="connsiteY2" fmla="*/ 763 h 76340"/>
                <a:gd name="connsiteX3" fmla="*/ 85188 w 88207"/>
                <a:gd name="connsiteY3" fmla="*/ 75257 h 76340"/>
                <a:gd name="connsiteX4" fmla="*/ 85951 w 88207"/>
                <a:gd name="connsiteY4" fmla="*/ 75893 h 76340"/>
                <a:gd name="connsiteX5" fmla="*/ 88113 w 88207"/>
                <a:gd name="connsiteY5" fmla="*/ 75893 h 76340"/>
                <a:gd name="connsiteX6" fmla="*/ 88113 w 88207"/>
                <a:gd name="connsiteY6" fmla="*/ 75893 h 76340"/>
                <a:gd name="connsiteX7" fmla="*/ 88113 w 88207"/>
                <a:gd name="connsiteY7" fmla="*/ 74876 h 76340"/>
                <a:gd name="connsiteX8" fmla="*/ 88113 w 88207"/>
                <a:gd name="connsiteY8" fmla="*/ 74240 h 76340"/>
                <a:gd name="connsiteX9" fmla="*/ 88113 w 88207"/>
                <a:gd name="connsiteY9" fmla="*/ 74240 h 76340"/>
                <a:gd name="connsiteX10" fmla="*/ 87350 w 88207"/>
                <a:gd name="connsiteY10" fmla="*/ 73478 h 76340"/>
                <a:gd name="connsiteX11" fmla="*/ 4069 w 88207"/>
                <a:gd name="connsiteY11" fmla="*/ 0 h 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207" h="76340">
                  <a:moveTo>
                    <a:pt x="1780" y="127"/>
                  </a:moveTo>
                  <a:lnTo>
                    <a:pt x="0" y="127"/>
                  </a:lnTo>
                  <a:lnTo>
                    <a:pt x="763" y="763"/>
                  </a:lnTo>
                  <a:lnTo>
                    <a:pt x="85188" y="75257"/>
                  </a:lnTo>
                  <a:lnTo>
                    <a:pt x="85951" y="75893"/>
                  </a:lnTo>
                  <a:cubicBezTo>
                    <a:pt x="86549" y="76490"/>
                    <a:pt x="87515" y="76490"/>
                    <a:pt x="88113" y="75893"/>
                  </a:cubicBezTo>
                  <a:cubicBezTo>
                    <a:pt x="88113" y="75893"/>
                    <a:pt x="88113" y="75893"/>
                    <a:pt x="88113" y="75893"/>
                  </a:cubicBezTo>
                  <a:cubicBezTo>
                    <a:pt x="88240" y="75562"/>
                    <a:pt x="88240" y="75206"/>
                    <a:pt x="88113" y="74876"/>
                  </a:cubicBezTo>
                  <a:cubicBezTo>
                    <a:pt x="88113" y="74876"/>
                    <a:pt x="88113" y="74876"/>
                    <a:pt x="88113" y="74240"/>
                  </a:cubicBezTo>
                  <a:lnTo>
                    <a:pt x="88113" y="74240"/>
                  </a:lnTo>
                  <a:lnTo>
                    <a:pt x="87350" y="73478"/>
                  </a:lnTo>
                  <a:lnTo>
                    <a:pt x="4069" y="0"/>
                  </a:lnTo>
                  <a:close/>
                </a:path>
              </a:pathLst>
            </a:custGeom>
            <a:solidFill>
              <a:srgbClr val="000000"/>
            </a:solidFill>
            <a:ln w="12685"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2C7E5779-027F-4C9B-8243-636265152666}"/>
                </a:ext>
              </a:extLst>
            </p:cNvPr>
            <p:cNvSpPr/>
            <p:nvPr/>
          </p:nvSpPr>
          <p:spPr>
            <a:xfrm>
              <a:off x="3423677" y="3799398"/>
              <a:ext cx="102480" cy="92037"/>
            </a:xfrm>
            <a:custGeom>
              <a:avLst/>
              <a:gdLst>
                <a:gd name="connsiteX0" fmla="*/ 99683 w 102480"/>
                <a:gd name="connsiteY0" fmla="*/ 90385 h 92037"/>
                <a:gd name="connsiteX1" fmla="*/ 101463 w 102480"/>
                <a:gd name="connsiteY1" fmla="*/ 92038 h 92037"/>
                <a:gd name="connsiteX2" fmla="*/ 101463 w 102480"/>
                <a:gd name="connsiteY2" fmla="*/ 92038 h 92037"/>
                <a:gd name="connsiteX3" fmla="*/ 101463 w 102480"/>
                <a:gd name="connsiteY3" fmla="*/ 92038 h 92037"/>
                <a:gd name="connsiteX4" fmla="*/ 101463 w 102480"/>
                <a:gd name="connsiteY4" fmla="*/ 89749 h 92037"/>
                <a:gd name="connsiteX5" fmla="*/ 102480 w 102480"/>
                <a:gd name="connsiteY5" fmla="*/ 89749 h 92037"/>
                <a:gd name="connsiteX6" fmla="*/ 763 w 102480"/>
                <a:gd name="connsiteY6" fmla="*/ 0 h 92037"/>
                <a:gd name="connsiteX7" fmla="*/ 0 w 102480"/>
                <a:gd name="connsiteY7" fmla="*/ 3687 h 9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80" h="92037">
                  <a:moveTo>
                    <a:pt x="99683" y="90385"/>
                  </a:moveTo>
                  <a:lnTo>
                    <a:pt x="101463" y="92038"/>
                  </a:lnTo>
                  <a:lnTo>
                    <a:pt x="101463" y="92038"/>
                  </a:lnTo>
                  <a:lnTo>
                    <a:pt x="101463" y="92038"/>
                  </a:lnTo>
                  <a:cubicBezTo>
                    <a:pt x="100904" y="91377"/>
                    <a:pt x="100904" y="90411"/>
                    <a:pt x="101463" y="89749"/>
                  </a:cubicBezTo>
                  <a:lnTo>
                    <a:pt x="102480" y="89749"/>
                  </a:lnTo>
                  <a:lnTo>
                    <a:pt x="763" y="0"/>
                  </a:lnTo>
                  <a:lnTo>
                    <a:pt x="0" y="3687"/>
                  </a:lnTo>
                  <a:close/>
                </a:path>
              </a:pathLst>
            </a:custGeom>
            <a:solidFill>
              <a:srgbClr val="000000"/>
            </a:solidFill>
            <a:ln w="12685"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490C00EA-863F-42E7-A53C-5C7DA3126E29}"/>
                </a:ext>
              </a:extLst>
            </p:cNvPr>
            <p:cNvSpPr/>
            <p:nvPr/>
          </p:nvSpPr>
          <p:spPr>
            <a:xfrm>
              <a:off x="3524974" y="3686639"/>
              <a:ext cx="380588" cy="204288"/>
            </a:xfrm>
            <a:custGeom>
              <a:avLst/>
              <a:gdLst>
                <a:gd name="connsiteX0" fmla="*/ 419 w 380588"/>
                <a:gd name="connsiteY0" fmla="*/ 202000 h 204288"/>
                <a:gd name="connsiteX1" fmla="*/ 419 w 380588"/>
                <a:gd name="connsiteY1" fmla="*/ 204288 h 204288"/>
                <a:gd name="connsiteX2" fmla="*/ 419 w 380588"/>
                <a:gd name="connsiteY2" fmla="*/ 204288 h 204288"/>
                <a:gd name="connsiteX3" fmla="*/ 1945 w 380588"/>
                <a:gd name="connsiteY3" fmla="*/ 204288 h 204288"/>
                <a:gd name="connsiteX4" fmla="*/ 3979 w 380588"/>
                <a:gd name="connsiteY4" fmla="*/ 203271 h 204288"/>
                <a:gd name="connsiteX5" fmla="*/ 380588 w 380588"/>
                <a:gd name="connsiteY5" fmla="*/ 2288 h 204288"/>
                <a:gd name="connsiteX6" fmla="*/ 377918 w 380588"/>
                <a:gd name="connsiteY6" fmla="*/ 0 h 204288"/>
                <a:gd name="connsiteX7" fmla="*/ 1437 w 380588"/>
                <a:gd name="connsiteY7" fmla="*/ 200856 h 20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588" h="204288">
                  <a:moveTo>
                    <a:pt x="419" y="202000"/>
                  </a:moveTo>
                  <a:cubicBezTo>
                    <a:pt x="-140" y="202661"/>
                    <a:pt x="-140" y="203627"/>
                    <a:pt x="419" y="204288"/>
                  </a:cubicBezTo>
                  <a:lnTo>
                    <a:pt x="419" y="204288"/>
                  </a:lnTo>
                  <a:lnTo>
                    <a:pt x="1945" y="204288"/>
                  </a:lnTo>
                  <a:lnTo>
                    <a:pt x="3979" y="203271"/>
                  </a:lnTo>
                  <a:lnTo>
                    <a:pt x="380588" y="2288"/>
                  </a:lnTo>
                  <a:lnTo>
                    <a:pt x="377918" y="0"/>
                  </a:lnTo>
                  <a:lnTo>
                    <a:pt x="1437" y="200856"/>
                  </a:lnTo>
                  <a:close/>
                </a:path>
              </a:pathLst>
            </a:custGeom>
            <a:solidFill>
              <a:srgbClr val="000000"/>
            </a:solidFill>
            <a:ln w="12685"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7375B3B8-E34A-4E15-A1C1-AF6F2FCCB3E1}"/>
                </a:ext>
              </a:extLst>
            </p:cNvPr>
            <p:cNvSpPr/>
            <p:nvPr/>
          </p:nvSpPr>
          <p:spPr>
            <a:xfrm>
              <a:off x="3791003" y="4483833"/>
              <a:ext cx="364783" cy="208229"/>
            </a:xfrm>
            <a:custGeom>
              <a:avLst/>
              <a:gdLst>
                <a:gd name="connsiteX0" fmla="*/ 1017 w 364783"/>
                <a:gd name="connsiteY0" fmla="*/ 203907 h 208229"/>
                <a:gd name="connsiteX1" fmla="*/ 0 w 364783"/>
                <a:gd name="connsiteY1" fmla="*/ 208229 h 208229"/>
                <a:gd name="connsiteX2" fmla="*/ 360588 w 364783"/>
                <a:gd name="connsiteY2" fmla="*/ 4577 h 208229"/>
                <a:gd name="connsiteX3" fmla="*/ 364784 w 364783"/>
                <a:gd name="connsiteY3" fmla="*/ 2289 h 208229"/>
                <a:gd name="connsiteX4" fmla="*/ 362114 w 364783"/>
                <a:gd name="connsiteY4" fmla="*/ 0 h 208229"/>
                <a:gd name="connsiteX5" fmla="*/ 361732 w 364783"/>
                <a:gd name="connsiteY5" fmla="*/ 254 h 208229"/>
                <a:gd name="connsiteX6" fmla="*/ 1017 w 364783"/>
                <a:gd name="connsiteY6" fmla="*/ 203907 h 20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783" h="208229">
                  <a:moveTo>
                    <a:pt x="1017" y="203907"/>
                  </a:moveTo>
                  <a:lnTo>
                    <a:pt x="0" y="208229"/>
                  </a:lnTo>
                  <a:lnTo>
                    <a:pt x="360588" y="4577"/>
                  </a:lnTo>
                  <a:lnTo>
                    <a:pt x="364784" y="2289"/>
                  </a:lnTo>
                  <a:lnTo>
                    <a:pt x="362114" y="0"/>
                  </a:lnTo>
                  <a:lnTo>
                    <a:pt x="361732" y="254"/>
                  </a:lnTo>
                  <a:lnTo>
                    <a:pt x="1017" y="203907"/>
                  </a:lnTo>
                  <a:close/>
                </a:path>
              </a:pathLst>
            </a:custGeom>
            <a:solidFill>
              <a:srgbClr val="000000"/>
            </a:solidFill>
            <a:ln w="12685"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74319019-2A25-44A9-B2A8-B2803ABCFA57}"/>
                </a:ext>
              </a:extLst>
            </p:cNvPr>
            <p:cNvSpPr/>
            <p:nvPr/>
          </p:nvSpPr>
          <p:spPr>
            <a:xfrm>
              <a:off x="3892975" y="4233526"/>
              <a:ext cx="278546" cy="255927"/>
            </a:xfrm>
            <a:custGeom>
              <a:avLst/>
              <a:gdLst>
                <a:gd name="connsiteX0" fmla="*/ 0 w 278546"/>
                <a:gd name="connsiteY0" fmla="*/ 20213 h 255927"/>
                <a:gd name="connsiteX1" fmla="*/ 259888 w 278546"/>
                <a:gd name="connsiteY1" fmla="*/ 250053 h 255927"/>
                <a:gd name="connsiteX2" fmla="*/ 259888 w 278546"/>
                <a:gd name="connsiteY2" fmla="*/ 250053 h 255927"/>
                <a:gd name="connsiteX3" fmla="*/ 262558 w 278546"/>
                <a:gd name="connsiteY3" fmla="*/ 252341 h 255927"/>
                <a:gd name="connsiteX4" fmla="*/ 263957 w 278546"/>
                <a:gd name="connsiteY4" fmla="*/ 253485 h 255927"/>
                <a:gd name="connsiteX5" fmla="*/ 275819 w 278546"/>
                <a:gd name="connsiteY5" fmla="*/ 253460 h 255927"/>
                <a:gd name="connsiteX6" fmla="*/ 276671 w 278546"/>
                <a:gd name="connsiteY6" fmla="*/ 252468 h 255927"/>
                <a:gd name="connsiteX7" fmla="*/ 278451 w 278546"/>
                <a:gd name="connsiteY7" fmla="*/ 249163 h 255927"/>
                <a:gd name="connsiteX8" fmla="*/ 278451 w 278546"/>
                <a:gd name="connsiteY8" fmla="*/ 249163 h 255927"/>
                <a:gd name="connsiteX9" fmla="*/ 278451 w 278546"/>
                <a:gd name="connsiteY9" fmla="*/ 247638 h 255927"/>
                <a:gd name="connsiteX10" fmla="*/ 278451 w 278546"/>
                <a:gd name="connsiteY10" fmla="*/ 245349 h 255927"/>
                <a:gd name="connsiteX11" fmla="*/ 278451 w 278546"/>
                <a:gd name="connsiteY11" fmla="*/ 243697 h 255927"/>
                <a:gd name="connsiteX12" fmla="*/ 278451 w 278546"/>
                <a:gd name="connsiteY12" fmla="*/ 242044 h 255927"/>
                <a:gd name="connsiteX13" fmla="*/ 277180 w 278546"/>
                <a:gd name="connsiteY13" fmla="*/ 240264 h 255927"/>
                <a:gd name="connsiteX14" fmla="*/ 276417 w 278546"/>
                <a:gd name="connsiteY14" fmla="*/ 239375 h 255927"/>
                <a:gd name="connsiteX15" fmla="*/ 276417 w 278546"/>
                <a:gd name="connsiteY15" fmla="*/ 239375 h 255927"/>
                <a:gd name="connsiteX16" fmla="*/ 276417 w 278546"/>
                <a:gd name="connsiteY16" fmla="*/ 239375 h 255927"/>
                <a:gd name="connsiteX17" fmla="*/ 5849 w 278546"/>
                <a:gd name="connsiteY17" fmla="*/ 0 h 255927"/>
                <a:gd name="connsiteX18" fmla="*/ 4577 w 278546"/>
                <a:gd name="connsiteY18" fmla="*/ 5721 h 255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546" h="255927">
                  <a:moveTo>
                    <a:pt x="0" y="20213"/>
                  </a:moveTo>
                  <a:lnTo>
                    <a:pt x="259888" y="250053"/>
                  </a:lnTo>
                  <a:lnTo>
                    <a:pt x="259888" y="250053"/>
                  </a:lnTo>
                  <a:lnTo>
                    <a:pt x="262558" y="252341"/>
                  </a:lnTo>
                  <a:lnTo>
                    <a:pt x="263957" y="253485"/>
                  </a:lnTo>
                  <a:cubicBezTo>
                    <a:pt x="267237" y="256752"/>
                    <a:pt x="272552" y="256740"/>
                    <a:pt x="275819" y="253460"/>
                  </a:cubicBezTo>
                  <a:cubicBezTo>
                    <a:pt x="276137" y="253155"/>
                    <a:pt x="276417" y="252824"/>
                    <a:pt x="276671" y="252468"/>
                  </a:cubicBezTo>
                  <a:cubicBezTo>
                    <a:pt x="277485" y="251502"/>
                    <a:pt x="278095" y="250371"/>
                    <a:pt x="278451" y="249163"/>
                  </a:cubicBezTo>
                  <a:lnTo>
                    <a:pt x="278451" y="249163"/>
                  </a:lnTo>
                  <a:cubicBezTo>
                    <a:pt x="278451" y="249163"/>
                    <a:pt x="278451" y="248146"/>
                    <a:pt x="278451" y="247638"/>
                  </a:cubicBezTo>
                  <a:cubicBezTo>
                    <a:pt x="278578" y="246875"/>
                    <a:pt x="278578" y="246112"/>
                    <a:pt x="278451" y="245349"/>
                  </a:cubicBezTo>
                  <a:cubicBezTo>
                    <a:pt x="278489" y="244803"/>
                    <a:pt x="278489" y="244243"/>
                    <a:pt x="278451" y="243697"/>
                  </a:cubicBezTo>
                  <a:cubicBezTo>
                    <a:pt x="278502" y="243150"/>
                    <a:pt x="278502" y="242591"/>
                    <a:pt x="278451" y="242044"/>
                  </a:cubicBezTo>
                  <a:lnTo>
                    <a:pt x="277180" y="240264"/>
                  </a:lnTo>
                  <a:lnTo>
                    <a:pt x="276417" y="239375"/>
                  </a:lnTo>
                  <a:lnTo>
                    <a:pt x="276417" y="239375"/>
                  </a:lnTo>
                  <a:lnTo>
                    <a:pt x="276417" y="239375"/>
                  </a:lnTo>
                  <a:lnTo>
                    <a:pt x="5849" y="0"/>
                  </a:lnTo>
                  <a:lnTo>
                    <a:pt x="4577" y="5721"/>
                  </a:lnTo>
                  <a:close/>
                </a:path>
              </a:pathLst>
            </a:custGeom>
            <a:solidFill>
              <a:srgbClr val="000000"/>
            </a:solidFill>
            <a:ln w="12685"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7C37C195-2D5B-461A-9C21-55506321285D}"/>
                </a:ext>
              </a:extLst>
            </p:cNvPr>
            <p:cNvSpPr/>
            <p:nvPr/>
          </p:nvSpPr>
          <p:spPr>
            <a:xfrm>
              <a:off x="850483" y="5105342"/>
              <a:ext cx="41195" cy="667019"/>
            </a:xfrm>
            <a:custGeom>
              <a:avLst/>
              <a:gdLst>
                <a:gd name="connsiteX0" fmla="*/ 41195 w 41195"/>
                <a:gd name="connsiteY0" fmla="*/ 1907 h 667019"/>
                <a:gd name="connsiteX1" fmla="*/ 39543 w 41195"/>
                <a:gd name="connsiteY1" fmla="*/ 0 h 667019"/>
                <a:gd name="connsiteX2" fmla="*/ 38144 w 41195"/>
                <a:gd name="connsiteY2" fmla="*/ 763 h 667019"/>
                <a:gd name="connsiteX3" fmla="*/ 0 w 41195"/>
                <a:gd name="connsiteY3" fmla="*/ 667019 h 667019"/>
                <a:gd name="connsiteX4" fmla="*/ 3179 w 41195"/>
                <a:gd name="connsiteY4" fmla="*/ 667019 h 667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95" h="667019">
                  <a:moveTo>
                    <a:pt x="41195" y="1907"/>
                  </a:moveTo>
                  <a:lnTo>
                    <a:pt x="39543" y="0"/>
                  </a:lnTo>
                  <a:lnTo>
                    <a:pt x="38144" y="763"/>
                  </a:lnTo>
                  <a:lnTo>
                    <a:pt x="0" y="667019"/>
                  </a:lnTo>
                  <a:cubicBezTo>
                    <a:pt x="1044" y="666765"/>
                    <a:pt x="2135" y="666765"/>
                    <a:pt x="3179" y="667019"/>
                  </a:cubicBezTo>
                  <a:close/>
                </a:path>
              </a:pathLst>
            </a:custGeom>
            <a:solidFill>
              <a:srgbClr val="000000"/>
            </a:solidFill>
            <a:ln w="12685"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485428B3-3B56-470C-9DDD-164E95702662}"/>
                </a:ext>
              </a:extLst>
            </p:cNvPr>
            <p:cNvSpPr/>
            <p:nvPr/>
          </p:nvSpPr>
          <p:spPr>
            <a:xfrm>
              <a:off x="856841" y="5786981"/>
              <a:ext cx="269449" cy="309232"/>
            </a:xfrm>
            <a:custGeom>
              <a:avLst/>
              <a:gdLst>
                <a:gd name="connsiteX0" fmla="*/ 269424 w 269449"/>
                <a:gd name="connsiteY0" fmla="*/ 307131 h 309232"/>
                <a:gd name="connsiteX1" fmla="*/ 269424 w 269449"/>
                <a:gd name="connsiteY1" fmla="*/ 307131 h 309232"/>
                <a:gd name="connsiteX2" fmla="*/ 267008 w 269449"/>
                <a:gd name="connsiteY2" fmla="*/ 304335 h 309232"/>
                <a:gd name="connsiteX3" fmla="*/ 2416 w 269449"/>
                <a:gd name="connsiteY3" fmla="*/ 0 h 309232"/>
                <a:gd name="connsiteX4" fmla="*/ 0 w 269449"/>
                <a:gd name="connsiteY4" fmla="*/ 2288 h 309232"/>
                <a:gd name="connsiteX5" fmla="*/ 267008 w 269449"/>
                <a:gd name="connsiteY5" fmla="*/ 308784 h 309232"/>
                <a:gd name="connsiteX6" fmla="*/ 267008 w 269449"/>
                <a:gd name="connsiteY6" fmla="*/ 308784 h 309232"/>
                <a:gd name="connsiteX7" fmla="*/ 269166 w 269449"/>
                <a:gd name="connsiteY7" fmla="*/ 308784 h 309232"/>
                <a:gd name="connsiteX8" fmla="*/ 269169 w 269449"/>
                <a:gd name="connsiteY8" fmla="*/ 308784 h 309232"/>
                <a:gd name="connsiteX9" fmla="*/ 269169 w 269449"/>
                <a:gd name="connsiteY9" fmla="*/ 307640 h 309232"/>
                <a:gd name="connsiteX10" fmla="*/ 269169 w 269449"/>
                <a:gd name="connsiteY10" fmla="*/ 307640 h 309232"/>
                <a:gd name="connsiteX11" fmla="*/ 269424 w 269449"/>
                <a:gd name="connsiteY11" fmla="*/ 307131 h 30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449" h="309232">
                  <a:moveTo>
                    <a:pt x="269424" y="307131"/>
                  </a:moveTo>
                  <a:lnTo>
                    <a:pt x="269424" y="307131"/>
                  </a:lnTo>
                  <a:lnTo>
                    <a:pt x="267008" y="304335"/>
                  </a:lnTo>
                  <a:lnTo>
                    <a:pt x="2416" y="0"/>
                  </a:lnTo>
                  <a:cubicBezTo>
                    <a:pt x="1739" y="890"/>
                    <a:pt x="924" y="1665"/>
                    <a:pt x="0" y="2288"/>
                  </a:cubicBezTo>
                  <a:lnTo>
                    <a:pt x="267008" y="308784"/>
                  </a:lnTo>
                  <a:lnTo>
                    <a:pt x="267008" y="308784"/>
                  </a:lnTo>
                  <a:cubicBezTo>
                    <a:pt x="267603" y="309382"/>
                    <a:pt x="268569" y="309382"/>
                    <a:pt x="269166" y="308784"/>
                  </a:cubicBezTo>
                  <a:cubicBezTo>
                    <a:pt x="269167" y="308784"/>
                    <a:pt x="269168" y="308784"/>
                    <a:pt x="269169" y="308784"/>
                  </a:cubicBezTo>
                  <a:cubicBezTo>
                    <a:pt x="269266" y="308403"/>
                    <a:pt x="269266" y="308021"/>
                    <a:pt x="269169" y="307640"/>
                  </a:cubicBezTo>
                  <a:lnTo>
                    <a:pt x="269169" y="307640"/>
                  </a:lnTo>
                  <a:cubicBezTo>
                    <a:pt x="269169" y="307640"/>
                    <a:pt x="269551" y="307259"/>
                    <a:pt x="269424" y="307131"/>
                  </a:cubicBezTo>
                  <a:close/>
                </a:path>
              </a:pathLst>
            </a:custGeom>
            <a:solidFill>
              <a:srgbClr val="000000"/>
            </a:solidFill>
            <a:ln w="12685"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FCD8F023-21AF-43A7-A91B-A160414C9B62}"/>
                </a:ext>
              </a:extLst>
            </p:cNvPr>
            <p:cNvSpPr/>
            <p:nvPr/>
          </p:nvSpPr>
          <p:spPr>
            <a:xfrm>
              <a:off x="890407" y="5102164"/>
              <a:ext cx="286159" cy="317682"/>
            </a:xfrm>
            <a:custGeom>
              <a:avLst/>
              <a:gdLst>
                <a:gd name="connsiteX0" fmla="*/ 284300 w 286159"/>
                <a:gd name="connsiteY0" fmla="*/ 317683 h 317682"/>
                <a:gd name="connsiteX1" fmla="*/ 284300 w 286159"/>
                <a:gd name="connsiteY1" fmla="*/ 317683 h 317682"/>
                <a:gd name="connsiteX2" fmla="*/ 284300 w 286159"/>
                <a:gd name="connsiteY2" fmla="*/ 317683 h 317682"/>
                <a:gd name="connsiteX3" fmla="*/ 284300 w 286159"/>
                <a:gd name="connsiteY3" fmla="*/ 317683 h 317682"/>
                <a:gd name="connsiteX4" fmla="*/ 284936 w 286159"/>
                <a:gd name="connsiteY4" fmla="*/ 317683 h 317682"/>
                <a:gd name="connsiteX5" fmla="*/ 285698 w 286159"/>
                <a:gd name="connsiteY5" fmla="*/ 317683 h 317682"/>
                <a:gd name="connsiteX6" fmla="*/ 285698 w 286159"/>
                <a:gd name="connsiteY6" fmla="*/ 315394 h 317682"/>
                <a:gd name="connsiteX7" fmla="*/ 284936 w 286159"/>
                <a:gd name="connsiteY7" fmla="*/ 314504 h 317682"/>
                <a:gd name="connsiteX8" fmla="*/ 1017 w 286159"/>
                <a:gd name="connsiteY8" fmla="*/ 0 h 317682"/>
                <a:gd name="connsiteX9" fmla="*/ 1017 w 286159"/>
                <a:gd name="connsiteY9" fmla="*/ 0 h 317682"/>
                <a:gd name="connsiteX10" fmla="*/ 1017 w 286159"/>
                <a:gd name="connsiteY10" fmla="*/ 0 h 317682"/>
                <a:gd name="connsiteX11" fmla="*/ 1017 w 286159"/>
                <a:gd name="connsiteY11" fmla="*/ 0 h 317682"/>
                <a:gd name="connsiteX12" fmla="*/ 1017 w 286159"/>
                <a:gd name="connsiteY12" fmla="*/ 635 h 317682"/>
                <a:gd name="connsiteX13" fmla="*/ 1017 w 286159"/>
                <a:gd name="connsiteY13" fmla="*/ 1271 h 317682"/>
                <a:gd name="connsiteX14" fmla="*/ 1017 w 286159"/>
                <a:gd name="connsiteY14" fmla="*/ 1271 h 317682"/>
                <a:gd name="connsiteX15" fmla="*/ 1017 w 286159"/>
                <a:gd name="connsiteY15" fmla="*/ 1271 h 317682"/>
                <a:gd name="connsiteX16" fmla="*/ 1017 w 286159"/>
                <a:gd name="connsiteY16" fmla="*/ 1271 h 317682"/>
                <a:gd name="connsiteX17" fmla="*/ 0 w 286159"/>
                <a:gd name="connsiteY17" fmla="*/ 1271 h 317682"/>
                <a:gd name="connsiteX18" fmla="*/ 1653 w 286159"/>
                <a:gd name="connsiteY18" fmla="*/ 3178 h 31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9" h="317682">
                  <a:moveTo>
                    <a:pt x="284300" y="317683"/>
                  </a:moveTo>
                  <a:lnTo>
                    <a:pt x="284300" y="317683"/>
                  </a:lnTo>
                  <a:lnTo>
                    <a:pt x="284300" y="317683"/>
                  </a:lnTo>
                  <a:lnTo>
                    <a:pt x="284300" y="317683"/>
                  </a:lnTo>
                  <a:lnTo>
                    <a:pt x="284936" y="317683"/>
                  </a:lnTo>
                  <a:lnTo>
                    <a:pt x="285698" y="317683"/>
                  </a:lnTo>
                  <a:cubicBezTo>
                    <a:pt x="286313" y="317047"/>
                    <a:pt x="286313" y="316030"/>
                    <a:pt x="285698" y="315394"/>
                  </a:cubicBezTo>
                  <a:lnTo>
                    <a:pt x="284936" y="314504"/>
                  </a:lnTo>
                  <a:lnTo>
                    <a:pt x="1017" y="0"/>
                  </a:lnTo>
                  <a:lnTo>
                    <a:pt x="1017" y="0"/>
                  </a:lnTo>
                  <a:lnTo>
                    <a:pt x="1017" y="0"/>
                  </a:lnTo>
                  <a:cubicBezTo>
                    <a:pt x="1017" y="0"/>
                    <a:pt x="1017" y="0"/>
                    <a:pt x="1017" y="0"/>
                  </a:cubicBezTo>
                  <a:cubicBezTo>
                    <a:pt x="1066" y="203"/>
                    <a:pt x="1066" y="432"/>
                    <a:pt x="1017" y="635"/>
                  </a:cubicBezTo>
                  <a:cubicBezTo>
                    <a:pt x="1017" y="635"/>
                    <a:pt x="1017" y="635"/>
                    <a:pt x="1017" y="1271"/>
                  </a:cubicBezTo>
                  <a:lnTo>
                    <a:pt x="1017" y="1271"/>
                  </a:lnTo>
                  <a:lnTo>
                    <a:pt x="1017" y="1271"/>
                  </a:lnTo>
                  <a:lnTo>
                    <a:pt x="1017" y="1271"/>
                  </a:lnTo>
                  <a:lnTo>
                    <a:pt x="0" y="1271"/>
                  </a:lnTo>
                  <a:lnTo>
                    <a:pt x="1653" y="3178"/>
                  </a:lnTo>
                  <a:close/>
                </a:path>
              </a:pathLst>
            </a:custGeom>
            <a:solidFill>
              <a:srgbClr val="000000"/>
            </a:solidFill>
            <a:ln w="12685"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F46A9671-DBA3-4771-82A1-CEC32178BFF7}"/>
                </a:ext>
              </a:extLst>
            </p:cNvPr>
            <p:cNvSpPr/>
            <p:nvPr/>
          </p:nvSpPr>
          <p:spPr>
            <a:xfrm>
              <a:off x="1041330" y="3747786"/>
              <a:ext cx="23522" cy="18432"/>
            </a:xfrm>
            <a:custGeom>
              <a:avLst/>
              <a:gdLst>
                <a:gd name="connsiteX0" fmla="*/ 4323 w 23522"/>
                <a:gd name="connsiteY0" fmla="*/ 8390 h 18432"/>
                <a:gd name="connsiteX1" fmla="*/ 5340 w 23522"/>
                <a:gd name="connsiteY1" fmla="*/ 9026 h 18432"/>
                <a:gd name="connsiteX2" fmla="*/ 14622 w 23522"/>
                <a:gd name="connsiteY2" fmla="*/ 18433 h 18432"/>
                <a:gd name="connsiteX3" fmla="*/ 16656 w 23522"/>
                <a:gd name="connsiteY3" fmla="*/ 17543 h 18432"/>
                <a:gd name="connsiteX4" fmla="*/ 19835 w 23522"/>
                <a:gd name="connsiteY4" fmla="*/ 15890 h 18432"/>
                <a:gd name="connsiteX5" fmla="*/ 22632 w 23522"/>
                <a:gd name="connsiteY5" fmla="*/ 14619 h 18432"/>
                <a:gd name="connsiteX6" fmla="*/ 23522 w 23522"/>
                <a:gd name="connsiteY6" fmla="*/ 13856 h 18432"/>
                <a:gd name="connsiteX7" fmla="*/ 18309 w 23522"/>
                <a:gd name="connsiteY7" fmla="*/ 15382 h 18432"/>
                <a:gd name="connsiteX8" fmla="*/ 10045 w 23522"/>
                <a:gd name="connsiteY8" fmla="*/ 5593 h 18432"/>
                <a:gd name="connsiteX9" fmla="*/ 10045 w 23522"/>
                <a:gd name="connsiteY9" fmla="*/ 0 h 18432"/>
                <a:gd name="connsiteX10" fmla="*/ 0 w 23522"/>
                <a:gd name="connsiteY10" fmla="*/ 4958 h 18432"/>
                <a:gd name="connsiteX11" fmla="*/ 2161 w 23522"/>
                <a:gd name="connsiteY11" fmla="*/ 7119 h 18432"/>
                <a:gd name="connsiteX12" fmla="*/ 2161 w 23522"/>
                <a:gd name="connsiteY12" fmla="*/ 7119 h 18432"/>
                <a:gd name="connsiteX13" fmla="*/ 4323 w 23522"/>
                <a:gd name="connsiteY13" fmla="*/ 8390 h 1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22" h="18432">
                  <a:moveTo>
                    <a:pt x="4323" y="8390"/>
                  </a:moveTo>
                  <a:lnTo>
                    <a:pt x="5340" y="9026"/>
                  </a:lnTo>
                  <a:lnTo>
                    <a:pt x="14622" y="18433"/>
                  </a:lnTo>
                  <a:lnTo>
                    <a:pt x="16656" y="17543"/>
                  </a:lnTo>
                  <a:lnTo>
                    <a:pt x="19835" y="15890"/>
                  </a:lnTo>
                  <a:lnTo>
                    <a:pt x="22632" y="14619"/>
                  </a:lnTo>
                  <a:lnTo>
                    <a:pt x="23522" y="13856"/>
                  </a:lnTo>
                  <a:cubicBezTo>
                    <a:pt x="22001" y="14924"/>
                    <a:pt x="20168" y="15471"/>
                    <a:pt x="18309" y="15382"/>
                  </a:cubicBezTo>
                  <a:cubicBezTo>
                    <a:pt x="13349" y="14912"/>
                    <a:pt x="9676" y="10564"/>
                    <a:pt x="10045" y="5593"/>
                  </a:cubicBezTo>
                  <a:lnTo>
                    <a:pt x="10045" y="0"/>
                  </a:lnTo>
                  <a:lnTo>
                    <a:pt x="0" y="4958"/>
                  </a:lnTo>
                  <a:lnTo>
                    <a:pt x="2161" y="7119"/>
                  </a:lnTo>
                  <a:lnTo>
                    <a:pt x="2161" y="7119"/>
                  </a:lnTo>
                  <a:cubicBezTo>
                    <a:pt x="2959" y="7399"/>
                    <a:pt x="3694" y="7831"/>
                    <a:pt x="4323" y="8390"/>
                  </a:cubicBezTo>
                  <a:close/>
                </a:path>
              </a:pathLst>
            </a:custGeom>
            <a:solidFill>
              <a:srgbClr val="000000"/>
            </a:solidFill>
            <a:ln w="12685"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6AA594A9-F7C5-43A3-9BB6-9F509C4C41FB}"/>
                </a:ext>
              </a:extLst>
            </p:cNvPr>
            <p:cNvSpPr/>
            <p:nvPr/>
          </p:nvSpPr>
          <p:spPr>
            <a:xfrm>
              <a:off x="1065870" y="3758973"/>
              <a:ext cx="108567" cy="110618"/>
            </a:xfrm>
            <a:custGeom>
              <a:avLst/>
              <a:gdLst>
                <a:gd name="connsiteX0" fmla="*/ 108456 w 108567"/>
                <a:gd name="connsiteY0" fmla="*/ 110089 h 110618"/>
                <a:gd name="connsiteX1" fmla="*/ 108456 w 108567"/>
                <a:gd name="connsiteY1" fmla="*/ 108945 h 110618"/>
                <a:gd name="connsiteX2" fmla="*/ 108456 w 108567"/>
                <a:gd name="connsiteY2" fmla="*/ 108945 h 110618"/>
                <a:gd name="connsiteX3" fmla="*/ 108456 w 108567"/>
                <a:gd name="connsiteY3" fmla="*/ 108309 h 110618"/>
                <a:gd name="connsiteX4" fmla="*/ 108456 w 108567"/>
                <a:gd name="connsiteY4" fmla="*/ 108309 h 110618"/>
                <a:gd name="connsiteX5" fmla="*/ 106040 w 108567"/>
                <a:gd name="connsiteY5" fmla="*/ 105894 h 110618"/>
                <a:gd name="connsiteX6" fmla="*/ 2161 w 108567"/>
                <a:gd name="connsiteY6" fmla="*/ 0 h 110618"/>
                <a:gd name="connsiteX7" fmla="*/ 0 w 108567"/>
                <a:gd name="connsiteY7" fmla="*/ 2415 h 110618"/>
                <a:gd name="connsiteX8" fmla="*/ 106167 w 108567"/>
                <a:gd name="connsiteY8" fmla="*/ 109581 h 110618"/>
                <a:gd name="connsiteX9" fmla="*/ 106167 w 108567"/>
                <a:gd name="connsiteY9" fmla="*/ 110217 h 110618"/>
                <a:gd name="connsiteX10" fmla="*/ 108456 w 108567"/>
                <a:gd name="connsiteY10" fmla="*/ 110089 h 11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567" h="110618">
                  <a:moveTo>
                    <a:pt x="108456" y="110089"/>
                  </a:moveTo>
                  <a:cubicBezTo>
                    <a:pt x="108605" y="109721"/>
                    <a:pt x="108605" y="109314"/>
                    <a:pt x="108456" y="108945"/>
                  </a:cubicBezTo>
                  <a:cubicBezTo>
                    <a:pt x="108456" y="108945"/>
                    <a:pt x="108456" y="108945"/>
                    <a:pt x="108456" y="108945"/>
                  </a:cubicBezTo>
                  <a:lnTo>
                    <a:pt x="108456" y="108309"/>
                  </a:lnTo>
                  <a:lnTo>
                    <a:pt x="108456" y="108309"/>
                  </a:lnTo>
                  <a:lnTo>
                    <a:pt x="106040" y="105894"/>
                  </a:lnTo>
                  <a:lnTo>
                    <a:pt x="2161" y="0"/>
                  </a:lnTo>
                  <a:cubicBezTo>
                    <a:pt x="1547" y="890"/>
                    <a:pt x="820" y="1703"/>
                    <a:pt x="0" y="2415"/>
                  </a:cubicBezTo>
                  <a:lnTo>
                    <a:pt x="106167" y="109581"/>
                  </a:lnTo>
                  <a:lnTo>
                    <a:pt x="106167" y="110217"/>
                  </a:lnTo>
                  <a:cubicBezTo>
                    <a:pt x="106840" y="110801"/>
                    <a:pt x="107851" y="110738"/>
                    <a:pt x="108456" y="110089"/>
                  </a:cubicBezTo>
                  <a:close/>
                </a:path>
              </a:pathLst>
            </a:custGeom>
            <a:solidFill>
              <a:srgbClr val="000000"/>
            </a:solidFill>
            <a:ln w="12685"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8E3B3203-8765-498F-90BD-1A88F81F23A8}"/>
                </a:ext>
              </a:extLst>
            </p:cNvPr>
            <p:cNvSpPr/>
            <p:nvPr/>
          </p:nvSpPr>
          <p:spPr>
            <a:xfrm>
              <a:off x="1051985" y="3574008"/>
              <a:ext cx="27234" cy="189296"/>
            </a:xfrm>
            <a:custGeom>
              <a:avLst/>
              <a:gdLst>
                <a:gd name="connsiteX0" fmla="*/ 16046 w 27234"/>
                <a:gd name="connsiteY0" fmla="*/ 184965 h 189296"/>
                <a:gd name="connsiteX1" fmla="*/ 16809 w 27234"/>
                <a:gd name="connsiteY1" fmla="*/ 183567 h 189296"/>
                <a:gd name="connsiteX2" fmla="*/ 16809 w 27234"/>
                <a:gd name="connsiteY2" fmla="*/ 181660 h 189296"/>
                <a:gd name="connsiteX3" fmla="*/ 16809 w 27234"/>
                <a:gd name="connsiteY3" fmla="*/ 180516 h 189296"/>
                <a:gd name="connsiteX4" fmla="*/ 27235 w 27234"/>
                <a:gd name="connsiteY4" fmla="*/ 12077 h 189296"/>
                <a:gd name="connsiteX5" fmla="*/ 27235 w 27234"/>
                <a:gd name="connsiteY5" fmla="*/ 7882 h 189296"/>
                <a:gd name="connsiteX6" fmla="*/ 27235 w 27234"/>
                <a:gd name="connsiteY6" fmla="*/ 7882 h 189296"/>
                <a:gd name="connsiteX7" fmla="*/ 22403 w 27234"/>
                <a:gd name="connsiteY7" fmla="*/ 10297 h 189296"/>
                <a:gd name="connsiteX8" fmla="*/ 10794 w 27234"/>
                <a:gd name="connsiteY8" fmla="*/ 5924 h 189296"/>
                <a:gd name="connsiteX9" fmla="*/ 10706 w 27234"/>
                <a:gd name="connsiteY9" fmla="*/ 5721 h 189296"/>
                <a:gd name="connsiteX10" fmla="*/ 10706 w 27234"/>
                <a:gd name="connsiteY10" fmla="*/ 0 h 189296"/>
                <a:gd name="connsiteX11" fmla="*/ 10706 w 27234"/>
                <a:gd name="connsiteY11" fmla="*/ 1144 h 189296"/>
                <a:gd name="connsiteX12" fmla="*/ 25 w 27234"/>
                <a:gd name="connsiteY12" fmla="*/ 173906 h 189296"/>
                <a:gd name="connsiteX13" fmla="*/ 25 w 27234"/>
                <a:gd name="connsiteY13" fmla="*/ 179499 h 189296"/>
                <a:gd name="connsiteX14" fmla="*/ 8290 w 27234"/>
                <a:gd name="connsiteY14" fmla="*/ 189287 h 189296"/>
                <a:gd name="connsiteX15" fmla="*/ 13503 w 27234"/>
                <a:gd name="connsiteY15" fmla="*/ 187762 h 189296"/>
                <a:gd name="connsiteX16" fmla="*/ 13503 w 27234"/>
                <a:gd name="connsiteY16" fmla="*/ 187762 h 189296"/>
                <a:gd name="connsiteX17" fmla="*/ 16046 w 27234"/>
                <a:gd name="connsiteY17" fmla="*/ 184965 h 18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34" h="189296">
                  <a:moveTo>
                    <a:pt x="16046" y="184965"/>
                  </a:moveTo>
                  <a:lnTo>
                    <a:pt x="16809" y="183567"/>
                  </a:lnTo>
                  <a:cubicBezTo>
                    <a:pt x="16881" y="182931"/>
                    <a:pt x="16881" y="182296"/>
                    <a:pt x="16809" y="181660"/>
                  </a:cubicBezTo>
                  <a:cubicBezTo>
                    <a:pt x="16809" y="181660"/>
                    <a:pt x="16809" y="181025"/>
                    <a:pt x="16809" y="180516"/>
                  </a:cubicBezTo>
                  <a:lnTo>
                    <a:pt x="27235" y="12077"/>
                  </a:lnTo>
                  <a:lnTo>
                    <a:pt x="27235" y="7882"/>
                  </a:lnTo>
                  <a:lnTo>
                    <a:pt x="27235" y="7882"/>
                  </a:lnTo>
                  <a:lnTo>
                    <a:pt x="22403" y="10297"/>
                  </a:lnTo>
                  <a:cubicBezTo>
                    <a:pt x="17989" y="12293"/>
                    <a:pt x="12791" y="10335"/>
                    <a:pt x="10794" y="5924"/>
                  </a:cubicBezTo>
                  <a:cubicBezTo>
                    <a:pt x="10763" y="5860"/>
                    <a:pt x="10734" y="5784"/>
                    <a:pt x="10706" y="5721"/>
                  </a:cubicBezTo>
                  <a:cubicBezTo>
                    <a:pt x="10144" y="3852"/>
                    <a:pt x="10144" y="1869"/>
                    <a:pt x="10706" y="0"/>
                  </a:cubicBezTo>
                  <a:cubicBezTo>
                    <a:pt x="10646" y="381"/>
                    <a:pt x="10646" y="763"/>
                    <a:pt x="10706" y="1144"/>
                  </a:cubicBezTo>
                  <a:lnTo>
                    <a:pt x="25" y="173906"/>
                  </a:lnTo>
                  <a:lnTo>
                    <a:pt x="25" y="179499"/>
                  </a:lnTo>
                  <a:cubicBezTo>
                    <a:pt x="-343" y="184470"/>
                    <a:pt x="3330" y="188817"/>
                    <a:pt x="8290" y="189287"/>
                  </a:cubicBezTo>
                  <a:cubicBezTo>
                    <a:pt x="10149" y="189377"/>
                    <a:pt x="11982" y="188830"/>
                    <a:pt x="13503" y="187762"/>
                  </a:cubicBezTo>
                  <a:lnTo>
                    <a:pt x="13503" y="187762"/>
                  </a:lnTo>
                  <a:cubicBezTo>
                    <a:pt x="14486" y="186961"/>
                    <a:pt x="15343" y="186020"/>
                    <a:pt x="16046" y="184965"/>
                  </a:cubicBezTo>
                  <a:close/>
                </a:path>
              </a:pathLst>
            </a:custGeom>
            <a:solidFill>
              <a:srgbClr val="000000"/>
            </a:solidFill>
            <a:ln w="12685"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315E42C1-4D2E-4F0D-9959-2A062A0AFA51}"/>
                </a:ext>
              </a:extLst>
            </p:cNvPr>
            <p:cNvSpPr/>
            <p:nvPr/>
          </p:nvSpPr>
          <p:spPr>
            <a:xfrm>
              <a:off x="743426" y="4062926"/>
              <a:ext cx="410556" cy="209373"/>
            </a:xfrm>
            <a:custGeom>
              <a:avLst/>
              <a:gdLst>
                <a:gd name="connsiteX0" fmla="*/ 410556 w 410556"/>
                <a:gd name="connsiteY0" fmla="*/ 0 h 209373"/>
                <a:gd name="connsiteX1" fmla="*/ 127 w 410556"/>
                <a:gd name="connsiteY1" fmla="*/ 205559 h 209373"/>
                <a:gd name="connsiteX2" fmla="*/ 0 w 410556"/>
                <a:gd name="connsiteY2" fmla="*/ 208229 h 209373"/>
                <a:gd name="connsiteX3" fmla="*/ 0 w 410556"/>
                <a:gd name="connsiteY3" fmla="*/ 208229 h 209373"/>
                <a:gd name="connsiteX4" fmla="*/ 0 w 410556"/>
                <a:gd name="connsiteY4" fmla="*/ 208356 h 209373"/>
                <a:gd name="connsiteX5" fmla="*/ 0 w 410556"/>
                <a:gd name="connsiteY5" fmla="*/ 209373 h 209373"/>
                <a:gd name="connsiteX6" fmla="*/ 410302 w 410556"/>
                <a:gd name="connsiteY6" fmla="*/ 3814 h 209373"/>
                <a:gd name="connsiteX7" fmla="*/ 410556 w 410556"/>
                <a:gd name="connsiteY7" fmla="*/ 0 h 20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56" h="209373">
                  <a:moveTo>
                    <a:pt x="410556" y="0"/>
                  </a:moveTo>
                  <a:lnTo>
                    <a:pt x="127" y="205559"/>
                  </a:lnTo>
                  <a:lnTo>
                    <a:pt x="0" y="208229"/>
                  </a:lnTo>
                  <a:lnTo>
                    <a:pt x="0" y="208229"/>
                  </a:lnTo>
                  <a:lnTo>
                    <a:pt x="0" y="208356"/>
                  </a:lnTo>
                  <a:lnTo>
                    <a:pt x="0" y="209373"/>
                  </a:lnTo>
                  <a:lnTo>
                    <a:pt x="410302" y="3814"/>
                  </a:lnTo>
                  <a:lnTo>
                    <a:pt x="410556" y="0"/>
                  </a:lnTo>
                  <a:close/>
                </a:path>
              </a:pathLst>
            </a:custGeom>
            <a:solidFill>
              <a:srgbClr val="000000"/>
            </a:solidFill>
            <a:ln w="12685"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67282BD4-ABCF-485A-BB26-11E5C2945A52}"/>
                </a:ext>
              </a:extLst>
            </p:cNvPr>
            <p:cNvSpPr/>
            <p:nvPr/>
          </p:nvSpPr>
          <p:spPr>
            <a:xfrm>
              <a:off x="66879" y="2527524"/>
              <a:ext cx="160443" cy="161701"/>
            </a:xfrm>
            <a:custGeom>
              <a:avLst/>
              <a:gdLst>
                <a:gd name="connsiteX0" fmla="*/ 159696 w 160443"/>
                <a:gd name="connsiteY0" fmla="*/ 161702 h 161701"/>
                <a:gd name="connsiteX1" fmla="*/ 159696 w 160443"/>
                <a:gd name="connsiteY1" fmla="*/ 161702 h 161701"/>
                <a:gd name="connsiteX2" fmla="*/ 160332 w 160443"/>
                <a:gd name="connsiteY2" fmla="*/ 161702 h 161701"/>
                <a:gd name="connsiteX3" fmla="*/ 160332 w 160443"/>
                <a:gd name="connsiteY3" fmla="*/ 161702 h 161701"/>
                <a:gd name="connsiteX4" fmla="*/ 160332 w 160443"/>
                <a:gd name="connsiteY4" fmla="*/ 161066 h 161701"/>
                <a:gd name="connsiteX5" fmla="*/ 160332 w 160443"/>
                <a:gd name="connsiteY5" fmla="*/ 161066 h 161701"/>
                <a:gd name="connsiteX6" fmla="*/ 160332 w 160443"/>
                <a:gd name="connsiteY6" fmla="*/ 159922 h 161701"/>
                <a:gd name="connsiteX7" fmla="*/ 157789 w 160443"/>
                <a:gd name="connsiteY7" fmla="*/ 157379 h 161701"/>
                <a:gd name="connsiteX8" fmla="*/ 1017 w 160443"/>
                <a:gd name="connsiteY8" fmla="*/ 0 h 161701"/>
                <a:gd name="connsiteX9" fmla="*/ 1017 w 160443"/>
                <a:gd name="connsiteY9" fmla="*/ 1017 h 161701"/>
                <a:gd name="connsiteX10" fmla="*/ 1017 w 160443"/>
                <a:gd name="connsiteY10" fmla="*/ 1017 h 161701"/>
                <a:gd name="connsiteX11" fmla="*/ 1017 w 160443"/>
                <a:gd name="connsiteY11" fmla="*/ 1017 h 161701"/>
                <a:gd name="connsiteX12" fmla="*/ 1017 w 160443"/>
                <a:gd name="connsiteY12" fmla="*/ 1017 h 161701"/>
                <a:gd name="connsiteX13" fmla="*/ 0 w 160443"/>
                <a:gd name="connsiteY13" fmla="*/ 1017 h 161701"/>
                <a:gd name="connsiteX14" fmla="*/ 158552 w 160443"/>
                <a:gd name="connsiteY14" fmla="*/ 160812 h 161701"/>
                <a:gd name="connsiteX15" fmla="*/ 159188 w 160443"/>
                <a:gd name="connsiteY15" fmla="*/ 160812 h 16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443" h="161701">
                  <a:moveTo>
                    <a:pt x="159696" y="161702"/>
                  </a:moveTo>
                  <a:lnTo>
                    <a:pt x="159696" y="161702"/>
                  </a:lnTo>
                  <a:lnTo>
                    <a:pt x="160332" y="161702"/>
                  </a:lnTo>
                  <a:lnTo>
                    <a:pt x="160332" y="161702"/>
                  </a:lnTo>
                  <a:cubicBezTo>
                    <a:pt x="160332" y="161702"/>
                    <a:pt x="160332" y="161702"/>
                    <a:pt x="160332" y="161066"/>
                  </a:cubicBezTo>
                  <a:lnTo>
                    <a:pt x="160332" y="161066"/>
                  </a:lnTo>
                  <a:cubicBezTo>
                    <a:pt x="160481" y="160697"/>
                    <a:pt x="160481" y="160290"/>
                    <a:pt x="160332" y="159922"/>
                  </a:cubicBezTo>
                  <a:lnTo>
                    <a:pt x="157789" y="157379"/>
                  </a:lnTo>
                  <a:lnTo>
                    <a:pt x="1017" y="0"/>
                  </a:lnTo>
                  <a:lnTo>
                    <a:pt x="1017" y="1017"/>
                  </a:lnTo>
                  <a:cubicBezTo>
                    <a:pt x="1017" y="1017"/>
                    <a:pt x="1017" y="1017"/>
                    <a:pt x="1017" y="1017"/>
                  </a:cubicBezTo>
                  <a:lnTo>
                    <a:pt x="1017" y="1017"/>
                  </a:lnTo>
                  <a:lnTo>
                    <a:pt x="1017" y="1017"/>
                  </a:lnTo>
                  <a:lnTo>
                    <a:pt x="0" y="1017"/>
                  </a:lnTo>
                  <a:lnTo>
                    <a:pt x="158552" y="160812"/>
                  </a:lnTo>
                  <a:cubicBezTo>
                    <a:pt x="158754" y="160901"/>
                    <a:pt x="158985" y="160901"/>
                    <a:pt x="159188" y="160812"/>
                  </a:cubicBezTo>
                  <a:close/>
                </a:path>
              </a:pathLst>
            </a:custGeom>
            <a:solidFill>
              <a:srgbClr val="000000"/>
            </a:solidFill>
            <a:ln w="12685"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1A2F627B-58AB-4EDA-9F1D-366453235657}"/>
                </a:ext>
              </a:extLst>
            </p:cNvPr>
            <p:cNvSpPr/>
            <p:nvPr/>
          </p:nvSpPr>
          <p:spPr>
            <a:xfrm>
              <a:off x="3305" y="3021146"/>
              <a:ext cx="757030" cy="354294"/>
            </a:xfrm>
            <a:custGeom>
              <a:avLst/>
              <a:gdLst>
                <a:gd name="connsiteX0" fmla="*/ 755760 w 757030"/>
                <a:gd name="connsiteY0" fmla="*/ 0 h 354294"/>
                <a:gd name="connsiteX1" fmla="*/ 0 w 757030"/>
                <a:gd name="connsiteY1" fmla="*/ 350608 h 354294"/>
                <a:gd name="connsiteX2" fmla="*/ 0 w 757030"/>
                <a:gd name="connsiteY2" fmla="*/ 354294 h 354294"/>
                <a:gd name="connsiteX3" fmla="*/ 757031 w 757030"/>
                <a:gd name="connsiteY3" fmla="*/ 3051 h 354294"/>
                <a:gd name="connsiteX4" fmla="*/ 755760 w 757030"/>
                <a:gd name="connsiteY4" fmla="*/ 0 h 354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030" h="354294">
                  <a:moveTo>
                    <a:pt x="755760" y="0"/>
                  </a:moveTo>
                  <a:lnTo>
                    <a:pt x="0" y="350608"/>
                  </a:lnTo>
                  <a:lnTo>
                    <a:pt x="0" y="354294"/>
                  </a:lnTo>
                  <a:lnTo>
                    <a:pt x="757031" y="3051"/>
                  </a:lnTo>
                  <a:cubicBezTo>
                    <a:pt x="756456" y="2098"/>
                    <a:pt x="756028" y="1081"/>
                    <a:pt x="755760" y="0"/>
                  </a:cubicBezTo>
                  <a:close/>
                </a:path>
              </a:pathLst>
            </a:custGeom>
            <a:solidFill>
              <a:srgbClr val="000000"/>
            </a:solidFill>
            <a:ln w="12685"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54F77968-118E-46B3-85DD-FAB805BD285A}"/>
                </a:ext>
              </a:extLst>
            </p:cNvPr>
            <p:cNvSpPr/>
            <p:nvPr/>
          </p:nvSpPr>
          <p:spPr>
            <a:xfrm>
              <a:off x="762879" y="3027756"/>
              <a:ext cx="5594" cy="79325"/>
            </a:xfrm>
            <a:custGeom>
              <a:avLst/>
              <a:gdLst>
                <a:gd name="connsiteX0" fmla="*/ 890 w 5594"/>
                <a:gd name="connsiteY0" fmla="*/ 79071 h 79325"/>
                <a:gd name="connsiteX1" fmla="*/ 2161 w 5594"/>
                <a:gd name="connsiteY1" fmla="*/ 79071 h 79325"/>
                <a:gd name="connsiteX2" fmla="*/ 2161 w 5594"/>
                <a:gd name="connsiteY2" fmla="*/ 79071 h 79325"/>
                <a:gd name="connsiteX3" fmla="*/ 5594 w 5594"/>
                <a:gd name="connsiteY3" fmla="*/ 0 h 79325"/>
                <a:gd name="connsiteX4" fmla="*/ 4069 w 5594"/>
                <a:gd name="connsiteY4" fmla="*/ 0 h 79325"/>
                <a:gd name="connsiteX5" fmla="*/ 2416 w 5594"/>
                <a:gd name="connsiteY5" fmla="*/ 0 h 79325"/>
                <a:gd name="connsiteX6" fmla="*/ 0 w 5594"/>
                <a:gd name="connsiteY6" fmla="*/ 79325 h 79325"/>
                <a:gd name="connsiteX7" fmla="*/ 1526 w 5594"/>
                <a:gd name="connsiteY7" fmla="*/ 79325 h 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4" h="79325">
                  <a:moveTo>
                    <a:pt x="890" y="79071"/>
                  </a:moveTo>
                  <a:lnTo>
                    <a:pt x="2161" y="79071"/>
                  </a:lnTo>
                  <a:lnTo>
                    <a:pt x="2161" y="79071"/>
                  </a:lnTo>
                  <a:lnTo>
                    <a:pt x="5594" y="0"/>
                  </a:lnTo>
                  <a:lnTo>
                    <a:pt x="4069" y="0"/>
                  </a:lnTo>
                  <a:lnTo>
                    <a:pt x="2416" y="0"/>
                  </a:lnTo>
                  <a:lnTo>
                    <a:pt x="0" y="79325"/>
                  </a:lnTo>
                  <a:lnTo>
                    <a:pt x="1526" y="79325"/>
                  </a:lnTo>
                  <a:close/>
                </a:path>
              </a:pathLst>
            </a:custGeom>
            <a:solidFill>
              <a:srgbClr val="000000"/>
            </a:solidFill>
            <a:ln w="12685"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D1149B39-600A-4D80-8095-C8967EBAFFAC}"/>
                </a:ext>
              </a:extLst>
            </p:cNvPr>
            <p:cNvSpPr/>
            <p:nvPr/>
          </p:nvSpPr>
          <p:spPr>
            <a:xfrm>
              <a:off x="65734" y="2128990"/>
              <a:ext cx="3560" cy="398533"/>
            </a:xfrm>
            <a:custGeom>
              <a:avLst/>
              <a:gdLst>
                <a:gd name="connsiteX0" fmla="*/ 2161 w 3560"/>
                <a:gd name="connsiteY0" fmla="*/ 398534 h 398533"/>
                <a:gd name="connsiteX1" fmla="*/ 3560 w 3560"/>
                <a:gd name="connsiteY1" fmla="*/ 4449 h 398533"/>
                <a:gd name="connsiteX2" fmla="*/ 3560 w 3560"/>
                <a:gd name="connsiteY2" fmla="*/ 0 h 398533"/>
                <a:gd name="connsiteX3" fmla="*/ 3560 w 3560"/>
                <a:gd name="connsiteY3" fmla="*/ 0 h 398533"/>
                <a:gd name="connsiteX4" fmla="*/ 3560 w 3560"/>
                <a:gd name="connsiteY4" fmla="*/ 0 h 398533"/>
                <a:gd name="connsiteX5" fmla="*/ 3560 w 3560"/>
                <a:gd name="connsiteY5" fmla="*/ 0 h 398533"/>
                <a:gd name="connsiteX6" fmla="*/ 3560 w 3560"/>
                <a:gd name="connsiteY6" fmla="*/ 0 h 398533"/>
                <a:gd name="connsiteX7" fmla="*/ 3560 w 3560"/>
                <a:gd name="connsiteY7" fmla="*/ 0 h 398533"/>
                <a:gd name="connsiteX8" fmla="*/ 1399 w 3560"/>
                <a:gd name="connsiteY8" fmla="*/ 890 h 398533"/>
                <a:gd name="connsiteX9" fmla="*/ 0 w 3560"/>
                <a:gd name="connsiteY9" fmla="*/ 396245 h 398533"/>
                <a:gd name="connsiteX10" fmla="*/ 890 w 3560"/>
                <a:gd name="connsiteY10" fmla="*/ 396245 h 398533"/>
                <a:gd name="connsiteX11" fmla="*/ 2790 w 3560"/>
                <a:gd name="connsiteY11" fmla="*/ 396792 h 398533"/>
                <a:gd name="connsiteX12" fmla="*/ 2924 w 3560"/>
                <a:gd name="connsiteY12" fmla="*/ 397135 h 398533"/>
                <a:gd name="connsiteX13" fmla="*/ 2924 w 3560"/>
                <a:gd name="connsiteY13" fmla="*/ 398025 h 398533"/>
                <a:gd name="connsiteX14" fmla="*/ 2924 w 3560"/>
                <a:gd name="connsiteY14" fmla="*/ 397008 h 39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0" h="398533">
                  <a:moveTo>
                    <a:pt x="2161" y="398534"/>
                  </a:moveTo>
                  <a:lnTo>
                    <a:pt x="3560" y="4449"/>
                  </a:lnTo>
                  <a:lnTo>
                    <a:pt x="3560" y="0"/>
                  </a:lnTo>
                  <a:cubicBezTo>
                    <a:pt x="3560" y="0"/>
                    <a:pt x="3560" y="0"/>
                    <a:pt x="3560" y="0"/>
                  </a:cubicBezTo>
                  <a:lnTo>
                    <a:pt x="3560" y="0"/>
                  </a:lnTo>
                  <a:lnTo>
                    <a:pt x="3560" y="0"/>
                  </a:lnTo>
                  <a:lnTo>
                    <a:pt x="3560" y="0"/>
                  </a:lnTo>
                  <a:lnTo>
                    <a:pt x="3560" y="0"/>
                  </a:lnTo>
                  <a:lnTo>
                    <a:pt x="1399" y="890"/>
                  </a:lnTo>
                  <a:lnTo>
                    <a:pt x="0" y="396245"/>
                  </a:lnTo>
                  <a:lnTo>
                    <a:pt x="890" y="396245"/>
                  </a:lnTo>
                  <a:cubicBezTo>
                    <a:pt x="1566" y="395877"/>
                    <a:pt x="2417" y="396118"/>
                    <a:pt x="2790" y="396792"/>
                  </a:cubicBezTo>
                  <a:cubicBezTo>
                    <a:pt x="2850" y="396906"/>
                    <a:pt x="2895" y="397021"/>
                    <a:pt x="2924" y="397135"/>
                  </a:cubicBezTo>
                  <a:cubicBezTo>
                    <a:pt x="3045" y="397415"/>
                    <a:pt x="3045" y="397745"/>
                    <a:pt x="2924" y="398025"/>
                  </a:cubicBezTo>
                  <a:lnTo>
                    <a:pt x="2924" y="397008"/>
                  </a:lnTo>
                  <a:close/>
                </a:path>
              </a:pathLst>
            </a:custGeom>
            <a:solidFill>
              <a:srgbClr val="000000"/>
            </a:solidFill>
            <a:ln w="12685"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BE307198-05BC-4927-82A1-0DE43A290229}"/>
                </a:ext>
              </a:extLst>
            </p:cNvPr>
            <p:cNvSpPr/>
            <p:nvPr/>
          </p:nvSpPr>
          <p:spPr>
            <a:xfrm>
              <a:off x="3630036" y="3361057"/>
              <a:ext cx="128110" cy="69301"/>
            </a:xfrm>
            <a:custGeom>
              <a:avLst/>
              <a:gdLst>
                <a:gd name="connsiteX0" fmla="*/ 0 w 128110"/>
                <a:gd name="connsiteY0" fmla="*/ 69301 h 69301"/>
                <a:gd name="connsiteX1" fmla="*/ 0 w 128110"/>
                <a:gd name="connsiteY1" fmla="*/ 69301 h 69301"/>
                <a:gd name="connsiteX2" fmla="*/ 115830 w 128110"/>
                <a:gd name="connsiteY2" fmla="*/ 9044 h 69301"/>
                <a:gd name="connsiteX3" fmla="*/ 127147 w 128110"/>
                <a:gd name="connsiteY3" fmla="*/ 3197 h 69301"/>
                <a:gd name="connsiteX4" fmla="*/ 127960 w 128110"/>
                <a:gd name="connsiteY4" fmla="*/ 1010 h 69301"/>
                <a:gd name="connsiteX5" fmla="*/ 127909 w 128110"/>
                <a:gd name="connsiteY5" fmla="*/ 909 h 69301"/>
                <a:gd name="connsiteX6" fmla="*/ 125901 w 128110"/>
                <a:gd name="connsiteY6" fmla="*/ 133 h 69301"/>
                <a:gd name="connsiteX7" fmla="*/ 125875 w 128110"/>
                <a:gd name="connsiteY7" fmla="*/ 146 h 69301"/>
                <a:gd name="connsiteX8" fmla="*/ 116721 w 128110"/>
                <a:gd name="connsiteY8" fmla="*/ 4976 h 69301"/>
                <a:gd name="connsiteX9" fmla="*/ 116721 w 128110"/>
                <a:gd name="connsiteY9" fmla="*/ 4976 h 69301"/>
                <a:gd name="connsiteX10" fmla="*/ 763 w 128110"/>
                <a:gd name="connsiteY10" fmla="*/ 65233 h 6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110" h="69301">
                  <a:moveTo>
                    <a:pt x="0" y="69301"/>
                  </a:moveTo>
                  <a:lnTo>
                    <a:pt x="0" y="69301"/>
                  </a:lnTo>
                  <a:lnTo>
                    <a:pt x="115830" y="9044"/>
                  </a:lnTo>
                  <a:lnTo>
                    <a:pt x="127147" y="3197"/>
                  </a:lnTo>
                  <a:cubicBezTo>
                    <a:pt x="127973" y="2815"/>
                    <a:pt x="128342" y="1837"/>
                    <a:pt x="127960" y="1010"/>
                  </a:cubicBezTo>
                  <a:cubicBezTo>
                    <a:pt x="127948" y="972"/>
                    <a:pt x="127922" y="934"/>
                    <a:pt x="127909" y="909"/>
                  </a:cubicBezTo>
                  <a:cubicBezTo>
                    <a:pt x="127566" y="133"/>
                    <a:pt x="126664" y="-210"/>
                    <a:pt x="125901" y="133"/>
                  </a:cubicBezTo>
                  <a:cubicBezTo>
                    <a:pt x="125888" y="146"/>
                    <a:pt x="125888" y="146"/>
                    <a:pt x="125875" y="146"/>
                  </a:cubicBezTo>
                  <a:lnTo>
                    <a:pt x="116721" y="4976"/>
                  </a:lnTo>
                  <a:lnTo>
                    <a:pt x="116721" y="4976"/>
                  </a:lnTo>
                  <a:lnTo>
                    <a:pt x="763" y="65233"/>
                  </a:lnTo>
                  <a:close/>
                </a:path>
              </a:pathLst>
            </a:custGeom>
            <a:solidFill>
              <a:srgbClr val="000000"/>
            </a:solidFill>
            <a:ln w="12685"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F2886CD4-199C-4EE6-8231-064D1165CDD6}"/>
                </a:ext>
              </a:extLst>
            </p:cNvPr>
            <p:cNvSpPr/>
            <p:nvPr/>
          </p:nvSpPr>
          <p:spPr>
            <a:xfrm>
              <a:off x="3526538" y="3034240"/>
              <a:ext cx="154737" cy="136276"/>
            </a:xfrm>
            <a:custGeom>
              <a:avLst/>
              <a:gdLst>
                <a:gd name="connsiteX0" fmla="*/ 0 w 154737"/>
                <a:gd name="connsiteY0" fmla="*/ 20085 h 136276"/>
                <a:gd name="connsiteX1" fmla="*/ 138717 w 154737"/>
                <a:gd name="connsiteY1" fmla="*/ 136277 h 136276"/>
                <a:gd name="connsiteX2" fmla="*/ 138717 w 154737"/>
                <a:gd name="connsiteY2" fmla="*/ 136277 h 136276"/>
                <a:gd name="connsiteX3" fmla="*/ 139734 w 154737"/>
                <a:gd name="connsiteY3" fmla="*/ 131192 h 136276"/>
                <a:gd name="connsiteX4" fmla="*/ 150287 w 154737"/>
                <a:gd name="connsiteY4" fmla="*/ 124073 h 136276"/>
                <a:gd name="connsiteX5" fmla="*/ 154738 w 154737"/>
                <a:gd name="connsiteY5" fmla="*/ 126997 h 136276"/>
                <a:gd name="connsiteX6" fmla="*/ 153848 w 154737"/>
                <a:gd name="connsiteY6" fmla="*/ 125853 h 136276"/>
                <a:gd name="connsiteX7" fmla="*/ 3560 w 154737"/>
                <a:gd name="connsiteY7" fmla="*/ 0 h 136276"/>
                <a:gd name="connsiteX8" fmla="*/ 2416 w 154737"/>
                <a:gd name="connsiteY8" fmla="*/ 5593 h 13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37" h="136276">
                  <a:moveTo>
                    <a:pt x="0" y="20085"/>
                  </a:moveTo>
                  <a:lnTo>
                    <a:pt x="138717" y="136277"/>
                  </a:lnTo>
                  <a:lnTo>
                    <a:pt x="138717" y="136277"/>
                  </a:lnTo>
                  <a:lnTo>
                    <a:pt x="139734" y="131192"/>
                  </a:lnTo>
                  <a:cubicBezTo>
                    <a:pt x="140701" y="126323"/>
                    <a:pt x="145405" y="123145"/>
                    <a:pt x="150287" y="124073"/>
                  </a:cubicBezTo>
                  <a:cubicBezTo>
                    <a:pt x="152029" y="124569"/>
                    <a:pt x="153593" y="125586"/>
                    <a:pt x="154738" y="126997"/>
                  </a:cubicBezTo>
                  <a:lnTo>
                    <a:pt x="153848" y="125853"/>
                  </a:lnTo>
                  <a:lnTo>
                    <a:pt x="3560" y="0"/>
                  </a:lnTo>
                  <a:lnTo>
                    <a:pt x="2416" y="5593"/>
                  </a:lnTo>
                  <a:close/>
                </a:path>
              </a:pathLst>
            </a:custGeom>
            <a:solidFill>
              <a:srgbClr val="000000"/>
            </a:solidFill>
            <a:ln w="12685"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FE5DD7F1-DCEC-49A7-8323-CE94787DBDE9}"/>
                </a:ext>
              </a:extLst>
            </p:cNvPr>
            <p:cNvSpPr/>
            <p:nvPr/>
          </p:nvSpPr>
          <p:spPr>
            <a:xfrm>
              <a:off x="3535820" y="3170262"/>
              <a:ext cx="129943" cy="70299"/>
            </a:xfrm>
            <a:custGeom>
              <a:avLst/>
              <a:gdLst>
                <a:gd name="connsiteX0" fmla="*/ 0 w 129943"/>
                <a:gd name="connsiteY0" fmla="*/ 70300 h 70299"/>
                <a:gd name="connsiteX1" fmla="*/ 129054 w 129943"/>
                <a:gd name="connsiteY1" fmla="*/ 4195 h 70299"/>
                <a:gd name="connsiteX2" fmla="*/ 129944 w 129943"/>
                <a:gd name="connsiteY2" fmla="*/ 0 h 70299"/>
                <a:gd name="connsiteX3" fmla="*/ 129435 w 129943"/>
                <a:gd name="connsiteY3" fmla="*/ 254 h 70299"/>
                <a:gd name="connsiteX4" fmla="*/ 763 w 129943"/>
                <a:gd name="connsiteY4" fmla="*/ 66231 h 70299"/>
                <a:gd name="connsiteX5" fmla="*/ 0 w 129943"/>
                <a:gd name="connsiteY5" fmla="*/ 70300 h 7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943" h="70299">
                  <a:moveTo>
                    <a:pt x="0" y="70300"/>
                  </a:moveTo>
                  <a:lnTo>
                    <a:pt x="129054" y="4195"/>
                  </a:lnTo>
                  <a:lnTo>
                    <a:pt x="129944" y="0"/>
                  </a:lnTo>
                  <a:lnTo>
                    <a:pt x="129435" y="254"/>
                  </a:lnTo>
                  <a:lnTo>
                    <a:pt x="763" y="66231"/>
                  </a:lnTo>
                  <a:lnTo>
                    <a:pt x="0" y="70300"/>
                  </a:lnTo>
                  <a:close/>
                </a:path>
              </a:pathLst>
            </a:custGeom>
            <a:solidFill>
              <a:srgbClr val="000000"/>
            </a:solidFill>
            <a:ln w="12685"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769ED0DA-80FD-4D26-A4E5-4EF065ACCB71}"/>
                </a:ext>
              </a:extLst>
            </p:cNvPr>
            <p:cNvSpPr/>
            <p:nvPr/>
          </p:nvSpPr>
          <p:spPr>
            <a:xfrm>
              <a:off x="1361104" y="2592103"/>
              <a:ext cx="603946" cy="285011"/>
            </a:xfrm>
            <a:custGeom>
              <a:avLst/>
              <a:gdLst>
                <a:gd name="connsiteX0" fmla="*/ 603438 w 603946"/>
                <a:gd name="connsiteY0" fmla="*/ 3814 h 285011"/>
                <a:gd name="connsiteX1" fmla="*/ 603947 w 603946"/>
                <a:gd name="connsiteY1" fmla="*/ 0 h 285011"/>
                <a:gd name="connsiteX2" fmla="*/ 0 w 603946"/>
                <a:gd name="connsiteY2" fmla="*/ 282597 h 285011"/>
                <a:gd name="connsiteX3" fmla="*/ 763 w 603946"/>
                <a:gd name="connsiteY3" fmla="*/ 283232 h 285011"/>
                <a:gd name="connsiteX4" fmla="*/ 2543 w 603946"/>
                <a:gd name="connsiteY4" fmla="*/ 285012 h 285011"/>
                <a:gd name="connsiteX5" fmla="*/ 603438 w 603946"/>
                <a:gd name="connsiteY5" fmla="*/ 3814 h 28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46" h="285011">
                  <a:moveTo>
                    <a:pt x="603438" y="3814"/>
                  </a:moveTo>
                  <a:lnTo>
                    <a:pt x="603947" y="0"/>
                  </a:lnTo>
                  <a:lnTo>
                    <a:pt x="0" y="282597"/>
                  </a:lnTo>
                  <a:lnTo>
                    <a:pt x="763" y="283232"/>
                  </a:lnTo>
                  <a:lnTo>
                    <a:pt x="2543" y="285012"/>
                  </a:lnTo>
                  <a:lnTo>
                    <a:pt x="603438" y="3814"/>
                  </a:lnTo>
                  <a:close/>
                </a:path>
              </a:pathLst>
            </a:custGeom>
            <a:solidFill>
              <a:srgbClr val="000000"/>
            </a:solidFill>
            <a:ln w="12685"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EB677136-6AA1-47FC-A656-A937378001DC}"/>
                </a:ext>
              </a:extLst>
            </p:cNvPr>
            <p:cNvSpPr/>
            <p:nvPr/>
          </p:nvSpPr>
          <p:spPr>
            <a:xfrm>
              <a:off x="1817052" y="3245901"/>
              <a:ext cx="77686" cy="58222"/>
            </a:xfrm>
            <a:custGeom>
              <a:avLst/>
              <a:gdLst>
                <a:gd name="connsiteX0" fmla="*/ 509 w 77686"/>
                <a:gd name="connsiteY0" fmla="*/ 53011 h 58222"/>
                <a:gd name="connsiteX1" fmla="*/ 0 w 77686"/>
                <a:gd name="connsiteY1" fmla="*/ 58223 h 58222"/>
                <a:gd name="connsiteX2" fmla="*/ 75271 w 77686"/>
                <a:gd name="connsiteY2" fmla="*/ 21611 h 58222"/>
                <a:gd name="connsiteX3" fmla="*/ 77051 w 77686"/>
                <a:gd name="connsiteY3" fmla="*/ 5085 h 58222"/>
                <a:gd name="connsiteX4" fmla="*/ 77687 w 77686"/>
                <a:gd name="connsiteY4" fmla="*/ 0 h 58222"/>
                <a:gd name="connsiteX5" fmla="*/ 2289 w 77686"/>
                <a:gd name="connsiteY5" fmla="*/ 36739 h 58222"/>
                <a:gd name="connsiteX6" fmla="*/ 509 w 77686"/>
                <a:gd name="connsiteY6" fmla="*/ 53011 h 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86" h="58222">
                  <a:moveTo>
                    <a:pt x="509" y="53011"/>
                  </a:moveTo>
                  <a:lnTo>
                    <a:pt x="0" y="58223"/>
                  </a:lnTo>
                  <a:lnTo>
                    <a:pt x="75271" y="21611"/>
                  </a:lnTo>
                  <a:lnTo>
                    <a:pt x="77051" y="5085"/>
                  </a:lnTo>
                  <a:lnTo>
                    <a:pt x="77687" y="0"/>
                  </a:lnTo>
                  <a:lnTo>
                    <a:pt x="2289" y="36739"/>
                  </a:lnTo>
                  <a:lnTo>
                    <a:pt x="509" y="53011"/>
                  </a:lnTo>
                  <a:close/>
                </a:path>
              </a:pathLst>
            </a:custGeom>
            <a:solidFill>
              <a:srgbClr val="000000"/>
            </a:solidFill>
            <a:ln w="12685"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1C1AB9A8-86F9-4272-B7C1-BB5DF333E960}"/>
                </a:ext>
              </a:extLst>
            </p:cNvPr>
            <p:cNvSpPr/>
            <p:nvPr/>
          </p:nvSpPr>
          <p:spPr>
            <a:xfrm>
              <a:off x="2450624" y="2663038"/>
              <a:ext cx="54212" cy="323021"/>
            </a:xfrm>
            <a:custGeom>
              <a:avLst/>
              <a:gdLst>
                <a:gd name="connsiteX0" fmla="*/ 41450 w 54212"/>
                <a:gd name="connsiteY0" fmla="*/ 7500 h 323021"/>
                <a:gd name="connsiteX1" fmla="*/ 0 w 54212"/>
                <a:gd name="connsiteY1" fmla="*/ 312598 h 323021"/>
                <a:gd name="connsiteX2" fmla="*/ 3306 w 54212"/>
                <a:gd name="connsiteY2" fmla="*/ 312598 h 323021"/>
                <a:gd name="connsiteX3" fmla="*/ 10807 w 54212"/>
                <a:gd name="connsiteY3" fmla="*/ 323022 h 323021"/>
                <a:gd name="connsiteX4" fmla="*/ 54164 w 54212"/>
                <a:gd name="connsiteY4" fmla="*/ 1144 h 323021"/>
                <a:gd name="connsiteX5" fmla="*/ 54164 w 54212"/>
                <a:gd name="connsiteY5" fmla="*/ 0 h 323021"/>
                <a:gd name="connsiteX6" fmla="*/ 52257 w 54212"/>
                <a:gd name="connsiteY6" fmla="*/ 5721 h 323021"/>
                <a:gd name="connsiteX7" fmla="*/ 41450 w 54212"/>
                <a:gd name="connsiteY7" fmla="*/ 7500 h 32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12" h="323021">
                  <a:moveTo>
                    <a:pt x="41450" y="7500"/>
                  </a:moveTo>
                  <a:lnTo>
                    <a:pt x="0" y="312598"/>
                  </a:lnTo>
                  <a:cubicBezTo>
                    <a:pt x="1093" y="312344"/>
                    <a:pt x="2212" y="312344"/>
                    <a:pt x="3306" y="312598"/>
                  </a:cubicBezTo>
                  <a:cubicBezTo>
                    <a:pt x="8239" y="313437"/>
                    <a:pt x="11570" y="318077"/>
                    <a:pt x="10807" y="323022"/>
                  </a:cubicBezTo>
                  <a:lnTo>
                    <a:pt x="54164" y="1144"/>
                  </a:lnTo>
                  <a:cubicBezTo>
                    <a:pt x="54228" y="763"/>
                    <a:pt x="54228" y="381"/>
                    <a:pt x="54164" y="0"/>
                  </a:cubicBezTo>
                  <a:cubicBezTo>
                    <a:pt x="54101" y="2047"/>
                    <a:pt x="53440" y="4043"/>
                    <a:pt x="52257" y="5721"/>
                  </a:cubicBezTo>
                  <a:cubicBezTo>
                    <a:pt x="49587" y="8911"/>
                    <a:pt x="44997" y="9662"/>
                    <a:pt x="41450" y="7500"/>
                  </a:cubicBezTo>
                  <a:close/>
                </a:path>
              </a:pathLst>
            </a:custGeom>
            <a:solidFill>
              <a:srgbClr val="000000"/>
            </a:solidFill>
            <a:ln w="12685"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6E2177BD-405C-47F2-AC86-6047B3135ECA}"/>
                </a:ext>
              </a:extLst>
            </p:cNvPr>
            <p:cNvSpPr/>
            <p:nvPr/>
          </p:nvSpPr>
          <p:spPr>
            <a:xfrm>
              <a:off x="1358943" y="2877242"/>
              <a:ext cx="3178" cy="7118"/>
            </a:xfrm>
            <a:custGeom>
              <a:avLst/>
              <a:gdLst>
                <a:gd name="connsiteX0" fmla="*/ 890 w 3178"/>
                <a:gd name="connsiteY0" fmla="*/ 636 h 7118"/>
                <a:gd name="connsiteX1" fmla="*/ 254 w 3178"/>
                <a:gd name="connsiteY1" fmla="*/ 0 h 7118"/>
                <a:gd name="connsiteX2" fmla="*/ 0 w 3178"/>
                <a:gd name="connsiteY2" fmla="*/ 4322 h 7118"/>
                <a:gd name="connsiteX3" fmla="*/ 2924 w 3178"/>
                <a:gd name="connsiteY3" fmla="*/ 7119 h 7118"/>
                <a:gd name="connsiteX4" fmla="*/ 3179 w 3178"/>
                <a:gd name="connsiteY4" fmla="*/ 2797 h 7118"/>
                <a:gd name="connsiteX5" fmla="*/ 890 w 3178"/>
                <a:gd name="connsiteY5" fmla="*/ 636 h 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 h="7118">
                  <a:moveTo>
                    <a:pt x="890" y="636"/>
                  </a:moveTo>
                  <a:lnTo>
                    <a:pt x="254" y="0"/>
                  </a:lnTo>
                  <a:lnTo>
                    <a:pt x="0" y="4322"/>
                  </a:lnTo>
                  <a:lnTo>
                    <a:pt x="2924" y="7119"/>
                  </a:lnTo>
                  <a:lnTo>
                    <a:pt x="3179" y="2797"/>
                  </a:lnTo>
                  <a:lnTo>
                    <a:pt x="890" y="636"/>
                  </a:lnTo>
                  <a:close/>
                </a:path>
              </a:pathLst>
            </a:custGeom>
            <a:solidFill>
              <a:srgbClr val="000000"/>
            </a:solidFill>
            <a:ln w="12685"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0D3391D8-6B79-40DD-8001-13B6F7B17AD4}"/>
                </a:ext>
              </a:extLst>
            </p:cNvPr>
            <p:cNvSpPr/>
            <p:nvPr/>
          </p:nvSpPr>
          <p:spPr>
            <a:xfrm>
              <a:off x="1286978" y="2484683"/>
              <a:ext cx="689643" cy="322894"/>
            </a:xfrm>
            <a:custGeom>
              <a:avLst/>
              <a:gdLst>
                <a:gd name="connsiteX0" fmla="*/ 689262 w 689643"/>
                <a:gd name="connsiteY0" fmla="*/ 3814 h 322894"/>
                <a:gd name="connsiteX1" fmla="*/ 689643 w 689643"/>
                <a:gd name="connsiteY1" fmla="*/ 0 h 322894"/>
                <a:gd name="connsiteX2" fmla="*/ 0 w 689643"/>
                <a:gd name="connsiteY2" fmla="*/ 320479 h 322894"/>
                <a:gd name="connsiteX3" fmla="*/ 763 w 689643"/>
                <a:gd name="connsiteY3" fmla="*/ 321242 h 322894"/>
                <a:gd name="connsiteX4" fmla="*/ 2543 w 689643"/>
                <a:gd name="connsiteY4" fmla="*/ 322895 h 322894"/>
                <a:gd name="connsiteX5" fmla="*/ 689262 w 689643"/>
                <a:gd name="connsiteY5" fmla="*/ 3814 h 32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643" h="322894">
                  <a:moveTo>
                    <a:pt x="689262" y="3814"/>
                  </a:moveTo>
                  <a:lnTo>
                    <a:pt x="689643" y="0"/>
                  </a:lnTo>
                  <a:lnTo>
                    <a:pt x="0" y="320479"/>
                  </a:lnTo>
                  <a:lnTo>
                    <a:pt x="763" y="321242"/>
                  </a:lnTo>
                  <a:lnTo>
                    <a:pt x="2543" y="322895"/>
                  </a:lnTo>
                  <a:lnTo>
                    <a:pt x="689262" y="3814"/>
                  </a:lnTo>
                  <a:close/>
                </a:path>
              </a:pathLst>
            </a:custGeom>
            <a:solidFill>
              <a:srgbClr val="000000"/>
            </a:solidFill>
            <a:ln w="12685"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95F7697D-4917-44D9-AECB-55B5FF86DF88}"/>
                </a:ext>
              </a:extLst>
            </p:cNvPr>
            <p:cNvSpPr/>
            <p:nvPr/>
          </p:nvSpPr>
          <p:spPr>
            <a:xfrm>
              <a:off x="1284816" y="2807832"/>
              <a:ext cx="3178" cy="6991"/>
            </a:xfrm>
            <a:custGeom>
              <a:avLst/>
              <a:gdLst>
                <a:gd name="connsiteX0" fmla="*/ 3179 w 3178"/>
                <a:gd name="connsiteY0" fmla="*/ 2797 h 6991"/>
                <a:gd name="connsiteX1" fmla="*/ 890 w 3178"/>
                <a:gd name="connsiteY1" fmla="*/ 509 h 6991"/>
                <a:gd name="connsiteX2" fmla="*/ 254 w 3178"/>
                <a:gd name="connsiteY2" fmla="*/ 0 h 6991"/>
                <a:gd name="connsiteX3" fmla="*/ 0 w 3178"/>
                <a:gd name="connsiteY3" fmla="*/ 4195 h 6991"/>
                <a:gd name="connsiteX4" fmla="*/ 2924 w 3178"/>
                <a:gd name="connsiteY4" fmla="*/ 6992 h 6991"/>
                <a:gd name="connsiteX5" fmla="*/ 3179 w 3178"/>
                <a:gd name="connsiteY5" fmla="*/ 2797 h 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 h="6991">
                  <a:moveTo>
                    <a:pt x="3179" y="2797"/>
                  </a:moveTo>
                  <a:lnTo>
                    <a:pt x="890" y="509"/>
                  </a:lnTo>
                  <a:lnTo>
                    <a:pt x="254" y="0"/>
                  </a:lnTo>
                  <a:lnTo>
                    <a:pt x="0" y="4195"/>
                  </a:lnTo>
                  <a:lnTo>
                    <a:pt x="2924" y="6992"/>
                  </a:lnTo>
                  <a:lnTo>
                    <a:pt x="3179" y="2797"/>
                  </a:lnTo>
                  <a:close/>
                </a:path>
              </a:pathLst>
            </a:custGeom>
            <a:solidFill>
              <a:srgbClr val="000000"/>
            </a:solidFill>
            <a:ln w="12685"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5159C828-CF52-420D-BF8A-9B84B64BA1B3}"/>
                </a:ext>
              </a:extLst>
            </p:cNvPr>
            <p:cNvSpPr/>
            <p:nvPr/>
          </p:nvSpPr>
          <p:spPr>
            <a:xfrm>
              <a:off x="2492073" y="2649181"/>
              <a:ext cx="12771" cy="22674"/>
            </a:xfrm>
            <a:custGeom>
              <a:avLst/>
              <a:gdLst>
                <a:gd name="connsiteX0" fmla="*/ 0 w 12771"/>
                <a:gd name="connsiteY0" fmla="*/ 21230 h 22674"/>
                <a:gd name="connsiteX1" fmla="*/ 0 w 12771"/>
                <a:gd name="connsiteY1" fmla="*/ 21230 h 22674"/>
                <a:gd name="connsiteX2" fmla="*/ 11316 w 12771"/>
                <a:gd name="connsiteY2" fmla="*/ 19450 h 22674"/>
                <a:gd name="connsiteX3" fmla="*/ 12715 w 12771"/>
                <a:gd name="connsiteY3" fmla="*/ 13729 h 22674"/>
                <a:gd name="connsiteX4" fmla="*/ 12715 w 12771"/>
                <a:gd name="connsiteY4" fmla="*/ 11950 h 22674"/>
                <a:gd name="connsiteX5" fmla="*/ 12715 w 12771"/>
                <a:gd name="connsiteY5" fmla="*/ 10170 h 22674"/>
                <a:gd name="connsiteX6" fmla="*/ 12079 w 12771"/>
                <a:gd name="connsiteY6" fmla="*/ 8645 h 22674"/>
                <a:gd name="connsiteX7" fmla="*/ 10808 w 12771"/>
                <a:gd name="connsiteY7" fmla="*/ 7119 h 22674"/>
                <a:gd name="connsiteX8" fmla="*/ 10808 w 12771"/>
                <a:gd name="connsiteY8" fmla="*/ 6356 h 22674"/>
                <a:gd name="connsiteX9" fmla="*/ 3433 w 12771"/>
                <a:gd name="connsiteY9" fmla="*/ 0 h 22674"/>
                <a:gd name="connsiteX10" fmla="*/ 3433 w 12771"/>
                <a:gd name="connsiteY10" fmla="*/ 5212 h 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1" h="22674">
                  <a:moveTo>
                    <a:pt x="0" y="21230"/>
                  </a:moveTo>
                  <a:lnTo>
                    <a:pt x="0" y="21230"/>
                  </a:lnTo>
                  <a:cubicBezTo>
                    <a:pt x="3649" y="23709"/>
                    <a:pt x="8595" y="22921"/>
                    <a:pt x="11316" y="19450"/>
                  </a:cubicBezTo>
                  <a:cubicBezTo>
                    <a:pt x="12320" y="17708"/>
                    <a:pt x="12804" y="15725"/>
                    <a:pt x="12715" y="13729"/>
                  </a:cubicBezTo>
                  <a:cubicBezTo>
                    <a:pt x="12778" y="13132"/>
                    <a:pt x="12778" y="12547"/>
                    <a:pt x="12715" y="11950"/>
                  </a:cubicBezTo>
                  <a:cubicBezTo>
                    <a:pt x="12791" y="11365"/>
                    <a:pt x="12791" y="10755"/>
                    <a:pt x="12715" y="10170"/>
                  </a:cubicBezTo>
                  <a:cubicBezTo>
                    <a:pt x="12562" y="9636"/>
                    <a:pt x="12346" y="9128"/>
                    <a:pt x="12079" y="8645"/>
                  </a:cubicBezTo>
                  <a:lnTo>
                    <a:pt x="10808" y="7119"/>
                  </a:lnTo>
                  <a:cubicBezTo>
                    <a:pt x="10846" y="6865"/>
                    <a:pt x="10846" y="6610"/>
                    <a:pt x="10808" y="6356"/>
                  </a:cubicBezTo>
                  <a:lnTo>
                    <a:pt x="3433" y="0"/>
                  </a:lnTo>
                  <a:lnTo>
                    <a:pt x="3433" y="5212"/>
                  </a:lnTo>
                  <a:close/>
                </a:path>
              </a:pathLst>
            </a:custGeom>
            <a:solidFill>
              <a:srgbClr val="000000"/>
            </a:solidFill>
            <a:ln w="12685"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B9BFF488-9C63-425A-A374-6313BA20E087}"/>
                </a:ext>
              </a:extLst>
            </p:cNvPr>
            <p:cNvSpPr/>
            <p:nvPr/>
          </p:nvSpPr>
          <p:spPr>
            <a:xfrm>
              <a:off x="1359706" y="2875843"/>
              <a:ext cx="71964" cy="66740"/>
            </a:xfrm>
            <a:custGeom>
              <a:avLst/>
              <a:gdLst>
                <a:gd name="connsiteX0" fmla="*/ 68786 w 71964"/>
                <a:gd name="connsiteY0" fmla="*/ 66740 h 66740"/>
                <a:gd name="connsiteX1" fmla="*/ 71965 w 71964"/>
                <a:gd name="connsiteY1" fmla="*/ 65342 h 66740"/>
                <a:gd name="connsiteX2" fmla="*/ 3942 w 71964"/>
                <a:gd name="connsiteY2" fmla="*/ 1780 h 66740"/>
                <a:gd name="connsiteX3" fmla="*/ 2161 w 71964"/>
                <a:gd name="connsiteY3" fmla="*/ 0 h 66740"/>
                <a:gd name="connsiteX4" fmla="*/ 2161 w 71964"/>
                <a:gd name="connsiteY4" fmla="*/ 2415 h 66740"/>
                <a:gd name="connsiteX5" fmla="*/ 0 w 71964"/>
                <a:gd name="connsiteY5" fmla="*/ 2415 h 66740"/>
                <a:gd name="connsiteX6" fmla="*/ 0 w 71964"/>
                <a:gd name="connsiteY6" fmla="*/ 2415 h 66740"/>
                <a:gd name="connsiteX7" fmla="*/ 2289 w 71964"/>
                <a:gd name="connsiteY7" fmla="*/ 4576 h 6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64" h="66740">
                  <a:moveTo>
                    <a:pt x="68786" y="66740"/>
                  </a:moveTo>
                  <a:lnTo>
                    <a:pt x="71965" y="65342"/>
                  </a:lnTo>
                  <a:lnTo>
                    <a:pt x="3942" y="1780"/>
                  </a:lnTo>
                  <a:lnTo>
                    <a:pt x="2161" y="0"/>
                  </a:lnTo>
                  <a:cubicBezTo>
                    <a:pt x="2797" y="686"/>
                    <a:pt x="2797" y="1729"/>
                    <a:pt x="2161" y="2415"/>
                  </a:cubicBezTo>
                  <a:cubicBezTo>
                    <a:pt x="1564" y="3013"/>
                    <a:pt x="598" y="3013"/>
                    <a:pt x="0" y="2415"/>
                  </a:cubicBezTo>
                  <a:cubicBezTo>
                    <a:pt x="0" y="2415"/>
                    <a:pt x="0" y="2415"/>
                    <a:pt x="0" y="2415"/>
                  </a:cubicBezTo>
                  <a:lnTo>
                    <a:pt x="2289" y="4576"/>
                  </a:lnTo>
                  <a:close/>
                </a:path>
              </a:pathLst>
            </a:custGeom>
            <a:solidFill>
              <a:srgbClr val="000000"/>
            </a:solidFill>
            <a:ln w="12685"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74E4F0EF-7C0F-49E4-886F-FBA68A5E26D2}"/>
                </a:ext>
              </a:extLst>
            </p:cNvPr>
            <p:cNvSpPr/>
            <p:nvPr/>
          </p:nvSpPr>
          <p:spPr>
            <a:xfrm>
              <a:off x="720158" y="2273657"/>
              <a:ext cx="567582" cy="534047"/>
            </a:xfrm>
            <a:custGeom>
              <a:avLst/>
              <a:gdLst>
                <a:gd name="connsiteX0" fmla="*/ 565421 w 567582"/>
                <a:gd name="connsiteY0" fmla="*/ 532395 h 534047"/>
                <a:gd name="connsiteX1" fmla="*/ 567392 w 567582"/>
                <a:gd name="connsiteY1" fmla="*/ 532204 h 534047"/>
                <a:gd name="connsiteX2" fmla="*/ 567583 w 567582"/>
                <a:gd name="connsiteY2" fmla="*/ 532395 h 534047"/>
                <a:gd name="connsiteX3" fmla="*/ 566820 w 567582"/>
                <a:gd name="connsiteY3" fmla="*/ 531632 h 534047"/>
                <a:gd name="connsiteX4" fmla="*/ 0 w 567582"/>
                <a:gd name="connsiteY4" fmla="*/ 0 h 534047"/>
                <a:gd name="connsiteX5" fmla="*/ 0 w 567582"/>
                <a:gd name="connsiteY5" fmla="*/ 0 h 534047"/>
                <a:gd name="connsiteX6" fmla="*/ 0 w 567582"/>
                <a:gd name="connsiteY6" fmla="*/ 3814 h 534047"/>
                <a:gd name="connsiteX7" fmla="*/ 565421 w 567582"/>
                <a:gd name="connsiteY7" fmla="*/ 534047 h 534047"/>
                <a:gd name="connsiteX8" fmla="*/ 566057 w 567582"/>
                <a:gd name="connsiteY8" fmla="*/ 534047 h 534047"/>
                <a:gd name="connsiteX9" fmla="*/ 565421 w 567582"/>
                <a:gd name="connsiteY9" fmla="*/ 532395 h 53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82" h="534047">
                  <a:moveTo>
                    <a:pt x="565421" y="532395"/>
                  </a:moveTo>
                  <a:cubicBezTo>
                    <a:pt x="565917" y="531797"/>
                    <a:pt x="566794" y="531708"/>
                    <a:pt x="567392" y="532204"/>
                  </a:cubicBezTo>
                  <a:cubicBezTo>
                    <a:pt x="567455" y="532255"/>
                    <a:pt x="567519" y="532319"/>
                    <a:pt x="567583" y="532395"/>
                  </a:cubicBezTo>
                  <a:lnTo>
                    <a:pt x="566820" y="531632"/>
                  </a:lnTo>
                  <a:lnTo>
                    <a:pt x="0" y="0"/>
                  </a:lnTo>
                  <a:lnTo>
                    <a:pt x="0" y="0"/>
                  </a:lnTo>
                  <a:lnTo>
                    <a:pt x="0" y="3814"/>
                  </a:lnTo>
                  <a:lnTo>
                    <a:pt x="565421" y="534047"/>
                  </a:lnTo>
                  <a:lnTo>
                    <a:pt x="566057" y="534047"/>
                  </a:lnTo>
                  <a:cubicBezTo>
                    <a:pt x="565548" y="533666"/>
                    <a:pt x="565294" y="533018"/>
                    <a:pt x="565421" y="532395"/>
                  </a:cubicBezTo>
                  <a:close/>
                </a:path>
              </a:pathLst>
            </a:custGeom>
            <a:solidFill>
              <a:srgbClr val="000000"/>
            </a:solidFill>
            <a:ln w="12685"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EEEBD762-A4DA-4A1B-A497-428075A0A0AD}"/>
                </a:ext>
              </a:extLst>
            </p:cNvPr>
            <p:cNvSpPr/>
            <p:nvPr/>
          </p:nvSpPr>
          <p:spPr>
            <a:xfrm>
              <a:off x="1863333" y="2105091"/>
              <a:ext cx="141132" cy="142251"/>
            </a:xfrm>
            <a:custGeom>
              <a:avLst/>
              <a:gdLst>
                <a:gd name="connsiteX0" fmla="*/ 141133 w 141132"/>
                <a:gd name="connsiteY0" fmla="*/ 120259 h 142251"/>
                <a:gd name="connsiteX1" fmla="*/ 2161 w 141132"/>
                <a:gd name="connsiteY1" fmla="*/ 0 h 142251"/>
                <a:gd name="connsiteX2" fmla="*/ 1653 w 141132"/>
                <a:gd name="connsiteY2" fmla="*/ 4958 h 142251"/>
                <a:gd name="connsiteX3" fmla="*/ 0 w 141132"/>
                <a:gd name="connsiteY3" fmla="*/ 22247 h 142251"/>
                <a:gd name="connsiteX4" fmla="*/ 138717 w 141132"/>
                <a:gd name="connsiteY4" fmla="*/ 142252 h 142251"/>
                <a:gd name="connsiteX5" fmla="*/ 139353 w 141132"/>
                <a:gd name="connsiteY5" fmla="*/ 137294 h 142251"/>
                <a:gd name="connsiteX6" fmla="*/ 141133 w 141132"/>
                <a:gd name="connsiteY6" fmla="*/ 120259 h 14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32" h="142251">
                  <a:moveTo>
                    <a:pt x="141133" y="120259"/>
                  </a:moveTo>
                  <a:lnTo>
                    <a:pt x="2161" y="0"/>
                  </a:lnTo>
                  <a:lnTo>
                    <a:pt x="1653" y="4958"/>
                  </a:lnTo>
                  <a:lnTo>
                    <a:pt x="0" y="22247"/>
                  </a:lnTo>
                  <a:lnTo>
                    <a:pt x="138717" y="142252"/>
                  </a:lnTo>
                  <a:lnTo>
                    <a:pt x="139353" y="137294"/>
                  </a:lnTo>
                  <a:lnTo>
                    <a:pt x="141133" y="120259"/>
                  </a:lnTo>
                  <a:close/>
                </a:path>
              </a:pathLst>
            </a:custGeom>
            <a:solidFill>
              <a:srgbClr val="000000"/>
            </a:solidFill>
            <a:ln w="12685"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DFA1F8D2-19A4-4212-ADC9-6208F80DE2D1}"/>
                </a:ext>
              </a:extLst>
            </p:cNvPr>
            <p:cNvSpPr/>
            <p:nvPr/>
          </p:nvSpPr>
          <p:spPr>
            <a:xfrm>
              <a:off x="1285884" y="2805540"/>
              <a:ext cx="77222" cy="72785"/>
            </a:xfrm>
            <a:custGeom>
              <a:avLst/>
              <a:gdLst>
                <a:gd name="connsiteX0" fmla="*/ 74584 w 77222"/>
                <a:gd name="connsiteY0" fmla="*/ 72337 h 72785"/>
                <a:gd name="connsiteX1" fmla="*/ 76746 w 77222"/>
                <a:gd name="connsiteY1" fmla="*/ 72337 h 72785"/>
                <a:gd name="connsiteX2" fmla="*/ 76746 w 77222"/>
                <a:gd name="connsiteY2" fmla="*/ 72337 h 72785"/>
                <a:gd name="connsiteX3" fmla="*/ 76746 w 77222"/>
                <a:gd name="connsiteY3" fmla="*/ 69922 h 72785"/>
                <a:gd name="connsiteX4" fmla="*/ 75983 w 77222"/>
                <a:gd name="connsiteY4" fmla="*/ 69286 h 72785"/>
                <a:gd name="connsiteX5" fmla="*/ 4399 w 77222"/>
                <a:gd name="connsiteY5" fmla="*/ 2165 h 72785"/>
                <a:gd name="connsiteX6" fmla="*/ 2619 w 77222"/>
                <a:gd name="connsiteY6" fmla="*/ 512 h 72785"/>
                <a:gd name="connsiteX7" fmla="*/ 648 w 77222"/>
                <a:gd name="connsiteY7" fmla="*/ 321 h 72785"/>
                <a:gd name="connsiteX8" fmla="*/ 458 w 77222"/>
                <a:gd name="connsiteY8" fmla="*/ 512 h 72785"/>
                <a:gd name="connsiteX9" fmla="*/ 458 w 77222"/>
                <a:gd name="connsiteY9" fmla="*/ 2800 h 72785"/>
                <a:gd name="connsiteX10" fmla="*/ 2746 w 77222"/>
                <a:gd name="connsiteY10" fmla="*/ 4961 h 72785"/>
                <a:gd name="connsiteX11" fmla="*/ 73948 w 77222"/>
                <a:gd name="connsiteY11" fmla="*/ 71701 h 7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22" h="72785">
                  <a:moveTo>
                    <a:pt x="74584" y="72337"/>
                  </a:moveTo>
                  <a:cubicBezTo>
                    <a:pt x="75182" y="72935"/>
                    <a:pt x="76148" y="72935"/>
                    <a:pt x="76746" y="72337"/>
                  </a:cubicBezTo>
                  <a:cubicBezTo>
                    <a:pt x="76746" y="72337"/>
                    <a:pt x="76746" y="72337"/>
                    <a:pt x="76746" y="72337"/>
                  </a:cubicBezTo>
                  <a:cubicBezTo>
                    <a:pt x="77381" y="71651"/>
                    <a:pt x="77381" y="70608"/>
                    <a:pt x="76746" y="69922"/>
                  </a:cubicBezTo>
                  <a:lnTo>
                    <a:pt x="75983" y="69286"/>
                  </a:lnTo>
                  <a:lnTo>
                    <a:pt x="4399" y="2165"/>
                  </a:lnTo>
                  <a:lnTo>
                    <a:pt x="2619" y="512"/>
                  </a:lnTo>
                  <a:cubicBezTo>
                    <a:pt x="2123" y="-85"/>
                    <a:pt x="1246" y="-174"/>
                    <a:pt x="648" y="321"/>
                  </a:cubicBezTo>
                  <a:cubicBezTo>
                    <a:pt x="585" y="372"/>
                    <a:pt x="521" y="436"/>
                    <a:pt x="458" y="512"/>
                  </a:cubicBezTo>
                  <a:cubicBezTo>
                    <a:pt x="-153" y="1148"/>
                    <a:pt x="-153" y="2165"/>
                    <a:pt x="458" y="2800"/>
                  </a:cubicBezTo>
                  <a:lnTo>
                    <a:pt x="2746" y="4961"/>
                  </a:lnTo>
                  <a:lnTo>
                    <a:pt x="73948" y="71701"/>
                  </a:lnTo>
                  <a:close/>
                </a:path>
              </a:pathLst>
            </a:custGeom>
            <a:solidFill>
              <a:srgbClr val="000000"/>
            </a:solidFill>
            <a:ln w="12685"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C0035669-57CC-4DBD-9F13-C25935454025}"/>
                </a:ext>
              </a:extLst>
            </p:cNvPr>
            <p:cNvSpPr/>
            <p:nvPr/>
          </p:nvSpPr>
          <p:spPr>
            <a:xfrm>
              <a:off x="3305" y="4907538"/>
              <a:ext cx="709859" cy="371328"/>
            </a:xfrm>
            <a:custGeom>
              <a:avLst/>
              <a:gdLst>
                <a:gd name="connsiteX0" fmla="*/ 708715 w 709859"/>
                <a:gd name="connsiteY0" fmla="*/ 1653 h 371328"/>
                <a:gd name="connsiteX1" fmla="*/ 708715 w 709859"/>
                <a:gd name="connsiteY1" fmla="*/ 1653 h 371328"/>
                <a:gd name="connsiteX2" fmla="*/ 708715 w 709859"/>
                <a:gd name="connsiteY2" fmla="*/ 1653 h 371328"/>
                <a:gd name="connsiteX3" fmla="*/ 708715 w 709859"/>
                <a:gd name="connsiteY3" fmla="*/ 1017 h 371328"/>
                <a:gd name="connsiteX4" fmla="*/ 708715 w 709859"/>
                <a:gd name="connsiteY4" fmla="*/ 1017 h 371328"/>
                <a:gd name="connsiteX5" fmla="*/ 708715 w 709859"/>
                <a:gd name="connsiteY5" fmla="*/ 0 h 371328"/>
                <a:gd name="connsiteX6" fmla="*/ 707698 w 709859"/>
                <a:gd name="connsiteY6" fmla="*/ 635 h 371328"/>
                <a:gd name="connsiteX7" fmla="*/ 0 w 709859"/>
                <a:gd name="connsiteY7" fmla="*/ 367642 h 371328"/>
                <a:gd name="connsiteX8" fmla="*/ 0 w 709859"/>
                <a:gd name="connsiteY8" fmla="*/ 371329 h 371328"/>
                <a:gd name="connsiteX9" fmla="*/ 709860 w 709859"/>
                <a:gd name="connsiteY9" fmla="*/ 2669 h 37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859" h="371328">
                  <a:moveTo>
                    <a:pt x="708715" y="1653"/>
                  </a:moveTo>
                  <a:lnTo>
                    <a:pt x="708715" y="1653"/>
                  </a:lnTo>
                  <a:lnTo>
                    <a:pt x="708715" y="1653"/>
                  </a:lnTo>
                  <a:cubicBezTo>
                    <a:pt x="708715" y="1653"/>
                    <a:pt x="708715" y="1653"/>
                    <a:pt x="708715" y="1017"/>
                  </a:cubicBezTo>
                  <a:lnTo>
                    <a:pt x="708715" y="1017"/>
                  </a:lnTo>
                  <a:lnTo>
                    <a:pt x="708715" y="0"/>
                  </a:lnTo>
                  <a:lnTo>
                    <a:pt x="707698" y="635"/>
                  </a:lnTo>
                  <a:lnTo>
                    <a:pt x="0" y="367642"/>
                  </a:lnTo>
                  <a:lnTo>
                    <a:pt x="0" y="371329"/>
                  </a:lnTo>
                  <a:lnTo>
                    <a:pt x="709860" y="2669"/>
                  </a:lnTo>
                  <a:close/>
                </a:path>
              </a:pathLst>
            </a:custGeom>
            <a:solidFill>
              <a:srgbClr val="000000"/>
            </a:solidFill>
            <a:ln w="12685"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0FBDFE75-6D59-4E05-A45B-4386BCF264C1}"/>
                </a:ext>
              </a:extLst>
            </p:cNvPr>
            <p:cNvSpPr/>
            <p:nvPr/>
          </p:nvSpPr>
          <p:spPr>
            <a:xfrm>
              <a:off x="711899" y="4270774"/>
              <a:ext cx="31018" cy="637271"/>
            </a:xfrm>
            <a:custGeom>
              <a:avLst/>
              <a:gdLst>
                <a:gd name="connsiteX0" fmla="*/ 2792 w 31018"/>
                <a:gd name="connsiteY0" fmla="*/ 636128 h 637271"/>
                <a:gd name="connsiteX1" fmla="*/ 2792 w 31018"/>
                <a:gd name="connsiteY1" fmla="*/ 636128 h 637271"/>
                <a:gd name="connsiteX2" fmla="*/ 2792 w 31018"/>
                <a:gd name="connsiteY2" fmla="*/ 634094 h 637271"/>
                <a:gd name="connsiteX3" fmla="*/ 31019 w 31018"/>
                <a:gd name="connsiteY3" fmla="*/ 1017 h 637271"/>
                <a:gd name="connsiteX4" fmla="*/ 31019 w 31018"/>
                <a:gd name="connsiteY4" fmla="*/ 0 h 637271"/>
                <a:gd name="connsiteX5" fmla="*/ 31019 w 31018"/>
                <a:gd name="connsiteY5" fmla="*/ 635 h 637271"/>
                <a:gd name="connsiteX6" fmla="*/ 31019 w 31018"/>
                <a:gd name="connsiteY6" fmla="*/ 635 h 637271"/>
                <a:gd name="connsiteX7" fmla="*/ 31019 w 31018"/>
                <a:gd name="connsiteY7" fmla="*/ 635 h 637271"/>
                <a:gd name="connsiteX8" fmla="*/ 31019 w 31018"/>
                <a:gd name="connsiteY8" fmla="*/ 635 h 637271"/>
                <a:gd name="connsiteX9" fmla="*/ 31019 w 31018"/>
                <a:gd name="connsiteY9" fmla="*/ 635 h 637271"/>
                <a:gd name="connsiteX10" fmla="*/ 31019 w 31018"/>
                <a:gd name="connsiteY10" fmla="*/ 635 h 637271"/>
                <a:gd name="connsiteX11" fmla="*/ 30383 w 31018"/>
                <a:gd name="connsiteY11" fmla="*/ 635 h 637271"/>
                <a:gd name="connsiteX12" fmla="*/ 30383 w 31018"/>
                <a:gd name="connsiteY12" fmla="*/ 635 h 637271"/>
                <a:gd name="connsiteX13" fmla="*/ 30383 w 31018"/>
                <a:gd name="connsiteY13" fmla="*/ 635 h 637271"/>
                <a:gd name="connsiteX14" fmla="*/ 122 w 31018"/>
                <a:gd name="connsiteY14" fmla="*/ 633331 h 637271"/>
                <a:gd name="connsiteX15" fmla="*/ 122 w 31018"/>
                <a:gd name="connsiteY15" fmla="*/ 637272 h 637271"/>
                <a:gd name="connsiteX16" fmla="*/ 122 w 31018"/>
                <a:gd name="connsiteY16" fmla="*/ 637272 h 637271"/>
                <a:gd name="connsiteX17" fmla="*/ 122 w 31018"/>
                <a:gd name="connsiteY17" fmla="*/ 636128 h 637271"/>
                <a:gd name="connsiteX18" fmla="*/ 2196 w 31018"/>
                <a:gd name="connsiteY18" fmla="*/ 635530 h 637271"/>
                <a:gd name="connsiteX19" fmla="*/ 2792 w 31018"/>
                <a:gd name="connsiteY19" fmla="*/ 636128 h 63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018" h="637271">
                  <a:moveTo>
                    <a:pt x="2792" y="636128"/>
                  </a:moveTo>
                  <a:lnTo>
                    <a:pt x="2792" y="636128"/>
                  </a:lnTo>
                  <a:lnTo>
                    <a:pt x="2792" y="634094"/>
                  </a:lnTo>
                  <a:lnTo>
                    <a:pt x="31019" y="1017"/>
                  </a:lnTo>
                  <a:lnTo>
                    <a:pt x="31019" y="0"/>
                  </a:lnTo>
                  <a:cubicBezTo>
                    <a:pt x="31019" y="0"/>
                    <a:pt x="31019" y="0"/>
                    <a:pt x="31019" y="635"/>
                  </a:cubicBezTo>
                  <a:cubicBezTo>
                    <a:pt x="31019" y="1271"/>
                    <a:pt x="31019" y="635"/>
                    <a:pt x="31019" y="635"/>
                  </a:cubicBezTo>
                  <a:lnTo>
                    <a:pt x="31019" y="635"/>
                  </a:lnTo>
                  <a:lnTo>
                    <a:pt x="31019" y="635"/>
                  </a:lnTo>
                  <a:lnTo>
                    <a:pt x="31019" y="635"/>
                  </a:lnTo>
                  <a:lnTo>
                    <a:pt x="31019" y="635"/>
                  </a:lnTo>
                  <a:cubicBezTo>
                    <a:pt x="31019" y="635"/>
                    <a:pt x="31019" y="635"/>
                    <a:pt x="30383" y="635"/>
                  </a:cubicBezTo>
                  <a:lnTo>
                    <a:pt x="30383" y="635"/>
                  </a:lnTo>
                  <a:lnTo>
                    <a:pt x="30383" y="635"/>
                  </a:lnTo>
                  <a:lnTo>
                    <a:pt x="122" y="633331"/>
                  </a:lnTo>
                  <a:lnTo>
                    <a:pt x="122" y="637272"/>
                  </a:lnTo>
                  <a:lnTo>
                    <a:pt x="122" y="637272"/>
                  </a:lnTo>
                  <a:cubicBezTo>
                    <a:pt x="-41" y="636903"/>
                    <a:pt x="-41" y="636497"/>
                    <a:pt x="122" y="636128"/>
                  </a:cubicBezTo>
                  <a:cubicBezTo>
                    <a:pt x="530" y="635391"/>
                    <a:pt x="1458" y="635124"/>
                    <a:pt x="2196" y="635530"/>
                  </a:cubicBezTo>
                  <a:cubicBezTo>
                    <a:pt x="2446" y="635670"/>
                    <a:pt x="2654" y="635874"/>
                    <a:pt x="2792" y="636128"/>
                  </a:cubicBezTo>
                  <a:close/>
                </a:path>
              </a:pathLst>
            </a:custGeom>
            <a:solidFill>
              <a:srgbClr val="000000"/>
            </a:solidFill>
            <a:ln w="12685"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4DE4F9DD-C6C9-4E7B-942D-5A8155432E9A}"/>
                </a:ext>
              </a:extLst>
            </p:cNvPr>
            <p:cNvSpPr/>
            <p:nvPr/>
          </p:nvSpPr>
          <p:spPr>
            <a:xfrm>
              <a:off x="1154109" y="3950930"/>
              <a:ext cx="25175" cy="109707"/>
            </a:xfrm>
            <a:custGeom>
              <a:avLst/>
              <a:gdLst>
                <a:gd name="connsiteX0" fmla="*/ 25175 w 25175"/>
                <a:gd name="connsiteY0" fmla="*/ 0 h 109707"/>
                <a:gd name="connsiteX1" fmla="*/ 22886 w 25175"/>
                <a:gd name="connsiteY1" fmla="*/ 6102 h 109707"/>
                <a:gd name="connsiteX2" fmla="*/ 10858 w 25175"/>
                <a:gd name="connsiteY2" fmla="*/ 6788 h 109707"/>
                <a:gd name="connsiteX3" fmla="*/ 10172 w 25175"/>
                <a:gd name="connsiteY3" fmla="*/ 6102 h 109707"/>
                <a:gd name="connsiteX4" fmla="*/ 9027 w 25175"/>
                <a:gd name="connsiteY4" fmla="*/ 4958 h 109707"/>
                <a:gd name="connsiteX5" fmla="*/ 6993 w 25175"/>
                <a:gd name="connsiteY5" fmla="*/ 5848 h 109707"/>
                <a:gd name="connsiteX6" fmla="*/ 0 w 25175"/>
                <a:gd name="connsiteY6" fmla="*/ 108437 h 109707"/>
                <a:gd name="connsiteX7" fmla="*/ 9392 w 25175"/>
                <a:gd name="connsiteY7" fmla="*/ 99792 h 109707"/>
                <a:gd name="connsiteX8" fmla="*/ 9409 w 25175"/>
                <a:gd name="connsiteY8" fmla="*/ 99792 h 109707"/>
                <a:gd name="connsiteX9" fmla="*/ 17673 w 25175"/>
                <a:gd name="connsiteY9" fmla="*/ 109708 h 109707"/>
                <a:gd name="connsiteX10" fmla="*/ 25175 w 25175"/>
                <a:gd name="connsiteY10" fmla="*/ 127 h 109707"/>
                <a:gd name="connsiteX11" fmla="*/ 25175 w 25175"/>
                <a:gd name="connsiteY11" fmla="*/ 0 h 10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5" h="109707">
                  <a:moveTo>
                    <a:pt x="25175" y="0"/>
                  </a:moveTo>
                  <a:cubicBezTo>
                    <a:pt x="25187" y="2250"/>
                    <a:pt x="24373" y="4424"/>
                    <a:pt x="22886" y="6102"/>
                  </a:cubicBezTo>
                  <a:cubicBezTo>
                    <a:pt x="19755" y="9610"/>
                    <a:pt x="14370" y="9916"/>
                    <a:pt x="10858" y="6788"/>
                  </a:cubicBezTo>
                  <a:cubicBezTo>
                    <a:pt x="10617" y="6572"/>
                    <a:pt x="10388" y="6343"/>
                    <a:pt x="10172" y="6102"/>
                  </a:cubicBezTo>
                  <a:lnTo>
                    <a:pt x="9027" y="4958"/>
                  </a:lnTo>
                  <a:lnTo>
                    <a:pt x="6993" y="5848"/>
                  </a:lnTo>
                  <a:lnTo>
                    <a:pt x="0" y="108437"/>
                  </a:lnTo>
                  <a:cubicBezTo>
                    <a:pt x="206" y="103453"/>
                    <a:pt x="4411" y="99589"/>
                    <a:pt x="9392" y="99792"/>
                  </a:cubicBezTo>
                  <a:cubicBezTo>
                    <a:pt x="9397" y="99792"/>
                    <a:pt x="9404" y="99792"/>
                    <a:pt x="9409" y="99792"/>
                  </a:cubicBezTo>
                  <a:cubicBezTo>
                    <a:pt x="14388" y="100326"/>
                    <a:pt x="18045" y="104712"/>
                    <a:pt x="17673" y="109708"/>
                  </a:cubicBezTo>
                  <a:lnTo>
                    <a:pt x="25175" y="127"/>
                  </a:lnTo>
                  <a:cubicBezTo>
                    <a:pt x="25175" y="127"/>
                    <a:pt x="25175" y="127"/>
                    <a:pt x="25175" y="0"/>
                  </a:cubicBezTo>
                  <a:close/>
                </a:path>
              </a:pathLst>
            </a:custGeom>
            <a:solidFill>
              <a:srgbClr val="000000"/>
            </a:solidFill>
            <a:ln w="12685"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AB6C1102-F45E-4BA1-8DD6-F764BEB89FB7}"/>
                </a:ext>
              </a:extLst>
            </p:cNvPr>
            <p:cNvSpPr/>
            <p:nvPr/>
          </p:nvSpPr>
          <p:spPr>
            <a:xfrm>
              <a:off x="607020" y="3810331"/>
              <a:ext cx="434818" cy="221963"/>
            </a:xfrm>
            <a:custGeom>
              <a:avLst/>
              <a:gdLst>
                <a:gd name="connsiteX0" fmla="*/ 486 w 434818"/>
                <a:gd name="connsiteY0" fmla="*/ 216619 h 221963"/>
                <a:gd name="connsiteX1" fmla="*/ 11568 w 434818"/>
                <a:gd name="connsiteY1" fmla="*/ 221348 h 221963"/>
                <a:gd name="connsiteX2" fmla="*/ 12183 w 434818"/>
                <a:gd name="connsiteY2" fmla="*/ 221068 h 221963"/>
                <a:gd name="connsiteX3" fmla="*/ 13582 w 434818"/>
                <a:gd name="connsiteY3" fmla="*/ 221068 h 221963"/>
                <a:gd name="connsiteX4" fmla="*/ 16633 w 434818"/>
                <a:gd name="connsiteY4" fmla="*/ 219543 h 221963"/>
                <a:gd name="connsiteX5" fmla="*/ 16633 w 434818"/>
                <a:gd name="connsiteY5" fmla="*/ 219543 h 221963"/>
                <a:gd name="connsiteX6" fmla="*/ 433801 w 434818"/>
                <a:gd name="connsiteY6" fmla="*/ 14492 h 221963"/>
                <a:gd name="connsiteX7" fmla="*/ 434818 w 434818"/>
                <a:gd name="connsiteY7" fmla="*/ 13729 h 221963"/>
                <a:gd name="connsiteX8" fmla="*/ 429478 w 434818"/>
                <a:gd name="connsiteY8" fmla="*/ 15382 h 221963"/>
                <a:gd name="connsiteX9" fmla="*/ 421214 w 434818"/>
                <a:gd name="connsiteY9" fmla="*/ 5466 h 221963"/>
                <a:gd name="connsiteX10" fmla="*/ 421214 w 434818"/>
                <a:gd name="connsiteY10" fmla="*/ 0 h 221963"/>
                <a:gd name="connsiteX11" fmla="*/ 4681 w 434818"/>
                <a:gd name="connsiteY11" fmla="*/ 204288 h 221963"/>
                <a:gd name="connsiteX12" fmla="*/ 3664 w 434818"/>
                <a:gd name="connsiteY12" fmla="*/ 205051 h 221963"/>
                <a:gd name="connsiteX13" fmla="*/ 2138 w 434818"/>
                <a:gd name="connsiteY13" fmla="*/ 206195 h 221963"/>
                <a:gd name="connsiteX14" fmla="*/ 1248 w 434818"/>
                <a:gd name="connsiteY14" fmla="*/ 207593 h 221963"/>
                <a:gd name="connsiteX15" fmla="*/ 358 w 434818"/>
                <a:gd name="connsiteY15" fmla="*/ 209119 h 221963"/>
                <a:gd name="connsiteX16" fmla="*/ 358 w 434818"/>
                <a:gd name="connsiteY16" fmla="*/ 211026 h 221963"/>
                <a:gd name="connsiteX17" fmla="*/ 486 w 434818"/>
                <a:gd name="connsiteY17" fmla="*/ 216619 h 22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818" h="221963">
                  <a:moveTo>
                    <a:pt x="486" y="216619"/>
                  </a:moveTo>
                  <a:cubicBezTo>
                    <a:pt x="2240" y="220980"/>
                    <a:pt x="7201" y="223102"/>
                    <a:pt x="11568" y="221348"/>
                  </a:cubicBezTo>
                  <a:cubicBezTo>
                    <a:pt x="11776" y="221259"/>
                    <a:pt x="11981" y="221170"/>
                    <a:pt x="12183" y="221068"/>
                  </a:cubicBezTo>
                  <a:lnTo>
                    <a:pt x="13582" y="221068"/>
                  </a:lnTo>
                  <a:lnTo>
                    <a:pt x="16633" y="219543"/>
                  </a:lnTo>
                  <a:lnTo>
                    <a:pt x="16633" y="219543"/>
                  </a:lnTo>
                  <a:lnTo>
                    <a:pt x="433801" y="14492"/>
                  </a:lnTo>
                  <a:cubicBezTo>
                    <a:pt x="433801" y="14492"/>
                    <a:pt x="433801" y="14492"/>
                    <a:pt x="434818" y="13729"/>
                  </a:cubicBezTo>
                  <a:cubicBezTo>
                    <a:pt x="433300" y="14912"/>
                    <a:pt x="431401" y="15497"/>
                    <a:pt x="429478" y="15382"/>
                  </a:cubicBezTo>
                  <a:cubicBezTo>
                    <a:pt x="424499" y="14848"/>
                    <a:pt x="420842" y="10462"/>
                    <a:pt x="421214" y="5466"/>
                  </a:cubicBezTo>
                  <a:lnTo>
                    <a:pt x="421214" y="0"/>
                  </a:lnTo>
                  <a:lnTo>
                    <a:pt x="4681" y="204288"/>
                  </a:lnTo>
                  <a:cubicBezTo>
                    <a:pt x="4681" y="204288"/>
                    <a:pt x="4681" y="204288"/>
                    <a:pt x="3664" y="205051"/>
                  </a:cubicBezTo>
                  <a:lnTo>
                    <a:pt x="2138" y="206195"/>
                  </a:lnTo>
                  <a:lnTo>
                    <a:pt x="1248" y="207593"/>
                  </a:lnTo>
                  <a:cubicBezTo>
                    <a:pt x="905" y="208076"/>
                    <a:pt x="608" y="208585"/>
                    <a:pt x="358" y="209119"/>
                  </a:cubicBezTo>
                  <a:cubicBezTo>
                    <a:pt x="301" y="209755"/>
                    <a:pt x="301" y="210390"/>
                    <a:pt x="358" y="211026"/>
                  </a:cubicBezTo>
                  <a:cubicBezTo>
                    <a:pt x="-159" y="212856"/>
                    <a:pt x="-116" y="214814"/>
                    <a:pt x="486" y="216619"/>
                  </a:cubicBezTo>
                  <a:close/>
                </a:path>
              </a:pathLst>
            </a:custGeom>
            <a:solidFill>
              <a:srgbClr val="000000"/>
            </a:solidFill>
            <a:ln w="12685"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7004A35B-D8BA-4434-AA06-648426E57764}"/>
                </a:ext>
              </a:extLst>
            </p:cNvPr>
            <p:cNvSpPr/>
            <p:nvPr/>
          </p:nvSpPr>
          <p:spPr>
            <a:xfrm>
              <a:off x="747113" y="3954362"/>
              <a:ext cx="416150" cy="208610"/>
            </a:xfrm>
            <a:custGeom>
              <a:avLst/>
              <a:gdLst>
                <a:gd name="connsiteX0" fmla="*/ 414498 w 416150"/>
                <a:gd name="connsiteY0" fmla="*/ 0 h 208610"/>
                <a:gd name="connsiteX1" fmla="*/ 413735 w 416150"/>
                <a:gd name="connsiteY1" fmla="*/ 0 h 208610"/>
                <a:gd name="connsiteX2" fmla="*/ 0 w 416150"/>
                <a:gd name="connsiteY2" fmla="*/ 205178 h 208610"/>
                <a:gd name="connsiteX3" fmla="*/ 763 w 416150"/>
                <a:gd name="connsiteY3" fmla="*/ 206068 h 208610"/>
                <a:gd name="connsiteX4" fmla="*/ 763 w 416150"/>
                <a:gd name="connsiteY4" fmla="*/ 206068 h 208610"/>
                <a:gd name="connsiteX5" fmla="*/ 763 w 416150"/>
                <a:gd name="connsiteY5" fmla="*/ 206068 h 208610"/>
                <a:gd name="connsiteX6" fmla="*/ 763 w 416150"/>
                <a:gd name="connsiteY6" fmla="*/ 206830 h 208610"/>
                <a:gd name="connsiteX7" fmla="*/ 763 w 416150"/>
                <a:gd name="connsiteY7" fmla="*/ 206830 h 208610"/>
                <a:gd name="connsiteX8" fmla="*/ 763 w 416150"/>
                <a:gd name="connsiteY8" fmla="*/ 208610 h 208610"/>
                <a:gd name="connsiteX9" fmla="*/ 414117 w 416150"/>
                <a:gd name="connsiteY9" fmla="*/ 2669 h 208610"/>
                <a:gd name="connsiteX10" fmla="*/ 416151 w 416150"/>
                <a:gd name="connsiteY10" fmla="*/ 1780 h 20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150" h="208610">
                  <a:moveTo>
                    <a:pt x="414498" y="0"/>
                  </a:moveTo>
                  <a:lnTo>
                    <a:pt x="413735" y="0"/>
                  </a:lnTo>
                  <a:lnTo>
                    <a:pt x="0" y="205178"/>
                  </a:lnTo>
                  <a:lnTo>
                    <a:pt x="763" y="206068"/>
                  </a:lnTo>
                  <a:lnTo>
                    <a:pt x="763" y="206068"/>
                  </a:lnTo>
                  <a:lnTo>
                    <a:pt x="763" y="206068"/>
                  </a:lnTo>
                  <a:cubicBezTo>
                    <a:pt x="818" y="206322"/>
                    <a:pt x="818" y="206576"/>
                    <a:pt x="763" y="206830"/>
                  </a:cubicBezTo>
                  <a:lnTo>
                    <a:pt x="763" y="206830"/>
                  </a:lnTo>
                  <a:lnTo>
                    <a:pt x="763" y="208610"/>
                  </a:lnTo>
                  <a:lnTo>
                    <a:pt x="414117" y="2669"/>
                  </a:lnTo>
                  <a:lnTo>
                    <a:pt x="416151" y="1780"/>
                  </a:lnTo>
                  <a:close/>
                </a:path>
              </a:pathLst>
            </a:custGeom>
            <a:solidFill>
              <a:srgbClr val="000000"/>
            </a:solidFill>
            <a:ln w="12685"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4FBB5071-A82F-4B1B-8F17-4E3D2DB0418F}"/>
                </a:ext>
              </a:extLst>
            </p:cNvPr>
            <p:cNvSpPr/>
            <p:nvPr/>
          </p:nvSpPr>
          <p:spPr>
            <a:xfrm>
              <a:off x="743172" y="4271282"/>
              <a:ext cx="28" cy="635"/>
            </a:xfrm>
            <a:custGeom>
              <a:avLst/>
              <a:gdLst>
                <a:gd name="connsiteX0" fmla="*/ 0 w 28"/>
                <a:gd name="connsiteY0" fmla="*/ 636 h 635"/>
                <a:gd name="connsiteX1" fmla="*/ 0 w 28"/>
                <a:gd name="connsiteY1" fmla="*/ 0 h 635"/>
                <a:gd name="connsiteX2" fmla="*/ 0 w 28"/>
                <a:gd name="connsiteY2" fmla="*/ 0 h 635"/>
                <a:gd name="connsiteX3" fmla="*/ 0 w 28"/>
                <a:gd name="connsiteY3" fmla="*/ 636 h 635"/>
              </a:gdLst>
              <a:ahLst/>
              <a:cxnLst>
                <a:cxn ang="0">
                  <a:pos x="connsiteX0" y="connsiteY0"/>
                </a:cxn>
                <a:cxn ang="0">
                  <a:pos x="connsiteX1" y="connsiteY1"/>
                </a:cxn>
                <a:cxn ang="0">
                  <a:pos x="connsiteX2" y="connsiteY2"/>
                </a:cxn>
                <a:cxn ang="0">
                  <a:pos x="connsiteX3" y="connsiteY3"/>
                </a:cxn>
              </a:cxnLst>
              <a:rect l="l" t="t" r="r" b="b"/>
              <a:pathLst>
                <a:path w="28" h="635">
                  <a:moveTo>
                    <a:pt x="0" y="636"/>
                  </a:moveTo>
                  <a:cubicBezTo>
                    <a:pt x="0" y="636"/>
                    <a:pt x="0" y="636"/>
                    <a:pt x="0" y="0"/>
                  </a:cubicBezTo>
                  <a:lnTo>
                    <a:pt x="0" y="0"/>
                  </a:lnTo>
                  <a:cubicBezTo>
                    <a:pt x="38" y="216"/>
                    <a:pt x="38" y="420"/>
                    <a:pt x="0" y="636"/>
                  </a:cubicBezTo>
                  <a:close/>
                </a:path>
              </a:pathLst>
            </a:custGeom>
            <a:solidFill>
              <a:srgbClr val="000000"/>
            </a:solidFill>
            <a:ln w="12685"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C9794159-733F-404E-A6EE-97F073542F72}"/>
                </a:ext>
              </a:extLst>
            </p:cNvPr>
            <p:cNvSpPr/>
            <p:nvPr/>
          </p:nvSpPr>
          <p:spPr>
            <a:xfrm>
              <a:off x="741773" y="427280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FC9BD568-293E-4E03-A804-DA73306103B6}"/>
                </a:ext>
              </a:extLst>
            </p:cNvPr>
            <p:cNvSpPr/>
            <p:nvPr/>
          </p:nvSpPr>
          <p:spPr>
            <a:xfrm>
              <a:off x="741264" y="4161701"/>
              <a:ext cx="7247" cy="110089"/>
            </a:xfrm>
            <a:custGeom>
              <a:avLst/>
              <a:gdLst>
                <a:gd name="connsiteX0" fmla="*/ 6993 w 7247"/>
                <a:gd name="connsiteY0" fmla="*/ 0 h 110089"/>
                <a:gd name="connsiteX1" fmla="*/ 6993 w 7247"/>
                <a:gd name="connsiteY1" fmla="*/ 0 h 110089"/>
                <a:gd name="connsiteX2" fmla="*/ 6993 w 7247"/>
                <a:gd name="connsiteY2" fmla="*/ 1144 h 110089"/>
                <a:gd name="connsiteX3" fmla="*/ 4704 w 7247"/>
                <a:gd name="connsiteY3" fmla="*/ 1144 h 110089"/>
                <a:gd name="connsiteX4" fmla="*/ 4704 w 7247"/>
                <a:gd name="connsiteY4" fmla="*/ 1144 h 110089"/>
                <a:gd name="connsiteX5" fmla="*/ 0 w 7247"/>
                <a:gd name="connsiteY5" fmla="*/ 106276 h 110089"/>
                <a:gd name="connsiteX6" fmla="*/ 2543 w 7247"/>
                <a:gd name="connsiteY6" fmla="*/ 108945 h 110089"/>
                <a:gd name="connsiteX7" fmla="*/ 2543 w 7247"/>
                <a:gd name="connsiteY7" fmla="*/ 110089 h 110089"/>
                <a:gd name="connsiteX8" fmla="*/ 2543 w 7247"/>
                <a:gd name="connsiteY8" fmla="*/ 107420 h 110089"/>
                <a:gd name="connsiteX9" fmla="*/ 7247 w 7247"/>
                <a:gd name="connsiteY9" fmla="*/ 1525 h 1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7" h="110089">
                  <a:moveTo>
                    <a:pt x="6993" y="0"/>
                  </a:moveTo>
                  <a:lnTo>
                    <a:pt x="6993" y="0"/>
                  </a:lnTo>
                  <a:cubicBezTo>
                    <a:pt x="7119" y="369"/>
                    <a:pt x="7119" y="776"/>
                    <a:pt x="6993" y="1144"/>
                  </a:cubicBezTo>
                  <a:cubicBezTo>
                    <a:pt x="6354" y="1754"/>
                    <a:pt x="5344" y="1754"/>
                    <a:pt x="4704" y="1144"/>
                  </a:cubicBezTo>
                  <a:lnTo>
                    <a:pt x="4704" y="1144"/>
                  </a:lnTo>
                  <a:lnTo>
                    <a:pt x="0" y="106276"/>
                  </a:lnTo>
                  <a:lnTo>
                    <a:pt x="2543" y="108945"/>
                  </a:lnTo>
                  <a:cubicBezTo>
                    <a:pt x="2652" y="109314"/>
                    <a:pt x="2652" y="109721"/>
                    <a:pt x="2543" y="110089"/>
                  </a:cubicBezTo>
                  <a:lnTo>
                    <a:pt x="2543" y="107420"/>
                  </a:lnTo>
                  <a:lnTo>
                    <a:pt x="7247" y="1525"/>
                  </a:lnTo>
                  <a:close/>
                </a:path>
              </a:pathLst>
            </a:custGeom>
            <a:solidFill>
              <a:srgbClr val="000000"/>
            </a:solidFill>
            <a:ln w="12685"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0C275653-9E30-450E-A36C-E6B3D04CB1A8}"/>
                </a:ext>
              </a:extLst>
            </p:cNvPr>
            <p:cNvSpPr/>
            <p:nvPr/>
          </p:nvSpPr>
          <p:spPr>
            <a:xfrm>
              <a:off x="723591" y="4249036"/>
              <a:ext cx="20384" cy="22119"/>
            </a:xfrm>
            <a:custGeom>
              <a:avLst/>
              <a:gdLst>
                <a:gd name="connsiteX0" fmla="*/ 19835 w 20384"/>
                <a:gd name="connsiteY0" fmla="*/ 22120 h 22119"/>
                <a:gd name="connsiteX1" fmla="*/ 19835 w 20384"/>
                <a:gd name="connsiteY1" fmla="*/ 20976 h 22119"/>
                <a:gd name="connsiteX2" fmla="*/ 17292 w 20384"/>
                <a:gd name="connsiteY2" fmla="*/ 18306 h 22119"/>
                <a:gd name="connsiteX3" fmla="*/ 0 w 20384"/>
                <a:gd name="connsiteY3" fmla="*/ 0 h 22119"/>
                <a:gd name="connsiteX4" fmla="*/ 0 w 20384"/>
                <a:gd name="connsiteY4" fmla="*/ 636 h 22119"/>
                <a:gd name="connsiteX5" fmla="*/ 0 w 20384"/>
                <a:gd name="connsiteY5" fmla="*/ 636 h 22119"/>
                <a:gd name="connsiteX6" fmla="*/ 0 w 20384"/>
                <a:gd name="connsiteY6" fmla="*/ 1271 h 22119"/>
                <a:gd name="connsiteX7" fmla="*/ 0 w 20384"/>
                <a:gd name="connsiteY7" fmla="*/ 1271 h 22119"/>
                <a:gd name="connsiteX8" fmla="*/ 0 w 20384"/>
                <a:gd name="connsiteY8" fmla="*/ 1271 h 22119"/>
                <a:gd name="connsiteX9" fmla="*/ 0 w 20384"/>
                <a:gd name="connsiteY9" fmla="*/ 1271 h 22119"/>
                <a:gd name="connsiteX10" fmla="*/ 0 w 20384"/>
                <a:gd name="connsiteY10" fmla="*/ 1271 h 22119"/>
                <a:gd name="connsiteX11" fmla="*/ 0 w 20384"/>
                <a:gd name="connsiteY11" fmla="*/ 1271 h 22119"/>
                <a:gd name="connsiteX12" fmla="*/ 19708 w 20384"/>
                <a:gd name="connsiteY12" fmla="*/ 22120 h 22119"/>
                <a:gd name="connsiteX13" fmla="*/ 19708 w 20384"/>
                <a:gd name="connsiteY13" fmla="*/ 22120 h 22119"/>
                <a:gd name="connsiteX14" fmla="*/ 19708 w 20384"/>
                <a:gd name="connsiteY14" fmla="*/ 22120 h 22119"/>
                <a:gd name="connsiteX15" fmla="*/ 20343 w 20384"/>
                <a:gd name="connsiteY15" fmla="*/ 22120 h 22119"/>
                <a:gd name="connsiteX16" fmla="*/ 20343 w 20384"/>
                <a:gd name="connsiteY16" fmla="*/ 22120 h 22119"/>
                <a:gd name="connsiteX17" fmla="*/ 20343 w 20384"/>
                <a:gd name="connsiteY17" fmla="*/ 22120 h 22119"/>
                <a:gd name="connsiteX18" fmla="*/ 20343 w 20384"/>
                <a:gd name="connsiteY18" fmla="*/ 22120 h 22119"/>
                <a:gd name="connsiteX19" fmla="*/ 20343 w 20384"/>
                <a:gd name="connsiteY19" fmla="*/ 22120 h 22119"/>
                <a:gd name="connsiteX20" fmla="*/ 20343 w 20384"/>
                <a:gd name="connsiteY20" fmla="*/ 22120 h 22119"/>
                <a:gd name="connsiteX21" fmla="*/ 20343 w 20384"/>
                <a:gd name="connsiteY21" fmla="*/ 21357 h 2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384" h="22119">
                  <a:moveTo>
                    <a:pt x="19835" y="22120"/>
                  </a:moveTo>
                  <a:cubicBezTo>
                    <a:pt x="19944" y="21751"/>
                    <a:pt x="19944" y="21344"/>
                    <a:pt x="19835" y="20976"/>
                  </a:cubicBezTo>
                  <a:lnTo>
                    <a:pt x="17292" y="18306"/>
                  </a:lnTo>
                  <a:lnTo>
                    <a:pt x="0" y="0"/>
                  </a:lnTo>
                  <a:lnTo>
                    <a:pt x="0" y="636"/>
                  </a:lnTo>
                  <a:lnTo>
                    <a:pt x="0" y="636"/>
                  </a:lnTo>
                  <a:cubicBezTo>
                    <a:pt x="0" y="636"/>
                    <a:pt x="0" y="636"/>
                    <a:pt x="0" y="1271"/>
                  </a:cubicBezTo>
                  <a:lnTo>
                    <a:pt x="0" y="1271"/>
                  </a:lnTo>
                  <a:lnTo>
                    <a:pt x="0" y="1271"/>
                  </a:lnTo>
                  <a:lnTo>
                    <a:pt x="0" y="1271"/>
                  </a:lnTo>
                  <a:lnTo>
                    <a:pt x="0" y="1271"/>
                  </a:lnTo>
                  <a:lnTo>
                    <a:pt x="0" y="1271"/>
                  </a:lnTo>
                  <a:lnTo>
                    <a:pt x="19708" y="22120"/>
                  </a:lnTo>
                  <a:lnTo>
                    <a:pt x="19708" y="22120"/>
                  </a:lnTo>
                  <a:lnTo>
                    <a:pt x="19708" y="22120"/>
                  </a:lnTo>
                  <a:cubicBezTo>
                    <a:pt x="19708" y="22120"/>
                    <a:pt x="19708" y="22120"/>
                    <a:pt x="20343" y="22120"/>
                  </a:cubicBezTo>
                  <a:lnTo>
                    <a:pt x="20343" y="22120"/>
                  </a:lnTo>
                  <a:lnTo>
                    <a:pt x="20343" y="22120"/>
                  </a:lnTo>
                  <a:lnTo>
                    <a:pt x="20343" y="22120"/>
                  </a:lnTo>
                  <a:lnTo>
                    <a:pt x="20343" y="22120"/>
                  </a:lnTo>
                  <a:cubicBezTo>
                    <a:pt x="20343" y="22120"/>
                    <a:pt x="20343" y="22120"/>
                    <a:pt x="20343" y="22120"/>
                  </a:cubicBezTo>
                  <a:cubicBezTo>
                    <a:pt x="20398" y="21865"/>
                    <a:pt x="20398" y="21611"/>
                    <a:pt x="20343" y="21357"/>
                  </a:cubicBezTo>
                  <a:close/>
                </a:path>
              </a:pathLst>
            </a:custGeom>
            <a:solidFill>
              <a:srgbClr val="000000"/>
            </a:solidFill>
            <a:ln w="12685"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6442CBE9-BAFB-422D-B476-CDB5DF660F03}"/>
                </a:ext>
              </a:extLst>
            </p:cNvPr>
            <p:cNvSpPr/>
            <p:nvPr/>
          </p:nvSpPr>
          <p:spPr>
            <a:xfrm>
              <a:off x="3305" y="5103690"/>
              <a:ext cx="887737" cy="470358"/>
            </a:xfrm>
            <a:custGeom>
              <a:avLst/>
              <a:gdLst>
                <a:gd name="connsiteX0" fmla="*/ 886721 w 887737"/>
                <a:gd name="connsiteY0" fmla="*/ 1653 h 470358"/>
                <a:gd name="connsiteX1" fmla="*/ 887738 w 887737"/>
                <a:gd name="connsiteY1" fmla="*/ 1653 h 470358"/>
                <a:gd name="connsiteX2" fmla="*/ 887738 w 887737"/>
                <a:gd name="connsiteY2" fmla="*/ 1653 h 470358"/>
                <a:gd name="connsiteX3" fmla="*/ 885761 w 887737"/>
                <a:gd name="connsiteY3" fmla="*/ 1716 h 470358"/>
                <a:gd name="connsiteX4" fmla="*/ 885703 w 887737"/>
                <a:gd name="connsiteY4" fmla="*/ 1653 h 470358"/>
                <a:gd name="connsiteX5" fmla="*/ 884305 w 887737"/>
                <a:gd name="connsiteY5" fmla="*/ 0 h 470358"/>
                <a:gd name="connsiteX6" fmla="*/ 0 w 887737"/>
                <a:gd name="connsiteY6" fmla="*/ 466036 h 470358"/>
                <a:gd name="connsiteX7" fmla="*/ 0 w 887737"/>
                <a:gd name="connsiteY7" fmla="*/ 470358 h 470358"/>
                <a:gd name="connsiteX8" fmla="*/ 885322 w 887737"/>
                <a:gd name="connsiteY8" fmla="*/ 3051 h 47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737" h="470358">
                  <a:moveTo>
                    <a:pt x="886721" y="1653"/>
                  </a:moveTo>
                  <a:lnTo>
                    <a:pt x="887738" y="1653"/>
                  </a:lnTo>
                  <a:lnTo>
                    <a:pt x="887738" y="1653"/>
                  </a:lnTo>
                  <a:cubicBezTo>
                    <a:pt x="887208" y="2212"/>
                    <a:pt x="886323" y="2237"/>
                    <a:pt x="885761" y="1716"/>
                  </a:cubicBezTo>
                  <a:cubicBezTo>
                    <a:pt x="885742" y="1691"/>
                    <a:pt x="885723" y="1678"/>
                    <a:pt x="885703" y="1653"/>
                  </a:cubicBezTo>
                  <a:lnTo>
                    <a:pt x="884305" y="0"/>
                  </a:lnTo>
                  <a:lnTo>
                    <a:pt x="0" y="466036"/>
                  </a:lnTo>
                  <a:lnTo>
                    <a:pt x="0" y="470358"/>
                  </a:lnTo>
                  <a:lnTo>
                    <a:pt x="885322" y="3051"/>
                  </a:lnTo>
                  <a:close/>
                </a:path>
              </a:pathLst>
            </a:custGeom>
            <a:solidFill>
              <a:srgbClr val="000000"/>
            </a:solidFill>
            <a:ln w="12685"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A516D607-5C49-4493-A527-767E1E335300}"/>
                </a:ext>
              </a:extLst>
            </p:cNvPr>
            <p:cNvSpPr/>
            <p:nvPr/>
          </p:nvSpPr>
          <p:spPr>
            <a:xfrm>
              <a:off x="891679" y="5102546"/>
              <a:ext cx="56" cy="56"/>
            </a:xfrm>
            <a:custGeom>
              <a:avLst/>
              <a:gdLst>
                <a:gd name="connsiteX0" fmla="*/ 0 w 56"/>
                <a:gd name="connsiteY0" fmla="*/ 0 h 56"/>
                <a:gd name="connsiteX1" fmla="*/ 0 w 56"/>
                <a:gd name="connsiteY1" fmla="*/ 0 h 56"/>
                <a:gd name="connsiteX2" fmla="*/ 0 w 56"/>
                <a:gd name="connsiteY2" fmla="*/ 0 h 56"/>
              </a:gdLst>
              <a:ahLst/>
              <a:cxnLst>
                <a:cxn ang="0">
                  <a:pos x="connsiteX0" y="connsiteY0"/>
                </a:cxn>
                <a:cxn ang="0">
                  <a:pos x="connsiteX1" y="connsiteY1"/>
                </a:cxn>
                <a:cxn ang="0">
                  <a:pos x="connsiteX2" y="connsiteY2"/>
                </a:cxn>
              </a:cxnLst>
              <a:rect l="l" t="t" r="r" b="b"/>
              <a:pathLst>
                <a:path w="56" h="56">
                  <a:moveTo>
                    <a:pt x="0" y="0"/>
                  </a:moveTo>
                  <a:lnTo>
                    <a:pt x="0" y="0"/>
                  </a:lnTo>
                  <a:cubicBezTo>
                    <a:pt x="0" y="0"/>
                    <a:pt x="127" y="127"/>
                    <a:pt x="0" y="0"/>
                  </a:cubicBezTo>
                  <a:close/>
                </a:path>
              </a:pathLst>
            </a:custGeom>
            <a:solidFill>
              <a:srgbClr val="000000"/>
            </a:solidFill>
            <a:ln w="12685"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39204FEF-EF9D-4BB1-9DED-0041842CDB15}"/>
                </a:ext>
              </a:extLst>
            </p:cNvPr>
            <p:cNvSpPr/>
            <p:nvPr/>
          </p:nvSpPr>
          <p:spPr>
            <a:xfrm>
              <a:off x="712534" y="4906708"/>
              <a:ext cx="70052" cy="76086"/>
            </a:xfrm>
            <a:custGeom>
              <a:avLst/>
              <a:gdLst>
                <a:gd name="connsiteX0" fmla="*/ 70053 w 70052"/>
                <a:gd name="connsiteY0" fmla="*/ 75451 h 76086"/>
                <a:gd name="connsiteX1" fmla="*/ 70053 w 70052"/>
                <a:gd name="connsiteY1" fmla="*/ 75451 h 76086"/>
                <a:gd name="connsiteX2" fmla="*/ 3301 w 70052"/>
                <a:gd name="connsiteY2" fmla="*/ 1592 h 76086"/>
                <a:gd name="connsiteX3" fmla="*/ 2284 w 70052"/>
                <a:gd name="connsiteY3" fmla="*/ 448 h 76086"/>
                <a:gd name="connsiteX4" fmla="*/ 2284 w 70052"/>
                <a:gd name="connsiteY4" fmla="*/ 448 h 76086"/>
                <a:gd name="connsiteX5" fmla="*/ 126 w 70052"/>
                <a:gd name="connsiteY5" fmla="*/ 448 h 76086"/>
                <a:gd name="connsiteX6" fmla="*/ 122 w 70052"/>
                <a:gd name="connsiteY6" fmla="*/ 448 h 76086"/>
                <a:gd name="connsiteX7" fmla="*/ 122 w 70052"/>
                <a:gd name="connsiteY7" fmla="*/ 1592 h 76086"/>
                <a:gd name="connsiteX8" fmla="*/ 122 w 70052"/>
                <a:gd name="connsiteY8" fmla="*/ 2228 h 76086"/>
                <a:gd name="connsiteX9" fmla="*/ 122 w 70052"/>
                <a:gd name="connsiteY9" fmla="*/ 2228 h 76086"/>
                <a:gd name="connsiteX10" fmla="*/ 122 w 70052"/>
                <a:gd name="connsiteY10" fmla="*/ 2228 h 76086"/>
                <a:gd name="connsiteX11" fmla="*/ 885 w 70052"/>
                <a:gd name="connsiteY11" fmla="*/ 3118 h 76086"/>
                <a:gd name="connsiteX12" fmla="*/ 67001 w 70052"/>
                <a:gd name="connsiteY12" fmla="*/ 76087 h 76086"/>
                <a:gd name="connsiteX13" fmla="*/ 68908 w 70052"/>
                <a:gd name="connsiteY13" fmla="*/ 75070 h 76086"/>
                <a:gd name="connsiteX14" fmla="*/ 69798 w 70052"/>
                <a:gd name="connsiteY14" fmla="*/ 75070 h 7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52" h="76086">
                  <a:moveTo>
                    <a:pt x="70053" y="75451"/>
                  </a:moveTo>
                  <a:lnTo>
                    <a:pt x="70053" y="75451"/>
                  </a:lnTo>
                  <a:lnTo>
                    <a:pt x="3301" y="1592"/>
                  </a:lnTo>
                  <a:lnTo>
                    <a:pt x="2284" y="448"/>
                  </a:lnTo>
                  <a:lnTo>
                    <a:pt x="2284" y="448"/>
                  </a:lnTo>
                  <a:cubicBezTo>
                    <a:pt x="1688" y="-149"/>
                    <a:pt x="722" y="-149"/>
                    <a:pt x="126" y="448"/>
                  </a:cubicBezTo>
                  <a:cubicBezTo>
                    <a:pt x="125" y="448"/>
                    <a:pt x="123" y="448"/>
                    <a:pt x="122" y="448"/>
                  </a:cubicBezTo>
                  <a:cubicBezTo>
                    <a:pt x="-41" y="817"/>
                    <a:pt x="-41" y="1224"/>
                    <a:pt x="122" y="1592"/>
                  </a:cubicBezTo>
                  <a:cubicBezTo>
                    <a:pt x="122" y="1592"/>
                    <a:pt x="122" y="1592"/>
                    <a:pt x="122" y="2228"/>
                  </a:cubicBezTo>
                  <a:lnTo>
                    <a:pt x="122" y="2228"/>
                  </a:lnTo>
                  <a:lnTo>
                    <a:pt x="122" y="2228"/>
                  </a:lnTo>
                  <a:lnTo>
                    <a:pt x="885" y="3118"/>
                  </a:lnTo>
                  <a:lnTo>
                    <a:pt x="67001" y="76087"/>
                  </a:lnTo>
                  <a:lnTo>
                    <a:pt x="68908" y="75070"/>
                  </a:lnTo>
                  <a:lnTo>
                    <a:pt x="69798" y="75070"/>
                  </a:lnTo>
                  <a:close/>
                </a:path>
              </a:pathLst>
            </a:custGeom>
            <a:solidFill>
              <a:srgbClr val="000000"/>
            </a:solidFill>
            <a:ln w="12685"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78F2FA68-D0B5-4511-802A-37FB992355A6}"/>
                </a:ext>
              </a:extLst>
            </p:cNvPr>
            <p:cNvSpPr/>
            <p:nvPr/>
          </p:nvSpPr>
          <p:spPr>
            <a:xfrm>
              <a:off x="725752" y="3931862"/>
              <a:ext cx="416786" cy="207339"/>
            </a:xfrm>
            <a:custGeom>
              <a:avLst/>
              <a:gdLst>
                <a:gd name="connsiteX0" fmla="*/ 416787 w 416786"/>
                <a:gd name="connsiteY0" fmla="*/ 2288 h 207339"/>
                <a:gd name="connsiteX1" fmla="*/ 416024 w 416786"/>
                <a:gd name="connsiteY1" fmla="*/ 890 h 207339"/>
                <a:gd name="connsiteX2" fmla="*/ 416024 w 416786"/>
                <a:gd name="connsiteY2" fmla="*/ 0 h 207339"/>
                <a:gd name="connsiteX3" fmla="*/ 1017 w 416786"/>
                <a:gd name="connsiteY3" fmla="*/ 205686 h 207339"/>
                <a:gd name="connsiteX4" fmla="*/ 0 w 416786"/>
                <a:gd name="connsiteY4" fmla="*/ 205686 h 207339"/>
                <a:gd name="connsiteX5" fmla="*/ 0 w 416786"/>
                <a:gd name="connsiteY5" fmla="*/ 205686 h 207339"/>
                <a:gd name="connsiteX6" fmla="*/ 0 w 416786"/>
                <a:gd name="connsiteY6" fmla="*/ 205686 h 207339"/>
                <a:gd name="connsiteX7" fmla="*/ 0 w 416786"/>
                <a:gd name="connsiteY7" fmla="*/ 205686 h 207339"/>
                <a:gd name="connsiteX8" fmla="*/ 0 w 416786"/>
                <a:gd name="connsiteY8" fmla="*/ 205686 h 207339"/>
                <a:gd name="connsiteX9" fmla="*/ 0 w 416786"/>
                <a:gd name="connsiteY9" fmla="*/ 205686 h 207339"/>
                <a:gd name="connsiteX10" fmla="*/ 0 w 416786"/>
                <a:gd name="connsiteY10" fmla="*/ 205686 h 207339"/>
                <a:gd name="connsiteX11" fmla="*/ 0 w 416786"/>
                <a:gd name="connsiteY11" fmla="*/ 205686 h 207339"/>
                <a:gd name="connsiteX12" fmla="*/ 1526 w 416786"/>
                <a:gd name="connsiteY12" fmla="*/ 207339 h 207339"/>
                <a:gd name="connsiteX13" fmla="*/ 415388 w 416786"/>
                <a:gd name="connsiteY13" fmla="*/ 1780 h 20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786" h="207339">
                  <a:moveTo>
                    <a:pt x="416787" y="2288"/>
                  </a:moveTo>
                  <a:cubicBezTo>
                    <a:pt x="416459" y="1869"/>
                    <a:pt x="416201" y="1398"/>
                    <a:pt x="416024" y="890"/>
                  </a:cubicBezTo>
                  <a:cubicBezTo>
                    <a:pt x="416024" y="890"/>
                    <a:pt x="416024" y="254"/>
                    <a:pt x="416024" y="0"/>
                  </a:cubicBezTo>
                  <a:lnTo>
                    <a:pt x="1017" y="205686"/>
                  </a:lnTo>
                  <a:lnTo>
                    <a:pt x="0" y="205686"/>
                  </a:lnTo>
                  <a:lnTo>
                    <a:pt x="0" y="205686"/>
                  </a:lnTo>
                  <a:lnTo>
                    <a:pt x="0" y="205686"/>
                  </a:lnTo>
                  <a:lnTo>
                    <a:pt x="0" y="205686"/>
                  </a:lnTo>
                  <a:lnTo>
                    <a:pt x="0" y="205686"/>
                  </a:lnTo>
                  <a:lnTo>
                    <a:pt x="0" y="205686"/>
                  </a:lnTo>
                  <a:lnTo>
                    <a:pt x="0" y="205686"/>
                  </a:lnTo>
                  <a:lnTo>
                    <a:pt x="0" y="205686"/>
                  </a:lnTo>
                  <a:lnTo>
                    <a:pt x="1526" y="207339"/>
                  </a:lnTo>
                  <a:lnTo>
                    <a:pt x="415388" y="1780"/>
                  </a:lnTo>
                  <a:close/>
                </a:path>
              </a:pathLst>
            </a:custGeom>
            <a:solidFill>
              <a:srgbClr val="000000"/>
            </a:solidFill>
            <a:ln w="12685"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50F9455A-5574-41FD-AFD7-9E4AF283E0C3}"/>
                </a:ext>
              </a:extLst>
            </p:cNvPr>
            <p:cNvSpPr/>
            <p:nvPr/>
          </p:nvSpPr>
          <p:spPr>
            <a:xfrm>
              <a:off x="724735" y="4139582"/>
              <a:ext cx="12714" cy="813"/>
            </a:xfrm>
            <a:custGeom>
              <a:avLst/>
              <a:gdLst>
                <a:gd name="connsiteX0" fmla="*/ 0 w 12714"/>
                <a:gd name="connsiteY0" fmla="*/ 0 h 813"/>
                <a:gd name="connsiteX1" fmla="*/ 0 w 12714"/>
                <a:gd name="connsiteY1" fmla="*/ 0 h 813"/>
                <a:gd name="connsiteX2" fmla="*/ 0 w 12714"/>
                <a:gd name="connsiteY2" fmla="*/ 635 h 813"/>
                <a:gd name="connsiteX3" fmla="*/ 0 w 12714"/>
                <a:gd name="connsiteY3" fmla="*/ 0 h 813"/>
              </a:gdLst>
              <a:ahLst/>
              <a:cxnLst>
                <a:cxn ang="0">
                  <a:pos x="connsiteX0" y="connsiteY0"/>
                </a:cxn>
                <a:cxn ang="0">
                  <a:pos x="connsiteX1" y="connsiteY1"/>
                </a:cxn>
                <a:cxn ang="0">
                  <a:pos x="connsiteX2" y="connsiteY2"/>
                </a:cxn>
                <a:cxn ang="0">
                  <a:pos x="connsiteX3" y="connsiteY3"/>
                </a:cxn>
              </a:cxnLst>
              <a:rect l="l" t="t" r="r" b="b"/>
              <a:pathLst>
                <a:path w="12714" h="813">
                  <a:moveTo>
                    <a:pt x="0" y="0"/>
                  </a:moveTo>
                  <a:lnTo>
                    <a:pt x="0" y="0"/>
                  </a:lnTo>
                  <a:cubicBezTo>
                    <a:pt x="0" y="0"/>
                    <a:pt x="0" y="0"/>
                    <a:pt x="0" y="635"/>
                  </a:cubicBezTo>
                  <a:cubicBezTo>
                    <a:pt x="0" y="1271"/>
                    <a:pt x="0" y="0"/>
                    <a:pt x="0" y="0"/>
                  </a:cubicBezTo>
                  <a:close/>
                </a:path>
              </a:pathLst>
            </a:custGeom>
            <a:solidFill>
              <a:srgbClr val="000000"/>
            </a:solidFill>
            <a:ln w="12685"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4608200A-0D07-472D-9B29-E7C1FF0F829D}"/>
                </a:ext>
              </a:extLst>
            </p:cNvPr>
            <p:cNvSpPr/>
            <p:nvPr/>
          </p:nvSpPr>
          <p:spPr>
            <a:xfrm>
              <a:off x="720158" y="4140091"/>
              <a:ext cx="7120" cy="109580"/>
            </a:xfrm>
            <a:custGeom>
              <a:avLst/>
              <a:gdLst>
                <a:gd name="connsiteX0" fmla="*/ 4577 w 7120"/>
                <a:gd name="connsiteY0" fmla="*/ 1144 h 109580"/>
                <a:gd name="connsiteX1" fmla="*/ 4577 w 7120"/>
                <a:gd name="connsiteY1" fmla="*/ 0 h 109580"/>
                <a:gd name="connsiteX2" fmla="*/ 4577 w 7120"/>
                <a:gd name="connsiteY2" fmla="*/ 635 h 109580"/>
                <a:gd name="connsiteX3" fmla="*/ 0 w 7120"/>
                <a:gd name="connsiteY3" fmla="*/ 105767 h 109580"/>
                <a:gd name="connsiteX4" fmla="*/ 2543 w 7120"/>
                <a:gd name="connsiteY4" fmla="*/ 108437 h 109580"/>
                <a:gd name="connsiteX5" fmla="*/ 2543 w 7120"/>
                <a:gd name="connsiteY5" fmla="*/ 109581 h 109580"/>
                <a:gd name="connsiteX6" fmla="*/ 2543 w 7120"/>
                <a:gd name="connsiteY6" fmla="*/ 108945 h 109580"/>
                <a:gd name="connsiteX7" fmla="*/ 7120 w 7120"/>
                <a:gd name="connsiteY7" fmla="*/ 3814 h 10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0" h="109580">
                  <a:moveTo>
                    <a:pt x="4577" y="1144"/>
                  </a:moveTo>
                  <a:cubicBezTo>
                    <a:pt x="4451" y="775"/>
                    <a:pt x="4451" y="369"/>
                    <a:pt x="4577" y="0"/>
                  </a:cubicBezTo>
                  <a:lnTo>
                    <a:pt x="4577" y="635"/>
                  </a:lnTo>
                  <a:lnTo>
                    <a:pt x="0" y="105767"/>
                  </a:lnTo>
                  <a:lnTo>
                    <a:pt x="2543" y="108437"/>
                  </a:lnTo>
                  <a:cubicBezTo>
                    <a:pt x="2652" y="108805"/>
                    <a:pt x="2652" y="109212"/>
                    <a:pt x="2543" y="109581"/>
                  </a:cubicBezTo>
                  <a:lnTo>
                    <a:pt x="2543" y="108945"/>
                  </a:lnTo>
                  <a:lnTo>
                    <a:pt x="7120" y="3814"/>
                  </a:lnTo>
                  <a:close/>
                </a:path>
              </a:pathLst>
            </a:custGeom>
            <a:solidFill>
              <a:srgbClr val="000000"/>
            </a:solidFill>
            <a:ln w="12685"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441D7ED1-922E-40D4-B01B-C883EECCD8D0}"/>
                </a:ext>
              </a:extLst>
            </p:cNvPr>
            <p:cNvSpPr/>
            <p:nvPr/>
          </p:nvSpPr>
          <p:spPr>
            <a:xfrm>
              <a:off x="724735" y="4140091"/>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B30E0EF9-D90A-4237-BA0A-98AE30D7D3FF}"/>
                </a:ext>
              </a:extLst>
            </p:cNvPr>
            <p:cNvSpPr/>
            <p:nvPr/>
          </p:nvSpPr>
          <p:spPr>
            <a:xfrm>
              <a:off x="725371" y="413894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0188B365-131E-4C4B-BD23-F5648E05FDE0}"/>
                </a:ext>
              </a:extLst>
            </p:cNvPr>
            <p:cNvSpPr/>
            <p:nvPr/>
          </p:nvSpPr>
          <p:spPr>
            <a:xfrm>
              <a:off x="721557" y="4251960"/>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706631B0-2FCD-4F63-94AC-5BAF6C62DE5D}"/>
                </a:ext>
              </a:extLst>
            </p:cNvPr>
            <p:cNvSpPr/>
            <p:nvPr/>
          </p:nvSpPr>
          <p:spPr>
            <a:xfrm>
              <a:off x="723210" y="4249798"/>
              <a:ext cx="12714" cy="635"/>
            </a:xfrm>
            <a:custGeom>
              <a:avLst/>
              <a:gdLst>
                <a:gd name="connsiteX0" fmla="*/ 0 w 12714"/>
                <a:gd name="connsiteY0" fmla="*/ 0 h 635"/>
                <a:gd name="connsiteX1" fmla="*/ 0 w 12714"/>
                <a:gd name="connsiteY1" fmla="*/ 0 h 635"/>
                <a:gd name="connsiteX2" fmla="*/ 0 w 12714"/>
                <a:gd name="connsiteY2" fmla="*/ 636 h 635"/>
                <a:gd name="connsiteX3" fmla="*/ 0 w 12714"/>
                <a:gd name="connsiteY3" fmla="*/ 0 h 635"/>
              </a:gdLst>
              <a:ahLst/>
              <a:cxnLst>
                <a:cxn ang="0">
                  <a:pos x="connsiteX0" y="connsiteY0"/>
                </a:cxn>
                <a:cxn ang="0">
                  <a:pos x="connsiteX1" y="connsiteY1"/>
                </a:cxn>
                <a:cxn ang="0">
                  <a:pos x="connsiteX2" y="connsiteY2"/>
                </a:cxn>
                <a:cxn ang="0">
                  <a:pos x="connsiteX3" y="connsiteY3"/>
                </a:cxn>
              </a:cxnLst>
              <a:rect l="l" t="t" r="r" b="b"/>
              <a:pathLst>
                <a:path w="12714" h="635">
                  <a:moveTo>
                    <a:pt x="0" y="0"/>
                  </a:moveTo>
                  <a:lnTo>
                    <a:pt x="0" y="0"/>
                  </a:lnTo>
                  <a:lnTo>
                    <a:pt x="0" y="636"/>
                  </a:lnTo>
                  <a:cubicBezTo>
                    <a:pt x="0" y="636"/>
                    <a:pt x="0" y="254"/>
                    <a:pt x="0" y="0"/>
                  </a:cubicBezTo>
                  <a:close/>
                </a:path>
              </a:pathLst>
            </a:custGeom>
            <a:solidFill>
              <a:srgbClr val="000000"/>
            </a:solidFill>
            <a:ln w="12685"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41ED5C49-A4E8-4C93-91C7-71F332D2FB59}"/>
                </a:ext>
              </a:extLst>
            </p:cNvPr>
            <p:cNvSpPr/>
            <p:nvPr/>
          </p:nvSpPr>
          <p:spPr>
            <a:xfrm>
              <a:off x="726515" y="413843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C5120051-DD51-463D-87AA-DCDD6339A711}"/>
                </a:ext>
              </a:extLst>
            </p:cNvPr>
            <p:cNvSpPr/>
            <p:nvPr/>
          </p:nvSpPr>
          <p:spPr>
            <a:xfrm>
              <a:off x="620094" y="4139455"/>
              <a:ext cx="100782" cy="111487"/>
            </a:xfrm>
            <a:custGeom>
              <a:avLst/>
              <a:gdLst>
                <a:gd name="connsiteX0" fmla="*/ 100192 w 100782"/>
                <a:gd name="connsiteY0" fmla="*/ 106403 h 111487"/>
                <a:gd name="connsiteX1" fmla="*/ 0 w 100782"/>
                <a:gd name="connsiteY1" fmla="*/ 0 h 111487"/>
                <a:gd name="connsiteX2" fmla="*/ 0 w 100782"/>
                <a:gd name="connsiteY2" fmla="*/ 4449 h 111487"/>
                <a:gd name="connsiteX3" fmla="*/ 100700 w 100782"/>
                <a:gd name="connsiteY3" fmla="*/ 111488 h 111487"/>
                <a:gd name="connsiteX4" fmla="*/ 100700 w 100782"/>
                <a:gd name="connsiteY4" fmla="*/ 111488 h 111487"/>
                <a:gd name="connsiteX5" fmla="*/ 100700 w 100782"/>
                <a:gd name="connsiteY5" fmla="*/ 111488 h 111487"/>
                <a:gd name="connsiteX6" fmla="*/ 100700 w 100782"/>
                <a:gd name="connsiteY6" fmla="*/ 111488 h 111487"/>
                <a:gd name="connsiteX7" fmla="*/ 100700 w 100782"/>
                <a:gd name="connsiteY7" fmla="*/ 111488 h 111487"/>
                <a:gd name="connsiteX8" fmla="*/ 100700 w 100782"/>
                <a:gd name="connsiteY8" fmla="*/ 111488 h 111487"/>
                <a:gd name="connsiteX9" fmla="*/ 100700 w 100782"/>
                <a:gd name="connsiteY9" fmla="*/ 110852 h 111487"/>
                <a:gd name="connsiteX10" fmla="*/ 100700 w 100782"/>
                <a:gd name="connsiteY10" fmla="*/ 110852 h 111487"/>
                <a:gd name="connsiteX11" fmla="*/ 100700 w 100782"/>
                <a:gd name="connsiteY11" fmla="*/ 109708 h 11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782" h="111487">
                  <a:moveTo>
                    <a:pt x="100192" y="106403"/>
                  </a:moveTo>
                  <a:lnTo>
                    <a:pt x="0" y="0"/>
                  </a:lnTo>
                  <a:lnTo>
                    <a:pt x="0" y="4449"/>
                  </a:lnTo>
                  <a:lnTo>
                    <a:pt x="100700" y="111488"/>
                  </a:lnTo>
                  <a:lnTo>
                    <a:pt x="100700" y="111488"/>
                  </a:lnTo>
                  <a:lnTo>
                    <a:pt x="100700" y="111488"/>
                  </a:lnTo>
                  <a:lnTo>
                    <a:pt x="100700" y="111488"/>
                  </a:lnTo>
                  <a:lnTo>
                    <a:pt x="100700" y="111488"/>
                  </a:lnTo>
                  <a:lnTo>
                    <a:pt x="100700" y="111488"/>
                  </a:lnTo>
                  <a:lnTo>
                    <a:pt x="100700" y="110852"/>
                  </a:lnTo>
                  <a:lnTo>
                    <a:pt x="100700" y="110852"/>
                  </a:lnTo>
                  <a:cubicBezTo>
                    <a:pt x="100809" y="110484"/>
                    <a:pt x="100809" y="110077"/>
                    <a:pt x="100700" y="109708"/>
                  </a:cubicBezTo>
                  <a:close/>
                </a:path>
              </a:pathLst>
            </a:custGeom>
            <a:solidFill>
              <a:srgbClr val="000000"/>
            </a:solidFill>
            <a:ln w="12685"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7CAAEB10-0745-4CAE-95B9-D83D14651E99}"/>
                </a:ext>
              </a:extLst>
            </p:cNvPr>
            <p:cNvSpPr/>
            <p:nvPr/>
          </p:nvSpPr>
          <p:spPr>
            <a:xfrm>
              <a:off x="727438" y="4138946"/>
              <a:ext cx="22439" cy="22577"/>
            </a:xfrm>
            <a:custGeom>
              <a:avLst/>
              <a:gdLst>
                <a:gd name="connsiteX0" fmla="*/ 20438 w 22439"/>
                <a:gd name="connsiteY0" fmla="*/ 21484 h 22577"/>
                <a:gd name="connsiteX1" fmla="*/ 20438 w 22439"/>
                <a:gd name="connsiteY1" fmla="*/ 21484 h 22577"/>
                <a:gd name="connsiteX2" fmla="*/ 19675 w 22439"/>
                <a:gd name="connsiteY2" fmla="*/ 20594 h 22577"/>
                <a:gd name="connsiteX3" fmla="*/ 1620 w 22439"/>
                <a:gd name="connsiteY3" fmla="*/ 1653 h 22577"/>
                <a:gd name="connsiteX4" fmla="*/ 94 w 22439"/>
                <a:gd name="connsiteY4" fmla="*/ 0 h 22577"/>
                <a:gd name="connsiteX5" fmla="*/ 94 w 22439"/>
                <a:gd name="connsiteY5" fmla="*/ 0 h 22577"/>
                <a:gd name="connsiteX6" fmla="*/ 94 w 22439"/>
                <a:gd name="connsiteY6" fmla="*/ 0 h 22577"/>
                <a:gd name="connsiteX7" fmla="*/ 94 w 22439"/>
                <a:gd name="connsiteY7" fmla="*/ 0 h 22577"/>
                <a:gd name="connsiteX8" fmla="*/ 94 w 22439"/>
                <a:gd name="connsiteY8" fmla="*/ 0 h 22577"/>
                <a:gd name="connsiteX9" fmla="*/ 94 w 22439"/>
                <a:gd name="connsiteY9" fmla="*/ 0 h 22577"/>
                <a:gd name="connsiteX10" fmla="*/ 94 w 22439"/>
                <a:gd name="connsiteY10" fmla="*/ 0 h 22577"/>
                <a:gd name="connsiteX11" fmla="*/ 94 w 22439"/>
                <a:gd name="connsiteY11" fmla="*/ 0 h 22577"/>
                <a:gd name="connsiteX12" fmla="*/ 94 w 22439"/>
                <a:gd name="connsiteY12" fmla="*/ 0 h 22577"/>
                <a:gd name="connsiteX13" fmla="*/ 94 w 22439"/>
                <a:gd name="connsiteY13" fmla="*/ 0 h 22577"/>
                <a:gd name="connsiteX14" fmla="*/ 94 w 22439"/>
                <a:gd name="connsiteY14" fmla="*/ 1144 h 22577"/>
                <a:gd name="connsiteX15" fmla="*/ 2637 w 22439"/>
                <a:gd name="connsiteY15" fmla="*/ 3814 h 22577"/>
                <a:gd name="connsiteX16" fmla="*/ 20056 w 22439"/>
                <a:gd name="connsiteY16" fmla="*/ 22120 h 22577"/>
                <a:gd name="connsiteX17" fmla="*/ 20056 w 22439"/>
                <a:gd name="connsiteY17" fmla="*/ 22120 h 22577"/>
                <a:gd name="connsiteX18" fmla="*/ 22345 w 22439"/>
                <a:gd name="connsiteY18" fmla="*/ 22120 h 22577"/>
                <a:gd name="connsiteX19" fmla="*/ 22345 w 22439"/>
                <a:gd name="connsiteY19" fmla="*/ 20976 h 22577"/>
                <a:gd name="connsiteX20" fmla="*/ 22345 w 22439"/>
                <a:gd name="connsiteY20" fmla="*/ 20213 h 22577"/>
                <a:gd name="connsiteX21" fmla="*/ 20438 w 22439"/>
                <a:gd name="connsiteY21" fmla="*/ 21484 h 2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39" h="22577">
                  <a:moveTo>
                    <a:pt x="20438" y="21484"/>
                  </a:moveTo>
                  <a:lnTo>
                    <a:pt x="20438" y="21484"/>
                  </a:lnTo>
                  <a:lnTo>
                    <a:pt x="19675" y="20594"/>
                  </a:lnTo>
                  <a:lnTo>
                    <a:pt x="1620" y="1653"/>
                  </a:lnTo>
                  <a:lnTo>
                    <a:pt x="94" y="0"/>
                  </a:lnTo>
                  <a:lnTo>
                    <a:pt x="94" y="0"/>
                  </a:lnTo>
                  <a:lnTo>
                    <a:pt x="94" y="0"/>
                  </a:lnTo>
                  <a:lnTo>
                    <a:pt x="94" y="0"/>
                  </a:lnTo>
                  <a:lnTo>
                    <a:pt x="94" y="0"/>
                  </a:lnTo>
                  <a:lnTo>
                    <a:pt x="94" y="0"/>
                  </a:lnTo>
                  <a:lnTo>
                    <a:pt x="94" y="0"/>
                  </a:lnTo>
                  <a:cubicBezTo>
                    <a:pt x="94" y="0"/>
                    <a:pt x="94" y="0"/>
                    <a:pt x="94" y="0"/>
                  </a:cubicBezTo>
                  <a:lnTo>
                    <a:pt x="94" y="0"/>
                  </a:lnTo>
                  <a:lnTo>
                    <a:pt x="94" y="0"/>
                  </a:lnTo>
                  <a:cubicBezTo>
                    <a:pt x="-31" y="369"/>
                    <a:pt x="-31" y="776"/>
                    <a:pt x="94" y="1144"/>
                  </a:cubicBezTo>
                  <a:lnTo>
                    <a:pt x="2637" y="3814"/>
                  </a:lnTo>
                  <a:lnTo>
                    <a:pt x="20056" y="22120"/>
                  </a:lnTo>
                  <a:lnTo>
                    <a:pt x="20056" y="22120"/>
                  </a:lnTo>
                  <a:cubicBezTo>
                    <a:pt x="20696" y="22730"/>
                    <a:pt x="21706" y="22730"/>
                    <a:pt x="22345" y="22120"/>
                  </a:cubicBezTo>
                  <a:cubicBezTo>
                    <a:pt x="22471" y="21751"/>
                    <a:pt x="22471" y="21344"/>
                    <a:pt x="22345" y="20976"/>
                  </a:cubicBezTo>
                  <a:cubicBezTo>
                    <a:pt x="22400" y="20721"/>
                    <a:pt x="22400" y="20467"/>
                    <a:pt x="22345" y="20213"/>
                  </a:cubicBezTo>
                  <a:lnTo>
                    <a:pt x="20438" y="21484"/>
                  </a:lnTo>
                  <a:close/>
                </a:path>
              </a:pathLst>
            </a:custGeom>
            <a:solidFill>
              <a:srgbClr val="000000"/>
            </a:solidFill>
            <a:ln w="12685"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84C8206D-3F2E-4A02-8E2C-2FDF0921F044}"/>
                </a:ext>
              </a:extLst>
            </p:cNvPr>
            <p:cNvSpPr/>
            <p:nvPr/>
          </p:nvSpPr>
          <p:spPr>
            <a:xfrm>
              <a:off x="3941" y="4982286"/>
              <a:ext cx="778137" cy="410228"/>
            </a:xfrm>
            <a:custGeom>
              <a:avLst/>
              <a:gdLst>
                <a:gd name="connsiteX0" fmla="*/ 776739 w 778137"/>
                <a:gd name="connsiteY0" fmla="*/ 2288 h 410228"/>
                <a:gd name="connsiteX1" fmla="*/ 776739 w 778137"/>
                <a:gd name="connsiteY1" fmla="*/ 0 h 410228"/>
                <a:gd name="connsiteX2" fmla="*/ 777502 w 778137"/>
                <a:gd name="connsiteY2" fmla="*/ 0 h 410228"/>
                <a:gd name="connsiteX3" fmla="*/ 777502 w 778137"/>
                <a:gd name="connsiteY3" fmla="*/ 0 h 410228"/>
                <a:gd name="connsiteX4" fmla="*/ 775594 w 778137"/>
                <a:gd name="connsiteY4" fmla="*/ 1017 h 410228"/>
                <a:gd name="connsiteX5" fmla="*/ 0 w 778137"/>
                <a:gd name="connsiteY5" fmla="*/ 406542 h 410228"/>
                <a:gd name="connsiteX6" fmla="*/ 0 w 778137"/>
                <a:gd name="connsiteY6" fmla="*/ 410229 h 410228"/>
                <a:gd name="connsiteX7" fmla="*/ 778137 w 778137"/>
                <a:gd name="connsiteY7" fmla="*/ 3432 h 41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137" h="410228">
                  <a:moveTo>
                    <a:pt x="776739" y="2288"/>
                  </a:moveTo>
                  <a:cubicBezTo>
                    <a:pt x="776125" y="1652"/>
                    <a:pt x="776125" y="635"/>
                    <a:pt x="776739" y="0"/>
                  </a:cubicBezTo>
                  <a:cubicBezTo>
                    <a:pt x="776739" y="0"/>
                    <a:pt x="776739" y="0"/>
                    <a:pt x="777502" y="0"/>
                  </a:cubicBezTo>
                  <a:lnTo>
                    <a:pt x="777502" y="0"/>
                  </a:lnTo>
                  <a:lnTo>
                    <a:pt x="775594" y="1017"/>
                  </a:lnTo>
                  <a:lnTo>
                    <a:pt x="0" y="406542"/>
                  </a:lnTo>
                  <a:lnTo>
                    <a:pt x="0" y="410229"/>
                  </a:lnTo>
                  <a:lnTo>
                    <a:pt x="778137" y="3432"/>
                  </a:lnTo>
                  <a:close/>
                </a:path>
              </a:pathLst>
            </a:custGeom>
            <a:solidFill>
              <a:srgbClr val="000000"/>
            </a:solidFill>
            <a:ln w="12685"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F25F9AE5-E02B-42E4-B11B-A8C344EE5A08}"/>
                </a:ext>
              </a:extLst>
            </p:cNvPr>
            <p:cNvSpPr/>
            <p:nvPr/>
          </p:nvSpPr>
          <p:spPr>
            <a:xfrm>
              <a:off x="781872" y="4982668"/>
              <a:ext cx="110951" cy="122603"/>
            </a:xfrm>
            <a:custGeom>
              <a:avLst/>
              <a:gdLst>
                <a:gd name="connsiteX0" fmla="*/ 109680 w 110951"/>
                <a:gd name="connsiteY0" fmla="*/ 121022 h 122603"/>
                <a:gd name="connsiteX1" fmla="*/ 109680 w 110951"/>
                <a:gd name="connsiteY1" fmla="*/ 120386 h 122603"/>
                <a:gd name="connsiteX2" fmla="*/ 109680 w 110951"/>
                <a:gd name="connsiteY2" fmla="*/ 119751 h 122603"/>
                <a:gd name="connsiteX3" fmla="*/ 109680 w 110951"/>
                <a:gd name="connsiteY3" fmla="*/ 119751 h 122603"/>
                <a:gd name="connsiteX4" fmla="*/ 1223 w 110951"/>
                <a:gd name="connsiteY4" fmla="*/ 0 h 122603"/>
                <a:gd name="connsiteX5" fmla="*/ 1223 w 110951"/>
                <a:gd name="connsiteY5" fmla="*/ 0 h 122603"/>
                <a:gd name="connsiteX6" fmla="*/ 1223 w 110951"/>
                <a:gd name="connsiteY6" fmla="*/ 0 h 122603"/>
                <a:gd name="connsiteX7" fmla="*/ 1223 w 110951"/>
                <a:gd name="connsiteY7" fmla="*/ 0 h 122603"/>
                <a:gd name="connsiteX8" fmla="*/ 461 w 110951"/>
                <a:gd name="connsiteY8" fmla="*/ 0 h 122603"/>
                <a:gd name="connsiteX9" fmla="*/ 461 w 110951"/>
                <a:gd name="connsiteY9" fmla="*/ 2288 h 122603"/>
                <a:gd name="connsiteX10" fmla="*/ 1223 w 110951"/>
                <a:gd name="connsiteY10" fmla="*/ 3178 h 122603"/>
                <a:gd name="connsiteX11" fmla="*/ 107518 w 110951"/>
                <a:gd name="connsiteY11" fmla="*/ 120513 h 122603"/>
                <a:gd name="connsiteX12" fmla="*/ 108917 w 110951"/>
                <a:gd name="connsiteY12" fmla="*/ 122166 h 122603"/>
                <a:gd name="connsiteX13" fmla="*/ 110894 w 110951"/>
                <a:gd name="connsiteY13" fmla="*/ 122230 h 122603"/>
                <a:gd name="connsiteX14" fmla="*/ 110951 w 110951"/>
                <a:gd name="connsiteY14" fmla="*/ 122166 h 122603"/>
                <a:gd name="connsiteX15" fmla="*/ 110951 w 110951"/>
                <a:gd name="connsiteY15" fmla="*/ 122166 h 122603"/>
                <a:gd name="connsiteX16" fmla="*/ 109680 w 110951"/>
                <a:gd name="connsiteY16" fmla="*/ 121022 h 1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951" h="122603">
                  <a:moveTo>
                    <a:pt x="109680" y="121022"/>
                  </a:moveTo>
                  <a:cubicBezTo>
                    <a:pt x="109680" y="121022"/>
                    <a:pt x="109680" y="121022"/>
                    <a:pt x="109680" y="120386"/>
                  </a:cubicBezTo>
                  <a:cubicBezTo>
                    <a:pt x="109728" y="120183"/>
                    <a:pt x="109728" y="119954"/>
                    <a:pt x="109680" y="119751"/>
                  </a:cubicBezTo>
                  <a:lnTo>
                    <a:pt x="109680" y="119751"/>
                  </a:lnTo>
                  <a:lnTo>
                    <a:pt x="1223" y="0"/>
                  </a:lnTo>
                  <a:lnTo>
                    <a:pt x="1223" y="0"/>
                  </a:lnTo>
                  <a:lnTo>
                    <a:pt x="1223" y="0"/>
                  </a:lnTo>
                  <a:lnTo>
                    <a:pt x="1223" y="0"/>
                  </a:lnTo>
                  <a:cubicBezTo>
                    <a:pt x="1223" y="0"/>
                    <a:pt x="1223" y="0"/>
                    <a:pt x="461" y="0"/>
                  </a:cubicBezTo>
                  <a:cubicBezTo>
                    <a:pt x="-154" y="635"/>
                    <a:pt x="-154" y="1652"/>
                    <a:pt x="461" y="2288"/>
                  </a:cubicBezTo>
                  <a:lnTo>
                    <a:pt x="1223" y="3178"/>
                  </a:lnTo>
                  <a:lnTo>
                    <a:pt x="107518" y="120513"/>
                  </a:lnTo>
                  <a:lnTo>
                    <a:pt x="108917" y="122166"/>
                  </a:lnTo>
                  <a:cubicBezTo>
                    <a:pt x="109447" y="122725"/>
                    <a:pt x="110332" y="122751"/>
                    <a:pt x="110894" y="122230"/>
                  </a:cubicBezTo>
                  <a:cubicBezTo>
                    <a:pt x="110913" y="122204"/>
                    <a:pt x="110932" y="122191"/>
                    <a:pt x="110951" y="122166"/>
                  </a:cubicBezTo>
                  <a:lnTo>
                    <a:pt x="110951" y="122166"/>
                  </a:lnTo>
                  <a:lnTo>
                    <a:pt x="109680" y="121022"/>
                  </a:lnTo>
                  <a:close/>
                </a:path>
              </a:pathLst>
            </a:custGeom>
            <a:solidFill>
              <a:srgbClr val="000000"/>
            </a:solidFill>
            <a:ln w="12685"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FFB907F1-5B6B-437C-8A90-053023C506EA}"/>
                </a:ext>
              </a:extLst>
            </p:cNvPr>
            <p:cNvSpPr/>
            <p:nvPr/>
          </p:nvSpPr>
          <p:spPr>
            <a:xfrm>
              <a:off x="289512" y="1653038"/>
              <a:ext cx="12714" cy="1525"/>
            </a:xfrm>
            <a:custGeom>
              <a:avLst/>
              <a:gdLst>
                <a:gd name="connsiteX0" fmla="*/ 0 w 12714"/>
                <a:gd name="connsiteY0" fmla="*/ 0 h 1525"/>
                <a:gd name="connsiteX1" fmla="*/ 0 w 12714"/>
                <a:gd name="connsiteY1" fmla="*/ 1526 h 1525"/>
                <a:gd name="connsiteX2" fmla="*/ 0 w 12714"/>
                <a:gd name="connsiteY2" fmla="*/ 1526 h 1525"/>
                <a:gd name="connsiteX3" fmla="*/ 0 w 12714"/>
                <a:gd name="connsiteY3" fmla="*/ 0 h 1525"/>
              </a:gdLst>
              <a:ahLst/>
              <a:cxnLst>
                <a:cxn ang="0">
                  <a:pos x="connsiteX0" y="connsiteY0"/>
                </a:cxn>
                <a:cxn ang="0">
                  <a:pos x="connsiteX1" y="connsiteY1"/>
                </a:cxn>
                <a:cxn ang="0">
                  <a:pos x="connsiteX2" y="connsiteY2"/>
                </a:cxn>
                <a:cxn ang="0">
                  <a:pos x="connsiteX3" y="connsiteY3"/>
                </a:cxn>
              </a:cxnLst>
              <a:rect l="l" t="t" r="r" b="b"/>
              <a:pathLst>
                <a:path w="12714" h="1525">
                  <a:moveTo>
                    <a:pt x="0" y="0"/>
                  </a:moveTo>
                  <a:cubicBezTo>
                    <a:pt x="0" y="0"/>
                    <a:pt x="0" y="1017"/>
                    <a:pt x="0" y="1526"/>
                  </a:cubicBezTo>
                  <a:lnTo>
                    <a:pt x="0" y="1526"/>
                  </a:lnTo>
                  <a:cubicBezTo>
                    <a:pt x="0" y="1526"/>
                    <a:pt x="0" y="509"/>
                    <a:pt x="0" y="0"/>
                  </a:cubicBezTo>
                  <a:close/>
                </a:path>
              </a:pathLst>
            </a:custGeom>
            <a:solidFill>
              <a:srgbClr val="000000"/>
            </a:solidFill>
            <a:ln w="12685"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D52F36DA-9E2F-480C-AA2D-70DA2D6FC1A7}"/>
                </a:ext>
              </a:extLst>
            </p:cNvPr>
            <p:cNvSpPr/>
            <p:nvPr/>
          </p:nvSpPr>
          <p:spPr>
            <a:xfrm>
              <a:off x="292564" y="1649225"/>
              <a:ext cx="180166" cy="161955"/>
            </a:xfrm>
            <a:custGeom>
              <a:avLst/>
              <a:gdLst>
                <a:gd name="connsiteX0" fmla="*/ 163765 w 180166"/>
                <a:gd name="connsiteY0" fmla="*/ 161956 h 161955"/>
                <a:gd name="connsiteX1" fmla="*/ 165291 w 180166"/>
                <a:gd name="connsiteY1" fmla="*/ 161193 h 161955"/>
                <a:gd name="connsiteX2" fmla="*/ 165291 w 180166"/>
                <a:gd name="connsiteY2" fmla="*/ 159032 h 161955"/>
                <a:gd name="connsiteX3" fmla="*/ 174062 w 180166"/>
                <a:gd name="connsiteY3" fmla="*/ 150006 h 161955"/>
                <a:gd name="connsiteX4" fmla="*/ 174318 w 180166"/>
                <a:gd name="connsiteY4" fmla="*/ 150006 h 161955"/>
                <a:gd name="connsiteX5" fmla="*/ 180167 w 180166"/>
                <a:gd name="connsiteY5" fmla="*/ 152549 h 161955"/>
                <a:gd name="connsiteX6" fmla="*/ 180167 w 180166"/>
                <a:gd name="connsiteY6" fmla="*/ 152549 h 161955"/>
                <a:gd name="connsiteX7" fmla="*/ 14876 w 180166"/>
                <a:gd name="connsiteY7" fmla="*/ 0 h 161955"/>
                <a:gd name="connsiteX8" fmla="*/ 14876 w 180166"/>
                <a:gd name="connsiteY8" fmla="*/ 4322 h 161955"/>
                <a:gd name="connsiteX9" fmla="*/ 5849 w 180166"/>
                <a:gd name="connsiteY9" fmla="*/ 13475 h 161955"/>
                <a:gd name="connsiteX10" fmla="*/ 0 w 180166"/>
                <a:gd name="connsiteY10" fmla="*/ 10806 h 161955"/>
                <a:gd name="connsiteX11" fmla="*/ 0 w 180166"/>
                <a:gd name="connsiteY11" fmla="*/ 10806 h 16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166" h="161955">
                  <a:moveTo>
                    <a:pt x="163765" y="161956"/>
                  </a:moveTo>
                  <a:lnTo>
                    <a:pt x="165291" y="161193"/>
                  </a:lnTo>
                  <a:lnTo>
                    <a:pt x="165291" y="159032"/>
                  </a:lnTo>
                  <a:cubicBezTo>
                    <a:pt x="165219" y="154117"/>
                    <a:pt x="169147" y="150077"/>
                    <a:pt x="174062" y="150006"/>
                  </a:cubicBezTo>
                  <a:cubicBezTo>
                    <a:pt x="174148" y="150005"/>
                    <a:pt x="174233" y="150005"/>
                    <a:pt x="174318" y="150006"/>
                  </a:cubicBezTo>
                  <a:cubicBezTo>
                    <a:pt x="176529" y="150037"/>
                    <a:pt x="178636" y="150953"/>
                    <a:pt x="180167" y="152549"/>
                  </a:cubicBezTo>
                  <a:cubicBezTo>
                    <a:pt x="180167" y="152549"/>
                    <a:pt x="180167" y="152549"/>
                    <a:pt x="180167" y="152549"/>
                  </a:cubicBezTo>
                  <a:lnTo>
                    <a:pt x="14876" y="0"/>
                  </a:lnTo>
                  <a:lnTo>
                    <a:pt x="14876" y="4322"/>
                  </a:lnTo>
                  <a:cubicBezTo>
                    <a:pt x="14876" y="9328"/>
                    <a:pt x="10855" y="13405"/>
                    <a:pt x="5849" y="13475"/>
                  </a:cubicBezTo>
                  <a:cubicBezTo>
                    <a:pt x="3638" y="13333"/>
                    <a:pt x="1556" y="12383"/>
                    <a:pt x="0" y="10806"/>
                  </a:cubicBezTo>
                  <a:cubicBezTo>
                    <a:pt x="0" y="10806"/>
                    <a:pt x="0" y="10806"/>
                    <a:pt x="0" y="10806"/>
                  </a:cubicBezTo>
                  <a:close/>
                </a:path>
              </a:pathLst>
            </a:custGeom>
            <a:solidFill>
              <a:srgbClr val="000000"/>
            </a:solidFill>
            <a:ln w="12685"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59A9A5B6-C826-4667-A3CF-4A89FCED1B6C}"/>
                </a:ext>
              </a:extLst>
            </p:cNvPr>
            <p:cNvSpPr/>
            <p:nvPr/>
          </p:nvSpPr>
          <p:spPr>
            <a:xfrm>
              <a:off x="291038" y="1657615"/>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A193B332-5502-496A-AA7D-1517B06D5147}"/>
                </a:ext>
              </a:extLst>
            </p:cNvPr>
            <p:cNvSpPr/>
            <p:nvPr/>
          </p:nvSpPr>
          <p:spPr>
            <a:xfrm>
              <a:off x="70693" y="1654564"/>
              <a:ext cx="220217" cy="94453"/>
            </a:xfrm>
            <a:custGeom>
              <a:avLst/>
              <a:gdLst>
                <a:gd name="connsiteX0" fmla="*/ 220218 w 220217"/>
                <a:gd name="connsiteY0" fmla="*/ 3051 h 94453"/>
                <a:gd name="connsiteX1" fmla="*/ 220218 w 220217"/>
                <a:gd name="connsiteY1" fmla="*/ 3051 h 94453"/>
                <a:gd name="connsiteX2" fmla="*/ 218947 w 220217"/>
                <a:gd name="connsiteY2" fmla="*/ 0 h 94453"/>
                <a:gd name="connsiteX3" fmla="*/ 218947 w 220217"/>
                <a:gd name="connsiteY3" fmla="*/ 0 h 94453"/>
                <a:gd name="connsiteX4" fmla="*/ 0 w 220217"/>
                <a:gd name="connsiteY4" fmla="*/ 91402 h 94453"/>
                <a:gd name="connsiteX5" fmla="*/ 0 w 220217"/>
                <a:gd name="connsiteY5" fmla="*/ 93055 h 94453"/>
                <a:gd name="connsiteX6" fmla="*/ 1399 w 220217"/>
                <a:gd name="connsiteY6" fmla="*/ 94453 h 9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217" h="94453">
                  <a:moveTo>
                    <a:pt x="220218" y="3051"/>
                  </a:moveTo>
                  <a:lnTo>
                    <a:pt x="220218" y="3051"/>
                  </a:lnTo>
                  <a:cubicBezTo>
                    <a:pt x="219634" y="2108"/>
                    <a:pt x="219206" y="1078"/>
                    <a:pt x="218947" y="0"/>
                  </a:cubicBezTo>
                  <a:lnTo>
                    <a:pt x="218947" y="0"/>
                  </a:lnTo>
                  <a:lnTo>
                    <a:pt x="0" y="91402"/>
                  </a:lnTo>
                  <a:lnTo>
                    <a:pt x="0" y="93055"/>
                  </a:lnTo>
                  <a:lnTo>
                    <a:pt x="1399" y="94453"/>
                  </a:lnTo>
                  <a:close/>
                </a:path>
              </a:pathLst>
            </a:custGeom>
            <a:solidFill>
              <a:srgbClr val="000000"/>
            </a:solidFill>
            <a:ln w="12685"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86079056-D015-41CB-8CF0-E5065A04DCC1}"/>
                </a:ext>
              </a:extLst>
            </p:cNvPr>
            <p:cNvSpPr/>
            <p:nvPr/>
          </p:nvSpPr>
          <p:spPr>
            <a:xfrm>
              <a:off x="70693" y="1747619"/>
              <a:ext cx="165544" cy="159540"/>
            </a:xfrm>
            <a:custGeom>
              <a:avLst/>
              <a:gdLst>
                <a:gd name="connsiteX0" fmla="*/ 164528 w 165544"/>
                <a:gd name="connsiteY0" fmla="*/ 159541 h 159540"/>
                <a:gd name="connsiteX1" fmla="*/ 164528 w 165544"/>
                <a:gd name="connsiteY1" fmla="*/ 159541 h 159540"/>
                <a:gd name="connsiteX2" fmla="*/ 163765 w 165544"/>
                <a:gd name="connsiteY2" fmla="*/ 158778 h 159540"/>
                <a:gd name="connsiteX3" fmla="*/ 164655 w 165544"/>
                <a:gd name="connsiteY3" fmla="*/ 156744 h 159540"/>
                <a:gd name="connsiteX4" fmla="*/ 165545 w 165544"/>
                <a:gd name="connsiteY4" fmla="*/ 156744 h 159540"/>
                <a:gd name="connsiteX5" fmla="*/ 1399 w 165544"/>
                <a:gd name="connsiteY5" fmla="*/ 1398 h 159540"/>
                <a:gd name="connsiteX6" fmla="*/ 0 w 165544"/>
                <a:gd name="connsiteY6" fmla="*/ 0 h 159540"/>
                <a:gd name="connsiteX7" fmla="*/ 0 w 165544"/>
                <a:gd name="connsiteY7" fmla="*/ 4449 h 159540"/>
                <a:gd name="connsiteX8" fmla="*/ 163892 w 165544"/>
                <a:gd name="connsiteY8" fmla="*/ 159032 h 15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44" h="159540">
                  <a:moveTo>
                    <a:pt x="164528" y="159541"/>
                  </a:moveTo>
                  <a:cubicBezTo>
                    <a:pt x="164528" y="159541"/>
                    <a:pt x="164528" y="159541"/>
                    <a:pt x="164528" y="159541"/>
                  </a:cubicBezTo>
                  <a:cubicBezTo>
                    <a:pt x="164162" y="159426"/>
                    <a:pt x="163875" y="159146"/>
                    <a:pt x="163765" y="158778"/>
                  </a:cubicBezTo>
                  <a:cubicBezTo>
                    <a:pt x="163494" y="157977"/>
                    <a:pt x="163879" y="157087"/>
                    <a:pt x="164655" y="156744"/>
                  </a:cubicBezTo>
                  <a:lnTo>
                    <a:pt x="165545" y="156744"/>
                  </a:lnTo>
                  <a:lnTo>
                    <a:pt x="1399" y="1398"/>
                  </a:lnTo>
                  <a:lnTo>
                    <a:pt x="0" y="0"/>
                  </a:lnTo>
                  <a:lnTo>
                    <a:pt x="0" y="4449"/>
                  </a:lnTo>
                  <a:lnTo>
                    <a:pt x="163892" y="159032"/>
                  </a:lnTo>
                  <a:close/>
                </a:path>
              </a:pathLst>
            </a:custGeom>
            <a:solidFill>
              <a:srgbClr val="000000"/>
            </a:solidFill>
            <a:ln w="12685"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0D3C7A6F-94FE-4810-A5E5-7C92BF9FC8E5}"/>
                </a:ext>
              </a:extLst>
            </p:cNvPr>
            <p:cNvSpPr/>
            <p:nvPr/>
          </p:nvSpPr>
          <p:spPr>
            <a:xfrm>
              <a:off x="234626" y="1810164"/>
              <a:ext cx="223101" cy="97376"/>
            </a:xfrm>
            <a:custGeom>
              <a:avLst/>
              <a:gdLst>
                <a:gd name="connsiteX0" fmla="*/ 1866 w 223101"/>
                <a:gd name="connsiteY0" fmla="*/ 97377 h 97376"/>
                <a:gd name="connsiteX1" fmla="*/ 1866 w 223101"/>
                <a:gd name="connsiteY1" fmla="*/ 97377 h 97376"/>
                <a:gd name="connsiteX2" fmla="*/ 2884 w 223101"/>
                <a:gd name="connsiteY2" fmla="*/ 97377 h 97376"/>
                <a:gd name="connsiteX3" fmla="*/ 223102 w 223101"/>
                <a:gd name="connsiteY3" fmla="*/ 3559 h 97376"/>
                <a:gd name="connsiteX4" fmla="*/ 223102 w 223101"/>
                <a:gd name="connsiteY4" fmla="*/ 0 h 97376"/>
                <a:gd name="connsiteX5" fmla="*/ 221576 w 223101"/>
                <a:gd name="connsiteY5" fmla="*/ 763 h 97376"/>
                <a:gd name="connsiteX6" fmla="*/ 1866 w 223101"/>
                <a:gd name="connsiteY6" fmla="*/ 93945 h 97376"/>
                <a:gd name="connsiteX7" fmla="*/ 976 w 223101"/>
                <a:gd name="connsiteY7" fmla="*/ 93945 h 97376"/>
                <a:gd name="connsiteX8" fmla="*/ 86 w 223101"/>
                <a:gd name="connsiteY8" fmla="*/ 95979 h 97376"/>
                <a:gd name="connsiteX9" fmla="*/ 849 w 223101"/>
                <a:gd name="connsiteY9" fmla="*/ 96741 h 97376"/>
                <a:gd name="connsiteX10" fmla="*/ 849 w 223101"/>
                <a:gd name="connsiteY10" fmla="*/ 96741 h 9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101" h="97376">
                  <a:moveTo>
                    <a:pt x="1866" y="97377"/>
                  </a:moveTo>
                  <a:lnTo>
                    <a:pt x="1866" y="97377"/>
                  </a:lnTo>
                  <a:lnTo>
                    <a:pt x="2884" y="97377"/>
                  </a:lnTo>
                  <a:lnTo>
                    <a:pt x="223102" y="3559"/>
                  </a:lnTo>
                  <a:lnTo>
                    <a:pt x="223102" y="0"/>
                  </a:lnTo>
                  <a:lnTo>
                    <a:pt x="221576" y="763"/>
                  </a:lnTo>
                  <a:lnTo>
                    <a:pt x="1866" y="93945"/>
                  </a:lnTo>
                  <a:lnTo>
                    <a:pt x="976" y="93945"/>
                  </a:lnTo>
                  <a:cubicBezTo>
                    <a:pt x="201" y="94288"/>
                    <a:pt x="-184" y="95178"/>
                    <a:pt x="86" y="95979"/>
                  </a:cubicBezTo>
                  <a:cubicBezTo>
                    <a:pt x="197" y="96347"/>
                    <a:pt x="483" y="96627"/>
                    <a:pt x="849" y="96741"/>
                  </a:cubicBezTo>
                  <a:lnTo>
                    <a:pt x="849" y="96741"/>
                  </a:lnTo>
                  <a:close/>
                </a:path>
              </a:pathLst>
            </a:custGeom>
            <a:solidFill>
              <a:srgbClr val="000000"/>
            </a:solidFill>
            <a:ln w="12685"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62F35C67-D08F-486F-B8E9-090ED7974A35}"/>
                </a:ext>
              </a:extLst>
            </p:cNvPr>
            <p:cNvSpPr/>
            <p:nvPr/>
          </p:nvSpPr>
          <p:spPr>
            <a:xfrm>
              <a:off x="4492980" y="4557820"/>
              <a:ext cx="384364" cy="334971"/>
            </a:xfrm>
            <a:custGeom>
              <a:avLst/>
              <a:gdLst>
                <a:gd name="connsiteX0" fmla="*/ 1399 w 384364"/>
                <a:gd name="connsiteY0" fmla="*/ 1907 h 334971"/>
                <a:gd name="connsiteX1" fmla="*/ 1399 w 384364"/>
                <a:gd name="connsiteY1" fmla="*/ 1907 h 334971"/>
                <a:gd name="connsiteX2" fmla="*/ 1399 w 384364"/>
                <a:gd name="connsiteY2" fmla="*/ 1907 h 334971"/>
                <a:gd name="connsiteX3" fmla="*/ 1399 w 384364"/>
                <a:gd name="connsiteY3" fmla="*/ 1907 h 334971"/>
                <a:gd name="connsiteX4" fmla="*/ 0 w 384364"/>
                <a:gd name="connsiteY4" fmla="*/ 1907 h 334971"/>
                <a:gd name="connsiteX5" fmla="*/ 381440 w 384364"/>
                <a:gd name="connsiteY5" fmla="*/ 334972 h 334971"/>
                <a:gd name="connsiteX6" fmla="*/ 384364 w 384364"/>
                <a:gd name="connsiteY6" fmla="*/ 333319 h 334971"/>
                <a:gd name="connsiteX7" fmla="*/ 2925 w 384364"/>
                <a:gd name="connsiteY7" fmla="*/ 0 h 33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4" h="334971">
                  <a:moveTo>
                    <a:pt x="1399" y="1907"/>
                  </a:moveTo>
                  <a:cubicBezTo>
                    <a:pt x="1399" y="1907"/>
                    <a:pt x="1399" y="1907"/>
                    <a:pt x="1399" y="1907"/>
                  </a:cubicBezTo>
                  <a:lnTo>
                    <a:pt x="1399" y="1907"/>
                  </a:lnTo>
                  <a:lnTo>
                    <a:pt x="1399" y="1907"/>
                  </a:lnTo>
                  <a:lnTo>
                    <a:pt x="0" y="1907"/>
                  </a:lnTo>
                  <a:lnTo>
                    <a:pt x="381440" y="334972"/>
                  </a:lnTo>
                  <a:lnTo>
                    <a:pt x="384364" y="333319"/>
                  </a:lnTo>
                  <a:lnTo>
                    <a:pt x="2925" y="0"/>
                  </a:lnTo>
                  <a:close/>
                </a:path>
              </a:pathLst>
            </a:custGeom>
            <a:solidFill>
              <a:srgbClr val="000000"/>
            </a:solidFill>
            <a:ln w="12685"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34AC85DB-0862-407A-91C6-FBD4C4B3ED48}"/>
                </a:ext>
              </a:extLst>
            </p:cNvPr>
            <p:cNvSpPr/>
            <p:nvPr/>
          </p:nvSpPr>
          <p:spPr>
            <a:xfrm>
              <a:off x="2875420" y="4992583"/>
              <a:ext cx="829631" cy="478112"/>
            </a:xfrm>
            <a:custGeom>
              <a:avLst/>
              <a:gdLst>
                <a:gd name="connsiteX0" fmla="*/ 0 w 829631"/>
                <a:gd name="connsiteY0" fmla="*/ 475062 h 478112"/>
                <a:gd name="connsiteX1" fmla="*/ 0 w 829631"/>
                <a:gd name="connsiteY1" fmla="*/ 476333 h 478112"/>
                <a:gd name="connsiteX2" fmla="*/ 0 w 829631"/>
                <a:gd name="connsiteY2" fmla="*/ 478113 h 478112"/>
                <a:gd name="connsiteX3" fmla="*/ 0 w 829631"/>
                <a:gd name="connsiteY3" fmla="*/ 478113 h 478112"/>
                <a:gd name="connsiteX4" fmla="*/ 829632 w 829631"/>
                <a:gd name="connsiteY4" fmla="*/ 2924 h 478112"/>
                <a:gd name="connsiteX5" fmla="*/ 828106 w 829631"/>
                <a:gd name="connsiteY5" fmla="*/ 0 h 47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631" h="478112">
                  <a:moveTo>
                    <a:pt x="0" y="475062"/>
                  </a:moveTo>
                  <a:lnTo>
                    <a:pt x="0" y="476333"/>
                  </a:lnTo>
                  <a:cubicBezTo>
                    <a:pt x="114" y="476918"/>
                    <a:pt x="114" y="477528"/>
                    <a:pt x="0" y="478113"/>
                  </a:cubicBezTo>
                  <a:lnTo>
                    <a:pt x="0" y="478113"/>
                  </a:lnTo>
                  <a:lnTo>
                    <a:pt x="829632" y="2924"/>
                  </a:lnTo>
                  <a:cubicBezTo>
                    <a:pt x="828996" y="2021"/>
                    <a:pt x="828487" y="1042"/>
                    <a:pt x="828106" y="0"/>
                  </a:cubicBezTo>
                  <a:close/>
                </a:path>
              </a:pathLst>
            </a:custGeom>
            <a:solidFill>
              <a:srgbClr val="000000"/>
            </a:solidFill>
            <a:ln w="12685"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13124E02-C797-4018-A546-EFCA2937B755}"/>
                </a:ext>
              </a:extLst>
            </p:cNvPr>
            <p:cNvSpPr/>
            <p:nvPr/>
          </p:nvSpPr>
          <p:spPr>
            <a:xfrm>
              <a:off x="1584232" y="667065"/>
              <a:ext cx="3400677" cy="2695916"/>
            </a:xfrm>
            <a:custGeom>
              <a:avLst/>
              <a:gdLst>
                <a:gd name="connsiteX0" fmla="*/ 1667 w 3400677"/>
                <a:gd name="connsiteY0" fmla="*/ 3305 h 2695916"/>
                <a:gd name="connsiteX1" fmla="*/ 3320 w 3400677"/>
                <a:gd name="connsiteY1" fmla="*/ 16018 h 2695916"/>
                <a:gd name="connsiteX2" fmla="*/ 7262 w 3400677"/>
                <a:gd name="connsiteY2" fmla="*/ 19069 h 2695916"/>
                <a:gd name="connsiteX3" fmla="*/ 3383259 w 3400677"/>
                <a:gd name="connsiteY3" fmla="*/ 2695917 h 2695916"/>
                <a:gd name="connsiteX4" fmla="*/ 3385548 w 3400677"/>
                <a:gd name="connsiteY4" fmla="*/ 2695154 h 2695916"/>
                <a:gd name="connsiteX5" fmla="*/ 3386692 w 3400677"/>
                <a:gd name="connsiteY5" fmla="*/ 2690959 h 2695916"/>
                <a:gd name="connsiteX6" fmla="*/ 3397601 w 3400677"/>
                <a:gd name="connsiteY6" fmla="*/ 2684692 h 2695916"/>
                <a:gd name="connsiteX7" fmla="*/ 3397754 w 3400677"/>
                <a:gd name="connsiteY7" fmla="*/ 2684730 h 2695916"/>
                <a:gd name="connsiteX8" fmla="*/ 3400678 w 3400677"/>
                <a:gd name="connsiteY8" fmla="*/ 2686383 h 2695916"/>
                <a:gd name="connsiteX9" fmla="*/ 3400678 w 3400677"/>
                <a:gd name="connsiteY9" fmla="*/ 2686383 h 2695916"/>
                <a:gd name="connsiteX10" fmla="*/ 14000 w 3400677"/>
                <a:gd name="connsiteY10" fmla="*/ 1525 h 2695916"/>
                <a:gd name="connsiteX11" fmla="*/ 13110 w 3400677"/>
                <a:gd name="connsiteY11" fmla="*/ 1525 h 2695916"/>
                <a:gd name="connsiteX12" fmla="*/ 11458 w 3400677"/>
                <a:gd name="connsiteY12" fmla="*/ 0 h 2695916"/>
                <a:gd name="connsiteX13" fmla="*/ 9805 w 3400677"/>
                <a:gd name="connsiteY13" fmla="*/ 0 h 2695916"/>
                <a:gd name="connsiteX14" fmla="*/ 8279 w 3400677"/>
                <a:gd name="connsiteY14" fmla="*/ 0 h 2695916"/>
                <a:gd name="connsiteX15" fmla="*/ 6372 w 3400677"/>
                <a:gd name="connsiteY15" fmla="*/ 0 h 2695916"/>
                <a:gd name="connsiteX16" fmla="*/ 1667 w 3400677"/>
                <a:gd name="connsiteY16" fmla="*/ 3305 h 269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0677" h="2695916">
                  <a:moveTo>
                    <a:pt x="1667" y="3305"/>
                  </a:moveTo>
                  <a:cubicBezTo>
                    <a:pt x="-1079" y="7351"/>
                    <a:pt x="-367" y="12808"/>
                    <a:pt x="3320" y="16018"/>
                  </a:cubicBezTo>
                  <a:lnTo>
                    <a:pt x="7262" y="19069"/>
                  </a:lnTo>
                  <a:lnTo>
                    <a:pt x="3383259" y="2695917"/>
                  </a:lnTo>
                  <a:lnTo>
                    <a:pt x="3385548" y="2695154"/>
                  </a:lnTo>
                  <a:lnTo>
                    <a:pt x="3386692" y="2690959"/>
                  </a:lnTo>
                  <a:cubicBezTo>
                    <a:pt x="3387976" y="2686217"/>
                    <a:pt x="3392859" y="2683408"/>
                    <a:pt x="3397601" y="2684692"/>
                  </a:cubicBezTo>
                  <a:cubicBezTo>
                    <a:pt x="3397652" y="2684704"/>
                    <a:pt x="3397703" y="2684717"/>
                    <a:pt x="3397754" y="2684730"/>
                  </a:cubicBezTo>
                  <a:cubicBezTo>
                    <a:pt x="3398796" y="2685149"/>
                    <a:pt x="3399776" y="2685709"/>
                    <a:pt x="3400678" y="2686383"/>
                  </a:cubicBezTo>
                  <a:lnTo>
                    <a:pt x="3400678" y="2686383"/>
                  </a:lnTo>
                  <a:lnTo>
                    <a:pt x="14000" y="1525"/>
                  </a:lnTo>
                  <a:cubicBezTo>
                    <a:pt x="14000" y="1525"/>
                    <a:pt x="14000" y="1525"/>
                    <a:pt x="13110" y="1525"/>
                  </a:cubicBezTo>
                  <a:lnTo>
                    <a:pt x="11458" y="0"/>
                  </a:lnTo>
                  <a:lnTo>
                    <a:pt x="9805" y="0"/>
                  </a:lnTo>
                  <a:lnTo>
                    <a:pt x="8279" y="0"/>
                  </a:lnTo>
                  <a:lnTo>
                    <a:pt x="6372" y="0"/>
                  </a:lnTo>
                  <a:cubicBezTo>
                    <a:pt x="4464" y="523"/>
                    <a:pt x="2799" y="1692"/>
                    <a:pt x="1667" y="3305"/>
                  </a:cubicBezTo>
                  <a:close/>
                </a:path>
              </a:pathLst>
            </a:custGeom>
            <a:solidFill>
              <a:srgbClr val="000000"/>
            </a:solidFill>
            <a:ln w="12685"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AD192F86-3A01-43FA-B20D-6702F2551140}"/>
                </a:ext>
              </a:extLst>
            </p:cNvPr>
            <p:cNvSpPr/>
            <p:nvPr/>
          </p:nvSpPr>
          <p:spPr>
            <a:xfrm>
              <a:off x="1547120" y="802961"/>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587A3B2F-5C43-48FA-9F92-2C6F2F02C54F}"/>
                </a:ext>
              </a:extLst>
            </p:cNvPr>
            <p:cNvSpPr/>
            <p:nvPr/>
          </p:nvSpPr>
          <p:spPr>
            <a:xfrm>
              <a:off x="1548391" y="802452"/>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C691F0F3-B78E-4CED-B9E8-42776F87447D}"/>
                </a:ext>
              </a:extLst>
            </p:cNvPr>
            <p:cNvSpPr/>
            <p:nvPr/>
          </p:nvSpPr>
          <p:spPr>
            <a:xfrm>
              <a:off x="1549408" y="802707"/>
              <a:ext cx="3255335" cy="2616209"/>
            </a:xfrm>
            <a:custGeom>
              <a:avLst/>
              <a:gdLst>
                <a:gd name="connsiteX0" fmla="*/ 509 w 3255335"/>
                <a:gd name="connsiteY0" fmla="*/ 1398 h 2616209"/>
                <a:gd name="connsiteX1" fmla="*/ 509 w 3255335"/>
                <a:gd name="connsiteY1" fmla="*/ 4195 h 2616209"/>
                <a:gd name="connsiteX2" fmla="*/ 3254572 w 3255335"/>
                <a:gd name="connsiteY2" fmla="*/ 2616210 h 2616209"/>
                <a:gd name="connsiteX3" fmla="*/ 3254572 w 3255335"/>
                <a:gd name="connsiteY3" fmla="*/ 2615193 h 2616209"/>
                <a:gd name="connsiteX4" fmla="*/ 3254572 w 3255335"/>
                <a:gd name="connsiteY4" fmla="*/ 2615193 h 2616209"/>
                <a:gd name="connsiteX5" fmla="*/ 3254572 w 3255335"/>
                <a:gd name="connsiteY5" fmla="*/ 2615193 h 2616209"/>
                <a:gd name="connsiteX6" fmla="*/ 3254572 w 3255335"/>
                <a:gd name="connsiteY6" fmla="*/ 2615193 h 2616209"/>
                <a:gd name="connsiteX7" fmla="*/ 3254572 w 3255335"/>
                <a:gd name="connsiteY7" fmla="*/ 2615193 h 2616209"/>
                <a:gd name="connsiteX8" fmla="*/ 3255335 w 3255335"/>
                <a:gd name="connsiteY8" fmla="*/ 2615193 h 2616209"/>
                <a:gd name="connsiteX9" fmla="*/ 0 w 3255335"/>
                <a:gd name="connsiteY9" fmla="*/ 0 h 2616209"/>
                <a:gd name="connsiteX10" fmla="*/ 0 w 3255335"/>
                <a:gd name="connsiteY10" fmla="*/ 0 h 2616209"/>
                <a:gd name="connsiteX11" fmla="*/ 509 w 3255335"/>
                <a:gd name="connsiteY11" fmla="*/ 1398 h 261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335" h="2616209">
                  <a:moveTo>
                    <a:pt x="509" y="1398"/>
                  </a:moveTo>
                  <a:lnTo>
                    <a:pt x="509" y="4195"/>
                  </a:lnTo>
                  <a:lnTo>
                    <a:pt x="3254572" y="2616210"/>
                  </a:lnTo>
                  <a:lnTo>
                    <a:pt x="3254572" y="2615193"/>
                  </a:lnTo>
                  <a:lnTo>
                    <a:pt x="3254572" y="2615193"/>
                  </a:lnTo>
                  <a:lnTo>
                    <a:pt x="3254572" y="2615193"/>
                  </a:lnTo>
                  <a:cubicBezTo>
                    <a:pt x="3254572" y="2615193"/>
                    <a:pt x="3254572" y="2615193"/>
                    <a:pt x="3254572" y="2615193"/>
                  </a:cubicBezTo>
                  <a:lnTo>
                    <a:pt x="3254572" y="2615193"/>
                  </a:lnTo>
                  <a:lnTo>
                    <a:pt x="3255335" y="2615193"/>
                  </a:lnTo>
                  <a:lnTo>
                    <a:pt x="0" y="0"/>
                  </a:lnTo>
                  <a:lnTo>
                    <a:pt x="0" y="0"/>
                  </a:lnTo>
                  <a:cubicBezTo>
                    <a:pt x="420" y="329"/>
                    <a:pt x="623" y="873"/>
                    <a:pt x="509" y="1398"/>
                  </a:cubicBezTo>
                  <a:close/>
                </a:path>
              </a:pathLst>
            </a:custGeom>
            <a:solidFill>
              <a:srgbClr val="000000"/>
            </a:solidFill>
            <a:ln w="12685"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FEEB693C-550C-4741-960C-4B52AB0A91D5}"/>
                </a:ext>
              </a:extLst>
            </p:cNvPr>
            <p:cNvSpPr/>
            <p:nvPr/>
          </p:nvSpPr>
          <p:spPr>
            <a:xfrm>
              <a:off x="4805379" y="3362219"/>
              <a:ext cx="164781" cy="57460"/>
            </a:xfrm>
            <a:custGeom>
              <a:avLst/>
              <a:gdLst>
                <a:gd name="connsiteX0" fmla="*/ 0 w 164781"/>
                <a:gd name="connsiteY0" fmla="*/ 54536 h 57460"/>
                <a:gd name="connsiteX1" fmla="*/ 0 w 164781"/>
                <a:gd name="connsiteY1" fmla="*/ 54536 h 57460"/>
                <a:gd name="connsiteX2" fmla="*/ 1017 w 164781"/>
                <a:gd name="connsiteY2" fmla="*/ 54536 h 57460"/>
                <a:gd name="connsiteX3" fmla="*/ 2034 w 164781"/>
                <a:gd name="connsiteY3" fmla="*/ 56570 h 57460"/>
                <a:gd name="connsiteX4" fmla="*/ 2034 w 164781"/>
                <a:gd name="connsiteY4" fmla="*/ 57460 h 57460"/>
                <a:gd name="connsiteX5" fmla="*/ 163765 w 164781"/>
                <a:gd name="connsiteY5" fmla="*/ 3814 h 57460"/>
                <a:gd name="connsiteX6" fmla="*/ 164782 w 164781"/>
                <a:gd name="connsiteY6" fmla="*/ 0 h 57460"/>
                <a:gd name="connsiteX7" fmla="*/ 162493 w 164781"/>
                <a:gd name="connsiteY7" fmla="*/ 763 h 57460"/>
                <a:gd name="connsiteX8" fmla="*/ 763 w 164781"/>
                <a:gd name="connsiteY8" fmla="*/ 54282 h 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781" h="57460">
                  <a:moveTo>
                    <a:pt x="0" y="54536"/>
                  </a:moveTo>
                  <a:lnTo>
                    <a:pt x="0" y="54536"/>
                  </a:lnTo>
                  <a:cubicBezTo>
                    <a:pt x="331" y="54409"/>
                    <a:pt x="686" y="54409"/>
                    <a:pt x="1017" y="54536"/>
                  </a:cubicBezTo>
                  <a:cubicBezTo>
                    <a:pt x="1843" y="54841"/>
                    <a:pt x="2289" y="55731"/>
                    <a:pt x="2034" y="56570"/>
                  </a:cubicBezTo>
                  <a:lnTo>
                    <a:pt x="2034" y="57460"/>
                  </a:lnTo>
                  <a:lnTo>
                    <a:pt x="163765" y="3814"/>
                  </a:lnTo>
                  <a:lnTo>
                    <a:pt x="164782" y="0"/>
                  </a:lnTo>
                  <a:lnTo>
                    <a:pt x="162493" y="763"/>
                  </a:lnTo>
                  <a:lnTo>
                    <a:pt x="763" y="54282"/>
                  </a:lnTo>
                  <a:close/>
                </a:path>
              </a:pathLst>
            </a:custGeom>
            <a:solidFill>
              <a:srgbClr val="000000"/>
            </a:solidFill>
            <a:ln w="12685"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E8194263-3358-4B36-BF59-E12E26C40A34}"/>
                </a:ext>
              </a:extLst>
            </p:cNvPr>
            <p:cNvSpPr/>
            <p:nvPr/>
          </p:nvSpPr>
          <p:spPr>
            <a:xfrm>
              <a:off x="2410700" y="5107122"/>
              <a:ext cx="2898943" cy="1756979"/>
            </a:xfrm>
            <a:custGeom>
              <a:avLst/>
              <a:gdLst>
                <a:gd name="connsiteX0" fmla="*/ 2890551 w 2898943"/>
                <a:gd name="connsiteY0" fmla="*/ 15128 h 1756979"/>
                <a:gd name="connsiteX1" fmla="*/ 2885211 w 2898943"/>
                <a:gd name="connsiteY1" fmla="*/ 3305 h 1756979"/>
                <a:gd name="connsiteX2" fmla="*/ 2886229 w 2898943"/>
                <a:gd name="connsiteY2" fmla="*/ 0 h 1756979"/>
                <a:gd name="connsiteX3" fmla="*/ 0 w 2898943"/>
                <a:gd name="connsiteY3" fmla="*/ 1756980 h 1756979"/>
                <a:gd name="connsiteX4" fmla="*/ 35347 w 2898943"/>
                <a:gd name="connsiteY4" fmla="*/ 1756980 h 1756979"/>
                <a:gd name="connsiteX5" fmla="*/ 2897926 w 2898943"/>
                <a:gd name="connsiteY5" fmla="*/ 14365 h 1756979"/>
                <a:gd name="connsiteX6" fmla="*/ 2898943 w 2898943"/>
                <a:gd name="connsiteY6" fmla="*/ 13475 h 1756979"/>
                <a:gd name="connsiteX7" fmla="*/ 2890551 w 2898943"/>
                <a:gd name="connsiteY7" fmla="*/ 15128 h 17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8943" h="1756979">
                  <a:moveTo>
                    <a:pt x="2890551" y="15128"/>
                  </a:moveTo>
                  <a:cubicBezTo>
                    <a:pt x="2885860" y="13297"/>
                    <a:pt x="2883482" y="8047"/>
                    <a:pt x="2885211" y="3305"/>
                  </a:cubicBezTo>
                  <a:lnTo>
                    <a:pt x="2886229" y="0"/>
                  </a:lnTo>
                  <a:lnTo>
                    <a:pt x="0" y="1756980"/>
                  </a:lnTo>
                  <a:lnTo>
                    <a:pt x="35347" y="1756980"/>
                  </a:lnTo>
                  <a:lnTo>
                    <a:pt x="2897926" y="14365"/>
                  </a:lnTo>
                  <a:cubicBezTo>
                    <a:pt x="2897926" y="14365"/>
                    <a:pt x="2898562" y="14365"/>
                    <a:pt x="2898943" y="13475"/>
                  </a:cubicBezTo>
                  <a:cubicBezTo>
                    <a:pt x="2896655" y="15522"/>
                    <a:pt x="2893438" y="16145"/>
                    <a:pt x="2890551" y="15128"/>
                  </a:cubicBezTo>
                  <a:close/>
                </a:path>
              </a:pathLst>
            </a:custGeom>
            <a:solidFill>
              <a:srgbClr val="000000"/>
            </a:solidFill>
            <a:ln w="12685"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43757CDE-223E-464C-B24F-BE501A18D227}"/>
                </a:ext>
              </a:extLst>
            </p:cNvPr>
            <p:cNvSpPr/>
            <p:nvPr/>
          </p:nvSpPr>
          <p:spPr>
            <a:xfrm>
              <a:off x="5295347" y="4743675"/>
              <a:ext cx="141951" cy="378546"/>
            </a:xfrm>
            <a:custGeom>
              <a:avLst/>
              <a:gdLst>
                <a:gd name="connsiteX0" fmla="*/ 128219 w 141951"/>
                <a:gd name="connsiteY0" fmla="*/ 4068 h 378546"/>
                <a:gd name="connsiteX1" fmla="*/ 126694 w 141951"/>
                <a:gd name="connsiteY1" fmla="*/ 2924 h 378546"/>
                <a:gd name="connsiteX2" fmla="*/ 121226 w 141951"/>
                <a:gd name="connsiteY2" fmla="*/ 6229 h 378546"/>
                <a:gd name="connsiteX3" fmla="*/ 1581 w 141951"/>
                <a:gd name="connsiteY3" fmla="*/ 362939 h 378546"/>
                <a:gd name="connsiteX4" fmla="*/ 564 w 141951"/>
                <a:gd name="connsiteY4" fmla="*/ 366244 h 378546"/>
                <a:gd name="connsiteX5" fmla="*/ 5904 w 141951"/>
                <a:gd name="connsiteY5" fmla="*/ 378067 h 378546"/>
                <a:gd name="connsiteX6" fmla="*/ 14296 w 141951"/>
                <a:gd name="connsiteY6" fmla="*/ 376414 h 378546"/>
                <a:gd name="connsiteX7" fmla="*/ 15568 w 141951"/>
                <a:gd name="connsiteY7" fmla="*/ 375270 h 378546"/>
                <a:gd name="connsiteX8" fmla="*/ 16585 w 141951"/>
                <a:gd name="connsiteY8" fmla="*/ 373490 h 378546"/>
                <a:gd name="connsiteX9" fmla="*/ 17220 w 141951"/>
                <a:gd name="connsiteY9" fmla="*/ 372473 h 378546"/>
                <a:gd name="connsiteX10" fmla="*/ 141951 w 141951"/>
                <a:gd name="connsiteY10" fmla="*/ 0 h 378546"/>
                <a:gd name="connsiteX11" fmla="*/ 141951 w 141951"/>
                <a:gd name="connsiteY11" fmla="*/ 0 h 378546"/>
                <a:gd name="connsiteX12" fmla="*/ 140425 w 141951"/>
                <a:gd name="connsiteY12" fmla="*/ 3051 h 378546"/>
                <a:gd name="connsiteX13" fmla="*/ 128435 w 141951"/>
                <a:gd name="connsiteY13" fmla="*/ 4259 h 378546"/>
                <a:gd name="connsiteX14" fmla="*/ 128219 w 141951"/>
                <a:gd name="connsiteY14" fmla="*/ 4068 h 37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951" h="378546">
                  <a:moveTo>
                    <a:pt x="128219" y="4068"/>
                  </a:moveTo>
                  <a:lnTo>
                    <a:pt x="126694" y="2924"/>
                  </a:lnTo>
                  <a:lnTo>
                    <a:pt x="121226" y="6229"/>
                  </a:lnTo>
                  <a:lnTo>
                    <a:pt x="1581" y="362939"/>
                  </a:lnTo>
                  <a:lnTo>
                    <a:pt x="564" y="366244"/>
                  </a:lnTo>
                  <a:cubicBezTo>
                    <a:pt x="-1165" y="370986"/>
                    <a:pt x="1213" y="376236"/>
                    <a:pt x="5904" y="378067"/>
                  </a:cubicBezTo>
                  <a:cubicBezTo>
                    <a:pt x="8790" y="379084"/>
                    <a:pt x="12007" y="378461"/>
                    <a:pt x="14296" y="376414"/>
                  </a:cubicBezTo>
                  <a:lnTo>
                    <a:pt x="15568" y="375270"/>
                  </a:lnTo>
                  <a:cubicBezTo>
                    <a:pt x="15974" y="374723"/>
                    <a:pt x="16318" y="374126"/>
                    <a:pt x="16585" y="373490"/>
                  </a:cubicBezTo>
                  <a:cubicBezTo>
                    <a:pt x="16585" y="373490"/>
                    <a:pt x="16585" y="372855"/>
                    <a:pt x="17220" y="372473"/>
                  </a:cubicBezTo>
                  <a:lnTo>
                    <a:pt x="141951" y="0"/>
                  </a:lnTo>
                  <a:lnTo>
                    <a:pt x="141951" y="0"/>
                  </a:lnTo>
                  <a:cubicBezTo>
                    <a:pt x="141646" y="1106"/>
                    <a:pt x="141137" y="2148"/>
                    <a:pt x="140425" y="3051"/>
                  </a:cubicBezTo>
                  <a:cubicBezTo>
                    <a:pt x="137450" y="6687"/>
                    <a:pt x="132085" y="7233"/>
                    <a:pt x="128435" y="4259"/>
                  </a:cubicBezTo>
                  <a:cubicBezTo>
                    <a:pt x="128359" y="4195"/>
                    <a:pt x="128296" y="4132"/>
                    <a:pt x="128219" y="4068"/>
                  </a:cubicBezTo>
                  <a:close/>
                </a:path>
              </a:pathLst>
            </a:custGeom>
            <a:solidFill>
              <a:srgbClr val="000000"/>
            </a:solidFill>
            <a:ln w="12685"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403A8A26-EDE7-4C44-A04B-7138E4E97F74}"/>
                </a:ext>
              </a:extLst>
            </p:cNvPr>
            <p:cNvSpPr/>
            <p:nvPr/>
          </p:nvSpPr>
          <p:spPr>
            <a:xfrm>
              <a:off x="5418099" y="4744183"/>
              <a:ext cx="1398" cy="1525"/>
            </a:xfrm>
            <a:custGeom>
              <a:avLst/>
              <a:gdLst>
                <a:gd name="connsiteX0" fmla="*/ 1398 w 1398"/>
                <a:gd name="connsiteY0" fmla="*/ 635 h 1525"/>
                <a:gd name="connsiteX1" fmla="*/ 509 w 1398"/>
                <a:gd name="connsiteY1" fmla="*/ 0 h 1525"/>
                <a:gd name="connsiteX2" fmla="*/ 0 w 1398"/>
                <a:gd name="connsiteY2" fmla="*/ 1525 h 1525"/>
                <a:gd name="connsiteX3" fmla="*/ 1398 w 1398"/>
                <a:gd name="connsiteY3" fmla="*/ 635 h 1525"/>
              </a:gdLst>
              <a:ahLst/>
              <a:cxnLst>
                <a:cxn ang="0">
                  <a:pos x="connsiteX0" y="connsiteY0"/>
                </a:cxn>
                <a:cxn ang="0">
                  <a:pos x="connsiteX1" y="connsiteY1"/>
                </a:cxn>
                <a:cxn ang="0">
                  <a:pos x="connsiteX2" y="connsiteY2"/>
                </a:cxn>
                <a:cxn ang="0">
                  <a:pos x="connsiteX3" y="connsiteY3"/>
                </a:cxn>
              </a:cxnLst>
              <a:rect l="l" t="t" r="r" b="b"/>
              <a:pathLst>
                <a:path w="1398" h="1525">
                  <a:moveTo>
                    <a:pt x="1398" y="635"/>
                  </a:moveTo>
                  <a:lnTo>
                    <a:pt x="509" y="0"/>
                  </a:lnTo>
                  <a:lnTo>
                    <a:pt x="0" y="1525"/>
                  </a:lnTo>
                  <a:lnTo>
                    <a:pt x="1398" y="635"/>
                  </a:lnTo>
                  <a:close/>
                </a:path>
              </a:pathLst>
            </a:custGeom>
            <a:solidFill>
              <a:srgbClr val="000000"/>
            </a:solidFill>
            <a:ln w="12685"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5B90BB08-EB0E-4DCD-B039-6BE2FF20313C}"/>
                </a:ext>
              </a:extLst>
            </p:cNvPr>
            <p:cNvSpPr/>
            <p:nvPr/>
          </p:nvSpPr>
          <p:spPr>
            <a:xfrm>
              <a:off x="3934806" y="4070299"/>
              <a:ext cx="557029" cy="490316"/>
            </a:xfrm>
            <a:custGeom>
              <a:avLst/>
              <a:gdLst>
                <a:gd name="connsiteX0" fmla="*/ 0 w 557029"/>
                <a:gd name="connsiteY0" fmla="*/ 3687 h 490316"/>
                <a:gd name="connsiteX1" fmla="*/ 557029 w 557029"/>
                <a:gd name="connsiteY1" fmla="*/ 490317 h 490316"/>
                <a:gd name="connsiteX2" fmla="*/ 557029 w 557029"/>
                <a:gd name="connsiteY2" fmla="*/ 490317 h 490316"/>
                <a:gd name="connsiteX3" fmla="*/ 556139 w 557029"/>
                <a:gd name="connsiteY3" fmla="*/ 488410 h 490316"/>
                <a:gd name="connsiteX4" fmla="*/ 556775 w 557029"/>
                <a:gd name="connsiteY4" fmla="*/ 485995 h 490316"/>
                <a:gd name="connsiteX5" fmla="*/ 509 w 557029"/>
                <a:gd name="connsiteY5" fmla="*/ 0 h 49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029" h="490316">
                  <a:moveTo>
                    <a:pt x="0" y="3687"/>
                  </a:moveTo>
                  <a:lnTo>
                    <a:pt x="557029" y="490317"/>
                  </a:lnTo>
                  <a:lnTo>
                    <a:pt x="557029" y="490317"/>
                  </a:lnTo>
                  <a:cubicBezTo>
                    <a:pt x="556317" y="489974"/>
                    <a:pt x="555936" y="489173"/>
                    <a:pt x="556139" y="488410"/>
                  </a:cubicBezTo>
                  <a:lnTo>
                    <a:pt x="556775" y="485995"/>
                  </a:lnTo>
                  <a:lnTo>
                    <a:pt x="509" y="0"/>
                  </a:lnTo>
                  <a:close/>
                </a:path>
              </a:pathLst>
            </a:custGeom>
            <a:solidFill>
              <a:srgbClr val="000000"/>
            </a:solidFill>
            <a:ln w="12685"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05C73945-6E42-4F8A-B7E6-4584E5041267}"/>
                </a:ext>
              </a:extLst>
            </p:cNvPr>
            <p:cNvSpPr/>
            <p:nvPr/>
          </p:nvSpPr>
          <p:spPr>
            <a:xfrm>
              <a:off x="4494124" y="456010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EB37B9E9-A229-4425-9D4C-DC680EB2A5A9}"/>
                </a:ext>
              </a:extLst>
            </p:cNvPr>
            <p:cNvSpPr/>
            <p:nvPr/>
          </p:nvSpPr>
          <p:spPr>
            <a:xfrm>
              <a:off x="4741679" y="4170473"/>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C4B484C5-B1C7-48CF-803D-AE94504CEE6E}"/>
                </a:ext>
              </a:extLst>
            </p:cNvPr>
            <p:cNvSpPr/>
            <p:nvPr/>
          </p:nvSpPr>
          <p:spPr>
            <a:xfrm>
              <a:off x="4742696" y="4173651"/>
              <a:ext cx="2161" cy="2796"/>
            </a:xfrm>
            <a:custGeom>
              <a:avLst/>
              <a:gdLst>
                <a:gd name="connsiteX0" fmla="*/ 2161 w 2161"/>
                <a:gd name="connsiteY0" fmla="*/ 2797 h 2796"/>
                <a:gd name="connsiteX1" fmla="*/ 0 w 2161"/>
                <a:gd name="connsiteY1" fmla="*/ 0 h 2796"/>
                <a:gd name="connsiteX2" fmla="*/ 0 w 2161"/>
                <a:gd name="connsiteY2" fmla="*/ 0 h 2796"/>
                <a:gd name="connsiteX3" fmla="*/ 2161 w 2161"/>
                <a:gd name="connsiteY3" fmla="*/ 2797 h 2796"/>
              </a:gdLst>
              <a:ahLst/>
              <a:cxnLst>
                <a:cxn ang="0">
                  <a:pos x="connsiteX0" y="connsiteY0"/>
                </a:cxn>
                <a:cxn ang="0">
                  <a:pos x="connsiteX1" y="connsiteY1"/>
                </a:cxn>
                <a:cxn ang="0">
                  <a:pos x="connsiteX2" y="connsiteY2"/>
                </a:cxn>
                <a:cxn ang="0">
                  <a:pos x="connsiteX3" y="connsiteY3"/>
                </a:cxn>
              </a:cxnLst>
              <a:rect l="l" t="t" r="r" b="b"/>
              <a:pathLst>
                <a:path w="2161" h="2796">
                  <a:moveTo>
                    <a:pt x="2161" y="2797"/>
                  </a:moveTo>
                  <a:cubicBezTo>
                    <a:pt x="1271" y="2008"/>
                    <a:pt x="534" y="1068"/>
                    <a:pt x="0" y="0"/>
                  </a:cubicBezTo>
                  <a:lnTo>
                    <a:pt x="0" y="0"/>
                  </a:lnTo>
                  <a:cubicBezTo>
                    <a:pt x="534" y="1068"/>
                    <a:pt x="1271" y="2008"/>
                    <a:pt x="2161" y="2797"/>
                  </a:cubicBezTo>
                  <a:close/>
                </a:path>
              </a:pathLst>
            </a:custGeom>
            <a:solidFill>
              <a:srgbClr val="000000"/>
            </a:solidFill>
            <a:ln w="12685"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E44A5865-3610-4270-97DD-4257C4ECCE62}"/>
                </a:ext>
              </a:extLst>
            </p:cNvPr>
            <p:cNvSpPr/>
            <p:nvPr/>
          </p:nvSpPr>
          <p:spPr>
            <a:xfrm>
              <a:off x="4742441" y="3351625"/>
              <a:ext cx="245567" cy="815288"/>
            </a:xfrm>
            <a:custGeom>
              <a:avLst/>
              <a:gdLst>
                <a:gd name="connsiteX0" fmla="*/ 228991 w 245567"/>
                <a:gd name="connsiteY0" fmla="*/ 6400 h 815288"/>
                <a:gd name="connsiteX1" fmla="*/ 227847 w 245567"/>
                <a:gd name="connsiteY1" fmla="*/ 10595 h 815288"/>
                <a:gd name="connsiteX2" fmla="*/ 226830 w 245567"/>
                <a:gd name="connsiteY2" fmla="*/ 14408 h 815288"/>
                <a:gd name="connsiteX3" fmla="*/ 0 w 245567"/>
                <a:gd name="connsiteY3" fmla="*/ 815289 h 815288"/>
                <a:gd name="connsiteX4" fmla="*/ 0 w 245567"/>
                <a:gd name="connsiteY4" fmla="*/ 815289 h 815288"/>
                <a:gd name="connsiteX5" fmla="*/ 1526 w 245567"/>
                <a:gd name="connsiteY5" fmla="*/ 812111 h 815288"/>
                <a:gd name="connsiteX6" fmla="*/ 13605 w 245567"/>
                <a:gd name="connsiteY6" fmla="*/ 810204 h 815288"/>
                <a:gd name="connsiteX7" fmla="*/ 14240 w 245567"/>
                <a:gd name="connsiteY7" fmla="*/ 810713 h 815288"/>
                <a:gd name="connsiteX8" fmla="*/ 18945 w 245567"/>
                <a:gd name="connsiteY8" fmla="*/ 814654 h 815288"/>
                <a:gd name="connsiteX9" fmla="*/ 245520 w 245567"/>
                <a:gd name="connsiteY9" fmla="*/ 11739 h 815288"/>
                <a:gd name="connsiteX10" fmla="*/ 245520 w 245567"/>
                <a:gd name="connsiteY10" fmla="*/ 11739 h 815288"/>
                <a:gd name="connsiteX11" fmla="*/ 245520 w 245567"/>
                <a:gd name="connsiteY11" fmla="*/ 9451 h 815288"/>
                <a:gd name="connsiteX12" fmla="*/ 245520 w 245567"/>
                <a:gd name="connsiteY12" fmla="*/ 8052 h 815288"/>
                <a:gd name="connsiteX13" fmla="*/ 244885 w 245567"/>
                <a:gd name="connsiteY13" fmla="*/ 6145 h 815288"/>
                <a:gd name="connsiteX14" fmla="*/ 244885 w 245567"/>
                <a:gd name="connsiteY14" fmla="*/ 4747 h 815288"/>
                <a:gd name="connsiteX15" fmla="*/ 243994 w 245567"/>
                <a:gd name="connsiteY15" fmla="*/ 3476 h 815288"/>
                <a:gd name="connsiteX16" fmla="*/ 242723 w 245567"/>
                <a:gd name="connsiteY16" fmla="*/ 1950 h 815288"/>
                <a:gd name="connsiteX17" fmla="*/ 239799 w 245567"/>
                <a:gd name="connsiteY17" fmla="*/ 298 h 815288"/>
                <a:gd name="connsiteX18" fmla="*/ 228991 w 245567"/>
                <a:gd name="connsiteY18" fmla="*/ 6400 h 81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5567" h="815288">
                  <a:moveTo>
                    <a:pt x="228991" y="6400"/>
                  </a:moveTo>
                  <a:lnTo>
                    <a:pt x="227847" y="10595"/>
                  </a:lnTo>
                  <a:lnTo>
                    <a:pt x="226830" y="14408"/>
                  </a:lnTo>
                  <a:lnTo>
                    <a:pt x="0" y="815289"/>
                  </a:lnTo>
                  <a:lnTo>
                    <a:pt x="0" y="815289"/>
                  </a:lnTo>
                  <a:cubicBezTo>
                    <a:pt x="407" y="814183"/>
                    <a:pt x="916" y="813115"/>
                    <a:pt x="1526" y="812111"/>
                  </a:cubicBezTo>
                  <a:cubicBezTo>
                    <a:pt x="4336" y="808247"/>
                    <a:pt x="9740" y="807395"/>
                    <a:pt x="13605" y="810204"/>
                  </a:cubicBezTo>
                  <a:cubicBezTo>
                    <a:pt x="13821" y="810357"/>
                    <a:pt x="14037" y="810535"/>
                    <a:pt x="14240" y="810713"/>
                  </a:cubicBezTo>
                  <a:lnTo>
                    <a:pt x="18945" y="814654"/>
                  </a:lnTo>
                  <a:lnTo>
                    <a:pt x="245520" y="11739"/>
                  </a:lnTo>
                  <a:lnTo>
                    <a:pt x="245520" y="11739"/>
                  </a:lnTo>
                  <a:cubicBezTo>
                    <a:pt x="245584" y="10976"/>
                    <a:pt x="245584" y="10213"/>
                    <a:pt x="245520" y="9451"/>
                  </a:cubicBezTo>
                  <a:cubicBezTo>
                    <a:pt x="245520" y="9451"/>
                    <a:pt x="245520" y="8561"/>
                    <a:pt x="245520" y="8052"/>
                  </a:cubicBezTo>
                  <a:cubicBezTo>
                    <a:pt x="245368" y="7404"/>
                    <a:pt x="245151" y="6755"/>
                    <a:pt x="244885" y="6145"/>
                  </a:cubicBezTo>
                  <a:cubicBezTo>
                    <a:pt x="244961" y="5688"/>
                    <a:pt x="244961" y="5205"/>
                    <a:pt x="244885" y="4747"/>
                  </a:cubicBezTo>
                  <a:cubicBezTo>
                    <a:pt x="244618" y="4302"/>
                    <a:pt x="244325" y="3882"/>
                    <a:pt x="243994" y="3476"/>
                  </a:cubicBezTo>
                  <a:cubicBezTo>
                    <a:pt x="243994" y="3476"/>
                    <a:pt x="243232" y="2332"/>
                    <a:pt x="242723" y="1950"/>
                  </a:cubicBezTo>
                  <a:cubicBezTo>
                    <a:pt x="241820" y="1276"/>
                    <a:pt x="240841" y="717"/>
                    <a:pt x="239799" y="298"/>
                  </a:cubicBezTo>
                  <a:cubicBezTo>
                    <a:pt x="235132" y="-935"/>
                    <a:pt x="230352" y="1772"/>
                    <a:pt x="228991" y="6400"/>
                  </a:cubicBezTo>
                  <a:close/>
                </a:path>
              </a:pathLst>
            </a:custGeom>
            <a:solidFill>
              <a:srgbClr val="000000"/>
            </a:solidFill>
            <a:ln w="12685"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39F781ED-B513-4562-AF2E-A60F6370F46A}"/>
                </a:ext>
              </a:extLst>
            </p:cNvPr>
            <p:cNvSpPr/>
            <p:nvPr/>
          </p:nvSpPr>
          <p:spPr>
            <a:xfrm>
              <a:off x="4742219" y="4160043"/>
              <a:ext cx="696397" cy="590050"/>
            </a:xfrm>
            <a:custGeom>
              <a:avLst/>
              <a:gdLst>
                <a:gd name="connsiteX0" fmla="*/ 695079 w 696397"/>
                <a:gd name="connsiteY0" fmla="*/ 578293 h 590050"/>
                <a:gd name="connsiteX1" fmla="*/ 695079 w 696397"/>
                <a:gd name="connsiteY1" fmla="*/ 576767 h 590050"/>
                <a:gd name="connsiteX2" fmla="*/ 694062 w 696397"/>
                <a:gd name="connsiteY2" fmla="*/ 575496 h 590050"/>
                <a:gd name="connsiteX3" fmla="*/ 692917 w 696397"/>
                <a:gd name="connsiteY3" fmla="*/ 573970 h 590050"/>
                <a:gd name="connsiteX4" fmla="*/ 692917 w 696397"/>
                <a:gd name="connsiteY4" fmla="*/ 573970 h 590050"/>
                <a:gd name="connsiteX5" fmla="*/ 19040 w 696397"/>
                <a:gd name="connsiteY5" fmla="*/ 6108 h 590050"/>
                <a:gd name="connsiteX6" fmla="*/ 14336 w 696397"/>
                <a:gd name="connsiteY6" fmla="*/ 2167 h 590050"/>
                <a:gd name="connsiteX7" fmla="*/ 2130 w 696397"/>
                <a:gd name="connsiteY7" fmla="*/ 2930 h 590050"/>
                <a:gd name="connsiteX8" fmla="*/ 1621 w 696397"/>
                <a:gd name="connsiteY8" fmla="*/ 3565 h 590050"/>
                <a:gd name="connsiteX9" fmla="*/ 95 w 696397"/>
                <a:gd name="connsiteY9" fmla="*/ 6743 h 590050"/>
                <a:gd name="connsiteX10" fmla="*/ 95 w 696397"/>
                <a:gd name="connsiteY10" fmla="*/ 9794 h 590050"/>
                <a:gd name="connsiteX11" fmla="*/ 95 w 696397"/>
                <a:gd name="connsiteY11" fmla="*/ 10684 h 590050"/>
                <a:gd name="connsiteX12" fmla="*/ 8360 w 696397"/>
                <a:gd name="connsiteY12" fmla="*/ 7888 h 590050"/>
                <a:gd name="connsiteX13" fmla="*/ 10191 w 696397"/>
                <a:gd name="connsiteY13" fmla="*/ 8638 h 590050"/>
                <a:gd name="connsiteX14" fmla="*/ 10267 w 696397"/>
                <a:gd name="connsiteY14" fmla="*/ 8905 h 590050"/>
                <a:gd name="connsiteX15" fmla="*/ 9466 w 696397"/>
                <a:gd name="connsiteY15" fmla="*/ 10901 h 590050"/>
                <a:gd name="connsiteX16" fmla="*/ 9377 w 696397"/>
                <a:gd name="connsiteY16" fmla="*/ 10939 h 590050"/>
                <a:gd name="connsiteX17" fmla="*/ 1112 w 696397"/>
                <a:gd name="connsiteY17" fmla="*/ 13862 h 590050"/>
                <a:gd name="connsiteX18" fmla="*/ 3274 w 696397"/>
                <a:gd name="connsiteY18" fmla="*/ 16659 h 590050"/>
                <a:gd name="connsiteX19" fmla="*/ 3274 w 696397"/>
                <a:gd name="connsiteY19" fmla="*/ 16659 h 590050"/>
                <a:gd name="connsiteX20" fmla="*/ 677151 w 696397"/>
                <a:gd name="connsiteY20" fmla="*/ 584394 h 590050"/>
                <a:gd name="connsiteX21" fmla="*/ 678041 w 696397"/>
                <a:gd name="connsiteY21" fmla="*/ 584394 h 590050"/>
                <a:gd name="connsiteX22" fmla="*/ 686814 w 696397"/>
                <a:gd name="connsiteY22" fmla="*/ 579182 h 590050"/>
                <a:gd name="connsiteX23" fmla="*/ 688912 w 696397"/>
                <a:gd name="connsiteY23" fmla="*/ 579691 h 590050"/>
                <a:gd name="connsiteX24" fmla="*/ 688976 w 696397"/>
                <a:gd name="connsiteY24" fmla="*/ 579818 h 590050"/>
                <a:gd name="connsiteX25" fmla="*/ 688340 w 696397"/>
                <a:gd name="connsiteY25" fmla="*/ 581979 h 590050"/>
                <a:gd name="connsiteX26" fmla="*/ 680584 w 696397"/>
                <a:gd name="connsiteY26" fmla="*/ 586683 h 590050"/>
                <a:gd name="connsiteX27" fmla="*/ 682110 w 696397"/>
                <a:gd name="connsiteY27" fmla="*/ 587827 h 590050"/>
                <a:gd name="connsiteX28" fmla="*/ 694150 w 696397"/>
                <a:gd name="connsiteY28" fmla="*/ 587280 h 590050"/>
                <a:gd name="connsiteX29" fmla="*/ 694824 w 696397"/>
                <a:gd name="connsiteY29" fmla="*/ 586428 h 590050"/>
                <a:gd name="connsiteX30" fmla="*/ 696350 w 696397"/>
                <a:gd name="connsiteY30" fmla="*/ 583378 h 590050"/>
                <a:gd name="connsiteX31" fmla="*/ 696350 w 696397"/>
                <a:gd name="connsiteY31" fmla="*/ 581343 h 590050"/>
                <a:gd name="connsiteX32" fmla="*/ 696350 w 696397"/>
                <a:gd name="connsiteY32" fmla="*/ 579818 h 590050"/>
                <a:gd name="connsiteX33" fmla="*/ 695079 w 696397"/>
                <a:gd name="connsiteY33" fmla="*/ 578293 h 59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6397" h="590050">
                  <a:moveTo>
                    <a:pt x="695079" y="578293"/>
                  </a:moveTo>
                  <a:cubicBezTo>
                    <a:pt x="695142" y="577784"/>
                    <a:pt x="695142" y="577275"/>
                    <a:pt x="695079" y="576767"/>
                  </a:cubicBezTo>
                  <a:cubicBezTo>
                    <a:pt x="694812" y="576297"/>
                    <a:pt x="694469" y="575864"/>
                    <a:pt x="694062" y="575496"/>
                  </a:cubicBezTo>
                  <a:cubicBezTo>
                    <a:pt x="693757" y="574936"/>
                    <a:pt x="693362" y="574428"/>
                    <a:pt x="692917" y="573970"/>
                  </a:cubicBezTo>
                  <a:lnTo>
                    <a:pt x="692917" y="573970"/>
                  </a:lnTo>
                  <a:lnTo>
                    <a:pt x="19040" y="6108"/>
                  </a:lnTo>
                  <a:lnTo>
                    <a:pt x="14336" y="2167"/>
                  </a:lnTo>
                  <a:cubicBezTo>
                    <a:pt x="10750" y="-998"/>
                    <a:pt x="5296" y="-655"/>
                    <a:pt x="2130" y="2930"/>
                  </a:cubicBezTo>
                  <a:cubicBezTo>
                    <a:pt x="1952" y="3133"/>
                    <a:pt x="1786" y="3349"/>
                    <a:pt x="1621" y="3565"/>
                  </a:cubicBezTo>
                  <a:cubicBezTo>
                    <a:pt x="1011" y="4570"/>
                    <a:pt x="502" y="5638"/>
                    <a:pt x="95" y="6743"/>
                  </a:cubicBezTo>
                  <a:cubicBezTo>
                    <a:pt x="-32" y="7760"/>
                    <a:pt x="-32" y="8777"/>
                    <a:pt x="95" y="9794"/>
                  </a:cubicBezTo>
                  <a:lnTo>
                    <a:pt x="95" y="10684"/>
                  </a:lnTo>
                  <a:lnTo>
                    <a:pt x="8360" y="7888"/>
                  </a:lnTo>
                  <a:cubicBezTo>
                    <a:pt x="9072" y="7595"/>
                    <a:pt x="9886" y="7926"/>
                    <a:pt x="10191" y="8638"/>
                  </a:cubicBezTo>
                  <a:cubicBezTo>
                    <a:pt x="10216" y="8726"/>
                    <a:pt x="10254" y="8816"/>
                    <a:pt x="10267" y="8905"/>
                  </a:cubicBezTo>
                  <a:cubicBezTo>
                    <a:pt x="10598" y="9680"/>
                    <a:pt x="10242" y="10582"/>
                    <a:pt x="9466" y="10901"/>
                  </a:cubicBezTo>
                  <a:cubicBezTo>
                    <a:pt x="9428" y="10913"/>
                    <a:pt x="9403" y="10926"/>
                    <a:pt x="9377" y="10939"/>
                  </a:cubicBezTo>
                  <a:lnTo>
                    <a:pt x="1112" y="13862"/>
                  </a:lnTo>
                  <a:cubicBezTo>
                    <a:pt x="1646" y="14930"/>
                    <a:pt x="2384" y="15871"/>
                    <a:pt x="3274" y="16659"/>
                  </a:cubicBezTo>
                  <a:lnTo>
                    <a:pt x="3274" y="16659"/>
                  </a:lnTo>
                  <a:lnTo>
                    <a:pt x="677151" y="584394"/>
                  </a:lnTo>
                  <a:lnTo>
                    <a:pt x="678041" y="584394"/>
                  </a:lnTo>
                  <a:lnTo>
                    <a:pt x="686814" y="579182"/>
                  </a:lnTo>
                  <a:cubicBezTo>
                    <a:pt x="687539" y="578750"/>
                    <a:pt x="688467" y="578979"/>
                    <a:pt x="688912" y="579691"/>
                  </a:cubicBezTo>
                  <a:cubicBezTo>
                    <a:pt x="688938" y="579742"/>
                    <a:pt x="688950" y="579780"/>
                    <a:pt x="688976" y="579818"/>
                  </a:cubicBezTo>
                  <a:cubicBezTo>
                    <a:pt x="689357" y="580594"/>
                    <a:pt x="689090" y="581534"/>
                    <a:pt x="688340" y="581979"/>
                  </a:cubicBezTo>
                  <a:lnTo>
                    <a:pt x="680584" y="586683"/>
                  </a:lnTo>
                  <a:lnTo>
                    <a:pt x="682110" y="587827"/>
                  </a:lnTo>
                  <a:cubicBezTo>
                    <a:pt x="685581" y="590992"/>
                    <a:pt x="690972" y="590751"/>
                    <a:pt x="694150" y="587280"/>
                  </a:cubicBezTo>
                  <a:cubicBezTo>
                    <a:pt x="694392" y="587013"/>
                    <a:pt x="694621" y="586721"/>
                    <a:pt x="694824" y="586428"/>
                  </a:cubicBezTo>
                  <a:cubicBezTo>
                    <a:pt x="695536" y="585526"/>
                    <a:pt x="696045" y="584484"/>
                    <a:pt x="696350" y="583378"/>
                  </a:cubicBezTo>
                  <a:cubicBezTo>
                    <a:pt x="696414" y="582704"/>
                    <a:pt x="696414" y="582017"/>
                    <a:pt x="696350" y="581343"/>
                  </a:cubicBezTo>
                  <a:cubicBezTo>
                    <a:pt x="696350" y="581343"/>
                    <a:pt x="696350" y="580327"/>
                    <a:pt x="696350" y="579818"/>
                  </a:cubicBezTo>
                  <a:cubicBezTo>
                    <a:pt x="696020" y="579233"/>
                    <a:pt x="695600" y="578712"/>
                    <a:pt x="695079" y="578293"/>
                  </a:cubicBezTo>
                  <a:close/>
                </a:path>
              </a:pathLst>
            </a:custGeom>
            <a:solidFill>
              <a:srgbClr val="000000"/>
            </a:solidFill>
            <a:ln w="12685"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1C72CB75-5E65-4849-B6FC-620C11BDDC7D}"/>
                </a:ext>
              </a:extLst>
            </p:cNvPr>
            <p:cNvSpPr/>
            <p:nvPr/>
          </p:nvSpPr>
          <p:spPr>
            <a:xfrm>
              <a:off x="4586305" y="4167572"/>
              <a:ext cx="165542" cy="59979"/>
            </a:xfrm>
            <a:custGeom>
              <a:avLst/>
              <a:gdLst>
                <a:gd name="connsiteX0" fmla="*/ 0 w 165542"/>
                <a:gd name="connsiteY0" fmla="*/ 56801 h 59979"/>
                <a:gd name="connsiteX1" fmla="*/ 0 w 165542"/>
                <a:gd name="connsiteY1" fmla="*/ 58709 h 59979"/>
                <a:gd name="connsiteX2" fmla="*/ 1399 w 165542"/>
                <a:gd name="connsiteY2" fmla="*/ 59979 h 59979"/>
                <a:gd name="connsiteX3" fmla="*/ 156263 w 165542"/>
                <a:gd name="connsiteY3" fmla="*/ 6079 h 59979"/>
                <a:gd name="connsiteX4" fmla="*/ 156263 w 165542"/>
                <a:gd name="connsiteY4" fmla="*/ 6079 h 59979"/>
                <a:gd name="connsiteX5" fmla="*/ 164528 w 165542"/>
                <a:gd name="connsiteY5" fmla="*/ 3155 h 59979"/>
                <a:gd name="connsiteX6" fmla="*/ 165456 w 165542"/>
                <a:gd name="connsiteY6" fmla="*/ 1210 h 59979"/>
                <a:gd name="connsiteX7" fmla="*/ 165418 w 165542"/>
                <a:gd name="connsiteY7" fmla="*/ 1121 h 59979"/>
                <a:gd name="connsiteX8" fmla="*/ 163778 w 165542"/>
                <a:gd name="connsiteY8" fmla="*/ 28 h 59979"/>
                <a:gd name="connsiteX9" fmla="*/ 163511 w 165542"/>
                <a:gd name="connsiteY9" fmla="*/ 104 h 59979"/>
                <a:gd name="connsiteX10" fmla="*/ 155246 w 165542"/>
                <a:gd name="connsiteY10" fmla="*/ 2901 h 59979"/>
                <a:gd name="connsiteX11" fmla="*/ 155246 w 165542"/>
                <a:gd name="connsiteY11" fmla="*/ 2901 h 5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542" h="59979">
                  <a:moveTo>
                    <a:pt x="0" y="56801"/>
                  </a:moveTo>
                  <a:lnTo>
                    <a:pt x="0" y="58709"/>
                  </a:lnTo>
                  <a:lnTo>
                    <a:pt x="1399" y="59979"/>
                  </a:lnTo>
                  <a:lnTo>
                    <a:pt x="156263" y="6079"/>
                  </a:lnTo>
                  <a:lnTo>
                    <a:pt x="156263" y="6079"/>
                  </a:lnTo>
                  <a:lnTo>
                    <a:pt x="164528" y="3155"/>
                  </a:lnTo>
                  <a:cubicBezTo>
                    <a:pt x="165316" y="2876"/>
                    <a:pt x="165736" y="1999"/>
                    <a:pt x="165456" y="1210"/>
                  </a:cubicBezTo>
                  <a:cubicBezTo>
                    <a:pt x="165443" y="1172"/>
                    <a:pt x="165431" y="1147"/>
                    <a:pt x="165418" y="1121"/>
                  </a:cubicBezTo>
                  <a:cubicBezTo>
                    <a:pt x="165265" y="359"/>
                    <a:pt x="164528" y="-125"/>
                    <a:pt x="163778" y="28"/>
                  </a:cubicBezTo>
                  <a:cubicBezTo>
                    <a:pt x="163676" y="41"/>
                    <a:pt x="163600" y="66"/>
                    <a:pt x="163511" y="104"/>
                  </a:cubicBezTo>
                  <a:lnTo>
                    <a:pt x="155246" y="2901"/>
                  </a:lnTo>
                  <a:lnTo>
                    <a:pt x="155246" y="2901"/>
                  </a:lnTo>
                  <a:close/>
                </a:path>
              </a:pathLst>
            </a:custGeom>
            <a:solidFill>
              <a:srgbClr val="000000"/>
            </a:solidFill>
            <a:ln w="12685"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B404F617-5AFA-49E2-ACD0-2D5EC1C98BDD}"/>
                </a:ext>
              </a:extLst>
            </p:cNvPr>
            <p:cNvSpPr/>
            <p:nvPr/>
          </p:nvSpPr>
          <p:spPr>
            <a:xfrm>
              <a:off x="4584907" y="4226281"/>
              <a:ext cx="580551" cy="496037"/>
            </a:xfrm>
            <a:custGeom>
              <a:avLst/>
              <a:gdLst>
                <a:gd name="connsiteX0" fmla="*/ 636 w 580551"/>
                <a:gd name="connsiteY0" fmla="*/ 1144 h 496037"/>
                <a:gd name="connsiteX1" fmla="*/ 0 w 580551"/>
                <a:gd name="connsiteY1" fmla="*/ 3432 h 496037"/>
                <a:gd name="connsiteX2" fmla="*/ 577627 w 580551"/>
                <a:gd name="connsiteY2" fmla="*/ 496037 h 496037"/>
                <a:gd name="connsiteX3" fmla="*/ 580552 w 580551"/>
                <a:gd name="connsiteY3" fmla="*/ 494257 h 496037"/>
                <a:gd name="connsiteX4" fmla="*/ 2289 w 580551"/>
                <a:gd name="connsiteY4" fmla="*/ 1271 h 496037"/>
                <a:gd name="connsiteX5" fmla="*/ 890 w 580551"/>
                <a:gd name="connsiteY5" fmla="*/ 0 h 496037"/>
                <a:gd name="connsiteX6" fmla="*/ 636 w 580551"/>
                <a:gd name="connsiteY6" fmla="*/ 1144 h 49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551" h="496037">
                  <a:moveTo>
                    <a:pt x="636" y="1144"/>
                  </a:moveTo>
                  <a:lnTo>
                    <a:pt x="0" y="3432"/>
                  </a:lnTo>
                  <a:lnTo>
                    <a:pt x="577627" y="496037"/>
                  </a:lnTo>
                  <a:lnTo>
                    <a:pt x="580552" y="494257"/>
                  </a:lnTo>
                  <a:lnTo>
                    <a:pt x="2289" y="1271"/>
                  </a:lnTo>
                  <a:lnTo>
                    <a:pt x="890" y="0"/>
                  </a:lnTo>
                  <a:lnTo>
                    <a:pt x="636" y="1144"/>
                  </a:lnTo>
                  <a:close/>
                </a:path>
              </a:pathLst>
            </a:custGeom>
            <a:solidFill>
              <a:srgbClr val="000000"/>
            </a:solidFill>
            <a:ln w="12685"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57CDB078-B5C6-4F0C-89E2-F737ADA3E8F4}"/>
                </a:ext>
              </a:extLst>
            </p:cNvPr>
            <p:cNvSpPr/>
            <p:nvPr/>
          </p:nvSpPr>
          <p:spPr>
            <a:xfrm>
              <a:off x="1877574" y="4740023"/>
              <a:ext cx="3553030" cy="2124078"/>
            </a:xfrm>
            <a:custGeom>
              <a:avLst/>
              <a:gdLst>
                <a:gd name="connsiteX0" fmla="*/ 3544467 w 3553030"/>
                <a:gd name="connsiteY0" fmla="*/ 7720 h 2124078"/>
                <a:gd name="connsiteX1" fmla="*/ 3552222 w 3553030"/>
                <a:gd name="connsiteY1" fmla="*/ 3016 h 2124078"/>
                <a:gd name="connsiteX2" fmla="*/ 3552858 w 3553030"/>
                <a:gd name="connsiteY2" fmla="*/ 855 h 2124078"/>
                <a:gd name="connsiteX3" fmla="*/ 3550811 w 3553030"/>
                <a:gd name="connsiteY3" fmla="*/ 156 h 2124078"/>
                <a:gd name="connsiteX4" fmla="*/ 3550697 w 3553030"/>
                <a:gd name="connsiteY4" fmla="*/ 220 h 2124078"/>
                <a:gd name="connsiteX5" fmla="*/ 3541924 w 3553030"/>
                <a:gd name="connsiteY5" fmla="*/ 5432 h 2124078"/>
                <a:gd name="connsiteX6" fmla="*/ 3540525 w 3553030"/>
                <a:gd name="connsiteY6" fmla="*/ 6322 h 2124078"/>
                <a:gd name="connsiteX7" fmla="*/ 0 w 3553030"/>
                <a:gd name="connsiteY7" fmla="*/ 2124079 h 2124078"/>
                <a:gd name="connsiteX8" fmla="*/ 6357 w 3553030"/>
                <a:gd name="connsiteY8" fmla="*/ 2124079 h 2124078"/>
                <a:gd name="connsiteX9" fmla="*/ 3538872 w 3553030"/>
                <a:gd name="connsiteY9" fmla="*/ 10389 h 212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30" h="2124078">
                  <a:moveTo>
                    <a:pt x="3544467" y="7720"/>
                  </a:moveTo>
                  <a:lnTo>
                    <a:pt x="3552222" y="3016"/>
                  </a:lnTo>
                  <a:cubicBezTo>
                    <a:pt x="3552973" y="2571"/>
                    <a:pt x="3553240" y="1631"/>
                    <a:pt x="3552858" y="855"/>
                  </a:cubicBezTo>
                  <a:cubicBezTo>
                    <a:pt x="3552490" y="92"/>
                    <a:pt x="3551574" y="-213"/>
                    <a:pt x="3550811" y="156"/>
                  </a:cubicBezTo>
                  <a:cubicBezTo>
                    <a:pt x="3550773" y="169"/>
                    <a:pt x="3550735" y="194"/>
                    <a:pt x="3550697" y="220"/>
                  </a:cubicBezTo>
                  <a:lnTo>
                    <a:pt x="3541924" y="5432"/>
                  </a:lnTo>
                  <a:lnTo>
                    <a:pt x="3540525" y="6322"/>
                  </a:lnTo>
                  <a:lnTo>
                    <a:pt x="0" y="2124079"/>
                  </a:lnTo>
                  <a:lnTo>
                    <a:pt x="6357" y="2124079"/>
                  </a:lnTo>
                  <a:lnTo>
                    <a:pt x="3538872" y="10389"/>
                  </a:lnTo>
                  <a:close/>
                </a:path>
              </a:pathLst>
            </a:custGeom>
            <a:solidFill>
              <a:srgbClr val="000000"/>
            </a:solidFill>
            <a:ln w="12685"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8353B42F-B8EA-4F14-8B7D-554BCDE439E2}"/>
                </a:ext>
              </a:extLst>
            </p:cNvPr>
            <p:cNvSpPr/>
            <p:nvPr/>
          </p:nvSpPr>
          <p:spPr>
            <a:xfrm>
              <a:off x="4582491" y="3416660"/>
              <a:ext cx="224117" cy="810891"/>
            </a:xfrm>
            <a:custGeom>
              <a:avLst/>
              <a:gdLst>
                <a:gd name="connsiteX0" fmla="*/ 223651 w 224117"/>
                <a:gd name="connsiteY0" fmla="*/ 95 h 810891"/>
                <a:gd name="connsiteX1" fmla="*/ 222634 w 224117"/>
                <a:gd name="connsiteY1" fmla="*/ 95 h 810891"/>
                <a:gd name="connsiteX2" fmla="*/ 222634 w 224117"/>
                <a:gd name="connsiteY2" fmla="*/ 95 h 810891"/>
                <a:gd name="connsiteX3" fmla="*/ 222634 w 224117"/>
                <a:gd name="connsiteY3" fmla="*/ 95 h 810891"/>
                <a:gd name="connsiteX4" fmla="*/ 222634 w 224117"/>
                <a:gd name="connsiteY4" fmla="*/ 95 h 810891"/>
                <a:gd name="connsiteX5" fmla="*/ 222634 w 224117"/>
                <a:gd name="connsiteY5" fmla="*/ 1112 h 810891"/>
                <a:gd name="connsiteX6" fmla="*/ 0 w 224117"/>
                <a:gd name="connsiteY6" fmla="*/ 809875 h 810891"/>
                <a:gd name="connsiteX7" fmla="*/ 1907 w 224117"/>
                <a:gd name="connsiteY7" fmla="*/ 808858 h 810891"/>
                <a:gd name="connsiteX8" fmla="*/ 1907 w 224117"/>
                <a:gd name="connsiteY8" fmla="*/ 808858 h 810891"/>
                <a:gd name="connsiteX9" fmla="*/ 3051 w 224117"/>
                <a:gd name="connsiteY9" fmla="*/ 810892 h 810891"/>
                <a:gd name="connsiteX10" fmla="*/ 3051 w 224117"/>
                <a:gd name="connsiteY10" fmla="*/ 809747 h 810891"/>
                <a:gd name="connsiteX11" fmla="*/ 3051 w 224117"/>
                <a:gd name="connsiteY11" fmla="*/ 807841 h 810891"/>
                <a:gd name="connsiteX12" fmla="*/ 223778 w 224117"/>
                <a:gd name="connsiteY12" fmla="*/ 3146 h 810891"/>
                <a:gd name="connsiteX13" fmla="*/ 223778 w 224117"/>
                <a:gd name="connsiteY13" fmla="*/ 2257 h 810891"/>
                <a:gd name="connsiteX14" fmla="*/ 223651 w 224117"/>
                <a:gd name="connsiteY14" fmla="*/ 95 h 81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117" h="810891">
                  <a:moveTo>
                    <a:pt x="223651" y="95"/>
                  </a:moveTo>
                  <a:cubicBezTo>
                    <a:pt x="223320" y="-32"/>
                    <a:pt x="222964" y="-32"/>
                    <a:pt x="222634" y="95"/>
                  </a:cubicBezTo>
                  <a:cubicBezTo>
                    <a:pt x="222634" y="95"/>
                    <a:pt x="222634" y="95"/>
                    <a:pt x="222634" y="95"/>
                  </a:cubicBezTo>
                  <a:lnTo>
                    <a:pt x="222634" y="95"/>
                  </a:lnTo>
                  <a:lnTo>
                    <a:pt x="222634" y="95"/>
                  </a:lnTo>
                  <a:lnTo>
                    <a:pt x="222634" y="1112"/>
                  </a:lnTo>
                  <a:lnTo>
                    <a:pt x="0" y="809875"/>
                  </a:lnTo>
                  <a:cubicBezTo>
                    <a:pt x="241" y="809074"/>
                    <a:pt x="1093" y="808616"/>
                    <a:pt x="1907" y="808858"/>
                  </a:cubicBezTo>
                  <a:cubicBezTo>
                    <a:pt x="1907" y="808858"/>
                    <a:pt x="1907" y="808858"/>
                    <a:pt x="1907" y="808858"/>
                  </a:cubicBezTo>
                  <a:cubicBezTo>
                    <a:pt x="2784" y="809099"/>
                    <a:pt x="3293" y="810014"/>
                    <a:pt x="3051" y="810892"/>
                  </a:cubicBezTo>
                  <a:lnTo>
                    <a:pt x="3051" y="809747"/>
                  </a:lnTo>
                  <a:lnTo>
                    <a:pt x="3051" y="807841"/>
                  </a:lnTo>
                  <a:lnTo>
                    <a:pt x="223778" y="3146"/>
                  </a:lnTo>
                  <a:lnTo>
                    <a:pt x="223778" y="2257"/>
                  </a:lnTo>
                  <a:cubicBezTo>
                    <a:pt x="224274" y="1608"/>
                    <a:pt x="224223" y="680"/>
                    <a:pt x="223651" y="95"/>
                  </a:cubicBezTo>
                  <a:close/>
                </a:path>
              </a:pathLst>
            </a:custGeom>
            <a:solidFill>
              <a:srgbClr val="000000"/>
            </a:solidFill>
            <a:ln w="12685"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C1BACDC7-EF7D-467C-9600-F1E8583E9712}"/>
                </a:ext>
              </a:extLst>
            </p:cNvPr>
            <p:cNvSpPr/>
            <p:nvPr/>
          </p:nvSpPr>
          <p:spPr>
            <a:xfrm>
              <a:off x="1462186" y="802325"/>
              <a:ext cx="87615" cy="1103054"/>
            </a:xfrm>
            <a:custGeom>
              <a:avLst/>
              <a:gdLst>
                <a:gd name="connsiteX0" fmla="*/ 85188 w 87615"/>
                <a:gd name="connsiteY0" fmla="*/ 636 h 1103054"/>
                <a:gd name="connsiteX1" fmla="*/ 85188 w 87615"/>
                <a:gd name="connsiteY1" fmla="*/ 636 h 1103054"/>
                <a:gd name="connsiteX2" fmla="*/ 85188 w 87615"/>
                <a:gd name="connsiteY2" fmla="*/ 636 h 1103054"/>
                <a:gd name="connsiteX3" fmla="*/ 85188 w 87615"/>
                <a:gd name="connsiteY3" fmla="*/ 3305 h 1103054"/>
                <a:gd name="connsiteX4" fmla="*/ 0 w 87615"/>
                <a:gd name="connsiteY4" fmla="*/ 1103054 h 1103054"/>
                <a:gd name="connsiteX5" fmla="*/ 3306 w 87615"/>
                <a:gd name="connsiteY5" fmla="*/ 1101529 h 1103054"/>
                <a:gd name="connsiteX6" fmla="*/ 87604 w 87615"/>
                <a:gd name="connsiteY6" fmla="*/ 4576 h 1103054"/>
                <a:gd name="connsiteX7" fmla="*/ 87604 w 87615"/>
                <a:gd name="connsiteY7" fmla="*/ 1525 h 1103054"/>
                <a:gd name="connsiteX8" fmla="*/ 86587 w 87615"/>
                <a:gd name="connsiteY8" fmla="*/ 0 h 1103054"/>
                <a:gd name="connsiteX9" fmla="*/ 85443 w 87615"/>
                <a:gd name="connsiteY9" fmla="*/ 0 h 110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15" h="1103054">
                  <a:moveTo>
                    <a:pt x="85188" y="636"/>
                  </a:moveTo>
                  <a:cubicBezTo>
                    <a:pt x="85188" y="636"/>
                    <a:pt x="85188" y="636"/>
                    <a:pt x="85188" y="636"/>
                  </a:cubicBezTo>
                  <a:lnTo>
                    <a:pt x="85188" y="636"/>
                  </a:lnTo>
                  <a:lnTo>
                    <a:pt x="85188" y="3305"/>
                  </a:lnTo>
                  <a:lnTo>
                    <a:pt x="0" y="1103054"/>
                  </a:lnTo>
                  <a:lnTo>
                    <a:pt x="3306" y="1101529"/>
                  </a:lnTo>
                  <a:lnTo>
                    <a:pt x="87604" y="4576"/>
                  </a:lnTo>
                  <a:lnTo>
                    <a:pt x="87604" y="1525"/>
                  </a:lnTo>
                  <a:cubicBezTo>
                    <a:pt x="87693" y="835"/>
                    <a:pt x="87261" y="184"/>
                    <a:pt x="86587" y="0"/>
                  </a:cubicBezTo>
                  <a:lnTo>
                    <a:pt x="85443" y="0"/>
                  </a:lnTo>
                  <a:close/>
                </a:path>
              </a:pathLst>
            </a:custGeom>
            <a:solidFill>
              <a:srgbClr val="000000"/>
            </a:solidFill>
            <a:ln w="12685"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0400C00D-4862-419D-97C8-5E4EC9F07054}"/>
                </a:ext>
              </a:extLst>
            </p:cNvPr>
            <p:cNvSpPr/>
            <p:nvPr/>
          </p:nvSpPr>
          <p:spPr>
            <a:xfrm>
              <a:off x="3305" y="2527854"/>
              <a:ext cx="63790" cy="29925"/>
            </a:xfrm>
            <a:custGeom>
              <a:avLst/>
              <a:gdLst>
                <a:gd name="connsiteX0" fmla="*/ 63700 w 63790"/>
                <a:gd name="connsiteY0" fmla="*/ 1958 h 29925"/>
                <a:gd name="connsiteX1" fmla="*/ 63700 w 63790"/>
                <a:gd name="connsiteY1" fmla="*/ 1958 h 29925"/>
                <a:gd name="connsiteX2" fmla="*/ 63700 w 63790"/>
                <a:gd name="connsiteY2" fmla="*/ 1958 h 29925"/>
                <a:gd name="connsiteX3" fmla="*/ 63700 w 63790"/>
                <a:gd name="connsiteY3" fmla="*/ 1958 h 29925"/>
                <a:gd name="connsiteX4" fmla="*/ 63700 w 63790"/>
                <a:gd name="connsiteY4" fmla="*/ 1068 h 29925"/>
                <a:gd name="connsiteX5" fmla="*/ 62008 w 63790"/>
                <a:gd name="connsiteY5" fmla="*/ 38 h 29925"/>
                <a:gd name="connsiteX6" fmla="*/ 61666 w 63790"/>
                <a:gd name="connsiteY6" fmla="*/ 178 h 29925"/>
                <a:gd name="connsiteX7" fmla="*/ 60776 w 63790"/>
                <a:gd name="connsiteY7" fmla="*/ 178 h 29925"/>
                <a:gd name="connsiteX8" fmla="*/ 0 w 63790"/>
                <a:gd name="connsiteY8" fmla="*/ 26366 h 29925"/>
                <a:gd name="connsiteX9" fmla="*/ 0 w 63790"/>
                <a:gd name="connsiteY9" fmla="*/ 29925 h 29925"/>
                <a:gd name="connsiteX10" fmla="*/ 62683 w 63790"/>
                <a:gd name="connsiteY10" fmla="*/ 2339 h 2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790" h="29925">
                  <a:moveTo>
                    <a:pt x="63700" y="1958"/>
                  </a:moveTo>
                  <a:lnTo>
                    <a:pt x="63700" y="1958"/>
                  </a:lnTo>
                  <a:lnTo>
                    <a:pt x="63700" y="1958"/>
                  </a:lnTo>
                  <a:cubicBezTo>
                    <a:pt x="63700" y="1958"/>
                    <a:pt x="63700" y="1958"/>
                    <a:pt x="63700" y="1958"/>
                  </a:cubicBezTo>
                  <a:cubicBezTo>
                    <a:pt x="63821" y="1678"/>
                    <a:pt x="63821" y="1348"/>
                    <a:pt x="63700" y="1068"/>
                  </a:cubicBezTo>
                  <a:cubicBezTo>
                    <a:pt x="63516" y="318"/>
                    <a:pt x="62758" y="-140"/>
                    <a:pt x="62008" y="38"/>
                  </a:cubicBezTo>
                  <a:cubicBezTo>
                    <a:pt x="61889" y="77"/>
                    <a:pt x="61774" y="115"/>
                    <a:pt x="61666" y="178"/>
                  </a:cubicBezTo>
                  <a:lnTo>
                    <a:pt x="60776" y="178"/>
                  </a:lnTo>
                  <a:lnTo>
                    <a:pt x="0" y="26366"/>
                  </a:lnTo>
                  <a:lnTo>
                    <a:pt x="0" y="29925"/>
                  </a:lnTo>
                  <a:lnTo>
                    <a:pt x="62683" y="2339"/>
                  </a:lnTo>
                  <a:close/>
                </a:path>
              </a:pathLst>
            </a:custGeom>
            <a:solidFill>
              <a:srgbClr val="000000"/>
            </a:solidFill>
            <a:ln w="12685"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244EAFC8-F86A-4E80-BE9F-7DCE95AE10EF}"/>
                </a:ext>
              </a:extLst>
            </p:cNvPr>
            <p:cNvSpPr/>
            <p:nvPr/>
          </p:nvSpPr>
          <p:spPr>
            <a:xfrm>
              <a:off x="0" y="716771"/>
              <a:ext cx="73617" cy="66740"/>
            </a:xfrm>
            <a:custGeom>
              <a:avLst/>
              <a:gdLst>
                <a:gd name="connsiteX0" fmla="*/ 72601 w 73617"/>
                <a:gd name="connsiteY0" fmla="*/ 64706 h 66740"/>
                <a:gd name="connsiteX1" fmla="*/ 73618 w 73617"/>
                <a:gd name="connsiteY1" fmla="*/ 64706 h 66740"/>
                <a:gd name="connsiteX2" fmla="*/ 73618 w 73617"/>
                <a:gd name="connsiteY2" fmla="*/ 64706 h 66740"/>
                <a:gd name="connsiteX3" fmla="*/ 72855 w 73617"/>
                <a:gd name="connsiteY3" fmla="*/ 64706 h 66740"/>
                <a:gd name="connsiteX4" fmla="*/ 0 w 73617"/>
                <a:gd name="connsiteY4" fmla="*/ 0 h 66740"/>
                <a:gd name="connsiteX5" fmla="*/ 0 w 73617"/>
                <a:gd name="connsiteY5" fmla="*/ 4322 h 66740"/>
                <a:gd name="connsiteX6" fmla="*/ 70948 w 73617"/>
                <a:gd name="connsiteY6" fmla="*/ 66740 h 66740"/>
                <a:gd name="connsiteX7" fmla="*/ 70948 w 73617"/>
                <a:gd name="connsiteY7" fmla="*/ 65977 h 66740"/>
                <a:gd name="connsiteX8" fmla="*/ 72601 w 73617"/>
                <a:gd name="connsiteY8" fmla="*/ 64706 h 6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17" h="66740">
                  <a:moveTo>
                    <a:pt x="72601" y="64706"/>
                  </a:moveTo>
                  <a:cubicBezTo>
                    <a:pt x="72928" y="64579"/>
                    <a:pt x="73291" y="64579"/>
                    <a:pt x="73618" y="64706"/>
                  </a:cubicBezTo>
                  <a:lnTo>
                    <a:pt x="73618" y="64706"/>
                  </a:lnTo>
                  <a:lnTo>
                    <a:pt x="72855" y="64706"/>
                  </a:lnTo>
                  <a:lnTo>
                    <a:pt x="0" y="0"/>
                  </a:lnTo>
                  <a:lnTo>
                    <a:pt x="0" y="4322"/>
                  </a:lnTo>
                  <a:lnTo>
                    <a:pt x="70948" y="66740"/>
                  </a:lnTo>
                  <a:lnTo>
                    <a:pt x="70948" y="65977"/>
                  </a:lnTo>
                  <a:cubicBezTo>
                    <a:pt x="71078" y="65184"/>
                    <a:pt x="71801" y="64629"/>
                    <a:pt x="72601" y="64706"/>
                  </a:cubicBezTo>
                  <a:close/>
                </a:path>
              </a:pathLst>
            </a:custGeom>
            <a:solidFill>
              <a:srgbClr val="000000"/>
            </a:solidFill>
            <a:ln w="12685"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4962B851-7848-4F4A-AD32-B512A27D6F4F}"/>
                </a:ext>
              </a:extLst>
            </p:cNvPr>
            <p:cNvSpPr/>
            <p:nvPr/>
          </p:nvSpPr>
          <p:spPr>
            <a:xfrm>
              <a:off x="67871" y="782017"/>
              <a:ext cx="6306" cy="967381"/>
            </a:xfrm>
            <a:custGeom>
              <a:avLst/>
              <a:gdLst>
                <a:gd name="connsiteX0" fmla="*/ 1297 w 6306"/>
                <a:gd name="connsiteY0" fmla="*/ 964712 h 967381"/>
                <a:gd name="connsiteX1" fmla="*/ 2828 w 6306"/>
                <a:gd name="connsiteY1" fmla="*/ 966232 h 967381"/>
                <a:gd name="connsiteX2" fmla="*/ 2822 w 6306"/>
                <a:gd name="connsiteY2" fmla="*/ 966364 h 967381"/>
                <a:gd name="connsiteX3" fmla="*/ 2822 w 6306"/>
                <a:gd name="connsiteY3" fmla="*/ 963949 h 967381"/>
                <a:gd name="connsiteX4" fmla="*/ 6255 w 6306"/>
                <a:gd name="connsiteY4" fmla="*/ 1875 h 967381"/>
                <a:gd name="connsiteX5" fmla="*/ 6255 w 6306"/>
                <a:gd name="connsiteY5" fmla="*/ 731 h 967381"/>
                <a:gd name="connsiteX6" fmla="*/ 6255 w 6306"/>
                <a:gd name="connsiteY6" fmla="*/ 731 h 967381"/>
                <a:gd name="connsiteX7" fmla="*/ 6255 w 6306"/>
                <a:gd name="connsiteY7" fmla="*/ 731 h 967381"/>
                <a:gd name="connsiteX8" fmla="*/ 6255 w 6306"/>
                <a:gd name="connsiteY8" fmla="*/ 95 h 967381"/>
                <a:gd name="connsiteX9" fmla="*/ 5238 w 6306"/>
                <a:gd name="connsiteY9" fmla="*/ 95 h 967381"/>
                <a:gd name="connsiteX10" fmla="*/ 3707 w 6306"/>
                <a:gd name="connsiteY10" fmla="*/ 1616 h 967381"/>
                <a:gd name="connsiteX11" fmla="*/ 3712 w 6306"/>
                <a:gd name="connsiteY11" fmla="*/ 1748 h 967381"/>
                <a:gd name="connsiteX12" fmla="*/ 3712 w 6306"/>
                <a:gd name="connsiteY12" fmla="*/ 2511 h 967381"/>
                <a:gd name="connsiteX13" fmla="*/ 279 w 6306"/>
                <a:gd name="connsiteY13" fmla="*/ 967381 h 967381"/>
                <a:gd name="connsiteX14" fmla="*/ 823 w 6306"/>
                <a:gd name="connsiteY14" fmla="*/ 964924 h 967381"/>
                <a:gd name="connsiteX15" fmla="*/ 1297 w 6306"/>
                <a:gd name="connsiteY15" fmla="*/ 964712 h 96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06" h="967381">
                  <a:moveTo>
                    <a:pt x="1297" y="964712"/>
                  </a:moveTo>
                  <a:cubicBezTo>
                    <a:pt x="2139" y="964709"/>
                    <a:pt x="2825" y="965389"/>
                    <a:pt x="2828" y="966232"/>
                  </a:cubicBezTo>
                  <a:cubicBezTo>
                    <a:pt x="2828" y="966276"/>
                    <a:pt x="2826" y="966320"/>
                    <a:pt x="2822" y="966364"/>
                  </a:cubicBezTo>
                  <a:lnTo>
                    <a:pt x="2822" y="963949"/>
                  </a:lnTo>
                  <a:lnTo>
                    <a:pt x="6255" y="1875"/>
                  </a:lnTo>
                  <a:lnTo>
                    <a:pt x="6255" y="731"/>
                  </a:lnTo>
                  <a:lnTo>
                    <a:pt x="6255" y="731"/>
                  </a:lnTo>
                  <a:lnTo>
                    <a:pt x="6255" y="731"/>
                  </a:lnTo>
                  <a:cubicBezTo>
                    <a:pt x="6323" y="525"/>
                    <a:pt x="6323" y="301"/>
                    <a:pt x="6255" y="95"/>
                  </a:cubicBezTo>
                  <a:cubicBezTo>
                    <a:pt x="5928" y="-32"/>
                    <a:pt x="5565" y="-32"/>
                    <a:pt x="5238" y="95"/>
                  </a:cubicBezTo>
                  <a:cubicBezTo>
                    <a:pt x="4395" y="93"/>
                    <a:pt x="3710" y="773"/>
                    <a:pt x="3707" y="1616"/>
                  </a:cubicBezTo>
                  <a:cubicBezTo>
                    <a:pt x="3707" y="1660"/>
                    <a:pt x="3709" y="1703"/>
                    <a:pt x="3712" y="1748"/>
                  </a:cubicBezTo>
                  <a:lnTo>
                    <a:pt x="3712" y="2511"/>
                  </a:lnTo>
                  <a:lnTo>
                    <a:pt x="279" y="967381"/>
                  </a:lnTo>
                  <a:cubicBezTo>
                    <a:pt x="-249" y="966552"/>
                    <a:pt x="-6" y="965453"/>
                    <a:pt x="823" y="964924"/>
                  </a:cubicBezTo>
                  <a:cubicBezTo>
                    <a:pt x="970" y="964830"/>
                    <a:pt x="1129" y="964759"/>
                    <a:pt x="1297" y="964712"/>
                  </a:cubicBezTo>
                  <a:close/>
                </a:path>
              </a:pathLst>
            </a:custGeom>
            <a:solidFill>
              <a:srgbClr val="000000"/>
            </a:solidFill>
            <a:ln w="12685"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1AA66457-3ECF-4A52-84AC-B5360E07E790}"/>
                </a:ext>
              </a:extLst>
            </p:cNvPr>
            <p:cNvSpPr/>
            <p:nvPr/>
          </p:nvSpPr>
          <p:spPr>
            <a:xfrm>
              <a:off x="66243" y="1747110"/>
              <a:ext cx="4455" cy="381880"/>
            </a:xfrm>
            <a:custGeom>
              <a:avLst/>
              <a:gdLst>
                <a:gd name="connsiteX0" fmla="*/ 3179 w 4455"/>
                <a:gd name="connsiteY0" fmla="*/ 381880 h 381880"/>
                <a:gd name="connsiteX1" fmla="*/ 3179 w 4455"/>
                <a:gd name="connsiteY1" fmla="*/ 381880 h 381880"/>
                <a:gd name="connsiteX2" fmla="*/ 4450 w 4455"/>
                <a:gd name="connsiteY2" fmla="*/ 5339 h 381880"/>
                <a:gd name="connsiteX3" fmla="*/ 4450 w 4455"/>
                <a:gd name="connsiteY3" fmla="*/ 1653 h 381880"/>
                <a:gd name="connsiteX4" fmla="*/ 3057 w 4455"/>
                <a:gd name="connsiteY4" fmla="*/ 5 h 381880"/>
                <a:gd name="connsiteX5" fmla="*/ 2924 w 4455"/>
                <a:gd name="connsiteY5" fmla="*/ 0 h 381880"/>
                <a:gd name="connsiteX6" fmla="*/ 1271 w 4455"/>
                <a:gd name="connsiteY6" fmla="*/ 1653 h 381880"/>
                <a:gd name="connsiteX7" fmla="*/ 0 w 4455"/>
                <a:gd name="connsiteY7" fmla="*/ 378829 h 381880"/>
                <a:gd name="connsiteX8" fmla="*/ 2543 w 4455"/>
                <a:gd name="connsiteY8" fmla="*/ 381372 h 381880"/>
                <a:gd name="connsiteX9" fmla="*/ 2543 w 4455"/>
                <a:gd name="connsiteY9" fmla="*/ 381372 h 381880"/>
                <a:gd name="connsiteX10" fmla="*/ 2543 w 4455"/>
                <a:gd name="connsiteY10" fmla="*/ 381372 h 381880"/>
                <a:gd name="connsiteX11" fmla="*/ 2543 w 4455"/>
                <a:gd name="connsiteY11" fmla="*/ 381372 h 381880"/>
                <a:gd name="connsiteX12" fmla="*/ 2543 w 4455"/>
                <a:gd name="connsiteY12" fmla="*/ 381372 h 381880"/>
                <a:gd name="connsiteX13" fmla="*/ 2543 w 4455"/>
                <a:gd name="connsiteY13" fmla="*/ 381372 h 381880"/>
                <a:gd name="connsiteX14" fmla="*/ 3179 w 4455"/>
                <a:gd name="connsiteY14" fmla="*/ 381880 h 38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55" h="381880">
                  <a:moveTo>
                    <a:pt x="3179" y="381880"/>
                  </a:moveTo>
                  <a:lnTo>
                    <a:pt x="3179" y="381880"/>
                  </a:lnTo>
                  <a:lnTo>
                    <a:pt x="4450" y="5339"/>
                  </a:lnTo>
                  <a:lnTo>
                    <a:pt x="4450" y="1653"/>
                  </a:lnTo>
                  <a:cubicBezTo>
                    <a:pt x="4520" y="814"/>
                    <a:pt x="3897" y="75"/>
                    <a:pt x="3057" y="5"/>
                  </a:cubicBezTo>
                  <a:cubicBezTo>
                    <a:pt x="3013" y="1"/>
                    <a:pt x="2969" y="0"/>
                    <a:pt x="2924" y="0"/>
                  </a:cubicBezTo>
                  <a:cubicBezTo>
                    <a:pt x="2038" y="61"/>
                    <a:pt x="1333" y="767"/>
                    <a:pt x="1271" y="1653"/>
                  </a:cubicBezTo>
                  <a:lnTo>
                    <a:pt x="0" y="378829"/>
                  </a:lnTo>
                  <a:lnTo>
                    <a:pt x="2543" y="381372"/>
                  </a:lnTo>
                  <a:lnTo>
                    <a:pt x="2543" y="381372"/>
                  </a:lnTo>
                  <a:cubicBezTo>
                    <a:pt x="2543" y="381372"/>
                    <a:pt x="2543" y="381372"/>
                    <a:pt x="2543" y="381372"/>
                  </a:cubicBezTo>
                  <a:cubicBezTo>
                    <a:pt x="2543" y="381372"/>
                    <a:pt x="2543" y="381372"/>
                    <a:pt x="2543" y="381372"/>
                  </a:cubicBezTo>
                  <a:lnTo>
                    <a:pt x="2543" y="381372"/>
                  </a:lnTo>
                  <a:lnTo>
                    <a:pt x="2543" y="381372"/>
                  </a:lnTo>
                  <a:cubicBezTo>
                    <a:pt x="2543" y="381372"/>
                    <a:pt x="3179" y="381880"/>
                    <a:pt x="3179" y="381880"/>
                  </a:cubicBezTo>
                  <a:close/>
                </a:path>
              </a:pathLst>
            </a:custGeom>
            <a:solidFill>
              <a:srgbClr val="000000"/>
            </a:solidFill>
            <a:ln w="12685"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8A54ED2B-D763-4DBB-A21A-4C3E26C2C8B3}"/>
                </a:ext>
              </a:extLst>
            </p:cNvPr>
            <p:cNvSpPr/>
            <p:nvPr/>
          </p:nvSpPr>
          <p:spPr>
            <a:xfrm>
              <a:off x="0" y="603504"/>
              <a:ext cx="12714" cy="12712"/>
            </a:xfrm>
            <a:custGeom>
              <a:avLst/>
              <a:gdLst/>
              <a:ahLst/>
              <a:cxnLst/>
              <a:rect l="l" t="t" r="r" b="b"/>
              <a:pathLst>
                <a:path w="12714" h="12712"/>
              </a:pathLst>
            </a:custGeom>
            <a:solidFill>
              <a:srgbClr val="000000"/>
            </a:solidFill>
            <a:ln w="12685"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D2EA4C8A-D630-4DEB-A378-FBA889FC19BE}"/>
                </a:ext>
              </a:extLst>
            </p:cNvPr>
            <p:cNvSpPr/>
            <p:nvPr/>
          </p:nvSpPr>
          <p:spPr>
            <a:xfrm>
              <a:off x="3305" y="2128990"/>
              <a:ext cx="65099" cy="29746"/>
            </a:xfrm>
            <a:custGeom>
              <a:avLst/>
              <a:gdLst>
                <a:gd name="connsiteX0" fmla="*/ 65099 w 65099"/>
                <a:gd name="connsiteY0" fmla="*/ 1907 h 29746"/>
                <a:gd name="connsiteX1" fmla="*/ 65099 w 65099"/>
                <a:gd name="connsiteY1" fmla="*/ 1907 h 29746"/>
                <a:gd name="connsiteX2" fmla="*/ 65099 w 65099"/>
                <a:gd name="connsiteY2" fmla="*/ 1907 h 29746"/>
                <a:gd name="connsiteX3" fmla="*/ 63192 w 65099"/>
                <a:gd name="connsiteY3" fmla="*/ 1907 h 29746"/>
                <a:gd name="connsiteX4" fmla="*/ 61539 w 65099"/>
                <a:gd name="connsiteY4" fmla="*/ 0 h 29746"/>
                <a:gd name="connsiteX5" fmla="*/ 0 w 65099"/>
                <a:gd name="connsiteY5" fmla="*/ 26187 h 29746"/>
                <a:gd name="connsiteX6" fmla="*/ 0 w 65099"/>
                <a:gd name="connsiteY6" fmla="*/ 29747 h 29746"/>
                <a:gd name="connsiteX7" fmla="*/ 63573 w 65099"/>
                <a:gd name="connsiteY7" fmla="*/ 2797 h 2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099" h="29746">
                  <a:moveTo>
                    <a:pt x="65099" y="1907"/>
                  </a:moveTo>
                  <a:lnTo>
                    <a:pt x="65099" y="1907"/>
                  </a:lnTo>
                  <a:lnTo>
                    <a:pt x="65099" y="1907"/>
                  </a:lnTo>
                  <a:cubicBezTo>
                    <a:pt x="64562" y="2403"/>
                    <a:pt x="63729" y="2403"/>
                    <a:pt x="63192" y="1907"/>
                  </a:cubicBezTo>
                  <a:lnTo>
                    <a:pt x="61539" y="0"/>
                  </a:lnTo>
                  <a:lnTo>
                    <a:pt x="0" y="26187"/>
                  </a:lnTo>
                  <a:lnTo>
                    <a:pt x="0" y="29747"/>
                  </a:lnTo>
                  <a:lnTo>
                    <a:pt x="63573" y="2797"/>
                  </a:lnTo>
                  <a:close/>
                </a:path>
              </a:pathLst>
            </a:custGeom>
            <a:solidFill>
              <a:srgbClr val="000000"/>
            </a:solidFill>
            <a:ln w="12685"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06413EE8-E21D-439D-8521-5E26B32D78DF}"/>
                </a:ext>
              </a:extLst>
            </p:cNvPr>
            <p:cNvSpPr/>
            <p:nvPr/>
          </p:nvSpPr>
          <p:spPr>
            <a:xfrm>
              <a:off x="69040" y="2128990"/>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cubicBezTo>
                    <a:pt x="0" y="0"/>
                    <a:pt x="0" y="0"/>
                    <a:pt x="0" y="0"/>
                  </a:cubicBez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E8F253EC-6536-4FDD-A92F-ECAB210DF8BA}"/>
                </a:ext>
              </a:extLst>
            </p:cNvPr>
            <p:cNvSpPr/>
            <p:nvPr/>
          </p:nvSpPr>
          <p:spPr>
            <a:xfrm>
              <a:off x="69294" y="212962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126981E8-C85B-4201-A125-A02E61597334}"/>
                </a:ext>
              </a:extLst>
            </p:cNvPr>
            <p:cNvSpPr/>
            <p:nvPr/>
          </p:nvSpPr>
          <p:spPr>
            <a:xfrm>
              <a:off x="3305" y="2064666"/>
              <a:ext cx="65353" cy="66221"/>
            </a:xfrm>
            <a:custGeom>
              <a:avLst/>
              <a:gdLst>
                <a:gd name="connsiteX0" fmla="*/ 63446 w 65353"/>
                <a:gd name="connsiteY0" fmla="*/ 65850 h 66221"/>
                <a:gd name="connsiteX1" fmla="*/ 65353 w 65353"/>
                <a:gd name="connsiteY1" fmla="*/ 65850 h 66221"/>
                <a:gd name="connsiteX2" fmla="*/ 65353 w 65353"/>
                <a:gd name="connsiteY2" fmla="*/ 65850 h 66221"/>
                <a:gd name="connsiteX3" fmla="*/ 65353 w 65353"/>
                <a:gd name="connsiteY3" fmla="*/ 65850 h 66221"/>
                <a:gd name="connsiteX4" fmla="*/ 65353 w 65353"/>
                <a:gd name="connsiteY4" fmla="*/ 65850 h 66221"/>
                <a:gd name="connsiteX5" fmla="*/ 65353 w 65353"/>
                <a:gd name="connsiteY5" fmla="*/ 65850 h 66221"/>
                <a:gd name="connsiteX6" fmla="*/ 65353 w 65353"/>
                <a:gd name="connsiteY6" fmla="*/ 65850 h 66221"/>
                <a:gd name="connsiteX7" fmla="*/ 65353 w 65353"/>
                <a:gd name="connsiteY7" fmla="*/ 65850 h 66221"/>
                <a:gd name="connsiteX8" fmla="*/ 62810 w 65353"/>
                <a:gd name="connsiteY8" fmla="*/ 63308 h 66221"/>
                <a:gd name="connsiteX9" fmla="*/ 0 w 65353"/>
                <a:gd name="connsiteY9" fmla="*/ 0 h 66221"/>
                <a:gd name="connsiteX10" fmla="*/ 0 w 65353"/>
                <a:gd name="connsiteY10" fmla="*/ 4576 h 66221"/>
                <a:gd name="connsiteX11" fmla="*/ 61539 w 65353"/>
                <a:gd name="connsiteY11" fmla="*/ 64325 h 6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53" h="66221">
                  <a:moveTo>
                    <a:pt x="63446" y="65850"/>
                  </a:moveTo>
                  <a:cubicBezTo>
                    <a:pt x="63983" y="66346"/>
                    <a:pt x="64816" y="66346"/>
                    <a:pt x="65353" y="65850"/>
                  </a:cubicBezTo>
                  <a:lnTo>
                    <a:pt x="65353" y="65850"/>
                  </a:lnTo>
                  <a:lnTo>
                    <a:pt x="65353" y="65850"/>
                  </a:lnTo>
                  <a:lnTo>
                    <a:pt x="65353" y="65850"/>
                  </a:lnTo>
                  <a:lnTo>
                    <a:pt x="65353" y="65850"/>
                  </a:lnTo>
                  <a:cubicBezTo>
                    <a:pt x="65353" y="65850"/>
                    <a:pt x="65353" y="65850"/>
                    <a:pt x="65353" y="65850"/>
                  </a:cubicBezTo>
                  <a:lnTo>
                    <a:pt x="65353" y="65850"/>
                  </a:lnTo>
                  <a:lnTo>
                    <a:pt x="62810" y="63308"/>
                  </a:lnTo>
                  <a:lnTo>
                    <a:pt x="0" y="0"/>
                  </a:lnTo>
                  <a:lnTo>
                    <a:pt x="0" y="4576"/>
                  </a:lnTo>
                  <a:lnTo>
                    <a:pt x="61539" y="64325"/>
                  </a:lnTo>
                  <a:close/>
                </a:path>
              </a:pathLst>
            </a:custGeom>
            <a:solidFill>
              <a:srgbClr val="000000"/>
            </a:solidFill>
            <a:ln w="12685"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3419B12F-8342-4763-BBE7-5870B7524EDD}"/>
                </a:ext>
              </a:extLst>
            </p:cNvPr>
            <p:cNvSpPr/>
            <p:nvPr/>
          </p:nvSpPr>
          <p:spPr>
            <a:xfrm>
              <a:off x="4491272" y="4225325"/>
              <a:ext cx="94514" cy="335926"/>
            </a:xfrm>
            <a:custGeom>
              <a:avLst/>
              <a:gdLst>
                <a:gd name="connsiteX0" fmla="*/ 93126 w 94514"/>
                <a:gd name="connsiteY0" fmla="*/ 66 h 335926"/>
                <a:gd name="connsiteX1" fmla="*/ 91219 w 94514"/>
                <a:gd name="connsiteY1" fmla="*/ 1082 h 335926"/>
                <a:gd name="connsiteX2" fmla="*/ 91219 w 94514"/>
                <a:gd name="connsiteY2" fmla="*/ 1082 h 335926"/>
                <a:gd name="connsiteX3" fmla="*/ 690 w 94514"/>
                <a:gd name="connsiteY3" fmla="*/ 331605 h 335926"/>
                <a:gd name="connsiteX4" fmla="*/ 54 w 94514"/>
                <a:gd name="connsiteY4" fmla="*/ 334020 h 335926"/>
                <a:gd name="connsiteX5" fmla="*/ 945 w 94514"/>
                <a:gd name="connsiteY5" fmla="*/ 335927 h 335926"/>
                <a:gd name="connsiteX6" fmla="*/ 1962 w 94514"/>
                <a:gd name="connsiteY6" fmla="*/ 335927 h 335926"/>
                <a:gd name="connsiteX7" fmla="*/ 1962 w 94514"/>
                <a:gd name="connsiteY7" fmla="*/ 335927 h 335926"/>
                <a:gd name="connsiteX8" fmla="*/ 1962 w 94514"/>
                <a:gd name="connsiteY8" fmla="*/ 335927 h 335926"/>
                <a:gd name="connsiteX9" fmla="*/ 1962 w 94514"/>
                <a:gd name="connsiteY9" fmla="*/ 334910 h 335926"/>
                <a:gd name="connsiteX10" fmla="*/ 92236 w 94514"/>
                <a:gd name="connsiteY10" fmla="*/ 5913 h 335926"/>
                <a:gd name="connsiteX11" fmla="*/ 92236 w 94514"/>
                <a:gd name="connsiteY11" fmla="*/ 3625 h 335926"/>
                <a:gd name="connsiteX12" fmla="*/ 94461 w 94514"/>
                <a:gd name="connsiteY12" fmla="*/ 2290 h 335926"/>
                <a:gd name="connsiteX13" fmla="*/ 93126 w 94514"/>
                <a:gd name="connsiteY13" fmla="*/ 66 h 33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514" h="335926">
                  <a:moveTo>
                    <a:pt x="93126" y="66"/>
                  </a:moveTo>
                  <a:cubicBezTo>
                    <a:pt x="92325" y="-176"/>
                    <a:pt x="91473" y="269"/>
                    <a:pt x="91219" y="1082"/>
                  </a:cubicBezTo>
                  <a:cubicBezTo>
                    <a:pt x="91219" y="1082"/>
                    <a:pt x="91219" y="1082"/>
                    <a:pt x="91219" y="1082"/>
                  </a:cubicBezTo>
                  <a:lnTo>
                    <a:pt x="690" y="331605"/>
                  </a:lnTo>
                  <a:lnTo>
                    <a:pt x="54" y="334020"/>
                  </a:lnTo>
                  <a:cubicBezTo>
                    <a:pt x="-149" y="334783"/>
                    <a:pt x="233" y="335584"/>
                    <a:pt x="945" y="335927"/>
                  </a:cubicBezTo>
                  <a:lnTo>
                    <a:pt x="1962" y="335927"/>
                  </a:lnTo>
                  <a:lnTo>
                    <a:pt x="1962" y="335927"/>
                  </a:lnTo>
                  <a:cubicBezTo>
                    <a:pt x="1962" y="335927"/>
                    <a:pt x="1962" y="335927"/>
                    <a:pt x="1962" y="335927"/>
                  </a:cubicBezTo>
                  <a:lnTo>
                    <a:pt x="1962" y="334910"/>
                  </a:lnTo>
                  <a:lnTo>
                    <a:pt x="92236" y="5913"/>
                  </a:lnTo>
                  <a:lnTo>
                    <a:pt x="92236" y="3625"/>
                  </a:lnTo>
                  <a:cubicBezTo>
                    <a:pt x="93215" y="3867"/>
                    <a:pt x="94219" y="3269"/>
                    <a:pt x="94461" y="2290"/>
                  </a:cubicBezTo>
                  <a:cubicBezTo>
                    <a:pt x="94702" y="1311"/>
                    <a:pt x="94105" y="307"/>
                    <a:pt x="93126" y="66"/>
                  </a:cubicBezTo>
                  <a:close/>
                </a:path>
              </a:pathLst>
            </a:custGeom>
            <a:solidFill>
              <a:srgbClr val="000000"/>
            </a:solidFill>
            <a:ln w="12685"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258FA60C-69E1-4A24-A06F-071EAC7948CE}"/>
                </a:ext>
              </a:extLst>
            </p:cNvPr>
            <p:cNvSpPr/>
            <p:nvPr/>
          </p:nvSpPr>
          <p:spPr>
            <a:xfrm>
              <a:off x="1262054" y="1948681"/>
              <a:ext cx="42723" cy="34244"/>
            </a:xfrm>
            <a:custGeom>
              <a:avLst/>
              <a:gdLst>
                <a:gd name="connsiteX0" fmla="*/ 2673 w 42723"/>
                <a:gd name="connsiteY0" fmla="*/ 15048 h 34244"/>
                <a:gd name="connsiteX1" fmla="*/ 6741 w 42723"/>
                <a:gd name="connsiteY1" fmla="*/ 18608 h 34244"/>
                <a:gd name="connsiteX2" fmla="*/ 24415 w 42723"/>
                <a:gd name="connsiteY2" fmla="*/ 34244 h 34244"/>
                <a:gd name="connsiteX3" fmla="*/ 31662 w 42723"/>
                <a:gd name="connsiteY3" fmla="*/ 31066 h 34244"/>
                <a:gd name="connsiteX4" fmla="*/ 32552 w 42723"/>
                <a:gd name="connsiteY4" fmla="*/ 29286 h 34244"/>
                <a:gd name="connsiteX5" fmla="*/ 41961 w 42723"/>
                <a:gd name="connsiteY5" fmla="*/ 26489 h 34244"/>
                <a:gd name="connsiteX6" fmla="*/ 42724 w 42723"/>
                <a:gd name="connsiteY6" fmla="*/ 26489 h 34244"/>
                <a:gd name="connsiteX7" fmla="*/ 14116 w 42723"/>
                <a:gd name="connsiteY7" fmla="*/ 1065 h 34244"/>
                <a:gd name="connsiteX8" fmla="*/ 12972 w 42723"/>
                <a:gd name="connsiteY8" fmla="*/ 1065 h 34244"/>
                <a:gd name="connsiteX9" fmla="*/ 11319 w 42723"/>
                <a:gd name="connsiteY9" fmla="*/ 48 h 34244"/>
                <a:gd name="connsiteX10" fmla="*/ 9666 w 42723"/>
                <a:gd name="connsiteY10" fmla="*/ 48 h 34244"/>
                <a:gd name="connsiteX11" fmla="*/ 8013 w 42723"/>
                <a:gd name="connsiteY11" fmla="*/ 48 h 34244"/>
                <a:gd name="connsiteX12" fmla="*/ 6233 w 42723"/>
                <a:gd name="connsiteY12" fmla="*/ 48 h 34244"/>
                <a:gd name="connsiteX13" fmla="*/ 1655 w 42723"/>
                <a:gd name="connsiteY13" fmla="*/ 2972 h 34244"/>
                <a:gd name="connsiteX14" fmla="*/ 2673 w 42723"/>
                <a:gd name="connsiteY14" fmla="*/ 15048 h 3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23" h="34244">
                  <a:moveTo>
                    <a:pt x="2673" y="15048"/>
                  </a:moveTo>
                  <a:lnTo>
                    <a:pt x="6741" y="18608"/>
                  </a:lnTo>
                  <a:lnTo>
                    <a:pt x="24415" y="34244"/>
                  </a:lnTo>
                  <a:lnTo>
                    <a:pt x="31662" y="31066"/>
                  </a:lnTo>
                  <a:cubicBezTo>
                    <a:pt x="31827" y="30418"/>
                    <a:pt x="32133" y="29807"/>
                    <a:pt x="32552" y="29286"/>
                  </a:cubicBezTo>
                  <a:cubicBezTo>
                    <a:pt x="34777" y="26464"/>
                    <a:pt x="38553" y="25345"/>
                    <a:pt x="41961" y="26489"/>
                  </a:cubicBezTo>
                  <a:lnTo>
                    <a:pt x="42724" y="26489"/>
                  </a:lnTo>
                  <a:lnTo>
                    <a:pt x="14116" y="1065"/>
                  </a:lnTo>
                  <a:cubicBezTo>
                    <a:pt x="14116" y="1065"/>
                    <a:pt x="13353" y="1065"/>
                    <a:pt x="12972" y="1065"/>
                  </a:cubicBezTo>
                  <a:cubicBezTo>
                    <a:pt x="12450" y="683"/>
                    <a:pt x="11891" y="340"/>
                    <a:pt x="11319" y="48"/>
                  </a:cubicBezTo>
                  <a:lnTo>
                    <a:pt x="9666" y="48"/>
                  </a:lnTo>
                  <a:lnTo>
                    <a:pt x="8013" y="48"/>
                  </a:lnTo>
                  <a:cubicBezTo>
                    <a:pt x="7422" y="-16"/>
                    <a:pt x="6824" y="-16"/>
                    <a:pt x="6233" y="48"/>
                  </a:cubicBezTo>
                  <a:cubicBezTo>
                    <a:pt x="4404" y="442"/>
                    <a:pt x="2779" y="1471"/>
                    <a:pt x="1655" y="2972"/>
                  </a:cubicBezTo>
                  <a:cubicBezTo>
                    <a:pt x="-887" y="6734"/>
                    <a:pt x="-464" y="11768"/>
                    <a:pt x="2673" y="15048"/>
                  </a:cubicBezTo>
                  <a:close/>
                </a:path>
              </a:pathLst>
            </a:custGeom>
            <a:solidFill>
              <a:srgbClr val="000000"/>
            </a:solidFill>
            <a:ln w="12685"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80E31D3F-BEC8-489A-83FB-AEC7E13DBAC6}"/>
                </a:ext>
              </a:extLst>
            </p:cNvPr>
            <p:cNvSpPr/>
            <p:nvPr/>
          </p:nvSpPr>
          <p:spPr>
            <a:xfrm>
              <a:off x="1293716" y="1974473"/>
              <a:ext cx="10298" cy="5019"/>
            </a:xfrm>
            <a:custGeom>
              <a:avLst/>
              <a:gdLst>
                <a:gd name="connsiteX0" fmla="*/ 10299 w 10298"/>
                <a:gd name="connsiteY0" fmla="*/ 443 h 5019"/>
                <a:gd name="connsiteX1" fmla="*/ 890 w 10298"/>
                <a:gd name="connsiteY1" fmla="*/ 3240 h 5019"/>
                <a:gd name="connsiteX2" fmla="*/ 0 w 10298"/>
                <a:gd name="connsiteY2" fmla="*/ 5020 h 5019"/>
                <a:gd name="connsiteX3" fmla="*/ 6103 w 10298"/>
                <a:gd name="connsiteY3" fmla="*/ 2350 h 5019"/>
              </a:gdLst>
              <a:ahLst/>
              <a:cxnLst>
                <a:cxn ang="0">
                  <a:pos x="connsiteX0" y="connsiteY0"/>
                </a:cxn>
                <a:cxn ang="0">
                  <a:pos x="connsiteX1" y="connsiteY1"/>
                </a:cxn>
                <a:cxn ang="0">
                  <a:pos x="connsiteX2" y="connsiteY2"/>
                </a:cxn>
                <a:cxn ang="0">
                  <a:pos x="connsiteX3" y="connsiteY3"/>
                </a:cxn>
              </a:cxnLst>
              <a:rect l="l" t="t" r="r" b="b"/>
              <a:pathLst>
                <a:path w="10298" h="5019">
                  <a:moveTo>
                    <a:pt x="10299" y="443"/>
                  </a:moveTo>
                  <a:cubicBezTo>
                    <a:pt x="6891" y="-701"/>
                    <a:pt x="3115" y="418"/>
                    <a:pt x="890" y="3240"/>
                  </a:cubicBezTo>
                  <a:cubicBezTo>
                    <a:pt x="470" y="3761"/>
                    <a:pt x="165" y="4372"/>
                    <a:pt x="0" y="5020"/>
                  </a:cubicBezTo>
                  <a:lnTo>
                    <a:pt x="6103" y="2350"/>
                  </a:lnTo>
                  <a:close/>
                </a:path>
              </a:pathLst>
            </a:custGeom>
            <a:solidFill>
              <a:srgbClr val="000000"/>
            </a:solidFill>
            <a:ln w="12685"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338D183F-E3C5-474D-B111-656195950EDF}"/>
                </a:ext>
              </a:extLst>
            </p:cNvPr>
            <p:cNvSpPr/>
            <p:nvPr/>
          </p:nvSpPr>
          <p:spPr>
            <a:xfrm>
              <a:off x="815518" y="2050936"/>
              <a:ext cx="215004" cy="108945"/>
            </a:xfrm>
            <a:custGeom>
              <a:avLst/>
              <a:gdLst>
                <a:gd name="connsiteX0" fmla="*/ 0 w 215004"/>
                <a:gd name="connsiteY0" fmla="*/ 108945 h 108945"/>
                <a:gd name="connsiteX1" fmla="*/ 212081 w 215004"/>
                <a:gd name="connsiteY1" fmla="*/ 15763 h 108945"/>
                <a:gd name="connsiteX2" fmla="*/ 210173 w 215004"/>
                <a:gd name="connsiteY2" fmla="*/ 12712 h 108945"/>
                <a:gd name="connsiteX3" fmla="*/ 214620 w 215004"/>
                <a:gd name="connsiteY3" fmla="*/ 178 h 108945"/>
                <a:gd name="connsiteX4" fmla="*/ 215005 w 215004"/>
                <a:gd name="connsiteY4" fmla="*/ 0 h 108945"/>
                <a:gd name="connsiteX5" fmla="*/ 202290 w 215004"/>
                <a:gd name="connsiteY5" fmla="*/ 5721 h 108945"/>
                <a:gd name="connsiteX6" fmla="*/ 1144 w 215004"/>
                <a:gd name="connsiteY6" fmla="*/ 94707 h 10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004" h="108945">
                  <a:moveTo>
                    <a:pt x="0" y="108945"/>
                  </a:moveTo>
                  <a:lnTo>
                    <a:pt x="212081" y="15763"/>
                  </a:lnTo>
                  <a:cubicBezTo>
                    <a:pt x="211304" y="14848"/>
                    <a:pt x="210662" y="13818"/>
                    <a:pt x="210173" y="12712"/>
                  </a:cubicBezTo>
                  <a:cubicBezTo>
                    <a:pt x="207938" y="8021"/>
                    <a:pt x="209928" y="2403"/>
                    <a:pt x="214620" y="178"/>
                  </a:cubicBezTo>
                  <a:cubicBezTo>
                    <a:pt x="214747" y="114"/>
                    <a:pt x="214875" y="51"/>
                    <a:pt x="215005" y="0"/>
                  </a:cubicBezTo>
                  <a:lnTo>
                    <a:pt x="202290" y="5721"/>
                  </a:lnTo>
                  <a:lnTo>
                    <a:pt x="1144" y="94707"/>
                  </a:lnTo>
                  <a:close/>
                </a:path>
              </a:pathLst>
            </a:custGeom>
            <a:solidFill>
              <a:srgbClr val="000000"/>
            </a:solidFill>
            <a:ln w="12685"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133493FC-C699-40AC-9A5F-4ACD04B4F3C7}"/>
                </a:ext>
              </a:extLst>
            </p:cNvPr>
            <p:cNvSpPr/>
            <p:nvPr/>
          </p:nvSpPr>
          <p:spPr>
            <a:xfrm>
              <a:off x="1025126" y="2042971"/>
              <a:ext cx="35665" cy="23728"/>
            </a:xfrm>
            <a:custGeom>
              <a:avLst/>
              <a:gdLst>
                <a:gd name="connsiteX0" fmla="*/ 565 w 35665"/>
                <a:gd name="connsiteY0" fmla="*/ 20678 h 23728"/>
                <a:gd name="connsiteX1" fmla="*/ 2472 w 35665"/>
                <a:gd name="connsiteY1" fmla="*/ 23729 h 23728"/>
                <a:gd name="connsiteX2" fmla="*/ 22561 w 35665"/>
                <a:gd name="connsiteY2" fmla="*/ 14830 h 23728"/>
                <a:gd name="connsiteX3" fmla="*/ 33623 w 35665"/>
                <a:gd name="connsiteY3" fmla="*/ 9999 h 23728"/>
                <a:gd name="connsiteX4" fmla="*/ 35530 w 35665"/>
                <a:gd name="connsiteY4" fmla="*/ 9110 h 23728"/>
                <a:gd name="connsiteX5" fmla="*/ 35530 w 35665"/>
                <a:gd name="connsiteY5" fmla="*/ 5677 h 23728"/>
                <a:gd name="connsiteX6" fmla="*/ 24441 w 35665"/>
                <a:gd name="connsiteY6" fmla="*/ 529 h 23728"/>
                <a:gd name="connsiteX7" fmla="*/ 23960 w 35665"/>
                <a:gd name="connsiteY7" fmla="*/ 719 h 23728"/>
                <a:gd name="connsiteX8" fmla="*/ 11245 w 35665"/>
                <a:gd name="connsiteY8" fmla="*/ 6313 h 23728"/>
                <a:gd name="connsiteX9" fmla="*/ 6287 w 35665"/>
                <a:gd name="connsiteY9" fmla="*/ 8601 h 23728"/>
                <a:gd name="connsiteX10" fmla="*/ 537 w 35665"/>
                <a:gd name="connsiteY10" fmla="*/ 20602 h 23728"/>
                <a:gd name="connsiteX11" fmla="*/ 565 w 35665"/>
                <a:gd name="connsiteY11" fmla="*/ 20678 h 2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65" h="23728">
                  <a:moveTo>
                    <a:pt x="565" y="20678"/>
                  </a:moveTo>
                  <a:cubicBezTo>
                    <a:pt x="1053" y="21784"/>
                    <a:pt x="1695" y="22814"/>
                    <a:pt x="2472" y="23729"/>
                  </a:cubicBezTo>
                  <a:lnTo>
                    <a:pt x="22561" y="14830"/>
                  </a:lnTo>
                  <a:lnTo>
                    <a:pt x="33623" y="9999"/>
                  </a:lnTo>
                  <a:lnTo>
                    <a:pt x="35530" y="9110"/>
                  </a:lnTo>
                  <a:cubicBezTo>
                    <a:pt x="35711" y="7978"/>
                    <a:pt x="35711" y="6809"/>
                    <a:pt x="35530" y="5677"/>
                  </a:cubicBezTo>
                  <a:cubicBezTo>
                    <a:pt x="33890" y="1190"/>
                    <a:pt x="28926" y="-1111"/>
                    <a:pt x="24441" y="529"/>
                  </a:cubicBezTo>
                  <a:cubicBezTo>
                    <a:pt x="24279" y="592"/>
                    <a:pt x="24119" y="656"/>
                    <a:pt x="23960" y="719"/>
                  </a:cubicBezTo>
                  <a:lnTo>
                    <a:pt x="11245" y="6313"/>
                  </a:lnTo>
                  <a:lnTo>
                    <a:pt x="6287" y="8601"/>
                  </a:lnTo>
                  <a:cubicBezTo>
                    <a:pt x="1385" y="10330"/>
                    <a:pt x="-1190" y="15695"/>
                    <a:pt x="537" y="20602"/>
                  </a:cubicBezTo>
                  <a:cubicBezTo>
                    <a:pt x="546" y="20627"/>
                    <a:pt x="556" y="20653"/>
                    <a:pt x="565" y="20678"/>
                  </a:cubicBezTo>
                  <a:close/>
                </a:path>
              </a:pathLst>
            </a:custGeom>
            <a:solidFill>
              <a:srgbClr val="000000"/>
            </a:solidFill>
            <a:ln w="12685"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7A1E71F8-3E32-4F29-A687-6AAC15039312}"/>
                </a:ext>
              </a:extLst>
            </p:cNvPr>
            <p:cNvSpPr/>
            <p:nvPr/>
          </p:nvSpPr>
          <p:spPr>
            <a:xfrm>
              <a:off x="735416" y="6245339"/>
              <a:ext cx="101996" cy="67425"/>
            </a:xfrm>
            <a:custGeom>
              <a:avLst/>
              <a:gdLst>
                <a:gd name="connsiteX0" fmla="*/ 100827 w 101996"/>
                <a:gd name="connsiteY0" fmla="*/ 4881 h 67425"/>
                <a:gd name="connsiteX1" fmla="*/ 89485 w 101996"/>
                <a:gd name="connsiteY1" fmla="*/ 826 h 67425"/>
                <a:gd name="connsiteX2" fmla="*/ 89003 w 101996"/>
                <a:gd name="connsiteY2" fmla="*/ 1067 h 67425"/>
                <a:gd name="connsiteX3" fmla="*/ 0 w 101996"/>
                <a:gd name="connsiteY3" fmla="*/ 50772 h 67425"/>
                <a:gd name="connsiteX4" fmla="*/ 11837 w 101996"/>
                <a:gd name="connsiteY4" fmla="*/ 54485 h 67425"/>
                <a:gd name="connsiteX5" fmla="*/ 11952 w 101996"/>
                <a:gd name="connsiteY5" fmla="*/ 54713 h 67425"/>
                <a:gd name="connsiteX6" fmla="*/ 8265 w 101996"/>
                <a:gd name="connsiteY6" fmla="*/ 67426 h 67425"/>
                <a:gd name="connsiteX7" fmla="*/ 92181 w 101996"/>
                <a:gd name="connsiteY7" fmla="*/ 20390 h 67425"/>
                <a:gd name="connsiteX8" fmla="*/ 97013 w 101996"/>
                <a:gd name="connsiteY8" fmla="*/ 17721 h 67425"/>
                <a:gd name="connsiteX9" fmla="*/ 100888 w 101996"/>
                <a:gd name="connsiteY9" fmla="*/ 4995 h 67425"/>
                <a:gd name="connsiteX10" fmla="*/ 100827 w 101996"/>
                <a:gd name="connsiteY10" fmla="*/ 4881 h 6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96" h="67425">
                  <a:moveTo>
                    <a:pt x="100827" y="4881"/>
                  </a:moveTo>
                  <a:cubicBezTo>
                    <a:pt x="98817" y="622"/>
                    <a:pt x="93739" y="-1196"/>
                    <a:pt x="89485" y="826"/>
                  </a:cubicBezTo>
                  <a:cubicBezTo>
                    <a:pt x="89322" y="902"/>
                    <a:pt x="89160" y="978"/>
                    <a:pt x="89003" y="1067"/>
                  </a:cubicBezTo>
                  <a:lnTo>
                    <a:pt x="0" y="50772"/>
                  </a:lnTo>
                  <a:cubicBezTo>
                    <a:pt x="4295" y="48535"/>
                    <a:pt x="9594" y="50188"/>
                    <a:pt x="11837" y="54485"/>
                  </a:cubicBezTo>
                  <a:cubicBezTo>
                    <a:pt x="11877" y="54561"/>
                    <a:pt x="11915" y="54637"/>
                    <a:pt x="11952" y="54713"/>
                  </a:cubicBezTo>
                  <a:cubicBezTo>
                    <a:pt x="14416" y="59239"/>
                    <a:pt x="12772" y="64921"/>
                    <a:pt x="8265" y="67426"/>
                  </a:cubicBezTo>
                  <a:lnTo>
                    <a:pt x="92181" y="20390"/>
                  </a:lnTo>
                  <a:lnTo>
                    <a:pt x="97013" y="17721"/>
                  </a:lnTo>
                  <a:cubicBezTo>
                    <a:pt x="101598" y="15280"/>
                    <a:pt x="103333" y="9572"/>
                    <a:pt x="100888" y="4995"/>
                  </a:cubicBezTo>
                  <a:cubicBezTo>
                    <a:pt x="100868" y="4957"/>
                    <a:pt x="100848" y="4919"/>
                    <a:pt x="100827" y="4881"/>
                  </a:cubicBezTo>
                  <a:close/>
                </a:path>
              </a:pathLst>
            </a:custGeom>
            <a:solidFill>
              <a:srgbClr val="000000"/>
            </a:solidFill>
            <a:ln w="12685"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097283B6-248E-4D31-856C-31952FA3E53C}"/>
                </a:ext>
              </a:extLst>
            </p:cNvPr>
            <p:cNvSpPr/>
            <p:nvPr/>
          </p:nvSpPr>
          <p:spPr>
            <a:xfrm>
              <a:off x="3305" y="6295110"/>
              <a:ext cx="745357" cy="433222"/>
            </a:xfrm>
            <a:custGeom>
              <a:avLst/>
              <a:gdLst>
                <a:gd name="connsiteX0" fmla="*/ 744316 w 745357"/>
                <a:gd name="connsiteY0" fmla="*/ 4942 h 433222"/>
                <a:gd name="connsiteX1" fmla="*/ 732591 w 745357"/>
                <a:gd name="connsiteY1" fmla="*/ 887 h 433222"/>
                <a:gd name="connsiteX2" fmla="*/ 732365 w 745357"/>
                <a:gd name="connsiteY2" fmla="*/ 1002 h 433222"/>
                <a:gd name="connsiteX3" fmla="*/ 732365 w 745357"/>
                <a:gd name="connsiteY3" fmla="*/ 1002 h 433222"/>
                <a:gd name="connsiteX4" fmla="*/ 729567 w 745357"/>
                <a:gd name="connsiteY4" fmla="*/ 2654 h 433222"/>
                <a:gd name="connsiteX5" fmla="*/ 0 w 745357"/>
                <a:gd name="connsiteY5" fmla="*/ 412121 h 433222"/>
                <a:gd name="connsiteX6" fmla="*/ 0 w 745357"/>
                <a:gd name="connsiteY6" fmla="*/ 433223 h 433222"/>
                <a:gd name="connsiteX7" fmla="*/ 740629 w 745357"/>
                <a:gd name="connsiteY7" fmla="*/ 17401 h 433222"/>
                <a:gd name="connsiteX8" fmla="*/ 744316 w 745357"/>
                <a:gd name="connsiteY8" fmla="*/ 4942 h 43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357" h="433222">
                  <a:moveTo>
                    <a:pt x="744316" y="4942"/>
                  </a:moveTo>
                  <a:cubicBezTo>
                    <a:pt x="742198" y="582"/>
                    <a:pt x="736948" y="-1236"/>
                    <a:pt x="732591" y="887"/>
                  </a:cubicBezTo>
                  <a:cubicBezTo>
                    <a:pt x="732515" y="926"/>
                    <a:pt x="732440" y="964"/>
                    <a:pt x="732365" y="1002"/>
                  </a:cubicBezTo>
                  <a:lnTo>
                    <a:pt x="732365" y="1002"/>
                  </a:lnTo>
                  <a:lnTo>
                    <a:pt x="729567" y="2654"/>
                  </a:lnTo>
                  <a:lnTo>
                    <a:pt x="0" y="412121"/>
                  </a:lnTo>
                  <a:lnTo>
                    <a:pt x="0" y="433223"/>
                  </a:lnTo>
                  <a:lnTo>
                    <a:pt x="740629" y="17401"/>
                  </a:lnTo>
                  <a:cubicBezTo>
                    <a:pt x="744989" y="14896"/>
                    <a:pt x="746614" y="9417"/>
                    <a:pt x="744316" y="4942"/>
                  </a:cubicBezTo>
                  <a:close/>
                </a:path>
              </a:pathLst>
            </a:custGeom>
            <a:solidFill>
              <a:srgbClr val="000000"/>
            </a:solidFill>
            <a:ln w="12685"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FD228950-8955-4AFE-B54A-28702D9BBA05}"/>
                </a:ext>
              </a:extLst>
            </p:cNvPr>
            <p:cNvSpPr/>
            <p:nvPr/>
          </p:nvSpPr>
          <p:spPr>
            <a:xfrm>
              <a:off x="3703654" y="4850967"/>
              <a:ext cx="49078" cy="148481"/>
            </a:xfrm>
            <a:custGeom>
              <a:avLst/>
              <a:gdLst>
                <a:gd name="connsiteX0" fmla="*/ 38652 w 49078"/>
                <a:gd name="connsiteY0" fmla="*/ 11187 h 148481"/>
                <a:gd name="connsiteX1" fmla="*/ 32295 w 49078"/>
                <a:gd name="connsiteY1" fmla="*/ 0 h 148481"/>
                <a:gd name="connsiteX2" fmla="*/ 382 w 49078"/>
                <a:gd name="connsiteY2" fmla="*/ 137040 h 148481"/>
                <a:gd name="connsiteX3" fmla="*/ 382 w 49078"/>
                <a:gd name="connsiteY3" fmla="*/ 142124 h 148481"/>
                <a:gd name="connsiteX4" fmla="*/ 1907 w 49078"/>
                <a:gd name="connsiteY4" fmla="*/ 145048 h 148481"/>
                <a:gd name="connsiteX5" fmla="*/ 6612 w 49078"/>
                <a:gd name="connsiteY5" fmla="*/ 148227 h 148481"/>
                <a:gd name="connsiteX6" fmla="*/ 17228 w 49078"/>
                <a:gd name="connsiteY6" fmla="*/ 141794 h 148481"/>
                <a:gd name="connsiteX7" fmla="*/ 17292 w 49078"/>
                <a:gd name="connsiteY7" fmla="*/ 141489 h 148481"/>
                <a:gd name="connsiteX8" fmla="*/ 49079 w 49078"/>
                <a:gd name="connsiteY8" fmla="*/ 4449 h 148481"/>
                <a:gd name="connsiteX9" fmla="*/ 38907 w 49078"/>
                <a:gd name="connsiteY9" fmla="*/ 11238 h 148481"/>
                <a:gd name="connsiteX10" fmla="*/ 38652 w 49078"/>
                <a:gd name="connsiteY10" fmla="*/ 11187 h 14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078" h="148481">
                  <a:moveTo>
                    <a:pt x="38652" y="11187"/>
                  </a:moveTo>
                  <a:cubicBezTo>
                    <a:pt x="33821" y="9827"/>
                    <a:pt x="30998" y="4844"/>
                    <a:pt x="32295" y="0"/>
                  </a:cubicBezTo>
                  <a:lnTo>
                    <a:pt x="382" y="137040"/>
                  </a:lnTo>
                  <a:cubicBezTo>
                    <a:pt x="-127" y="138692"/>
                    <a:pt x="-127" y="140472"/>
                    <a:pt x="382" y="142124"/>
                  </a:cubicBezTo>
                  <a:cubicBezTo>
                    <a:pt x="763" y="143167"/>
                    <a:pt x="1272" y="144146"/>
                    <a:pt x="1907" y="145048"/>
                  </a:cubicBezTo>
                  <a:cubicBezTo>
                    <a:pt x="3013" y="146663"/>
                    <a:pt x="4704" y="147794"/>
                    <a:pt x="6612" y="148227"/>
                  </a:cubicBezTo>
                  <a:cubicBezTo>
                    <a:pt x="11316" y="149383"/>
                    <a:pt x="16071" y="146498"/>
                    <a:pt x="17228" y="141794"/>
                  </a:cubicBezTo>
                  <a:cubicBezTo>
                    <a:pt x="17241" y="141692"/>
                    <a:pt x="17267" y="141591"/>
                    <a:pt x="17292" y="141489"/>
                  </a:cubicBezTo>
                  <a:lnTo>
                    <a:pt x="49079" y="4449"/>
                  </a:lnTo>
                  <a:cubicBezTo>
                    <a:pt x="48150" y="9128"/>
                    <a:pt x="43598" y="12179"/>
                    <a:pt x="38907" y="11238"/>
                  </a:cubicBezTo>
                  <a:cubicBezTo>
                    <a:pt x="38830" y="11225"/>
                    <a:pt x="38742" y="11213"/>
                    <a:pt x="38652" y="11187"/>
                  </a:cubicBezTo>
                  <a:close/>
                </a:path>
              </a:pathLst>
            </a:custGeom>
            <a:solidFill>
              <a:srgbClr val="000000"/>
            </a:solidFill>
            <a:ln w="12685"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96811AEB-909A-4098-B437-CD16A3144358}"/>
                </a:ext>
              </a:extLst>
            </p:cNvPr>
            <p:cNvSpPr/>
            <p:nvPr/>
          </p:nvSpPr>
          <p:spPr>
            <a:xfrm>
              <a:off x="795495" y="2169162"/>
              <a:ext cx="13919" cy="15209"/>
            </a:xfrm>
            <a:custGeom>
              <a:avLst/>
              <a:gdLst>
                <a:gd name="connsiteX0" fmla="*/ 61 w 13919"/>
                <a:gd name="connsiteY0" fmla="*/ 9534 h 15209"/>
                <a:gd name="connsiteX1" fmla="*/ 10936 w 13919"/>
                <a:gd name="connsiteY1" fmla="*/ 14721 h 15209"/>
                <a:gd name="connsiteX2" fmla="*/ 11504 w 13919"/>
                <a:gd name="connsiteY2" fmla="*/ 14492 h 15209"/>
                <a:gd name="connsiteX3" fmla="*/ 13920 w 13919"/>
                <a:gd name="connsiteY3" fmla="*/ 13475 h 15209"/>
                <a:gd name="connsiteX4" fmla="*/ 13920 w 13919"/>
                <a:gd name="connsiteY4" fmla="*/ 13475 h 15209"/>
                <a:gd name="connsiteX5" fmla="*/ 12267 w 13919"/>
                <a:gd name="connsiteY5" fmla="*/ 13475 h 15209"/>
                <a:gd name="connsiteX6" fmla="*/ 10487 w 13919"/>
                <a:gd name="connsiteY6" fmla="*/ 13475 h 15209"/>
                <a:gd name="connsiteX7" fmla="*/ 10487 w 13919"/>
                <a:gd name="connsiteY7" fmla="*/ 13475 h 15209"/>
                <a:gd name="connsiteX8" fmla="*/ 9343 w 13919"/>
                <a:gd name="connsiteY8" fmla="*/ 13475 h 15209"/>
                <a:gd name="connsiteX9" fmla="*/ 7308 w 13919"/>
                <a:gd name="connsiteY9" fmla="*/ 13475 h 15209"/>
                <a:gd name="connsiteX10" fmla="*/ 6037 w 13919"/>
                <a:gd name="connsiteY10" fmla="*/ 12585 h 15209"/>
                <a:gd name="connsiteX11" fmla="*/ 4638 w 13919"/>
                <a:gd name="connsiteY11" fmla="*/ 11441 h 15209"/>
                <a:gd name="connsiteX12" fmla="*/ 3494 w 13919"/>
                <a:gd name="connsiteY12" fmla="*/ 9661 h 15209"/>
                <a:gd name="connsiteX13" fmla="*/ 2731 w 13919"/>
                <a:gd name="connsiteY13" fmla="*/ 8644 h 15209"/>
                <a:gd name="connsiteX14" fmla="*/ 2731 w 13919"/>
                <a:gd name="connsiteY14" fmla="*/ 8644 h 15209"/>
                <a:gd name="connsiteX15" fmla="*/ 2731 w 13919"/>
                <a:gd name="connsiteY15" fmla="*/ 6865 h 15209"/>
                <a:gd name="connsiteX16" fmla="*/ 2731 w 13919"/>
                <a:gd name="connsiteY16" fmla="*/ 5085 h 15209"/>
                <a:gd name="connsiteX17" fmla="*/ 2731 w 13919"/>
                <a:gd name="connsiteY17" fmla="*/ 5085 h 15209"/>
                <a:gd name="connsiteX18" fmla="*/ 2731 w 13919"/>
                <a:gd name="connsiteY18" fmla="*/ 0 h 15209"/>
                <a:gd name="connsiteX19" fmla="*/ 1841 w 13919"/>
                <a:gd name="connsiteY19" fmla="*/ 1271 h 15209"/>
                <a:gd name="connsiteX20" fmla="*/ 824 w 13919"/>
                <a:gd name="connsiteY20" fmla="*/ 2797 h 15209"/>
                <a:gd name="connsiteX21" fmla="*/ 824 w 13919"/>
                <a:gd name="connsiteY21" fmla="*/ 4831 h 15209"/>
                <a:gd name="connsiteX22" fmla="*/ 61 w 13919"/>
                <a:gd name="connsiteY22" fmla="*/ 9534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19" h="15209">
                  <a:moveTo>
                    <a:pt x="61" y="9534"/>
                  </a:moveTo>
                  <a:cubicBezTo>
                    <a:pt x="1632" y="13971"/>
                    <a:pt x="6502" y="16285"/>
                    <a:pt x="10936" y="14721"/>
                  </a:cubicBezTo>
                  <a:cubicBezTo>
                    <a:pt x="11128" y="14645"/>
                    <a:pt x="11317" y="14568"/>
                    <a:pt x="11504" y="14492"/>
                  </a:cubicBezTo>
                  <a:lnTo>
                    <a:pt x="13920" y="13475"/>
                  </a:lnTo>
                  <a:lnTo>
                    <a:pt x="13920" y="13475"/>
                  </a:lnTo>
                  <a:cubicBezTo>
                    <a:pt x="13371" y="13539"/>
                    <a:pt x="12816" y="13539"/>
                    <a:pt x="12267" y="13475"/>
                  </a:cubicBezTo>
                  <a:cubicBezTo>
                    <a:pt x="11679" y="13589"/>
                    <a:pt x="11074" y="13589"/>
                    <a:pt x="10487" y="13475"/>
                  </a:cubicBezTo>
                  <a:lnTo>
                    <a:pt x="10487" y="13475"/>
                  </a:lnTo>
                  <a:lnTo>
                    <a:pt x="9343" y="13475"/>
                  </a:lnTo>
                  <a:lnTo>
                    <a:pt x="7308" y="13475"/>
                  </a:lnTo>
                  <a:lnTo>
                    <a:pt x="6037" y="12585"/>
                  </a:lnTo>
                  <a:cubicBezTo>
                    <a:pt x="5517" y="12280"/>
                    <a:pt x="5045" y="11886"/>
                    <a:pt x="4638" y="11441"/>
                  </a:cubicBezTo>
                  <a:cubicBezTo>
                    <a:pt x="4184" y="10894"/>
                    <a:pt x="3800" y="10297"/>
                    <a:pt x="3494" y="9661"/>
                  </a:cubicBezTo>
                  <a:lnTo>
                    <a:pt x="2731" y="8644"/>
                  </a:lnTo>
                  <a:lnTo>
                    <a:pt x="2731" y="8644"/>
                  </a:lnTo>
                  <a:cubicBezTo>
                    <a:pt x="2658" y="8060"/>
                    <a:pt x="2658" y="7449"/>
                    <a:pt x="2731" y="6865"/>
                  </a:cubicBezTo>
                  <a:cubicBezTo>
                    <a:pt x="2731" y="6865"/>
                    <a:pt x="2731" y="5593"/>
                    <a:pt x="2731" y="5085"/>
                  </a:cubicBezTo>
                  <a:lnTo>
                    <a:pt x="2731" y="5085"/>
                  </a:lnTo>
                  <a:lnTo>
                    <a:pt x="2731" y="0"/>
                  </a:lnTo>
                  <a:cubicBezTo>
                    <a:pt x="2393" y="394"/>
                    <a:pt x="2094" y="814"/>
                    <a:pt x="1841" y="1271"/>
                  </a:cubicBezTo>
                  <a:lnTo>
                    <a:pt x="824" y="2797"/>
                  </a:lnTo>
                  <a:cubicBezTo>
                    <a:pt x="764" y="3470"/>
                    <a:pt x="764" y="4157"/>
                    <a:pt x="824" y="4831"/>
                  </a:cubicBezTo>
                  <a:cubicBezTo>
                    <a:pt x="133" y="6293"/>
                    <a:pt x="-131" y="7920"/>
                    <a:pt x="61" y="9534"/>
                  </a:cubicBezTo>
                  <a:close/>
                </a:path>
              </a:pathLst>
            </a:custGeom>
            <a:solidFill>
              <a:srgbClr val="000000"/>
            </a:solidFill>
            <a:ln w="12685"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B1293643-F722-4CB7-A371-0E4B0AB9DCFE}"/>
                </a:ext>
              </a:extLst>
            </p:cNvPr>
            <p:cNvSpPr/>
            <p:nvPr/>
          </p:nvSpPr>
          <p:spPr>
            <a:xfrm>
              <a:off x="1132622" y="2053352"/>
              <a:ext cx="17419" cy="24153"/>
            </a:xfrm>
            <a:custGeom>
              <a:avLst/>
              <a:gdLst>
                <a:gd name="connsiteX0" fmla="*/ 6230 w 17419"/>
                <a:gd name="connsiteY0" fmla="*/ 15636 h 24153"/>
                <a:gd name="connsiteX1" fmla="*/ 8137 w 17419"/>
                <a:gd name="connsiteY1" fmla="*/ 15636 h 24153"/>
                <a:gd name="connsiteX2" fmla="*/ 9790 w 17419"/>
                <a:gd name="connsiteY2" fmla="*/ 15636 h 24153"/>
                <a:gd name="connsiteX3" fmla="*/ 9790 w 17419"/>
                <a:gd name="connsiteY3" fmla="*/ 15636 h 24153"/>
                <a:gd name="connsiteX4" fmla="*/ 11062 w 17419"/>
                <a:gd name="connsiteY4" fmla="*/ 15636 h 24153"/>
                <a:gd name="connsiteX5" fmla="*/ 12842 w 17419"/>
                <a:gd name="connsiteY5" fmla="*/ 15636 h 24153"/>
                <a:gd name="connsiteX6" fmla="*/ 14240 w 17419"/>
                <a:gd name="connsiteY6" fmla="*/ 16653 h 24153"/>
                <a:gd name="connsiteX7" fmla="*/ 15512 w 17419"/>
                <a:gd name="connsiteY7" fmla="*/ 17670 h 24153"/>
                <a:gd name="connsiteX8" fmla="*/ 16656 w 17419"/>
                <a:gd name="connsiteY8" fmla="*/ 19450 h 24153"/>
                <a:gd name="connsiteX9" fmla="*/ 16656 w 17419"/>
                <a:gd name="connsiteY9" fmla="*/ 20467 h 24153"/>
                <a:gd name="connsiteX10" fmla="*/ 16656 w 17419"/>
                <a:gd name="connsiteY10" fmla="*/ 20467 h 24153"/>
                <a:gd name="connsiteX11" fmla="*/ 16656 w 17419"/>
                <a:gd name="connsiteY11" fmla="*/ 22374 h 24153"/>
                <a:gd name="connsiteX12" fmla="*/ 16656 w 17419"/>
                <a:gd name="connsiteY12" fmla="*/ 24153 h 24153"/>
                <a:gd name="connsiteX13" fmla="*/ 16656 w 17419"/>
                <a:gd name="connsiteY13" fmla="*/ 24153 h 24153"/>
                <a:gd name="connsiteX14" fmla="*/ 17419 w 17419"/>
                <a:gd name="connsiteY14" fmla="*/ 11441 h 24153"/>
                <a:gd name="connsiteX15" fmla="*/ 17419 w 17419"/>
                <a:gd name="connsiteY15" fmla="*/ 8263 h 24153"/>
                <a:gd name="connsiteX16" fmla="*/ 12333 w 17419"/>
                <a:gd name="connsiteY16" fmla="*/ 10424 h 24153"/>
                <a:gd name="connsiteX17" fmla="*/ 1115 w 17419"/>
                <a:gd name="connsiteY17" fmla="*/ 6038 h 24153"/>
                <a:gd name="connsiteX18" fmla="*/ 890 w 17419"/>
                <a:gd name="connsiteY18" fmla="*/ 5466 h 24153"/>
                <a:gd name="connsiteX19" fmla="*/ 890 w 17419"/>
                <a:gd name="connsiteY19" fmla="*/ 0 h 24153"/>
                <a:gd name="connsiteX20" fmla="*/ 890 w 17419"/>
                <a:gd name="connsiteY20" fmla="*/ 1271 h 24153"/>
                <a:gd name="connsiteX21" fmla="*/ 0 w 17419"/>
                <a:gd name="connsiteY21" fmla="*/ 17416 h 24153"/>
                <a:gd name="connsiteX22" fmla="*/ 4959 w 17419"/>
                <a:gd name="connsiteY22" fmla="*/ 15128 h 2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19" h="24153">
                  <a:moveTo>
                    <a:pt x="6230" y="15636"/>
                  </a:moveTo>
                  <a:cubicBezTo>
                    <a:pt x="6861" y="15522"/>
                    <a:pt x="7507" y="15522"/>
                    <a:pt x="8137" y="15636"/>
                  </a:cubicBezTo>
                  <a:lnTo>
                    <a:pt x="9790" y="15636"/>
                  </a:lnTo>
                  <a:lnTo>
                    <a:pt x="9790" y="15636"/>
                  </a:lnTo>
                  <a:cubicBezTo>
                    <a:pt x="10211" y="15713"/>
                    <a:pt x="10641" y="15713"/>
                    <a:pt x="11062" y="15636"/>
                  </a:cubicBezTo>
                  <a:lnTo>
                    <a:pt x="12842" y="15636"/>
                  </a:lnTo>
                  <a:lnTo>
                    <a:pt x="14240" y="16653"/>
                  </a:lnTo>
                  <a:lnTo>
                    <a:pt x="15512" y="17670"/>
                  </a:lnTo>
                  <a:cubicBezTo>
                    <a:pt x="15966" y="18217"/>
                    <a:pt x="16350" y="18814"/>
                    <a:pt x="16656" y="19450"/>
                  </a:cubicBezTo>
                  <a:cubicBezTo>
                    <a:pt x="16696" y="19793"/>
                    <a:pt x="16696" y="20124"/>
                    <a:pt x="16656" y="20467"/>
                  </a:cubicBezTo>
                  <a:lnTo>
                    <a:pt x="16656" y="20467"/>
                  </a:lnTo>
                  <a:cubicBezTo>
                    <a:pt x="16716" y="21103"/>
                    <a:pt x="16716" y="21738"/>
                    <a:pt x="16656" y="22374"/>
                  </a:cubicBezTo>
                  <a:cubicBezTo>
                    <a:pt x="16720" y="22971"/>
                    <a:pt x="16720" y="23556"/>
                    <a:pt x="16656" y="24153"/>
                  </a:cubicBezTo>
                  <a:cubicBezTo>
                    <a:pt x="16656" y="24153"/>
                    <a:pt x="16656" y="24153"/>
                    <a:pt x="16656" y="24153"/>
                  </a:cubicBezTo>
                  <a:lnTo>
                    <a:pt x="17419" y="11441"/>
                  </a:lnTo>
                  <a:lnTo>
                    <a:pt x="17419" y="8263"/>
                  </a:lnTo>
                  <a:lnTo>
                    <a:pt x="12333" y="10424"/>
                  </a:lnTo>
                  <a:cubicBezTo>
                    <a:pt x="8023" y="12306"/>
                    <a:pt x="2999" y="10348"/>
                    <a:pt x="1115" y="6038"/>
                  </a:cubicBezTo>
                  <a:cubicBezTo>
                    <a:pt x="1032" y="5848"/>
                    <a:pt x="957" y="5657"/>
                    <a:pt x="890" y="5466"/>
                  </a:cubicBezTo>
                  <a:cubicBezTo>
                    <a:pt x="325" y="3687"/>
                    <a:pt x="325" y="1780"/>
                    <a:pt x="890" y="0"/>
                  </a:cubicBezTo>
                  <a:lnTo>
                    <a:pt x="890" y="1271"/>
                  </a:lnTo>
                  <a:lnTo>
                    <a:pt x="0" y="17416"/>
                  </a:lnTo>
                  <a:lnTo>
                    <a:pt x="4959" y="15128"/>
                  </a:lnTo>
                  <a:close/>
                </a:path>
              </a:pathLst>
            </a:custGeom>
            <a:solidFill>
              <a:srgbClr val="000000"/>
            </a:solidFill>
            <a:ln w="12685"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01F20BB3-7BE9-485E-9BC3-CF9E2B7258B3}"/>
                </a:ext>
              </a:extLst>
            </p:cNvPr>
            <p:cNvSpPr/>
            <p:nvPr/>
          </p:nvSpPr>
          <p:spPr>
            <a:xfrm>
              <a:off x="1122679" y="2078141"/>
              <a:ext cx="28251" cy="182696"/>
            </a:xfrm>
            <a:custGeom>
              <a:avLst/>
              <a:gdLst>
                <a:gd name="connsiteX0" fmla="*/ 28252 w 28251"/>
                <a:gd name="connsiteY0" fmla="*/ 0 h 182696"/>
                <a:gd name="connsiteX1" fmla="*/ 28252 w 28251"/>
                <a:gd name="connsiteY1" fmla="*/ 0 h 182696"/>
                <a:gd name="connsiteX2" fmla="*/ 22912 w 28251"/>
                <a:gd name="connsiteY2" fmla="*/ 8263 h 182696"/>
                <a:gd name="connsiteX3" fmla="*/ 10197 w 28251"/>
                <a:gd name="connsiteY3" fmla="*/ 13984 h 182696"/>
                <a:gd name="connsiteX4" fmla="*/ 25 w 28251"/>
                <a:gd name="connsiteY4" fmla="*/ 172889 h 182696"/>
                <a:gd name="connsiteX5" fmla="*/ 8290 w 28251"/>
                <a:gd name="connsiteY5" fmla="*/ 182677 h 182696"/>
                <a:gd name="connsiteX6" fmla="*/ 15410 w 28251"/>
                <a:gd name="connsiteY6" fmla="*/ 179372 h 182696"/>
                <a:gd name="connsiteX7" fmla="*/ 17699 w 28251"/>
                <a:gd name="connsiteY7" fmla="*/ 174033 h 18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51" h="182696">
                  <a:moveTo>
                    <a:pt x="28252" y="0"/>
                  </a:moveTo>
                  <a:cubicBezTo>
                    <a:pt x="28252" y="0"/>
                    <a:pt x="28252" y="0"/>
                    <a:pt x="28252" y="0"/>
                  </a:cubicBezTo>
                  <a:cubicBezTo>
                    <a:pt x="28169" y="3534"/>
                    <a:pt x="26106" y="6738"/>
                    <a:pt x="22912" y="8263"/>
                  </a:cubicBezTo>
                  <a:lnTo>
                    <a:pt x="10197" y="13984"/>
                  </a:lnTo>
                  <a:lnTo>
                    <a:pt x="25" y="172889"/>
                  </a:lnTo>
                  <a:cubicBezTo>
                    <a:pt x="-343" y="177859"/>
                    <a:pt x="3330" y="182207"/>
                    <a:pt x="8290" y="182677"/>
                  </a:cubicBezTo>
                  <a:cubicBezTo>
                    <a:pt x="11073" y="182868"/>
                    <a:pt x="13760" y="181622"/>
                    <a:pt x="15410" y="179372"/>
                  </a:cubicBezTo>
                  <a:cubicBezTo>
                    <a:pt x="16749" y="177897"/>
                    <a:pt x="17555" y="176016"/>
                    <a:pt x="17699" y="174033"/>
                  </a:cubicBezTo>
                  <a:close/>
                </a:path>
              </a:pathLst>
            </a:custGeom>
            <a:solidFill>
              <a:srgbClr val="000000"/>
            </a:solidFill>
            <a:ln w="12685"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06686DEF-10CD-4CA2-9BE1-086F799F7A3E}"/>
                </a:ext>
              </a:extLst>
            </p:cNvPr>
            <p:cNvSpPr/>
            <p:nvPr/>
          </p:nvSpPr>
          <p:spPr>
            <a:xfrm>
              <a:off x="1142412" y="2068352"/>
              <a:ext cx="1525" cy="57"/>
            </a:xfrm>
            <a:custGeom>
              <a:avLst/>
              <a:gdLst>
                <a:gd name="connsiteX0" fmla="*/ 0 w 1525"/>
                <a:gd name="connsiteY0" fmla="*/ 0 h 57"/>
                <a:gd name="connsiteX1" fmla="*/ 1526 w 1525"/>
                <a:gd name="connsiteY1" fmla="*/ 0 h 57"/>
                <a:gd name="connsiteX2" fmla="*/ 254 w 1525"/>
                <a:gd name="connsiteY2" fmla="*/ 0 h 57"/>
              </a:gdLst>
              <a:ahLst/>
              <a:cxnLst>
                <a:cxn ang="0">
                  <a:pos x="connsiteX0" y="connsiteY0"/>
                </a:cxn>
                <a:cxn ang="0">
                  <a:pos x="connsiteX1" y="connsiteY1"/>
                </a:cxn>
                <a:cxn ang="0">
                  <a:pos x="connsiteX2" y="connsiteY2"/>
                </a:cxn>
              </a:cxnLst>
              <a:rect l="l" t="t" r="r" b="b"/>
              <a:pathLst>
                <a:path w="1525" h="57">
                  <a:moveTo>
                    <a:pt x="0" y="0"/>
                  </a:moveTo>
                  <a:lnTo>
                    <a:pt x="1526" y="0"/>
                  </a:lnTo>
                  <a:cubicBezTo>
                    <a:pt x="1105" y="76"/>
                    <a:pt x="675" y="76"/>
                    <a:pt x="254" y="0"/>
                  </a:cubicBezTo>
                  <a:close/>
                </a:path>
              </a:pathLst>
            </a:custGeom>
            <a:solidFill>
              <a:srgbClr val="000000"/>
            </a:solidFill>
            <a:ln w="12685"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B9D99C7B-27BA-4A8F-9A1D-9C8A4A1C9374}"/>
                </a:ext>
              </a:extLst>
            </p:cNvPr>
            <p:cNvSpPr/>
            <p:nvPr/>
          </p:nvSpPr>
          <p:spPr>
            <a:xfrm>
              <a:off x="448691" y="1959534"/>
              <a:ext cx="23056" cy="238612"/>
            </a:xfrm>
            <a:custGeom>
              <a:avLst/>
              <a:gdLst>
                <a:gd name="connsiteX0" fmla="*/ 14123 w 23056"/>
                <a:gd name="connsiteY0" fmla="*/ 9661 h 238612"/>
                <a:gd name="connsiteX1" fmla="*/ 5604 w 23056"/>
                <a:gd name="connsiteY1" fmla="*/ 254 h 238612"/>
                <a:gd name="connsiteX2" fmla="*/ 5604 w 23056"/>
                <a:gd name="connsiteY2" fmla="*/ 254 h 238612"/>
                <a:gd name="connsiteX3" fmla="*/ 9 w 23056"/>
                <a:gd name="connsiteY3" fmla="*/ 229077 h 238612"/>
                <a:gd name="connsiteX4" fmla="*/ 645 w 23056"/>
                <a:gd name="connsiteY4" fmla="*/ 232891 h 238612"/>
                <a:gd name="connsiteX5" fmla="*/ 8528 w 23056"/>
                <a:gd name="connsiteY5" fmla="*/ 238612 h 238612"/>
                <a:gd name="connsiteX6" fmla="*/ 17681 w 23056"/>
                <a:gd name="connsiteY6" fmla="*/ 229713 h 238612"/>
                <a:gd name="connsiteX7" fmla="*/ 17683 w 23056"/>
                <a:gd name="connsiteY7" fmla="*/ 229586 h 238612"/>
                <a:gd name="connsiteX8" fmla="*/ 23023 w 23056"/>
                <a:gd name="connsiteY8" fmla="*/ 6102 h 238612"/>
                <a:gd name="connsiteX9" fmla="*/ 23023 w 23056"/>
                <a:gd name="connsiteY9" fmla="*/ 0 h 238612"/>
                <a:gd name="connsiteX10" fmla="*/ 14919 w 23056"/>
                <a:gd name="connsiteY10" fmla="*/ 9623 h 238612"/>
                <a:gd name="connsiteX11" fmla="*/ 14123 w 23056"/>
                <a:gd name="connsiteY11" fmla="*/ 9661 h 23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56" h="238612">
                  <a:moveTo>
                    <a:pt x="14123" y="9661"/>
                  </a:moveTo>
                  <a:cubicBezTo>
                    <a:pt x="9185" y="9382"/>
                    <a:pt x="5388" y="5199"/>
                    <a:pt x="5604" y="254"/>
                  </a:cubicBezTo>
                  <a:lnTo>
                    <a:pt x="5604" y="254"/>
                  </a:lnTo>
                  <a:lnTo>
                    <a:pt x="9" y="229077"/>
                  </a:lnTo>
                  <a:cubicBezTo>
                    <a:pt x="-49" y="230374"/>
                    <a:pt x="168" y="231683"/>
                    <a:pt x="645" y="232891"/>
                  </a:cubicBezTo>
                  <a:cubicBezTo>
                    <a:pt x="1847" y="236234"/>
                    <a:pt x="4974" y="238510"/>
                    <a:pt x="8528" y="238612"/>
                  </a:cubicBezTo>
                  <a:cubicBezTo>
                    <a:pt x="13514" y="238688"/>
                    <a:pt x="17611" y="234696"/>
                    <a:pt x="17681" y="229713"/>
                  </a:cubicBezTo>
                  <a:cubicBezTo>
                    <a:pt x="17683" y="229675"/>
                    <a:pt x="17683" y="229624"/>
                    <a:pt x="17683" y="229586"/>
                  </a:cubicBezTo>
                  <a:lnTo>
                    <a:pt x="23023" y="6102"/>
                  </a:lnTo>
                  <a:lnTo>
                    <a:pt x="23023" y="0"/>
                  </a:lnTo>
                  <a:cubicBezTo>
                    <a:pt x="23444" y="4894"/>
                    <a:pt x="19816" y="9204"/>
                    <a:pt x="14919" y="9623"/>
                  </a:cubicBezTo>
                  <a:cubicBezTo>
                    <a:pt x="14654" y="9649"/>
                    <a:pt x="14388" y="9661"/>
                    <a:pt x="14123" y="9661"/>
                  </a:cubicBezTo>
                  <a:close/>
                </a:path>
              </a:pathLst>
            </a:custGeom>
            <a:solidFill>
              <a:srgbClr val="000000"/>
            </a:solidFill>
            <a:ln w="12685"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1C893EAB-36B5-44CF-8451-520CA81F0398}"/>
                </a:ext>
              </a:extLst>
            </p:cNvPr>
            <p:cNvSpPr/>
            <p:nvPr/>
          </p:nvSpPr>
          <p:spPr>
            <a:xfrm>
              <a:off x="454103" y="1798931"/>
              <a:ext cx="21252" cy="170824"/>
            </a:xfrm>
            <a:custGeom>
              <a:avLst/>
              <a:gdLst>
                <a:gd name="connsiteX0" fmla="*/ 3624 w 21252"/>
                <a:gd name="connsiteY0" fmla="*/ 9071 h 170824"/>
                <a:gd name="connsiteX1" fmla="*/ 3624 w 21252"/>
                <a:gd name="connsiteY1" fmla="*/ 14792 h 170824"/>
                <a:gd name="connsiteX2" fmla="*/ 64 w 21252"/>
                <a:gd name="connsiteY2" fmla="*/ 160857 h 170824"/>
                <a:gd name="connsiteX3" fmla="*/ 7839 w 21252"/>
                <a:gd name="connsiteY3" fmla="*/ 170760 h 170824"/>
                <a:gd name="connsiteX4" fmla="*/ 17738 w 21252"/>
                <a:gd name="connsiteY4" fmla="*/ 162980 h 170824"/>
                <a:gd name="connsiteX5" fmla="*/ 17738 w 21252"/>
                <a:gd name="connsiteY5" fmla="*/ 160857 h 170824"/>
                <a:gd name="connsiteX6" fmla="*/ 17738 w 21252"/>
                <a:gd name="connsiteY6" fmla="*/ 146746 h 170824"/>
                <a:gd name="connsiteX7" fmla="*/ 21171 w 21252"/>
                <a:gd name="connsiteY7" fmla="*/ 9071 h 170824"/>
                <a:gd name="connsiteX8" fmla="*/ 21171 w 21252"/>
                <a:gd name="connsiteY8" fmla="*/ 9071 h 170824"/>
                <a:gd name="connsiteX9" fmla="*/ 21171 w 21252"/>
                <a:gd name="connsiteY9" fmla="*/ 7037 h 170824"/>
                <a:gd name="connsiteX10" fmla="*/ 21171 w 21252"/>
                <a:gd name="connsiteY10" fmla="*/ 5639 h 170824"/>
                <a:gd name="connsiteX11" fmla="*/ 20281 w 21252"/>
                <a:gd name="connsiteY11" fmla="*/ 4113 h 170824"/>
                <a:gd name="connsiteX12" fmla="*/ 19264 w 21252"/>
                <a:gd name="connsiteY12" fmla="*/ 2588 h 170824"/>
                <a:gd name="connsiteX13" fmla="*/ 13415 w 21252"/>
                <a:gd name="connsiteY13" fmla="*/ 45 h 170824"/>
                <a:gd name="connsiteX14" fmla="*/ 3668 w 21252"/>
                <a:gd name="connsiteY14" fmla="*/ 8007 h 170824"/>
                <a:gd name="connsiteX15" fmla="*/ 3624 w 21252"/>
                <a:gd name="connsiteY15" fmla="*/ 9071 h 17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52" h="170824">
                  <a:moveTo>
                    <a:pt x="3624" y="9071"/>
                  </a:moveTo>
                  <a:lnTo>
                    <a:pt x="3624" y="14792"/>
                  </a:lnTo>
                  <a:lnTo>
                    <a:pt x="64" y="160857"/>
                  </a:lnTo>
                  <a:cubicBezTo>
                    <a:pt x="-522" y="165739"/>
                    <a:pt x="2958" y="170163"/>
                    <a:pt x="7839" y="170760"/>
                  </a:cubicBezTo>
                  <a:cubicBezTo>
                    <a:pt x="12719" y="171345"/>
                    <a:pt x="17152" y="167862"/>
                    <a:pt x="17738" y="162980"/>
                  </a:cubicBezTo>
                  <a:cubicBezTo>
                    <a:pt x="17823" y="162281"/>
                    <a:pt x="17823" y="161556"/>
                    <a:pt x="17738" y="160857"/>
                  </a:cubicBezTo>
                  <a:lnTo>
                    <a:pt x="17738" y="146746"/>
                  </a:lnTo>
                  <a:lnTo>
                    <a:pt x="21171" y="9071"/>
                  </a:lnTo>
                  <a:cubicBezTo>
                    <a:pt x="21171" y="9071"/>
                    <a:pt x="21171" y="9071"/>
                    <a:pt x="21171" y="9071"/>
                  </a:cubicBezTo>
                  <a:cubicBezTo>
                    <a:pt x="21280" y="8397"/>
                    <a:pt x="21280" y="7711"/>
                    <a:pt x="21171" y="7037"/>
                  </a:cubicBezTo>
                  <a:cubicBezTo>
                    <a:pt x="21244" y="6574"/>
                    <a:pt x="21244" y="6102"/>
                    <a:pt x="21171" y="5639"/>
                  </a:cubicBezTo>
                  <a:cubicBezTo>
                    <a:pt x="21002" y="5065"/>
                    <a:pt x="20696" y="4542"/>
                    <a:pt x="20281" y="4113"/>
                  </a:cubicBezTo>
                  <a:cubicBezTo>
                    <a:pt x="19987" y="3576"/>
                    <a:pt x="19646" y="3066"/>
                    <a:pt x="19264" y="2588"/>
                  </a:cubicBezTo>
                  <a:cubicBezTo>
                    <a:pt x="17733" y="992"/>
                    <a:pt x="15626" y="76"/>
                    <a:pt x="13415" y="45"/>
                  </a:cubicBezTo>
                  <a:cubicBezTo>
                    <a:pt x="8523" y="-447"/>
                    <a:pt x="4160" y="3118"/>
                    <a:pt x="3668" y="8007"/>
                  </a:cubicBezTo>
                  <a:cubicBezTo>
                    <a:pt x="3632" y="8361"/>
                    <a:pt x="3618" y="8716"/>
                    <a:pt x="3624" y="9071"/>
                  </a:cubicBezTo>
                  <a:close/>
                </a:path>
              </a:pathLst>
            </a:custGeom>
            <a:solidFill>
              <a:srgbClr val="000000"/>
            </a:solidFill>
            <a:ln w="12685"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ECD04372-B114-40F0-A03F-FEF8697AB296}"/>
                </a:ext>
              </a:extLst>
            </p:cNvPr>
            <p:cNvSpPr/>
            <p:nvPr/>
          </p:nvSpPr>
          <p:spPr>
            <a:xfrm>
              <a:off x="1181252" y="2726641"/>
              <a:ext cx="110303" cy="105471"/>
            </a:xfrm>
            <a:custGeom>
              <a:avLst/>
              <a:gdLst>
                <a:gd name="connsiteX0" fmla="*/ 2228 w 110303"/>
                <a:gd name="connsiteY0" fmla="*/ 15214 h 105471"/>
                <a:gd name="connsiteX1" fmla="*/ 6424 w 110303"/>
                <a:gd name="connsiteY1" fmla="*/ 19154 h 105471"/>
                <a:gd name="connsiteX2" fmla="*/ 98351 w 110303"/>
                <a:gd name="connsiteY2" fmla="*/ 105471 h 105471"/>
                <a:gd name="connsiteX3" fmla="*/ 97588 w 110303"/>
                <a:gd name="connsiteY3" fmla="*/ 92759 h 105471"/>
                <a:gd name="connsiteX4" fmla="*/ 109756 w 110303"/>
                <a:gd name="connsiteY4" fmla="*/ 91513 h 105471"/>
                <a:gd name="connsiteX5" fmla="*/ 110303 w 110303"/>
                <a:gd name="connsiteY5" fmla="*/ 91996 h 105471"/>
                <a:gd name="connsiteX6" fmla="*/ 106743 w 110303"/>
                <a:gd name="connsiteY6" fmla="*/ 88691 h 105471"/>
                <a:gd name="connsiteX7" fmla="*/ 103819 w 110303"/>
                <a:gd name="connsiteY7" fmla="*/ 85894 h 105471"/>
                <a:gd name="connsiteX8" fmla="*/ 14816 w 110303"/>
                <a:gd name="connsiteY8" fmla="*/ 1738 h 105471"/>
                <a:gd name="connsiteX9" fmla="*/ 13544 w 110303"/>
                <a:gd name="connsiteY9" fmla="*/ 976 h 105471"/>
                <a:gd name="connsiteX10" fmla="*/ 12019 w 110303"/>
                <a:gd name="connsiteY10" fmla="*/ 86 h 105471"/>
                <a:gd name="connsiteX11" fmla="*/ 10239 w 110303"/>
                <a:gd name="connsiteY11" fmla="*/ 86 h 105471"/>
                <a:gd name="connsiteX12" fmla="*/ 8586 w 110303"/>
                <a:gd name="connsiteY12" fmla="*/ 86 h 105471"/>
                <a:gd name="connsiteX13" fmla="*/ 6679 w 110303"/>
                <a:gd name="connsiteY13" fmla="*/ 86 h 105471"/>
                <a:gd name="connsiteX14" fmla="*/ 2356 w 110303"/>
                <a:gd name="connsiteY14" fmla="*/ 2628 h 105471"/>
                <a:gd name="connsiteX15" fmla="*/ 2228 w 110303"/>
                <a:gd name="connsiteY15" fmla="*/ 15214 h 10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303" h="105471">
                  <a:moveTo>
                    <a:pt x="2228" y="15214"/>
                  </a:moveTo>
                  <a:lnTo>
                    <a:pt x="6424" y="19154"/>
                  </a:lnTo>
                  <a:lnTo>
                    <a:pt x="98351" y="105471"/>
                  </a:lnTo>
                  <a:cubicBezTo>
                    <a:pt x="94995" y="102001"/>
                    <a:pt x="94677" y="96611"/>
                    <a:pt x="97588" y="92759"/>
                  </a:cubicBezTo>
                  <a:cubicBezTo>
                    <a:pt x="100602" y="89060"/>
                    <a:pt x="106044" y="88501"/>
                    <a:pt x="109756" y="91513"/>
                  </a:cubicBezTo>
                  <a:cubicBezTo>
                    <a:pt x="109947" y="91666"/>
                    <a:pt x="110125" y="91831"/>
                    <a:pt x="110303" y="91996"/>
                  </a:cubicBezTo>
                  <a:lnTo>
                    <a:pt x="106743" y="88691"/>
                  </a:lnTo>
                  <a:lnTo>
                    <a:pt x="103819" y="85894"/>
                  </a:lnTo>
                  <a:lnTo>
                    <a:pt x="14816" y="1738"/>
                  </a:lnTo>
                  <a:lnTo>
                    <a:pt x="13544" y="976"/>
                  </a:lnTo>
                  <a:cubicBezTo>
                    <a:pt x="13097" y="582"/>
                    <a:pt x="12579" y="289"/>
                    <a:pt x="12019" y="86"/>
                  </a:cubicBezTo>
                  <a:lnTo>
                    <a:pt x="10239" y="86"/>
                  </a:lnTo>
                  <a:lnTo>
                    <a:pt x="8586" y="86"/>
                  </a:lnTo>
                  <a:cubicBezTo>
                    <a:pt x="7955" y="-29"/>
                    <a:pt x="7309" y="-29"/>
                    <a:pt x="6679" y="86"/>
                  </a:cubicBezTo>
                  <a:cubicBezTo>
                    <a:pt x="5032" y="518"/>
                    <a:pt x="3536" y="1395"/>
                    <a:pt x="2356" y="2628"/>
                  </a:cubicBezTo>
                  <a:cubicBezTo>
                    <a:pt x="-737" y="6239"/>
                    <a:pt x="-790" y="11540"/>
                    <a:pt x="2228" y="15214"/>
                  </a:cubicBezTo>
                  <a:close/>
                </a:path>
              </a:pathLst>
            </a:custGeom>
            <a:solidFill>
              <a:srgbClr val="000000"/>
            </a:solidFill>
            <a:ln w="12685"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556B352A-935F-424E-91AD-F487E04581F4}"/>
                </a:ext>
              </a:extLst>
            </p:cNvPr>
            <p:cNvSpPr/>
            <p:nvPr/>
          </p:nvSpPr>
          <p:spPr>
            <a:xfrm>
              <a:off x="1764286" y="3002840"/>
              <a:ext cx="73745" cy="68138"/>
            </a:xfrm>
            <a:custGeom>
              <a:avLst/>
              <a:gdLst>
                <a:gd name="connsiteX0" fmla="*/ 12715 w 73745"/>
                <a:gd name="connsiteY0" fmla="*/ 13094 h 68138"/>
                <a:gd name="connsiteX1" fmla="*/ 560 w 73745"/>
                <a:gd name="connsiteY1" fmla="*/ 14479 h 68138"/>
                <a:gd name="connsiteX2" fmla="*/ 0 w 73745"/>
                <a:gd name="connsiteY2" fmla="*/ 13984 h 68138"/>
                <a:gd name="connsiteX3" fmla="*/ 57852 w 73745"/>
                <a:gd name="connsiteY3" fmla="*/ 67376 h 68138"/>
                <a:gd name="connsiteX4" fmla="*/ 58615 w 73745"/>
                <a:gd name="connsiteY4" fmla="*/ 68138 h 68138"/>
                <a:gd name="connsiteX5" fmla="*/ 58615 w 73745"/>
                <a:gd name="connsiteY5" fmla="*/ 63308 h 68138"/>
                <a:gd name="connsiteX6" fmla="*/ 68341 w 73745"/>
                <a:gd name="connsiteY6" fmla="*/ 55045 h 68138"/>
                <a:gd name="connsiteX7" fmla="*/ 68405 w 73745"/>
                <a:gd name="connsiteY7" fmla="*/ 55045 h 68138"/>
                <a:gd name="connsiteX8" fmla="*/ 73745 w 73745"/>
                <a:gd name="connsiteY8" fmla="*/ 57968 h 68138"/>
                <a:gd name="connsiteX9" fmla="*/ 73745 w 73745"/>
                <a:gd name="connsiteY9" fmla="*/ 57333 h 68138"/>
                <a:gd name="connsiteX10" fmla="*/ 15893 w 73745"/>
                <a:gd name="connsiteY10" fmla="*/ 3941 h 68138"/>
                <a:gd name="connsiteX11" fmla="*/ 13350 w 73745"/>
                <a:gd name="connsiteY11" fmla="*/ 1525 h 68138"/>
                <a:gd name="connsiteX12" fmla="*/ 11570 w 73745"/>
                <a:gd name="connsiteY12" fmla="*/ 0 h 68138"/>
                <a:gd name="connsiteX13" fmla="*/ 12715 w 73745"/>
                <a:gd name="connsiteY13" fmla="*/ 13094 h 6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745" h="68138">
                  <a:moveTo>
                    <a:pt x="12715" y="13094"/>
                  </a:moveTo>
                  <a:cubicBezTo>
                    <a:pt x="9740" y="16831"/>
                    <a:pt x="4298" y="17454"/>
                    <a:pt x="560" y="14479"/>
                  </a:cubicBezTo>
                  <a:cubicBezTo>
                    <a:pt x="369" y="14314"/>
                    <a:pt x="178" y="14162"/>
                    <a:pt x="0" y="13984"/>
                  </a:cubicBezTo>
                  <a:lnTo>
                    <a:pt x="57852" y="67376"/>
                  </a:lnTo>
                  <a:lnTo>
                    <a:pt x="58615" y="68138"/>
                  </a:lnTo>
                  <a:lnTo>
                    <a:pt x="58615" y="63308"/>
                  </a:lnTo>
                  <a:cubicBezTo>
                    <a:pt x="59021" y="58337"/>
                    <a:pt x="63370" y="54638"/>
                    <a:pt x="68341" y="55045"/>
                  </a:cubicBezTo>
                  <a:cubicBezTo>
                    <a:pt x="68367" y="55045"/>
                    <a:pt x="68380" y="55045"/>
                    <a:pt x="68405" y="55045"/>
                  </a:cubicBezTo>
                  <a:cubicBezTo>
                    <a:pt x="70477" y="55337"/>
                    <a:pt x="72385" y="56379"/>
                    <a:pt x="73745" y="57968"/>
                  </a:cubicBezTo>
                  <a:cubicBezTo>
                    <a:pt x="73745" y="57968"/>
                    <a:pt x="73745" y="57968"/>
                    <a:pt x="73745" y="57333"/>
                  </a:cubicBezTo>
                  <a:lnTo>
                    <a:pt x="15893" y="3941"/>
                  </a:lnTo>
                  <a:lnTo>
                    <a:pt x="13350" y="1525"/>
                  </a:lnTo>
                  <a:lnTo>
                    <a:pt x="11570" y="0"/>
                  </a:lnTo>
                  <a:cubicBezTo>
                    <a:pt x="15321" y="3394"/>
                    <a:pt x="15817" y="9102"/>
                    <a:pt x="12715" y="13094"/>
                  </a:cubicBezTo>
                  <a:close/>
                </a:path>
              </a:pathLst>
            </a:custGeom>
            <a:solidFill>
              <a:srgbClr val="000000"/>
            </a:solidFill>
            <a:ln w="12685"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CEC93562-24AF-4DAF-B7FB-1D042E2396B3}"/>
                </a:ext>
              </a:extLst>
            </p:cNvPr>
            <p:cNvSpPr/>
            <p:nvPr/>
          </p:nvSpPr>
          <p:spPr>
            <a:xfrm>
              <a:off x="1612092" y="2858809"/>
              <a:ext cx="167262" cy="160384"/>
            </a:xfrm>
            <a:custGeom>
              <a:avLst/>
              <a:gdLst>
                <a:gd name="connsiteX0" fmla="*/ 5213 w 167262"/>
                <a:gd name="connsiteY0" fmla="*/ 14873 h 160384"/>
                <a:gd name="connsiteX1" fmla="*/ 0 w 167262"/>
                <a:gd name="connsiteY1" fmla="*/ 17289 h 160384"/>
                <a:gd name="connsiteX2" fmla="*/ 152576 w 167262"/>
                <a:gd name="connsiteY2" fmla="*/ 158015 h 160384"/>
                <a:gd name="connsiteX3" fmla="*/ 164795 w 167262"/>
                <a:gd name="connsiteY3" fmla="*/ 157684 h 160384"/>
                <a:gd name="connsiteX4" fmla="*/ 165291 w 167262"/>
                <a:gd name="connsiteY4" fmla="*/ 157125 h 160384"/>
                <a:gd name="connsiteX5" fmla="*/ 164401 w 167262"/>
                <a:gd name="connsiteY5" fmla="*/ 144413 h 160384"/>
                <a:gd name="connsiteX6" fmla="*/ 8010 w 167262"/>
                <a:gd name="connsiteY6" fmla="*/ 0 h 160384"/>
                <a:gd name="connsiteX7" fmla="*/ 10045 w 167262"/>
                <a:gd name="connsiteY7" fmla="*/ 2924 h 160384"/>
                <a:gd name="connsiteX8" fmla="*/ 5213 w 167262"/>
                <a:gd name="connsiteY8" fmla="*/ 14873 h 16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62" h="160384">
                  <a:moveTo>
                    <a:pt x="5213" y="14873"/>
                  </a:moveTo>
                  <a:lnTo>
                    <a:pt x="0" y="17289"/>
                  </a:lnTo>
                  <a:lnTo>
                    <a:pt x="152576" y="158015"/>
                  </a:lnTo>
                  <a:cubicBezTo>
                    <a:pt x="156034" y="161295"/>
                    <a:pt x="161514" y="161155"/>
                    <a:pt x="164795" y="157684"/>
                  </a:cubicBezTo>
                  <a:cubicBezTo>
                    <a:pt x="164973" y="157507"/>
                    <a:pt x="165138" y="157316"/>
                    <a:pt x="165291" y="157125"/>
                  </a:cubicBezTo>
                  <a:cubicBezTo>
                    <a:pt x="168228" y="153261"/>
                    <a:pt x="167846" y="147820"/>
                    <a:pt x="164401" y="144413"/>
                  </a:cubicBezTo>
                  <a:lnTo>
                    <a:pt x="8010" y="0"/>
                  </a:lnTo>
                  <a:cubicBezTo>
                    <a:pt x="8862" y="852"/>
                    <a:pt x="9549" y="1831"/>
                    <a:pt x="10045" y="2924"/>
                  </a:cubicBezTo>
                  <a:cubicBezTo>
                    <a:pt x="11710" y="7551"/>
                    <a:pt x="9638" y="12700"/>
                    <a:pt x="5213" y="14873"/>
                  </a:cubicBezTo>
                  <a:close/>
                </a:path>
              </a:pathLst>
            </a:custGeom>
            <a:solidFill>
              <a:srgbClr val="000000"/>
            </a:solidFill>
            <a:ln w="12685"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2C57C233-888F-42BF-BD59-D7029CA77F62}"/>
                </a:ext>
              </a:extLst>
            </p:cNvPr>
            <p:cNvSpPr/>
            <p:nvPr/>
          </p:nvSpPr>
          <p:spPr>
            <a:xfrm>
              <a:off x="1618449" y="2857537"/>
              <a:ext cx="1271" cy="889"/>
            </a:xfrm>
            <a:custGeom>
              <a:avLst/>
              <a:gdLst>
                <a:gd name="connsiteX0" fmla="*/ 1017 w 1271"/>
                <a:gd name="connsiteY0" fmla="*/ 636 h 889"/>
                <a:gd name="connsiteX1" fmla="*/ 0 w 1271"/>
                <a:gd name="connsiteY1" fmla="*/ 0 h 889"/>
                <a:gd name="connsiteX2" fmla="*/ 1271 w 1271"/>
                <a:gd name="connsiteY2" fmla="*/ 890 h 889"/>
              </a:gdLst>
              <a:ahLst/>
              <a:cxnLst>
                <a:cxn ang="0">
                  <a:pos x="connsiteX0" y="connsiteY0"/>
                </a:cxn>
                <a:cxn ang="0">
                  <a:pos x="connsiteX1" y="connsiteY1"/>
                </a:cxn>
                <a:cxn ang="0">
                  <a:pos x="connsiteX2" y="connsiteY2"/>
                </a:cxn>
              </a:cxnLst>
              <a:rect l="l" t="t" r="r" b="b"/>
              <a:pathLst>
                <a:path w="1271" h="889">
                  <a:moveTo>
                    <a:pt x="1017" y="636"/>
                  </a:moveTo>
                  <a:lnTo>
                    <a:pt x="0" y="0"/>
                  </a:lnTo>
                  <a:lnTo>
                    <a:pt x="1271" y="890"/>
                  </a:lnTo>
                  <a:close/>
                </a:path>
              </a:pathLst>
            </a:custGeom>
            <a:solidFill>
              <a:srgbClr val="000000"/>
            </a:solidFill>
            <a:ln w="12685"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BA2D6D20-9C9D-496B-A850-94A31743066F}"/>
                </a:ext>
              </a:extLst>
            </p:cNvPr>
            <p:cNvSpPr/>
            <p:nvPr/>
          </p:nvSpPr>
          <p:spPr>
            <a:xfrm>
              <a:off x="2039686" y="1915295"/>
              <a:ext cx="43357" cy="30382"/>
            </a:xfrm>
            <a:custGeom>
              <a:avLst/>
              <a:gdLst>
                <a:gd name="connsiteX0" fmla="*/ 1017 w 43357"/>
                <a:gd name="connsiteY0" fmla="*/ 15382 h 30382"/>
                <a:gd name="connsiteX1" fmla="*/ 0 w 43357"/>
                <a:gd name="connsiteY1" fmla="*/ 16145 h 30382"/>
                <a:gd name="connsiteX2" fmla="*/ 5467 w 43357"/>
                <a:gd name="connsiteY2" fmla="*/ 14746 h 30382"/>
                <a:gd name="connsiteX3" fmla="*/ 13223 w 43357"/>
                <a:gd name="connsiteY3" fmla="*/ 25043 h 30382"/>
                <a:gd name="connsiteX4" fmla="*/ 12588 w 43357"/>
                <a:gd name="connsiteY4" fmla="*/ 30383 h 30382"/>
                <a:gd name="connsiteX5" fmla="*/ 13859 w 43357"/>
                <a:gd name="connsiteY5" fmla="*/ 30383 h 30382"/>
                <a:gd name="connsiteX6" fmla="*/ 43357 w 43357"/>
                <a:gd name="connsiteY6" fmla="*/ 17670 h 30382"/>
                <a:gd name="connsiteX7" fmla="*/ 31977 w 43357"/>
                <a:gd name="connsiteY7" fmla="*/ 13195 h 30382"/>
                <a:gd name="connsiteX8" fmla="*/ 31787 w 43357"/>
                <a:gd name="connsiteY8" fmla="*/ 12712 h 30382"/>
                <a:gd name="connsiteX9" fmla="*/ 36097 w 43357"/>
                <a:gd name="connsiteY9" fmla="*/ 127 h 30382"/>
                <a:gd name="connsiteX10" fmla="*/ 36364 w 43357"/>
                <a:gd name="connsiteY10" fmla="*/ 0 h 30382"/>
                <a:gd name="connsiteX11" fmla="*/ 31660 w 43357"/>
                <a:gd name="connsiteY11" fmla="*/ 2161 h 3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357" h="30382">
                  <a:moveTo>
                    <a:pt x="1017" y="15382"/>
                  </a:moveTo>
                  <a:lnTo>
                    <a:pt x="0" y="16145"/>
                  </a:lnTo>
                  <a:cubicBezTo>
                    <a:pt x="1602" y="15051"/>
                    <a:pt x="3535" y="14556"/>
                    <a:pt x="5467" y="14746"/>
                  </a:cubicBezTo>
                  <a:cubicBezTo>
                    <a:pt x="10401" y="15535"/>
                    <a:pt x="13834" y="20086"/>
                    <a:pt x="13223" y="25043"/>
                  </a:cubicBezTo>
                  <a:lnTo>
                    <a:pt x="12588" y="30383"/>
                  </a:lnTo>
                  <a:lnTo>
                    <a:pt x="13859" y="30383"/>
                  </a:lnTo>
                  <a:lnTo>
                    <a:pt x="43357" y="17670"/>
                  </a:lnTo>
                  <a:cubicBezTo>
                    <a:pt x="38983" y="19577"/>
                    <a:pt x="33885" y="17568"/>
                    <a:pt x="31977" y="13195"/>
                  </a:cubicBezTo>
                  <a:cubicBezTo>
                    <a:pt x="31914" y="13030"/>
                    <a:pt x="31850" y="12878"/>
                    <a:pt x="31787" y="12712"/>
                  </a:cubicBezTo>
                  <a:cubicBezTo>
                    <a:pt x="29498" y="8047"/>
                    <a:pt x="31431" y="2415"/>
                    <a:pt x="36097" y="127"/>
                  </a:cubicBezTo>
                  <a:cubicBezTo>
                    <a:pt x="36186" y="76"/>
                    <a:pt x="36275" y="38"/>
                    <a:pt x="36364" y="0"/>
                  </a:cubicBezTo>
                  <a:lnTo>
                    <a:pt x="31660" y="2161"/>
                  </a:lnTo>
                  <a:close/>
                </a:path>
              </a:pathLst>
            </a:custGeom>
            <a:solidFill>
              <a:srgbClr val="000000"/>
            </a:solidFill>
            <a:ln w="12685"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8B27B441-3BAF-436E-976B-943A2B2F0846}"/>
                </a:ext>
              </a:extLst>
            </p:cNvPr>
            <p:cNvSpPr/>
            <p:nvPr/>
          </p:nvSpPr>
          <p:spPr>
            <a:xfrm>
              <a:off x="1794801" y="3311243"/>
              <a:ext cx="110998" cy="885926"/>
            </a:xfrm>
            <a:custGeom>
              <a:avLst/>
              <a:gdLst>
                <a:gd name="connsiteX0" fmla="*/ 100700 w 110998"/>
                <a:gd name="connsiteY0" fmla="*/ 10297 h 885926"/>
                <a:gd name="connsiteX1" fmla="*/ 92817 w 110998"/>
                <a:gd name="connsiteY1" fmla="*/ 38 h 885926"/>
                <a:gd name="connsiteX2" fmla="*/ 92817 w 110998"/>
                <a:gd name="connsiteY2" fmla="*/ 0 h 885926"/>
                <a:gd name="connsiteX3" fmla="*/ 92817 w 110998"/>
                <a:gd name="connsiteY3" fmla="*/ 3814 h 885926"/>
                <a:gd name="connsiteX4" fmla="*/ 92817 w 110998"/>
                <a:gd name="connsiteY4" fmla="*/ 7628 h 885926"/>
                <a:gd name="connsiteX5" fmla="*/ 0 w 110998"/>
                <a:gd name="connsiteY5" fmla="*/ 870036 h 885926"/>
                <a:gd name="connsiteX6" fmla="*/ 12715 w 110998"/>
                <a:gd name="connsiteY6" fmla="*/ 882748 h 885926"/>
                <a:gd name="connsiteX7" fmla="*/ 16020 w 110998"/>
                <a:gd name="connsiteY7" fmla="*/ 885927 h 885926"/>
                <a:gd name="connsiteX8" fmla="*/ 110999 w 110998"/>
                <a:gd name="connsiteY8" fmla="*/ 2034 h 885926"/>
                <a:gd name="connsiteX9" fmla="*/ 101857 w 110998"/>
                <a:gd name="connsiteY9" fmla="*/ 10424 h 885926"/>
                <a:gd name="connsiteX10" fmla="*/ 100700 w 110998"/>
                <a:gd name="connsiteY10" fmla="*/ 10297 h 88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998" h="885926">
                  <a:moveTo>
                    <a:pt x="100700" y="10297"/>
                  </a:moveTo>
                  <a:cubicBezTo>
                    <a:pt x="95691" y="9636"/>
                    <a:pt x="92156" y="5047"/>
                    <a:pt x="92817" y="38"/>
                  </a:cubicBezTo>
                  <a:cubicBezTo>
                    <a:pt x="92817" y="25"/>
                    <a:pt x="92817" y="13"/>
                    <a:pt x="92817" y="0"/>
                  </a:cubicBezTo>
                  <a:lnTo>
                    <a:pt x="92817" y="3814"/>
                  </a:lnTo>
                  <a:lnTo>
                    <a:pt x="92817" y="7628"/>
                  </a:lnTo>
                  <a:lnTo>
                    <a:pt x="0" y="870036"/>
                  </a:lnTo>
                  <a:lnTo>
                    <a:pt x="12715" y="882748"/>
                  </a:lnTo>
                  <a:lnTo>
                    <a:pt x="16020" y="885927"/>
                  </a:lnTo>
                  <a:lnTo>
                    <a:pt x="110999" y="2034"/>
                  </a:lnTo>
                  <a:cubicBezTo>
                    <a:pt x="110795" y="6877"/>
                    <a:pt x="106701" y="10628"/>
                    <a:pt x="101857" y="10424"/>
                  </a:cubicBezTo>
                  <a:cubicBezTo>
                    <a:pt x="101476" y="10411"/>
                    <a:pt x="101082" y="10361"/>
                    <a:pt x="100700" y="10297"/>
                  </a:cubicBezTo>
                  <a:close/>
                </a:path>
              </a:pathLst>
            </a:custGeom>
            <a:solidFill>
              <a:srgbClr val="000000"/>
            </a:solidFill>
            <a:ln w="12685"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ADB5CBB1-755A-4FE4-AD2F-4F2F895648C9}"/>
                </a:ext>
              </a:extLst>
            </p:cNvPr>
            <p:cNvSpPr/>
            <p:nvPr/>
          </p:nvSpPr>
          <p:spPr>
            <a:xfrm>
              <a:off x="2252207" y="3702784"/>
              <a:ext cx="94155" cy="610615"/>
            </a:xfrm>
            <a:custGeom>
              <a:avLst/>
              <a:gdLst>
                <a:gd name="connsiteX0" fmla="*/ 84366 w 94155"/>
                <a:gd name="connsiteY0" fmla="*/ 8263 h 610615"/>
                <a:gd name="connsiteX1" fmla="*/ 83730 w 94155"/>
                <a:gd name="connsiteY1" fmla="*/ 7500 h 610615"/>
                <a:gd name="connsiteX2" fmla="*/ 82840 w 94155"/>
                <a:gd name="connsiteY2" fmla="*/ 6102 h 610615"/>
                <a:gd name="connsiteX3" fmla="*/ 82077 w 94155"/>
                <a:gd name="connsiteY3" fmla="*/ 4449 h 610615"/>
                <a:gd name="connsiteX4" fmla="*/ 82077 w 94155"/>
                <a:gd name="connsiteY4" fmla="*/ 2797 h 610615"/>
                <a:gd name="connsiteX5" fmla="*/ 82077 w 94155"/>
                <a:gd name="connsiteY5" fmla="*/ 1017 h 610615"/>
                <a:gd name="connsiteX6" fmla="*/ 82077 w 94155"/>
                <a:gd name="connsiteY6" fmla="*/ 0 h 610615"/>
                <a:gd name="connsiteX7" fmla="*/ 67 w 94155"/>
                <a:gd name="connsiteY7" fmla="*/ 600025 h 610615"/>
                <a:gd name="connsiteX8" fmla="*/ 958 w 94155"/>
                <a:gd name="connsiteY8" fmla="*/ 605491 h 610615"/>
                <a:gd name="connsiteX9" fmla="*/ 7569 w 94155"/>
                <a:gd name="connsiteY9" fmla="*/ 610576 h 610615"/>
                <a:gd name="connsiteX10" fmla="*/ 13291 w 94155"/>
                <a:gd name="connsiteY10" fmla="*/ 609178 h 610615"/>
                <a:gd name="connsiteX11" fmla="*/ 94156 w 94155"/>
                <a:gd name="connsiteY11" fmla="*/ 18052 h 61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55" h="610615">
                  <a:moveTo>
                    <a:pt x="84366" y="8263"/>
                  </a:moveTo>
                  <a:cubicBezTo>
                    <a:pt x="84366" y="8263"/>
                    <a:pt x="84366" y="8263"/>
                    <a:pt x="83730" y="7500"/>
                  </a:cubicBezTo>
                  <a:cubicBezTo>
                    <a:pt x="83361" y="7081"/>
                    <a:pt x="83056" y="6610"/>
                    <a:pt x="82840" y="6102"/>
                  </a:cubicBezTo>
                  <a:cubicBezTo>
                    <a:pt x="82458" y="5619"/>
                    <a:pt x="82204" y="5047"/>
                    <a:pt x="82077" y="4449"/>
                  </a:cubicBezTo>
                  <a:cubicBezTo>
                    <a:pt x="82001" y="3903"/>
                    <a:pt x="82001" y="3343"/>
                    <a:pt x="82077" y="2797"/>
                  </a:cubicBezTo>
                  <a:cubicBezTo>
                    <a:pt x="82014" y="2199"/>
                    <a:pt x="82014" y="1614"/>
                    <a:pt x="82077" y="1017"/>
                  </a:cubicBezTo>
                  <a:cubicBezTo>
                    <a:pt x="82077" y="1017"/>
                    <a:pt x="82077" y="1017"/>
                    <a:pt x="82077" y="0"/>
                  </a:cubicBezTo>
                  <a:lnTo>
                    <a:pt x="67" y="600025"/>
                  </a:lnTo>
                  <a:cubicBezTo>
                    <a:pt x="-149" y="601894"/>
                    <a:pt x="156" y="603788"/>
                    <a:pt x="958" y="605491"/>
                  </a:cubicBezTo>
                  <a:cubicBezTo>
                    <a:pt x="2216" y="608148"/>
                    <a:pt x="4670" y="610042"/>
                    <a:pt x="7569" y="610576"/>
                  </a:cubicBezTo>
                  <a:cubicBezTo>
                    <a:pt x="9578" y="610767"/>
                    <a:pt x="11600" y="610271"/>
                    <a:pt x="13291" y="609178"/>
                  </a:cubicBezTo>
                  <a:lnTo>
                    <a:pt x="94156" y="18052"/>
                  </a:lnTo>
                  <a:close/>
                </a:path>
              </a:pathLst>
            </a:custGeom>
            <a:solidFill>
              <a:srgbClr val="000000"/>
            </a:solidFill>
            <a:ln w="12685"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0A442CA8-28A9-4D44-9C41-81A378076616}"/>
                </a:ext>
              </a:extLst>
            </p:cNvPr>
            <p:cNvSpPr/>
            <p:nvPr/>
          </p:nvSpPr>
          <p:spPr>
            <a:xfrm>
              <a:off x="1613548" y="1330779"/>
              <a:ext cx="138913" cy="71596"/>
            </a:xfrm>
            <a:custGeom>
              <a:avLst/>
              <a:gdLst>
                <a:gd name="connsiteX0" fmla="*/ 196 w 138913"/>
                <a:gd name="connsiteY0" fmla="*/ 65850 h 71596"/>
                <a:gd name="connsiteX1" fmla="*/ 11461 w 138913"/>
                <a:gd name="connsiteY1" fmla="*/ 71055 h 71596"/>
                <a:gd name="connsiteX2" fmla="*/ 11767 w 138913"/>
                <a:gd name="connsiteY2" fmla="*/ 70935 h 71596"/>
                <a:gd name="connsiteX3" fmla="*/ 16725 w 138913"/>
                <a:gd name="connsiteY3" fmla="*/ 68774 h 71596"/>
                <a:gd name="connsiteX4" fmla="*/ 17997 w 138913"/>
                <a:gd name="connsiteY4" fmla="*/ 68774 h 71596"/>
                <a:gd name="connsiteX5" fmla="*/ 138913 w 138913"/>
                <a:gd name="connsiteY5" fmla="*/ 17162 h 71596"/>
                <a:gd name="connsiteX6" fmla="*/ 127623 w 138913"/>
                <a:gd name="connsiteY6" fmla="*/ 12471 h 71596"/>
                <a:gd name="connsiteX7" fmla="*/ 127470 w 138913"/>
                <a:gd name="connsiteY7" fmla="*/ 12077 h 71596"/>
                <a:gd name="connsiteX8" fmla="*/ 132301 w 138913"/>
                <a:gd name="connsiteY8" fmla="*/ 0 h 71596"/>
                <a:gd name="connsiteX9" fmla="*/ 127343 w 138913"/>
                <a:gd name="connsiteY9" fmla="*/ 2034 h 71596"/>
                <a:gd name="connsiteX10" fmla="*/ 5155 w 138913"/>
                <a:gd name="connsiteY10" fmla="*/ 54282 h 71596"/>
                <a:gd name="connsiteX11" fmla="*/ 4138 w 138913"/>
                <a:gd name="connsiteY11" fmla="*/ 54918 h 71596"/>
                <a:gd name="connsiteX12" fmla="*/ 2485 w 138913"/>
                <a:gd name="connsiteY12" fmla="*/ 56062 h 71596"/>
                <a:gd name="connsiteX13" fmla="*/ 1468 w 138913"/>
                <a:gd name="connsiteY13" fmla="*/ 57460 h 71596"/>
                <a:gd name="connsiteX14" fmla="*/ 450 w 138913"/>
                <a:gd name="connsiteY14" fmla="*/ 58858 h 71596"/>
                <a:gd name="connsiteX15" fmla="*/ 450 w 138913"/>
                <a:gd name="connsiteY15" fmla="*/ 60892 h 71596"/>
                <a:gd name="connsiteX16" fmla="*/ 196 w 138913"/>
                <a:gd name="connsiteY16" fmla="*/ 65850 h 71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913" h="71596">
                  <a:moveTo>
                    <a:pt x="196" y="65850"/>
                  </a:moveTo>
                  <a:cubicBezTo>
                    <a:pt x="1875" y="70397"/>
                    <a:pt x="6909" y="72728"/>
                    <a:pt x="11461" y="71055"/>
                  </a:cubicBezTo>
                  <a:cubicBezTo>
                    <a:pt x="11563" y="71016"/>
                    <a:pt x="11665" y="70977"/>
                    <a:pt x="11767" y="70935"/>
                  </a:cubicBezTo>
                  <a:lnTo>
                    <a:pt x="16725" y="68774"/>
                  </a:lnTo>
                  <a:lnTo>
                    <a:pt x="17997" y="68774"/>
                  </a:lnTo>
                  <a:lnTo>
                    <a:pt x="138913" y="17162"/>
                  </a:lnTo>
                  <a:cubicBezTo>
                    <a:pt x="134501" y="18983"/>
                    <a:pt x="129441" y="16885"/>
                    <a:pt x="127623" y="12471"/>
                  </a:cubicBezTo>
                  <a:cubicBezTo>
                    <a:pt x="127572" y="12341"/>
                    <a:pt x="127521" y="12209"/>
                    <a:pt x="127470" y="12077"/>
                  </a:cubicBezTo>
                  <a:cubicBezTo>
                    <a:pt x="125652" y="7408"/>
                    <a:pt x="127762" y="2132"/>
                    <a:pt x="132301" y="0"/>
                  </a:cubicBezTo>
                  <a:lnTo>
                    <a:pt x="127343" y="2034"/>
                  </a:lnTo>
                  <a:lnTo>
                    <a:pt x="5155" y="54282"/>
                  </a:lnTo>
                  <a:lnTo>
                    <a:pt x="4138" y="54918"/>
                  </a:lnTo>
                  <a:cubicBezTo>
                    <a:pt x="3540" y="55224"/>
                    <a:pt x="2981" y="55609"/>
                    <a:pt x="2485" y="56062"/>
                  </a:cubicBezTo>
                  <a:cubicBezTo>
                    <a:pt x="2078" y="56472"/>
                    <a:pt x="1735" y="56944"/>
                    <a:pt x="1468" y="57460"/>
                  </a:cubicBezTo>
                  <a:cubicBezTo>
                    <a:pt x="1061" y="57871"/>
                    <a:pt x="717" y="58342"/>
                    <a:pt x="450" y="58858"/>
                  </a:cubicBezTo>
                  <a:cubicBezTo>
                    <a:pt x="374" y="59535"/>
                    <a:pt x="374" y="60216"/>
                    <a:pt x="450" y="60892"/>
                  </a:cubicBezTo>
                  <a:cubicBezTo>
                    <a:pt x="-45" y="62498"/>
                    <a:pt x="-134" y="64203"/>
                    <a:pt x="196" y="65850"/>
                  </a:cubicBezTo>
                  <a:close/>
                </a:path>
              </a:pathLst>
            </a:custGeom>
            <a:solidFill>
              <a:srgbClr val="000000"/>
            </a:solidFill>
            <a:ln w="12685"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7B799CDD-1D42-441D-A2CF-5DF40F1E91FC}"/>
                </a:ext>
              </a:extLst>
            </p:cNvPr>
            <p:cNvSpPr/>
            <p:nvPr/>
          </p:nvSpPr>
          <p:spPr>
            <a:xfrm>
              <a:off x="2086221" y="1554772"/>
              <a:ext cx="47298" cy="271536"/>
            </a:xfrm>
            <a:custGeom>
              <a:avLst/>
              <a:gdLst>
                <a:gd name="connsiteX0" fmla="*/ 4704 w 47298"/>
                <a:gd name="connsiteY0" fmla="*/ 269884 h 271536"/>
                <a:gd name="connsiteX1" fmla="*/ 18691 w 47298"/>
                <a:gd name="connsiteY1" fmla="*/ 263655 h 271536"/>
                <a:gd name="connsiteX2" fmla="*/ 47299 w 47298"/>
                <a:gd name="connsiteY2" fmla="*/ 2161 h 271536"/>
                <a:gd name="connsiteX3" fmla="*/ 37572 w 47298"/>
                <a:gd name="connsiteY3" fmla="*/ 10429 h 271536"/>
                <a:gd name="connsiteX4" fmla="*/ 37508 w 47298"/>
                <a:gd name="connsiteY4" fmla="*/ 10424 h 271536"/>
                <a:gd name="connsiteX5" fmla="*/ 29752 w 47298"/>
                <a:gd name="connsiteY5" fmla="*/ 0 h 271536"/>
                <a:gd name="connsiteX6" fmla="*/ 0 w 47298"/>
                <a:gd name="connsiteY6" fmla="*/ 271537 h 27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98" h="271536">
                  <a:moveTo>
                    <a:pt x="4704" y="269884"/>
                  </a:moveTo>
                  <a:lnTo>
                    <a:pt x="18691" y="263655"/>
                  </a:lnTo>
                  <a:lnTo>
                    <a:pt x="47299" y="2161"/>
                  </a:lnTo>
                  <a:cubicBezTo>
                    <a:pt x="46892" y="7129"/>
                    <a:pt x="42543" y="10832"/>
                    <a:pt x="37572" y="10429"/>
                  </a:cubicBezTo>
                  <a:cubicBezTo>
                    <a:pt x="37546" y="10428"/>
                    <a:pt x="37534" y="10425"/>
                    <a:pt x="37508" y="10424"/>
                  </a:cubicBezTo>
                  <a:cubicBezTo>
                    <a:pt x="32511" y="9640"/>
                    <a:pt x="29066" y="5006"/>
                    <a:pt x="29752" y="0"/>
                  </a:cubicBezTo>
                  <a:lnTo>
                    <a:pt x="0" y="271537"/>
                  </a:lnTo>
                  <a:close/>
                </a:path>
              </a:pathLst>
            </a:custGeom>
            <a:solidFill>
              <a:srgbClr val="000000"/>
            </a:solidFill>
            <a:ln w="12685"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E9A2BB44-D919-441D-AF76-F55D21A168DD}"/>
                </a:ext>
              </a:extLst>
            </p:cNvPr>
            <p:cNvSpPr/>
            <p:nvPr/>
          </p:nvSpPr>
          <p:spPr>
            <a:xfrm>
              <a:off x="2116649" y="1373460"/>
              <a:ext cx="35990" cy="192152"/>
            </a:xfrm>
            <a:custGeom>
              <a:avLst/>
              <a:gdLst>
                <a:gd name="connsiteX0" fmla="*/ 18396 w 35990"/>
                <a:gd name="connsiteY0" fmla="*/ 8296 h 192152"/>
                <a:gd name="connsiteX1" fmla="*/ 18396 w 35990"/>
                <a:gd name="connsiteY1" fmla="*/ 11602 h 192152"/>
                <a:gd name="connsiteX2" fmla="*/ 18396 w 35990"/>
                <a:gd name="connsiteY2" fmla="*/ 15288 h 192152"/>
                <a:gd name="connsiteX3" fmla="*/ 87 w 35990"/>
                <a:gd name="connsiteY3" fmla="*/ 181693 h 192152"/>
                <a:gd name="connsiteX4" fmla="*/ 7843 w 35990"/>
                <a:gd name="connsiteY4" fmla="*/ 192117 h 192152"/>
                <a:gd name="connsiteX5" fmla="*/ 17633 w 35990"/>
                <a:gd name="connsiteY5" fmla="*/ 183918 h 192152"/>
                <a:gd name="connsiteX6" fmla="*/ 17633 w 35990"/>
                <a:gd name="connsiteY6" fmla="*/ 183854 h 192152"/>
                <a:gd name="connsiteX7" fmla="*/ 17633 w 35990"/>
                <a:gd name="connsiteY7" fmla="*/ 180676 h 192152"/>
                <a:gd name="connsiteX8" fmla="*/ 17633 w 35990"/>
                <a:gd name="connsiteY8" fmla="*/ 176863 h 192152"/>
                <a:gd name="connsiteX9" fmla="*/ 35943 w 35990"/>
                <a:gd name="connsiteY9" fmla="*/ 10457 h 192152"/>
                <a:gd name="connsiteX10" fmla="*/ 35943 w 35990"/>
                <a:gd name="connsiteY10" fmla="*/ 9440 h 192152"/>
                <a:gd name="connsiteX11" fmla="*/ 35943 w 35990"/>
                <a:gd name="connsiteY11" fmla="*/ 7534 h 192152"/>
                <a:gd name="connsiteX12" fmla="*/ 35943 w 35990"/>
                <a:gd name="connsiteY12" fmla="*/ 5881 h 192152"/>
                <a:gd name="connsiteX13" fmla="*/ 35180 w 35990"/>
                <a:gd name="connsiteY13" fmla="*/ 4228 h 192152"/>
                <a:gd name="connsiteX14" fmla="*/ 33908 w 35990"/>
                <a:gd name="connsiteY14" fmla="*/ 2830 h 192152"/>
                <a:gd name="connsiteX15" fmla="*/ 28949 w 35990"/>
                <a:gd name="connsiteY15" fmla="*/ 160 h 192152"/>
                <a:gd name="connsiteX16" fmla="*/ 18536 w 35990"/>
                <a:gd name="connsiteY16" fmla="*/ 7227 h 192152"/>
                <a:gd name="connsiteX17" fmla="*/ 18396 w 35990"/>
                <a:gd name="connsiteY17" fmla="*/ 8296 h 19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990" h="192152">
                  <a:moveTo>
                    <a:pt x="18396" y="8296"/>
                  </a:moveTo>
                  <a:lnTo>
                    <a:pt x="18396" y="11602"/>
                  </a:lnTo>
                  <a:lnTo>
                    <a:pt x="18396" y="15288"/>
                  </a:lnTo>
                  <a:lnTo>
                    <a:pt x="87" y="181693"/>
                  </a:lnTo>
                  <a:cubicBezTo>
                    <a:pt x="-600" y="186699"/>
                    <a:pt x="2846" y="191333"/>
                    <a:pt x="7843" y="192117"/>
                  </a:cubicBezTo>
                  <a:cubicBezTo>
                    <a:pt x="12815" y="192555"/>
                    <a:pt x="17188" y="188885"/>
                    <a:pt x="17633" y="183918"/>
                  </a:cubicBezTo>
                  <a:cubicBezTo>
                    <a:pt x="17633" y="183898"/>
                    <a:pt x="17633" y="183876"/>
                    <a:pt x="17633" y="183854"/>
                  </a:cubicBezTo>
                  <a:lnTo>
                    <a:pt x="17633" y="180676"/>
                  </a:lnTo>
                  <a:lnTo>
                    <a:pt x="17633" y="176863"/>
                  </a:lnTo>
                  <a:lnTo>
                    <a:pt x="35943" y="10457"/>
                  </a:lnTo>
                  <a:cubicBezTo>
                    <a:pt x="35943" y="10457"/>
                    <a:pt x="35943" y="10457"/>
                    <a:pt x="35943" y="9440"/>
                  </a:cubicBezTo>
                  <a:cubicBezTo>
                    <a:pt x="36006" y="8806"/>
                    <a:pt x="36006" y="8168"/>
                    <a:pt x="35943" y="7534"/>
                  </a:cubicBezTo>
                  <a:cubicBezTo>
                    <a:pt x="35943" y="7534"/>
                    <a:pt x="35943" y="6389"/>
                    <a:pt x="35943" y="5881"/>
                  </a:cubicBezTo>
                  <a:lnTo>
                    <a:pt x="35180" y="4228"/>
                  </a:lnTo>
                  <a:lnTo>
                    <a:pt x="33908" y="2830"/>
                  </a:lnTo>
                  <a:cubicBezTo>
                    <a:pt x="32624" y="1387"/>
                    <a:pt x="30869" y="443"/>
                    <a:pt x="28949" y="160"/>
                  </a:cubicBezTo>
                  <a:cubicBezTo>
                    <a:pt x="24118" y="-764"/>
                    <a:pt x="19464" y="2400"/>
                    <a:pt x="18536" y="7227"/>
                  </a:cubicBezTo>
                  <a:cubicBezTo>
                    <a:pt x="18472" y="7581"/>
                    <a:pt x="18422" y="7938"/>
                    <a:pt x="18396" y="8296"/>
                  </a:cubicBezTo>
                  <a:close/>
                </a:path>
              </a:pathLst>
            </a:custGeom>
            <a:solidFill>
              <a:srgbClr val="000000"/>
            </a:solidFill>
            <a:ln w="12685"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68F745F3-5FE3-4A6C-A3A5-6B7A8AB59C4F}"/>
                </a:ext>
              </a:extLst>
            </p:cNvPr>
            <p:cNvSpPr/>
            <p:nvPr/>
          </p:nvSpPr>
          <p:spPr>
            <a:xfrm>
              <a:off x="2606932" y="2333151"/>
              <a:ext cx="62637" cy="325884"/>
            </a:xfrm>
            <a:custGeom>
              <a:avLst/>
              <a:gdLst>
                <a:gd name="connsiteX0" fmla="*/ 8092 w 62637"/>
                <a:gd name="connsiteY0" fmla="*/ 325819 h 325884"/>
                <a:gd name="connsiteX1" fmla="*/ 18137 w 62637"/>
                <a:gd name="connsiteY1" fmla="*/ 317937 h 325884"/>
                <a:gd name="connsiteX2" fmla="*/ 18137 w 62637"/>
                <a:gd name="connsiteY2" fmla="*/ 317937 h 325884"/>
                <a:gd name="connsiteX3" fmla="*/ 18137 w 62637"/>
                <a:gd name="connsiteY3" fmla="*/ 313996 h 325884"/>
                <a:gd name="connsiteX4" fmla="*/ 18772 w 62637"/>
                <a:gd name="connsiteY4" fmla="*/ 310055 h 325884"/>
                <a:gd name="connsiteX5" fmla="*/ 60349 w 62637"/>
                <a:gd name="connsiteY5" fmla="*/ 18687 h 325884"/>
                <a:gd name="connsiteX6" fmla="*/ 62638 w 62637"/>
                <a:gd name="connsiteY6" fmla="*/ 2797 h 325884"/>
                <a:gd name="connsiteX7" fmla="*/ 53000 w 62637"/>
                <a:gd name="connsiteY7" fmla="*/ 10602 h 325884"/>
                <a:gd name="connsiteX8" fmla="*/ 52593 w 62637"/>
                <a:gd name="connsiteY8" fmla="*/ 10551 h 325884"/>
                <a:gd name="connsiteX9" fmla="*/ 45219 w 62637"/>
                <a:gd name="connsiteY9" fmla="*/ 0 h 325884"/>
                <a:gd name="connsiteX10" fmla="*/ 82 w 62637"/>
                <a:gd name="connsiteY10" fmla="*/ 315267 h 325884"/>
                <a:gd name="connsiteX11" fmla="*/ 8092 w 62637"/>
                <a:gd name="connsiteY11" fmla="*/ 325819 h 32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637" h="325884">
                  <a:moveTo>
                    <a:pt x="8092" y="325819"/>
                  </a:moveTo>
                  <a:cubicBezTo>
                    <a:pt x="13038" y="326416"/>
                    <a:pt x="17539" y="322895"/>
                    <a:pt x="18137" y="317937"/>
                  </a:cubicBezTo>
                  <a:cubicBezTo>
                    <a:pt x="18137" y="317937"/>
                    <a:pt x="18137" y="317937"/>
                    <a:pt x="18137" y="317937"/>
                  </a:cubicBezTo>
                  <a:lnTo>
                    <a:pt x="18137" y="313996"/>
                  </a:lnTo>
                  <a:lnTo>
                    <a:pt x="18772" y="310055"/>
                  </a:lnTo>
                  <a:lnTo>
                    <a:pt x="60349" y="18687"/>
                  </a:lnTo>
                  <a:lnTo>
                    <a:pt x="62638" y="2797"/>
                  </a:lnTo>
                  <a:cubicBezTo>
                    <a:pt x="62129" y="7615"/>
                    <a:pt x="57819" y="11111"/>
                    <a:pt x="53000" y="10602"/>
                  </a:cubicBezTo>
                  <a:cubicBezTo>
                    <a:pt x="52860" y="10590"/>
                    <a:pt x="52733" y="10577"/>
                    <a:pt x="52593" y="10551"/>
                  </a:cubicBezTo>
                  <a:cubicBezTo>
                    <a:pt x="47660" y="9649"/>
                    <a:pt x="44367" y="4945"/>
                    <a:pt x="45219" y="0"/>
                  </a:cubicBezTo>
                  <a:lnTo>
                    <a:pt x="82" y="315267"/>
                  </a:lnTo>
                  <a:cubicBezTo>
                    <a:pt x="-592" y="320390"/>
                    <a:pt x="2981" y="325094"/>
                    <a:pt x="8092" y="325819"/>
                  </a:cubicBezTo>
                  <a:close/>
                </a:path>
              </a:pathLst>
            </a:custGeom>
            <a:solidFill>
              <a:srgbClr val="000000"/>
            </a:solidFill>
            <a:ln w="12685"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3E8AB331-7BE5-4781-9F5D-62920B8CC08F}"/>
                </a:ext>
              </a:extLst>
            </p:cNvPr>
            <p:cNvSpPr/>
            <p:nvPr/>
          </p:nvSpPr>
          <p:spPr>
            <a:xfrm>
              <a:off x="2652907" y="1905485"/>
              <a:ext cx="77614" cy="438317"/>
            </a:xfrm>
            <a:custGeom>
              <a:avLst/>
              <a:gdLst>
                <a:gd name="connsiteX0" fmla="*/ 59766 w 77614"/>
                <a:gd name="connsiteY0" fmla="*/ 8157 h 438317"/>
                <a:gd name="connsiteX1" fmla="*/ 59003 w 77614"/>
                <a:gd name="connsiteY1" fmla="*/ 13497 h 438317"/>
                <a:gd name="connsiteX2" fmla="*/ 59003 w 77614"/>
                <a:gd name="connsiteY2" fmla="*/ 15785 h 438317"/>
                <a:gd name="connsiteX3" fmla="*/ 134 w 77614"/>
                <a:gd name="connsiteY3" fmla="*/ 427666 h 438317"/>
                <a:gd name="connsiteX4" fmla="*/ 7509 w 77614"/>
                <a:gd name="connsiteY4" fmla="*/ 438217 h 438317"/>
                <a:gd name="connsiteX5" fmla="*/ 17502 w 77614"/>
                <a:gd name="connsiteY5" fmla="*/ 430870 h 438317"/>
                <a:gd name="connsiteX6" fmla="*/ 17553 w 77614"/>
                <a:gd name="connsiteY6" fmla="*/ 430463 h 438317"/>
                <a:gd name="connsiteX7" fmla="*/ 18316 w 77614"/>
                <a:gd name="connsiteY7" fmla="*/ 425124 h 438317"/>
                <a:gd name="connsiteX8" fmla="*/ 77566 w 77614"/>
                <a:gd name="connsiteY8" fmla="*/ 10954 h 438317"/>
                <a:gd name="connsiteX9" fmla="*/ 77566 w 77614"/>
                <a:gd name="connsiteY9" fmla="*/ 9556 h 438317"/>
                <a:gd name="connsiteX10" fmla="*/ 77566 w 77614"/>
                <a:gd name="connsiteY10" fmla="*/ 7776 h 438317"/>
                <a:gd name="connsiteX11" fmla="*/ 77566 w 77614"/>
                <a:gd name="connsiteY11" fmla="*/ 6123 h 438317"/>
                <a:gd name="connsiteX12" fmla="*/ 76804 w 77614"/>
                <a:gd name="connsiteY12" fmla="*/ 4598 h 438317"/>
                <a:gd name="connsiteX13" fmla="*/ 75659 w 77614"/>
                <a:gd name="connsiteY13" fmla="*/ 3072 h 438317"/>
                <a:gd name="connsiteX14" fmla="*/ 70828 w 77614"/>
                <a:gd name="connsiteY14" fmla="*/ 276 h 438317"/>
                <a:gd name="connsiteX15" fmla="*/ 60008 w 77614"/>
                <a:gd name="connsiteY15" fmla="*/ 6708 h 438317"/>
                <a:gd name="connsiteX16" fmla="*/ 59766 w 77614"/>
                <a:gd name="connsiteY16" fmla="*/ 8157 h 43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614" h="438317">
                  <a:moveTo>
                    <a:pt x="59766" y="8157"/>
                  </a:moveTo>
                  <a:lnTo>
                    <a:pt x="59003" y="13497"/>
                  </a:lnTo>
                  <a:lnTo>
                    <a:pt x="59003" y="15785"/>
                  </a:lnTo>
                  <a:lnTo>
                    <a:pt x="134" y="427666"/>
                  </a:lnTo>
                  <a:cubicBezTo>
                    <a:pt x="-718" y="432611"/>
                    <a:pt x="2575" y="437315"/>
                    <a:pt x="7509" y="438217"/>
                  </a:cubicBezTo>
                  <a:cubicBezTo>
                    <a:pt x="12302" y="438942"/>
                    <a:pt x="16778" y="435650"/>
                    <a:pt x="17502" y="430870"/>
                  </a:cubicBezTo>
                  <a:cubicBezTo>
                    <a:pt x="17528" y="430730"/>
                    <a:pt x="17541" y="430603"/>
                    <a:pt x="17553" y="430463"/>
                  </a:cubicBezTo>
                  <a:lnTo>
                    <a:pt x="18316" y="425124"/>
                  </a:lnTo>
                  <a:lnTo>
                    <a:pt x="77566" y="10954"/>
                  </a:lnTo>
                  <a:cubicBezTo>
                    <a:pt x="77630" y="10484"/>
                    <a:pt x="77630" y="10013"/>
                    <a:pt x="77566" y="9556"/>
                  </a:cubicBezTo>
                  <a:cubicBezTo>
                    <a:pt x="77630" y="8958"/>
                    <a:pt x="77630" y="8373"/>
                    <a:pt x="77566" y="7776"/>
                  </a:cubicBezTo>
                  <a:cubicBezTo>
                    <a:pt x="77566" y="7776"/>
                    <a:pt x="77566" y="6632"/>
                    <a:pt x="77566" y="6123"/>
                  </a:cubicBezTo>
                  <a:cubicBezTo>
                    <a:pt x="77414" y="5564"/>
                    <a:pt x="77160" y="5055"/>
                    <a:pt x="76804" y="4598"/>
                  </a:cubicBezTo>
                  <a:cubicBezTo>
                    <a:pt x="76498" y="4038"/>
                    <a:pt x="76104" y="3530"/>
                    <a:pt x="75659" y="3072"/>
                  </a:cubicBezTo>
                  <a:cubicBezTo>
                    <a:pt x="74375" y="1674"/>
                    <a:pt x="72684" y="695"/>
                    <a:pt x="70828" y="276"/>
                  </a:cubicBezTo>
                  <a:cubicBezTo>
                    <a:pt x="66060" y="-932"/>
                    <a:pt x="61215" y="1941"/>
                    <a:pt x="60008" y="6708"/>
                  </a:cubicBezTo>
                  <a:cubicBezTo>
                    <a:pt x="59893" y="7178"/>
                    <a:pt x="59804" y="7674"/>
                    <a:pt x="59766" y="8157"/>
                  </a:cubicBezTo>
                  <a:close/>
                </a:path>
              </a:pathLst>
            </a:custGeom>
            <a:solidFill>
              <a:srgbClr val="000000"/>
            </a:solidFill>
            <a:ln w="12685"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D2AF55BE-F68C-4241-8AA7-9E2C06FF9C6C}"/>
                </a:ext>
              </a:extLst>
            </p:cNvPr>
            <p:cNvSpPr/>
            <p:nvPr/>
          </p:nvSpPr>
          <p:spPr>
            <a:xfrm>
              <a:off x="3496532" y="3035765"/>
              <a:ext cx="32930" cy="90385"/>
            </a:xfrm>
            <a:custGeom>
              <a:avLst/>
              <a:gdLst>
                <a:gd name="connsiteX0" fmla="*/ 11698 w 32930"/>
                <a:gd name="connsiteY0" fmla="*/ 86826 h 90385"/>
                <a:gd name="connsiteX1" fmla="*/ 15893 w 32930"/>
                <a:gd name="connsiteY1" fmla="*/ 90385 h 90385"/>
                <a:gd name="connsiteX2" fmla="*/ 30006 w 32930"/>
                <a:gd name="connsiteY2" fmla="*/ 18560 h 90385"/>
                <a:gd name="connsiteX3" fmla="*/ 32931 w 32930"/>
                <a:gd name="connsiteY3" fmla="*/ 3814 h 90385"/>
                <a:gd name="connsiteX4" fmla="*/ 22810 w 32930"/>
                <a:gd name="connsiteY4" fmla="*/ 10996 h 90385"/>
                <a:gd name="connsiteX5" fmla="*/ 22505 w 32930"/>
                <a:gd name="connsiteY5" fmla="*/ 10933 h 90385"/>
                <a:gd name="connsiteX6" fmla="*/ 15639 w 32930"/>
                <a:gd name="connsiteY6" fmla="*/ 0 h 90385"/>
                <a:gd name="connsiteX7" fmla="*/ 0 w 32930"/>
                <a:gd name="connsiteY7" fmla="*/ 77291 h 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30" h="90385">
                  <a:moveTo>
                    <a:pt x="11698" y="86826"/>
                  </a:moveTo>
                  <a:lnTo>
                    <a:pt x="15893" y="90385"/>
                  </a:lnTo>
                  <a:lnTo>
                    <a:pt x="30006" y="18560"/>
                  </a:lnTo>
                  <a:lnTo>
                    <a:pt x="32931" y="3814"/>
                  </a:lnTo>
                  <a:cubicBezTo>
                    <a:pt x="32117" y="8594"/>
                    <a:pt x="27591" y="11797"/>
                    <a:pt x="22810" y="10996"/>
                  </a:cubicBezTo>
                  <a:cubicBezTo>
                    <a:pt x="22709" y="10971"/>
                    <a:pt x="22607" y="10958"/>
                    <a:pt x="22505" y="10933"/>
                  </a:cubicBezTo>
                  <a:cubicBezTo>
                    <a:pt x="17597" y="9801"/>
                    <a:pt x="14533" y="4907"/>
                    <a:pt x="15639" y="0"/>
                  </a:cubicBezTo>
                  <a:lnTo>
                    <a:pt x="0" y="77291"/>
                  </a:lnTo>
                  <a:close/>
                </a:path>
              </a:pathLst>
            </a:custGeom>
            <a:solidFill>
              <a:srgbClr val="000000"/>
            </a:solidFill>
            <a:ln w="12685"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6197AED3-A964-4B9E-85BE-FF6C53008006}"/>
                </a:ext>
              </a:extLst>
            </p:cNvPr>
            <p:cNvSpPr/>
            <p:nvPr/>
          </p:nvSpPr>
          <p:spPr>
            <a:xfrm>
              <a:off x="3511945" y="2533757"/>
              <a:ext cx="114880" cy="513123"/>
            </a:xfrm>
            <a:custGeom>
              <a:avLst/>
              <a:gdLst>
                <a:gd name="connsiteX0" fmla="*/ 97493 w 114880"/>
                <a:gd name="connsiteY0" fmla="*/ 7496 h 513123"/>
                <a:gd name="connsiteX1" fmla="*/ 96349 w 114880"/>
                <a:gd name="connsiteY1" fmla="*/ 13090 h 513123"/>
                <a:gd name="connsiteX2" fmla="*/ 95713 w 114880"/>
                <a:gd name="connsiteY2" fmla="*/ 16268 h 513123"/>
                <a:gd name="connsiteX3" fmla="*/ 226 w 114880"/>
                <a:gd name="connsiteY3" fmla="*/ 502008 h 513123"/>
                <a:gd name="connsiteX4" fmla="*/ 7091 w 114880"/>
                <a:gd name="connsiteY4" fmla="*/ 512941 h 513123"/>
                <a:gd name="connsiteX5" fmla="*/ 17454 w 114880"/>
                <a:gd name="connsiteY5" fmla="*/ 506127 h 513123"/>
                <a:gd name="connsiteX6" fmla="*/ 17518 w 114880"/>
                <a:gd name="connsiteY6" fmla="*/ 505822 h 513123"/>
                <a:gd name="connsiteX7" fmla="*/ 18662 w 114880"/>
                <a:gd name="connsiteY7" fmla="*/ 500228 h 513123"/>
                <a:gd name="connsiteX8" fmla="*/ 114785 w 114880"/>
                <a:gd name="connsiteY8" fmla="*/ 11183 h 513123"/>
                <a:gd name="connsiteX9" fmla="*/ 114785 w 114880"/>
                <a:gd name="connsiteY9" fmla="*/ 9657 h 513123"/>
                <a:gd name="connsiteX10" fmla="*/ 114785 w 114880"/>
                <a:gd name="connsiteY10" fmla="*/ 7878 h 513123"/>
                <a:gd name="connsiteX11" fmla="*/ 114785 w 114880"/>
                <a:gd name="connsiteY11" fmla="*/ 6098 h 513123"/>
                <a:gd name="connsiteX12" fmla="*/ 114149 w 114880"/>
                <a:gd name="connsiteY12" fmla="*/ 4572 h 513123"/>
                <a:gd name="connsiteX13" fmla="*/ 112878 w 114880"/>
                <a:gd name="connsiteY13" fmla="*/ 2920 h 513123"/>
                <a:gd name="connsiteX14" fmla="*/ 100862 w 114880"/>
                <a:gd name="connsiteY14" fmla="*/ 2106 h 513123"/>
                <a:gd name="connsiteX15" fmla="*/ 98002 w 114880"/>
                <a:gd name="connsiteY15" fmla="*/ 7496 h 51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880" h="513123">
                  <a:moveTo>
                    <a:pt x="97493" y="7496"/>
                  </a:moveTo>
                  <a:lnTo>
                    <a:pt x="96349" y="13090"/>
                  </a:lnTo>
                  <a:lnTo>
                    <a:pt x="95713" y="16268"/>
                  </a:lnTo>
                  <a:lnTo>
                    <a:pt x="226" y="502008"/>
                  </a:lnTo>
                  <a:cubicBezTo>
                    <a:pt x="-880" y="506915"/>
                    <a:pt x="2184" y="511809"/>
                    <a:pt x="7091" y="512941"/>
                  </a:cubicBezTo>
                  <a:cubicBezTo>
                    <a:pt x="11834" y="513920"/>
                    <a:pt x="16475" y="510869"/>
                    <a:pt x="17454" y="506127"/>
                  </a:cubicBezTo>
                  <a:cubicBezTo>
                    <a:pt x="17480" y="506025"/>
                    <a:pt x="17505" y="505924"/>
                    <a:pt x="17518" y="505822"/>
                  </a:cubicBezTo>
                  <a:lnTo>
                    <a:pt x="18662" y="500228"/>
                  </a:lnTo>
                  <a:lnTo>
                    <a:pt x="114785" y="11183"/>
                  </a:lnTo>
                  <a:cubicBezTo>
                    <a:pt x="114848" y="10674"/>
                    <a:pt x="114848" y="10166"/>
                    <a:pt x="114785" y="9657"/>
                  </a:cubicBezTo>
                  <a:cubicBezTo>
                    <a:pt x="114848" y="9060"/>
                    <a:pt x="114848" y="8475"/>
                    <a:pt x="114785" y="7878"/>
                  </a:cubicBezTo>
                  <a:cubicBezTo>
                    <a:pt x="114912" y="7293"/>
                    <a:pt x="114912" y="6683"/>
                    <a:pt x="114785" y="6098"/>
                  </a:cubicBezTo>
                  <a:cubicBezTo>
                    <a:pt x="114785" y="6098"/>
                    <a:pt x="114785" y="4954"/>
                    <a:pt x="114149" y="4572"/>
                  </a:cubicBezTo>
                  <a:cubicBezTo>
                    <a:pt x="113755" y="4000"/>
                    <a:pt x="113335" y="3441"/>
                    <a:pt x="112878" y="2920"/>
                  </a:cubicBezTo>
                  <a:cubicBezTo>
                    <a:pt x="109788" y="-627"/>
                    <a:pt x="104397" y="-996"/>
                    <a:pt x="100862" y="2106"/>
                  </a:cubicBezTo>
                  <a:cubicBezTo>
                    <a:pt x="99273" y="3479"/>
                    <a:pt x="98256" y="5411"/>
                    <a:pt x="98002" y="7496"/>
                  </a:cubicBezTo>
                  <a:close/>
                </a:path>
              </a:pathLst>
            </a:custGeom>
            <a:solidFill>
              <a:srgbClr val="000000"/>
            </a:solidFill>
            <a:ln w="12685"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D5F3BD26-1C3F-497E-AB4C-BFA878842AC6}"/>
                </a:ext>
              </a:extLst>
            </p:cNvPr>
            <p:cNvSpPr/>
            <p:nvPr/>
          </p:nvSpPr>
          <p:spPr>
            <a:xfrm>
              <a:off x="804202" y="2183399"/>
              <a:ext cx="1398" cy="12712"/>
            </a:xfrm>
            <a:custGeom>
              <a:avLst/>
              <a:gdLst>
                <a:gd name="connsiteX0" fmla="*/ 1399 w 1398"/>
                <a:gd name="connsiteY0" fmla="*/ 0 h 12712"/>
                <a:gd name="connsiteX1" fmla="*/ 1399 w 1398"/>
                <a:gd name="connsiteY1" fmla="*/ 0 h 12712"/>
                <a:gd name="connsiteX2" fmla="*/ 0 w 1398"/>
                <a:gd name="connsiteY2" fmla="*/ 0 h 12712"/>
              </a:gdLst>
              <a:ahLst/>
              <a:cxnLst>
                <a:cxn ang="0">
                  <a:pos x="connsiteX0" y="connsiteY0"/>
                </a:cxn>
                <a:cxn ang="0">
                  <a:pos x="connsiteX1" y="connsiteY1"/>
                </a:cxn>
                <a:cxn ang="0">
                  <a:pos x="connsiteX2" y="connsiteY2"/>
                </a:cxn>
              </a:cxnLst>
              <a:rect l="l" t="t" r="r" b="b"/>
              <a:pathLst>
                <a:path w="1398" h="12712">
                  <a:moveTo>
                    <a:pt x="1399" y="0"/>
                  </a:moveTo>
                  <a:lnTo>
                    <a:pt x="1399" y="0"/>
                  </a:lnTo>
                  <a:lnTo>
                    <a:pt x="0" y="0"/>
                  </a:lnTo>
                  <a:close/>
                </a:path>
              </a:pathLst>
            </a:custGeom>
            <a:solidFill>
              <a:srgbClr val="000000"/>
            </a:solidFill>
            <a:ln w="12685"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D6148B01-7925-41F5-8A9D-2390D84D17CC}"/>
                </a:ext>
              </a:extLst>
            </p:cNvPr>
            <p:cNvSpPr/>
            <p:nvPr/>
          </p:nvSpPr>
          <p:spPr>
            <a:xfrm>
              <a:off x="797209" y="2159754"/>
              <a:ext cx="3814" cy="14237"/>
            </a:xfrm>
            <a:custGeom>
              <a:avLst/>
              <a:gdLst>
                <a:gd name="connsiteX0" fmla="*/ 0 w 3814"/>
                <a:gd name="connsiteY0" fmla="*/ 14111 h 14237"/>
                <a:gd name="connsiteX1" fmla="*/ 3814 w 3814"/>
                <a:gd name="connsiteY1" fmla="*/ 7373 h 14237"/>
                <a:gd name="connsiteX2" fmla="*/ 763 w 3814"/>
                <a:gd name="connsiteY2" fmla="*/ 0 h 14237"/>
                <a:gd name="connsiteX3" fmla="*/ 763 w 3814"/>
                <a:gd name="connsiteY3" fmla="*/ 9153 h 14237"/>
                <a:gd name="connsiteX4" fmla="*/ 763 w 3814"/>
                <a:gd name="connsiteY4" fmla="*/ 14238 h 14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14237">
                  <a:moveTo>
                    <a:pt x="0" y="14111"/>
                  </a:moveTo>
                  <a:cubicBezTo>
                    <a:pt x="245" y="11416"/>
                    <a:pt x="1635" y="8962"/>
                    <a:pt x="3814" y="7373"/>
                  </a:cubicBezTo>
                  <a:cubicBezTo>
                    <a:pt x="1769" y="5479"/>
                    <a:pt x="654" y="2784"/>
                    <a:pt x="763" y="0"/>
                  </a:cubicBezTo>
                  <a:lnTo>
                    <a:pt x="763" y="9153"/>
                  </a:lnTo>
                  <a:lnTo>
                    <a:pt x="763" y="14238"/>
                  </a:lnTo>
                  <a:close/>
                </a:path>
              </a:pathLst>
            </a:custGeom>
            <a:solidFill>
              <a:srgbClr val="000000"/>
            </a:solidFill>
            <a:ln w="12685"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60CA7353-B489-44A2-9484-D6E041C8B250}"/>
                </a:ext>
              </a:extLst>
            </p:cNvPr>
            <p:cNvSpPr/>
            <p:nvPr/>
          </p:nvSpPr>
          <p:spPr>
            <a:xfrm>
              <a:off x="758630" y="2904192"/>
              <a:ext cx="22700" cy="123945"/>
            </a:xfrm>
            <a:custGeom>
              <a:avLst/>
              <a:gdLst>
                <a:gd name="connsiteX0" fmla="*/ 10098 w 22700"/>
                <a:gd name="connsiteY0" fmla="*/ 123946 h 123945"/>
                <a:gd name="connsiteX1" fmla="*/ 17727 w 22700"/>
                <a:gd name="connsiteY1" fmla="*/ 115301 h 123945"/>
                <a:gd name="connsiteX2" fmla="*/ 22686 w 22700"/>
                <a:gd name="connsiteY2" fmla="*/ 890 h 123945"/>
                <a:gd name="connsiteX3" fmla="*/ 14318 w 22700"/>
                <a:gd name="connsiteY3" fmla="*/ 10297 h 123945"/>
                <a:gd name="connsiteX4" fmla="*/ 4915 w 22700"/>
                <a:gd name="connsiteY4" fmla="*/ 1920 h 123945"/>
                <a:gd name="connsiteX5" fmla="*/ 5012 w 22700"/>
                <a:gd name="connsiteY5" fmla="*/ 0 h 123945"/>
                <a:gd name="connsiteX6" fmla="*/ 53 w 22700"/>
                <a:gd name="connsiteY6" fmla="*/ 114412 h 123945"/>
                <a:gd name="connsiteX7" fmla="*/ 53 w 22700"/>
                <a:gd name="connsiteY7" fmla="*/ 116954 h 123945"/>
                <a:gd name="connsiteX8" fmla="*/ 1325 w 22700"/>
                <a:gd name="connsiteY8" fmla="*/ 120005 h 123945"/>
                <a:gd name="connsiteX9" fmla="*/ 6538 w 22700"/>
                <a:gd name="connsiteY9" fmla="*/ 123819 h 123945"/>
                <a:gd name="connsiteX10" fmla="*/ 8191 w 22700"/>
                <a:gd name="connsiteY10" fmla="*/ 123819 h 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00" h="123945">
                  <a:moveTo>
                    <a:pt x="10098" y="123946"/>
                  </a:moveTo>
                  <a:cubicBezTo>
                    <a:pt x="14390" y="123272"/>
                    <a:pt x="17596" y="119636"/>
                    <a:pt x="17727" y="115301"/>
                  </a:cubicBezTo>
                  <a:lnTo>
                    <a:pt x="22686" y="890"/>
                  </a:lnTo>
                  <a:cubicBezTo>
                    <a:pt x="22972" y="5797"/>
                    <a:pt x="19226" y="10005"/>
                    <a:pt x="14318" y="10297"/>
                  </a:cubicBezTo>
                  <a:cubicBezTo>
                    <a:pt x="9411" y="10577"/>
                    <a:pt x="5202" y="6827"/>
                    <a:pt x="4915" y="1920"/>
                  </a:cubicBezTo>
                  <a:cubicBezTo>
                    <a:pt x="4877" y="1284"/>
                    <a:pt x="4910" y="636"/>
                    <a:pt x="5012" y="0"/>
                  </a:cubicBezTo>
                  <a:lnTo>
                    <a:pt x="53" y="114412"/>
                  </a:lnTo>
                  <a:cubicBezTo>
                    <a:pt x="-18" y="115263"/>
                    <a:pt x="-18" y="116102"/>
                    <a:pt x="53" y="116954"/>
                  </a:cubicBezTo>
                  <a:cubicBezTo>
                    <a:pt x="322" y="118035"/>
                    <a:pt x="750" y="119052"/>
                    <a:pt x="1325" y="120005"/>
                  </a:cubicBezTo>
                  <a:cubicBezTo>
                    <a:pt x="2549" y="121861"/>
                    <a:pt x="4399" y="123209"/>
                    <a:pt x="6538" y="123819"/>
                  </a:cubicBezTo>
                  <a:lnTo>
                    <a:pt x="8191" y="123819"/>
                  </a:lnTo>
                  <a:close/>
                </a:path>
              </a:pathLst>
            </a:custGeom>
            <a:solidFill>
              <a:srgbClr val="000000"/>
            </a:solidFill>
            <a:ln w="12685"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B7073465-9B51-4A20-8F55-5B3318019817}"/>
                </a:ext>
              </a:extLst>
            </p:cNvPr>
            <p:cNvSpPr/>
            <p:nvPr/>
          </p:nvSpPr>
          <p:spPr>
            <a:xfrm>
              <a:off x="764022" y="2672064"/>
              <a:ext cx="26575" cy="242174"/>
            </a:xfrm>
            <a:custGeom>
              <a:avLst/>
              <a:gdLst>
                <a:gd name="connsiteX0" fmla="*/ 8012 w 26575"/>
                <a:gd name="connsiteY0" fmla="*/ 242171 h 242174"/>
                <a:gd name="connsiteX1" fmla="*/ 17294 w 26575"/>
                <a:gd name="connsiteY1" fmla="*/ 233412 h 242174"/>
                <a:gd name="connsiteX2" fmla="*/ 17294 w 26575"/>
                <a:gd name="connsiteY2" fmla="*/ 233400 h 242174"/>
                <a:gd name="connsiteX3" fmla="*/ 26576 w 26575"/>
                <a:gd name="connsiteY3" fmla="*/ 16272 h 242174"/>
                <a:gd name="connsiteX4" fmla="*/ 12589 w 26575"/>
                <a:gd name="connsiteY4" fmla="*/ 2924 h 242174"/>
                <a:gd name="connsiteX5" fmla="*/ 9538 w 26575"/>
                <a:gd name="connsiteY5" fmla="*/ 0 h 242174"/>
                <a:gd name="connsiteX6" fmla="*/ 2 w 26575"/>
                <a:gd name="connsiteY6" fmla="*/ 222975 h 242174"/>
                <a:gd name="connsiteX7" fmla="*/ 2 w 26575"/>
                <a:gd name="connsiteY7" fmla="*/ 227298 h 242174"/>
                <a:gd name="connsiteX8" fmla="*/ 2 w 26575"/>
                <a:gd name="connsiteY8" fmla="*/ 233018 h 242174"/>
                <a:gd name="connsiteX9" fmla="*/ 8012 w 26575"/>
                <a:gd name="connsiteY9" fmla="*/ 242171 h 24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75" h="242174">
                  <a:moveTo>
                    <a:pt x="8012" y="242171"/>
                  </a:moveTo>
                  <a:cubicBezTo>
                    <a:pt x="12996" y="242311"/>
                    <a:pt x="17151" y="238396"/>
                    <a:pt x="17294" y="233412"/>
                  </a:cubicBezTo>
                  <a:cubicBezTo>
                    <a:pt x="17294" y="233400"/>
                    <a:pt x="17294" y="233400"/>
                    <a:pt x="17294" y="233400"/>
                  </a:cubicBezTo>
                  <a:lnTo>
                    <a:pt x="26576" y="16272"/>
                  </a:lnTo>
                  <a:lnTo>
                    <a:pt x="12589" y="2924"/>
                  </a:lnTo>
                  <a:lnTo>
                    <a:pt x="9538" y="0"/>
                  </a:lnTo>
                  <a:lnTo>
                    <a:pt x="2" y="222975"/>
                  </a:lnTo>
                  <a:lnTo>
                    <a:pt x="2" y="227298"/>
                  </a:lnTo>
                  <a:lnTo>
                    <a:pt x="2" y="233018"/>
                  </a:lnTo>
                  <a:cubicBezTo>
                    <a:pt x="-93" y="237684"/>
                    <a:pt x="3379" y="241650"/>
                    <a:pt x="8012" y="242171"/>
                  </a:cubicBezTo>
                  <a:close/>
                </a:path>
              </a:pathLst>
            </a:custGeom>
            <a:solidFill>
              <a:srgbClr val="000000"/>
            </a:solidFill>
            <a:ln w="12685"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3D48FE7E-0043-46D2-B8B0-F52CEC65BF8F}"/>
                </a:ext>
              </a:extLst>
            </p:cNvPr>
            <p:cNvSpPr/>
            <p:nvPr/>
          </p:nvSpPr>
          <p:spPr>
            <a:xfrm>
              <a:off x="3305" y="4680621"/>
              <a:ext cx="3998" cy="15000"/>
            </a:xfrm>
            <a:custGeom>
              <a:avLst/>
              <a:gdLst>
                <a:gd name="connsiteX0" fmla="*/ 3179 w 3998"/>
                <a:gd name="connsiteY0" fmla="*/ 3559 h 15000"/>
                <a:gd name="connsiteX1" fmla="*/ 1271 w 3998"/>
                <a:gd name="connsiteY1" fmla="*/ 1017 h 15000"/>
                <a:gd name="connsiteX2" fmla="*/ 0 w 3998"/>
                <a:gd name="connsiteY2" fmla="*/ 0 h 15000"/>
                <a:gd name="connsiteX3" fmla="*/ 0 w 3998"/>
                <a:gd name="connsiteY3" fmla="*/ 15001 h 15000"/>
                <a:gd name="connsiteX4" fmla="*/ 3179 w 3998"/>
                <a:gd name="connsiteY4" fmla="*/ 3559 h 1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 h="15000">
                  <a:moveTo>
                    <a:pt x="3179" y="3559"/>
                  </a:moveTo>
                  <a:cubicBezTo>
                    <a:pt x="2722" y="2593"/>
                    <a:pt x="2073" y="1729"/>
                    <a:pt x="1271" y="1017"/>
                  </a:cubicBezTo>
                  <a:cubicBezTo>
                    <a:pt x="943" y="572"/>
                    <a:pt x="505" y="229"/>
                    <a:pt x="0" y="0"/>
                  </a:cubicBezTo>
                  <a:lnTo>
                    <a:pt x="0" y="15001"/>
                  </a:lnTo>
                  <a:cubicBezTo>
                    <a:pt x="3681" y="12458"/>
                    <a:pt x="5017" y="7640"/>
                    <a:pt x="3179" y="3559"/>
                  </a:cubicBezTo>
                  <a:close/>
                </a:path>
              </a:pathLst>
            </a:custGeom>
            <a:solidFill>
              <a:srgbClr val="000000"/>
            </a:solidFill>
            <a:ln w="12685" cap="flat">
              <a:no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D9314721-163B-4C79-B496-02129CC80F91}"/>
                </a:ext>
              </a:extLst>
            </p:cNvPr>
            <p:cNvSpPr/>
            <p:nvPr/>
          </p:nvSpPr>
          <p:spPr>
            <a:xfrm>
              <a:off x="2353356" y="4415568"/>
              <a:ext cx="247300" cy="142378"/>
            </a:xfrm>
            <a:custGeom>
              <a:avLst/>
              <a:gdLst>
                <a:gd name="connsiteX0" fmla="*/ 235476 w 247300"/>
                <a:gd name="connsiteY0" fmla="*/ 12712 h 142378"/>
                <a:gd name="connsiteX1" fmla="*/ 239290 w 247300"/>
                <a:gd name="connsiteY1" fmla="*/ 0 h 142378"/>
                <a:gd name="connsiteX2" fmla="*/ 0 w 247300"/>
                <a:gd name="connsiteY2" fmla="*/ 128777 h 142378"/>
                <a:gd name="connsiteX3" fmla="*/ 4450 w 247300"/>
                <a:gd name="connsiteY3" fmla="*/ 133226 h 142378"/>
                <a:gd name="connsiteX4" fmla="*/ 13732 w 247300"/>
                <a:gd name="connsiteY4" fmla="*/ 142379 h 142378"/>
                <a:gd name="connsiteX5" fmla="*/ 247300 w 247300"/>
                <a:gd name="connsiteY5" fmla="*/ 17289 h 142378"/>
                <a:gd name="connsiteX6" fmla="*/ 235844 w 247300"/>
                <a:gd name="connsiteY6" fmla="*/ 13552 h 142378"/>
                <a:gd name="connsiteX7" fmla="*/ 235476 w 247300"/>
                <a:gd name="connsiteY7" fmla="*/ 12712 h 14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300" h="142378">
                  <a:moveTo>
                    <a:pt x="235476" y="12712"/>
                  </a:moveTo>
                  <a:cubicBezTo>
                    <a:pt x="233174" y="8136"/>
                    <a:pt x="234853" y="2555"/>
                    <a:pt x="239290" y="0"/>
                  </a:cubicBezTo>
                  <a:lnTo>
                    <a:pt x="0" y="128777"/>
                  </a:lnTo>
                  <a:lnTo>
                    <a:pt x="4450" y="133226"/>
                  </a:lnTo>
                  <a:lnTo>
                    <a:pt x="13732" y="142379"/>
                  </a:lnTo>
                  <a:lnTo>
                    <a:pt x="247300" y="17289"/>
                  </a:lnTo>
                  <a:cubicBezTo>
                    <a:pt x="243104" y="19425"/>
                    <a:pt x="237980" y="17746"/>
                    <a:pt x="235844" y="13552"/>
                  </a:cubicBezTo>
                  <a:cubicBezTo>
                    <a:pt x="235705" y="13285"/>
                    <a:pt x="235590" y="13005"/>
                    <a:pt x="235476" y="12712"/>
                  </a:cubicBezTo>
                  <a:close/>
                </a:path>
              </a:pathLst>
            </a:custGeom>
            <a:solidFill>
              <a:srgbClr val="000000"/>
            </a:solidFill>
            <a:ln w="12685"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785FE664-3EF2-4117-BE50-E10B33884DAB}"/>
                </a:ext>
              </a:extLst>
            </p:cNvPr>
            <p:cNvSpPr/>
            <p:nvPr/>
          </p:nvSpPr>
          <p:spPr>
            <a:xfrm>
              <a:off x="2587802" y="4397011"/>
              <a:ext cx="50897" cy="36354"/>
            </a:xfrm>
            <a:custGeom>
              <a:avLst/>
              <a:gdLst>
                <a:gd name="connsiteX0" fmla="*/ 45913 w 50897"/>
                <a:gd name="connsiteY0" fmla="*/ 17667 h 36354"/>
                <a:gd name="connsiteX1" fmla="*/ 49854 w 50897"/>
                <a:gd name="connsiteY1" fmla="*/ 4955 h 36354"/>
                <a:gd name="connsiteX2" fmla="*/ 37902 w 50897"/>
                <a:gd name="connsiteY2" fmla="*/ 887 h 36354"/>
                <a:gd name="connsiteX3" fmla="*/ 4844 w 50897"/>
                <a:gd name="connsiteY3" fmla="*/ 18557 h 36354"/>
                <a:gd name="connsiteX4" fmla="*/ 1030 w 50897"/>
                <a:gd name="connsiteY4" fmla="*/ 31270 h 36354"/>
                <a:gd name="connsiteX5" fmla="*/ 12257 w 50897"/>
                <a:gd name="connsiteY5" fmla="*/ 35630 h 36354"/>
                <a:gd name="connsiteX6" fmla="*/ 12854 w 50897"/>
                <a:gd name="connsiteY6" fmla="*/ 35338 h 36354"/>
                <a:gd name="connsiteX7" fmla="*/ 14380 w 50897"/>
                <a:gd name="connsiteY7" fmla="*/ 34575 h 36354"/>
                <a:gd name="connsiteX8" fmla="*/ 17305 w 50897"/>
                <a:gd name="connsiteY8" fmla="*/ 33049 h 3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7" h="36354">
                  <a:moveTo>
                    <a:pt x="45913" y="17667"/>
                  </a:moveTo>
                  <a:cubicBezTo>
                    <a:pt x="50452" y="15201"/>
                    <a:pt x="52206" y="9557"/>
                    <a:pt x="49854" y="4955"/>
                  </a:cubicBezTo>
                  <a:cubicBezTo>
                    <a:pt x="47642" y="582"/>
                    <a:pt x="42327" y="-1236"/>
                    <a:pt x="37902" y="887"/>
                  </a:cubicBezTo>
                  <a:lnTo>
                    <a:pt x="4844" y="18557"/>
                  </a:lnTo>
                  <a:cubicBezTo>
                    <a:pt x="407" y="21113"/>
                    <a:pt x="-1272" y="26693"/>
                    <a:pt x="1030" y="31270"/>
                  </a:cubicBezTo>
                  <a:cubicBezTo>
                    <a:pt x="2924" y="35579"/>
                    <a:pt x="7959" y="37524"/>
                    <a:pt x="12257" y="35630"/>
                  </a:cubicBezTo>
                  <a:cubicBezTo>
                    <a:pt x="12460" y="35541"/>
                    <a:pt x="12664" y="35439"/>
                    <a:pt x="12854" y="35338"/>
                  </a:cubicBezTo>
                  <a:lnTo>
                    <a:pt x="14380" y="34575"/>
                  </a:lnTo>
                  <a:lnTo>
                    <a:pt x="17305" y="33049"/>
                  </a:lnTo>
                  <a:close/>
                </a:path>
              </a:pathLst>
            </a:custGeom>
            <a:solidFill>
              <a:srgbClr val="000000"/>
            </a:solidFill>
            <a:ln w="12685"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DB770886-CB16-42EF-BD10-CF9A7144978B}"/>
                </a:ext>
              </a:extLst>
            </p:cNvPr>
            <p:cNvSpPr/>
            <p:nvPr/>
          </p:nvSpPr>
          <p:spPr>
            <a:xfrm>
              <a:off x="1701476" y="1802409"/>
              <a:ext cx="66497" cy="66358"/>
            </a:xfrm>
            <a:custGeom>
              <a:avLst/>
              <a:gdLst>
                <a:gd name="connsiteX0" fmla="*/ 53783 w 66497"/>
                <a:gd name="connsiteY0" fmla="*/ 52121 h 66358"/>
                <a:gd name="connsiteX1" fmla="*/ 65862 w 66497"/>
                <a:gd name="connsiteY1" fmla="*/ 50211 h 66358"/>
                <a:gd name="connsiteX2" fmla="*/ 66498 w 66497"/>
                <a:gd name="connsiteY2" fmla="*/ 50723 h 66358"/>
                <a:gd name="connsiteX3" fmla="*/ 63319 w 66497"/>
                <a:gd name="connsiteY3" fmla="*/ 48180 h 66358"/>
                <a:gd name="connsiteX4" fmla="*/ 60522 w 66497"/>
                <a:gd name="connsiteY4" fmla="*/ 45638 h 66358"/>
                <a:gd name="connsiteX5" fmla="*/ 6993 w 66497"/>
                <a:gd name="connsiteY5" fmla="*/ 0 h 66358"/>
                <a:gd name="connsiteX6" fmla="*/ 5976 w 66497"/>
                <a:gd name="connsiteY6" fmla="*/ 0 h 66358"/>
                <a:gd name="connsiteX7" fmla="*/ 9536 w 66497"/>
                <a:gd name="connsiteY7" fmla="*/ 4195 h 66358"/>
                <a:gd name="connsiteX8" fmla="*/ 4920 w 66497"/>
                <a:gd name="connsiteY8" fmla="*/ 16866 h 66358"/>
                <a:gd name="connsiteX9" fmla="*/ 4831 w 66497"/>
                <a:gd name="connsiteY9" fmla="*/ 16908 h 66358"/>
                <a:gd name="connsiteX10" fmla="*/ 0 w 66497"/>
                <a:gd name="connsiteY10" fmla="*/ 19069 h 66358"/>
                <a:gd name="connsiteX11" fmla="*/ 55309 w 66497"/>
                <a:gd name="connsiteY11" fmla="*/ 66359 h 66358"/>
                <a:gd name="connsiteX12" fmla="*/ 53185 w 66497"/>
                <a:gd name="connsiteY12" fmla="*/ 52861 h 66358"/>
                <a:gd name="connsiteX13" fmla="*/ 53783 w 66497"/>
                <a:gd name="connsiteY13" fmla="*/ 52121 h 6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97" h="66358">
                  <a:moveTo>
                    <a:pt x="53783" y="52121"/>
                  </a:moveTo>
                  <a:cubicBezTo>
                    <a:pt x="56593" y="48259"/>
                    <a:pt x="61997" y="47405"/>
                    <a:pt x="65862" y="50211"/>
                  </a:cubicBezTo>
                  <a:cubicBezTo>
                    <a:pt x="66078" y="50372"/>
                    <a:pt x="66294" y="50542"/>
                    <a:pt x="66498" y="50723"/>
                  </a:cubicBezTo>
                  <a:lnTo>
                    <a:pt x="63319" y="48180"/>
                  </a:lnTo>
                  <a:lnTo>
                    <a:pt x="60522" y="45638"/>
                  </a:lnTo>
                  <a:lnTo>
                    <a:pt x="6993" y="0"/>
                  </a:lnTo>
                  <a:cubicBezTo>
                    <a:pt x="6993" y="0"/>
                    <a:pt x="6993" y="0"/>
                    <a:pt x="5976" y="0"/>
                  </a:cubicBezTo>
                  <a:cubicBezTo>
                    <a:pt x="7603" y="951"/>
                    <a:pt x="8862" y="2431"/>
                    <a:pt x="9536" y="4195"/>
                  </a:cubicBezTo>
                  <a:cubicBezTo>
                    <a:pt x="11761" y="8967"/>
                    <a:pt x="9701" y="14640"/>
                    <a:pt x="4920" y="16866"/>
                  </a:cubicBezTo>
                  <a:cubicBezTo>
                    <a:pt x="4895" y="16880"/>
                    <a:pt x="4857" y="16894"/>
                    <a:pt x="4831" y="16908"/>
                  </a:cubicBezTo>
                  <a:lnTo>
                    <a:pt x="0" y="19069"/>
                  </a:lnTo>
                  <a:lnTo>
                    <a:pt x="55309" y="66359"/>
                  </a:lnTo>
                  <a:cubicBezTo>
                    <a:pt x="50998" y="63217"/>
                    <a:pt x="50045" y="57174"/>
                    <a:pt x="53185" y="52861"/>
                  </a:cubicBezTo>
                  <a:cubicBezTo>
                    <a:pt x="53376" y="52605"/>
                    <a:pt x="53567" y="52357"/>
                    <a:pt x="53783" y="52121"/>
                  </a:cubicBezTo>
                  <a:close/>
                </a:path>
              </a:pathLst>
            </a:custGeom>
            <a:solidFill>
              <a:srgbClr val="000000"/>
            </a:solidFill>
            <a:ln w="12685"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228B1D39-548F-408F-B45E-6A5E966390AD}"/>
                </a:ext>
              </a:extLst>
            </p:cNvPr>
            <p:cNvSpPr/>
            <p:nvPr/>
          </p:nvSpPr>
          <p:spPr>
            <a:xfrm>
              <a:off x="1752812" y="1850968"/>
              <a:ext cx="124888" cy="106404"/>
            </a:xfrm>
            <a:custGeom>
              <a:avLst/>
              <a:gdLst>
                <a:gd name="connsiteX0" fmla="*/ 109886 w 124888"/>
                <a:gd name="connsiteY0" fmla="*/ 101955 h 106404"/>
                <a:gd name="connsiteX1" fmla="*/ 119371 w 124888"/>
                <a:gd name="connsiteY1" fmla="*/ 93680 h 106404"/>
                <a:gd name="connsiteX2" fmla="*/ 119549 w 124888"/>
                <a:gd name="connsiteY2" fmla="*/ 93692 h 106404"/>
                <a:gd name="connsiteX3" fmla="*/ 124889 w 124888"/>
                <a:gd name="connsiteY3" fmla="*/ 96489 h 106404"/>
                <a:gd name="connsiteX4" fmla="*/ 124253 w 124888"/>
                <a:gd name="connsiteY4" fmla="*/ 95726 h 106404"/>
                <a:gd name="connsiteX5" fmla="*/ 14526 w 124888"/>
                <a:gd name="connsiteY5" fmla="*/ 2163 h 106404"/>
                <a:gd name="connsiteX6" fmla="*/ 2319 w 124888"/>
                <a:gd name="connsiteY6" fmla="*/ 2925 h 106404"/>
                <a:gd name="connsiteX7" fmla="*/ 1811 w 124888"/>
                <a:gd name="connsiteY7" fmla="*/ 3562 h 106404"/>
                <a:gd name="connsiteX8" fmla="*/ 3082 w 124888"/>
                <a:gd name="connsiteY8" fmla="*/ 16274 h 106404"/>
                <a:gd name="connsiteX9" fmla="*/ 107470 w 124888"/>
                <a:gd name="connsiteY9" fmla="*/ 105261 h 106404"/>
                <a:gd name="connsiteX10" fmla="*/ 108741 w 124888"/>
                <a:gd name="connsiteY10" fmla="*/ 10640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8" h="106404">
                  <a:moveTo>
                    <a:pt x="109886" y="101955"/>
                  </a:moveTo>
                  <a:cubicBezTo>
                    <a:pt x="110216" y="97048"/>
                    <a:pt x="114463" y="93349"/>
                    <a:pt x="119371" y="93680"/>
                  </a:cubicBezTo>
                  <a:cubicBezTo>
                    <a:pt x="119422" y="93680"/>
                    <a:pt x="119485" y="93692"/>
                    <a:pt x="119549" y="93692"/>
                  </a:cubicBezTo>
                  <a:cubicBezTo>
                    <a:pt x="121596" y="93998"/>
                    <a:pt x="123478" y="94976"/>
                    <a:pt x="124889" y="96489"/>
                  </a:cubicBezTo>
                  <a:lnTo>
                    <a:pt x="124253" y="95726"/>
                  </a:lnTo>
                  <a:lnTo>
                    <a:pt x="14526" y="2163"/>
                  </a:lnTo>
                  <a:cubicBezTo>
                    <a:pt x="10940" y="-996"/>
                    <a:pt x="5485" y="-655"/>
                    <a:pt x="2319" y="2925"/>
                  </a:cubicBezTo>
                  <a:cubicBezTo>
                    <a:pt x="2141" y="3128"/>
                    <a:pt x="1976" y="3342"/>
                    <a:pt x="1811" y="3562"/>
                  </a:cubicBezTo>
                  <a:cubicBezTo>
                    <a:pt x="-1025" y="7515"/>
                    <a:pt x="-478" y="12961"/>
                    <a:pt x="3082" y="16274"/>
                  </a:cubicBezTo>
                  <a:lnTo>
                    <a:pt x="107470" y="105261"/>
                  </a:lnTo>
                  <a:lnTo>
                    <a:pt x="108741" y="106405"/>
                  </a:lnTo>
                  <a:close/>
                </a:path>
              </a:pathLst>
            </a:custGeom>
            <a:solidFill>
              <a:srgbClr val="000000"/>
            </a:solidFill>
            <a:ln w="12685"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9A39A003-598C-4685-85E0-CC616C3564E3}"/>
                </a:ext>
              </a:extLst>
            </p:cNvPr>
            <p:cNvSpPr/>
            <p:nvPr/>
          </p:nvSpPr>
          <p:spPr>
            <a:xfrm>
              <a:off x="1848203" y="1944626"/>
              <a:ext cx="31580" cy="165423"/>
            </a:xfrm>
            <a:custGeom>
              <a:avLst/>
              <a:gdLst>
                <a:gd name="connsiteX0" fmla="*/ 8900 w 31580"/>
                <a:gd name="connsiteY0" fmla="*/ 155253 h 165423"/>
                <a:gd name="connsiteX1" fmla="*/ 16783 w 31580"/>
                <a:gd name="connsiteY1" fmla="*/ 165423 h 165423"/>
                <a:gd name="connsiteX2" fmla="*/ 16783 w 31580"/>
                <a:gd name="connsiteY2" fmla="*/ 160465 h 165423"/>
                <a:gd name="connsiteX3" fmla="*/ 31532 w 31580"/>
                <a:gd name="connsiteY3" fmla="*/ 10205 h 165423"/>
                <a:gd name="connsiteX4" fmla="*/ 31532 w 31580"/>
                <a:gd name="connsiteY4" fmla="*/ 9315 h 165423"/>
                <a:gd name="connsiteX5" fmla="*/ 31532 w 31580"/>
                <a:gd name="connsiteY5" fmla="*/ 7408 h 165423"/>
                <a:gd name="connsiteX6" fmla="*/ 31532 w 31580"/>
                <a:gd name="connsiteY6" fmla="*/ 5756 h 165423"/>
                <a:gd name="connsiteX7" fmla="*/ 30642 w 31580"/>
                <a:gd name="connsiteY7" fmla="*/ 4230 h 165423"/>
                <a:gd name="connsiteX8" fmla="*/ 29625 w 31580"/>
                <a:gd name="connsiteY8" fmla="*/ 2832 h 165423"/>
                <a:gd name="connsiteX9" fmla="*/ 24285 w 31580"/>
                <a:gd name="connsiteY9" fmla="*/ 35 h 165423"/>
                <a:gd name="connsiteX10" fmla="*/ 14635 w 31580"/>
                <a:gd name="connsiteY10" fmla="*/ 8120 h 165423"/>
                <a:gd name="connsiteX11" fmla="*/ 14622 w 31580"/>
                <a:gd name="connsiteY11" fmla="*/ 8298 h 165423"/>
                <a:gd name="connsiteX12" fmla="*/ 14622 w 31580"/>
                <a:gd name="connsiteY12" fmla="*/ 13383 h 165423"/>
                <a:gd name="connsiteX13" fmla="*/ 14622 w 31580"/>
                <a:gd name="connsiteY13" fmla="*/ 15290 h 165423"/>
                <a:gd name="connsiteX14" fmla="*/ 0 w 31580"/>
                <a:gd name="connsiteY14" fmla="*/ 163516 h 165423"/>
                <a:gd name="connsiteX15" fmla="*/ 8900 w 31580"/>
                <a:gd name="connsiteY15" fmla="*/ 155253 h 16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580" h="165423">
                  <a:moveTo>
                    <a:pt x="8900" y="155253"/>
                  </a:moveTo>
                  <a:cubicBezTo>
                    <a:pt x="13872" y="155914"/>
                    <a:pt x="17381" y="160453"/>
                    <a:pt x="16783" y="165423"/>
                  </a:cubicBezTo>
                  <a:lnTo>
                    <a:pt x="16783" y="160465"/>
                  </a:lnTo>
                  <a:lnTo>
                    <a:pt x="31532" y="10205"/>
                  </a:lnTo>
                  <a:cubicBezTo>
                    <a:pt x="31532" y="10205"/>
                    <a:pt x="31532" y="10205"/>
                    <a:pt x="31532" y="9315"/>
                  </a:cubicBezTo>
                  <a:cubicBezTo>
                    <a:pt x="31596" y="8679"/>
                    <a:pt x="31596" y="8044"/>
                    <a:pt x="31532" y="7408"/>
                  </a:cubicBezTo>
                  <a:lnTo>
                    <a:pt x="31532" y="5756"/>
                  </a:lnTo>
                  <a:cubicBezTo>
                    <a:pt x="31278" y="5222"/>
                    <a:pt x="30986" y="4713"/>
                    <a:pt x="30642" y="4230"/>
                  </a:cubicBezTo>
                  <a:cubicBezTo>
                    <a:pt x="30375" y="3709"/>
                    <a:pt x="30032" y="3238"/>
                    <a:pt x="29625" y="2832"/>
                  </a:cubicBezTo>
                  <a:cubicBezTo>
                    <a:pt x="28214" y="1319"/>
                    <a:pt x="26332" y="340"/>
                    <a:pt x="24285" y="35"/>
                  </a:cubicBezTo>
                  <a:cubicBezTo>
                    <a:pt x="19390" y="-397"/>
                    <a:pt x="15067" y="3226"/>
                    <a:pt x="14635" y="8120"/>
                  </a:cubicBezTo>
                  <a:cubicBezTo>
                    <a:pt x="14635" y="8171"/>
                    <a:pt x="14622" y="8234"/>
                    <a:pt x="14622" y="8298"/>
                  </a:cubicBezTo>
                  <a:lnTo>
                    <a:pt x="14622" y="13383"/>
                  </a:lnTo>
                  <a:lnTo>
                    <a:pt x="14622" y="15290"/>
                  </a:lnTo>
                  <a:lnTo>
                    <a:pt x="0" y="163516"/>
                  </a:lnTo>
                  <a:cubicBezTo>
                    <a:pt x="331" y="158851"/>
                    <a:pt x="4221" y="155241"/>
                    <a:pt x="8900" y="155253"/>
                  </a:cubicBezTo>
                  <a:close/>
                </a:path>
              </a:pathLst>
            </a:custGeom>
            <a:solidFill>
              <a:srgbClr val="000000"/>
            </a:solidFill>
            <a:ln w="12685"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602E5F22-56A1-4087-936C-EC14479D7A43}"/>
                </a:ext>
              </a:extLst>
            </p:cNvPr>
            <p:cNvSpPr/>
            <p:nvPr/>
          </p:nvSpPr>
          <p:spPr>
            <a:xfrm>
              <a:off x="1843439" y="2099844"/>
              <a:ext cx="21613" cy="58914"/>
            </a:xfrm>
            <a:custGeom>
              <a:avLst/>
              <a:gdLst>
                <a:gd name="connsiteX0" fmla="*/ 13665 w 21613"/>
                <a:gd name="connsiteY0" fmla="*/ 35 h 58914"/>
                <a:gd name="connsiteX1" fmla="*/ 4014 w 21613"/>
                <a:gd name="connsiteY1" fmla="*/ 8120 h 58914"/>
                <a:gd name="connsiteX2" fmla="*/ 4001 w 21613"/>
                <a:gd name="connsiteY2" fmla="*/ 8298 h 58914"/>
                <a:gd name="connsiteX3" fmla="*/ 60 w 21613"/>
                <a:gd name="connsiteY3" fmla="*/ 48723 h 58914"/>
                <a:gd name="connsiteX4" fmla="*/ 823 w 21613"/>
                <a:gd name="connsiteY4" fmla="*/ 53173 h 58914"/>
                <a:gd name="connsiteX5" fmla="*/ 11872 w 21613"/>
                <a:gd name="connsiteY5" fmla="*/ 58410 h 58914"/>
                <a:gd name="connsiteX6" fmla="*/ 17606 w 21613"/>
                <a:gd name="connsiteY6" fmla="*/ 50630 h 58914"/>
                <a:gd name="connsiteX7" fmla="*/ 19895 w 21613"/>
                <a:gd name="connsiteY7" fmla="*/ 27494 h 58914"/>
                <a:gd name="connsiteX8" fmla="*/ 21548 w 21613"/>
                <a:gd name="connsiteY8" fmla="*/ 10205 h 58914"/>
                <a:gd name="connsiteX9" fmla="*/ 13665 w 21613"/>
                <a:gd name="connsiteY9" fmla="*/ 35 h 5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13" h="58914">
                  <a:moveTo>
                    <a:pt x="13665" y="35"/>
                  </a:moveTo>
                  <a:cubicBezTo>
                    <a:pt x="8769" y="-397"/>
                    <a:pt x="4447" y="3226"/>
                    <a:pt x="4014" y="8120"/>
                  </a:cubicBezTo>
                  <a:cubicBezTo>
                    <a:pt x="4014" y="8171"/>
                    <a:pt x="4001" y="8235"/>
                    <a:pt x="4001" y="8298"/>
                  </a:cubicBezTo>
                  <a:lnTo>
                    <a:pt x="60" y="48723"/>
                  </a:lnTo>
                  <a:cubicBezTo>
                    <a:pt x="-131" y="50249"/>
                    <a:pt x="136" y="51800"/>
                    <a:pt x="823" y="53173"/>
                  </a:cubicBezTo>
                  <a:cubicBezTo>
                    <a:pt x="2425" y="57673"/>
                    <a:pt x="7371" y="60012"/>
                    <a:pt x="11872" y="58410"/>
                  </a:cubicBezTo>
                  <a:cubicBezTo>
                    <a:pt x="15190" y="57228"/>
                    <a:pt x="17466" y="54152"/>
                    <a:pt x="17606" y="50630"/>
                  </a:cubicBezTo>
                  <a:lnTo>
                    <a:pt x="19895" y="27494"/>
                  </a:lnTo>
                  <a:lnTo>
                    <a:pt x="21548" y="10205"/>
                  </a:lnTo>
                  <a:cubicBezTo>
                    <a:pt x="22145" y="5234"/>
                    <a:pt x="18636" y="696"/>
                    <a:pt x="13665" y="35"/>
                  </a:cubicBezTo>
                  <a:close/>
                </a:path>
              </a:pathLst>
            </a:custGeom>
            <a:solidFill>
              <a:srgbClr val="000000"/>
            </a:solidFill>
            <a:ln w="12685"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7E4563D6-2283-4712-90FD-00DB59AA2B27}"/>
                </a:ext>
              </a:extLst>
            </p:cNvPr>
            <p:cNvSpPr/>
            <p:nvPr/>
          </p:nvSpPr>
          <p:spPr>
            <a:xfrm>
              <a:off x="2407140" y="2974936"/>
              <a:ext cx="54466" cy="320415"/>
            </a:xfrm>
            <a:custGeom>
              <a:avLst/>
              <a:gdLst>
                <a:gd name="connsiteX0" fmla="*/ 46790 w 54466"/>
                <a:gd name="connsiteY0" fmla="*/ 191 h 320415"/>
                <a:gd name="connsiteX1" fmla="*/ 43484 w 54466"/>
                <a:gd name="connsiteY1" fmla="*/ 191 h 320415"/>
                <a:gd name="connsiteX2" fmla="*/ 41195 w 54466"/>
                <a:gd name="connsiteY2" fmla="*/ 16844 h 320415"/>
                <a:gd name="connsiteX3" fmla="*/ 0 w 54466"/>
                <a:gd name="connsiteY3" fmla="*/ 320416 h 320415"/>
                <a:gd name="connsiteX4" fmla="*/ 1144 w 54466"/>
                <a:gd name="connsiteY4" fmla="*/ 319653 h 320415"/>
                <a:gd name="connsiteX5" fmla="*/ 1780 w 54466"/>
                <a:gd name="connsiteY5" fmla="*/ 319653 h 320415"/>
                <a:gd name="connsiteX6" fmla="*/ 12842 w 54466"/>
                <a:gd name="connsiteY6" fmla="*/ 314187 h 320415"/>
                <a:gd name="connsiteX7" fmla="*/ 54291 w 54466"/>
                <a:gd name="connsiteY7" fmla="*/ 10996 h 320415"/>
                <a:gd name="connsiteX8" fmla="*/ 47082 w 54466"/>
                <a:gd name="connsiteY8" fmla="*/ 242 h 320415"/>
                <a:gd name="connsiteX9" fmla="*/ 46790 w 54466"/>
                <a:gd name="connsiteY9" fmla="*/ 191 h 32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66" h="320415">
                  <a:moveTo>
                    <a:pt x="46790" y="191"/>
                  </a:moveTo>
                  <a:cubicBezTo>
                    <a:pt x="45696" y="-64"/>
                    <a:pt x="44578" y="-64"/>
                    <a:pt x="43484" y="191"/>
                  </a:cubicBezTo>
                  <a:lnTo>
                    <a:pt x="41195" y="16844"/>
                  </a:lnTo>
                  <a:lnTo>
                    <a:pt x="0" y="320416"/>
                  </a:lnTo>
                  <a:lnTo>
                    <a:pt x="1144" y="319653"/>
                  </a:lnTo>
                  <a:lnTo>
                    <a:pt x="1780" y="319653"/>
                  </a:lnTo>
                  <a:lnTo>
                    <a:pt x="12842" y="314187"/>
                  </a:lnTo>
                  <a:lnTo>
                    <a:pt x="54291" y="10996"/>
                  </a:lnTo>
                  <a:cubicBezTo>
                    <a:pt x="55271" y="6039"/>
                    <a:pt x="52041" y="1221"/>
                    <a:pt x="47082" y="242"/>
                  </a:cubicBezTo>
                  <a:cubicBezTo>
                    <a:pt x="46981" y="229"/>
                    <a:pt x="46892" y="204"/>
                    <a:pt x="46790" y="191"/>
                  </a:cubicBezTo>
                  <a:close/>
                </a:path>
              </a:pathLst>
            </a:custGeom>
            <a:solidFill>
              <a:srgbClr val="000000"/>
            </a:solidFill>
            <a:ln w="12685"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D14D172A-B8DB-4FD6-AE6F-FE577F56A28C}"/>
                </a:ext>
              </a:extLst>
            </p:cNvPr>
            <p:cNvSpPr/>
            <p:nvPr/>
          </p:nvSpPr>
          <p:spPr>
            <a:xfrm>
              <a:off x="1062992" y="3534599"/>
              <a:ext cx="78529" cy="50359"/>
            </a:xfrm>
            <a:custGeom>
              <a:avLst/>
              <a:gdLst>
                <a:gd name="connsiteX0" fmla="*/ 208 w 78529"/>
                <a:gd name="connsiteY0" fmla="*/ 45002 h 50359"/>
                <a:gd name="connsiteX1" fmla="*/ 11704 w 78529"/>
                <a:gd name="connsiteY1" fmla="*/ 49667 h 50359"/>
                <a:gd name="connsiteX2" fmla="*/ 11905 w 78529"/>
                <a:gd name="connsiteY2" fmla="*/ 49578 h 50359"/>
                <a:gd name="connsiteX3" fmla="*/ 16737 w 78529"/>
                <a:gd name="connsiteY3" fmla="*/ 47163 h 50359"/>
                <a:gd name="connsiteX4" fmla="*/ 78530 w 78529"/>
                <a:gd name="connsiteY4" fmla="*/ 17162 h 50359"/>
                <a:gd name="connsiteX5" fmla="*/ 67002 w 78529"/>
                <a:gd name="connsiteY5" fmla="*/ 13094 h 50359"/>
                <a:gd name="connsiteX6" fmla="*/ 66832 w 78529"/>
                <a:gd name="connsiteY6" fmla="*/ 12712 h 50359"/>
                <a:gd name="connsiteX7" fmla="*/ 70998 w 78529"/>
                <a:gd name="connsiteY7" fmla="*/ 76 h 50359"/>
                <a:gd name="connsiteX8" fmla="*/ 71155 w 78529"/>
                <a:gd name="connsiteY8" fmla="*/ 0 h 50359"/>
                <a:gd name="connsiteX9" fmla="*/ 69502 w 78529"/>
                <a:gd name="connsiteY9" fmla="*/ 763 h 50359"/>
                <a:gd name="connsiteX10" fmla="*/ 66451 w 78529"/>
                <a:gd name="connsiteY10" fmla="*/ 2288 h 50359"/>
                <a:gd name="connsiteX11" fmla="*/ 5039 w 78529"/>
                <a:gd name="connsiteY11" fmla="*/ 32671 h 50359"/>
                <a:gd name="connsiteX12" fmla="*/ 4022 w 78529"/>
                <a:gd name="connsiteY12" fmla="*/ 33433 h 50359"/>
                <a:gd name="connsiteX13" fmla="*/ 2623 w 78529"/>
                <a:gd name="connsiteY13" fmla="*/ 34450 h 50359"/>
                <a:gd name="connsiteX14" fmla="*/ 1606 w 78529"/>
                <a:gd name="connsiteY14" fmla="*/ 35976 h 50359"/>
                <a:gd name="connsiteX15" fmla="*/ 716 w 78529"/>
                <a:gd name="connsiteY15" fmla="*/ 37374 h 50359"/>
                <a:gd name="connsiteX16" fmla="*/ 716 w 78529"/>
                <a:gd name="connsiteY16" fmla="*/ 39281 h 50359"/>
                <a:gd name="connsiteX17" fmla="*/ 208 w 78529"/>
                <a:gd name="connsiteY17" fmla="*/ 45002 h 5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529" h="50359">
                  <a:moveTo>
                    <a:pt x="208" y="45002"/>
                  </a:moveTo>
                  <a:cubicBezTo>
                    <a:pt x="2094" y="49464"/>
                    <a:pt x="7241" y="51549"/>
                    <a:pt x="11704" y="49667"/>
                  </a:cubicBezTo>
                  <a:cubicBezTo>
                    <a:pt x="11772" y="49642"/>
                    <a:pt x="11839" y="49604"/>
                    <a:pt x="11905" y="49578"/>
                  </a:cubicBezTo>
                  <a:lnTo>
                    <a:pt x="16737" y="47163"/>
                  </a:lnTo>
                  <a:lnTo>
                    <a:pt x="78530" y="17162"/>
                  </a:lnTo>
                  <a:cubicBezTo>
                    <a:pt x="74221" y="19221"/>
                    <a:pt x="69060" y="17391"/>
                    <a:pt x="67002" y="13094"/>
                  </a:cubicBezTo>
                  <a:cubicBezTo>
                    <a:pt x="66942" y="12966"/>
                    <a:pt x="66886" y="12839"/>
                    <a:pt x="66832" y="12712"/>
                  </a:cubicBezTo>
                  <a:cubicBezTo>
                    <a:pt x="64493" y="8072"/>
                    <a:pt x="66358" y="2415"/>
                    <a:pt x="70998" y="76"/>
                  </a:cubicBezTo>
                  <a:cubicBezTo>
                    <a:pt x="71050" y="51"/>
                    <a:pt x="71103" y="25"/>
                    <a:pt x="71155" y="0"/>
                  </a:cubicBezTo>
                  <a:lnTo>
                    <a:pt x="69502" y="763"/>
                  </a:lnTo>
                  <a:lnTo>
                    <a:pt x="66451" y="2288"/>
                  </a:lnTo>
                  <a:lnTo>
                    <a:pt x="5039" y="32671"/>
                  </a:lnTo>
                  <a:cubicBezTo>
                    <a:pt x="5039" y="32671"/>
                    <a:pt x="5039" y="32671"/>
                    <a:pt x="4022" y="33433"/>
                  </a:cubicBezTo>
                  <a:lnTo>
                    <a:pt x="2623" y="34450"/>
                  </a:lnTo>
                  <a:lnTo>
                    <a:pt x="1606" y="35976"/>
                  </a:lnTo>
                  <a:cubicBezTo>
                    <a:pt x="1237" y="36395"/>
                    <a:pt x="936" y="36866"/>
                    <a:pt x="716" y="37374"/>
                  </a:cubicBezTo>
                  <a:cubicBezTo>
                    <a:pt x="659" y="38010"/>
                    <a:pt x="659" y="38646"/>
                    <a:pt x="716" y="39281"/>
                  </a:cubicBezTo>
                  <a:cubicBezTo>
                    <a:pt x="-14" y="41099"/>
                    <a:pt x="-190" y="43082"/>
                    <a:pt x="208" y="45002"/>
                  </a:cubicBezTo>
                  <a:close/>
                </a:path>
              </a:pathLst>
            </a:custGeom>
            <a:solidFill>
              <a:srgbClr val="000000"/>
            </a:solidFill>
            <a:ln w="12685"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FDF9BCA7-0474-454A-8373-85CCE01056CA}"/>
                </a:ext>
              </a:extLst>
            </p:cNvPr>
            <p:cNvSpPr/>
            <p:nvPr/>
          </p:nvSpPr>
          <p:spPr>
            <a:xfrm>
              <a:off x="1304270" y="3456291"/>
              <a:ext cx="42085" cy="45637"/>
            </a:xfrm>
            <a:custGeom>
              <a:avLst/>
              <a:gdLst>
                <a:gd name="connsiteX0" fmla="*/ 5340 w 42085"/>
                <a:gd name="connsiteY0" fmla="*/ 14365 h 45637"/>
                <a:gd name="connsiteX1" fmla="*/ 0 w 42085"/>
                <a:gd name="connsiteY1" fmla="*/ 16908 h 45637"/>
                <a:gd name="connsiteX2" fmla="*/ 29371 w 42085"/>
                <a:gd name="connsiteY2" fmla="*/ 45637 h 45637"/>
                <a:gd name="connsiteX3" fmla="*/ 29371 w 42085"/>
                <a:gd name="connsiteY3" fmla="*/ 32925 h 45637"/>
                <a:gd name="connsiteX4" fmla="*/ 41590 w 42085"/>
                <a:gd name="connsiteY4" fmla="*/ 32429 h 45637"/>
                <a:gd name="connsiteX5" fmla="*/ 42086 w 42085"/>
                <a:gd name="connsiteY5" fmla="*/ 32925 h 45637"/>
                <a:gd name="connsiteX6" fmla="*/ 38398 w 42085"/>
                <a:gd name="connsiteY6" fmla="*/ 29366 h 45637"/>
                <a:gd name="connsiteX7" fmla="*/ 35474 w 42085"/>
                <a:gd name="connsiteY7" fmla="*/ 26569 h 45637"/>
                <a:gd name="connsiteX8" fmla="*/ 8265 w 42085"/>
                <a:gd name="connsiteY8" fmla="*/ 0 h 45637"/>
                <a:gd name="connsiteX9" fmla="*/ 10299 w 42085"/>
                <a:gd name="connsiteY9" fmla="*/ 2924 h 45637"/>
                <a:gd name="connsiteX10" fmla="*/ 5340 w 42085"/>
                <a:gd name="connsiteY10" fmla="*/ 14365 h 4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085" h="45637">
                  <a:moveTo>
                    <a:pt x="5340" y="14365"/>
                  </a:moveTo>
                  <a:lnTo>
                    <a:pt x="0" y="16908"/>
                  </a:lnTo>
                  <a:lnTo>
                    <a:pt x="29371" y="45637"/>
                  </a:lnTo>
                  <a:cubicBezTo>
                    <a:pt x="26129" y="42014"/>
                    <a:pt x="26129" y="36548"/>
                    <a:pt x="29371" y="32925"/>
                  </a:cubicBezTo>
                  <a:cubicBezTo>
                    <a:pt x="32613" y="29416"/>
                    <a:pt x="38080" y="29188"/>
                    <a:pt x="41590" y="32429"/>
                  </a:cubicBezTo>
                  <a:cubicBezTo>
                    <a:pt x="41755" y="32582"/>
                    <a:pt x="41920" y="32747"/>
                    <a:pt x="42086" y="32925"/>
                  </a:cubicBezTo>
                  <a:lnTo>
                    <a:pt x="38398" y="29366"/>
                  </a:lnTo>
                  <a:lnTo>
                    <a:pt x="35474" y="26569"/>
                  </a:lnTo>
                  <a:lnTo>
                    <a:pt x="8265" y="0"/>
                  </a:lnTo>
                  <a:cubicBezTo>
                    <a:pt x="9116" y="852"/>
                    <a:pt x="9803" y="1831"/>
                    <a:pt x="10299" y="2924"/>
                  </a:cubicBezTo>
                  <a:cubicBezTo>
                    <a:pt x="11710" y="7437"/>
                    <a:pt x="9600" y="12306"/>
                    <a:pt x="5340" y="14365"/>
                  </a:cubicBezTo>
                  <a:close/>
                </a:path>
              </a:pathLst>
            </a:custGeom>
            <a:solidFill>
              <a:srgbClr val="000000"/>
            </a:solidFill>
            <a:ln w="12685"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A78CF781-07AF-455D-912B-3CD9E576CD28}"/>
                </a:ext>
              </a:extLst>
            </p:cNvPr>
            <p:cNvSpPr/>
            <p:nvPr/>
          </p:nvSpPr>
          <p:spPr>
            <a:xfrm>
              <a:off x="1331209" y="3486557"/>
              <a:ext cx="98347" cy="97610"/>
            </a:xfrm>
            <a:custGeom>
              <a:avLst/>
              <a:gdLst>
                <a:gd name="connsiteX0" fmla="*/ 80118 w 98347"/>
                <a:gd name="connsiteY0" fmla="*/ 91646 h 97610"/>
                <a:gd name="connsiteX1" fmla="*/ 83297 w 98347"/>
                <a:gd name="connsiteY1" fmla="*/ 94824 h 97610"/>
                <a:gd name="connsiteX2" fmla="*/ 95516 w 98347"/>
                <a:gd name="connsiteY2" fmla="*/ 95320 h 97610"/>
                <a:gd name="connsiteX3" fmla="*/ 96012 w 98347"/>
                <a:gd name="connsiteY3" fmla="*/ 94824 h 97610"/>
                <a:gd name="connsiteX4" fmla="*/ 98300 w 98347"/>
                <a:gd name="connsiteY4" fmla="*/ 88722 h 97610"/>
                <a:gd name="connsiteX5" fmla="*/ 98300 w 98347"/>
                <a:gd name="connsiteY5" fmla="*/ 86688 h 97610"/>
                <a:gd name="connsiteX6" fmla="*/ 98300 w 98347"/>
                <a:gd name="connsiteY6" fmla="*/ 85163 h 97610"/>
                <a:gd name="connsiteX7" fmla="*/ 97410 w 98347"/>
                <a:gd name="connsiteY7" fmla="*/ 83637 h 97610"/>
                <a:gd name="connsiteX8" fmla="*/ 96393 w 98347"/>
                <a:gd name="connsiteY8" fmla="*/ 82112 h 97610"/>
                <a:gd name="connsiteX9" fmla="*/ 96393 w 98347"/>
                <a:gd name="connsiteY9" fmla="*/ 82112 h 97610"/>
                <a:gd name="connsiteX10" fmla="*/ 15146 w 98347"/>
                <a:gd name="connsiteY10" fmla="*/ 2786 h 97610"/>
                <a:gd name="connsiteX11" fmla="*/ 2928 w 98347"/>
                <a:gd name="connsiteY11" fmla="*/ 2291 h 97610"/>
                <a:gd name="connsiteX12" fmla="*/ 2432 w 98347"/>
                <a:gd name="connsiteY12" fmla="*/ 2786 h 97610"/>
                <a:gd name="connsiteX13" fmla="*/ 2432 w 98347"/>
                <a:gd name="connsiteY13" fmla="*/ 15499 h 97610"/>
                <a:gd name="connsiteX14" fmla="*/ 79864 w 98347"/>
                <a:gd name="connsiteY14" fmla="*/ 91138 h 9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347" h="97610">
                  <a:moveTo>
                    <a:pt x="80118" y="91646"/>
                  </a:moveTo>
                  <a:lnTo>
                    <a:pt x="83297" y="94824"/>
                  </a:lnTo>
                  <a:cubicBezTo>
                    <a:pt x="86539" y="98333"/>
                    <a:pt x="92006" y="98562"/>
                    <a:pt x="95516" y="95320"/>
                  </a:cubicBezTo>
                  <a:cubicBezTo>
                    <a:pt x="95681" y="95167"/>
                    <a:pt x="95846" y="95002"/>
                    <a:pt x="96012" y="94824"/>
                  </a:cubicBezTo>
                  <a:cubicBezTo>
                    <a:pt x="97474" y="93134"/>
                    <a:pt x="98288" y="90960"/>
                    <a:pt x="98300" y="88722"/>
                  </a:cubicBezTo>
                  <a:cubicBezTo>
                    <a:pt x="98351" y="88049"/>
                    <a:pt x="98351" y="87362"/>
                    <a:pt x="98300" y="86688"/>
                  </a:cubicBezTo>
                  <a:cubicBezTo>
                    <a:pt x="98364" y="86180"/>
                    <a:pt x="98364" y="85671"/>
                    <a:pt x="98300" y="85163"/>
                  </a:cubicBezTo>
                  <a:cubicBezTo>
                    <a:pt x="98046" y="84629"/>
                    <a:pt x="97754" y="84121"/>
                    <a:pt x="97410" y="83637"/>
                  </a:cubicBezTo>
                  <a:cubicBezTo>
                    <a:pt x="97156" y="83078"/>
                    <a:pt x="96813" y="82557"/>
                    <a:pt x="96393" y="82112"/>
                  </a:cubicBezTo>
                  <a:lnTo>
                    <a:pt x="96393" y="82112"/>
                  </a:lnTo>
                  <a:lnTo>
                    <a:pt x="15146" y="2786"/>
                  </a:lnTo>
                  <a:cubicBezTo>
                    <a:pt x="11904" y="-722"/>
                    <a:pt x="6437" y="-951"/>
                    <a:pt x="2928" y="2291"/>
                  </a:cubicBezTo>
                  <a:cubicBezTo>
                    <a:pt x="2762" y="2443"/>
                    <a:pt x="2597" y="2609"/>
                    <a:pt x="2432" y="2786"/>
                  </a:cubicBezTo>
                  <a:cubicBezTo>
                    <a:pt x="-811" y="6410"/>
                    <a:pt x="-811" y="11876"/>
                    <a:pt x="2432" y="15499"/>
                  </a:cubicBezTo>
                  <a:lnTo>
                    <a:pt x="79864" y="91138"/>
                  </a:lnTo>
                  <a:close/>
                </a:path>
              </a:pathLst>
            </a:custGeom>
            <a:solidFill>
              <a:srgbClr val="000000"/>
            </a:solidFill>
            <a:ln w="12685"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4E375ED5-A3D2-4EBC-A992-E1E363D9FFB5}"/>
                </a:ext>
              </a:extLst>
            </p:cNvPr>
            <p:cNvSpPr/>
            <p:nvPr/>
          </p:nvSpPr>
          <p:spPr>
            <a:xfrm>
              <a:off x="1433959" y="2856225"/>
              <a:ext cx="188694" cy="100977"/>
            </a:xfrm>
            <a:custGeom>
              <a:avLst/>
              <a:gdLst>
                <a:gd name="connsiteX0" fmla="*/ 11443 w 188694"/>
                <a:gd name="connsiteY0" fmla="*/ 88265 h 100977"/>
                <a:gd name="connsiteX1" fmla="*/ 6993 w 188694"/>
                <a:gd name="connsiteY1" fmla="*/ 100978 h 100977"/>
                <a:gd name="connsiteX2" fmla="*/ 178132 w 188694"/>
                <a:gd name="connsiteY2" fmla="*/ 20254 h 100977"/>
                <a:gd name="connsiteX3" fmla="*/ 183345 w 188694"/>
                <a:gd name="connsiteY3" fmla="*/ 17839 h 100977"/>
                <a:gd name="connsiteX4" fmla="*/ 187796 w 188694"/>
                <a:gd name="connsiteY4" fmla="*/ 5126 h 100977"/>
                <a:gd name="connsiteX5" fmla="*/ 185761 w 188694"/>
                <a:gd name="connsiteY5" fmla="*/ 2202 h 100977"/>
                <a:gd name="connsiteX6" fmla="*/ 185761 w 188694"/>
                <a:gd name="connsiteY6" fmla="*/ 2202 h 100977"/>
                <a:gd name="connsiteX7" fmla="*/ 184490 w 188694"/>
                <a:gd name="connsiteY7" fmla="*/ 1312 h 100977"/>
                <a:gd name="connsiteX8" fmla="*/ 182710 w 188694"/>
                <a:gd name="connsiteY8" fmla="*/ 295 h 100977"/>
                <a:gd name="connsiteX9" fmla="*/ 180930 w 188694"/>
                <a:gd name="connsiteY9" fmla="*/ 295 h 100977"/>
                <a:gd name="connsiteX10" fmla="*/ 177115 w 188694"/>
                <a:gd name="connsiteY10" fmla="*/ 295 h 100977"/>
                <a:gd name="connsiteX11" fmla="*/ 176098 w 188694"/>
                <a:gd name="connsiteY11" fmla="*/ 295 h 100977"/>
                <a:gd name="connsiteX12" fmla="*/ 176098 w 188694"/>
                <a:gd name="connsiteY12" fmla="*/ 295 h 100977"/>
                <a:gd name="connsiteX13" fmla="*/ 0 w 188694"/>
                <a:gd name="connsiteY13" fmla="*/ 83180 h 100977"/>
                <a:gd name="connsiteX14" fmla="*/ 11380 w 188694"/>
                <a:gd name="connsiteY14" fmla="*/ 88113 h 100977"/>
                <a:gd name="connsiteX15" fmla="*/ 11443 w 188694"/>
                <a:gd name="connsiteY15" fmla="*/ 88265 h 10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694" h="100977">
                  <a:moveTo>
                    <a:pt x="11443" y="88265"/>
                  </a:moveTo>
                  <a:cubicBezTo>
                    <a:pt x="13643" y="93007"/>
                    <a:pt x="11672" y="98639"/>
                    <a:pt x="6993" y="100978"/>
                  </a:cubicBezTo>
                  <a:lnTo>
                    <a:pt x="178132" y="20254"/>
                  </a:lnTo>
                  <a:lnTo>
                    <a:pt x="183345" y="17839"/>
                  </a:lnTo>
                  <a:cubicBezTo>
                    <a:pt x="188024" y="15499"/>
                    <a:pt x="189995" y="9868"/>
                    <a:pt x="187796" y="5126"/>
                  </a:cubicBezTo>
                  <a:cubicBezTo>
                    <a:pt x="187300" y="4033"/>
                    <a:pt x="186613" y="3054"/>
                    <a:pt x="185761" y="2202"/>
                  </a:cubicBezTo>
                  <a:lnTo>
                    <a:pt x="185761" y="2202"/>
                  </a:lnTo>
                  <a:lnTo>
                    <a:pt x="184490" y="1312"/>
                  </a:lnTo>
                  <a:lnTo>
                    <a:pt x="182710" y="295"/>
                  </a:lnTo>
                  <a:lnTo>
                    <a:pt x="180930" y="295"/>
                  </a:lnTo>
                  <a:cubicBezTo>
                    <a:pt x="179684" y="-98"/>
                    <a:pt x="178361" y="-98"/>
                    <a:pt x="177115" y="295"/>
                  </a:cubicBezTo>
                  <a:cubicBezTo>
                    <a:pt x="177115" y="295"/>
                    <a:pt x="177115" y="295"/>
                    <a:pt x="176098" y="295"/>
                  </a:cubicBezTo>
                  <a:lnTo>
                    <a:pt x="176098" y="295"/>
                  </a:lnTo>
                  <a:lnTo>
                    <a:pt x="0" y="83180"/>
                  </a:lnTo>
                  <a:cubicBezTo>
                    <a:pt x="4501" y="81401"/>
                    <a:pt x="9600" y="83612"/>
                    <a:pt x="11380" y="88113"/>
                  </a:cubicBezTo>
                  <a:cubicBezTo>
                    <a:pt x="11405" y="88164"/>
                    <a:pt x="11418" y="88214"/>
                    <a:pt x="11443" y="88265"/>
                  </a:cubicBezTo>
                  <a:close/>
                </a:path>
              </a:pathLst>
            </a:custGeom>
            <a:solidFill>
              <a:srgbClr val="000000"/>
            </a:solidFill>
            <a:ln w="12685"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CF77C8D5-AAA4-4A59-BE57-29B5C9812085}"/>
                </a:ext>
              </a:extLst>
            </p:cNvPr>
            <p:cNvSpPr/>
            <p:nvPr/>
          </p:nvSpPr>
          <p:spPr>
            <a:xfrm>
              <a:off x="1426076" y="2963177"/>
              <a:ext cx="1271" cy="38"/>
            </a:xfrm>
            <a:custGeom>
              <a:avLst/>
              <a:gdLst>
                <a:gd name="connsiteX0" fmla="*/ 1271 w 1271"/>
                <a:gd name="connsiteY0" fmla="*/ 0 h 38"/>
                <a:gd name="connsiteX1" fmla="*/ 0 w 1271"/>
                <a:gd name="connsiteY1" fmla="*/ 0 h 38"/>
                <a:gd name="connsiteX2" fmla="*/ 1144 w 1271"/>
                <a:gd name="connsiteY2" fmla="*/ 0 h 38"/>
              </a:gdLst>
              <a:ahLst/>
              <a:cxnLst>
                <a:cxn ang="0">
                  <a:pos x="connsiteX0" y="connsiteY0"/>
                </a:cxn>
                <a:cxn ang="0">
                  <a:pos x="connsiteX1" y="connsiteY1"/>
                </a:cxn>
                <a:cxn ang="0">
                  <a:pos x="connsiteX2" y="connsiteY2"/>
                </a:cxn>
              </a:cxnLst>
              <a:rect l="l" t="t" r="r" b="b"/>
              <a:pathLst>
                <a:path w="1271" h="38">
                  <a:moveTo>
                    <a:pt x="1271" y="0"/>
                  </a:moveTo>
                  <a:cubicBezTo>
                    <a:pt x="852" y="51"/>
                    <a:pt x="420" y="51"/>
                    <a:pt x="0" y="0"/>
                  </a:cubicBezTo>
                  <a:lnTo>
                    <a:pt x="1144" y="0"/>
                  </a:lnTo>
                  <a:close/>
                </a:path>
              </a:pathLst>
            </a:custGeom>
            <a:solidFill>
              <a:srgbClr val="000000"/>
            </a:solidFill>
            <a:ln w="12685" cap="flat">
              <a:no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A9B004EB-AAFB-40EC-A7A0-C177D3F869FC}"/>
                </a:ext>
              </a:extLst>
            </p:cNvPr>
            <p:cNvSpPr/>
            <p:nvPr/>
          </p:nvSpPr>
          <p:spPr>
            <a:xfrm>
              <a:off x="1425186" y="2938639"/>
              <a:ext cx="21115" cy="23648"/>
            </a:xfrm>
            <a:custGeom>
              <a:avLst/>
              <a:gdLst>
                <a:gd name="connsiteX0" fmla="*/ 7120 w 21115"/>
                <a:gd name="connsiteY0" fmla="*/ 22122 h 23648"/>
                <a:gd name="connsiteX1" fmla="*/ 15766 w 21115"/>
                <a:gd name="connsiteY1" fmla="*/ 18182 h 23648"/>
                <a:gd name="connsiteX2" fmla="*/ 20216 w 21115"/>
                <a:gd name="connsiteY2" fmla="*/ 5469 h 23648"/>
                <a:gd name="connsiteX3" fmla="*/ 8786 w 21115"/>
                <a:gd name="connsiteY3" fmla="*/ 651 h 23648"/>
                <a:gd name="connsiteX4" fmla="*/ 8519 w 21115"/>
                <a:gd name="connsiteY4" fmla="*/ 766 h 23648"/>
                <a:gd name="connsiteX5" fmla="*/ 6485 w 21115"/>
                <a:gd name="connsiteY5" fmla="*/ 1783 h 23648"/>
                <a:gd name="connsiteX6" fmla="*/ 3306 w 21115"/>
                <a:gd name="connsiteY6" fmla="*/ 3181 h 23648"/>
                <a:gd name="connsiteX7" fmla="*/ 0 w 21115"/>
                <a:gd name="connsiteY7" fmla="*/ 4834 h 23648"/>
                <a:gd name="connsiteX8" fmla="*/ 4196 w 21115"/>
                <a:gd name="connsiteY8" fmla="*/ 8775 h 23648"/>
                <a:gd name="connsiteX9" fmla="*/ 4959 w 21115"/>
                <a:gd name="connsiteY9" fmla="*/ 21487 h 23648"/>
                <a:gd name="connsiteX10" fmla="*/ 2162 w 21115"/>
                <a:gd name="connsiteY10" fmla="*/ 23648 h 23648"/>
                <a:gd name="connsiteX11" fmla="*/ 4069 w 21115"/>
                <a:gd name="connsiteY11" fmla="*/ 22758 h 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15" h="23648">
                  <a:moveTo>
                    <a:pt x="7120" y="22122"/>
                  </a:moveTo>
                  <a:lnTo>
                    <a:pt x="15766" y="18182"/>
                  </a:lnTo>
                  <a:cubicBezTo>
                    <a:pt x="20445" y="15843"/>
                    <a:pt x="22416" y="10211"/>
                    <a:pt x="20216" y="5469"/>
                  </a:cubicBezTo>
                  <a:cubicBezTo>
                    <a:pt x="18385" y="982"/>
                    <a:pt x="13274" y="-1179"/>
                    <a:pt x="8786" y="651"/>
                  </a:cubicBezTo>
                  <a:cubicBezTo>
                    <a:pt x="8697" y="689"/>
                    <a:pt x="8608" y="728"/>
                    <a:pt x="8519" y="766"/>
                  </a:cubicBezTo>
                  <a:lnTo>
                    <a:pt x="6485" y="1783"/>
                  </a:lnTo>
                  <a:lnTo>
                    <a:pt x="3306" y="3181"/>
                  </a:lnTo>
                  <a:lnTo>
                    <a:pt x="0" y="4834"/>
                  </a:lnTo>
                  <a:lnTo>
                    <a:pt x="4196" y="8775"/>
                  </a:lnTo>
                  <a:cubicBezTo>
                    <a:pt x="7553" y="12245"/>
                    <a:pt x="7870" y="17635"/>
                    <a:pt x="4959" y="21487"/>
                  </a:cubicBezTo>
                  <a:cubicBezTo>
                    <a:pt x="4170" y="22377"/>
                    <a:pt x="3230" y="23114"/>
                    <a:pt x="2162" y="23648"/>
                  </a:cubicBezTo>
                  <a:lnTo>
                    <a:pt x="4069" y="22758"/>
                  </a:lnTo>
                  <a:close/>
                </a:path>
              </a:pathLst>
            </a:custGeom>
            <a:solidFill>
              <a:srgbClr val="000000"/>
            </a:solidFill>
            <a:ln w="12685"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8AEE3042-6959-43E8-A87C-208D304BF719}"/>
                </a:ext>
              </a:extLst>
            </p:cNvPr>
            <p:cNvSpPr/>
            <p:nvPr/>
          </p:nvSpPr>
          <p:spPr>
            <a:xfrm>
              <a:off x="1113550" y="3196307"/>
              <a:ext cx="256437" cy="138199"/>
            </a:xfrm>
            <a:custGeom>
              <a:avLst/>
              <a:gdLst>
                <a:gd name="connsiteX0" fmla="*/ 248572 w 256437"/>
                <a:gd name="connsiteY0" fmla="*/ 18830 h 138199"/>
                <a:gd name="connsiteX1" fmla="*/ 251369 w 256437"/>
                <a:gd name="connsiteY1" fmla="*/ 17432 h 138199"/>
                <a:gd name="connsiteX2" fmla="*/ 253022 w 256437"/>
                <a:gd name="connsiteY2" fmla="*/ 16288 h 138199"/>
                <a:gd name="connsiteX3" fmla="*/ 255056 w 256437"/>
                <a:gd name="connsiteY3" fmla="*/ 13745 h 138199"/>
                <a:gd name="connsiteX4" fmla="*/ 256200 w 256437"/>
                <a:gd name="connsiteY4" fmla="*/ 6754 h 138199"/>
                <a:gd name="connsiteX5" fmla="*/ 256200 w 256437"/>
                <a:gd name="connsiteY5" fmla="*/ 5101 h 138199"/>
                <a:gd name="connsiteX6" fmla="*/ 255183 w 256437"/>
                <a:gd name="connsiteY6" fmla="*/ 3830 h 138199"/>
                <a:gd name="connsiteX7" fmla="*/ 250352 w 256437"/>
                <a:gd name="connsiteY7" fmla="*/ 143 h 138199"/>
                <a:gd name="connsiteX8" fmla="*/ 247300 w 256437"/>
                <a:gd name="connsiteY8" fmla="*/ 143 h 138199"/>
                <a:gd name="connsiteX9" fmla="*/ 244503 w 256437"/>
                <a:gd name="connsiteY9" fmla="*/ 779 h 138199"/>
                <a:gd name="connsiteX10" fmla="*/ 242596 w 256437"/>
                <a:gd name="connsiteY10" fmla="*/ 1668 h 138199"/>
                <a:gd name="connsiteX11" fmla="*/ 239417 w 256437"/>
                <a:gd name="connsiteY11" fmla="*/ 3194 h 138199"/>
                <a:gd name="connsiteX12" fmla="*/ 5340 w 256437"/>
                <a:gd name="connsiteY12" fmla="*/ 114936 h 138199"/>
                <a:gd name="connsiteX13" fmla="*/ 4323 w 256437"/>
                <a:gd name="connsiteY13" fmla="*/ 130445 h 138199"/>
                <a:gd name="connsiteX14" fmla="*/ 4323 w 256437"/>
                <a:gd name="connsiteY14" fmla="*/ 131589 h 138199"/>
                <a:gd name="connsiteX15" fmla="*/ 4323 w 256437"/>
                <a:gd name="connsiteY15" fmla="*/ 133496 h 138199"/>
                <a:gd name="connsiteX16" fmla="*/ 3433 w 256437"/>
                <a:gd name="connsiteY16" fmla="*/ 135021 h 138199"/>
                <a:gd name="connsiteX17" fmla="*/ 2416 w 256437"/>
                <a:gd name="connsiteY17" fmla="*/ 136420 h 138199"/>
                <a:gd name="connsiteX18" fmla="*/ 890 w 256437"/>
                <a:gd name="connsiteY18" fmla="*/ 137564 h 138199"/>
                <a:gd name="connsiteX19" fmla="*/ 0 w 256437"/>
                <a:gd name="connsiteY19" fmla="*/ 138200 h 138199"/>
                <a:gd name="connsiteX20" fmla="*/ 246029 w 256437"/>
                <a:gd name="connsiteY20" fmla="*/ 20610 h 13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6437" h="138199">
                  <a:moveTo>
                    <a:pt x="248572" y="18830"/>
                  </a:moveTo>
                  <a:lnTo>
                    <a:pt x="251369" y="17432"/>
                  </a:lnTo>
                  <a:cubicBezTo>
                    <a:pt x="251966" y="17127"/>
                    <a:pt x="252526" y="16745"/>
                    <a:pt x="253022" y="16288"/>
                  </a:cubicBezTo>
                  <a:cubicBezTo>
                    <a:pt x="253835" y="15563"/>
                    <a:pt x="254522" y="14699"/>
                    <a:pt x="255056" y="13745"/>
                  </a:cubicBezTo>
                  <a:cubicBezTo>
                    <a:pt x="256340" y="11648"/>
                    <a:pt x="256747" y="9143"/>
                    <a:pt x="256200" y="6754"/>
                  </a:cubicBezTo>
                  <a:cubicBezTo>
                    <a:pt x="256251" y="6207"/>
                    <a:pt x="256251" y="5647"/>
                    <a:pt x="256200" y="5101"/>
                  </a:cubicBezTo>
                  <a:cubicBezTo>
                    <a:pt x="255933" y="4618"/>
                    <a:pt x="255590" y="4198"/>
                    <a:pt x="255183" y="3830"/>
                  </a:cubicBezTo>
                  <a:cubicBezTo>
                    <a:pt x="254141" y="1999"/>
                    <a:pt x="252399" y="664"/>
                    <a:pt x="250352" y="143"/>
                  </a:cubicBezTo>
                  <a:cubicBezTo>
                    <a:pt x="249347" y="-48"/>
                    <a:pt x="248305" y="-48"/>
                    <a:pt x="247300" y="143"/>
                  </a:cubicBezTo>
                  <a:cubicBezTo>
                    <a:pt x="246334" y="156"/>
                    <a:pt x="245380" y="372"/>
                    <a:pt x="244503" y="779"/>
                  </a:cubicBezTo>
                  <a:lnTo>
                    <a:pt x="242596" y="1668"/>
                  </a:lnTo>
                  <a:lnTo>
                    <a:pt x="239417" y="3194"/>
                  </a:lnTo>
                  <a:lnTo>
                    <a:pt x="5340" y="114936"/>
                  </a:lnTo>
                  <a:lnTo>
                    <a:pt x="4323" y="130445"/>
                  </a:lnTo>
                  <a:cubicBezTo>
                    <a:pt x="4323" y="130445"/>
                    <a:pt x="4323" y="131208"/>
                    <a:pt x="4323" y="131589"/>
                  </a:cubicBezTo>
                  <a:cubicBezTo>
                    <a:pt x="4380" y="132225"/>
                    <a:pt x="4380" y="132860"/>
                    <a:pt x="4323" y="133496"/>
                  </a:cubicBezTo>
                  <a:lnTo>
                    <a:pt x="3433" y="135021"/>
                  </a:lnTo>
                  <a:lnTo>
                    <a:pt x="2416" y="136420"/>
                  </a:lnTo>
                  <a:lnTo>
                    <a:pt x="890" y="137564"/>
                  </a:lnTo>
                  <a:cubicBezTo>
                    <a:pt x="890" y="137564"/>
                    <a:pt x="890" y="137564"/>
                    <a:pt x="0" y="138200"/>
                  </a:cubicBezTo>
                  <a:lnTo>
                    <a:pt x="246029" y="20610"/>
                  </a:lnTo>
                  <a:close/>
                </a:path>
              </a:pathLst>
            </a:custGeom>
            <a:solidFill>
              <a:srgbClr val="000000"/>
            </a:solidFill>
            <a:ln w="12685"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C2CF6038-53D6-4E9F-ABAF-8AAE3FE32786}"/>
                </a:ext>
              </a:extLst>
            </p:cNvPr>
            <p:cNvSpPr/>
            <p:nvPr/>
          </p:nvSpPr>
          <p:spPr>
            <a:xfrm>
              <a:off x="998609" y="3319633"/>
              <a:ext cx="115067" cy="62417"/>
            </a:xfrm>
            <a:custGeom>
              <a:avLst/>
              <a:gdLst>
                <a:gd name="connsiteX0" fmla="*/ 14240 w 115067"/>
                <a:gd name="connsiteY0" fmla="*/ 62418 h 62417"/>
                <a:gd name="connsiteX1" fmla="*/ 114178 w 115067"/>
                <a:gd name="connsiteY1" fmla="*/ 14619 h 62417"/>
                <a:gd name="connsiteX2" fmla="*/ 115068 w 115067"/>
                <a:gd name="connsiteY2" fmla="*/ 13984 h 62417"/>
                <a:gd name="connsiteX3" fmla="*/ 109855 w 115067"/>
                <a:gd name="connsiteY3" fmla="*/ 15509 h 62417"/>
                <a:gd name="connsiteX4" fmla="*/ 101717 w 115067"/>
                <a:gd name="connsiteY4" fmla="*/ 5593 h 62417"/>
                <a:gd name="connsiteX5" fmla="*/ 101717 w 115067"/>
                <a:gd name="connsiteY5" fmla="*/ 0 h 62417"/>
                <a:gd name="connsiteX6" fmla="*/ 0 w 115067"/>
                <a:gd name="connsiteY6" fmla="*/ 48688 h 62417"/>
                <a:gd name="connsiteX7" fmla="*/ 4323 w 115067"/>
                <a:gd name="connsiteY7" fmla="*/ 52884 h 6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067" h="62417">
                  <a:moveTo>
                    <a:pt x="14240" y="62418"/>
                  </a:moveTo>
                  <a:lnTo>
                    <a:pt x="114178" y="14619"/>
                  </a:lnTo>
                  <a:cubicBezTo>
                    <a:pt x="114178" y="14619"/>
                    <a:pt x="114178" y="14619"/>
                    <a:pt x="115068" y="13984"/>
                  </a:cubicBezTo>
                  <a:cubicBezTo>
                    <a:pt x="113547" y="15051"/>
                    <a:pt x="111714" y="15598"/>
                    <a:pt x="109855" y="15509"/>
                  </a:cubicBezTo>
                  <a:cubicBezTo>
                    <a:pt x="104892" y="14975"/>
                    <a:pt x="101272" y="10564"/>
                    <a:pt x="101717" y="5593"/>
                  </a:cubicBezTo>
                  <a:lnTo>
                    <a:pt x="101717" y="0"/>
                  </a:lnTo>
                  <a:lnTo>
                    <a:pt x="0" y="48688"/>
                  </a:lnTo>
                  <a:lnTo>
                    <a:pt x="4323" y="52884"/>
                  </a:lnTo>
                  <a:close/>
                </a:path>
              </a:pathLst>
            </a:custGeom>
            <a:solidFill>
              <a:srgbClr val="000000"/>
            </a:solidFill>
            <a:ln w="12685"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47C8043A-67DE-4329-ABA9-AC126123A03B}"/>
                </a:ext>
              </a:extLst>
            </p:cNvPr>
            <p:cNvSpPr/>
            <p:nvPr/>
          </p:nvSpPr>
          <p:spPr>
            <a:xfrm>
              <a:off x="975468" y="3357770"/>
              <a:ext cx="28099" cy="27967"/>
            </a:xfrm>
            <a:custGeom>
              <a:avLst/>
              <a:gdLst>
                <a:gd name="connsiteX0" fmla="*/ 12715 w 28099"/>
                <a:gd name="connsiteY0" fmla="*/ 12585 h 27967"/>
                <a:gd name="connsiteX1" fmla="*/ 687 w 28099"/>
                <a:gd name="connsiteY1" fmla="*/ 13272 h 27967"/>
                <a:gd name="connsiteX2" fmla="*/ 0 w 28099"/>
                <a:gd name="connsiteY2" fmla="*/ 12585 h 27967"/>
                <a:gd name="connsiteX3" fmla="*/ 3942 w 28099"/>
                <a:gd name="connsiteY3" fmla="*/ 16526 h 27967"/>
                <a:gd name="connsiteX4" fmla="*/ 6866 w 28099"/>
                <a:gd name="connsiteY4" fmla="*/ 19450 h 27967"/>
                <a:gd name="connsiteX5" fmla="*/ 15385 w 28099"/>
                <a:gd name="connsiteY5" fmla="*/ 27967 h 27967"/>
                <a:gd name="connsiteX6" fmla="*/ 15385 w 28099"/>
                <a:gd name="connsiteY6" fmla="*/ 15255 h 27967"/>
                <a:gd name="connsiteX7" fmla="*/ 27788 w 28099"/>
                <a:gd name="connsiteY7" fmla="*/ 14937 h 27967"/>
                <a:gd name="connsiteX8" fmla="*/ 28099 w 28099"/>
                <a:gd name="connsiteY8" fmla="*/ 15255 h 27967"/>
                <a:gd name="connsiteX9" fmla="*/ 23776 w 28099"/>
                <a:gd name="connsiteY9" fmla="*/ 11060 h 27967"/>
                <a:gd name="connsiteX10" fmla="*/ 12587 w 28099"/>
                <a:gd name="connsiteY10" fmla="*/ 0 h 27967"/>
                <a:gd name="connsiteX11" fmla="*/ 12715 w 28099"/>
                <a:gd name="connsiteY11" fmla="*/ 12585 h 27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99" h="27967">
                  <a:moveTo>
                    <a:pt x="12715" y="12585"/>
                  </a:moveTo>
                  <a:cubicBezTo>
                    <a:pt x="9583" y="16094"/>
                    <a:pt x="4198" y="16399"/>
                    <a:pt x="687" y="13272"/>
                  </a:cubicBezTo>
                  <a:cubicBezTo>
                    <a:pt x="445" y="13056"/>
                    <a:pt x="216" y="12827"/>
                    <a:pt x="0" y="12585"/>
                  </a:cubicBezTo>
                  <a:lnTo>
                    <a:pt x="3942" y="16526"/>
                  </a:lnTo>
                  <a:lnTo>
                    <a:pt x="6866" y="19450"/>
                  </a:lnTo>
                  <a:lnTo>
                    <a:pt x="15385" y="27967"/>
                  </a:lnTo>
                  <a:cubicBezTo>
                    <a:pt x="12310" y="24293"/>
                    <a:pt x="12310" y="18929"/>
                    <a:pt x="15385" y="15255"/>
                  </a:cubicBezTo>
                  <a:cubicBezTo>
                    <a:pt x="18724" y="11746"/>
                    <a:pt x="24277" y="11606"/>
                    <a:pt x="27788" y="14937"/>
                  </a:cubicBezTo>
                  <a:cubicBezTo>
                    <a:pt x="27895" y="15039"/>
                    <a:pt x="27998" y="15153"/>
                    <a:pt x="28099" y="15255"/>
                  </a:cubicBezTo>
                  <a:lnTo>
                    <a:pt x="23776" y="11060"/>
                  </a:lnTo>
                  <a:lnTo>
                    <a:pt x="12587" y="0"/>
                  </a:lnTo>
                  <a:cubicBezTo>
                    <a:pt x="15732" y="3585"/>
                    <a:pt x="15785" y="8937"/>
                    <a:pt x="12715" y="12585"/>
                  </a:cubicBezTo>
                  <a:close/>
                </a:path>
              </a:pathLst>
            </a:custGeom>
            <a:solidFill>
              <a:srgbClr val="000000"/>
            </a:solidFill>
            <a:ln w="12685"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0E42AFBC-8207-4DB2-AB95-930C26AD6DD0}"/>
                </a:ext>
              </a:extLst>
            </p:cNvPr>
            <p:cNvSpPr/>
            <p:nvPr/>
          </p:nvSpPr>
          <p:spPr>
            <a:xfrm>
              <a:off x="988293" y="3369792"/>
              <a:ext cx="168104" cy="161883"/>
            </a:xfrm>
            <a:custGeom>
              <a:avLst/>
              <a:gdLst>
                <a:gd name="connsiteX0" fmla="*/ 162638 w 168104"/>
                <a:gd name="connsiteY0" fmla="*/ 157562 h 161883"/>
                <a:gd name="connsiteX1" fmla="*/ 168105 w 168104"/>
                <a:gd name="connsiteY1" fmla="*/ 155019 h 161883"/>
                <a:gd name="connsiteX2" fmla="*/ 24557 w 168104"/>
                <a:gd name="connsiteY2" fmla="*/ 12259 h 161883"/>
                <a:gd name="connsiteX3" fmla="*/ 15021 w 168104"/>
                <a:gd name="connsiteY3" fmla="*/ 2725 h 161883"/>
                <a:gd name="connsiteX4" fmla="*/ 2617 w 168104"/>
                <a:gd name="connsiteY4" fmla="*/ 2420 h 161883"/>
                <a:gd name="connsiteX5" fmla="*/ 2306 w 168104"/>
                <a:gd name="connsiteY5" fmla="*/ 2725 h 161883"/>
                <a:gd name="connsiteX6" fmla="*/ 2306 w 168104"/>
                <a:gd name="connsiteY6" fmla="*/ 15437 h 161883"/>
                <a:gd name="connsiteX7" fmla="*/ 150305 w 168104"/>
                <a:gd name="connsiteY7" fmla="*/ 161884 h 16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104" h="161883">
                  <a:moveTo>
                    <a:pt x="162638" y="157562"/>
                  </a:moveTo>
                  <a:lnTo>
                    <a:pt x="168105" y="155019"/>
                  </a:lnTo>
                  <a:lnTo>
                    <a:pt x="24557" y="12259"/>
                  </a:lnTo>
                  <a:lnTo>
                    <a:pt x="15021" y="2725"/>
                  </a:lnTo>
                  <a:cubicBezTo>
                    <a:pt x="11682" y="-784"/>
                    <a:pt x="6128" y="-924"/>
                    <a:pt x="2617" y="2420"/>
                  </a:cubicBezTo>
                  <a:cubicBezTo>
                    <a:pt x="2511" y="2508"/>
                    <a:pt x="2408" y="2623"/>
                    <a:pt x="2306" y="2725"/>
                  </a:cubicBezTo>
                  <a:cubicBezTo>
                    <a:pt x="-769" y="6398"/>
                    <a:pt x="-769" y="11763"/>
                    <a:pt x="2306" y="15437"/>
                  </a:cubicBezTo>
                  <a:lnTo>
                    <a:pt x="150305" y="161884"/>
                  </a:lnTo>
                  <a:close/>
                </a:path>
              </a:pathLst>
            </a:custGeom>
            <a:solidFill>
              <a:srgbClr val="000000"/>
            </a:solidFill>
            <a:ln w="12685"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0A8B2087-8C37-4DD1-813E-66B82323FB89}"/>
                </a:ext>
              </a:extLst>
            </p:cNvPr>
            <p:cNvSpPr/>
            <p:nvPr/>
          </p:nvSpPr>
          <p:spPr>
            <a:xfrm>
              <a:off x="3180827" y="4589346"/>
              <a:ext cx="85315" cy="349082"/>
            </a:xfrm>
            <a:custGeom>
              <a:avLst/>
              <a:gdLst>
                <a:gd name="connsiteX0" fmla="*/ 15893 w 85315"/>
                <a:gd name="connsiteY0" fmla="*/ 342472 h 349082"/>
                <a:gd name="connsiteX1" fmla="*/ 16529 w 85315"/>
                <a:gd name="connsiteY1" fmla="*/ 349082 h 349082"/>
                <a:gd name="connsiteX2" fmla="*/ 16529 w 85315"/>
                <a:gd name="connsiteY2" fmla="*/ 349082 h 349082"/>
                <a:gd name="connsiteX3" fmla="*/ 85315 w 85315"/>
                <a:gd name="connsiteY3" fmla="*/ 3814 h 349082"/>
                <a:gd name="connsiteX4" fmla="*/ 74940 w 85315"/>
                <a:gd name="connsiteY4" fmla="*/ 10945 h 349082"/>
                <a:gd name="connsiteX5" fmla="*/ 74889 w 85315"/>
                <a:gd name="connsiteY5" fmla="*/ 10932 h 349082"/>
                <a:gd name="connsiteX6" fmla="*/ 68024 w 85315"/>
                <a:gd name="connsiteY6" fmla="*/ 0 h 349082"/>
                <a:gd name="connsiteX7" fmla="*/ 0 w 85315"/>
                <a:gd name="connsiteY7" fmla="*/ 341073 h 349082"/>
                <a:gd name="connsiteX8" fmla="*/ 3687 w 85315"/>
                <a:gd name="connsiteY8" fmla="*/ 339039 h 349082"/>
                <a:gd name="connsiteX9" fmla="*/ 15448 w 85315"/>
                <a:gd name="connsiteY9" fmla="*/ 341671 h 349082"/>
                <a:gd name="connsiteX10" fmla="*/ 15893 w 85315"/>
                <a:gd name="connsiteY10" fmla="*/ 342472 h 34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315" h="349082">
                  <a:moveTo>
                    <a:pt x="15893" y="342472"/>
                  </a:moveTo>
                  <a:cubicBezTo>
                    <a:pt x="16911" y="344518"/>
                    <a:pt x="17139" y="346870"/>
                    <a:pt x="16529" y="349082"/>
                  </a:cubicBezTo>
                  <a:lnTo>
                    <a:pt x="16529" y="349082"/>
                  </a:lnTo>
                  <a:lnTo>
                    <a:pt x="85315" y="3814"/>
                  </a:lnTo>
                  <a:cubicBezTo>
                    <a:pt x="84425" y="8644"/>
                    <a:pt x="79772" y="11835"/>
                    <a:pt x="74940" y="10945"/>
                  </a:cubicBezTo>
                  <a:cubicBezTo>
                    <a:pt x="74927" y="10945"/>
                    <a:pt x="74902" y="10932"/>
                    <a:pt x="74889" y="10932"/>
                  </a:cubicBezTo>
                  <a:cubicBezTo>
                    <a:pt x="69981" y="9801"/>
                    <a:pt x="66917" y="4907"/>
                    <a:pt x="68024" y="0"/>
                  </a:cubicBezTo>
                  <a:lnTo>
                    <a:pt x="0" y="341073"/>
                  </a:lnTo>
                  <a:lnTo>
                    <a:pt x="3687" y="339039"/>
                  </a:lnTo>
                  <a:cubicBezTo>
                    <a:pt x="7654" y="336522"/>
                    <a:pt x="12918" y="337692"/>
                    <a:pt x="15448" y="341671"/>
                  </a:cubicBezTo>
                  <a:cubicBezTo>
                    <a:pt x="15614" y="341925"/>
                    <a:pt x="15753" y="342192"/>
                    <a:pt x="15893" y="342472"/>
                  </a:cubicBezTo>
                  <a:close/>
                </a:path>
              </a:pathLst>
            </a:custGeom>
            <a:solidFill>
              <a:srgbClr val="000000"/>
            </a:solidFill>
            <a:ln w="12685"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DFA56902-814C-44C0-90E8-84BCE6596E2C}"/>
                </a:ext>
              </a:extLst>
            </p:cNvPr>
            <p:cNvSpPr/>
            <p:nvPr/>
          </p:nvSpPr>
          <p:spPr>
            <a:xfrm>
              <a:off x="2635495" y="5136615"/>
              <a:ext cx="185761" cy="108945"/>
            </a:xfrm>
            <a:custGeom>
              <a:avLst/>
              <a:gdLst>
                <a:gd name="connsiteX0" fmla="*/ 181311 w 185761"/>
                <a:gd name="connsiteY0" fmla="*/ 19069 h 108945"/>
                <a:gd name="connsiteX1" fmla="*/ 185761 w 185761"/>
                <a:gd name="connsiteY1" fmla="*/ 16526 h 108945"/>
                <a:gd name="connsiteX2" fmla="*/ 174140 w 185761"/>
                <a:gd name="connsiteY2" fmla="*/ 13348 h 108945"/>
                <a:gd name="connsiteX3" fmla="*/ 173809 w 185761"/>
                <a:gd name="connsiteY3" fmla="*/ 12712 h 108945"/>
                <a:gd name="connsiteX4" fmla="*/ 177497 w 185761"/>
                <a:gd name="connsiteY4" fmla="*/ 0 h 108945"/>
                <a:gd name="connsiteX5" fmla="*/ 1017 w 185761"/>
                <a:gd name="connsiteY5" fmla="*/ 99157 h 108945"/>
                <a:gd name="connsiteX6" fmla="*/ 0 w 185761"/>
                <a:gd name="connsiteY6" fmla="*/ 100046 h 108945"/>
                <a:gd name="connsiteX7" fmla="*/ 11316 w 185761"/>
                <a:gd name="connsiteY7" fmla="*/ 100046 h 108945"/>
                <a:gd name="connsiteX8" fmla="*/ 20089 w 185761"/>
                <a:gd name="connsiteY8" fmla="*/ 108945 h 108945"/>
                <a:gd name="connsiteX9" fmla="*/ 177751 w 185761"/>
                <a:gd name="connsiteY9" fmla="*/ 19959 h 10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61" h="108945">
                  <a:moveTo>
                    <a:pt x="181311" y="19069"/>
                  </a:moveTo>
                  <a:lnTo>
                    <a:pt x="185761" y="16526"/>
                  </a:lnTo>
                  <a:cubicBezTo>
                    <a:pt x="181680" y="18852"/>
                    <a:pt x="176467" y="17442"/>
                    <a:pt x="174140" y="13348"/>
                  </a:cubicBezTo>
                  <a:cubicBezTo>
                    <a:pt x="174026" y="13145"/>
                    <a:pt x="173911" y="12928"/>
                    <a:pt x="173809" y="12712"/>
                  </a:cubicBezTo>
                  <a:cubicBezTo>
                    <a:pt x="171419" y="8174"/>
                    <a:pt x="173047" y="2555"/>
                    <a:pt x="177497" y="0"/>
                  </a:cubicBezTo>
                  <a:lnTo>
                    <a:pt x="1017" y="99157"/>
                  </a:lnTo>
                  <a:lnTo>
                    <a:pt x="0" y="100046"/>
                  </a:lnTo>
                  <a:cubicBezTo>
                    <a:pt x="3204" y="97123"/>
                    <a:pt x="8112" y="97123"/>
                    <a:pt x="11316" y="100046"/>
                  </a:cubicBezTo>
                  <a:lnTo>
                    <a:pt x="20089" y="108945"/>
                  </a:lnTo>
                  <a:lnTo>
                    <a:pt x="177751" y="19959"/>
                  </a:lnTo>
                  <a:close/>
                </a:path>
              </a:pathLst>
            </a:custGeom>
            <a:solidFill>
              <a:srgbClr val="000000"/>
            </a:solidFill>
            <a:ln w="12685"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EE92A509-C877-4D6A-A136-8839CE55C9D7}"/>
                </a:ext>
              </a:extLst>
            </p:cNvPr>
            <p:cNvSpPr/>
            <p:nvPr/>
          </p:nvSpPr>
          <p:spPr>
            <a:xfrm>
              <a:off x="2632825" y="5248102"/>
              <a:ext cx="889" cy="1398"/>
            </a:xfrm>
            <a:custGeom>
              <a:avLst/>
              <a:gdLst>
                <a:gd name="connsiteX0" fmla="*/ 890 w 889"/>
                <a:gd name="connsiteY0" fmla="*/ 1399 h 1398"/>
                <a:gd name="connsiteX1" fmla="*/ 0 w 889"/>
                <a:gd name="connsiteY1" fmla="*/ 0 h 1398"/>
                <a:gd name="connsiteX2" fmla="*/ 0 w 889"/>
                <a:gd name="connsiteY2" fmla="*/ 0 h 1398"/>
              </a:gdLst>
              <a:ahLst/>
              <a:cxnLst>
                <a:cxn ang="0">
                  <a:pos x="connsiteX0" y="connsiteY0"/>
                </a:cxn>
                <a:cxn ang="0">
                  <a:pos x="connsiteX1" y="connsiteY1"/>
                </a:cxn>
                <a:cxn ang="0">
                  <a:pos x="connsiteX2" y="connsiteY2"/>
                </a:cxn>
              </a:cxnLst>
              <a:rect l="l" t="t" r="r" b="b"/>
              <a:pathLst>
                <a:path w="889" h="1398">
                  <a:moveTo>
                    <a:pt x="890" y="1399"/>
                  </a:moveTo>
                  <a:cubicBezTo>
                    <a:pt x="509" y="992"/>
                    <a:pt x="203" y="521"/>
                    <a:pt x="0" y="0"/>
                  </a:cubicBezTo>
                  <a:lnTo>
                    <a:pt x="0" y="0"/>
                  </a:lnTo>
                  <a:close/>
                </a:path>
              </a:pathLst>
            </a:custGeom>
            <a:solidFill>
              <a:srgbClr val="000000"/>
            </a:solidFill>
            <a:ln w="12685"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9A3214FA-A100-492D-BF77-7D5677EE3B03}"/>
                </a:ext>
              </a:extLst>
            </p:cNvPr>
            <p:cNvSpPr/>
            <p:nvPr/>
          </p:nvSpPr>
          <p:spPr>
            <a:xfrm>
              <a:off x="2798751" y="2761686"/>
              <a:ext cx="50095" cy="35721"/>
            </a:xfrm>
            <a:custGeom>
              <a:avLst/>
              <a:gdLst>
                <a:gd name="connsiteX0" fmla="*/ 0 w 50095"/>
                <a:gd name="connsiteY0" fmla="*/ 21357 h 35721"/>
                <a:gd name="connsiteX1" fmla="*/ 5722 w 50095"/>
                <a:gd name="connsiteY1" fmla="*/ 20086 h 35721"/>
                <a:gd name="connsiteX2" fmla="*/ 12969 w 50095"/>
                <a:gd name="connsiteY2" fmla="*/ 30764 h 35721"/>
                <a:gd name="connsiteX3" fmla="*/ 12206 w 50095"/>
                <a:gd name="connsiteY3" fmla="*/ 35722 h 35721"/>
                <a:gd name="connsiteX4" fmla="*/ 13478 w 50095"/>
                <a:gd name="connsiteY4" fmla="*/ 35086 h 35721"/>
                <a:gd name="connsiteX5" fmla="*/ 50096 w 50095"/>
                <a:gd name="connsiteY5" fmla="*/ 17289 h 35721"/>
                <a:gd name="connsiteX6" fmla="*/ 38589 w 50095"/>
                <a:gd name="connsiteY6" fmla="*/ 13157 h 35721"/>
                <a:gd name="connsiteX7" fmla="*/ 38398 w 50095"/>
                <a:gd name="connsiteY7" fmla="*/ 12712 h 35721"/>
                <a:gd name="connsiteX8" fmla="*/ 42721 w 50095"/>
                <a:gd name="connsiteY8" fmla="*/ 0 h 35721"/>
                <a:gd name="connsiteX9" fmla="*/ 38398 w 50095"/>
                <a:gd name="connsiteY9" fmla="*/ 2034 h 35721"/>
                <a:gd name="connsiteX10" fmla="*/ 254 w 50095"/>
                <a:gd name="connsiteY10" fmla="*/ 20467 h 3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095" h="35721">
                  <a:moveTo>
                    <a:pt x="0" y="21357"/>
                  </a:moveTo>
                  <a:cubicBezTo>
                    <a:pt x="1704" y="20289"/>
                    <a:pt x="3725" y="19844"/>
                    <a:pt x="5722" y="20086"/>
                  </a:cubicBezTo>
                  <a:cubicBezTo>
                    <a:pt x="10617" y="21102"/>
                    <a:pt x="13834" y="25832"/>
                    <a:pt x="12969" y="30764"/>
                  </a:cubicBezTo>
                  <a:lnTo>
                    <a:pt x="12206" y="35722"/>
                  </a:lnTo>
                  <a:lnTo>
                    <a:pt x="13478" y="35086"/>
                  </a:lnTo>
                  <a:lnTo>
                    <a:pt x="50096" y="17289"/>
                  </a:lnTo>
                  <a:cubicBezTo>
                    <a:pt x="45773" y="19323"/>
                    <a:pt x="40623" y="17467"/>
                    <a:pt x="38589" y="13157"/>
                  </a:cubicBezTo>
                  <a:cubicBezTo>
                    <a:pt x="38525" y="13005"/>
                    <a:pt x="38462" y="12865"/>
                    <a:pt x="38398" y="12712"/>
                  </a:cubicBezTo>
                  <a:cubicBezTo>
                    <a:pt x="36110" y="8009"/>
                    <a:pt x="38030" y="2326"/>
                    <a:pt x="42721" y="0"/>
                  </a:cubicBezTo>
                  <a:lnTo>
                    <a:pt x="38398" y="2034"/>
                  </a:lnTo>
                  <a:lnTo>
                    <a:pt x="254" y="20467"/>
                  </a:lnTo>
                  <a:close/>
                </a:path>
              </a:pathLst>
            </a:custGeom>
            <a:solidFill>
              <a:srgbClr val="000000"/>
            </a:solidFill>
            <a:ln w="12685"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841420CA-1686-4EAB-A80C-D46A3784682E}"/>
                </a:ext>
              </a:extLst>
            </p:cNvPr>
            <p:cNvSpPr/>
            <p:nvPr/>
          </p:nvSpPr>
          <p:spPr>
            <a:xfrm>
              <a:off x="2836185" y="2690751"/>
              <a:ext cx="154430" cy="89049"/>
            </a:xfrm>
            <a:custGeom>
              <a:avLst/>
              <a:gdLst>
                <a:gd name="connsiteX0" fmla="*/ 965 w 154430"/>
                <a:gd name="connsiteY0" fmla="*/ 83648 h 89049"/>
                <a:gd name="connsiteX1" fmla="*/ 12217 w 154430"/>
                <a:gd name="connsiteY1" fmla="*/ 88415 h 89049"/>
                <a:gd name="connsiteX2" fmla="*/ 12662 w 154430"/>
                <a:gd name="connsiteY2" fmla="*/ 88224 h 89049"/>
                <a:gd name="connsiteX3" fmla="*/ 154431 w 154430"/>
                <a:gd name="connsiteY3" fmla="*/ 19196 h 89049"/>
                <a:gd name="connsiteX4" fmla="*/ 150235 w 154430"/>
                <a:gd name="connsiteY4" fmla="*/ 15636 h 89049"/>
                <a:gd name="connsiteX5" fmla="*/ 148836 w 154430"/>
                <a:gd name="connsiteY5" fmla="*/ 2924 h 89049"/>
                <a:gd name="connsiteX6" fmla="*/ 153286 w 154430"/>
                <a:gd name="connsiteY6" fmla="*/ 0 h 89049"/>
                <a:gd name="connsiteX7" fmla="*/ 152015 w 154430"/>
                <a:gd name="connsiteY7" fmla="*/ 0 h 89049"/>
                <a:gd name="connsiteX8" fmla="*/ 20418 w 154430"/>
                <a:gd name="connsiteY8" fmla="*/ 63562 h 89049"/>
                <a:gd name="connsiteX9" fmla="*/ 5287 w 154430"/>
                <a:gd name="connsiteY9" fmla="*/ 70935 h 89049"/>
                <a:gd name="connsiteX10" fmla="*/ 965 w 154430"/>
                <a:gd name="connsiteY10" fmla="*/ 83648 h 8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30" h="89049">
                  <a:moveTo>
                    <a:pt x="965" y="83648"/>
                  </a:moveTo>
                  <a:cubicBezTo>
                    <a:pt x="2757" y="88071"/>
                    <a:pt x="7792" y="90207"/>
                    <a:pt x="12217" y="88415"/>
                  </a:cubicBezTo>
                  <a:cubicBezTo>
                    <a:pt x="12370" y="88351"/>
                    <a:pt x="12522" y="88287"/>
                    <a:pt x="12662" y="88224"/>
                  </a:cubicBezTo>
                  <a:lnTo>
                    <a:pt x="154431" y="19196"/>
                  </a:lnTo>
                  <a:lnTo>
                    <a:pt x="150235" y="15636"/>
                  </a:lnTo>
                  <a:cubicBezTo>
                    <a:pt x="146624" y="12356"/>
                    <a:pt x="146026" y="6903"/>
                    <a:pt x="148836" y="2924"/>
                  </a:cubicBezTo>
                  <a:cubicBezTo>
                    <a:pt x="149930" y="1462"/>
                    <a:pt x="151506" y="432"/>
                    <a:pt x="153286" y="0"/>
                  </a:cubicBezTo>
                  <a:cubicBezTo>
                    <a:pt x="153286" y="0"/>
                    <a:pt x="152523" y="0"/>
                    <a:pt x="152015" y="0"/>
                  </a:cubicBezTo>
                  <a:lnTo>
                    <a:pt x="20418" y="63562"/>
                  </a:lnTo>
                  <a:lnTo>
                    <a:pt x="5287" y="70935"/>
                  </a:lnTo>
                  <a:cubicBezTo>
                    <a:pt x="596" y="73262"/>
                    <a:pt x="-1324" y="78944"/>
                    <a:pt x="965" y="83648"/>
                  </a:cubicBezTo>
                  <a:close/>
                </a:path>
              </a:pathLst>
            </a:custGeom>
            <a:solidFill>
              <a:srgbClr val="000000"/>
            </a:solidFill>
            <a:ln w="12685"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7B5BB188-11C7-4D75-973A-DB75AE53E1D8}"/>
                </a:ext>
              </a:extLst>
            </p:cNvPr>
            <p:cNvSpPr/>
            <p:nvPr/>
          </p:nvSpPr>
          <p:spPr>
            <a:xfrm>
              <a:off x="2741535" y="3088267"/>
              <a:ext cx="23649" cy="48942"/>
            </a:xfrm>
            <a:custGeom>
              <a:avLst/>
              <a:gdLst>
                <a:gd name="connsiteX0" fmla="*/ 4832 w 23649"/>
                <a:gd name="connsiteY0" fmla="*/ 38264 h 48942"/>
                <a:gd name="connsiteX1" fmla="*/ 16516 w 23649"/>
                <a:gd name="connsiteY1" fmla="*/ 42421 h 48942"/>
                <a:gd name="connsiteX2" fmla="*/ 16656 w 23649"/>
                <a:gd name="connsiteY2" fmla="*/ 42714 h 48942"/>
                <a:gd name="connsiteX3" fmla="*/ 16656 w 23649"/>
                <a:gd name="connsiteY3" fmla="*/ 48943 h 48942"/>
                <a:gd name="connsiteX4" fmla="*/ 16656 w 23649"/>
                <a:gd name="connsiteY4" fmla="*/ 48180 h 48942"/>
                <a:gd name="connsiteX5" fmla="*/ 23649 w 23649"/>
                <a:gd name="connsiteY5" fmla="*/ 3051 h 48942"/>
                <a:gd name="connsiteX6" fmla="*/ 13897 w 23649"/>
                <a:gd name="connsiteY6" fmla="*/ 10716 h 48942"/>
                <a:gd name="connsiteX7" fmla="*/ 13605 w 23649"/>
                <a:gd name="connsiteY7" fmla="*/ 10678 h 48942"/>
                <a:gd name="connsiteX8" fmla="*/ 6230 w 23649"/>
                <a:gd name="connsiteY8" fmla="*/ 0 h 48942"/>
                <a:gd name="connsiteX9" fmla="*/ 3560 w 23649"/>
                <a:gd name="connsiteY9" fmla="*/ 17416 h 48942"/>
                <a:gd name="connsiteX10" fmla="*/ 0 w 23649"/>
                <a:gd name="connsiteY10" fmla="*/ 40425 h 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49" h="48942">
                  <a:moveTo>
                    <a:pt x="4832" y="38264"/>
                  </a:moveTo>
                  <a:cubicBezTo>
                    <a:pt x="9205" y="36179"/>
                    <a:pt x="14444" y="38048"/>
                    <a:pt x="16516" y="42421"/>
                  </a:cubicBezTo>
                  <a:cubicBezTo>
                    <a:pt x="16567" y="42510"/>
                    <a:pt x="16618" y="42612"/>
                    <a:pt x="16656" y="42714"/>
                  </a:cubicBezTo>
                  <a:cubicBezTo>
                    <a:pt x="17356" y="44735"/>
                    <a:pt x="17356" y="46921"/>
                    <a:pt x="16656" y="48943"/>
                  </a:cubicBezTo>
                  <a:cubicBezTo>
                    <a:pt x="16707" y="48688"/>
                    <a:pt x="16707" y="48434"/>
                    <a:pt x="16656" y="48180"/>
                  </a:cubicBezTo>
                  <a:lnTo>
                    <a:pt x="23649" y="3051"/>
                  </a:lnTo>
                  <a:cubicBezTo>
                    <a:pt x="23077" y="7856"/>
                    <a:pt x="18703" y="11289"/>
                    <a:pt x="13897" y="10716"/>
                  </a:cubicBezTo>
                  <a:cubicBezTo>
                    <a:pt x="13795" y="10704"/>
                    <a:pt x="13706" y="10691"/>
                    <a:pt x="13605" y="10678"/>
                  </a:cubicBezTo>
                  <a:cubicBezTo>
                    <a:pt x="8646" y="9712"/>
                    <a:pt x="5378" y="4970"/>
                    <a:pt x="6230" y="0"/>
                  </a:cubicBezTo>
                  <a:lnTo>
                    <a:pt x="3560" y="17416"/>
                  </a:lnTo>
                  <a:lnTo>
                    <a:pt x="0" y="40425"/>
                  </a:lnTo>
                  <a:close/>
                </a:path>
              </a:pathLst>
            </a:custGeom>
            <a:solidFill>
              <a:srgbClr val="000000"/>
            </a:solidFill>
            <a:ln w="12685"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845AA6CB-F55C-470E-9B22-C0229F63181F}"/>
                </a:ext>
              </a:extLst>
            </p:cNvPr>
            <p:cNvSpPr/>
            <p:nvPr/>
          </p:nvSpPr>
          <p:spPr>
            <a:xfrm>
              <a:off x="2747887" y="2781707"/>
              <a:ext cx="63591" cy="317341"/>
            </a:xfrm>
            <a:custGeom>
              <a:avLst/>
              <a:gdLst>
                <a:gd name="connsiteX0" fmla="*/ 7634 w 63591"/>
                <a:gd name="connsiteY0" fmla="*/ 317238 h 317341"/>
                <a:gd name="connsiteX1" fmla="*/ 17641 w 63591"/>
                <a:gd name="connsiteY1" fmla="*/ 309903 h 317341"/>
                <a:gd name="connsiteX2" fmla="*/ 17679 w 63591"/>
                <a:gd name="connsiteY2" fmla="*/ 309611 h 317341"/>
                <a:gd name="connsiteX3" fmla="*/ 62689 w 63591"/>
                <a:gd name="connsiteY3" fmla="*/ 17988 h 317341"/>
                <a:gd name="connsiteX4" fmla="*/ 62689 w 63591"/>
                <a:gd name="connsiteY4" fmla="*/ 15700 h 317341"/>
                <a:gd name="connsiteX5" fmla="*/ 63451 w 63591"/>
                <a:gd name="connsiteY5" fmla="*/ 10743 h 317341"/>
                <a:gd name="connsiteX6" fmla="*/ 56204 w 63591"/>
                <a:gd name="connsiteY6" fmla="*/ 64 h 317341"/>
                <a:gd name="connsiteX7" fmla="*/ 50482 w 63591"/>
                <a:gd name="connsiteY7" fmla="*/ 1335 h 317341"/>
                <a:gd name="connsiteX8" fmla="*/ 48957 w 63591"/>
                <a:gd name="connsiteY8" fmla="*/ 2479 h 317341"/>
                <a:gd name="connsiteX9" fmla="*/ 47812 w 63591"/>
                <a:gd name="connsiteY9" fmla="*/ 3751 h 317341"/>
                <a:gd name="connsiteX10" fmla="*/ 46922 w 63591"/>
                <a:gd name="connsiteY10" fmla="*/ 5276 h 317341"/>
                <a:gd name="connsiteX11" fmla="*/ 46287 w 63591"/>
                <a:gd name="connsiteY11" fmla="*/ 7056 h 317341"/>
                <a:gd name="connsiteX12" fmla="*/ 46287 w 63591"/>
                <a:gd name="connsiteY12" fmla="*/ 7819 h 317341"/>
                <a:gd name="connsiteX13" fmla="*/ 895 w 63591"/>
                <a:gd name="connsiteY13" fmla="*/ 301729 h 317341"/>
                <a:gd name="connsiteX14" fmla="*/ 132 w 63591"/>
                <a:gd name="connsiteY14" fmla="*/ 306560 h 317341"/>
                <a:gd name="connsiteX15" fmla="*/ 7634 w 63591"/>
                <a:gd name="connsiteY15" fmla="*/ 317238 h 31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91" h="317341">
                  <a:moveTo>
                    <a:pt x="7634" y="317238"/>
                  </a:moveTo>
                  <a:cubicBezTo>
                    <a:pt x="12428" y="317976"/>
                    <a:pt x="16903" y="314696"/>
                    <a:pt x="17641" y="309903"/>
                  </a:cubicBezTo>
                  <a:cubicBezTo>
                    <a:pt x="17653" y="309801"/>
                    <a:pt x="17666" y="309712"/>
                    <a:pt x="17679" y="309611"/>
                  </a:cubicBezTo>
                  <a:lnTo>
                    <a:pt x="62689" y="17988"/>
                  </a:lnTo>
                  <a:lnTo>
                    <a:pt x="62689" y="15700"/>
                  </a:lnTo>
                  <a:lnTo>
                    <a:pt x="63451" y="10743"/>
                  </a:lnTo>
                  <a:cubicBezTo>
                    <a:pt x="64316" y="5810"/>
                    <a:pt x="61099" y="1081"/>
                    <a:pt x="56204" y="64"/>
                  </a:cubicBezTo>
                  <a:cubicBezTo>
                    <a:pt x="54208" y="-178"/>
                    <a:pt x="52186" y="267"/>
                    <a:pt x="50482" y="1335"/>
                  </a:cubicBezTo>
                  <a:lnTo>
                    <a:pt x="48957" y="2479"/>
                  </a:lnTo>
                  <a:lnTo>
                    <a:pt x="47812" y="3751"/>
                  </a:lnTo>
                  <a:cubicBezTo>
                    <a:pt x="47469" y="4234"/>
                    <a:pt x="47177" y="4742"/>
                    <a:pt x="46922" y="5276"/>
                  </a:cubicBezTo>
                  <a:cubicBezTo>
                    <a:pt x="46922" y="5276"/>
                    <a:pt x="46922" y="6420"/>
                    <a:pt x="46287" y="7056"/>
                  </a:cubicBezTo>
                  <a:cubicBezTo>
                    <a:pt x="45651" y="7691"/>
                    <a:pt x="46287" y="7056"/>
                    <a:pt x="46287" y="7819"/>
                  </a:cubicBezTo>
                  <a:lnTo>
                    <a:pt x="895" y="301729"/>
                  </a:lnTo>
                  <a:lnTo>
                    <a:pt x="132" y="306560"/>
                  </a:lnTo>
                  <a:cubicBezTo>
                    <a:pt x="-719" y="311569"/>
                    <a:pt x="2625" y="316336"/>
                    <a:pt x="7634" y="317238"/>
                  </a:cubicBezTo>
                  <a:close/>
                </a:path>
              </a:pathLst>
            </a:custGeom>
            <a:solidFill>
              <a:srgbClr val="000000"/>
            </a:solidFill>
            <a:ln w="12685"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2B0CEBC0-EC76-4667-82B5-E4AF3CEA1B5F}"/>
                </a:ext>
              </a:extLst>
            </p:cNvPr>
            <p:cNvSpPr/>
            <p:nvPr/>
          </p:nvSpPr>
          <p:spPr>
            <a:xfrm>
              <a:off x="1393399" y="3808679"/>
              <a:ext cx="890" cy="1271"/>
            </a:xfrm>
            <a:custGeom>
              <a:avLst/>
              <a:gdLst>
                <a:gd name="connsiteX0" fmla="*/ 0 w 890"/>
                <a:gd name="connsiteY0" fmla="*/ 0 h 1271"/>
                <a:gd name="connsiteX1" fmla="*/ 0 w 890"/>
                <a:gd name="connsiteY1" fmla="*/ 0 h 1271"/>
                <a:gd name="connsiteX2" fmla="*/ 890 w 890"/>
                <a:gd name="connsiteY2" fmla="*/ 1271 h 1271"/>
                <a:gd name="connsiteX3" fmla="*/ 890 w 890"/>
                <a:gd name="connsiteY3" fmla="*/ 1271 h 1271"/>
                <a:gd name="connsiteX4" fmla="*/ 0 w 890"/>
                <a:gd name="connsiteY4" fmla="*/ 0 h 1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 h="1271">
                  <a:moveTo>
                    <a:pt x="0" y="0"/>
                  </a:moveTo>
                  <a:lnTo>
                    <a:pt x="0" y="0"/>
                  </a:lnTo>
                  <a:cubicBezTo>
                    <a:pt x="267" y="445"/>
                    <a:pt x="560" y="864"/>
                    <a:pt x="890" y="1271"/>
                  </a:cubicBezTo>
                  <a:lnTo>
                    <a:pt x="890" y="1271"/>
                  </a:lnTo>
                  <a:cubicBezTo>
                    <a:pt x="890" y="1271"/>
                    <a:pt x="254" y="508"/>
                    <a:pt x="0" y="0"/>
                  </a:cubicBezTo>
                  <a:close/>
                </a:path>
              </a:pathLst>
            </a:custGeom>
            <a:solidFill>
              <a:srgbClr val="000000"/>
            </a:solidFill>
            <a:ln w="12685"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F58D3FBD-641F-4162-B338-F415073C392E}"/>
                </a:ext>
              </a:extLst>
            </p:cNvPr>
            <p:cNvSpPr/>
            <p:nvPr/>
          </p:nvSpPr>
          <p:spPr>
            <a:xfrm>
              <a:off x="1397722" y="3723887"/>
              <a:ext cx="152703" cy="83520"/>
            </a:xfrm>
            <a:custGeom>
              <a:avLst/>
              <a:gdLst>
                <a:gd name="connsiteX0" fmla="*/ 9790 w 152703"/>
                <a:gd name="connsiteY0" fmla="*/ 74113 h 83520"/>
                <a:gd name="connsiteX1" fmla="*/ 19199 w 152703"/>
                <a:gd name="connsiteY1" fmla="*/ 83520 h 83520"/>
                <a:gd name="connsiteX2" fmla="*/ 152703 w 152703"/>
                <a:gd name="connsiteY2" fmla="*/ 17162 h 83520"/>
                <a:gd name="connsiteX3" fmla="*/ 141018 w 152703"/>
                <a:gd name="connsiteY3" fmla="*/ 13005 h 83520"/>
                <a:gd name="connsiteX4" fmla="*/ 140878 w 152703"/>
                <a:gd name="connsiteY4" fmla="*/ 12712 h 83520"/>
                <a:gd name="connsiteX5" fmla="*/ 145074 w 152703"/>
                <a:gd name="connsiteY5" fmla="*/ 0 h 83520"/>
                <a:gd name="connsiteX6" fmla="*/ 13605 w 152703"/>
                <a:gd name="connsiteY6" fmla="*/ 65596 h 83520"/>
                <a:gd name="connsiteX7" fmla="*/ 0 w 152703"/>
                <a:gd name="connsiteY7" fmla="*/ 72333 h 83520"/>
                <a:gd name="connsiteX8" fmla="*/ 9790 w 152703"/>
                <a:gd name="connsiteY8" fmla="*/ 74113 h 8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703" h="83520">
                  <a:moveTo>
                    <a:pt x="9790" y="74113"/>
                  </a:moveTo>
                  <a:lnTo>
                    <a:pt x="19199" y="83520"/>
                  </a:lnTo>
                  <a:lnTo>
                    <a:pt x="152703" y="17162"/>
                  </a:lnTo>
                  <a:cubicBezTo>
                    <a:pt x="148329" y="19246"/>
                    <a:pt x="143091" y="17378"/>
                    <a:pt x="141018" y="13005"/>
                  </a:cubicBezTo>
                  <a:cubicBezTo>
                    <a:pt x="140967" y="12916"/>
                    <a:pt x="140917" y="12814"/>
                    <a:pt x="140878" y="12712"/>
                  </a:cubicBezTo>
                  <a:cubicBezTo>
                    <a:pt x="138564" y="8034"/>
                    <a:pt x="140433" y="2377"/>
                    <a:pt x="145074" y="0"/>
                  </a:cubicBezTo>
                  <a:lnTo>
                    <a:pt x="13605" y="65596"/>
                  </a:lnTo>
                  <a:lnTo>
                    <a:pt x="0" y="72333"/>
                  </a:lnTo>
                  <a:cubicBezTo>
                    <a:pt x="3306" y="70757"/>
                    <a:pt x="7247" y="71482"/>
                    <a:pt x="9790" y="74113"/>
                  </a:cubicBezTo>
                  <a:close/>
                </a:path>
              </a:pathLst>
            </a:custGeom>
            <a:solidFill>
              <a:srgbClr val="000000"/>
            </a:solidFill>
            <a:ln w="12685"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7F7CE3E5-18BA-4413-B410-A7CC96C49561}"/>
                </a:ext>
              </a:extLst>
            </p:cNvPr>
            <p:cNvSpPr/>
            <p:nvPr/>
          </p:nvSpPr>
          <p:spPr>
            <a:xfrm>
              <a:off x="1396578" y="3796347"/>
              <a:ext cx="1271" cy="889"/>
            </a:xfrm>
            <a:custGeom>
              <a:avLst/>
              <a:gdLst>
                <a:gd name="connsiteX0" fmla="*/ 0 w 1271"/>
                <a:gd name="connsiteY0" fmla="*/ 890 h 889"/>
                <a:gd name="connsiteX1" fmla="*/ 1272 w 1271"/>
                <a:gd name="connsiteY1" fmla="*/ 0 h 889"/>
                <a:gd name="connsiteX2" fmla="*/ 1272 w 1271"/>
                <a:gd name="connsiteY2" fmla="*/ 0 h 889"/>
                <a:gd name="connsiteX3" fmla="*/ 0 w 1271"/>
                <a:gd name="connsiteY3" fmla="*/ 890 h 889"/>
              </a:gdLst>
              <a:ahLst/>
              <a:cxnLst>
                <a:cxn ang="0">
                  <a:pos x="connsiteX0" y="connsiteY0"/>
                </a:cxn>
                <a:cxn ang="0">
                  <a:pos x="connsiteX1" y="connsiteY1"/>
                </a:cxn>
                <a:cxn ang="0">
                  <a:pos x="connsiteX2" y="connsiteY2"/>
                </a:cxn>
                <a:cxn ang="0">
                  <a:pos x="connsiteX3" y="connsiteY3"/>
                </a:cxn>
              </a:cxnLst>
              <a:rect l="l" t="t" r="r" b="b"/>
              <a:pathLst>
                <a:path w="1271" h="889">
                  <a:moveTo>
                    <a:pt x="0" y="890"/>
                  </a:moveTo>
                  <a:cubicBezTo>
                    <a:pt x="0" y="890"/>
                    <a:pt x="763" y="127"/>
                    <a:pt x="1272" y="0"/>
                  </a:cubicBezTo>
                  <a:lnTo>
                    <a:pt x="1272" y="0"/>
                  </a:lnTo>
                  <a:cubicBezTo>
                    <a:pt x="826" y="254"/>
                    <a:pt x="394" y="559"/>
                    <a:pt x="0" y="890"/>
                  </a:cubicBezTo>
                  <a:close/>
                </a:path>
              </a:pathLst>
            </a:custGeom>
            <a:solidFill>
              <a:srgbClr val="000000"/>
            </a:solidFill>
            <a:ln w="12685"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063E41C1-22A2-4781-99D2-7D7BC2EC2992}"/>
                </a:ext>
              </a:extLst>
            </p:cNvPr>
            <p:cNvSpPr/>
            <p:nvPr/>
          </p:nvSpPr>
          <p:spPr>
            <a:xfrm>
              <a:off x="1794166" y="4194118"/>
              <a:ext cx="129689" cy="125725"/>
            </a:xfrm>
            <a:custGeom>
              <a:avLst/>
              <a:gdLst>
                <a:gd name="connsiteX0" fmla="*/ 16020 w 129689"/>
                <a:gd name="connsiteY0" fmla="*/ 3178 h 125725"/>
                <a:gd name="connsiteX1" fmla="*/ 12715 w 129689"/>
                <a:gd name="connsiteY1" fmla="*/ 0 h 125725"/>
                <a:gd name="connsiteX2" fmla="*/ 12715 w 129689"/>
                <a:gd name="connsiteY2" fmla="*/ 12712 h 125725"/>
                <a:gd name="connsiteX3" fmla="*/ 687 w 129689"/>
                <a:gd name="connsiteY3" fmla="*/ 13399 h 125725"/>
                <a:gd name="connsiteX4" fmla="*/ 0 w 129689"/>
                <a:gd name="connsiteY4" fmla="*/ 12712 h 125725"/>
                <a:gd name="connsiteX5" fmla="*/ 114432 w 129689"/>
                <a:gd name="connsiteY5" fmla="*/ 125725 h 125725"/>
                <a:gd name="connsiteX6" fmla="*/ 114432 w 129689"/>
                <a:gd name="connsiteY6" fmla="*/ 125725 h 125725"/>
                <a:gd name="connsiteX7" fmla="*/ 114432 w 129689"/>
                <a:gd name="connsiteY7" fmla="*/ 121022 h 125725"/>
                <a:gd name="connsiteX8" fmla="*/ 124260 w 129689"/>
                <a:gd name="connsiteY8" fmla="*/ 112873 h 125725"/>
                <a:gd name="connsiteX9" fmla="*/ 124349 w 129689"/>
                <a:gd name="connsiteY9" fmla="*/ 112886 h 125725"/>
                <a:gd name="connsiteX10" fmla="*/ 129690 w 129689"/>
                <a:gd name="connsiteY10" fmla="*/ 115937 h 125725"/>
                <a:gd name="connsiteX11" fmla="*/ 129690 w 129689"/>
                <a:gd name="connsiteY11" fmla="*/ 115937 h 12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689" h="125725">
                  <a:moveTo>
                    <a:pt x="16020" y="3178"/>
                  </a:moveTo>
                  <a:lnTo>
                    <a:pt x="12715" y="0"/>
                  </a:lnTo>
                  <a:cubicBezTo>
                    <a:pt x="15957" y="3623"/>
                    <a:pt x="15957" y="9089"/>
                    <a:pt x="12715" y="12712"/>
                  </a:cubicBezTo>
                  <a:cubicBezTo>
                    <a:pt x="9587" y="16221"/>
                    <a:pt x="4196" y="16526"/>
                    <a:pt x="687" y="13399"/>
                  </a:cubicBezTo>
                  <a:cubicBezTo>
                    <a:pt x="445" y="13183"/>
                    <a:pt x="216" y="12954"/>
                    <a:pt x="0" y="12712"/>
                  </a:cubicBezTo>
                  <a:lnTo>
                    <a:pt x="114432" y="125725"/>
                  </a:lnTo>
                  <a:lnTo>
                    <a:pt x="114432" y="125725"/>
                  </a:lnTo>
                  <a:lnTo>
                    <a:pt x="114432" y="121022"/>
                  </a:lnTo>
                  <a:cubicBezTo>
                    <a:pt x="114902" y="116064"/>
                    <a:pt x="119302" y="112416"/>
                    <a:pt x="124260" y="112873"/>
                  </a:cubicBezTo>
                  <a:cubicBezTo>
                    <a:pt x="124286" y="112886"/>
                    <a:pt x="124324" y="112886"/>
                    <a:pt x="124349" y="112886"/>
                  </a:cubicBezTo>
                  <a:cubicBezTo>
                    <a:pt x="126435" y="113229"/>
                    <a:pt x="128342" y="114309"/>
                    <a:pt x="129690" y="115937"/>
                  </a:cubicBezTo>
                  <a:lnTo>
                    <a:pt x="129690" y="115937"/>
                  </a:lnTo>
                  <a:close/>
                </a:path>
              </a:pathLst>
            </a:custGeom>
            <a:solidFill>
              <a:srgbClr val="000000"/>
            </a:solidFill>
            <a:ln w="12685"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9CA85DB3-61E3-49C6-B8D8-3DFD6259B1C3}"/>
                </a:ext>
              </a:extLst>
            </p:cNvPr>
            <p:cNvSpPr/>
            <p:nvPr/>
          </p:nvSpPr>
          <p:spPr>
            <a:xfrm>
              <a:off x="3687" y="4733378"/>
              <a:ext cx="46281" cy="39789"/>
            </a:xfrm>
            <a:custGeom>
              <a:avLst/>
              <a:gdLst>
                <a:gd name="connsiteX0" fmla="*/ 34457 w 46281"/>
                <a:gd name="connsiteY0" fmla="*/ 12712 h 39789"/>
                <a:gd name="connsiteX1" fmla="*/ 38653 w 46281"/>
                <a:gd name="connsiteY1" fmla="*/ 0 h 39789"/>
                <a:gd name="connsiteX2" fmla="*/ 27845 w 46281"/>
                <a:gd name="connsiteY2" fmla="*/ 5466 h 39789"/>
                <a:gd name="connsiteX3" fmla="*/ 0 w 46281"/>
                <a:gd name="connsiteY3" fmla="*/ 19450 h 39789"/>
                <a:gd name="connsiteX4" fmla="*/ 0 w 46281"/>
                <a:gd name="connsiteY4" fmla="*/ 39790 h 39789"/>
                <a:gd name="connsiteX5" fmla="*/ 46281 w 46281"/>
                <a:gd name="connsiteY5" fmla="*/ 16526 h 39789"/>
                <a:gd name="connsiteX6" fmla="*/ 34468 w 46281"/>
                <a:gd name="connsiteY6" fmla="*/ 12738 h 39789"/>
                <a:gd name="connsiteX7" fmla="*/ 34457 w 46281"/>
                <a:gd name="connsiteY7" fmla="*/ 12712 h 3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81" h="39789">
                  <a:moveTo>
                    <a:pt x="34457" y="12712"/>
                  </a:moveTo>
                  <a:cubicBezTo>
                    <a:pt x="32217" y="8034"/>
                    <a:pt x="34069" y="2428"/>
                    <a:pt x="38653" y="0"/>
                  </a:cubicBezTo>
                  <a:lnTo>
                    <a:pt x="27845" y="5466"/>
                  </a:lnTo>
                  <a:lnTo>
                    <a:pt x="0" y="19450"/>
                  </a:lnTo>
                  <a:lnTo>
                    <a:pt x="0" y="39790"/>
                  </a:lnTo>
                  <a:lnTo>
                    <a:pt x="46281" y="16526"/>
                  </a:lnTo>
                  <a:cubicBezTo>
                    <a:pt x="41972" y="18738"/>
                    <a:pt x="36683" y="17047"/>
                    <a:pt x="34468" y="12738"/>
                  </a:cubicBezTo>
                  <a:cubicBezTo>
                    <a:pt x="34464" y="12725"/>
                    <a:pt x="34461" y="12725"/>
                    <a:pt x="34457" y="12712"/>
                  </a:cubicBezTo>
                  <a:close/>
                </a:path>
              </a:pathLst>
            </a:custGeom>
            <a:solidFill>
              <a:srgbClr val="000000"/>
            </a:solidFill>
            <a:ln w="12685"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C42221EF-CB2C-4385-9F3E-F9EB438FEA4B}"/>
                </a:ext>
              </a:extLst>
            </p:cNvPr>
            <p:cNvSpPr/>
            <p:nvPr/>
          </p:nvSpPr>
          <p:spPr>
            <a:xfrm>
              <a:off x="768092" y="3116616"/>
              <a:ext cx="4068" cy="15127"/>
            </a:xfrm>
            <a:custGeom>
              <a:avLst/>
              <a:gdLst>
                <a:gd name="connsiteX0" fmla="*/ 4069 w 4068"/>
                <a:gd name="connsiteY0" fmla="*/ 0 h 15127"/>
                <a:gd name="connsiteX1" fmla="*/ 4069 w 4068"/>
                <a:gd name="connsiteY1" fmla="*/ 0 h 15127"/>
                <a:gd name="connsiteX2" fmla="*/ 0 w 4068"/>
                <a:gd name="connsiteY2" fmla="*/ 7500 h 15127"/>
                <a:gd name="connsiteX3" fmla="*/ 3433 w 4068"/>
                <a:gd name="connsiteY3" fmla="*/ 15128 h 15127"/>
              </a:gdLst>
              <a:ahLst/>
              <a:cxnLst>
                <a:cxn ang="0">
                  <a:pos x="connsiteX0" y="connsiteY0"/>
                </a:cxn>
                <a:cxn ang="0">
                  <a:pos x="connsiteX1" y="connsiteY1"/>
                </a:cxn>
                <a:cxn ang="0">
                  <a:pos x="connsiteX2" y="connsiteY2"/>
                </a:cxn>
                <a:cxn ang="0">
                  <a:pos x="connsiteX3" y="connsiteY3"/>
                </a:cxn>
              </a:cxnLst>
              <a:rect l="l" t="t" r="r" b="b"/>
              <a:pathLst>
                <a:path w="4068" h="15127">
                  <a:moveTo>
                    <a:pt x="4069" y="0"/>
                  </a:moveTo>
                  <a:lnTo>
                    <a:pt x="4069" y="0"/>
                  </a:lnTo>
                  <a:cubicBezTo>
                    <a:pt x="4078" y="3025"/>
                    <a:pt x="2544" y="5860"/>
                    <a:pt x="0" y="7500"/>
                  </a:cubicBezTo>
                  <a:cubicBezTo>
                    <a:pt x="2275" y="9369"/>
                    <a:pt x="3545" y="12191"/>
                    <a:pt x="3433" y="15128"/>
                  </a:cubicBezTo>
                  <a:close/>
                </a:path>
              </a:pathLst>
            </a:custGeom>
            <a:solidFill>
              <a:srgbClr val="000000"/>
            </a:solidFill>
            <a:ln w="12685"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7D42C955-0AA3-4219-865C-1033C79138BA}"/>
                </a:ext>
              </a:extLst>
            </p:cNvPr>
            <p:cNvSpPr/>
            <p:nvPr/>
          </p:nvSpPr>
          <p:spPr>
            <a:xfrm>
              <a:off x="763515" y="3106954"/>
              <a:ext cx="1525" cy="12712"/>
            </a:xfrm>
            <a:custGeom>
              <a:avLst/>
              <a:gdLst>
                <a:gd name="connsiteX0" fmla="*/ 0 w 1525"/>
                <a:gd name="connsiteY0" fmla="*/ 0 h 12712"/>
                <a:gd name="connsiteX1" fmla="*/ 1526 w 1525"/>
                <a:gd name="connsiteY1" fmla="*/ 0 h 12712"/>
                <a:gd name="connsiteX2" fmla="*/ 254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1526" y="0"/>
                  </a:lnTo>
                  <a:lnTo>
                    <a:pt x="254" y="0"/>
                  </a:lnTo>
                  <a:close/>
                </a:path>
              </a:pathLst>
            </a:custGeom>
            <a:solidFill>
              <a:srgbClr val="000000"/>
            </a:solidFill>
            <a:ln w="12685"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5B8B7101-533D-488B-8C21-8C6EBC4FE93D}"/>
                </a:ext>
              </a:extLst>
            </p:cNvPr>
            <p:cNvSpPr/>
            <p:nvPr/>
          </p:nvSpPr>
          <p:spPr>
            <a:xfrm>
              <a:off x="756395" y="3123735"/>
              <a:ext cx="14755" cy="18941"/>
            </a:xfrm>
            <a:custGeom>
              <a:avLst/>
              <a:gdLst>
                <a:gd name="connsiteX0" fmla="*/ 11697 w 14755"/>
                <a:gd name="connsiteY0" fmla="*/ 16018 h 18941"/>
                <a:gd name="connsiteX1" fmla="*/ 14749 w 14755"/>
                <a:gd name="connsiteY1" fmla="*/ 18942 h 18941"/>
                <a:gd name="connsiteX2" fmla="*/ 14749 w 14755"/>
                <a:gd name="connsiteY2" fmla="*/ 7628 h 18941"/>
                <a:gd name="connsiteX3" fmla="*/ 11316 w 14755"/>
                <a:gd name="connsiteY3" fmla="*/ 0 h 18941"/>
                <a:gd name="connsiteX4" fmla="*/ 10172 w 14755"/>
                <a:gd name="connsiteY4" fmla="*/ 890 h 18941"/>
                <a:gd name="connsiteX5" fmla="*/ 0 w 14755"/>
                <a:gd name="connsiteY5" fmla="*/ 5721 h 18941"/>
                <a:gd name="connsiteX6" fmla="*/ 2797 w 14755"/>
                <a:gd name="connsiteY6" fmla="*/ 7500 h 1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55" h="18941">
                  <a:moveTo>
                    <a:pt x="11697" y="16018"/>
                  </a:moveTo>
                  <a:lnTo>
                    <a:pt x="14749" y="18942"/>
                  </a:lnTo>
                  <a:lnTo>
                    <a:pt x="14749" y="7628"/>
                  </a:lnTo>
                  <a:cubicBezTo>
                    <a:pt x="14861" y="4691"/>
                    <a:pt x="13591" y="1869"/>
                    <a:pt x="11316" y="0"/>
                  </a:cubicBezTo>
                  <a:cubicBezTo>
                    <a:pt x="10993" y="369"/>
                    <a:pt x="10605" y="661"/>
                    <a:pt x="10172" y="890"/>
                  </a:cubicBezTo>
                  <a:lnTo>
                    <a:pt x="0" y="5721"/>
                  </a:lnTo>
                  <a:cubicBezTo>
                    <a:pt x="1045" y="6115"/>
                    <a:pt x="1997" y="6725"/>
                    <a:pt x="2797" y="7500"/>
                  </a:cubicBezTo>
                  <a:close/>
                </a:path>
              </a:pathLst>
            </a:custGeom>
            <a:solidFill>
              <a:srgbClr val="000000"/>
            </a:solidFill>
            <a:ln w="12685"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2B9A6635-1FCC-4254-87FB-ED0973332A29}"/>
                </a:ext>
              </a:extLst>
            </p:cNvPr>
            <p:cNvSpPr/>
            <p:nvPr/>
          </p:nvSpPr>
          <p:spPr>
            <a:xfrm>
              <a:off x="2335937" y="3710285"/>
              <a:ext cx="10425" cy="9915"/>
            </a:xfrm>
            <a:custGeom>
              <a:avLst/>
              <a:gdLst>
                <a:gd name="connsiteX0" fmla="*/ 5213 w 10425"/>
                <a:gd name="connsiteY0" fmla="*/ 3051 h 9915"/>
                <a:gd name="connsiteX1" fmla="*/ 0 w 10425"/>
                <a:gd name="connsiteY1" fmla="*/ 0 h 9915"/>
                <a:gd name="connsiteX2" fmla="*/ 636 w 10425"/>
                <a:gd name="connsiteY2" fmla="*/ 763 h 9915"/>
                <a:gd name="connsiteX3" fmla="*/ 10426 w 10425"/>
                <a:gd name="connsiteY3" fmla="*/ 9916 h 9915"/>
                <a:gd name="connsiteX4" fmla="*/ 10426 w 10425"/>
                <a:gd name="connsiteY4" fmla="*/ 9916 h 9915"/>
                <a:gd name="connsiteX5" fmla="*/ 8137 w 10425"/>
                <a:gd name="connsiteY5" fmla="*/ 3178 h 9915"/>
                <a:gd name="connsiteX6" fmla="*/ 5213 w 10425"/>
                <a:gd name="connsiteY6" fmla="*/ 3051 h 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5" h="9915">
                  <a:moveTo>
                    <a:pt x="5213" y="3051"/>
                  </a:moveTo>
                  <a:cubicBezTo>
                    <a:pt x="3179" y="2670"/>
                    <a:pt x="1335" y="1589"/>
                    <a:pt x="0" y="0"/>
                  </a:cubicBezTo>
                  <a:cubicBezTo>
                    <a:pt x="0" y="0"/>
                    <a:pt x="0" y="636"/>
                    <a:pt x="636" y="763"/>
                  </a:cubicBezTo>
                  <a:lnTo>
                    <a:pt x="10426" y="9916"/>
                  </a:lnTo>
                  <a:lnTo>
                    <a:pt x="10426" y="9916"/>
                  </a:lnTo>
                  <a:cubicBezTo>
                    <a:pt x="8824" y="8047"/>
                    <a:pt x="7997" y="5632"/>
                    <a:pt x="8137" y="3178"/>
                  </a:cubicBezTo>
                  <a:cubicBezTo>
                    <a:pt x="7158" y="3267"/>
                    <a:pt x="6179" y="3229"/>
                    <a:pt x="5213" y="3051"/>
                  </a:cubicBezTo>
                  <a:close/>
                </a:path>
              </a:pathLst>
            </a:custGeom>
            <a:solidFill>
              <a:srgbClr val="000000"/>
            </a:solidFill>
            <a:ln w="12685"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AAAB1FEA-05E9-4DB4-881C-7CBC9531A1F3}"/>
                </a:ext>
              </a:extLst>
            </p:cNvPr>
            <p:cNvSpPr/>
            <p:nvPr/>
          </p:nvSpPr>
          <p:spPr>
            <a:xfrm>
              <a:off x="2344059" y="3711683"/>
              <a:ext cx="2939" cy="8262"/>
            </a:xfrm>
            <a:custGeom>
              <a:avLst/>
              <a:gdLst>
                <a:gd name="connsiteX0" fmla="*/ 15 w 2939"/>
                <a:gd name="connsiteY0" fmla="*/ 1525 h 8262"/>
                <a:gd name="connsiteX1" fmla="*/ 2304 w 2939"/>
                <a:gd name="connsiteY1" fmla="*/ 8263 h 8262"/>
                <a:gd name="connsiteX2" fmla="*/ 2940 w 2939"/>
                <a:gd name="connsiteY2" fmla="*/ 3559 h 8262"/>
                <a:gd name="connsiteX3" fmla="*/ 2940 w 2939"/>
                <a:gd name="connsiteY3" fmla="*/ 0 h 8262"/>
                <a:gd name="connsiteX4" fmla="*/ 15 w 2939"/>
                <a:gd name="connsiteY4" fmla="*/ 1525 h 8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 h="8262">
                  <a:moveTo>
                    <a:pt x="15" y="1525"/>
                  </a:moveTo>
                  <a:cubicBezTo>
                    <a:pt x="-125" y="3979"/>
                    <a:pt x="702" y="6394"/>
                    <a:pt x="2304" y="8263"/>
                  </a:cubicBezTo>
                  <a:lnTo>
                    <a:pt x="2940" y="3559"/>
                  </a:lnTo>
                  <a:lnTo>
                    <a:pt x="2940" y="0"/>
                  </a:lnTo>
                  <a:cubicBezTo>
                    <a:pt x="2075" y="699"/>
                    <a:pt x="1083" y="1220"/>
                    <a:pt x="15" y="1525"/>
                  </a:cubicBezTo>
                  <a:close/>
                </a:path>
              </a:pathLst>
            </a:custGeom>
            <a:solidFill>
              <a:srgbClr val="000000"/>
            </a:solidFill>
            <a:ln w="12685"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9CF3B735-C8A9-4DF7-9D65-9E014F440FC3}"/>
                </a:ext>
              </a:extLst>
            </p:cNvPr>
            <p:cNvSpPr/>
            <p:nvPr/>
          </p:nvSpPr>
          <p:spPr>
            <a:xfrm>
              <a:off x="751690" y="3148143"/>
              <a:ext cx="4322" cy="5085"/>
            </a:xfrm>
            <a:custGeom>
              <a:avLst/>
              <a:gdLst>
                <a:gd name="connsiteX0" fmla="*/ 4323 w 4322"/>
                <a:gd name="connsiteY0" fmla="*/ 5085 h 5085"/>
                <a:gd name="connsiteX1" fmla="*/ 1907 w 4322"/>
                <a:gd name="connsiteY1" fmla="*/ 0 h 5085"/>
                <a:gd name="connsiteX2" fmla="*/ 0 w 4322"/>
                <a:gd name="connsiteY2" fmla="*/ 890 h 5085"/>
                <a:gd name="connsiteX3" fmla="*/ 2797 w 4322"/>
                <a:gd name="connsiteY3" fmla="*/ 3559 h 5085"/>
              </a:gdLst>
              <a:ahLst/>
              <a:cxnLst>
                <a:cxn ang="0">
                  <a:pos x="connsiteX0" y="connsiteY0"/>
                </a:cxn>
                <a:cxn ang="0">
                  <a:pos x="connsiteX1" y="connsiteY1"/>
                </a:cxn>
                <a:cxn ang="0">
                  <a:pos x="connsiteX2" y="connsiteY2"/>
                </a:cxn>
                <a:cxn ang="0">
                  <a:pos x="connsiteX3" y="connsiteY3"/>
                </a:cxn>
              </a:cxnLst>
              <a:rect l="l" t="t" r="r" b="b"/>
              <a:pathLst>
                <a:path w="4322" h="5085">
                  <a:moveTo>
                    <a:pt x="4323" y="5085"/>
                  </a:moveTo>
                  <a:cubicBezTo>
                    <a:pt x="2973" y="3712"/>
                    <a:pt x="2122" y="1920"/>
                    <a:pt x="1907" y="0"/>
                  </a:cubicBezTo>
                  <a:lnTo>
                    <a:pt x="0" y="890"/>
                  </a:lnTo>
                  <a:lnTo>
                    <a:pt x="2797" y="3559"/>
                  </a:lnTo>
                  <a:close/>
                </a:path>
              </a:pathLst>
            </a:custGeom>
            <a:solidFill>
              <a:srgbClr val="000000"/>
            </a:solidFill>
            <a:ln w="12685"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CAF9C56A-1749-4792-A489-2ED69599FE5B}"/>
                </a:ext>
              </a:extLst>
            </p:cNvPr>
            <p:cNvSpPr/>
            <p:nvPr/>
          </p:nvSpPr>
          <p:spPr>
            <a:xfrm>
              <a:off x="759573" y="3131235"/>
              <a:ext cx="8518" cy="8517"/>
            </a:xfrm>
            <a:custGeom>
              <a:avLst/>
              <a:gdLst>
                <a:gd name="connsiteX0" fmla="*/ 0 w 8518"/>
                <a:gd name="connsiteY0" fmla="*/ 0 h 8517"/>
                <a:gd name="connsiteX1" fmla="*/ 2034 w 8518"/>
                <a:gd name="connsiteY1" fmla="*/ 2924 h 8517"/>
                <a:gd name="connsiteX2" fmla="*/ 2670 w 8518"/>
                <a:gd name="connsiteY2" fmla="*/ 6102 h 8517"/>
                <a:gd name="connsiteX3" fmla="*/ 8519 w 8518"/>
                <a:gd name="connsiteY3" fmla="*/ 8517 h 8517"/>
              </a:gdLst>
              <a:ahLst/>
              <a:cxnLst>
                <a:cxn ang="0">
                  <a:pos x="connsiteX0" y="connsiteY0"/>
                </a:cxn>
                <a:cxn ang="0">
                  <a:pos x="connsiteX1" y="connsiteY1"/>
                </a:cxn>
                <a:cxn ang="0">
                  <a:pos x="connsiteX2" y="connsiteY2"/>
                </a:cxn>
                <a:cxn ang="0">
                  <a:pos x="connsiteX3" y="connsiteY3"/>
                </a:cxn>
              </a:cxnLst>
              <a:rect l="l" t="t" r="r" b="b"/>
              <a:pathLst>
                <a:path w="8518" h="8517">
                  <a:moveTo>
                    <a:pt x="0" y="0"/>
                  </a:moveTo>
                  <a:cubicBezTo>
                    <a:pt x="820" y="865"/>
                    <a:pt x="1507" y="1856"/>
                    <a:pt x="2034" y="2924"/>
                  </a:cubicBezTo>
                  <a:cubicBezTo>
                    <a:pt x="2381" y="3954"/>
                    <a:pt x="2595" y="5021"/>
                    <a:pt x="2670" y="6102"/>
                  </a:cubicBezTo>
                  <a:cubicBezTo>
                    <a:pt x="4868" y="6076"/>
                    <a:pt x="6983" y="6941"/>
                    <a:pt x="8519" y="8517"/>
                  </a:cubicBezTo>
                  <a:close/>
                </a:path>
              </a:pathLst>
            </a:custGeom>
            <a:solidFill>
              <a:srgbClr val="000000"/>
            </a:solidFill>
            <a:ln w="12685"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AEDC4BE5-4CB1-4E09-96EB-C36A509A5C25}"/>
                </a:ext>
              </a:extLst>
            </p:cNvPr>
            <p:cNvSpPr/>
            <p:nvPr/>
          </p:nvSpPr>
          <p:spPr>
            <a:xfrm>
              <a:off x="754742" y="3138099"/>
              <a:ext cx="236081" cy="235482"/>
            </a:xfrm>
            <a:custGeom>
              <a:avLst/>
              <a:gdLst>
                <a:gd name="connsiteX0" fmla="*/ 220981 w 236081"/>
                <a:gd name="connsiteY0" fmla="*/ 232637 h 235482"/>
                <a:gd name="connsiteX1" fmla="*/ 233009 w 236081"/>
                <a:gd name="connsiteY1" fmla="*/ 233324 h 235482"/>
                <a:gd name="connsiteX2" fmla="*/ 233695 w 236081"/>
                <a:gd name="connsiteY2" fmla="*/ 232637 h 235482"/>
                <a:gd name="connsiteX3" fmla="*/ 233695 w 236081"/>
                <a:gd name="connsiteY3" fmla="*/ 219925 h 235482"/>
                <a:gd name="connsiteX4" fmla="*/ 17546 w 236081"/>
                <a:gd name="connsiteY4" fmla="*/ 5340 h 235482"/>
                <a:gd name="connsiteX5" fmla="*/ 14495 w 236081"/>
                <a:gd name="connsiteY5" fmla="*/ 2416 h 235482"/>
                <a:gd name="connsiteX6" fmla="*/ 8646 w 236081"/>
                <a:gd name="connsiteY6" fmla="*/ 1 h 235482"/>
                <a:gd name="connsiteX7" fmla="*/ 3560 w 236081"/>
                <a:gd name="connsiteY7" fmla="*/ 9153 h 235482"/>
                <a:gd name="connsiteX8" fmla="*/ 0 w 236081"/>
                <a:gd name="connsiteY8" fmla="*/ 10806 h 235482"/>
                <a:gd name="connsiteX9" fmla="*/ 2416 w 236081"/>
                <a:gd name="connsiteY9" fmla="*/ 15891 h 23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081" h="235482">
                  <a:moveTo>
                    <a:pt x="220981" y="232637"/>
                  </a:moveTo>
                  <a:cubicBezTo>
                    <a:pt x="224112" y="236146"/>
                    <a:pt x="229497" y="236451"/>
                    <a:pt x="233009" y="233324"/>
                  </a:cubicBezTo>
                  <a:cubicBezTo>
                    <a:pt x="233251" y="233108"/>
                    <a:pt x="233479" y="232879"/>
                    <a:pt x="233695" y="232637"/>
                  </a:cubicBezTo>
                  <a:cubicBezTo>
                    <a:pt x="236877" y="229001"/>
                    <a:pt x="236877" y="223561"/>
                    <a:pt x="233695" y="219925"/>
                  </a:cubicBezTo>
                  <a:lnTo>
                    <a:pt x="17546" y="5340"/>
                  </a:lnTo>
                  <a:lnTo>
                    <a:pt x="14495" y="2416"/>
                  </a:lnTo>
                  <a:cubicBezTo>
                    <a:pt x="12959" y="839"/>
                    <a:pt x="10844" y="-25"/>
                    <a:pt x="8646" y="1"/>
                  </a:cubicBezTo>
                  <a:cubicBezTo>
                    <a:pt x="8963" y="3801"/>
                    <a:pt x="6954" y="7412"/>
                    <a:pt x="3560" y="9153"/>
                  </a:cubicBezTo>
                  <a:lnTo>
                    <a:pt x="0" y="10806"/>
                  </a:lnTo>
                  <a:cubicBezTo>
                    <a:pt x="215" y="12726"/>
                    <a:pt x="1066" y="14518"/>
                    <a:pt x="2416" y="15891"/>
                  </a:cubicBezTo>
                  <a:close/>
                </a:path>
              </a:pathLst>
            </a:custGeom>
            <a:solidFill>
              <a:srgbClr val="000000"/>
            </a:solidFill>
            <a:ln w="12685"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FACCCB25-F8BD-4B22-B683-AAAABADAB168}"/>
                </a:ext>
              </a:extLst>
            </p:cNvPr>
            <p:cNvSpPr/>
            <p:nvPr/>
          </p:nvSpPr>
          <p:spPr>
            <a:xfrm>
              <a:off x="546730" y="3129455"/>
              <a:ext cx="215546" cy="115555"/>
            </a:xfrm>
            <a:custGeom>
              <a:avLst/>
              <a:gdLst>
                <a:gd name="connsiteX0" fmla="*/ 204960 w 215546"/>
                <a:gd name="connsiteY0" fmla="*/ 19577 h 115555"/>
                <a:gd name="connsiteX1" fmla="*/ 206868 w 215546"/>
                <a:gd name="connsiteY1" fmla="*/ 18687 h 115555"/>
                <a:gd name="connsiteX2" fmla="*/ 210428 w 215546"/>
                <a:gd name="connsiteY2" fmla="*/ 17035 h 115555"/>
                <a:gd name="connsiteX3" fmla="*/ 215514 w 215546"/>
                <a:gd name="connsiteY3" fmla="*/ 7882 h 115555"/>
                <a:gd name="connsiteX4" fmla="*/ 214878 w 215546"/>
                <a:gd name="connsiteY4" fmla="*/ 4704 h 115555"/>
                <a:gd name="connsiteX5" fmla="*/ 212843 w 215546"/>
                <a:gd name="connsiteY5" fmla="*/ 1780 h 115555"/>
                <a:gd name="connsiteX6" fmla="*/ 210046 w 215546"/>
                <a:gd name="connsiteY6" fmla="*/ 0 h 115555"/>
                <a:gd name="connsiteX7" fmla="*/ 210046 w 215546"/>
                <a:gd name="connsiteY7" fmla="*/ 0 h 115555"/>
                <a:gd name="connsiteX8" fmla="*/ 0 w 215546"/>
                <a:gd name="connsiteY8" fmla="*/ 97885 h 115555"/>
                <a:gd name="connsiteX9" fmla="*/ 4832 w 215546"/>
                <a:gd name="connsiteY9" fmla="*/ 102843 h 115555"/>
                <a:gd name="connsiteX10" fmla="*/ 826 w 215546"/>
                <a:gd name="connsiteY10" fmla="*/ 115339 h 115555"/>
                <a:gd name="connsiteX11" fmla="*/ 381 w 215546"/>
                <a:gd name="connsiteY11" fmla="*/ 115556 h 115555"/>
                <a:gd name="connsiteX12" fmla="*/ 204579 w 215546"/>
                <a:gd name="connsiteY12" fmla="*/ 20213 h 11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546" h="115555">
                  <a:moveTo>
                    <a:pt x="204960" y="19577"/>
                  </a:moveTo>
                  <a:lnTo>
                    <a:pt x="206868" y="18687"/>
                  </a:lnTo>
                  <a:lnTo>
                    <a:pt x="210428" y="17035"/>
                  </a:lnTo>
                  <a:cubicBezTo>
                    <a:pt x="213821" y="15293"/>
                    <a:pt x="215830" y="11683"/>
                    <a:pt x="215514" y="7882"/>
                  </a:cubicBezTo>
                  <a:cubicBezTo>
                    <a:pt x="215439" y="6801"/>
                    <a:pt x="215225" y="5733"/>
                    <a:pt x="214878" y="4704"/>
                  </a:cubicBezTo>
                  <a:cubicBezTo>
                    <a:pt x="214350" y="3636"/>
                    <a:pt x="213664" y="2644"/>
                    <a:pt x="212843" y="1780"/>
                  </a:cubicBezTo>
                  <a:cubicBezTo>
                    <a:pt x="212044" y="1004"/>
                    <a:pt x="211091" y="394"/>
                    <a:pt x="210046" y="0"/>
                  </a:cubicBezTo>
                  <a:lnTo>
                    <a:pt x="210046" y="0"/>
                  </a:lnTo>
                  <a:lnTo>
                    <a:pt x="0" y="97885"/>
                  </a:lnTo>
                  <a:cubicBezTo>
                    <a:pt x="2249" y="98763"/>
                    <a:pt x="4010" y="100568"/>
                    <a:pt x="4832" y="102843"/>
                  </a:cubicBezTo>
                  <a:cubicBezTo>
                    <a:pt x="7177" y="107394"/>
                    <a:pt x="5385" y="113001"/>
                    <a:pt x="826" y="115339"/>
                  </a:cubicBezTo>
                  <a:cubicBezTo>
                    <a:pt x="680" y="115416"/>
                    <a:pt x="531" y="115492"/>
                    <a:pt x="381" y="115556"/>
                  </a:cubicBezTo>
                  <a:lnTo>
                    <a:pt x="204579" y="20213"/>
                  </a:lnTo>
                  <a:close/>
                </a:path>
              </a:pathLst>
            </a:custGeom>
            <a:solidFill>
              <a:srgbClr val="000000"/>
            </a:solidFill>
            <a:ln w="12685"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B70541A7-DD02-4B8D-98D2-BD4E46989C99}"/>
                </a:ext>
              </a:extLst>
            </p:cNvPr>
            <p:cNvSpPr/>
            <p:nvPr/>
          </p:nvSpPr>
          <p:spPr>
            <a:xfrm>
              <a:off x="529311" y="3226832"/>
              <a:ext cx="23409" cy="20339"/>
            </a:xfrm>
            <a:custGeom>
              <a:avLst/>
              <a:gdLst>
                <a:gd name="connsiteX0" fmla="*/ 1780 w 23409"/>
                <a:gd name="connsiteY0" fmla="*/ 9916 h 20339"/>
                <a:gd name="connsiteX1" fmla="*/ 2924 w 23409"/>
                <a:gd name="connsiteY1" fmla="*/ 10678 h 20339"/>
                <a:gd name="connsiteX2" fmla="*/ 12460 w 23409"/>
                <a:gd name="connsiteY2" fmla="*/ 20340 h 20339"/>
                <a:gd name="connsiteX3" fmla="*/ 17928 w 23409"/>
                <a:gd name="connsiteY3" fmla="*/ 17670 h 20339"/>
                <a:gd name="connsiteX4" fmla="*/ 22593 w 23409"/>
                <a:gd name="connsiteY4" fmla="*/ 5403 h 20339"/>
                <a:gd name="connsiteX5" fmla="*/ 22378 w 23409"/>
                <a:gd name="connsiteY5" fmla="*/ 4958 h 20339"/>
                <a:gd name="connsiteX6" fmla="*/ 17546 w 23409"/>
                <a:gd name="connsiteY6" fmla="*/ 0 h 20339"/>
                <a:gd name="connsiteX7" fmla="*/ 6230 w 23409"/>
                <a:gd name="connsiteY7" fmla="*/ 5339 h 20339"/>
                <a:gd name="connsiteX8" fmla="*/ 0 w 23409"/>
                <a:gd name="connsiteY8" fmla="*/ 8263 h 20339"/>
                <a:gd name="connsiteX9" fmla="*/ 0 w 23409"/>
                <a:gd name="connsiteY9" fmla="*/ 8263 h 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09" h="20339">
                  <a:moveTo>
                    <a:pt x="1780" y="9916"/>
                  </a:moveTo>
                  <a:lnTo>
                    <a:pt x="2924" y="10678"/>
                  </a:lnTo>
                  <a:lnTo>
                    <a:pt x="12460" y="20340"/>
                  </a:lnTo>
                  <a:lnTo>
                    <a:pt x="17928" y="17670"/>
                  </a:lnTo>
                  <a:cubicBezTo>
                    <a:pt x="22604" y="15573"/>
                    <a:pt x="24692" y="10081"/>
                    <a:pt x="22593" y="5403"/>
                  </a:cubicBezTo>
                  <a:cubicBezTo>
                    <a:pt x="22524" y="5250"/>
                    <a:pt x="22453" y="5110"/>
                    <a:pt x="22378" y="4958"/>
                  </a:cubicBezTo>
                  <a:cubicBezTo>
                    <a:pt x="21556" y="2682"/>
                    <a:pt x="19795" y="877"/>
                    <a:pt x="17546" y="0"/>
                  </a:cubicBezTo>
                  <a:lnTo>
                    <a:pt x="6230" y="5339"/>
                  </a:lnTo>
                  <a:lnTo>
                    <a:pt x="0" y="8263"/>
                  </a:lnTo>
                  <a:lnTo>
                    <a:pt x="0" y="8263"/>
                  </a:lnTo>
                  <a:close/>
                </a:path>
              </a:pathLst>
            </a:custGeom>
            <a:solidFill>
              <a:srgbClr val="000000"/>
            </a:solidFill>
            <a:ln w="12685"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67C29A2A-7D40-4FEC-9D72-AE04F919EC72}"/>
                </a:ext>
              </a:extLst>
            </p:cNvPr>
            <p:cNvSpPr/>
            <p:nvPr/>
          </p:nvSpPr>
          <p:spPr>
            <a:xfrm>
              <a:off x="957159" y="3679902"/>
              <a:ext cx="84552" cy="87461"/>
            </a:xfrm>
            <a:custGeom>
              <a:avLst/>
              <a:gdLst>
                <a:gd name="connsiteX0" fmla="*/ 74635 w 84552"/>
                <a:gd name="connsiteY0" fmla="*/ 83012 h 87461"/>
                <a:gd name="connsiteX1" fmla="*/ 74635 w 84552"/>
                <a:gd name="connsiteY1" fmla="*/ 81868 h 87461"/>
                <a:gd name="connsiteX2" fmla="*/ 74635 w 84552"/>
                <a:gd name="connsiteY2" fmla="*/ 79961 h 87461"/>
                <a:gd name="connsiteX3" fmla="*/ 75652 w 84552"/>
                <a:gd name="connsiteY3" fmla="*/ 78308 h 87461"/>
                <a:gd name="connsiteX4" fmla="*/ 75652 w 84552"/>
                <a:gd name="connsiteY4" fmla="*/ 77164 h 87461"/>
                <a:gd name="connsiteX5" fmla="*/ 75652 w 84552"/>
                <a:gd name="connsiteY5" fmla="*/ 77164 h 87461"/>
                <a:gd name="connsiteX6" fmla="*/ 77178 w 84552"/>
                <a:gd name="connsiteY6" fmla="*/ 76020 h 87461"/>
                <a:gd name="connsiteX7" fmla="*/ 78449 w 84552"/>
                <a:gd name="connsiteY7" fmla="*/ 75130 h 87461"/>
                <a:gd name="connsiteX8" fmla="*/ 79975 w 84552"/>
                <a:gd name="connsiteY8" fmla="*/ 75130 h 87461"/>
                <a:gd name="connsiteX9" fmla="*/ 81882 w 84552"/>
                <a:gd name="connsiteY9" fmla="*/ 75130 h 87461"/>
                <a:gd name="connsiteX10" fmla="*/ 81882 w 84552"/>
                <a:gd name="connsiteY10" fmla="*/ 75130 h 87461"/>
                <a:gd name="connsiteX11" fmla="*/ 83027 w 84552"/>
                <a:gd name="connsiteY11" fmla="*/ 75130 h 87461"/>
                <a:gd name="connsiteX12" fmla="*/ 84553 w 84552"/>
                <a:gd name="connsiteY12" fmla="*/ 75130 h 87461"/>
                <a:gd name="connsiteX13" fmla="*/ 82391 w 84552"/>
                <a:gd name="connsiteY13" fmla="*/ 72969 h 87461"/>
                <a:gd name="connsiteX14" fmla="*/ 12715 w 84552"/>
                <a:gd name="connsiteY14" fmla="*/ 0 h 87461"/>
                <a:gd name="connsiteX15" fmla="*/ 12715 w 84552"/>
                <a:gd name="connsiteY15" fmla="*/ 12712 h 87461"/>
                <a:gd name="connsiteX16" fmla="*/ 687 w 84552"/>
                <a:gd name="connsiteY16" fmla="*/ 13399 h 87461"/>
                <a:gd name="connsiteX17" fmla="*/ 0 w 84552"/>
                <a:gd name="connsiteY17" fmla="*/ 12712 h 87461"/>
                <a:gd name="connsiteX18" fmla="*/ 73745 w 84552"/>
                <a:gd name="connsiteY18" fmla="*/ 87461 h 87461"/>
                <a:gd name="connsiteX19" fmla="*/ 73745 w 84552"/>
                <a:gd name="connsiteY19" fmla="*/ 83139 h 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552" h="87461">
                  <a:moveTo>
                    <a:pt x="74635" y="83012"/>
                  </a:moveTo>
                  <a:cubicBezTo>
                    <a:pt x="74635" y="83012"/>
                    <a:pt x="74635" y="82249"/>
                    <a:pt x="74635" y="81868"/>
                  </a:cubicBezTo>
                  <a:cubicBezTo>
                    <a:pt x="74578" y="81232"/>
                    <a:pt x="74578" y="80597"/>
                    <a:pt x="74635" y="79961"/>
                  </a:cubicBezTo>
                  <a:cubicBezTo>
                    <a:pt x="74898" y="79363"/>
                    <a:pt x="75240" y="78817"/>
                    <a:pt x="75652" y="78308"/>
                  </a:cubicBezTo>
                  <a:lnTo>
                    <a:pt x="75652" y="77164"/>
                  </a:lnTo>
                  <a:lnTo>
                    <a:pt x="75652" y="77164"/>
                  </a:lnTo>
                  <a:cubicBezTo>
                    <a:pt x="76080" y="76681"/>
                    <a:pt x="76598" y="76300"/>
                    <a:pt x="77178" y="76020"/>
                  </a:cubicBezTo>
                  <a:lnTo>
                    <a:pt x="78449" y="75130"/>
                  </a:lnTo>
                  <a:lnTo>
                    <a:pt x="79975" y="75130"/>
                  </a:lnTo>
                  <a:cubicBezTo>
                    <a:pt x="80605" y="75003"/>
                    <a:pt x="81253" y="75003"/>
                    <a:pt x="81882" y="75130"/>
                  </a:cubicBezTo>
                  <a:lnTo>
                    <a:pt x="81882" y="75130"/>
                  </a:lnTo>
                  <a:lnTo>
                    <a:pt x="83027" y="75130"/>
                  </a:lnTo>
                  <a:lnTo>
                    <a:pt x="84553" y="75130"/>
                  </a:lnTo>
                  <a:lnTo>
                    <a:pt x="82391" y="72969"/>
                  </a:lnTo>
                  <a:lnTo>
                    <a:pt x="12715" y="0"/>
                  </a:lnTo>
                  <a:cubicBezTo>
                    <a:pt x="15952" y="3623"/>
                    <a:pt x="15952" y="9089"/>
                    <a:pt x="12715" y="12712"/>
                  </a:cubicBezTo>
                  <a:cubicBezTo>
                    <a:pt x="9583" y="16221"/>
                    <a:pt x="4198" y="16526"/>
                    <a:pt x="687" y="13399"/>
                  </a:cubicBezTo>
                  <a:cubicBezTo>
                    <a:pt x="445" y="13183"/>
                    <a:pt x="216" y="12954"/>
                    <a:pt x="0" y="12712"/>
                  </a:cubicBezTo>
                  <a:lnTo>
                    <a:pt x="73745" y="87461"/>
                  </a:lnTo>
                  <a:lnTo>
                    <a:pt x="73745" y="83139"/>
                  </a:lnTo>
                  <a:close/>
                </a:path>
              </a:pathLst>
            </a:custGeom>
            <a:solidFill>
              <a:srgbClr val="000000"/>
            </a:solidFill>
            <a:ln w="12685"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75D07FC6-DCA6-4DEF-AE7E-14CA44EDD882}"/>
                </a:ext>
              </a:extLst>
            </p:cNvPr>
            <p:cNvSpPr/>
            <p:nvPr/>
          </p:nvSpPr>
          <p:spPr>
            <a:xfrm>
              <a:off x="1031748" y="3762024"/>
              <a:ext cx="46" cy="1906"/>
            </a:xfrm>
            <a:custGeom>
              <a:avLst/>
              <a:gdLst>
                <a:gd name="connsiteX0" fmla="*/ 47 w 46"/>
                <a:gd name="connsiteY0" fmla="*/ 890 h 1906"/>
                <a:gd name="connsiteX1" fmla="*/ 47 w 46"/>
                <a:gd name="connsiteY1" fmla="*/ 1907 h 1906"/>
                <a:gd name="connsiteX2" fmla="*/ 47 w 46"/>
                <a:gd name="connsiteY2" fmla="*/ 1907 h 1906"/>
                <a:gd name="connsiteX3" fmla="*/ 47 w 46"/>
                <a:gd name="connsiteY3" fmla="*/ 0 h 1906"/>
                <a:gd name="connsiteX4" fmla="*/ 47 w 46"/>
                <a:gd name="connsiteY4" fmla="*/ 890 h 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 h="1906">
                  <a:moveTo>
                    <a:pt x="47" y="890"/>
                  </a:moveTo>
                  <a:lnTo>
                    <a:pt x="47" y="1907"/>
                  </a:lnTo>
                  <a:lnTo>
                    <a:pt x="47" y="1907"/>
                  </a:lnTo>
                  <a:cubicBezTo>
                    <a:pt x="-16" y="1271"/>
                    <a:pt x="-16" y="635"/>
                    <a:pt x="47" y="0"/>
                  </a:cubicBezTo>
                  <a:cubicBezTo>
                    <a:pt x="47" y="0"/>
                    <a:pt x="47" y="508"/>
                    <a:pt x="47" y="890"/>
                  </a:cubicBezTo>
                  <a:close/>
                </a:path>
              </a:pathLst>
            </a:custGeom>
            <a:solidFill>
              <a:srgbClr val="000000"/>
            </a:solidFill>
            <a:ln w="12685"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05C614ED-3357-44AF-B41E-DDEC23CEFFCC}"/>
                </a:ext>
              </a:extLst>
            </p:cNvPr>
            <p:cNvSpPr/>
            <p:nvPr/>
          </p:nvSpPr>
          <p:spPr>
            <a:xfrm>
              <a:off x="1041203" y="3754269"/>
              <a:ext cx="1525" cy="12712"/>
            </a:xfrm>
            <a:custGeom>
              <a:avLst/>
              <a:gdLst>
                <a:gd name="connsiteX0" fmla="*/ 0 w 1525"/>
                <a:gd name="connsiteY0" fmla="*/ 0 h 12712"/>
                <a:gd name="connsiteX1" fmla="*/ 0 w 1525"/>
                <a:gd name="connsiteY1" fmla="*/ 0 h 12712"/>
                <a:gd name="connsiteX2" fmla="*/ 1526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0" y="0"/>
                  </a:lnTo>
                  <a:lnTo>
                    <a:pt x="1526" y="0"/>
                  </a:lnTo>
                  <a:close/>
                </a:path>
              </a:pathLst>
            </a:custGeom>
            <a:solidFill>
              <a:srgbClr val="000000"/>
            </a:solidFill>
            <a:ln w="12685"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A77B20E8-C4E2-417A-871D-04DD967DACD2}"/>
                </a:ext>
              </a:extLst>
            </p:cNvPr>
            <p:cNvSpPr/>
            <p:nvPr/>
          </p:nvSpPr>
          <p:spPr>
            <a:xfrm>
              <a:off x="1028337" y="3763931"/>
              <a:ext cx="18841" cy="60906"/>
            </a:xfrm>
            <a:custGeom>
              <a:avLst/>
              <a:gdLst>
                <a:gd name="connsiteX0" fmla="*/ 8543 w 18841"/>
                <a:gd name="connsiteY0" fmla="*/ 60892 h 60906"/>
                <a:gd name="connsiteX1" fmla="*/ 13883 w 18841"/>
                <a:gd name="connsiteY1" fmla="*/ 59240 h 60906"/>
                <a:gd name="connsiteX2" fmla="*/ 13883 w 18841"/>
                <a:gd name="connsiteY2" fmla="*/ 59240 h 60906"/>
                <a:gd name="connsiteX3" fmla="*/ 15028 w 18841"/>
                <a:gd name="connsiteY3" fmla="*/ 58350 h 60906"/>
                <a:gd name="connsiteX4" fmla="*/ 16045 w 18841"/>
                <a:gd name="connsiteY4" fmla="*/ 56951 h 60906"/>
                <a:gd name="connsiteX5" fmla="*/ 16045 w 18841"/>
                <a:gd name="connsiteY5" fmla="*/ 56951 h 60906"/>
                <a:gd name="connsiteX6" fmla="*/ 16935 w 18841"/>
                <a:gd name="connsiteY6" fmla="*/ 55553 h 60906"/>
                <a:gd name="connsiteX7" fmla="*/ 16935 w 18841"/>
                <a:gd name="connsiteY7" fmla="*/ 53646 h 60906"/>
                <a:gd name="connsiteX8" fmla="*/ 16935 w 18841"/>
                <a:gd name="connsiteY8" fmla="*/ 52502 h 60906"/>
                <a:gd name="connsiteX9" fmla="*/ 18842 w 18841"/>
                <a:gd name="connsiteY9" fmla="*/ 20467 h 60906"/>
                <a:gd name="connsiteX10" fmla="*/ 5110 w 18841"/>
                <a:gd name="connsiteY10" fmla="*/ 6610 h 60906"/>
                <a:gd name="connsiteX11" fmla="*/ 2440 w 18841"/>
                <a:gd name="connsiteY11" fmla="*/ 0 h 60906"/>
                <a:gd name="connsiteX12" fmla="*/ 2440 w 18841"/>
                <a:gd name="connsiteY12" fmla="*/ 0 h 60906"/>
                <a:gd name="connsiteX13" fmla="*/ 2440 w 18841"/>
                <a:gd name="connsiteY13" fmla="*/ 4322 h 60906"/>
                <a:gd name="connsiteX14" fmla="*/ 24 w 18841"/>
                <a:gd name="connsiteY14" fmla="*/ 45510 h 60906"/>
                <a:gd name="connsiteX15" fmla="*/ 24 w 18841"/>
                <a:gd name="connsiteY15" fmla="*/ 50977 h 60906"/>
                <a:gd name="connsiteX16" fmla="*/ 8543 w 18841"/>
                <a:gd name="connsiteY16" fmla="*/ 60892 h 6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41" h="60906">
                  <a:moveTo>
                    <a:pt x="8543" y="60892"/>
                  </a:moveTo>
                  <a:cubicBezTo>
                    <a:pt x="10466" y="61007"/>
                    <a:pt x="12365" y="60422"/>
                    <a:pt x="13883" y="59240"/>
                  </a:cubicBezTo>
                  <a:lnTo>
                    <a:pt x="13883" y="59240"/>
                  </a:lnTo>
                  <a:lnTo>
                    <a:pt x="15028" y="58350"/>
                  </a:lnTo>
                  <a:cubicBezTo>
                    <a:pt x="15334" y="57867"/>
                    <a:pt x="15675" y="57396"/>
                    <a:pt x="16045" y="56951"/>
                  </a:cubicBezTo>
                  <a:lnTo>
                    <a:pt x="16045" y="56951"/>
                  </a:lnTo>
                  <a:lnTo>
                    <a:pt x="16935" y="55553"/>
                  </a:lnTo>
                  <a:cubicBezTo>
                    <a:pt x="16994" y="54917"/>
                    <a:pt x="16994" y="54282"/>
                    <a:pt x="16935" y="53646"/>
                  </a:cubicBezTo>
                  <a:cubicBezTo>
                    <a:pt x="16988" y="53265"/>
                    <a:pt x="16988" y="52884"/>
                    <a:pt x="16935" y="52502"/>
                  </a:cubicBezTo>
                  <a:lnTo>
                    <a:pt x="18842" y="20467"/>
                  </a:lnTo>
                  <a:lnTo>
                    <a:pt x="5110" y="6610"/>
                  </a:lnTo>
                  <a:cubicBezTo>
                    <a:pt x="3376" y="4856"/>
                    <a:pt x="2415" y="2466"/>
                    <a:pt x="2440" y="0"/>
                  </a:cubicBezTo>
                  <a:lnTo>
                    <a:pt x="2440" y="0"/>
                  </a:lnTo>
                  <a:lnTo>
                    <a:pt x="2440" y="4322"/>
                  </a:lnTo>
                  <a:lnTo>
                    <a:pt x="24" y="45510"/>
                  </a:lnTo>
                  <a:lnTo>
                    <a:pt x="24" y="50977"/>
                  </a:lnTo>
                  <a:cubicBezTo>
                    <a:pt x="-341" y="56062"/>
                    <a:pt x="3462" y="60485"/>
                    <a:pt x="8543" y="60892"/>
                  </a:cubicBezTo>
                  <a:close/>
                </a:path>
              </a:pathLst>
            </a:custGeom>
            <a:solidFill>
              <a:srgbClr val="000000"/>
            </a:solidFill>
            <a:ln w="12685"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5E8F5061-99BF-42CC-9124-CE15FC6B7416}"/>
                </a:ext>
              </a:extLst>
            </p:cNvPr>
            <p:cNvSpPr/>
            <p:nvPr/>
          </p:nvSpPr>
          <p:spPr>
            <a:xfrm>
              <a:off x="485445" y="3425146"/>
              <a:ext cx="44119" cy="914656"/>
            </a:xfrm>
            <a:custGeom>
              <a:avLst/>
              <a:gdLst>
                <a:gd name="connsiteX0" fmla="*/ 16148 w 44119"/>
                <a:gd name="connsiteY0" fmla="*/ 909190 h 914656"/>
                <a:gd name="connsiteX1" fmla="*/ 16148 w 44119"/>
                <a:gd name="connsiteY1" fmla="*/ 914656 h 914656"/>
                <a:gd name="connsiteX2" fmla="*/ 16148 w 44119"/>
                <a:gd name="connsiteY2" fmla="*/ 913385 h 914656"/>
                <a:gd name="connsiteX3" fmla="*/ 44120 w 44119"/>
                <a:gd name="connsiteY3" fmla="*/ 508 h 914656"/>
                <a:gd name="connsiteX4" fmla="*/ 35092 w 44119"/>
                <a:gd name="connsiteY4" fmla="*/ 9534 h 914656"/>
                <a:gd name="connsiteX5" fmla="*/ 26446 w 44119"/>
                <a:gd name="connsiteY5" fmla="*/ 0 h 914656"/>
                <a:gd name="connsiteX6" fmla="*/ 26446 w 44119"/>
                <a:gd name="connsiteY6" fmla="*/ 14873 h 914656"/>
                <a:gd name="connsiteX7" fmla="*/ 0 w 44119"/>
                <a:gd name="connsiteY7" fmla="*/ 907410 h 914656"/>
                <a:gd name="connsiteX8" fmla="*/ 4832 w 44119"/>
                <a:gd name="connsiteY8" fmla="*/ 904995 h 914656"/>
                <a:gd name="connsiteX9" fmla="*/ 16135 w 44119"/>
                <a:gd name="connsiteY9" fmla="*/ 909165 h 914656"/>
                <a:gd name="connsiteX10" fmla="*/ 16148 w 44119"/>
                <a:gd name="connsiteY10" fmla="*/ 909190 h 9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19" h="914656">
                  <a:moveTo>
                    <a:pt x="16148" y="909190"/>
                  </a:moveTo>
                  <a:cubicBezTo>
                    <a:pt x="16705" y="910970"/>
                    <a:pt x="16705" y="912877"/>
                    <a:pt x="16148" y="914656"/>
                  </a:cubicBezTo>
                  <a:cubicBezTo>
                    <a:pt x="16148" y="914656"/>
                    <a:pt x="16148" y="913894"/>
                    <a:pt x="16148" y="913385"/>
                  </a:cubicBezTo>
                  <a:lnTo>
                    <a:pt x="44120" y="508"/>
                  </a:lnTo>
                  <a:cubicBezTo>
                    <a:pt x="44120" y="5492"/>
                    <a:pt x="40078" y="9534"/>
                    <a:pt x="35092" y="9534"/>
                  </a:cubicBezTo>
                  <a:cubicBezTo>
                    <a:pt x="30085" y="9255"/>
                    <a:pt x="26230" y="5009"/>
                    <a:pt x="26446" y="0"/>
                  </a:cubicBezTo>
                  <a:lnTo>
                    <a:pt x="26446" y="14873"/>
                  </a:lnTo>
                  <a:lnTo>
                    <a:pt x="0" y="907410"/>
                  </a:lnTo>
                  <a:lnTo>
                    <a:pt x="4832" y="904995"/>
                  </a:lnTo>
                  <a:cubicBezTo>
                    <a:pt x="9104" y="903025"/>
                    <a:pt x="14164" y="904893"/>
                    <a:pt x="16135" y="909165"/>
                  </a:cubicBezTo>
                  <a:cubicBezTo>
                    <a:pt x="16139" y="909177"/>
                    <a:pt x="16144" y="909177"/>
                    <a:pt x="16148" y="909190"/>
                  </a:cubicBezTo>
                  <a:close/>
                </a:path>
              </a:pathLst>
            </a:custGeom>
            <a:solidFill>
              <a:srgbClr val="000000"/>
            </a:solidFill>
            <a:ln w="12685"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31F1A51C-AA1A-4F6F-A55C-11DEE86779B6}"/>
                </a:ext>
              </a:extLst>
            </p:cNvPr>
            <p:cNvSpPr/>
            <p:nvPr/>
          </p:nvSpPr>
          <p:spPr>
            <a:xfrm>
              <a:off x="498414" y="4344760"/>
              <a:ext cx="1525" cy="1144"/>
            </a:xfrm>
            <a:custGeom>
              <a:avLst/>
              <a:gdLst>
                <a:gd name="connsiteX0" fmla="*/ 1526 w 1525"/>
                <a:gd name="connsiteY0" fmla="*/ 0 h 1144"/>
                <a:gd name="connsiteX1" fmla="*/ 0 w 1525"/>
                <a:gd name="connsiteY1" fmla="*/ 1144 h 1144"/>
                <a:gd name="connsiteX2" fmla="*/ 0 w 1525"/>
                <a:gd name="connsiteY2" fmla="*/ 1144 h 1144"/>
              </a:gdLst>
              <a:ahLst/>
              <a:cxnLst>
                <a:cxn ang="0">
                  <a:pos x="connsiteX0" y="connsiteY0"/>
                </a:cxn>
                <a:cxn ang="0">
                  <a:pos x="connsiteX1" y="connsiteY1"/>
                </a:cxn>
                <a:cxn ang="0">
                  <a:pos x="connsiteX2" y="connsiteY2"/>
                </a:cxn>
              </a:cxnLst>
              <a:rect l="l" t="t" r="r" b="b"/>
              <a:pathLst>
                <a:path w="1525" h="1144">
                  <a:moveTo>
                    <a:pt x="1526" y="0"/>
                  </a:moveTo>
                  <a:lnTo>
                    <a:pt x="0" y="1144"/>
                  </a:lnTo>
                  <a:lnTo>
                    <a:pt x="0" y="1144"/>
                  </a:lnTo>
                  <a:close/>
                </a:path>
              </a:pathLst>
            </a:custGeom>
            <a:solidFill>
              <a:srgbClr val="000000"/>
            </a:solidFill>
            <a:ln w="12685"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1375E9CC-0FF9-4871-9C2D-D57DE066F365}"/>
                </a:ext>
              </a:extLst>
            </p:cNvPr>
            <p:cNvSpPr/>
            <p:nvPr/>
          </p:nvSpPr>
          <p:spPr>
            <a:xfrm>
              <a:off x="77744" y="4519555"/>
              <a:ext cx="41010" cy="31362"/>
            </a:xfrm>
            <a:custGeom>
              <a:avLst/>
              <a:gdLst>
                <a:gd name="connsiteX0" fmla="*/ 451 w 41010"/>
                <a:gd name="connsiteY0" fmla="*/ 26061 h 31362"/>
                <a:gd name="connsiteX1" fmla="*/ 11980 w 41010"/>
                <a:gd name="connsiteY1" fmla="*/ 30650 h 31362"/>
                <a:gd name="connsiteX2" fmla="*/ 12275 w 41010"/>
                <a:gd name="connsiteY2" fmla="*/ 30510 h 31362"/>
                <a:gd name="connsiteX3" fmla="*/ 13293 w 41010"/>
                <a:gd name="connsiteY3" fmla="*/ 30510 h 31362"/>
                <a:gd name="connsiteX4" fmla="*/ 16217 w 41010"/>
                <a:gd name="connsiteY4" fmla="*/ 28984 h 31362"/>
                <a:gd name="connsiteX5" fmla="*/ 17234 w 41010"/>
                <a:gd name="connsiteY5" fmla="*/ 28984 h 31362"/>
                <a:gd name="connsiteX6" fmla="*/ 41011 w 41010"/>
                <a:gd name="connsiteY6" fmla="*/ 17162 h 31362"/>
                <a:gd name="connsiteX7" fmla="*/ 29320 w 41010"/>
                <a:gd name="connsiteY7" fmla="*/ 13005 h 31362"/>
                <a:gd name="connsiteX8" fmla="*/ 29186 w 41010"/>
                <a:gd name="connsiteY8" fmla="*/ 12712 h 31362"/>
                <a:gd name="connsiteX9" fmla="*/ 33382 w 41010"/>
                <a:gd name="connsiteY9" fmla="*/ 0 h 31362"/>
                <a:gd name="connsiteX10" fmla="*/ 30839 w 41010"/>
                <a:gd name="connsiteY10" fmla="*/ 1271 h 31362"/>
                <a:gd name="connsiteX11" fmla="*/ 4647 w 41010"/>
                <a:gd name="connsiteY11" fmla="*/ 13984 h 31362"/>
                <a:gd name="connsiteX12" fmla="*/ 3630 w 41010"/>
                <a:gd name="connsiteY12" fmla="*/ 14746 h 31362"/>
                <a:gd name="connsiteX13" fmla="*/ 2104 w 41010"/>
                <a:gd name="connsiteY13" fmla="*/ 16018 h 31362"/>
                <a:gd name="connsiteX14" fmla="*/ 1214 w 41010"/>
                <a:gd name="connsiteY14" fmla="*/ 17289 h 31362"/>
                <a:gd name="connsiteX15" fmla="*/ 324 w 41010"/>
                <a:gd name="connsiteY15" fmla="*/ 18942 h 31362"/>
                <a:gd name="connsiteX16" fmla="*/ 324 w 41010"/>
                <a:gd name="connsiteY16" fmla="*/ 20849 h 31362"/>
                <a:gd name="connsiteX17" fmla="*/ 451 w 41010"/>
                <a:gd name="connsiteY17" fmla="*/ 26061 h 3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10" h="31362">
                  <a:moveTo>
                    <a:pt x="451" y="26061"/>
                  </a:moveTo>
                  <a:cubicBezTo>
                    <a:pt x="2369" y="30510"/>
                    <a:pt x="7530" y="32556"/>
                    <a:pt x="11980" y="30650"/>
                  </a:cubicBezTo>
                  <a:cubicBezTo>
                    <a:pt x="12079" y="30599"/>
                    <a:pt x="12178" y="30561"/>
                    <a:pt x="12275" y="30510"/>
                  </a:cubicBezTo>
                  <a:lnTo>
                    <a:pt x="13293" y="30510"/>
                  </a:lnTo>
                  <a:lnTo>
                    <a:pt x="16217" y="28984"/>
                  </a:lnTo>
                  <a:lnTo>
                    <a:pt x="17234" y="28984"/>
                  </a:lnTo>
                  <a:lnTo>
                    <a:pt x="41011" y="17162"/>
                  </a:lnTo>
                  <a:cubicBezTo>
                    <a:pt x="36635" y="19247"/>
                    <a:pt x="31401" y="17378"/>
                    <a:pt x="29320" y="13005"/>
                  </a:cubicBezTo>
                  <a:cubicBezTo>
                    <a:pt x="29273" y="12916"/>
                    <a:pt x="29229" y="12814"/>
                    <a:pt x="29186" y="12712"/>
                  </a:cubicBezTo>
                  <a:cubicBezTo>
                    <a:pt x="26874" y="8047"/>
                    <a:pt x="28743" y="2377"/>
                    <a:pt x="33382" y="0"/>
                  </a:cubicBezTo>
                  <a:lnTo>
                    <a:pt x="30839" y="1271"/>
                  </a:lnTo>
                  <a:lnTo>
                    <a:pt x="4647" y="13984"/>
                  </a:lnTo>
                  <a:cubicBezTo>
                    <a:pt x="4647" y="13984"/>
                    <a:pt x="4011" y="13984"/>
                    <a:pt x="3630" y="14746"/>
                  </a:cubicBezTo>
                  <a:cubicBezTo>
                    <a:pt x="3066" y="15103"/>
                    <a:pt x="2553" y="15522"/>
                    <a:pt x="2104" y="16018"/>
                  </a:cubicBezTo>
                  <a:cubicBezTo>
                    <a:pt x="1765" y="16412"/>
                    <a:pt x="1467" y="16831"/>
                    <a:pt x="1214" y="17289"/>
                  </a:cubicBezTo>
                  <a:cubicBezTo>
                    <a:pt x="845" y="17798"/>
                    <a:pt x="546" y="18357"/>
                    <a:pt x="324" y="18942"/>
                  </a:cubicBezTo>
                  <a:cubicBezTo>
                    <a:pt x="264" y="19577"/>
                    <a:pt x="264" y="20213"/>
                    <a:pt x="324" y="20849"/>
                  </a:cubicBezTo>
                  <a:cubicBezTo>
                    <a:pt x="-148" y="22565"/>
                    <a:pt x="-103" y="24370"/>
                    <a:pt x="451" y="26061"/>
                  </a:cubicBezTo>
                  <a:close/>
                </a:path>
              </a:pathLst>
            </a:custGeom>
            <a:solidFill>
              <a:srgbClr val="000000"/>
            </a:solidFill>
            <a:ln w="12685"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D01F90ED-8CB2-4A18-BD87-85BCFF1E43DC}"/>
                </a:ext>
              </a:extLst>
            </p:cNvPr>
            <p:cNvSpPr/>
            <p:nvPr/>
          </p:nvSpPr>
          <p:spPr>
            <a:xfrm>
              <a:off x="3305" y="3215391"/>
              <a:ext cx="531854" cy="265688"/>
            </a:xfrm>
            <a:custGeom>
              <a:avLst/>
              <a:gdLst>
                <a:gd name="connsiteX0" fmla="*/ 514690 w 531854"/>
                <a:gd name="connsiteY0" fmla="*/ 25298 h 265688"/>
                <a:gd name="connsiteX1" fmla="*/ 515834 w 531854"/>
                <a:gd name="connsiteY1" fmla="*/ 23518 h 265688"/>
                <a:gd name="connsiteX2" fmla="*/ 516470 w 531854"/>
                <a:gd name="connsiteY2" fmla="*/ 22374 h 265688"/>
                <a:gd name="connsiteX3" fmla="*/ 516470 w 531854"/>
                <a:gd name="connsiteY3" fmla="*/ 22374 h 265688"/>
                <a:gd name="connsiteX4" fmla="*/ 518122 w 531854"/>
                <a:gd name="connsiteY4" fmla="*/ 21230 h 265688"/>
                <a:gd name="connsiteX5" fmla="*/ 519394 w 531854"/>
                <a:gd name="connsiteY5" fmla="*/ 20340 h 265688"/>
                <a:gd name="connsiteX6" fmla="*/ 520793 w 531854"/>
                <a:gd name="connsiteY6" fmla="*/ 20340 h 265688"/>
                <a:gd name="connsiteX7" fmla="*/ 522700 w 531854"/>
                <a:gd name="connsiteY7" fmla="*/ 20340 h 265688"/>
                <a:gd name="connsiteX8" fmla="*/ 522700 w 531854"/>
                <a:gd name="connsiteY8" fmla="*/ 20340 h 265688"/>
                <a:gd name="connsiteX9" fmla="*/ 523971 w 531854"/>
                <a:gd name="connsiteY9" fmla="*/ 20340 h 265688"/>
                <a:gd name="connsiteX10" fmla="*/ 525624 w 531854"/>
                <a:gd name="connsiteY10" fmla="*/ 20340 h 265688"/>
                <a:gd name="connsiteX11" fmla="*/ 531854 w 531854"/>
                <a:gd name="connsiteY11" fmla="*/ 17416 h 265688"/>
                <a:gd name="connsiteX12" fmla="*/ 520269 w 531854"/>
                <a:gd name="connsiteY12" fmla="*/ 12979 h 265688"/>
                <a:gd name="connsiteX13" fmla="*/ 520157 w 531854"/>
                <a:gd name="connsiteY13" fmla="*/ 12712 h 265688"/>
                <a:gd name="connsiteX14" fmla="*/ 524607 w 531854"/>
                <a:gd name="connsiteY14" fmla="*/ 0 h 265688"/>
                <a:gd name="connsiteX15" fmla="*/ 0 w 531854"/>
                <a:gd name="connsiteY15" fmla="*/ 245349 h 265688"/>
                <a:gd name="connsiteX16" fmla="*/ 0 w 531854"/>
                <a:gd name="connsiteY16" fmla="*/ 265689 h 265688"/>
                <a:gd name="connsiteX17" fmla="*/ 514562 w 531854"/>
                <a:gd name="connsiteY17" fmla="*/ 25552 h 26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1854" h="265688">
                  <a:moveTo>
                    <a:pt x="514690" y="25298"/>
                  </a:moveTo>
                  <a:cubicBezTo>
                    <a:pt x="515025" y="24675"/>
                    <a:pt x="515408" y="24077"/>
                    <a:pt x="515834" y="23518"/>
                  </a:cubicBezTo>
                  <a:lnTo>
                    <a:pt x="516470" y="22374"/>
                  </a:lnTo>
                  <a:lnTo>
                    <a:pt x="516470" y="22374"/>
                  </a:lnTo>
                  <a:cubicBezTo>
                    <a:pt x="516990" y="21954"/>
                    <a:pt x="517543" y="21573"/>
                    <a:pt x="518122" y="21230"/>
                  </a:cubicBezTo>
                  <a:lnTo>
                    <a:pt x="519394" y="20340"/>
                  </a:lnTo>
                  <a:lnTo>
                    <a:pt x="520793" y="20340"/>
                  </a:lnTo>
                  <a:lnTo>
                    <a:pt x="522700" y="20340"/>
                  </a:lnTo>
                  <a:lnTo>
                    <a:pt x="522700" y="20340"/>
                  </a:lnTo>
                  <a:lnTo>
                    <a:pt x="523971" y="20340"/>
                  </a:lnTo>
                  <a:cubicBezTo>
                    <a:pt x="524521" y="20276"/>
                    <a:pt x="525075" y="20276"/>
                    <a:pt x="525624" y="20340"/>
                  </a:cubicBezTo>
                  <a:lnTo>
                    <a:pt x="531854" y="17416"/>
                  </a:lnTo>
                  <a:cubicBezTo>
                    <a:pt x="527428" y="19386"/>
                    <a:pt x="522242" y="17403"/>
                    <a:pt x="520269" y="12979"/>
                  </a:cubicBezTo>
                  <a:cubicBezTo>
                    <a:pt x="520231" y="12890"/>
                    <a:pt x="520192" y="12801"/>
                    <a:pt x="520157" y="12712"/>
                  </a:cubicBezTo>
                  <a:cubicBezTo>
                    <a:pt x="517881" y="7971"/>
                    <a:pt x="519872" y="2288"/>
                    <a:pt x="524607" y="0"/>
                  </a:cubicBezTo>
                  <a:lnTo>
                    <a:pt x="0" y="245349"/>
                  </a:lnTo>
                  <a:lnTo>
                    <a:pt x="0" y="265689"/>
                  </a:lnTo>
                  <a:lnTo>
                    <a:pt x="514562" y="25552"/>
                  </a:lnTo>
                  <a:close/>
                </a:path>
              </a:pathLst>
            </a:custGeom>
            <a:solidFill>
              <a:srgbClr val="000000"/>
            </a:solidFill>
            <a:ln w="12685"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EE4C3C78-FAC4-4665-91E5-8E0ACF3A6CF2}"/>
                </a:ext>
              </a:extLst>
            </p:cNvPr>
            <p:cNvSpPr/>
            <p:nvPr/>
          </p:nvSpPr>
          <p:spPr>
            <a:xfrm>
              <a:off x="1121814" y="2975117"/>
              <a:ext cx="16957" cy="24925"/>
            </a:xfrm>
            <a:custGeom>
              <a:avLst/>
              <a:gdLst>
                <a:gd name="connsiteX0" fmla="*/ 16910 w 16957"/>
                <a:gd name="connsiteY0" fmla="*/ 19332 h 24925"/>
                <a:gd name="connsiteX1" fmla="*/ 16910 w 16957"/>
                <a:gd name="connsiteY1" fmla="*/ 15137 h 24925"/>
                <a:gd name="connsiteX2" fmla="*/ 16910 w 16957"/>
                <a:gd name="connsiteY2" fmla="*/ 9925 h 24925"/>
                <a:gd name="connsiteX3" fmla="*/ 8848 w 16957"/>
                <a:gd name="connsiteY3" fmla="*/ 22 h 24925"/>
                <a:gd name="connsiteX4" fmla="*/ 8646 w 16957"/>
                <a:gd name="connsiteY4" fmla="*/ 10 h 24925"/>
                <a:gd name="connsiteX5" fmla="*/ 0 w 16957"/>
                <a:gd name="connsiteY5" fmla="*/ 5730 h 24925"/>
                <a:gd name="connsiteX6" fmla="*/ 12715 w 16957"/>
                <a:gd name="connsiteY6" fmla="*/ 18443 h 24925"/>
                <a:gd name="connsiteX7" fmla="*/ 12715 w 16957"/>
                <a:gd name="connsiteY7" fmla="*/ 18443 h 24925"/>
                <a:gd name="connsiteX8" fmla="*/ 13859 w 16957"/>
                <a:gd name="connsiteY8" fmla="*/ 19968 h 24925"/>
                <a:gd name="connsiteX9" fmla="*/ 14622 w 16957"/>
                <a:gd name="connsiteY9" fmla="*/ 21366 h 24925"/>
                <a:gd name="connsiteX10" fmla="*/ 14622 w 16957"/>
                <a:gd name="connsiteY10" fmla="*/ 23019 h 24925"/>
                <a:gd name="connsiteX11" fmla="*/ 14622 w 16957"/>
                <a:gd name="connsiteY11" fmla="*/ 24926 h 24925"/>
                <a:gd name="connsiteX12" fmla="*/ 14622 w 16957"/>
                <a:gd name="connsiteY12" fmla="*/ 24926 h 2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57" h="24925">
                  <a:moveTo>
                    <a:pt x="16910" y="19332"/>
                  </a:moveTo>
                  <a:lnTo>
                    <a:pt x="16910" y="15137"/>
                  </a:lnTo>
                  <a:lnTo>
                    <a:pt x="16910" y="9925"/>
                  </a:lnTo>
                  <a:cubicBezTo>
                    <a:pt x="17418" y="4967"/>
                    <a:pt x="13808" y="531"/>
                    <a:pt x="8848" y="22"/>
                  </a:cubicBezTo>
                  <a:cubicBezTo>
                    <a:pt x="8781" y="22"/>
                    <a:pt x="8713" y="10"/>
                    <a:pt x="8646" y="10"/>
                  </a:cubicBezTo>
                  <a:cubicBezTo>
                    <a:pt x="4825" y="-168"/>
                    <a:pt x="1326" y="2145"/>
                    <a:pt x="0" y="5730"/>
                  </a:cubicBezTo>
                  <a:lnTo>
                    <a:pt x="12715" y="18443"/>
                  </a:lnTo>
                  <a:cubicBezTo>
                    <a:pt x="12715" y="18443"/>
                    <a:pt x="12715" y="18443"/>
                    <a:pt x="12715" y="18443"/>
                  </a:cubicBezTo>
                  <a:lnTo>
                    <a:pt x="13859" y="19968"/>
                  </a:lnTo>
                  <a:lnTo>
                    <a:pt x="14622" y="21366"/>
                  </a:lnTo>
                  <a:lnTo>
                    <a:pt x="14622" y="23019"/>
                  </a:lnTo>
                  <a:cubicBezTo>
                    <a:pt x="14684" y="23655"/>
                    <a:pt x="14684" y="24290"/>
                    <a:pt x="14622" y="24926"/>
                  </a:cubicBezTo>
                  <a:lnTo>
                    <a:pt x="14622" y="24926"/>
                  </a:lnTo>
                  <a:close/>
                </a:path>
              </a:pathLst>
            </a:custGeom>
            <a:solidFill>
              <a:srgbClr val="000000"/>
            </a:solidFill>
            <a:ln w="12685"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BFAC0A5C-BFD9-4EA3-A75A-C60F1C3855D2}"/>
                </a:ext>
              </a:extLst>
            </p:cNvPr>
            <p:cNvSpPr/>
            <p:nvPr/>
          </p:nvSpPr>
          <p:spPr>
            <a:xfrm>
              <a:off x="1100309" y="3001060"/>
              <a:ext cx="38034" cy="334090"/>
            </a:xfrm>
            <a:custGeom>
              <a:avLst/>
              <a:gdLst>
                <a:gd name="connsiteX0" fmla="*/ 8155 w 38034"/>
                <a:gd name="connsiteY0" fmla="*/ 334082 h 334090"/>
                <a:gd name="connsiteX1" fmla="*/ 13368 w 38034"/>
                <a:gd name="connsiteY1" fmla="*/ 332556 h 334090"/>
                <a:gd name="connsiteX2" fmla="*/ 14894 w 38034"/>
                <a:gd name="connsiteY2" fmla="*/ 331412 h 334090"/>
                <a:gd name="connsiteX3" fmla="*/ 15911 w 38034"/>
                <a:gd name="connsiteY3" fmla="*/ 330014 h 334090"/>
                <a:gd name="connsiteX4" fmla="*/ 16801 w 38034"/>
                <a:gd name="connsiteY4" fmla="*/ 328488 h 334090"/>
                <a:gd name="connsiteX5" fmla="*/ 16801 w 38034"/>
                <a:gd name="connsiteY5" fmla="*/ 326581 h 334090"/>
                <a:gd name="connsiteX6" fmla="*/ 16801 w 38034"/>
                <a:gd name="connsiteY6" fmla="*/ 325437 h 334090"/>
                <a:gd name="connsiteX7" fmla="*/ 18581 w 38034"/>
                <a:gd name="connsiteY7" fmla="*/ 310182 h 334090"/>
                <a:gd name="connsiteX8" fmla="*/ 38034 w 38034"/>
                <a:gd name="connsiteY8" fmla="*/ 0 h 334090"/>
                <a:gd name="connsiteX9" fmla="*/ 38034 w 38034"/>
                <a:gd name="connsiteY9" fmla="*/ 0 h 334090"/>
                <a:gd name="connsiteX10" fmla="*/ 35746 w 38034"/>
                <a:gd name="connsiteY10" fmla="*/ 6229 h 334090"/>
                <a:gd name="connsiteX11" fmla="*/ 23911 w 38034"/>
                <a:gd name="connsiteY11" fmla="*/ 7106 h 334090"/>
                <a:gd name="connsiteX12" fmla="*/ 23031 w 38034"/>
                <a:gd name="connsiteY12" fmla="*/ 6229 h 334090"/>
                <a:gd name="connsiteX13" fmla="*/ 19852 w 38034"/>
                <a:gd name="connsiteY13" fmla="*/ 3305 h 334090"/>
                <a:gd name="connsiteX14" fmla="*/ 18 w 38034"/>
                <a:gd name="connsiteY14" fmla="*/ 318827 h 334090"/>
                <a:gd name="connsiteX15" fmla="*/ 18 w 38034"/>
                <a:gd name="connsiteY15" fmla="*/ 324420 h 334090"/>
                <a:gd name="connsiteX16" fmla="*/ 8155 w 38034"/>
                <a:gd name="connsiteY16" fmla="*/ 334082 h 33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34" h="334090">
                  <a:moveTo>
                    <a:pt x="8155" y="334082"/>
                  </a:moveTo>
                  <a:cubicBezTo>
                    <a:pt x="10014" y="334170"/>
                    <a:pt x="11847" y="333624"/>
                    <a:pt x="13368" y="332556"/>
                  </a:cubicBezTo>
                  <a:lnTo>
                    <a:pt x="14894" y="331412"/>
                  </a:lnTo>
                  <a:lnTo>
                    <a:pt x="15911" y="330014"/>
                  </a:lnTo>
                  <a:lnTo>
                    <a:pt x="16801" y="328488"/>
                  </a:lnTo>
                  <a:cubicBezTo>
                    <a:pt x="16858" y="327852"/>
                    <a:pt x="16858" y="327217"/>
                    <a:pt x="16801" y="326581"/>
                  </a:cubicBezTo>
                  <a:cubicBezTo>
                    <a:pt x="16801" y="326581"/>
                    <a:pt x="16801" y="325818"/>
                    <a:pt x="16801" y="325437"/>
                  </a:cubicBezTo>
                  <a:lnTo>
                    <a:pt x="18581" y="310182"/>
                  </a:lnTo>
                  <a:lnTo>
                    <a:pt x="38034" y="0"/>
                  </a:lnTo>
                  <a:lnTo>
                    <a:pt x="38034" y="0"/>
                  </a:lnTo>
                  <a:cubicBezTo>
                    <a:pt x="38053" y="2288"/>
                    <a:pt x="37240" y="4500"/>
                    <a:pt x="35746" y="6229"/>
                  </a:cubicBezTo>
                  <a:cubicBezTo>
                    <a:pt x="32721" y="9738"/>
                    <a:pt x="27421" y="10132"/>
                    <a:pt x="23911" y="7106"/>
                  </a:cubicBezTo>
                  <a:cubicBezTo>
                    <a:pt x="23596" y="6839"/>
                    <a:pt x="23302" y="6547"/>
                    <a:pt x="23031" y="6229"/>
                  </a:cubicBezTo>
                  <a:lnTo>
                    <a:pt x="19852" y="3305"/>
                  </a:lnTo>
                  <a:lnTo>
                    <a:pt x="18" y="318827"/>
                  </a:lnTo>
                  <a:lnTo>
                    <a:pt x="18" y="324420"/>
                  </a:lnTo>
                  <a:cubicBezTo>
                    <a:pt x="-282" y="329302"/>
                    <a:pt x="3298" y="333548"/>
                    <a:pt x="8155" y="334082"/>
                  </a:cubicBezTo>
                  <a:close/>
                </a:path>
              </a:pathLst>
            </a:custGeom>
            <a:solidFill>
              <a:srgbClr val="000000"/>
            </a:solidFill>
            <a:ln w="12685"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04839857-83E5-4EB7-A57D-DA7CD263263C}"/>
                </a:ext>
              </a:extLst>
            </p:cNvPr>
            <p:cNvSpPr/>
            <p:nvPr/>
          </p:nvSpPr>
          <p:spPr>
            <a:xfrm>
              <a:off x="2408029" y="3169754"/>
              <a:ext cx="258616" cy="139073"/>
            </a:xfrm>
            <a:custGeom>
              <a:avLst/>
              <a:gdLst>
                <a:gd name="connsiteX0" fmla="*/ 0 w 258616"/>
                <a:gd name="connsiteY0" fmla="*/ 124963 h 139073"/>
                <a:gd name="connsiteX1" fmla="*/ 5594 w 258616"/>
                <a:gd name="connsiteY1" fmla="*/ 123692 h 139073"/>
                <a:gd name="connsiteX2" fmla="*/ 13096 w 258616"/>
                <a:gd name="connsiteY2" fmla="*/ 134243 h 139073"/>
                <a:gd name="connsiteX3" fmla="*/ 13096 w 258616"/>
                <a:gd name="connsiteY3" fmla="*/ 139074 h 139073"/>
                <a:gd name="connsiteX4" fmla="*/ 258616 w 258616"/>
                <a:gd name="connsiteY4" fmla="*/ 17162 h 139073"/>
                <a:gd name="connsiteX5" fmla="*/ 247084 w 258616"/>
                <a:gd name="connsiteY5" fmla="*/ 13094 h 139073"/>
                <a:gd name="connsiteX6" fmla="*/ 246919 w 258616"/>
                <a:gd name="connsiteY6" fmla="*/ 12712 h 139073"/>
                <a:gd name="connsiteX7" fmla="*/ 251013 w 258616"/>
                <a:gd name="connsiteY7" fmla="*/ 51 h 139073"/>
                <a:gd name="connsiteX8" fmla="*/ 251115 w 258616"/>
                <a:gd name="connsiteY8" fmla="*/ 0 h 139073"/>
                <a:gd name="connsiteX9" fmla="*/ 246919 w 258616"/>
                <a:gd name="connsiteY9" fmla="*/ 2034 h 139073"/>
                <a:gd name="connsiteX10" fmla="*/ 12333 w 258616"/>
                <a:gd name="connsiteY10" fmla="*/ 118607 h 139073"/>
                <a:gd name="connsiteX11" fmla="*/ 1272 w 258616"/>
                <a:gd name="connsiteY11" fmla="*/ 124073 h 13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616" h="139073">
                  <a:moveTo>
                    <a:pt x="0" y="124963"/>
                  </a:moveTo>
                  <a:cubicBezTo>
                    <a:pt x="1640" y="123857"/>
                    <a:pt x="3636" y="123399"/>
                    <a:pt x="5594" y="123692"/>
                  </a:cubicBezTo>
                  <a:cubicBezTo>
                    <a:pt x="10540" y="124594"/>
                    <a:pt x="13872" y="129272"/>
                    <a:pt x="13096" y="134243"/>
                  </a:cubicBezTo>
                  <a:lnTo>
                    <a:pt x="13096" y="139074"/>
                  </a:lnTo>
                  <a:lnTo>
                    <a:pt x="258616" y="17162"/>
                  </a:lnTo>
                  <a:cubicBezTo>
                    <a:pt x="254306" y="19221"/>
                    <a:pt x="249144" y="17391"/>
                    <a:pt x="247084" y="13094"/>
                  </a:cubicBezTo>
                  <a:cubicBezTo>
                    <a:pt x="247033" y="12967"/>
                    <a:pt x="246970" y="12840"/>
                    <a:pt x="246919" y="12712"/>
                  </a:cubicBezTo>
                  <a:cubicBezTo>
                    <a:pt x="244554" y="8085"/>
                    <a:pt x="246385" y="2415"/>
                    <a:pt x="251013" y="51"/>
                  </a:cubicBezTo>
                  <a:cubicBezTo>
                    <a:pt x="251038" y="38"/>
                    <a:pt x="251076" y="13"/>
                    <a:pt x="251115" y="0"/>
                  </a:cubicBezTo>
                  <a:lnTo>
                    <a:pt x="246919" y="2034"/>
                  </a:lnTo>
                  <a:lnTo>
                    <a:pt x="12333" y="118607"/>
                  </a:lnTo>
                  <a:lnTo>
                    <a:pt x="1272" y="124073"/>
                  </a:lnTo>
                  <a:close/>
                </a:path>
              </a:pathLst>
            </a:custGeom>
            <a:solidFill>
              <a:srgbClr val="000000"/>
            </a:solidFill>
            <a:ln w="12685"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25E5B2B5-C237-4225-8AB5-4A749FA2D304}"/>
                </a:ext>
              </a:extLst>
            </p:cNvPr>
            <p:cNvSpPr/>
            <p:nvPr/>
          </p:nvSpPr>
          <p:spPr>
            <a:xfrm>
              <a:off x="2311760" y="4514549"/>
              <a:ext cx="46300" cy="46449"/>
            </a:xfrm>
            <a:custGeom>
              <a:avLst/>
              <a:gdLst>
                <a:gd name="connsiteX0" fmla="*/ 33586 w 46300"/>
                <a:gd name="connsiteY0" fmla="*/ 34245 h 46449"/>
                <a:gd name="connsiteX1" fmla="*/ 45614 w 46300"/>
                <a:gd name="connsiteY1" fmla="*/ 33559 h 46449"/>
                <a:gd name="connsiteX2" fmla="*/ 46301 w 46300"/>
                <a:gd name="connsiteY2" fmla="*/ 34245 h 46449"/>
                <a:gd name="connsiteX3" fmla="*/ 41850 w 46300"/>
                <a:gd name="connsiteY3" fmla="*/ 29796 h 46449"/>
                <a:gd name="connsiteX4" fmla="*/ 15022 w 46300"/>
                <a:gd name="connsiteY4" fmla="*/ 2846 h 46449"/>
                <a:gd name="connsiteX5" fmla="*/ 2994 w 46300"/>
                <a:gd name="connsiteY5" fmla="*/ 2159 h 46449"/>
                <a:gd name="connsiteX6" fmla="*/ 2308 w 46300"/>
                <a:gd name="connsiteY6" fmla="*/ 2846 h 46449"/>
                <a:gd name="connsiteX7" fmla="*/ 2308 w 46300"/>
                <a:gd name="connsiteY7" fmla="*/ 15558 h 46449"/>
                <a:gd name="connsiteX8" fmla="*/ 33840 w 46300"/>
                <a:gd name="connsiteY8" fmla="*/ 46449 h 46449"/>
                <a:gd name="connsiteX9" fmla="*/ 33586 w 46300"/>
                <a:gd name="connsiteY9" fmla="*/ 34245 h 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300" h="46449">
                  <a:moveTo>
                    <a:pt x="33586" y="34245"/>
                  </a:moveTo>
                  <a:cubicBezTo>
                    <a:pt x="36714" y="30737"/>
                    <a:pt x="42105" y="30431"/>
                    <a:pt x="45614" y="33559"/>
                  </a:cubicBezTo>
                  <a:cubicBezTo>
                    <a:pt x="45856" y="33775"/>
                    <a:pt x="46084" y="34004"/>
                    <a:pt x="46301" y="34245"/>
                  </a:cubicBezTo>
                  <a:lnTo>
                    <a:pt x="41850" y="29796"/>
                  </a:lnTo>
                  <a:lnTo>
                    <a:pt x="15022" y="2846"/>
                  </a:lnTo>
                  <a:cubicBezTo>
                    <a:pt x="11895" y="-663"/>
                    <a:pt x="6504" y="-968"/>
                    <a:pt x="2994" y="2159"/>
                  </a:cubicBezTo>
                  <a:cubicBezTo>
                    <a:pt x="2753" y="2375"/>
                    <a:pt x="2524" y="2604"/>
                    <a:pt x="2308" y="2846"/>
                  </a:cubicBezTo>
                  <a:cubicBezTo>
                    <a:pt x="-769" y="6520"/>
                    <a:pt x="-769" y="11884"/>
                    <a:pt x="2308" y="15558"/>
                  </a:cubicBezTo>
                  <a:lnTo>
                    <a:pt x="33840" y="46449"/>
                  </a:lnTo>
                  <a:cubicBezTo>
                    <a:pt x="30865" y="42953"/>
                    <a:pt x="30763" y="37856"/>
                    <a:pt x="33586" y="34245"/>
                  </a:cubicBezTo>
                  <a:close/>
                </a:path>
              </a:pathLst>
            </a:custGeom>
            <a:solidFill>
              <a:srgbClr val="000000"/>
            </a:solidFill>
            <a:ln w="12685"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D0EC0CB4-8437-403E-A734-C9DFBFB60A63}"/>
                </a:ext>
              </a:extLst>
            </p:cNvPr>
            <p:cNvSpPr/>
            <p:nvPr/>
          </p:nvSpPr>
          <p:spPr>
            <a:xfrm>
              <a:off x="2342962" y="4545609"/>
              <a:ext cx="251559" cy="248328"/>
            </a:xfrm>
            <a:custGeom>
              <a:avLst/>
              <a:gdLst>
                <a:gd name="connsiteX0" fmla="*/ 2384 w 251559"/>
                <a:gd name="connsiteY0" fmla="*/ 3185 h 248328"/>
                <a:gd name="connsiteX1" fmla="*/ 2384 w 251559"/>
                <a:gd name="connsiteY1" fmla="*/ 15897 h 248328"/>
                <a:gd name="connsiteX2" fmla="*/ 233028 w 251559"/>
                <a:gd name="connsiteY2" fmla="*/ 241923 h 248328"/>
                <a:gd name="connsiteX3" fmla="*/ 235444 w 251559"/>
                <a:gd name="connsiteY3" fmla="*/ 244339 h 248328"/>
                <a:gd name="connsiteX4" fmla="*/ 236461 w 251559"/>
                <a:gd name="connsiteY4" fmla="*/ 245483 h 248328"/>
                <a:gd name="connsiteX5" fmla="*/ 248489 w 251559"/>
                <a:gd name="connsiteY5" fmla="*/ 246169 h 248328"/>
                <a:gd name="connsiteX6" fmla="*/ 249175 w 251559"/>
                <a:gd name="connsiteY6" fmla="*/ 245483 h 248328"/>
                <a:gd name="connsiteX7" fmla="*/ 251464 w 251559"/>
                <a:gd name="connsiteY7" fmla="*/ 239762 h 248328"/>
                <a:gd name="connsiteX8" fmla="*/ 251464 w 251559"/>
                <a:gd name="connsiteY8" fmla="*/ 237983 h 248328"/>
                <a:gd name="connsiteX9" fmla="*/ 251464 w 251559"/>
                <a:gd name="connsiteY9" fmla="*/ 236203 h 248328"/>
                <a:gd name="connsiteX10" fmla="*/ 250828 w 251559"/>
                <a:gd name="connsiteY10" fmla="*/ 234677 h 248328"/>
                <a:gd name="connsiteX11" fmla="*/ 249811 w 251559"/>
                <a:gd name="connsiteY11" fmla="*/ 233025 h 248328"/>
                <a:gd name="connsiteX12" fmla="*/ 249811 w 251559"/>
                <a:gd name="connsiteY12" fmla="*/ 232389 h 248328"/>
                <a:gd name="connsiteX13" fmla="*/ 24126 w 251559"/>
                <a:gd name="connsiteY13" fmla="*/ 11448 h 248328"/>
                <a:gd name="connsiteX14" fmla="*/ 14844 w 251559"/>
                <a:gd name="connsiteY14" fmla="*/ 2295 h 248328"/>
                <a:gd name="connsiteX15" fmla="*/ 2803 w 251559"/>
                <a:gd name="connsiteY15" fmla="*/ 2702 h 248328"/>
                <a:gd name="connsiteX16" fmla="*/ 2384 w 251559"/>
                <a:gd name="connsiteY16" fmla="*/ 3185 h 2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559" h="248328">
                  <a:moveTo>
                    <a:pt x="2384" y="3185"/>
                  </a:moveTo>
                  <a:cubicBezTo>
                    <a:pt x="-795" y="6820"/>
                    <a:pt x="-795" y="12261"/>
                    <a:pt x="2384" y="15897"/>
                  </a:cubicBezTo>
                  <a:lnTo>
                    <a:pt x="233028" y="241923"/>
                  </a:lnTo>
                  <a:lnTo>
                    <a:pt x="235444" y="244339"/>
                  </a:lnTo>
                  <a:lnTo>
                    <a:pt x="236461" y="245483"/>
                  </a:lnTo>
                  <a:cubicBezTo>
                    <a:pt x="239589" y="248992"/>
                    <a:pt x="244980" y="249296"/>
                    <a:pt x="248489" y="246169"/>
                  </a:cubicBezTo>
                  <a:cubicBezTo>
                    <a:pt x="248731" y="245953"/>
                    <a:pt x="248959" y="245724"/>
                    <a:pt x="249175" y="245483"/>
                  </a:cubicBezTo>
                  <a:cubicBezTo>
                    <a:pt x="250587" y="243907"/>
                    <a:pt x="251401" y="241873"/>
                    <a:pt x="251464" y="239762"/>
                  </a:cubicBezTo>
                  <a:cubicBezTo>
                    <a:pt x="251528" y="239165"/>
                    <a:pt x="251528" y="238580"/>
                    <a:pt x="251464" y="237983"/>
                  </a:cubicBezTo>
                  <a:cubicBezTo>
                    <a:pt x="251591" y="237398"/>
                    <a:pt x="251591" y="236788"/>
                    <a:pt x="251464" y="236203"/>
                  </a:cubicBezTo>
                  <a:cubicBezTo>
                    <a:pt x="251337" y="235669"/>
                    <a:pt x="251121" y="235148"/>
                    <a:pt x="250828" y="234677"/>
                  </a:cubicBezTo>
                  <a:cubicBezTo>
                    <a:pt x="250561" y="234080"/>
                    <a:pt x="250218" y="233533"/>
                    <a:pt x="249811" y="233025"/>
                  </a:cubicBezTo>
                  <a:cubicBezTo>
                    <a:pt x="249811" y="233025"/>
                    <a:pt x="249811" y="233025"/>
                    <a:pt x="249811" y="232389"/>
                  </a:cubicBezTo>
                  <a:lnTo>
                    <a:pt x="24126" y="11448"/>
                  </a:lnTo>
                  <a:lnTo>
                    <a:pt x="14844" y="2295"/>
                  </a:lnTo>
                  <a:cubicBezTo>
                    <a:pt x="11411" y="-921"/>
                    <a:pt x="6020" y="-731"/>
                    <a:pt x="2803" y="2702"/>
                  </a:cubicBezTo>
                  <a:cubicBezTo>
                    <a:pt x="2664" y="2854"/>
                    <a:pt x="2524" y="3020"/>
                    <a:pt x="2384" y="3185"/>
                  </a:cubicBezTo>
                  <a:close/>
                </a:path>
              </a:pathLst>
            </a:custGeom>
            <a:solidFill>
              <a:srgbClr val="000000"/>
            </a:solidFill>
            <a:ln w="12685"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181C5637-E6CC-487F-9217-1B9C919B6030}"/>
                </a:ext>
              </a:extLst>
            </p:cNvPr>
            <p:cNvSpPr/>
            <p:nvPr/>
          </p:nvSpPr>
          <p:spPr>
            <a:xfrm>
              <a:off x="2265364" y="3715242"/>
              <a:ext cx="99562" cy="609767"/>
            </a:xfrm>
            <a:custGeom>
              <a:avLst/>
              <a:gdLst>
                <a:gd name="connsiteX0" fmla="*/ 89137 w 99562"/>
                <a:gd name="connsiteY0" fmla="*/ 10551 h 609767"/>
                <a:gd name="connsiteX1" fmla="*/ 81635 w 99562"/>
                <a:gd name="connsiteY1" fmla="*/ 0 h 609767"/>
                <a:gd name="connsiteX2" fmla="*/ 80999 w 99562"/>
                <a:gd name="connsiteY2" fmla="*/ 4704 h 609767"/>
                <a:gd name="connsiteX3" fmla="*/ 80999 w 99562"/>
                <a:gd name="connsiteY3" fmla="*/ 4704 h 609767"/>
                <a:gd name="connsiteX4" fmla="*/ 134 w 99562"/>
                <a:gd name="connsiteY4" fmla="*/ 595830 h 609767"/>
                <a:gd name="connsiteX5" fmla="*/ 134 w 99562"/>
                <a:gd name="connsiteY5" fmla="*/ 599135 h 609767"/>
                <a:gd name="connsiteX6" fmla="*/ 7509 w 99562"/>
                <a:gd name="connsiteY6" fmla="*/ 609686 h 609767"/>
                <a:gd name="connsiteX7" fmla="*/ 17528 w 99562"/>
                <a:gd name="connsiteY7" fmla="*/ 602059 h 609767"/>
                <a:gd name="connsiteX8" fmla="*/ 17553 w 99562"/>
                <a:gd name="connsiteY8" fmla="*/ 601805 h 609767"/>
                <a:gd name="connsiteX9" fmla="*/ 18443 w 99562"/>
                <a:gd name="connsiteY9" fmla="*/ 595448 h 609767"/>
                <a:gd name="connsiteX10" fmla="*/ 99563 w 99562"/>
                <a:gd name="connsiteY10" fmla="*/ 2797 h 609767"/>
                <a:gd name="connsiteX11" fmla="*/ 89455 w 99562"/>
                <a:gd name="connsiteY11" fmla="*/ 10602 h 609767"/>
                <a:gd name="connsiteX12" fmla="*/ 89137 w 99562"/>
                <a:gd name="connsiteY12" fmla="*/ 10551 h 60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62" h="609767">
                  <a:moveTo>
                    <a:pt x="89137" y="10551"/>
                  </a:moveTo>
                  <a:cubicBezTo>
                    <a:pt x="84191" y="9649"/>
                    <a:pt x="80860" y="4971"/>
                    <a:pt x="81635" y="0"/>
                  </a:cubicBezTo>
                  <a:lnTo>
                    <a:pt x="80999" y="4704"/>
                  </a:lnTo>
                  <a:lnTo>
                    <a:pt x="80999" y="4704"/>
                  </a:lnTo>
                  <a:lnTo>
                    <a:pt x="134" y="595830"/>
                  </a:lnTo>
                  <a:lnTo>
                    <a:pt x="134" y="599135"/>
                  </a:lnTo>
                  <a:cubicBezTo>
                    <a:pt x="-718" y="604080"/>
                    <a:pt x="2575" y="608784"/>
                    <a:pt x="7509" y="609686"/>
                  </a:cubicBezTo>
                  <a:cubicBezTo>
                    <a:pt x="12378" y="610347"/>
                    <a:pt x="16867" y="606928"/>
                    <a:pt x="17528" y="602059"/>
                  </a:cubicBezTo>
                  <a:cubicBezTo>
                    <a:pt x="17528" y="601970"/>
                    <a:pt x="17541" y="601894"/>
                    <a:pt x="17553" y="601805"/>
                  </a:cubicBezTo>
                  <a:lnTo>
                    <a:pt x="18443" y="595448"/>
                  </a:lnTo>
                  <a:lnTo>
                    <a:pt x="99563" y="2797"/>
                  </a:lnTo>
                  <a:cubicBezTo>
                    <a:pt x="98927" y="7742"/>
                    <a:pt x="94401" y="11238"/>
                    <a:pt x="89455" y="10602"/>
                  </a:cubicBezTo>
                  <a:cubicBezTo>
                    <a:pt x="89353" y="10590"/>
                    <a:pt x="89239" y="10564"/>
                    <a:pt x="89137" y="10551"/>
                  </a:cubicBezTo>
                  <a:close/>
                </a:path>
              </a:pathLst>
            </a:custGeom>
            <a:solidFill>
              <a:srgbClr val="000000"/>
            </a:solidFill>
            <a:ln w="12685"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A2BC5FB5-6B01-452F-B94E-76B984916441}"/>
                </a:ext>
              </a:extLst>
            </p:cNvPr>
            <p:cNvSpPr/>
            <p:nvPr/>
          </p:nvSpPr>
          <p:spPr>
            <a:xfrm>
              <a:off x="1767338" y="3357261"/>
              <a:ext cx="43992" cy="255264"/>
            </a:xfrm>
            <a:custGeom>
              <a:avLst/>
              <a:gdLst>
                <a:gd name="connsiteX0" fmla="*/ 34330 w 43992"/>
                <a:gd name="connsiteY0" fmla="*/ 10170 h 255264"/>
                <a:gd name="connsiteX1" fmla="*/ 26574 w 43992"/>
                <a:gd name="connsiteY1" fmla="*/ 38 h 255264"/>
                <a:gd name="connsiteX2" fmla="*/ 26574 w 43992"/>
                <a:gd name="connsiteY2" fmla="*/ 0 h 255264"/>
                <a:gd name="connsiteX3" fmla="*/ 0 w 43992"/>
                <a:gd name="connsiteY3" fmla="*/ 255265 h 255264"/>
                <a:gd name="connsiteX4" fmla="*/ 4450 w 43992"/>
                <a:gd name="connsiteY4" fmla="*/ 253104 h 255264"/>
                <a:gd name="connsiteX5" fmla="*/ 15766 w 43992"/>
                <a:gd name="connsiteY5" fmla="*/ 247510 h 255264"/>
                <a:gd name="connsiteX6" fmla="*/ 18563 w 43992"/>
                <a:gd name="connsiteY6" fmla="*/ 246748 h 255264"/>
                <a:gd name="connsiteX7" fmla="*/ 43993 w 43992"/>
                <a:gd name="connsiteY7" fmla="*/ 1907 h 255264"/>
                <a:gd name="connsiteX8" fmla="*/ 34330 w 43992"/>
                <a:gd name="connsiteY8" fmla="*/ 10170 h 25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2" h="255264">
                  <a:moveTo>
                    <a:pt x="34330" y="10170"/>
                  </a:moveTo>
                  <a:cubicBezTo>
                    <a:pt x="29384" y="9509"/>
                    <a:pt x="25912" y="4971"/>
                    <a:pt x="26574" y="38"/>
                  </a:cubicBezTo>
                  <a:cubicBezTo>
                    <a:pt x="26574" y="25"/>
                    <a:pt x="26574" y="13"/>
                    <a:pt x="26574" y="0"/>
                  </a:cubicBezTo>
                  <a:lnTo>
                    <a:pt x="0" y="255265"/>
                  </a:lnTo>
                  <a:lnTo>
                    <a:pt x="4450" y="253104"/>
                  </a:lnTo>
                  <a:lnTo>
                    <a:pt x="15766" y="247510"/>
                  </a:lnTo>
                  <a:cubicBezTo>
                    <a:pt x="16644" y="247078"/>
                    <a:pt x="17597" y="246824"/>
                    <a:pt x="18563" y="246748"/>
                  </a:cubicBezTo>
                  <a:lnTo>
                    <a:pt x="43993" y="1907"/>
                  </a:lnTo>
                  <a:cubicBezTo>
                    <a:pt x="43586" y="6852"/>
                    <a:pt x="39276" y="10539"/>
                    <a:pt x="34330" y="10170"/>
                  </a:cubicBezTo>
                  <a:close/>
                </a:path>
              </a:pathLst>
            </a:custGeom>
            <a:solidFill>
              <a:srgbClr val="000000"/>
            </a:solidFill>
            <a:ln w="12685"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D22181AC-0282-4EEE-8F68-FF750906BC57}"/>
                </a:ext>
              </a:extLst>
            </p:cNvPr>
            <p:cNvSpPr/>
            <p:nvPr/>
          </p:nvSpPr>
          <p:spPr>
            <a:xfrm>
              <a:off x="3613888" y="3430358"/>
              <a:ext cx="114813" cy="98393"/>
            </a:xfrm>
            <a:custGeom>
              <a:avLst/>
              <a:gdLst>
                <a:gd name="connsiteX0" fmla="*/ 16147 w 114813"/>
                <a:gd name="connsiteY0" fmla="*/ 0 h 98393"/>
                <a:gd name="connsiteX1" fmla="*/ 15003 w 114813"/>
                <a:gd name="connsiteY1" fmla="*/ 5466 h 98393"/>
                <a:gd name="connsiteX2" fmla="*/ 5137 w 114813"/>
                <a:gd name="connsiteY2" fmla="*/ 12687 h 98393"/>
                <a:gd name="connsiteX3" fmla="*/ 4577 w 114813"/>
                <a:gd name="connsiteY3" fmla="*/ 12585 h 98393"/>
                <a:gd name="connsiteX4" fmla="*/ 0 w 114813"/>
                <a:gd name="connsiteY4" fmla="*/ 9789 h 98393"/>
                <a:gd name="connsiteX5" fmla="*/ 890 w 114813"/>
                <a:gd name="connsiteY5" fmla="*/ 10806 h 98393"/>
                <a:gd name="connsiteX6" fmla="*/ 103370 w 114813"/>
                <a:gd name="connsiteY6" fmla="*/ 98394 h 98393"/>
                <a:gd name="connsiteX7" fmla="*/ 102099 w 114813"/>
                <a:gd name="connsiteY7" fmla="*/ 85682 h 98393"/>
                <a:gd name="connsiteX8" fmla="*/ 113987 w 114813"/>
                <a:gd name="connsiteY8" fmla="*/ 83737 h 98393"/>
                <a:gd name="connsiteX9" fmla="*/ 114813 w 114813"/>
                <a:gd name="connsiteY9" fmla="*/ 84410 h 98393"/>
                <a:gd name="connsiteX10" fmla="*/ 103752 w 114813"/>
                <a:gd name="connsiteY10" fmla="*/ 74876 h 98393"/>
                <a:gd name="connsiteX11" fmla="*/ 16656 w 114813"/>
                <a:gd name="connsiteY11" fmla="*/ 509 h 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813" h="98393">
                  <a:moveTo>
                    <a:pt x="16147" y="0"/>
                  </a:moveTo>
                  <a:lnTo>
                    <a:pt x="15003" y="5466"/>
                  </a:lnTo>
                  <a:cubicBezTo>
                    <a:pt x="14278" y="10183"/>
                    <a:pt x="9854" y="13424"/>
                    <a:pt x="5137" y="12687"/>
                  </a:cubicBezTo>
                  <a:cubicBezTo>
                    <a:pt x="4946" y="12662"/>
                    <a:pt x="4768" y="12624"/>
                    <a:pt x="4577" y="12585"/>
                  </a:cubicBezTo>
                  <a:cubicBezTo>
                    <a:pt x="2797" y="12140"/>
                    <a:pt x="1208" y="11162"/>
                    <a:pt x="0" y="9789"/>
                  </a:cubicBezTo>
                  <a:lnTo>
                    <a:pt x="890" y="10806"/>
                  </a:lnTo>
                  <a:lnTo>
                    <a:pt x="103370" y="98394"/>
                  </a:lnTo>
                  <a:cubicBezTo>
                    <a:pt x="99861" y="95051"/>
                    <a:pt x="99314" y="89648"/>
                    <a:pt x="102099" y="85682"/>
                  </a:cubicBezTo>
                  <a:cubicBezTo>
                    <a:pt x="104845" y="81868"/>
                    <a:pt x="110172" y="80991"/>
                    <a:pt x="113987" y="83737"/>
                  </a:cubicBezTo>
                  <a:cubicBezTo>
                    <a:pt x="114279" y="83940"/>
                    <a:pt x="114546" y="84169"/>
                    <a:pt x="114813" y="84410"/>
                  </a:cubicBezTo>
                  <a:lnTo>
                    <a:pt x="103752" y="74876"/>
                  </a:lnTo>
                  <a:lnTo>
                    <a:pt x="16656" y="509"/>
                  </a:lnTo>
                  <a:close/>
                </a:path>
              </a:pathLst>
            </a:custGeom>
            <a:solidFill>
              <a:srgbClr val="000000"/>
            </a:solidFill>
            <a:ln w="12685" cap="flat">
              <a:no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3BD2F409-1403-4D12-BA83-35B25F2BE281}"/>
                </a:ext>
              </a:extLst>
            </p:cNvPr>
            <p:cNvSpPr/>
            <p:nvPr/>
          </p:nvSpPr>
          <p:spPr>
            <a:xfrm>
              <a:off x="3714213" y="3512033"/>
              <a:ext cx="208036" cy="181205"/>
            </a:xfrm>
            <a:custGeom>
              <a:avLst/>
              <a:gdLst>
                <a:gd name="connsiteX0" fmla="*/ 1774 w 208036"/>
                <a:gd name="connsiteY0" fmla="*/ 3625 h 181205"/>
                <a:gd name="connsiteX1" fmla="*/ 3045 w 208036"/>
                <a:gd name="connsiteY1" fmla="*/ 16337 h 181205"/>
                <a:gd name="connsiteX2" fmla="*/ 189188 w 208036"/>
                <a:gd name="connsiteY2" fmla="*/ 175242 h 181205"/>
                <a:gd name="connsiteX3" fmla="*/ 191858 w 208036"/>
                <a:gd name="connsiteY3" fmla="*/ 177530 h 181205"/>
                <a:gd name="connsiteX4" fmla="*/ 193511 w 208036"/>
                <a:gd name="connsiteY4" fmla="*/ 178928 h 181205"/>
                <a:gd name="connsiteX5" fmla="*/ 205551 w 208036"/>
                <a:gd name="connsiteY5" fmla="*/ 178484 h 181205"/>
                <a:gd name="connsiteX6" fmla="*/ 206225 w 208036"/>
                <a:gd name="connsiteY6" fmla="*/ 177657 h 181205"/>
                <a:gd name="connsiteX7" fmla="*/ 204954 w 208036"/>
                <a:gd name="connsiteY7" fmla="*/ 164945 h 181205"/>
                <a:gd name="connsiteX8" fmla="*/ 19193 w 208036"/>
                <a:gd name="connsiteY8" fmla="*/ 6294 h 181205"/>
                <a:gd name="connsiteX9" fmla="*/ 14997 w 208036"/>
                <a:gd name="connsiteY9" fmla="*/ 2735 h 181205"/>
                <a:gd name="connsiteX10" fmla="*/ 2956 w 208036"/>
                <a:gd name="connsiteY10" fmla="*/ 2264 h 181205"/>
                <a:gd name="connsiteX11" fmla="*/ 1774 w 208036"/>
                <a:gd name="connsiteY11" fmla="*/ 3625 h 1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036" h="181205">
                  <a:moveTo>
                    <a:pt x="1774" y="3625"/>
                  </a:moveTo>
                  <a:cubicBezTo>
                    <a:pt x="-1011" y="7591"/>
                    <a:pt x="-464" y="12994"/>
                    <a:pt x="3045" y="16337"/>
                  </a:cubicBezTo>
                  <a:lnTo>
                    <a:pt x="189188" y="175242"/>
                  </a:lnTo>
                  <a:lnTo>
                    <a:pt x="191858" y="177530"/>
                  </a:lnTo>
                  <a:lnTo>
                    <a:pt x="193511" y="178928"/>
                  </a:lnTo>
                  <a:cubicBezTo>
                    <a:pt x="196956" y="182132"/>
                    <a:pt x="202347" y="181929"/>
                    <a:pt x="205551" y="178484"/>
                  </a:cubicBezTo>
                  <a:cubicBezTo>
                    <a:pt x="205793" y="178217"/>
                    <a:pt x="206022" y="177950"/>
                    <a:pt x="206225" y="177657"/>
                  </a:cubicBezTo>
                  <a:cubicBezTo>
                    <a:pt x="209061" y="173704"/>
                    <a:pt x="208514" y="168263"/>
                    <a:pt x="204954" y="164945"/>
                  </a:cubicBezTo>
                  <a:lnTo>
                    <a:pt x="19193" y="6294"/>
                  </a:lnTo>
                  <a:lnTo>
                    <a:pt x="14997" y="2735"/>
                  </a:lnTo>
                  <a:cubicBezTo>
                    <a:pt x="11806" y="-723"/>
                    <a:pt x="6414" y="-926"/>
                    <a:pt x="2956" y="2264"/>
                  </a:cubicBezTo>
                  <a:cubicBezTo>
                    <a:pt x="2511" y="2684"/>
                    <a:pt x="2117" y="3129"/>
                    <a:pt x="1774" y="3625"/>
                  </a:cubicBezTo>
                  <a:close/>
                </a:path>
              </a:pathLst>
            </a:custGeom>
            <a:solidFill>
              <a:srgbClr val="000000"/>
            </a:solidFill>
            <a:ln w="12685" cap="flat">
              <a:no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D0633FE6-627A-477A-BCD2-29F85FAD2CC0}"/>
                </a:ext>
              </a:extLst>
            </p:cNvPr>
            <p:cNvSpPr/>
            <p:nvPr/>
          </p:nvSpPr>
          <p:spPr>
            <a:xfrm>
              <a:off x="651880" y="5899994"/>
              <a:ext cx="2924" cy="1652"/>
            </a:xfrm>
            <a:custGeom>
              <a:avLst/>
              <a:gdLst>
                <a:gd name="connsiteX0" fmla="*/ 0 w 2924"/>
                <a:gd name="connsiteY0" fmla="*/ 1652 h 1652"/>
                <a:gd name="connsiteX1" fmla="*/ 2924 w 2924"/>
                <a:gd name="connsiteY1" fmla="*/ 0 h 1652"/>
                <a:gd name="connsiteX2" fmla="*/ 0 w 2924"/>
                <a:gd name="connsiteY2" fmla="*/ 890 h 1652"/>
              </a:gdLst>
              <a:ahLst/>
              <a:cxnLst>
                <a:cxn ang="0">
                  <a:pos x="connsiteX0" y="connsiteY0"/>
                </a:cxn>
                <a:cxn ang="0">
                  <a:pos x="connsiteX1" y="connsiteY1"/>
                </a:cxn>
                <a:cxn ang="0">
                  <a:pos x="connsiteX2" y="connsiteY2"/>
                </a:cxn>
              </a:cxnLst>
              <a:rect l="l" t="t" r="r" b="b"/>
              <a:pathLst>
                <a:path w="2924" h="1652">
                  <a:moveTo>
                    <a:pt x="0" y="1652"/>
                  </a:moveTo>
                  <a:lnTo>
                    <a:pt x="2924" y="0"/>
                  </a:lnTo>
                  <a:cubicBezTo>
                    <a:pt x="2017" y="483"/>
                    <a:pt x="1024" y="788"/>
                    <a:pt x="0" y="890"/>
                  </a:cubicBezTo>
                  <a:close/>
                </a:path>
              </a:pathLst>
            </a:custGeom>
            <a:solidFill>
              <a:srgbClr val="000000"/>
            </a:solidFill>
            <a:ln w="12685" cap="flat">
              <a:no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E8DEBAC3-60E0-4878-A8C3-8E8AD409702F}"/>
                </a:ext>
              </a:extLst>
            </p:cNvPr>
            <p:cNvSpPr/>
            <p:nvPr/>
          </p:nvSpPr>
          <p:spPr>
            <a:xfrm>
              <a:off x="3305" y="5883340"/>
              <a:ext cx="645141" cy="373490"/>
            </a:xfrm>
            <a:custGeom>
              <a:avLst/>
              <a:gdLst>
                <a:gd name="connsiteX0" fmla="*/ 645142 w 645141"/>
                <a:gd name="connsiteY0" fmla="*/ 17416 h 373490"/>
                <a:gd name="connsiteX1" fmla="*/ 639166 w 645141"/>
                <a:gd name="connsiteY1" fmla="*/ 12712 h 373490"/>
                <a:gd name="connsiteX2" fmla="*/ 642981 w 645141"/>
                <a:gd name="connsiteY2" fmla="*/ 0 h 373490"/>
                <a:gd name="connsiteX3" fmla="*/ 0 w 645141"/>
                <a:gd name="connsiteY3" fmla="*/ 352515 h 373490"/>
                <a:gd name="connsiteX4" fmla="*/ 0 w 645141"/>
                <a:gd name="connsiteY4" fmla="*/ 373490 h 373490"/>
                <a:gd name="connsiteX5" fmla="*/ 645142 w 645141"/>
                <a:gd name="connsiteY5" fmla="*/ 20086 h 37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141" h="373490">
                  <a:moveTo>
                    <a:pt x="645142" y="17416"/>
                  </a:moveTo>
                  <a:cubicBezTo>
                    <a:pt x="642562" y="16793"/>
                    <a:pt x="640382" y="15077"/>
                    <a:pt x="639166" y="12712"/>
                  </a:cubicBezTo>
                  <a:cubicBezTo>
                    <a:pt x="636795" y="8136"/>
                    <a:pt x="638483" y="2517"/>
                    <a:pt x="642981" y="0"/>
                  </a:cubicBezTo>
                  <a:lnTo>
                    <a:pt x="0" y="352515"/>
                  </a:lnTo>
                  <a:lnTo>
                    <a:pt x="0" y="373490"/>
                  </a:lnTo>
                  <a:lnTo>
                    <a:pt x="645142" y="20086"/>
                  </a:lnTo>
                  <a:close/>
                </a:path>
              </a:pathLst>
            </a:custGeom>
            <a:solidFill>
              <a:srgbClr val="000000"/>
            </a:solidFill>
            <a:ln w="12685"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C9999AFA-42DA-4634-A30A-2E3060030865}"/>
                </a:ext>
              </a:extLst>
            </p:cNvPr>
            <p:cNvSpPr/>
            <p:nvPr/>
          </p:nvSpPr>
          <p:spPr>
            <a:xfrm>
              <a:off x="641272" y="5773188"/>
              <a:ext cx="219222" cy="128839"/>
            </a:xfrm>
            <a:custGeom>
              <a:avLst/>
              <a:gdLst>
                <a:gd name="connsiteX0" fmla="*/ 9591 w 219222"/>
                <a:gd name="connsiteY0" fmla="*/ 117017 h 128839"/>
                <a:gd name="connsiteX1" fmla="*/ 10991 w 219222"/>
                <a:gd name="connsiteY1" fmla="*/ 118657 h 128839"/>
                <a:gd name="connsiteX2" fmla="*/ 10990 w 219222"/>
                <a:gd name="connsiteY2" fmla="*/ 118670 h 128839"/>
                <a:gd name="connsiteX3" fmla="*/ 10990 w 219222"/>
                <a:gd name="connsiteY3" fmla="*/ 127696 h 128839"/>
                <a:gd name="connsiteX4" fmla="*/ 13914 w 219222"/>
                <a:gd name="connsiteY4" fmla="*/ 126806 h 128839"/>
                <a:gd name="connsiteX5" fmla="*/ 215060 w 219222"/>
                <a:gd name="connsiteY5" fmla="*/ 16971 h 128839"/>
                <a:gd name="connsiteX6" fmla="*/ 215060 w 219222"/>
                <a:gd name="connsiteY6" fmla="*/ 16971 h 128839"/>
                <a:gd name="connsiteX7" fmla="*/ 217476 w 219222"/>
                <a:gd name="connsiteY7" fmla="*/ 14683 h 128839"/>
                <a:gd name="connsiteX8" fmla="*/ 218239 w 219222"/>
                <a:gd name="connsiteY8" fmla="*/ 4894 h 128839"/>
                <a:gd name="connsiteX9" fmla="*/ 212517 w 219222"/>
                <a:gd name="connsiteY9" fmla="*/ 191 h 128839"/>
                <a:gd name="connsiteX10" fmla="*/ 209338 w 219222"/>
                <a:gd name="connsiteY10" fmla="*/ 191 h 128839"/>
                <a:gd name="connsiteX11" fmla="*/ 206414 w 219222"/>
                <a:gd name="connsiteY11" fmla="*/ 1081 h 128839"/>
                <a:gd name="connsiteX12" fmla="*/ 4887 w 219222"/>
                <a:gd name="connsiteY12" fmla="*/ 111424 h 128839"/>
                <a:gd name="connsiteX13" fmla="*/ 1072 w 219222"/>
                <a:gd name="connsiteY13" fmla="*/ 124136 h 128839"/>
                <a:gd name="connsiteX14" fmla="*/ 7048 w 219222"/>
                <a:gd name="connsiteY14" fmla="*/ 128840 h 128839"/>
                <a:gd name="connsiteX15" fmla="*/ 7048 w 219222"/>
                <a:gd name="connsiteY15" fmla="*/ 119814 h 128839"/>
                <a:gd name="connsiteX16" fmla="*/ 6921 w 219222"/>
                <a:gd name="connsiteY16" fmla="*/ 117145 h 128839"/>
                <a:gd name="connsiteX17" fmla="*/ 9591 w 219222"/>
                <a:gd name="connsiteY17" fmla="*/ 117017 h 12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222" h="128839">
                  <a:moveTo>
                    <a:pt x="9591" y="117017"/>
                  </a:moveTo>
                  <a:cubicBezTo>
                    <a:pt x="10432" y="117081"/>
                    <a:pt x="11057" y="117819"/>
                    <a:pt x="10991" y="118657"/>
                  </a:cubicBezTo>
                  <a:cubicBezTo>
                    <a:pt x="10990" y="118657"/>
                    <a:pt x="10990" y="118670"/>
                    <a:pt x="10990" y="118670"/>
                  </a:cubicBezTo>
                  <a:lnTo>
                    <a:pt x="10990" y="127696"/>
                  </a:lnTo>
                  <a:cubicBezTo>
                    <a:pt x="12013" y="127594"/>
                    <a:pt x="13006" y="127289"/>
                    <a:pt x="13914" y="126806"/>
                  </a:cubicBezTo>
                  <a:lnTo>
                    <a:pt x="215060" y="16971"/>
                  </a:lnTo>
                  <a:lnTo>
                    <a:pt x="215060" y="16971"/>
                  </a:lnTo>
                  <a:cubicBezTo>
                    <a:pt x="215984" y="16348"/>
                    <a:pt x="216799" y="15573"/>
                    <a:pt x="217476" y="14683"/>
                  </a:cubicBezTo>
                  <a:cubicBezTo>
                    <a:pt x="219492" y="11797"/>
                    <a:pt x="219785" y="8047"/>
                    <a:pt x="218239" y="4894"/>
                  </a:cubicBezTo>
                  <a:cubicBezTo>
                    <a:pt x="217164" y="2530"/>
                    <a:pt x="215051" y="788"/>
                    <a:pt x="212517" y="191"/>
                  </a:cubicBezTo>
                  <a:cubicBezTo>
                    <a:pt x="211473" y="-64"/>
                    <a:pt x="210382" y="-64"/>
                    <a:pt x="209338" y="191"/>
                  </a:cubicBezTo>
                  <a:cubicBezTo>
                    <a:pt x="208315" y="292"/>
                    <a:pt x="207322" y="598"/>
                    <a:pt x="206414" y="1081"/>
                  </a:cubicBezTo>
                  <a:lnTo>
                    <a:pt x="4887" y="111424"/>
                  </a:lnTo>
                  <a:cubicBezTo>
                    <a:pt x="389" y="113941"/>
                    <a:pt x="-1299" y="119560"/>
                    <a:pt x="1072" y="124136"/>
                  </a:cubicBezTo>
                  <a:cubicBezTo>
                    <a:pt x="2288" y="126501"/>
                    <a:pt x="4468" y="128217"/>
                    <a:pt x="7048" y="128840"/>
                  </a:cubicBezTo>
                  <a:lnTo>
                    <a:pt x="7048" y="119814"/>
                  </a:lnTo>
                  <a:cubicBezTo>
                    <a:pt x="6275" y="119115"/>
                    <a:pt x="6219" y="117920"/>
                    <a:pt x="6921" y="117145"/>
                  </a:cubicBezTo>
                  <a:cubicBezTo>
                    <a:pt x="7623" y="116369"/>
                    <a:pt x="8819" y="116318"/>
                    <a:pt x="9591" y="117017"/>
                  </a:cubicBezTo>
                  <a:close/>
                </a:path>
              </a:pathLst>
            </a:custGeom>
            <a:solidFill>
              <a:srgbClr val="000000"/>
            </a:solidFill>
            <a:ln w="12685"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FFDDDC40-DE6A-4206-B7FE-21D014F8DB1B}"/>
                </a:ext>
              </a:extLst>
            </p:cNvPr>
            <p:cNvSpPr/>
            <p:nvPr/>
          </p:nvSpPr>
          <p:spPr>
            <a:xfrm>
              <a:off x="1112787" y="4051349"/>
              <a:ext cx="59149" cy="619102"/>
            </a:xfrm>
            <a:custGeom>
              <a:avLst/>
              <a:gdLst>
                <a:gd name="connsiteX0" fmla="*/ 8900 w 59149"/>
                <a:gd name="connsiteY0" fmla="*/ 609059 h 619102"/>
                <a:gd name="connsiteX1" fmla="*/ 17038 w 59149"/>
                <a:gd name="connsiteY1" fmla="*/ 619102 h 619102"/>
                <a:gd name="connsiteX2" fmla="*/ 59123 w 59149"/>
                <a:gd name="connsiteY2" fmla="*/ 9924 h 619102"/>
                <a:gd name="connsiteX3" fmla="*/ 50859 w 59149"/>
                <a:gd name="connsiteY3" fmla="*/ 9 h 619102"/>
                <a:gd name="connsiteX4" fmla="*/ 41451 w 59149"/>
                <a:gd name="connsiteY4" fmla="*/ 8640 h 619102"/>
                <a:gd name="connsiteX5" fmla="*/ 41450 w 59149"/>
                <a:gd name="connsiteY5" fmla="*/ 8653 h 619102"/>
                <a:gd name="connsiteX6" fmla="*/ 41450 w 59149"/>
                <a:gd name="connsiteY6" fmla="*/ 11958 h 619102"/>
                <a:gd name="connsiteX7" fmla="*/ 41450 w 59149"/>
                <a:gd name="connsiteY7" fmla="*/ 15772 h 619102"/>
                <a:gd name="connsiteX8" fmla="*/ 0 w 59149"/>
                <a:gd name="connsiteY8" fmla="*/ 618085 h 619102"/>
                <a:gd name="connsiteX9" fmla="*/ 8900 w 59149"/>
                <a:gd name="connsiteY9" fmla="*/ 609059 h 61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49" h="619102">
                  <a:moveTo>
                    <a:pt x="8900" y="609059"/>
                  </a:moveTo>
                  <a:cubicBezTo>
                    <a:pt x="13918" y="609593"/>
                    <a:pt x="17556" y="614081"/>
                    <a:pt x="17038" y="619102"/>
                  </a:cubicBezTo>
                  <a:lnTo>
                    <a:pt x="59123" y="9924"/>
                  </a:lnTo>
                  <a:cubicBezTo>
                    <a:pt x="59495" y="4928"/>
                    <a:pt x="55838" y="542"/>
                    <a:pt x="50859" y="9"/>
                  </a:cubicBezTo>
                  <a:cubicBezTo>
                    <a:pt x="45877" y="-207"/>
                    <a:pt x="41666" y="3657"/>
                    <a:pt x="41451" y="8640"/>
                  </a:cubicBezTo>
                  <a:cubicBezTo>
                    <a:pt x="41450" y="8640"/>
                    <a:pt x="41450" y="8653"/>
                    <a:pt x="41450" y="8653"/>
                  </a:cubicBezTo>
                  <a:lnTo>
                    <a:pt x="41450" y="11958"/>
                  </a:lnTo>
                  <a:lnTo>
                    <a:pt x="41450" y="15772"/>
                  </a:lnTo>
                  <a:lnTo>
                    <a:pt x="0" y="618085"/>
                  </a:lnTo>
                  <a:cubicBezTo>
                    <a:pt x="0" y="613153"/>
                    <a:pt x="3965" y="609123"/>
                    <a:pt x="8900" y="609059"/>
                  </a:cubicBezTo>
                  <a:close/>
                </a:path>
              </a:pathLst>
            </a:custGeom>
            <a:solidFill>
              <a:srgbClr val="000000"/>
            </a:solidFill>
            <a:ln w="12685"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AED0F9EF-6630-4E69-979E-2CF560A9EA33}"/>
                </a:ext>
              </a:extLst>
            </p:cNvPr>
            <p:cNvSpPr/>
            <p:nvPr/>
          </p:nvSpPr>
          <p:spPr>
            <a:xfrm>
              <a:off x="1110226" y="4660400"/>
              <a:ext cx="19647" cy="46423"/>
            </a:xfrm>
            <a:custGeom>
              <a:avLst/>
              <a:gdLst>
                <a:gd name="connsiteX0" fmla="*/ 19598 w 19647"/>
                <a:gd name="connsiteY0" fmla="*/ 10052 h 46423"/>
                <a:gd name="connsiteX1" fmla="*/ 11461 w 19647"/>
                <a:gd name="connsiteY1" fmla="*/ 9 h 46423"/>
                <a:gd name="connsiteX2" fmla="*/ 2053 w 19647"/>
                <a:gd name="connsiteY2" fmla="*/ 8640 h 46423"/>
                <a:gd name="connsiteX3" fmla="*/ 2052 w 19647"/>
                <a:gd name="connsiteY3" fmla="*/ 8653 h 46423"/>
                <a:gd name="connsiteX4" fmla="*/ 145 w 19647"/>
                <a:gd name="connsiteY4" fmla="*/ 36493 h 46423"/>
                <a:gd name="connsiteX5" fmla="*/ 145 w 19647"/>
                <a:gd name="connsiteY5" fmla="*/ 39671 h 46423"/>
                <a:gd name="connsiteX6" fmla="*/ 1544 w 19647"/>
                <a:gd name="connsiteY6" fmla="*/ 42595 h 46423"/>
                <a:gd name="connsiteX7" fmla="*/ 7901 w 19647"/>
                <a:gd name="connsiteY7" fmla="*/ 46409 h 46423"/>
                <a:gd name="connsiteX8" fmla="*/ 17302 w 19647"/>
                <a:gd name="connsiteY8" fmla="*/ 38044 h 46423"/>
                <a:gd name="connsiteX9" fmla="*/ 17310 w 19647"/>
                <a:gd name="connsiteY9" fmla="*/ 37891 h 46423"/>
                <a:gd name="connsiteX10" fmla="*/ 18581 w 19647"/>
                <a:gd name="connsiteY10" fmla="*/ 20349 h 46423"/>
                <a:gd name="connsiteX11" fmla="*/ 18581 w 19647"/>
                <a:gd name="connsiteY11" fmla="*/ 16026 h 4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47" h="46423">
                  <a:moveTo>
                    <a:pt x="19598" y="10052"/>
                  </a:moveTo>
                  <a:cubicBezTo>
                    <a:pt x="20117" y="5030"/>
                    <a:pt x="16478" y="542"/>
                    <a:pt x="11461" y="9"/>
                  </a:cubicBezTo>
                  <a:cubicBezTo>
                    <a:pt x="6479" y="-207"/>
                    <a:pt x="2268" y="3657"/>
                    <a:pt x="2053" y="8640"/>
                  </a:cubicBezTo>
                  <a:cubicBezTo>
                    <a:pt x="2052" y="8640"/>
                    <a:pt x="2052" y="8653"/>
                    <a:pt x="2052" y="8653"/>
                  </a:cubicBezTo>
                  <a:lnTo>
                    <a:pt x="145" y="36493"/>
                  </a:lnTo>
                  <a:cubicBezTo>
                    <a:pt x="-48" y="37548"/>
                    <a:pt x="-48" y="38616"/>
                    <a:pt x="145" y="39671"/>
                  </a:cubicBezTo>
                  <a:cubicBezTo>
                    <a:pt x="401" y="40739"/>
                    <a:pt x="876" y="41730"/>
                    <a:pt x="1544" y="42595"/>
                  </a:cubicBezTo>
                  <a:cubicBezTo>
                    <a:pt x="2941" y="44795"/>
                    <a:pt x="5298" y="46218"/>
                    <a:pt x="7901" y="46409"/>
                  </a:cubicBezTo>
                  <a:cubicBezTo>
                    <a:pt x="12809" y="46689"/>
                    <a:pt x="17017" y="42951"/>
                    <a:pt x="17302" y="38044"/>
                  </a:cubicBezTo>
                  <a:cubicBezTo>
                    <a:pt x="17305" y="37993"/>
                    <a:pt x="17307" y="37943"/>
                    <a:pt x="17310" y="37891"/>
                  </a:cubicBezTo>
                  <a:lnTo>
                    <a:pt x="18581" y="20349"/>
                  </a:lnTo>
                  <a:lnTo>
                    <a:pt x="18581" y="16026"/>
                  </a:lnTo>
                  <a:close/>
                </a:path>
              </a:pathLst>
            </a:custGeom>
            <a:solidFill>
              <a:srgbClr val="000000"/>
            </a:solidFill>
            <a:ln w="12685"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BA04D934-54F6-4F88-88FA-A843B9CE1B0C}"/>
                </a:ext>
              </a:extLst>
            </p:cNvPr>
            <p:cNvSpPr/>
            <p:nvPr/>
          </p:nvSpPr>
          <p:spPr>
            <a:xfrm>
              <a:off x="3610582" y="3272978"/>
              <a:ext cx="50095" cy="169793"/>
            </a:xfrm>
            <a:custGeom>
              <a:avLst/>
              <a:gdLst>
                <a:gd name="connsiteX0" fmla="*/ 1017 w 50095"/>
                <a:gd name="connsiteY0" fmla="*/ 160176 h 169793"/>
                <a:gd name="connsiteX1" fmla="*/ 1017 w 50095"/>
                <a:gd name="connsiteY1" fmla="*/ 162337 h 169793"/>
                <a:gd name="connsiteX2" fmla="*/ 1017 w 50095"/>
                <a:gd name="connsiteY2" fmla="*/ 163481 h 169793"/>
                <a:gd name="connsiteX3" fmla="*/ 1017 w 50095"/>
                <a:gd name="connsiteY3" fmla="*/ 163481 h 169793"/>
                <a:gd name="connsiteX4" fmla="*/ 1653 w 50095"/>
                <a:gd name="connsiteY4" fmla="*/ 165261 h 169793"/>
                <a:gd name="connsiteX5" fmla="*/ 1653 w 50095"/>
                <a:gd name="connsiteY5" fmla="*/ 166024 h 169793"/>
                <a:gd name="connsiteX6" fmla="*/ 2289 w 50095"/>
                <a:gd name="connsiteY6" fmla="*/ 166787 h 169793"/>
                <a:gd name="connsiteX7" fmla="*/ 6866 w 50095"/>
                <a:gd name="connsiteY7" fmla="*/ 169583 h 169793"/>
                <a:gd name="connsiteX8" fmla="*/ 17190 w 50095"/>
                <a:gd name="connsiteY8" fmla="*/ 163024 h 169793"/>
                <a:gd name="connsiteX9" fmla="*/ 17292 w 50095"/>
                <a:gd name="connsiteY9" fmla="*/ 162464 h 169793"/>
                <a:gd name="connsiteX10" fmla="*/ 18436 w 50095"/>
                <a:gd name="connsiteY10" fmla="*/ 156998 h 169793"/>
                <a:gd name="connsiteX11" fmla="*/ 19199 w 50095"/>
                <a:gd name="connsiteY11" fmla="*/ 153184 h 169793"/>
                <a:gd name="connsiteX12" fmla="*/ 47044 w 50095"/>
                <a:gd name="connsiteY12" fmla="*/ 18560 h 169793"/>
                <a:gd name="connsiteX13" fmla="*/ 50096 w 50095"/>
                <a:gd name="connsiteY13" fmla="*/ 3941 h 169793"/>
                <a:gd name="connsiteX14" fmla="*/ 39721 w 50095"/>
                <a:gd name="connsiteY14" fmla="*/ 11072 h 169793"/>
                <a:gd name="connsiteX15" fmla="*/ 39670 w 50095"/>
                <a:gd name="connsiteY15" fmla="*/ 11060 h 169793"/>
                <a:gd name="connsiteX16" fmla="*/ 32931 w 50095"/>
                <a:gd name="connsiteY16" fmla="*/ 0 h 169793"/>
                <a:gd name="connsiteX17" fmla="*/ 0 w 50095"/>
                <a:gd name="connsiteY17" fmla="*/ 158651 h 169793"/>
                <a:gd name="connsiteX18" fmla="*/ 1017 w 50095"/>
                <a:gd name="connsiteY18" fmla="*/ 160176 h 16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95" h="169793">
                  <a:moveTo>
                    <a:pt x="1017" y="160176"/>
                  </a:moveTo>
                  <a:cubicBezTo>
                    <a:pt x="954" y="160901"/>
                    <a:pt x="954" y="161613"/>
                    <a:pt x="1017" y="162337"/>
                  </a:cubicBezTo>
                  <a:lnTo>
                    <a:pt x="1017" y="163481"/>
                  </a:lnTo>
                  <a:lnTo>
                    <a:pt x="1017" y="163481"/>
                  </a:lnTo>
                  <a:cubicBezTo>
                    <a:pt x="1170" y="164091"/>
                    <a:pt x="1386" y="164689"/>
                    <a:pt x="1653" y="165261"/>
                  </a:cubicBezTo>
                  <a:lnTo>
                    <a:pt x="1653" y="166024"/>
                  </a:lnTo>
                  <a:lnTo>
                    <a:pt x="2289" y="166787"/>
                  </a:lnTo>
                  <a:cubicBezTo>
                    <a:pt x="3496" y="168159"/>
                    <a:pt x="5086" y="169138"/>
                    <a:pt x="6866" y="169583"/>
                  </a:cubicBezTo>
                  <a:cubicBezTo>
                    <a:pt x="11532" y="170626"/>
                    <a:pt x="16147" y="167689"/>
                    <a:pt x="17190" y="163024"/>
                  </a:cubicBezTo>
                  <a:cubicBezTo>
                    <a:pt x="17229" y="162846"/>
                    <a:pt x="17267" y="162655"/>
                    <a:pt x="17292" y="162464"/>
                  </a:cubicBezTo>
                  <a:lnTo>
                    <a:pt x="18436" y="156998"/>
                  </a:lnTo>
                  <a:lnTo>
                    <a:pt x="19199" y="153184"/>
                  </a:lnTo>
                  <a:lnTo>
                    <a:pt x="47044" y="18560"/>
                  </a:lnTo>
                  <a:lnTo>
                    <a:pt x="50096" y="3941"/>
                  </a:lnTo>
                  <a:cubicBezTo>
                    <a:pt x="49206" y="8771"/>
                    <a:pt x="44552" y="11962"/>
                    <a:pt x="39721" y="11072"/>
                  </a:cubicBezTo>
                  <a:cubicBezTo>
                    <a:pt x="39708" y="11072"/>
                    <a:pt x="39682" y="11060"/>
                    <a:pt x="39670" y="11060"/>
                  </a:cubicBezTo>
                  <a:cubicBezTo>
                    <a:pt x="34800" y="9814"/>
                    <a:pt x="31812" y="4907"/>
                    <a:pt x="32931" y="0"/>
                  </a:cubicBezTo>
                  <a:lnTo>
                    <a:pt x="0" y="158651"/>
                  </a:lnTo>
                  <a:cubicBezTo>
                    <a:pt x="470" y="159057"/>
                    <a:pt x="826" y="159579"/>
                    <a:pt x="1017" y="160176"/>
                  </a:cubicBezTo>
                  <a:close/>
                </a:path>
              </a:pathLst>
            </a:custGeom>
            <a:solidFill>
              <a:srgbClr val="000000"/>
            </a:solidFill>
            <a:ln w="12685"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DA72957B-E591-4820-B821-27ADD361252E}"/>
                </a:ext>
              </a:extLst>
            </p:cNvPr>
            <p:cNvSpPr/>
            <p:nvPr/>
          </p:nvSpPr>
          <p:spPr>
            <a:xfrm>
              <a:off x="3644296" y="3157816"/>
              <a:ext cx="39824" cy="126765"/>
            </a:xfrm>
            <a:custGeom>
              <a:avLst/>
              <a:gdLst>
                <a:gd name="connsiteX0" fmla="*/ 22485 w 39824"/>
                <a:gd name="connsiteY0" fmla="*/ 7361 h 126765"/>
                <a:gd name="connsiteX1" fmla="*/ 21468 w 39824"/>
                <a:gd name="connsiteY1" fmla="*/ 12447 h 126765"/>
                <a:gd name="connsiteX2" fmla="*/ 20578 w 39824"/>
                <a:gd name="connsiteY2" fmla="*/ 16642 h 126765"/>
                <a:gd name="connsiteX3" fmla="*/ 235 w 39824"/>
                <a:gd name="connsiteY3" fmla="*/ 115544 h 126765"/>
                <a:gd name="connsiteX4" fmla="*/ 6973 w 39824"/>
                <a:gd name="connsiteY4" fmla="*/ 126604 h 126765"/>
                <a:gd name="connsiteX5" fmla="*/ 17387 w 39824"/>
                <a:gd name="connsiteY5" fmla="*/ 119536 h 126765"/>
                <a:gd name="connsiteX6" fmla="*/ 17399 w 39824"/>
                <a:gd name="connsiteY6" fmla="*/ 119485 h 126765"/>
                <a:gd name="connsiteX7" fmla="*/ 18543 w 39824"/>
                <a:gd name="connsiteY7" fmla="*/ 113891 h 126765"/>
                <a:gd name="connsiteX8" fmla="*/ 39777 w 39824"/>
                <a:gd name="connsiteY8" fmla="*/ 11302 h 126765"/>
                <a:gd name="connsiteX9" fmla="*/ 39777 w 39824"/>
                <a:gd name="connsiteY9" fmla="*/ 10031 h 126765"/>
                <a:gd name="connsiteX10" fmla="*/ 39777 w 39824"/>
                <a:gd name="connsiteY10" fmla="*/ 7997 h 126765"/>
                <a:gd name="connsiteX11" fmla="*/ 39777 w 39824"/>
                <a:gd name="connsiteY11" fmla="*/ 6344 h 126765"/>
                <a:gd name="connsiteX12" fmla="*/ 39141 w 39824"/>
                <a:gd name="connsiteY12" fmla="*/ 4692 h 126765"/>
                <a:gd name="connsiteX13" fmla="*/ 37870 w 39824"/>
                <a:gd name="connsiteY13" fmla="*/ 3166 h 126765"/>
                <a:gd name="connsiteX14" fmla="*/ 33420 w 39824"/>
                <a:gd name="connsiteY14" fmla="*/ 243 h 126765"/>
                <a:gd name="connsiteX15" fmla="*/ 22574 w 39824"/>
                <a:gd name="connsiteY15" fmla="*/ 6968 h 126765"/>
                <a:gd name="connsiteX16" fmla="*/ 22485 w 39824"/>
                <a:gd name="connsiteY16" fmla="*/ 7361 h 12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24" h="126765">
                  <a:moveTo>
                    <a:pt x="22485" y="7361"/>
                  </a:moveTo>
                  <a:lnTo>
                    <a:pt x="21468" y="12447"/>
                  </a:lnTo>
                  <a:lnTo>
                    <a:pt x="20578" y="16642"/>
                  </a:lnTo>
                  <a:lnTo>
                    <a:pt x="235" y="115544"/>
                  </a:lnTo>
                  <a:cubicBezTo>
                    <a:pt x="-884" y="120451"/>
                    <a:pt x="2103" y="125358"/>
                    <a:pt x="6973" y="126604"/>
                  </a:cubicBezTo>
                  <a:cubicBezTo>
                    <a:pt x="11805" y="127532"/>
                    <a:pt x="16458" y="124366"/>
                    <a:pt x="17387" y="119536"/>
                  </a:cubicBezTo>
                  <a:cubicBezTo>
                    <a:pt x="17399" y="119523"/>
                    <a:pt x="17399" y="119497"/>
                    <a:pt x="17399" y="119485"/>
                  </a:cubicBezTo>
                  <a:lnTo>
                    <a:pt x="18543" y="113891"/>
                  </a:lnTo>
                  <a:lnTo>
                    <a:pt x="39777" y="11302"/>
                  </a:lnTo>
                  <a:cubicBezTo>
                    <a:pt x="39841" y="10883"/>
                    <a:pt x="39841" y="10451"/>
                    <a:pt x="39777" y="10031"/>
                  </a:cubicBezTo>
                  <a:cubicBezTo>
                    <a:pt x="39841" y="9357"/>
                    <a:pt x="39841" y="8671"/>
                    <a:pt x="39777" y="7997"/>
                  </a:cubicBezTo>
                  <a:cubicBezTo>
                    <a:pt x="39777" y="7361"/>
                    <a:pt x="39777" y="6853"/>
                    <a:pt x="39777" y="6344"/>
                  </a:cubicBezTo>
                  <a:cubicBezTo>
                    <a:pt x="39777" y="5836"/>
                    <a:pt x="39777" y="5200"/>
                    <a:pt x="39141" y="4692"/>
                  </a:cubicBezTo>
                  <a:cubicBezTo>
                    <a:pt x="38785" y="4133"/>
                    <a:pt x="38366" y="3611"/>
                    <a:pt x="37870" y="3166"/>
                  </a:cubicBezTo>
                  <a:cubicBezTo>
                    <a:pt x="36726" y="1755"/>
                    <a:pt x="35162" y="738"/>
                    <a:pt x="33420" y="243"/>
                  </a:cubicBezTo>
                  <a:cubicBezTo>
                    <a:pt x="28563" y="-902"/>
                    <a:pt x="23706" y="2111"/>
                    <a:pt x="22574" y="6968"/>
                  </a:cubicBezTo>
                  <a:cubicBezTo>
                    <a:pt x="22536" y="7095"/>
                    <a:pt x="22511" y="7234"/>
                    <a:pt x="22485" y="7361"/>
                  </a:cubicBezTo>
                  <a:close/>
                </a:path>
              </a:pathLst>
            </a:custGeom>
            <a:solidFill>
              <a:srgbClr val="000000"/>
            </a:solidFill>
            <a:ln w="12685"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84056B8F-8388-488F-B4FF-863654B3524C}"/>
                </a:ext>
              </a:extLst>
            </p:cNvPr>
            <p:cNvSpPr/>
            <p:nvPr/>
          </p:nvSpPr>
          <p:spPr>
            <a:xfrm>
              <a:off x="838023" y="2069538"/>
              <a:ext cx="312828" cy="149710"/>
            </a:xfrm>
            <a:custGeom>
              <a:avLst/>
              <a:gdLst>
                <a:gd name="connsiteX0" fmla="*/ 312781 w 312828"/>
                <a:gd name="connsiteY0" fmla="*/ 8603 h 149710"/>
                <a:gd name="connsiteX1" fmla="*/ 312781 w 312828"/>
                <a:gd name="connsiteY1" fmla="*/ 6823 h 149710"/>
                <a:gd name="connsiteX2" fmla="*/ 312781 w 312828"/>
                <a:gd name="connsiteY2" fmla="*/ 4917 h 149710"/>
                <a:gd name="connsiteX3" fmla="*/ 312781 w 312828"/>
                <a:gd name="connsiteY3" fmla="*/ 4917 h 149710"/>
                <a:gd name="connsiteX4" fmla="*/ 312781 w 312828"/>
                <a:gd name="connsiteY4" fmla="*/ 3899 h 149710"/>
                <a:gd name="connsiteX5" fmla="*/ 311636 w 312828"/>
                <a:gd name="connsiteY5" fmla="*/ 2120 h 149710"/>
                <a:gd name="connsiteX6" fmla="*/ 310365 w 312828"/>
                <a:gd name="connsiteY6" fmla="*/ 1103 h 149710"/>
                <a:gd name="connsiteX7" fmla="*/ 308966 w 312828"/>
                <a:gd name="connsiteY7" fmla="*/ 86 h 149710"/>
                <a:gd name="connsiteX8" fmla="*/ 307186 w 312828"/>
                <a:gd name="connsiteY8" fmla="*/ 86 h 149710"/>
                <a:gd name="connsiteX9" fmla="*/ 305660 w 312828"/>
                <a:gd name="connsiteY9" fmla="*/ 86 h 149710"/>
                <a:gd name="connsiteX10" fmla="*/ 304008 w 312828"/>
                <a:gd name="connsiteY10" fmla="*/ 86 h 149710"/>
                <a:gd name="connsiteX11" fmla="*/ 302100 w 312828"/>
                <a:gd name="connsiteY11" fmla="*/ 86 h 149710"/>
                <a:gd name="connsiteX12" fmla="*/ 302100 w 312828"/>
                <a:gd name="connsiteY12" fmla="*/ 86 h 149710"/>
                <a:gd name="connsiteX13" fmla="*/ 297142 w 312828"/>
                <a:gd name="connsiteY13" fmla="*/ 2374 h 149710"/>
                <a:gd name="connsiteX14" fmla="*/ 0 w 312828"/>
                <a:gd name="connsiteY14" fmla="*/ 132040 h 149710"/>
                <a:gd name="connsiteX15" fmla="*/ 11378 w 312828"/>
                <a:gd name="connsiteY15" fmla="*/ 136515 h 149710"/>
                <a:gd name="connsiteX16" fmla="*/ 11570 w 312828"/>
                <a:gd name="connsiteY16" fmla="*/ 136998 h 149710"/>
                <a:gd name="connsiteX17" fmla="*/ 7191 w 312828"/>
                <a:gd name="connsiteY17" fmla="*/ 149558 h 149710"/>
                <a:gd name="connsiteX18" fmla="*/ 6866 w 312828"/>
                <a:gd name="connsiteY18" fmla="*/ 149711 h 149710"/>
                <a:gd name="connsiteX19" fmla="*/ 294344 w 312828"/>
                <a:gd name="connsiteY19" fmla="*/ 22587 h 149710"/>
                <a:gd name="connsiteX20" fmla="*/ 307059 w 312828"/>
                <a:gd name="connsiteY20" fmla="*/ 16866 h 149710"/>
                <a:gd name="connsiteX21" fmla="*/ 312781 w 312828"/>
                <a:gd name="connsiteY21" fmla="*/ 8603 h 14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2828" h="149710">
                  <a:moveTo>
                    <a:pt x="312781" y="8603"/>
                  </a:moveTo>
                  <a:cubicBezTo>
                    <a:pt x="312844" y="8006"/>
                    <a:pt x="312844" y="7421"/>
                    <a:pt x="312781" y="6823"/>
                  </a:cubicBezTo>
                  <a:cubicBezTo>
                    <a:pt x="312840" y="6188"/>
                    <a:pt x="312840" y="5552"/>
                    <a:pt x="312781" y="4917"/>
                  </a:cubicBezTo>
                  <a:lnTo>
                    <a:pt x="312781" y="4917"/>
                  </a:lnTo>
                  <a:cubicBezTo>
                    <a:pt x="312820" y="4573"/>
                    <a:pt x="312820" y="4243"/>
                    <a:pt x="312781" y="3899"/>
                  </a:cubicBezTo>
                  <a:cubicBezTo>
                    <a:pt x="312474" y="3264"/>
                    <a:pt x="312090" y="2666"/>
                    <a:pt x="311636" y="2120"/>
                  </a:cubicBezTo>
                  <a:lnTo>
                    <a:pt x="310365" y="1103"/>
                  </a:lnTo>
                  <a:lnTo>
                    <a:pt x="308966" y="86"/>
                  </a:lnTo>
                  <a:lnTo>
                    <a:pt x="307186" y="86"/>
                  </a:lnTo>
                  <a:lnTo>
                    <a:pt x="305660" y="86"/>
                  </a:lnTo>
                  <a:lnTo>
                    <a:pt x="304008" y="86"/>
                  </a:lnTo>
                  <a:cubicBezTo>
                    <a:pt x="303377" y="-29"/>
                    <a:pt x="302731" y="-29"/>
                    <a:pt x="302100" y="86"/>
                  </a:cubicBezTo>
                  <a:lnTo>
                    <a:pt x="302100" y="86"/>
                  </a:lnTo>
                  <a:lnTo>
                    <a:pt x="297142" y="2374"/>
                  </a:lnTo>
                  <a:lnTo>
                    <a:pt x="0" y="132040"/>
                  </a:lnTo>
                  <a:cubicBezTo>
                    <a:pt x="4379" y="130134"/>
                    <a:pt x="9472" y="132142"/>
                    <a:pt x="11378" y="136515"/>
                  </a:cubicBezTo>
                  <a:cubicBezTo>
                    <a:pt x="11447" y="136680"/>
                    <a:pt x="11511" y="136833"/>
                    <a:pt x="11570" y="136998"/>
                  </a:cubicBezTo>
                  <a:cubicBezTo>
                    <a:pt x="13831" y="141676"/>
                    <a:pt x="11870" y="147295"/>
                    <a:pt x="7191" y="149558"/>
                  </a:cubicBezTo>
                  <a:cubicBezTo>
                    <a:pt x="7083" y="149609"/>
                    <a:pt x="6975" y="149660"/>
                    <a:pt x="6866" y="149711"/>
                  </a:cubicBezTo>
                  <a:lnTo>
                    <a:pt x="294344" y="22587"/>
                  </a:lnTo>
                  <a:lnTo>
                    <a:pt x="307059" y="16866"/>
                  </a:lnTo>
                  <a:cubicBezTo>
                    <a:pt x="310402" y="15442"/>
                    <a:pt x="312628" y="12226"/>
                    <a:pt x="312781" y="8603"/>
                  </a:cubicBezTo>
                  <a:close/>
                </a:path>
              </a:pathLst>
            </a:custGeom>
            <a:solidFill>
              <a:srgbClr val="000000"/>
            </a:solidFill>
            <a:ln w="12685"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7377DA69-D6FB-4781-A320-C2C2DE690423}"/>
                </a:ext>
              </a:extLst>
            </p:cNvPr>
            <p:cNvSpPr/>
            <p:nvPr/>
          </p:nvSpPr>
          <p:spPr>
            <a:xfrm>
              <a:off x="702357" y="2265546"/>
              <a:ext cx="12714" cy="1627"/>
            </a:xfrm>
            <a:custGeom>
              <a:avLst/>
              <a:gdLst>
                <a:gd name="connsiteX0" fmla="*/ 0 w 12714"/>
                <a:gd name="connsiteY0" fmla="*/ 1628 h 1627"/>
                <a:gd name="connsiteX1" fmla="*/ 0 w 12714"/>
                <a:gd name="connsiteY1" fmla="*/ 1628 h 1627"/>
                <a:gd name="connsiteX2" fmla="*/ 0 w 12714"/>
                <a:gd name="connsiteY2" fmla="*/ 102 h 1627"/>
                <a:gd name="connsiteX3" fmla="*/ 0 w 12714"/>
                <a:gd name="connsiteY3" fmla="*/ 1628 h 1627"/>
              </a:gdLst>
              <a:ahLst/>
              <a:cxnLst>
                <a:cxn ang="0">
                  <a:pos x="connsiteX0" y="connsiteY0"/>
                </a:cxn>
                <a:cxn ang="0">
                  <a:pos x="connsiteX1" y="connsiteY1"/>
                </a:cxn>
                <a:cxn ang="0">
                  <a:pos x="connsiteX2" y="connsiteY2"/>
                </a:cxn>
                <a:cxn ang="0">
                  <a:pos x="connsiteX3" y="connsiteY3"/>
                </a:cxn>
              </a:cxnLst>
              <a:rect l="l" t="t" r="r" b="b"/>
              <a:pathLst>
                <a:path w="12714" h="1627">
                  <a:moveTo>
                    <a:pt x="0" y="1628"/>
                  </a:moveTo>
                  <a:lnTo>
                    <a:pt x="0" y="1628"/>
                  </a:lnTo>
                  <a:cubicBezTo>
                    <a:pt x="0" y="1628"/>
                    <a:pt x="0" y="611"/>
                    <a:pt x="0" y="102"/>
                  </a:cubicBezTo>
                  <a:cubicBezTo>
                    <a:pt x="0" y="-406"/>
                    <a:pt x="0" y="1119"/>
                    <a:pt x="0" y="1628"/>
                  </a:cubicBezTo>
                  <a:close/>
                </a:path>
              </a:pathLst>
            </a:custGeom>
            <a:solidFill>
              <a:srgbClr val="000000"/>
            </a:solidFill>
            <a:ln w="12685"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2EF8F255-FADC-447A-9970-DB31F48C9ED0}"/>
                </a:ext>
              </a:extLst>
            </p:cNvPr>
            <p:cNvSpPr/>
            <p:nvPr/>
          </p:nvSpPr>
          <p:spPr>
            <a:xfrm>
              <a:off x="692419" y="2267428"/>
              <a:ext cx="27230" cy="260985"/>
            </a:xfrm>
            <a:custGeom>
              <a:avLst/>
              <a:gdLst>
                <a:gd name="connsiteX0" fmla="*/ 22272 w 27230"/>
                <a:gd name="connsiteY0" fmla="*/ 8645 h 260985"/>
                <a:gd name="connsiteX1" fmla="*/ 10893 w 27230"/>
                <a:gd name="connsiteY1" fmla="*/ 4170 h 260985"/>
                <a:gd name="connsiteX2" fmla="*/ 10701 w 27230"/>
                <a:gd name="connsiteY2" fmla="*/ 3687 h 260985"/>
                <a:gd name="connsiteX3" fmla="*/ 9939 w 27230"/>
                <a:gd name="connsiteY3" fmla="*/ 0 h 260985"/>
                <a:gd name="connsiteX4" fmla="*/ 21 w 27230"/>
                <a:gd name="connsiteY4" fmla="*/ 260223 h 260985"/>
                <a:gd name="connsiteX5" fmla="*/ 8292 w 27230"/>
                <a:gd name="connsiteY5" fmla="*/ 250739 h 260985"/>
                <a:gd name="connsiteX6" fmla="*/ 17780 w 27230"/>
                <a:gd name="connsiteY6" fmla="*/ 259002 h 260985"/>
                <a:gd name="connsiteX7" fmla="*/ 17695 w 27230"/>
                <a:gd name="connsiteY7" fmla="*/ 260985 h 260985"/>
                <a:gd name="connsiteX8" fmla="*/ 27231 w 27230"/>
                <a:gd name="connsiteY8" fmla="*/ 10170 h 260985"/>
                <a:gd name="connsiteX9" fmla="*/ 27231 w 27230"/>
                <a:gd name="connsiteY9" fmla="*/ 6356 h 26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30" h="260985">
                  <a:moveTo>
                    <a:pt x="22272" y="8645"/>
                  </a:moveTo>
                  <a:cubicBezTo>
                    <a:pt x="17893" y="10551"/>
                    <a:pt x="12799" y="8543"/>
                    <a:pt x="10893" y="4170"/>
                  </a:cubicBezTo>
                  <a:cubicBezTo>
                    <a:pt x="10825" y="4004"/>
                    <a:pt x="10761" y="3852"/>
                    <a:pt x="10701" y="3687"/>
                  </a:cubicBezTo>
                  <a:cubicBezTo>
                    <a:pt x="10204" y="2517"/>
                    <a:pt x="9945" y="1271"/>
                    <a:pt x="9939" y="0"/>
                  </a:cubicBezTo>
                  <a:lnTo>
                    <a:pt x="21" y="260223"/>
                  </a:lnTo>
                  <a:cubicBezTo>
                    <a:pt x="-315" y="255316"/>
                    <a:pt x="3388" y="251070"/>
                    <a:pt x="8292" y="250739"/>
                  </a:cubicBezTo>
                  <a:cubicBezTo>
                    <a:pt x="13196" y="250396"/>
                    <a:pt x="17444" y="254108"/>
                    <a:pt x="17780" y="259002"/>
                  </a:cubicBezTo>
                  <a:cubicBezTo>
                    <a:pt x="17825" y="259663"/>
                    <a:pt x="17796" y="260324"/>
                    <a:pt x="17695" y="260985"/>
                  </a:cubicBezTo>
                  <a:lnTo>
                    <a:pt x="27231" y="10170"/>
                  </a:lnTo>
                  <a:lnTo>
                    <a:pt x="27231" y="6356"/>
                  </a:lnTo>
                  <a:close/>
                </a:path>
              </a:pathLst>
            </a:custGeom>
            <a:solidFill>
              <a:srgbClr val="000000"/>
            </a:solidFill>
            <a:ln w="12685"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FD2B31E1-6B6E-4BB9-BCCA-17159AB7A0C9}"/>
                </a:ext>
              </a:extLst>
            </p:cNvPr>
            <p:cNvSpPr/>
            <p:nvPr/>
          </p:nvSpPr>
          <p:spPr>
            <a:xfrm>
              <a:off x="690273" y="2518749"/>
              <a:ext cx="20094" cy="67887"/>
            </a:xfrm>
            <a:custGeom>
              <a:avLst/>
              <a:gdLst>
                <a:gd name="connsiteX0" fmla="*/ 11449 w 20094"/>
                <a:gd name="connsiteY0" fmla="*/ 4 h 67887"/>
                <a:gd name="connsiteX1" fmla="*/ 2170 w 20094"/>
                <a:gd name="connsiteY1" fmla="*/ 8775 h 67887"/>
                <a:gd name="connsiteX2" fmla="*/ 2167 w 20094"/>
                <a:gd name="connsiteY2" fmla="*/ 8902 h 67887"/>
                <a:gd name="connsiteX3" fmla="*/ 2167 w 20094"/>
                <a:gd name="connsiteY3" fmla="*/ 11445 h 67887"/>
                <a:gd name="connsiteX4" fmla="*/ 2167 w 20094"/>
                <a:gd name="connsiteY4" fmla="*/ 15131 h 67887"/>
                <a:gd name="connsiteX5" fmla="*/ 6 w 20094"/>
                <a:gd name="connsiteY5" fmla="*/ 67888 h 67887"/>
                <a:gd name="connsiteX6" fmla="*/ 6 w 20094"/>
                <a:gd name="connsiteY6" fmla="*/ 67888 h 67887"/>
                <a:gd name="connsiteX7" fmla="*/ 2294 w 20094"/>
                <a:gd name="connsiteY7" fmla="*/ 61659 h 67887"/>
                <a:gd name="connsiteX8" fmla="*/ 14272 w 20094"/>
                <a:gd name="connsiteY8" fmla="*/ 60349 h 67887"/>
                <a:gd name="connsiteX9" fmla="*/ 15009 w 20094"/>
                <a:gd name="connsiteY9" fmla="*/ 61023 h 67887"/>
                <a:gd name="connsiteX10" fmla="*/ 18060 w 20094"/>
                <a:gd name="connsiteY10" fmla="*/ 63947 h 67887"/>
                <a:gd name="connsiteX11" fmla="*/ 20095 w 20094"/>
                <a:gd name="connsiteY11" fmla="*/ 8775 h 67887"/>
                <a:gd name="connsiteX12" fmla="*/ 11449 w 20094"/>
                <a:gd name="connsiteY12" fmla="*/ 4 h 6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94" h="67887">
                  <a:moveTo>
                    <a:pt x="11449" y="4"/>
                  </a:moveTo>
                  <a:cubicBezTo>
                    <a:pt x="6465" y="-136"/>
                    <a:pt x="2311" y="3792"/>
                    <a:pt x="2170" y="8775"/>
                  </a:cubicBezTo>
                  <a:cubicBezTo>
                    <a:pt x="2168" y="8813"/>
                    <a:pt x="2167" y="8864"/>
                    <a:pt x="2167" y="8902"/>
                  </a:cubicBezTo>
                  <a:lnTo>
                    <a:pt x="2167" y="11445"/>
                  </a:lnTo>
                  <a:lnTo>
                    <a:pt x="2167" y="15131"/>
                  </a:lnTo>
                  <a:lnTo>
                    <a:pt x="6" y="67888"/>
                  </a:lnTo>
                  <a:cubicBezTo>
                    <a:pt x="6" y="67888"/>
                    <a:pt x="6" y="67888"/>
                    <a:pt x="6" y="67888"/>
                  </a:cubicBezTo>
                  <a:cubicBezTo>
                    <a:pt x="-77" y="65587"/>
                    <a:pt x="744" y="63349"/>
                    <a:pt x="2294" y="61659"/>
                  </a:cubicBezTo>
                  <a:cubicBezTo>
                    <a:pt x="5242" y="57998"/>
                    <a:pt x="10603" y="57413"/>
                    <a:pt x="14272" y="60349"/>
                  </a:cubicBezTo>
                  <a:cubicBezTo>
                    <a:pt x="14530" y="60565"/>
                    <a:pt x="14776" y="60781"/>
                    <a:pt x="15009" y="61023"/>
                  </a:cubicBezTo>
                  <a:lnTo>
                    <a:pt x="18060" y="63947"/>
                  </a:lnTo>
                  <a:lnTo>
                    <a:pt x="20095" y="8775"/>
                  </a:lnTo>
                  <a:cubicBezTo>
                    <a:pt x="19905" y="4059"/>
                    <a:pt x="16161" y="258"/>
                    <a:pt x="11449" y="4"/>
                  </a:cubicBezTo>
                  <a:close/>
                </a:path>
              </a:pathLst>
            </a:custGeom>
            <a:solidFill>
              <a:srgbClr val="000000"/>
            </a:solidFill>
            <a:ln w="12685"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8FB06366-6FDD-487E-B103-CA38C111E95E}"/>
                </a:ext>
              </a:extLst>
            </p:cNvPr>
            <p:cNvSpPr/>
            <p:nvPr/>
          </p:nvSpPr>
          <p:spPr>
            <a:xfrm>
              <a:off x="775594" y="2660750"/>
              <a:ext cx="363050" cy="349197"/>
            </a:xfrm>
            <a:custGeom>
              <a:avLst/>
              <a:gdLst>
                <a:gd name="connsiteX0" fmla="*/ 348000 w 363050"/>
                <a:gd name="connsiteY0" fmla="*/ 346286 h 349197"/>
                <a:gd name="connsiteX1" fmla="*/ 359835 w 363050"/>
                <a:gd name="connsiteY1" fmla="*/ 347163 h 349197"/>
                <a:gd name="connsiteX2" fmla="*/ 360715 w 363050"/>
                <a:gd name="connsiteY2" fmla="*/ 346286 h 349197"/>
                <a:gd name="connsiteX3" fmla="*/ 363004 w 363050"/>
                <a:gd name="connsiteY3" fmla="*/ 340056 h 349197"/>
                <a:gd name="connsiteX4" fmla="*/ 363004 w 363050"/>
                <a:gd name="connsiteY4" fmla="*/ 338149 h 349197"/>
                <a:gd name="connsiteX5" fmla="*/ 363004 w 363050"/>
                <a:gd name="connsiteY5" fmla="*/ 336497 h 349197"/>
                <a:gd name="connsiteX6" fmla="*/ 362241 w 363050"/>
                <a:gd name="connsiteY6" fmla="*/ 335099 h 349197"/>
                <a:gd name="connsiteX7" fmla="*/ 361096 w 363050"/>
                <a:gd name="connsiteY7" fmla="*/ 333573 h 349197"/>
                <a:gd name="connsiteX8" fmla="*/ 361096 w 363050"/>
                <a:gd name="connsiteY8" fmla="*/ 333573 h 349197"/>
                <a:gd name="connsiteX9" fmla="*/ 348382 w 363050"/>
                <a:gd name="connsiteY9" fmla="*/ 320861 h 349197"/>
                <a:gd name="connsiteX10" fmla="*/ 348382 w 363050"/>
                <a:gd name="connsiteY10" fmla="*/ 320861 h 349197"/>
                <a:gd name="connsiteX11" fmla="*/ 12715 w 363050"/>
                <a:gd name="connsiteY11" fmla="*/ 0 h 349197"/>
                <a:gd name="connsiteX12" fmla="*/ 12715 w 363050"/>
                <a:gd name="connsiteY12" fmla="*/ 12712 h 349197"/>
                <a:gd name="connsiteX13" fmla="*/ 687 w 363050"/>
                <a:gd name="connsiteY13" fmla="*/ 13399 h 349197"/>
                <a:gd name="connsiteX14" fmla="*/ 0 w 363050"/>
                <a:gd name="connsiteY14" fmla="*/ 12712 h 349197"/>
                <a:gd name="connsiteX15" fmla="*/ 13986 w 363050"/>
                <a:gd name="connsiteY15" fmla="*/ 26060 h 349197"/>
                <a:gd name="connsiteX16" fmla="*/ 343805 w 363050"/>
                <a:gd name="connsiteY16" fmla="*/ 342345 h 34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3050" h="349197">
                  <a:moveTo>
                    <a:pt x="348000" y="346286"/>
                  </a:moveTo>
                  <a:cubicBezTo>
                    <a:pt x="351025" y="349794"/>
                    <a:pt x="356325" y="350188"/>
                    <a:pt x="359835" y="347163"/>
                  </a:cubicBezTo>
                  <a:cubicBezTo>
                    <a:pt x="360150" y="346896"/>
                    <a:pt x="360444" y="346603"/>
                    <a:pt x="360715" y="346286"/>
                  </a:cubicBezTo>
                  <a:cubicBezTo>
                    <a:pt x="362209" y="344557"/>
                    <a:pt x="363023" y="342345"/>
                    <a:pt x="363004" y="340056"/>
                  </a:cubicBezTo>
                  <a:cubicBezTo>
                    <a:pt x="363066" y="339421"/>
                    <a:pt x="363066" y="338785"/>
                    <a:pt x="363004" y="338149"/>
                  </a:cubicBezTo>
                  <a:lnTo>
                    <a:pt x="363004" y="336497"/>
                  </a:lnTo>
                  <a:lnTo>
                    <a:pt x="362241" y="335099"/>
                  </a:lnTo>
                  <a:lnTo>
                    <a:pt x="361096" y="333573"/>
                  </a:lnTo>
                  <a:cubicBezTo>
                    <a:pt x="361096" y="333573"/>
                    <a:pt x="361096" y="333573"/>
                    <a:pt x="361096" y="333573"/>
                  </a:cubicBezTo>
                  <a:lnTo>
                    <a:pt x="348382" y="320861"/>
                  </a:lnTo>
                  <a:lnTo>
                    <a:pt x="348382" y="320861"/>
                  </a:lnTo>
                  <a:lnTo>
                    <a:pt x="12715" y="0"/>
                  </a:lnTo>
                  <a:cubicBezTo>
                    <a:pt x="15896" y="3636"/>
                    <a:pt x="15896" y="9077"/>
                    <a:pt x="12715" y="12712"/>
                  </a:cubicBezTo>
                  <a:cubicBezTo>
                    <a:pt x="9583" y="16221"/>
                    <a:pt x="4198" y="16526"/>
                    <a:pt x="687" y="13399"/>
                  </a:cubicBezTo>
                  <a:cubicBezTo>
                    <a:pt x="445" y="13183"/>
                    <a:pt x="216" y="12954"/>
                    <a:pt x="0" y="12712"/>
                  </a:cubicBezTo>
                  <a:lnTo>
                    <a:pt x="13986" y="26060"/>
                  </a:lnTo>
                  <a:lnTo>
                    <a:pt x="343805" y="342345"/>
                  </a:lnTo>
                  <a:close/>
                </a:path>
              </a:pathLst>
            </a:custGeom>
            <a:solidFill>
              <a:srgbClr val="000000"/>
            </a:solidFill>
            <a:ln w="12685"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70B575D2-B39F-4DDD-9ABF-2620AA1CC53A}"/>
                </a:ext>
              </a:extLst>
            </p:cNvPr>
            <p:cNvSpPr/>
            <p:nvPr/>
          </p:nvSpPr>
          <p:spPr>
            <a:xfrm>
              <a:off x="690486" y="2578499"/>
              <a:ext cx="100971" cy="98673"/>
            </a:xfrm>
            <a:custGeom>
              <a:avLst/>
              <a:gdLst>
                <a:gd name="connsiteX0" fmla="*/ 98585 w 100971"/>
                <a:gd name="connsiteY0" fmla="*/ 95345 h 98673"/>
                <a:gd name="connsiteX1" fmla="*/ 98585 w 100971"/>
                <a:gd name="connsiteY1" fmla="*/ 82632 h 98673"/>
                <a:gd name="connsiteX2" fmla="*/ 18102 w 100971"/>
                <a:gd name="connsiteY2" fmla="*/ 5468 h 98673"/>
                <a:gd name="connsiteX3" fmla="*/ 15050 w 100971"/>
                <a:gd name="connsiteY3" fmla="*/ 2544 h 98673"/>
                <a:gd name="connsiteX4" fmla="*/ 3003 w 100971"/>
                <a:gd name="connsiteY4" fmla="*/ 2443 h 98673"/>
                <a:gd name="connsiteX5" fmla="*/ 2335 w 100971"/>
                <a:gd name="connsiteY5" fmla="*/ 3180 h 98673"/>
                <a:gd name="connsiteX6" fmla="*/ 47 w 100971"/>
                <a:gd name="connsiteY6" fmla="*/ 9409 h 98673"/>
                <a:gd name="connsiteX7" fmla="*/ 47 w 100971"/>
                <a:gd name="connsiteY7" fmla="*/ 11316 h 98673"/>
                <a:gd name="connsiteX8" fmla="*/ 47 w 100971"/>
                <a:gd name="connsiteY8" fmla="*/ 12969 h 98673"/>
                <a:gd name="connsiteX9" fmla="*/ 937 w 100971"/>
                <a:gd name="connsiteY9" fmla="*/ 14367 h 98673"/>
                <a:gd name="connsiteX10" fmla="*/ 2081 w 100971"/>
                <a:gd name="connsiteY10" fmla="*/ 15892 h 98673"/>
                <a:gd name="connsiteX11" fmla="*/ 2081 w 100971"/>
                <a:gd name="connsiteY11" fmla="*/ 15892 h 98673"/>
                <a:gd name="connsiteX12" fmla="*/ 82565 w 100971"/>
                <a:gd name="connsiteY12" fmla="*/ 93056 h 98673"/>
                <a:gd name="connsiteX13" fmla="*/ 85616 w 100971"/>
                <a:gd name="connsiteY13" fmla="*/ 95980 h 98673"/>
                <a:gd name="connsiteX14" fmla="*/ 97657 w 100971"/>
                <a:gd name="connsiteY14" fmla="*/ 96362 h 98673"/>
                <a:gd name="connsiteX15" fmla="*/ 98585 w 100971"/>
                <a:gd name="connsiteY15" fmla="*/ 9534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971" h="98673">
                  <a:moveTo>
                    <a:pt x="98585" y="95345"/>
                  </a:moveTo>
                  <a:cubicBezTo>
                    <a:pt x="101767" y="91709"/>
                    <a:pt x="101767" y="86268"/>
                    <a:pt x="98585" y="82632"/>
                  </a:cubicBezTo>
                  <a:lnTo>
                    <a:pt x="18102" y="5468"/>
                  </a:lnTo>
                  <a:lnTo>
                    <a:pt x="15050" y="2544"/>
                  </a:lnTo>
                  <a:cubicBezTo>
                    <a:pt x="11752" y="-812"/>
                    <a:pt x="6358" y="-850"/>
                    <a:pt x="3003" y="2443"/>
                  </a:cubicBezTo>
                  <a:cubicBezTo>
                    <a:pt x="2766" y="2672"/>
                    <a:pt x="2544" y="2926"/>
                    <a:pt x="2335" y="3180"/>
                  </a:cubicBezTo>
                  <a:cubicBezTo>
                    <a:pt x="785" y="4871"/>
                    <a:pt x="-36" y="7108"/>
                    <a:pt x="47" y="9409"/>
                  </a:cubicBezTo>
                  <a:cubicBezTo>
                    <a:pt x="-16" y="10045"/>
                    <a:pt x="-16" y="10680"/>
                    <a:pt x="47" y="11316"/>
                  </a:cubicBezTo>
                  <a:lnTo>
                    <a:pt x="47" y="12969"/>
                  </a:lnTo>
                  <a:lnTo>
                    <a:pt x="937" y="14367"/>
                  </a:lnTo>
                  <a:cubicBezTo>
                    <a:pt x="1200" y="14952"/>
                    <a:pt x="1590" y="15473"/>
                    <a:pt x="2081" y="15892"/>
                  </a:cubicBezTo>
                  <a:lnTo>
                    <a:pt x="2081" y="15892"/>
                  </a:lnTo>
                  <a:lnTo>
                    <a:pt x="82565" y="93056"/>
                  </a:lnTo>
                  <a:lnTo>
                    <a:pt x="85616" y="95980"/>
                  </a:lnTo>
                  <a:cubicBezTo>
                    <a:pt x="88834" y="99413"/>
                    <a:pt x="94225" y="99591"/>
                    <a:pt x="97657" y="96362"/>
                  </a:cubicBezTo>
                  <a:cubicBezTo>
                    <a:pt x="97994" y="96057"/>
                    <a:pt x="98304" y="95714"/>
                    <a:pt x="98585" y="95345"/>
                  </a:cubicBezTo>
                  <a:close/>
                </a:path>
              </a:pathLst>
            </a:custGeom>
            <a:solidFill>
              <a:srgbClr val="000000"/>
            </a:solidFill>
            <a:ln w="12685"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B4EC4B03-BD48-4243-A58E-9B6A407DCBC9}"/>
                </a:ext>
              </a:extLst>
            </p:cNvPr>
            <p:cNvSpPr/>
            <p:nvPr/>
          </p:nvSpPr>
          <p:spPr>
            <a:xfrm>
              <a:off x="591337" y="4123309"/>
              <a:ext cx="29019" cy="330395"/>
            </a:xfrm>
            <a:custGeom>
              <a:avLst/>
              <a:gdLst>
                <a:gd name="connsiteX0" fmla="*/ 29011 w 29019"/>
                <a:gd name="connsiteY0" fmla="*/ 9663 h 330395"/>
                <a:gd name="connsiteX1" fmla="*/ 20492 w 29019"/>
                <a:gd name="connsiteY1" fmla="*/ 1 h 330395"/>
                <a:gd name="connsiteX2" fmla="*/ 11338 w 29019"/>
                <a:gd name="connsiteY2" fmla="*/ 8900 h 330395"/>
                <a:gd name="connsiteX3" fmla="*/ 11337 w 29019"/>
                <a:gd name="connsiteY3" fmla="*/ 9027 h 330395"/>
                <a:gd name="connsiteX4" fmla="*/ 21 w 29019"/>
                <a:gd name="connsiteY4" fmla="*/ 318446 h 330395"/>
                <a:gd name="connsiteX5" fmla="*/ 21 w 29019"/>
                <a:gd name="connsiteY5" fmla="*/ 323023 h 330395"/>
                <a:gd name="connsiteX6" fmla="*/ 21 w 29019"/>
                <a:gd name="connsiteY6" fmla="*/ 329633 h 330395"/>
                <a:gd name="connsiteX7" fmla="*/ 8292 w 29019"/>
                <a:gd name="connsiteY7" fmla="*/ 320150 h 330395"/>
                <a:gd name="connsiteX8" fmla="*/ 17780 w 29019"/>
                <a:gd name="connsiteY8" fmla="*/ 328413 h 330395"/>
                <a:gd name="connsiteX9" fmla="*/ 17695 w 29019"/>
                <a:gd name="connsiteY9" fmla="*/ 330396 h 330395"/>
                <a:gd name="connsiteX10" fmla="*/ 28883 w 29019"/>
                <a:gd name="connsiteY10" fmla="*/ 20595 h 330395"/>
                <a:gd name="connsiteX11" fmla="*/ 28883 w 29019"/>
                <a:gd name="connsiteY11" fmla="*/ 16146 h 33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19" h="330395">
                  <a:moveTo>
                    <a:pt x="29011" y="9663"/>
                  </a:moveTo>
                  <a:cubicBezTo>
                    <a:pt x="29232" y="4679"/>
                    <a:pt x="25468" y="408"/>
                    <a:pt x="20492" y="1"/>
                  </a:cubicBezTo>
                  <a:cubicBezTo>
                    <a:pt x="15506" y="-75"/>
                    <a:pt x="11408" y="3916"/>
                    <a:pt x="11338" y="8900"/>
                  </a:cubicBezTo>
                  <a:cubicBezTo>
                    <a:pt x="11337" y="8938"/>
                    <a:pt x="11337" y="8989"/>
                    <a:pt x="11337" y="9027"/>
                  </a:cubicBezTo>
                  <a:lnTo>
                    <a:pt x="21" y="318446"/>
                  </a:lnTo>
                  <a:lnTo>
                    <a:pt x="21" y="323023"/>
                  </a:lnTo>
                  <a:lnTo>
                    <a:pt x="21" y="329633"/>
                  </a:lnTo>
                  <a:cubicBezTo>
                    <a:pt x="-315" y="324726"/>
                    <a:pt x="3388" y="320480"/>
                    <a:pt x="8292" y="320150"/>
                  </a:cubicBezTo>
                  <a:cubicBezTo>
                    <a:pt x="13196" y="319806"/>
                    <a:pt x="17444" y="323519"/>
                    <a:pt x="17780" y="328413"/>
                  </a:cubicBezTo>
                  <a:cubicBezTo>
                    <a:pt x="17826" y="329074"/>
                    <a:pt x="17796" y="329748"/>
                    <a:pt x="17695" y="330396"/>
                  </a:cubicBezTo>
                  <a:lnTo>
                    <a:pt x="28883" y="20595"/>
                  </a:lnTo>
                  <a:lnTo>
                    <a:pt x="28883" y="16146"/>
                  </a:lnTo>
                  <a:close/>
                </a:path>
              </a:pathLst>
            </a:custGeom>
            <a:solidFill>
              <a:srgbClr val="000000"/>
            </a:solidFill>
            <a:ln w="12685"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57F24CA1-BC5C-4FFE-857A-7872525DE1B9}"/>
                </a:ext>
              </a:extLst>
            </p:cNvPr>
            <p:cNvSpPr/>
            <p:nvPr/>
          </p:nvSpPr>
          <p:spPr>
            <a:xfrm>
              <a:off x="579661" y="4443429"/>
              <a:ext cx="29097" cy="327958"/>
            </a:xfrm>
            <a:custGeom>
              <a:avLst/>
              <a:gdLst>
                <a:gd name="connsiteX0" fmla="*/ 28989 w 29097"/>
                <a:gd name="connsiteY0" fmla="*/ 10276 h 327958"/>
                <a:gd name="connsiteX1" fmla="*/ 21567 w 29097"/>
                <a:gd name="connsiteY1" fmla="*/ 106 h 327958"/>
                <a:gd name="connsiteX2" fmla="*/ 11401 w 29097"/>
                <a:gd name="connsiteY2" fmla="*/ 7530 h 327958"/>
                <a:gd name="connsiteX3" fmla="*/ 11316 w 29097"/>
                <a:gd name="connsiteY3" fmla="*/ 9513 h 327958"/>
                <a:gd name="connsiteX4" fmla="*/ 0 w 29097"/>
                <a:gd name="connsiteY4" fmla="*/ 320458 h 327958"/>
                <a:gd name="connsiteX5" fmla="*/ 4832 w 29097"/>
                <a:gd name="connsiteY5" fmla="*/ 317916 h 327958"/>
                <a:gd name="connsiteX6" fmla="*/ 16547 w 29097"/>
                <a:gd name="connsiteY6" fmla="*/ 321996 h 327958"/>
                <a:gd name="connsiteX7" fmla="*/ 16656 w 29097"/>
                <a:gd name="connsiteY7" fmla="*/ 322238 h 327958"/>
                <a:gd name="connsiteX8" fmla="*/ 16656 w 29097"/>
                <a:gd name="connsiteY8" fmla="*/ 327958 h 327958"/>
                <a:gd name="connsiteX9" fmla="*/ 16656 w 29097"/>
                <a:gd name="connsiteY9" fmla="*/ 326687 h 32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7" h="327958">
                  <a:moveTo>
                    <a:pt x="28989" y="10276"/>
                  </a:moveTo>
                  <a:cubicBezTo>
                    <a:pt x="29747" y="5420"/>
                    <a:pt x="26424" y="869"/>
                    <a:pt x="21567" y="106"/>
                  </a:cubicBezTo>
                  <a:cubicBezTo>
                    <a:pt x="16710" y="-644"/>
                    <a:pt x="12159" y="2674"/>
                    <a:pt x="11401" y="7530"/>
                  </a:cubicBezTo>
                  <a:cubicBezTo>
                    <a:pt x="11300" y="8191"/>
                    <a:pt x="11270" y="8852"/>
                    <a:pt x="11316" y="9513"/>
                  </a:cubicBezTo>
                  <a:lnTo>
                    <a:pt x="0" y="320458"/>
                  </a:lnTo>
                  <a:lnTo>
                    <a:pt x="4832" y="317916"/>
                  </a:lnTo>
                  <a:cubicBezTo>
                    <a:pt x="9195" y="315805"/>
                    <a:pt x="14440" y="317636"/>
                    <a:pt x="16547" y="321996"/>
                  </a:cubicBezTo>
                  <a:cubicBezTo>
                    <a:pt x="16584" y="322085"/>
                    <a:pt x="16621" y="322161"/>
                    <a:pt x="16656" y="322238"/>
                  </a:cubicBezTo>
                  <a:cubicBezTo>
                    <a:pt x="17218" y="324107"/>
                    <a:pt x="17218" y="326090"/>
                    <a:pt x="16656" y="327958"/>
                  </a:cubicBezTo>
                  <a:lnTo>
                    <a:pt x="16656" y="326687"/>
                  </a:lnTo>
                  <a:close/>
                </a:path>
              </a:pathLst>
            </a:custGeom>
            <a:solidFill>
              <a:srgbClr val="000000"/>
            </a:solidFill>
            <a:ln w="12685"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07331274-EFC3-4D19-9DAB-BA744A8582D6}"/>
                </a:ext>
              </a:extLst>
            </p:cNvPr>
            <p:cNvSpPr/>
            <p:nvPr/>
          </p:nvSpPr>
          <p:spPr>
            <a:xfrm>
              <a:off x="1142539" y="3934404"/>
              <a:ext cx="1017" cy="1652"/>
            </a:xfrm>
            <a:custGeom>
              <a:avLst/>
              <a:gdLst>
                <a:gd name="connsiteX0" fmla="*/ 1017 w 1017"/>
                <a:gd name="connsiteY0" fmla="*/ 1653 h 1652"/>
                <a:gd name="connsiteX1" fmla="*/ 0 w 1017"/>
                <a:gd name="connsiteY1" fmla="*/ 0 h 1652"/>
                <a:gd name="connsiteX2" fmla="*/ 0 w 1017"/>
                <a:gd name="connsiteY2" fmla="*/ 636 h 1652"/>
                <a:gd name="connsiteX3" fmla="*/ 1017 w 1017"/>
                <a:gd name="connsiteY3" fmla="*/ 1653 h 1652"/>
              </a:gdLst>
              <a:ahLst/>
              <a:cxnLst>
                <a:cxn ang="0">
                  <a:pos x="connsiteX0" y="connsiteY0"/>
                </a:cxn>
                <a:cxn ang="0">
                  <a:pos x="connsiteX1" y="connsiteY1"/>
                </a:cxn>
                <a:cxn ang="0">
                  <a:pos x="connsiteX2" y="connsiteY2"/>
                </a:cxn>
                <a:cxn ang="0">
                  <a:pos x="connsiteX3" y="connsiteY3"/>
                </a:cxn>
              </a:cxnLst>
              <a:rect l="l" t="t" r="r" b="b"/>
              <a:pathLst>
                <a:path w="1017" h="1652">
                  <a:moveTo>
                    <a:pt x="1017" y="1653"/>
                  </a:moveTo>
                  <a:lnTo>
                    <a:pt x="0" y="0"/>
                  </a:lnTo>
                  <a:lnTo>
                    <a:pt x="0" y="636"/>
                  </a:lnTo>
                  <a:cubicBezTo>
                    <a:pt x="304" y="1004"/>
                    <a:pt x="645" y="1348"/>
                    <a:pt x="1017" y="1653"/>
                  </a:cubicBezTo>
                  <a:close/>
                </a:path>
              </a:pathLst>
            </a:custGeom>
            <a:solidFill>
              <a:srgbClr val="000000"/>
            </a:solidFill>
            <a:ln w="12685"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9C28B970-250D-4405-8F59-E3D61E664A4E}"/>
                </a:ext>
              </a:extLst>
            </p:cNvPr>
            <p:cNvSpPr/>
            <p:nvPr/>
          </p:nvSpPr>
          <p:spPr>
            <a:xfrm>
              <a:off x="1141140" y="3901352"/>
              <a:ext cx="18817" cy="27712"/>
            </a:xfrm>
            <a:custGeom>
              <a:avLst/>
              <a:gdLst>
                <a:gd name="connsiteX0" fmla="*/ 15003 w 18817"/>
                <a:gd name="connsiteY0" fmla="*/ 21611 h 27712"/>
                <a:gd name="connsiteX1" fmla="*/ 17928 w 18817"/>
                <a:gd name="connsiteY1" fmla="*/ 24662 h 27712"/>
                <a:gd name="connsiteX2" fmla="*/ 18818 w 18817"/>
                <a:gd name="connsiteY2" fmla="*/ 11187 h 27712"/>
                <a:gd name="connsiteX3" fmla="*/ 18818 w 18817"/>
                <a:gd name="connsiteY3" fmla="*/ 6864 h 27712"/>
                <a:gd name="connsiteX4" fmla="*/ 18818 w 18817"/>
                <a:gd name="connsiteY4" fmla="*/ 1271 h 27712"/>
                <a:gd name="connsiteX5" fmla="*/ 9425 w 18817"/>
                <a:gd name="connsiteY5" fmla="*/ 9916 h 27712"/>
                <a:gd name="connsiteX6" fmla="*/ 9409 w 18817"/>
                <a:gd name="connsiteY6" fmla="*/ 9916 h 27712"/>
                <a:gd name="connsiteX7" fmla="*/ 1271 w 18817"/>
                <a:gd name="connsiteY7" fmla="*/ 0 h 27712"/>
                <a:gd name="connsiteX8" fmla="*/ 0 w 18817"/>
                <a:gd name="connsiteY8" fmla="*/ 17797 h 27712"/>
                <a:gd name="connsiteX9" fmla="*/ 0 w 18817"/>
                <a:gd name="connsiteY9" fmla="*/ 22119 h 27712"/>
                <a:gd name="connsiteX10" fmla="*/ 0 w 18817"/>
                <a:gd name="connsiteY10" fmla="*/ 27713 h 27712"/>
                <a:gd name="connsiteX11" fmla="*/ 0 w 18817"/>
                <a:gd name="connsiteY11" fmla="*/ 27713 h 27712"/>
                <a:gd name="connsiteX12" fmla="*/ 2416 w 18817"/>
                <a:gd name="connsiteY12" fmla="*/ 21484 h 27712"/>
                <a:gd name="connsiteX13" fmla="*/ 14641 w 18817"/>
                <a:gd name="connsiteY13" fmla="*/ 21242 h 27712"/>
                <a:gd name="connsiteX14" fmla="*/ 15003 w 18817"/>
                <a:gd name="connsiteY14" fmla="*/ 21611 h 2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817" h="27712">
                  <a:moveTo>
                    <a:pt x="15003" y="21611"/>
                  </a:moveTo>
                  <a:lnTo>
                    <a:pt x="17928" y="24662"/>
                  </a:lnTo>
                  <a:lnTo>
                    <a:pt x="18818" y="11187"/>
                  </a:lnTo>
                  <a:lnTo>
                    <a:pt x="18818" y="6864"/>
                  </a:lnTo>
                  <a:lnTo>
                    <a:pt x="18818" y="1271"/>
                  </a:lnTo>
                  <a:cubicBezTo>
                    <a:pt x="18612" y="6254"/>
                    <a:pt x="14407" y="10119"/>
                    <a:pt x="9425" y="9916"/>
                  </a:cubicBezTo>
                  <a:cubicBezTo>
                    <a:pt x="9420" y="9916"/>
                    <a:pt x="9414" y="9916"/>
                    <a:pt x="9409" y="9916"/>
                  </a:cubicBezTo>
                  <a:cubicBezTo>
                    <a:pt x="4446" y="9381"/>
                    <a:pt x="826" y="4970"/>
                    <a:pt x="1271" y="0"/>
                  </a:cubicBezTo>
                  <a:lnTo>
                    <a:pt x="0" y="17797"/>
                  </a:lnTo>
                  <a:lnTo>
                    <a:pt x="0" y="22119"/>
                  </a:lnTo>
                  <a:lnTo>
                    <a:pt x="0" y="27713"/>
                  </a:lnTo>
                  <a:cubicBezTo>
                    <a:pt x="0" y="27713"/>
                    <a:pt x="0" y="27713"/>
                    <a:pt x="0" y="27713"/>
                  </a:cubicBezTo>
                  <a:cubicBezTo>
                    <a:pt x="109" y="25425"/>
                    <a:pt x="957" y="23238"/>
                    <a:pt x="2416" y="21484"/>
                  </a:cubicBezTo>
                  <a:cubicBezTo>
                    <a:pt x="5724" y="18039"/>
                    <a:pt x="11198" y="17937"/>
                    <a:pt x="14641" y="21242"/>
                  </a:cubicBezTo>
                  <a:cubicBezTo>
                    <a:pt x="14766" y="21357"/>
                    <a:pt x="14886" y="21484"/>
                    <a:pt x="15003" y="21611"/>
                  </a:cubicBezTo>
                  <a:close/>
                </a:path>
              </a:pathLst>
            </a:custGeom>
            <a:solidFill>
              <a:srgbClr val="000000"/>
            </a:solidFill>
            <a:ln w="12685"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EA7A8B65-3446-4D2D-AF05-0EB4A00DC354}"/>
                </a:ext>
              </a:extLst>
            </p:cNvPr>
            <p:cNvSpPr/>
            <p:nvPr/>
          </p:nvSpPr>
          <p:spPr>
            <a:xfrm>
              <a:off x="1141351" y="3931353"/>
              <a:ext cx="88" cy="1652"/>
            </a:xfrm>
            <a:custGeom>
              <a:avLst/>
              <a:gdLst>
                <a:gd name="connsiteX0" fmla="*/ 44 w 88"/>
                <a:gd name="connsiteY0" fmla="*/ 0 h 1652"/>
                <a:gd name="connsiteX1" fmla="*/ 44 w 88"/>
                <a:gd name="connsiteY1" fmla="*/ 763 h 1652"/>
                <a:gd name="connsiteX2" fmla="*/ 44 w 88"/>
                <a:gd name="connsiteY2" fmla="*/ 1653 h 1652"/>
                <a:gd name="connsiteX3" fmla="*/ 44 w 88"/>
                <a:gd name="connsiteY3" fmla="*/ 0 h 1652"/>
              </a:gdLst>
              <a:ahLst/>
              <a:cxnLst>
                <a:cxn ang="0">
                  <a:pos x="connsiteX0" y="connsiteY0"/>
                </a:cxn>
                <a:cxn ang="0">
                  <a:pos x="connsiteX1" y="connsiteY1"/>
                </a:cxn>
                <a:cxn ang="0">
                  <a:pos x="connsiteX2" y="connsiteY2"/>
                </a:cxn>
                <a:cxn ang="0">
                  <a:pos x="connsiteX3" y="connsiteY3"/>
                </a:cxn>
              </a:cxnLst>
              <a:rect l="l" t="t" r="r" b="b"/>
              <a:pathLst>
                <a:path w="88" h="1652">
                  <a:moveTo>
                    <a:pt x="44" y="0"/>
                  </a:moveTo>
                  <a:cubicBezTo>
                    <a:pt x="104" y="254"/>
                    <a:pt x="104" y="509"/>
                    <a:pt x="44" y="763"/>
                  </a:cubicBezTo>
                  <a:cubicBezTo>
                    <a:pt x="44" y="763"/>
                    <a:pt x="44" y="1399"/>
                    <a:pt x="44" y="1653"/>
                  </a:cubicBezTo>
                  <a:cubicBezTo>
                    <a:pt x="-15" y="1106"/>
                    <a:pt x="-15" y="547"/>
                    <a:pt x="44" y="0"/>
                  </a:cubicBezTo>
                  <a:close/>
                </a:path>
              </a:pathLst>
            </a:custGeom>
            <a:solidFill>
              <a:srgbClr val="000000"/>
            </a:solidFill>
            <a:ln w="12685"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3E2C1E43-E637-45F3-ACCF-2AD80F6727B6}"/>
                </a:ext>
              </a:extLst>
            </p:cNvPr>
            <p:cNvSpPr/>
            <p:nvPr/>
          </p:nvSpPr>
          <p:spPr>
            <a:xfrm>
              <a:off x="1034036" y="3755318"/>
              <a:ext cx="30816" cy="33401"/>
            </a:xfrm>
            <a:custGeom>
              <a:avLst/>
              <a:gdLst>
                <a:gd name="connsiteX0" fmla="*/ 18102 w 30816"/>
                <a:gd name="connsiteY0" fmla="*/ 19927 h 33401"/>
                <a:gd name="connsiteX1" fmla="*/ 30130 w 30816"/>
                <a:gd name="connsiteY1" fmla="*/ 19240 h 33401"/>
                <a:gd name="connsiteX2" fmla="*/ 30816 w 30816"/>
                <a:gd name="connsiteY2" fmla="*/ 19927 h 33401"/>
                <a:gd name="connsiteX3" fmla="*/ 27002 w 30816"/>
                <a:gd name="connsiteY3" fmla="*/ 15986 h 33401"/>
                <a:gd name="connsiteX4" fmla="*/ 23950 w 30816"/>
                <a:gd name="connsiteY4" fmla="*/ 12935 h 33401"/>
                <a:gd name="connsiteX5" fmla="*/ 22170 w 30816"/>
                <a:gd name="connsiteY5" fmla="*/ 11155 h 33401"/>
                <a:gd name="connsiteX6" fmla="*/ 12888 w 30816"/>
                <a:gd name="connsiteY6" fmla="*/ 1748 h 33401"/>
                <a:gd name="connsiteX7" fmla="*/ 11871 w 30816"/>
                <a:gd name="connsiteY7" fmla="*/ 1112 h 33401"/>
                <a:gd name="connsiteX8" fmla="*/ 10346 w 30816"/>
                <a:gd name="connsiteY8" fmla="*/ 95 h 33401"/>
                <a:gd name="connsiteX9" fmla="*/ 10346 w 30816"/>
                <a:gd name="connsiteY9" fmla="*/ 95 h 33401"/>
                <a:gd name="connsiteX10" fmla="*/ 8820 w 30816"/>
                <a:gd name="connsiteY10" fmla="*/ 95 h 33401"/>
                <a:gd name="connsiteX11" fmla="*/ 7294 w 30816"/>
                <a:gd name="connsiteY11" fmla="*/ 95 h 33401"/>
                <a:gd name="connsiteX12" fmla="*/ 5387 w 30816"/>
                <a:gd name="connsiteY12" fmla="*/ 95 h 33401"/>
                <a:gd name="connsiteX13" fmla="*/ 3861 w 30816"/>
                <a:gd name="connsiteY13" fmla="*/ 95 h 33401"/>
                <a:gd name="connsiteX14" fmla="*/ 2590 w 30816"/>
                <a:gd name="connsiteY14" fmla="*/ 985 h 33401"/>
                <a:gd name="connsiteX15" fmla="*/ 1064 w 30816"/>
                <a:gd name="connsiteY15" fmla="*/ 2129 h 33401"/>
                <a:gd name="connsiteX16" fmla="*/ 1064 w 30816"/>
                <a:gd name="connsiteY16" fmla="*/ 2129 h 33401"/>
                <a:gd name="connsiteX17" fmla="*/ 1064 w 30816"/>
                <a:gd name="connsiteY17" fmla="*/ 3274 h 33401"/>
                <a:gd name="connsiteX18" fmla="*/ 47 w 30816"/>
                <a:gd name="connsiteY18" fmla="*/ 4926 h 33401"/>
                <a:gd name="connsiteX19" fmla="*/ 47 w 30816"/>
                <a:gd name="connsiteY19" fmla="*/ 6833 h 33401"/>
                <a:gd name="connsiteX20" fmla="*/ 47 w 30816"/>
                <a:gd name="connsiteY20" fmla="*/ 8740 h 33401"/>
                <a:gd name="connsiteX21" fmla="*/ 2717 w 30816"/>
                <a:gd name="connsiteY21" fmla="*/ 15350 h 33401"/>
                <a:gd name="connsiteX22" fmla="*/ 16449 w 30816"/>
                <a:gd name="connsiteY22" fmla="*/ 29207 h 33401"/>
                <a:gd name="connsiteX23" fmla="*/ 20644 w 30816"/>
                <a:gd name="connsiteY23" fmla="*/ 33402 h 33401"/>
                <a:gd name="connsiteX24" fmla="*/ 17917 w 30816"/>
                <a:gd name="connsiteY24" fmla="*/ 20194 h 33401"/>
                <a:gd name="connsiteX25" fmla="*/ 18102 w 30816"/>
                <a:gd name="connsiteY25" fmla="*/ 19927 h 3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816" h="33401">
                  <a:moveTo>
                    <a:pt x="18102" y="19927"/>
                  </a:moveTo>
                  <a:cubicBezTo>
                    <a:pt x="21233" y="16418"/>
                    <a:pt x="26618" y="16113"/>
                    <a:pt x="30130" y="19240"/>
                  </a:cubicBezTo>
                  <a:cubicBezTo>
                    <a:pt x="30371" y="19456"/>
                    <a:pt x="30600" y="19685"/>
                    <a:pt x="30816" y="19927"/>
                  </a:cubicBezTo>
                  <a:lnTo>
                    <a:pt x="27002" y="15986"/>
                  </a:lnTo>
                  <a:lnTo>
                    <a:pt x="23950" y="12935"/>
                  </a:lnTo>
                  <a:lnTo>
                    <a:pt x="22170" y="11155"/>
                  </a:lnTo>
                  <a:lnTo>
                    <a:pt x="12888" y="1748"/>
                  </a:lnTo>
                  <a:lnTo>
                    <a:pt x="11871" y="1112"/>
                  </a:lnTo>
                  <a:cubicBezTo>
                    <a:pt x="11415" y="706"/>
                    <a:pt x="10901" y="362"/>
                    <a:pt x="10346" y="95"/>
                  </a:cubicBezTo>
                  <a:lnTo>
                    <a:pt x="10346" y="95"/>
                  </a:lnTo>
                  <a:lnTo>
                    <a:pt x="8820" y="95"/>
                  </a:lnTo>
                  <a:lnTo>
                    <a:pt x="7294" y="95"/>
                  </a:lnTo>
                  <a:cubicBezTo>
                    <a:pt x="6665" y="-32"/>
                    <a:pt x="6016" y="-32"/>
                    <a:pt x="5387" y="95"/>
                  </a:cubicBezTo>
                  <a:lnTo>
                    <a:pt x="3861" y="95"/>
                  </a:lnTo>
                  <a:lnTo>
                    <a:pt x="2590" y="985"/>
                  </a:lnTo>
                  <a:cubicBezTo>
                    <a:pt x="2010" y="1265"/>
                    <a:pt x="1491" y="1646"/>
                    <a:pt x="1064" y="2129"/>
                  </a:cubicBezTo>
                  <a:lnTo>
                    <a:pt x="1064" y="2129"/>
                  </a:lnTo>
                  <a:lnTo>
                    <a:pt x="1064" y="3274"/>
                  </a:lnTo>
                  <a:cubicBezTo>
                    <a:pt x="652" y="3782"/>
                    <a:pt x="310" y="4329"/>
                    <a:pt x="47" y="4926"/>
                  </a:cubicBezTo>
                  <a:cubicBezTo>
                    <a:pt x="-11" y="5562"/>
                    <a:pt x="-11" y="6197"/>
                    <a:pt x="47" y="6833"/>
                  </a:cubicBezTo>
                  <a:cubicBezTo>
                    <a:pt x="-16" y="7469"/>
                    <a:pt x="-16" y="8104"/>
                    <a:pt x="47" y="8740"/>
                  </a:cubicBezTo>
                  <a:cubicBezTo>
                    <a:pt x="21" y="11206"/>
                    <a:pt x="983" y="13596"/>
                    <a:pt x="2717" y="15350"/>
                  </a:cubicBezTo>
                  <a:lnTo>
                    <a:pt x="16449" y="29207"/>
                  </a:lnTo>
                  <a:lnTo>
                    <a:pt x="20644" y="33402"/>
                  </a:lnTo>
                  <a:cubicBezTo>
                    <a:pt x="16244" y="30503"/>
                    <a:pt x="15023" y="24592"/>
                    <a:pt x="17917" y="20194"/>
                  </a:cubicBezTo>
                  <a:cubicBezTo>
                    <a:pt x="17977" y="20105"/>
                    <a:pt x="18038" y="20016"/>
                    <a:pt x="18102" y="19927"/>
                  </a:cubicBezTo>
                  <a:close/>
                </a:path>
              </a:pathLst>
            </a:custGeom>
            <a:solidFill>
              <a:srgbClr val="000000"/>
            </a:solidFill>
            <a:ln w="12685"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8575E8E5-BF71-4CCD-8B1B-347E302D7A9A}"/>
                </a:ext>
              </a:extLst>
            </p:cNvPr>
            <p:cNvSpPr/>
            <p:nvPr/>
          </p:nvSpPr>
          <p:spPr>
            <a:xfrm>
              <a:off x="1049329" y="3772526"/>
              <a:ext cx="110121" cy="108866"/>
            </a:xfrm>
            <a:custGeom>
              <a:avLst/>
              <a:gdLst>
                <a:gd name="connsiteX0" fmla="*/ 94991 w 110121"/>
                <a:gd name="connsiteY0" fmla="*/ 104545 h 108866"/>
                <a:gd name="connsiteX1" fmla="*/ 104383 w 110121"/>
                <a:gd name="connsiteY1" fmla="*/ 95900 h 108866"/>
                <a:gd name="connsiteX2" fmla="*/ 104399 w 110121"/>
                <a:gd name="connsiteY2" fmla="*/ 95900 h 108866"/>
                <a:gd name="connsiteX3" fmla="*/ 110121 w 110121"/>
                <a:gd name="connsiteY3" fmla="*/ 98824 h 108866"/>
                <a:gd name="connsiteX4" fmla="*/ 110121 w 110121"/>
                <a:gd name="connsiteY4" fmla="*/ 98824 h 108866"/>
                <a:gd name="connsiteX5" fmla="*/ 15143 w 110121"/>
                <a:gd name="connsiteY5" fmla="*/ 2846 h 108866"/>
                <a:gd name="connsiteX6" fmla="*/ 3114 w 110121"/>
                <a:gd name="connsiteY6" fmla="*/ 2159 h 108866"/>
                <a:gd name="connsiteX7" fmla="*/ 2428 w 110121"/>
                <a:gd name="connsiteY7" fmla="*/ 2846 h 108866"/>
                <a:gd name="connsiteX8" fmla="*/ 2428 w 110121"/>
                <a:gd name="connsiteY8" fmla="*/ 15558 h 108866"/>
                <a:gd name="connsiteX9" fmla="*/ 94991 w 110121"/>
                <a:gd name="connsiteY9" fmla="*/ 108867 h 108866"/>
                <a:gd name="connsiteX10" fmla="*/ 94991 w 110121"/>
                <a:gd name="connsiteY10" fmla="*/ 105434 h 10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21" h="108866">
                  <a:moveTo>
                    <a:pt x="94991" y="104545"/>
                  </a:moveTo>
                  <a:cubicBezTo>
                    <a:pt x="95197" y="99562"/>
                    <a:pt x="99401" y="95697"/>
                    <a:pt x="104383" y="95900"/>
                  </a:cubicBezTo>
                  <a:cubicBezTo>
                    <a:pt x="104389" y="95900"/>
                    <a:pt x="104394" y="95900"/>
                    <a:pt x="104399" y="95900"/>
                  </a:cubicBezTo>
                  <a:cubicBezTo>
                    <a:pt x="106619" y="96078"/>
                    <a:pt x="108678" y="97133"/>
                    <a:pt x="110121" y="98824"/>
                  </a:cubicBezTo>
                  <a:lnTo>
                    <a:pt x="110121" y="98824"/>
                  </a:lnTo>
                  <a:lnTo>
                    <a:pt x="15143" y="2846"/>
                  </a:lnTo>
                  <a:cubicBezTo>
                    <a:pt x="12011" y="-663"/>
                    <a:pt x="6626" y="-968"/>
                    <a:pt x="3114" y="2159"/>
                  </a:cubicBezTo>
                  <a:cubicBezTo>
                    <a:pt x="2873" y="2375"/>
                    <a:pt x="2644" y="2604"/>
                    <a:pt x="2428" y="2846"/>
                  </a:cubicBezTo>
                  <a:cubicBezTo>
                    <a:pt x="-809" y="6469"/>
                    <a:pt x="-809" y="11935"/>
                    <a:pt x="2428" y="15558"/>
                  </a:cubicBezTo>
                  <a:lnTo>
                    <a:pt x="94991" y="108867"/>
                  </a:lnTo>
                  <a:lnTo>
                    <a:pt x="94991" y="105434"/>
                  </a:lnTo>
                  <a:close/>
                </a:path>
              </a:pathLst>
            </a:custGeom>
            <a:solidFill>
              <a:srgbClr val="000000"/>
            </a:solidFill>
            <a:ln w="12685"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5E789DF4-10F3-4B75-A432-D398BA385C9C}"/>
                </a:ext>
              </a:extLst>
            </p:cNvPr>
            <p:cNvSpPr/>
            <p:nvPr/>
          </p:nvSpPr>
          <p:spPr>
            <a:xfrm>
              <a:off x="1140967" y="3920176"/>
              <a:ext cx="32341" cy="32914"/>
            </a:xfrm>
            <a:custGeom>
              <a:avLst/>
              <a:gdLst>
                <a:gd name="connsiteX0" fmla="*/ 18102 w 32341"/>
                <a:gd name="connsiteY0" fmla="*/ 5837 h 32914"/>
                <a:gd name="connsiteX1" fmla="*/ 15177 w 32341"/>
                <a:gd name="connsiteY1" fmla="*/ 2787 h 32914"/>
                <a:gd name="connsiteX2" fmla="*/ 2960 w 32341"/>
                <a:gd name="connsiteY2" fmla="*/ 2291 h 32914"/>
                <a:gd name="connsiteX3" fmla="*/ 2463 w 32341"/>
                <a:gd name="connsiteY3" fmla="*/ 2787 h 32914"/>
                <a:gd name="connsiteX4" fmla="*/ 47 w 32341"/>
                <a:gd name="connsiteY4" fmla="*/ 9016 h 32914"/>
                <a:gd name="connsiteX5" fmla="*/ 47 w 32341"/>
                <a:gd name="connsiteY5" fmla="*/ 10923 h 32914"/>
                <a:gd name="connsiteX6" fmla="*/ 47 w 32341"/>
                <a:gd name="connsiteY6" fmla="*/ 12575 h 32914"/>
                <a:gd name="connsiteX7" fmla="*/ 810 w 32341"/>
                <a:gd name="connsiteY7" fmla="*/ 13974 h 32914"/>
                <a:gd name="connsiteX8" fmla="*/ 1827 w 32341"/>
                <a:gd name="connsiteY8" fmla="*/ 15626 h 32914"/>
                <a:gd name="connsiteX9" fmla="*/ 1827 w 32341"/>
                <a:gd name="connsiteY9" fmla="*/ 15626 h 32914"/>
                <a:gd name="connsiteX10" fmla="*/ 18864 w 32341"/>
                <a:gd name="connsiteY10" fmla="*/ 32915 h 32914"/>
                <a:gd name="connsiteX11" fmla="*/ 19627 w 32341"/>
                <a:gd name="connsiteY11" fmla="*/ 32915 h 32914"/>
                <a:gd name="connsiteX12" fmla="*/ 19627 w 32341"/>
                <a:gd name="connsiteY12" fmla="*/ 20202 h 32914"/>
                <a:gd name="connsiteX13" fmla="*/ 31655 w 32341"/>
                <a:gd name="connsiteY13" fmla="*/ 19516 h 32914"/>
                <a:gd name="connsiteX14" fmla="*/ 32342 w 32341"/>
                <a:gd name="connsiteY14" fmla="*/ 20202 h 32914"/>
                <a:gd name="connsiteX15" fmla="*/ 28528 w 32341"/>
                <a:gd name="connsiteY15" fmla="*/ 16262 h 32914"/>
                <a:gd name="connsiteX16" fmla="*/ 25603 w 32341"/>
                <a:gd name="connsiteY16" fmla="*/ 13338 h 3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41" h="32914">
                  <a:moveTo>
                    <a:pt x="18102" y="5837"/>
                  </a:moveTo>
                  <a:lnTo>
                    <a:pt x="15177" y="2787"/>
                  </a:lnTo>
                  <a:cubicBezTo>
                    <a:pt x="11941" y="-722"/>
                    <a:pt x="6471" y="-951"/>
                    <a:pt x="2960" y="2291"/>
                  </a:cubicBezTo>
                  <a:cubicBezTo>
                    <a:pt x="2788" y="2443"/>
                    <a:pt x="2621" y="2609"/>
                    <a:pt x="2463" y="2787"/>
                  </a:cubicBezTo>
                  <a:cubicBezTo>
                    <a:pt x="1004" y="4541"/>
                    <a:pt x="156" y="6727"/>
                    <a:pt x="47" y="9016"/>
                  </a:cubicBezTo>
                  <a:cubicBezTo>
                    <a:pt x="-16" y="9651"/>
                    <a:pt x="-16" y="10287"/>
                    <a:pt x="47" y="10923"/>
                  </a:cubicBezTo>
                  <a:cubicBezTo>
                    <a:pt x="-12" y="11469"/>
                    <a:pt x="-12" y="12028"/>
                    <a:pt x="47" y="12575"/>
                  </a:cubicBezTo>
                  <a:cubicBezTo>
                    <a:pt x="223" y="13084"/>
                    <a:pt x="482" y="13554"/>
                    <a:pt x="810" y="13974"/>
                  </a:cubicBezTo>
                  <a:lnTo>
                    <a:pt x="1827" y="15626"/>
                  </a:lnTo>
                  <a:lnTo>
                    <a:pt x="1827" y="15626"/>
                  </a:lnTo>
                  <a:lnTo>
                    <a:pt x="18864" y="32915"/>
                  </a:lnTo>
                  <a:lnTo>
                    <a:pt x="19627" y="32915"/>
                  </a:lnTo>
                  <a:cubicBezTo>
                    <a:pt x="16390" y="29292"/>
                    <a:pt x="16390" y="23826"/>
                    <a:pt x="19627" y="20202"/>
                  </a:cubicBezTo>
                  <a:cubicBezTo>
                    <a:pt x="22759" y="16694"/>
                    <a:pt x="28144" y="16389"/>
                    <a:pt x="31655" y="19516"/>
                  </a:cubicBezTo>
                  <a:cubicBezTo>
                    <a:pt x="31897" y="19732"/>
                    <a:pt x="32126" y="19961"/>
                    <a:pt x="32342" y="20202"/>
                  </a:cubicBezTo>
                  <a:lnTo>
                    <a:pt x="28528" y="16262"/>
                  </a:lnTo>
                  <a:lnTo>
                    <a:pt x="25603" y="13338"/>
                  </a:lnTo>
                  <a:close/>
                </a:path>
              </a:pathLst>
            </a:custGeom>
            <a:solidFill>
              <a:srgbClr val="000000"/>
            </a:solidFill>
            <a:ln w="12685"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E004E6C3-C65A-483C-AA1D-EC175BF64171}"/>
                </a:ext>
              </a:extLst>
            </p:cNvPr>
            <p:cNvSpPr/>
            <p:nvPr/>
          </p:nvSpPr>
          <p:spPr>
            <a:xfrm>
              <a:off x="1158929" y="3938203"/>
              <a:ext cx="20323" cy="21547"/>
            </a:xfrm>
            <a:custGeom>
              <a:avLst/>
              <a:gdLst>
                <a:gd name="connsiteX0" fmla="*/ 2428 w 20323"/>
                <a:gd name="connsiteY0" fmla="*/ 3066 h 21547"/>
                <a:gd name="connsiteX1" fmla="*/ 2428 w 20323"/>
                <a:gd name="connsiteY1" fmla="*/ 15778 h 21547"/>
                <a:gd name="connsiteX2" fmla="*/ 4081 w 20323"/>
                <a:gd name="connsiteY2" fmla="*/ 17558 h 21547"/>
                <a:gd name="connsiteX3" fmla="*/ 5225 w 20323"/>
                <a:gd name="connsiteY3" fmla="*/ 18702 h 21547"/>
                <a:gd name="connsiteX4" fmla="*/ 17253 w 20323"/>
                <a:gd name="connsiteY4" fmla="*/ 19389 h 21547"/>
                <a:gd name="connsiteX5" fmla="*/ 17940 w 20323"/>
                <a:gd name="connsiteY5" fmla="*/ 18702 h 21547"/>
                <a:gd name="connsiteX6" fmla="*/ 20228 w 20323"/>
                <a:gd name="connsiteY6" fmla="*/ 12600 h 21547"/>
                <a:gd name="connsiteX7" fmla="*/ 20228 w 20323"/>
                <a:gd name="connsiteY7" fmla="*/ 10693 h 21547"/>
                <a:gd name="connsiteX8" fmla="*/ 20228 w 20323"/>
                <a:gd name="connsiteY8" fmla="*/ 9041 h 21547"/>
                <a:gd name="connsiteX9" fmla="*/ 19465 w 20323"/>
                <a:gd name="connsiteY9" fmla="*/ 7515 h 21547"/>
                <a:gd name="connsiteX10" fmla="*/ 18448 w 20323"/>
                <a:gd name="connsiteY10" fmla="*/ 5990 h 21547"/>
                <a:gd name="connsiteX11" fmla="*/ 18448 w 20323"/>
                <a:gd name="connsiteY11" fmla="*/ 5990 h 21547"/>
                <a:gd name="connsiteX12" fmla="*/ 15524 w 20323"/>
                <a:gd name="connsiteY12" fmla="*/ 3066 h 21547"/>
                <a:gd name="connsiteX13" fmla="*/ 3526 w 20323"/>
                <a:gd name="connsiteY13" fmla="*/ 1973 h 21547"/>
                <a:gd name="connsiteX14" fmla="*/ 2428 w 20323"/>
                <a:gd name="connsiteY14" fmla="*/ 3066 h 2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 h="21547">
                  <a:moveTo>
                    <a:pt x="2428" y="3066"/>
                  </a:moveTo>
                  <a:cubicBezTo>
                    <a:pt x="-809" y="6689"/>
                    <a:pt x="-809" y="12155"/>
                    <a:pt x="2428" y="15778"/>
                  </a:cubicBezTo>
                  <a:lnTo>
                    <a:pt x="4081" y="17558"/>
                  </a:lnTo>
                  <a:lnTo>
                    <a:pt x="5225" y="18702"/>
                  </a:lnTo>
                  <a:cubicBezTo>
                    <a:pt x="8357" y="22211"/>
                    <a:pt x="13741" y="22516"/>
                    <a:pt x="17253" y="19389"/>
                  </a:cubicBezTo>
                  <a:cubicBezTo>
                    <a:pt x="17495" y="19173"/>
                    <a:pt x="17724" y="18944"/>
                    <a:pt x="17940" y="18702"/>
                  </a:cubicBezTo>
                  <a:cubicBezTo>
                    <a:pt x="19426" y="17024"/>
                    <a:pt x="20240" y="14850"/>
                    <a:pt x="20228" y="12600"/>
                  </a:cubicBezTo>
                  <a:cubicBezTo>
                    <a:pt x="20356" y="11965"/>
                    <a:pt x="20356" y="11329"/>
                    <a:pt x="20228" y="10693"/>
                  </a:cubicBezTo>
                  <a:cubicBezTo>
                    <a:pt x="20301" y="10147"/>
                    <a:pt x="20301" y="9587"/>
                    <a:pt x="20228" y="9041"/>
                  </a:cubicBezTo>
                  <a:cubicBezTo>
                    <a:pt x="20026" y="8507"/>
                    <a:pt x="19771" y="7998"/>
                    <a:pt x="19465" y="7515"/>
                  </a:cubicBezTo>
                  <a:lnTo>
                    <a:pt x="18448" y="5990"/>
                  </a:lnTo>
                  <a:lnTo>
                    <a:pt x="18448" y="5990"/>
                  </a:lnTo>
                  <a:lnTo>
                    <a:pt x="15524" y="3066"/>
                  </a:lnTo>
                  <a:cubicBezTo>
                    <a:pt x="12514" y="-544"/>
                    <a:pt x="7144" y="-1040"/>
                    <a:pt x="3526" y="1973"/>
                  </a:cubicBezTo>
                  <a:cubicBezTo>
                    <a:pt x="3128" y="2303"/>
                    <a:pt x="2760" y="2672"/>
                    <a:pt x="2428" y="3066"/>
                  </a:cubicBezTo>
                  <a:close/>
                </a:path>
              </a:pathLst>
            </a:custGeom>
            <a:solidFill>
              <a:srgbClr val="000000"/>
            </a:solidFill>
            <a:ln w="12685"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F541E507-F888-4C0C-BB6F-04166B1AA0BC}"/>
                </a:ext>
              </a:extLst>
            </p:cNvPr>
            <p:cNvSpPr/>
            <p:nvPr/>
          </p:nvSpPr>
          <p:spPr>
            <a:xfrm>
              <a:off x="296441" y="679767"/>
              <a:ext cx="25464" cy="516133"/>
            </a:xfrm>
            <a:custGeom>
              <a:avLst/>
              <a:gdLst>
                <a:gd name="connsiteX0" fmla="*/ 7948 w 25464"/>
                <a:gd name="connsiteY0" fmla="*/ 9163 h 516133"/>
                <a:gd name="connsiteX1" fmla="*/ 7948 w 25464"/>
                <a:gd name="connsiteY1" fmla="*/ 14503 h 516133"/>
                <a:gd name="connsiteX2" fmla="*/ 64 w 25464"/>
                <a:gd name="connsiteY2" fmla="*/ 516133 h 516133"/>
                <a:gd name="connsiteX3" fmla="*/ 64 w 25464"/>
                <a:gd name="connsiteY3" fmla="*/ 516133 h 516133"/>
                <a:gd name="connsiteX4" fmla="*/ 7839 w 25464"/>
                <a:gd name="connsiteY4" fmla="*/ 506237 h 516133"/>
                <a:gd name="connsiteX5" fmla="*/ 17738 w 25464"/>
                <a:gd name="connsiteY5" fmla="*/ 514011 h 516133"/>
                <a:gd name="connsiteX6" fmla="*/ 17738 w 25464"/>
                <a:gd name="connsiteY6" fmla="*/ 516133 h 516133"/>
                <a:gd name="connsiteX7" fmla="*/ 17738 w 25464"/>
                <a:gd name="connsiteY7" fmla="*/ 502404 h 516133"/>
                <a:gd name="connsiteX8" fmla="*/ 25367 w 25464"/>
                <a:gd name="connsiteY8" fmla="*/ 8909 h 516133"/>
                <a:gd name="connsiteX9" fmla="*/ 25367 w 25464"/>
                <a:gd name="connsiteY9" fmla="*/ 8909 h 516133"/>
                <a:gd name="connsiteX10" fmla="*/ 25367 w 25464"/>
                <a:gd name="connsiteY10" fmla="*/ 7129 h 516133"/>
                <a:gd name="connsiteX11" fmla="*/ 25367 w 25464"/>
                <a:gd name="connsiteY11" fmla="*/ 5350 h 516133"/>
                <a:gd name="connsiteX12" fmla="*/ 24477 w 25464"/>
                <a:gd name="connsiteY12" fmla="*/ 3951 h 516133"/>
                <a:gd name="connsiteX13" fmla="*/ 23332 w 25464"/>
                <a:gd name="connsiteY13" fmla="*/ 2426 h 516133"/>
                <a:gd name="connsiteX14" fmla="*/ 16848 w 25464"/>
                <a:gd name="connsiteY14" fmla="*/ 10 h 516133"/>
                <a:gd name="connsiteX15" fmla="*/ 7944 w 25464"/>
                <a:gd name="connsiteY15" fmla="*/ 8905 h 516133"/>
                <a:gd name="connsiteX16" fmla="*/ 7948 w 25464"/>
                <a:gd name="connsiteY16" fmla="*/ 9163 h 51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64" h="516133">
                  <a:moveTo>
                    <a:pt x="7948" y="9163"/>
                  </a:moveTo>
                  <a:lnTo>
                    <a:pt x="7948" y="14503"/>
                  </a:lnTo>
                  <a:lnTo>
                    <a:pt x="64" y="516133"/>
                  </a:lnTo>
                  <a:lnTo>
                    <a:pt x="64" y="516133"/>
                  </a:lnTo>
                  <a:cubicBezTo>
                    <a:pt x="-522" y="511255"/>
                    <a:pt x="2958" y="506823"/>
                    <a:pt x="7839" y="506237"/>
                  </a:cubicBezTo>
                  <a:cubicBezTo>
                    <a:pt x="12719" y="505651"/>
                    <a:pt x="17152" y="509130"/>
                    <a:pt x="17738" y="514011"/>
                  </a:cubicBezTo>
                  <a:cubicBezTo>
                    <a:pt x="17823" y="514715"/>
                    <a:pt x="17823" y="515428"/>
                    <a:pt x="17738" y="516133"/>
                  </a:cubicBezTo>
                  <a:lnTo>
                    <a:pt x="17738" y="502404"/>
                  </a:lnTo>
                  <a:lnTo>
                    <a:pt x="25367" y="8909"/>
                  </a:lnTo>
                  <a:cubicBezTo>
                    <a:pt x="25367" y="8909"/>
                    <a:pt x="25367" y="8909"/>
                    <a:pt x="25367" y="8909"/>
                  </a:cubicBezTo>
                  <a:cubicBezTo>
                    <a:pt x="25498" y="8323"/>
                    <a:pt x="25498" y="7715"/>
                    <a:pt x="25367" y="7129"/>
                  </a:cubicBezTo>
                  <a:lnTo>
                    <a:pt x="25367" y="5350"/>
                  </a:lnTo>
                  <a:lnTo>
                    <a:pt x="24477" y="3951"/>
                  </a:lnTo>
                  <a:lnTo>
                    <a:pt x="23332" y="2426"/>
                  </a:lnTo>
                  <a:cubicBezTo>
                    <a:pt x="21593" y="766"/>
                    <a:pt x="19250" y="-107"/>
                    <a:pt x="16848" y="10"/>
                  </a:cubicBezTo>
                  <a:cubicBezTo>
                    <a:pt x="11932" y="8"/>
                    <a:pt x="7946" y="3991"/>
                    <a:pt x="7944" y="8905"/>
                  </a:cubicBezTo>
                  <a:cubicBezTo>
                    <a:pt x="7944" y="8991"/>
                    <a:pt x="7945" y="9077"/>
                    <a:pt x="7948" y="9163"/>
                  </a:cubicBezTo>
                  <a:close/>
                </a:path>
              </a:pathLst>
            </a:custGeom>
            <a:solidFill>
              <a:srgbClr val="000000"/>
            </a:solidFill>
            <a:ln w="12685"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6B858EB6-55BD-41CE-B576-B0A49E9FD529}"/>
                </a:ext>
              </a:extLst>
            </p:cNvPr>
            <p:cNvSpPr/>
            <p:nvPr/>
          </p:nvSpPr>
          <p:spPr>
            <a:xfrm>
              <a:off x="2730473" y="5475400"/>
              <a:ext cx="145328" cy="688248"/>
            </a:xfrm>
            <a:custGeom>
              <a:avLst/>
              <a:gdLst>
                <a:gd name="connsiteX0" fmla="*/ 145329 w 145328"/>
                <a:gd name="connsiteY0" fmla="*/ 636 h 688248"/>
                <a:gd name="connsiteX1" fmla="*/ 134903 w 145328"/>
                <a:gd name="connsiteY1" fmla="*/ 8009 h 688248"/>
                <a:gd name="connsiteX2" fmla="*/ 127909 w 145328"/>
                <a:gd name="connsiteY2" fmla="*/ 0 h 688248"/>
                <a:gd name="connsiteX3" fmla="*/ 127909 w 145328"/>
                <a:gd name="connsiteY3" fmla="*/ 0 h 688248"/>
                <a:gd name="connsiteX4" fmla="*/ 127909 w 145328"/>
                <a:gd name="connsiteY4" fmla="*/ 0 h 688248"/>
                <a:gd name="connsiteX5" fmla="*/ 127147 w 145328"/>
                <a:gd name="connsiteY5" fmla="*/ 4195 h 688248"/>
                <a:gd name="connsiteX6" fmla="*/ 0 w 145328"/>
                <a:gd name="connsiteY6" fmla="*/ 688249 h 688248"/>
                <a:gd name="connsiteX7" fmla="*/ 3560 w 145328"/>
                <a:gd name="connsiteY7" fmla="*/ 686088 h 688248"/>
                <a:gd name="connsiteX8" fmla="*/ 20216 w 145328"/>
                <a:gd name="connsiteY8" fmla="*/ 676172 h 68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28" h="688248">
                  <a:moveTo>
                    <a:pt x="145329" y="636"/>
                  </a:moveTo>
                  <a:cubicBezTo>
                    <a:pt x="144426" y="5517"/>
                    <a:pt x="139798" y="8784"/>
                    <a:pt x="134903" y="8009"/>
                  </a:cubicBezTo>
                  <a:cubicBezTo>
                    <a:pt x="131126" y="7068"/>
                    <a:pt x="128329" y="3878"/>
                    <a:pt x="127909" y="0"/>
                  </a:cubicBezTo>
                  <a:lnTo>
                    <a:pt x="127909" y="0"/>
                  </a:lnTo>
                  <a:lnTo>
                    <a:pt x="127909" y="0"/>
                  </a:lnTo>
                  <a:lnTo>
                    <a:pt x="127147" y="4195"/>
                  </a:lnTo>
                  <a:lnTo>
                    <a:pt x="0" y="688249"/>
                  </a:lnTo>
                  <a:lnTo>
                    <a:pt x="3560" y="686088"/>
                  </a:lnTo>
                  <a:lnTo>
                    <a:pt x="20216" y="676172"/>
                  </a:lnTo>
                  <a:close/>
                </a:path>
              </a:pathLst>
            </a:custGeom>
            <a:solidFill>
              <a:srgbClr val="000000"/>
            </a:solidFill>
            <a:ln w="12685"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C06B2B07-7114-47DC-A1BD-5B182AB58A69}"/>
                </a:ext>
              </a:extLst>
            </p:cNvPr>
            <p:cNvSpPr/>
            <p:nvPr/>
          </p:nvSpPr>
          <p:spPr>
            <a:xfrm>
              <a:off x="2858128" y="5472349"/>
              <a:ext cx="18054" cy="10792"/>
            </a:xfrm>
            <a:custGeom>
              <a:avLst/>
              <a:gdLst>
                <a:gd name="connsiteX0" fmla="*/ 18055 w 18054"/>
                <a:gd name="connsiteY0" fmla="*/ 0 h 10792"/>
                <a:gd name="connsiteX1" fmla="*/ 15766 w 18054"/>
                <a:gd name="connsiteY1" fmla="*/ 5721 h 10792"/>
                <a:gd name="connsiteX2" fmla="*/ 3738 w 18054"/>
                <a:gd name="connsiteY2" fmla="*/ 6407 h 10792"/>
                <a:gd name="connsiteX3" fmla="*/ 3052 w 18054"/>
                <a:gd name="connsiteY3" fmla="*/ 5721 h 10792"/>
                <a:gd name="connsiteX4" fmla="*/ 0 w 18054"/>
                <a:gd name="connsiteY4" fmla="*/ 2669 h 10792"/>
                <a:gd name="connsiteX5" fmla="*/ 6993 w 18054"/>
                <a:gd name="connsiteY5" fmla="*/ 10678 h 10792"/>
                <a:gd name="connsiteX6" fmla="*/ 17419 w 18054"/>
                <a:gd name="connsiteY6" fmla="*/ 3305 h 10792"/>
                <a:gd name="connsiteX7" fmla="*/ 17419 w 18054"/>
                <a:gd name="connsiteY7" fmla="*/ 763 h 10792"/>
                <a:gd name="connsiteX8" fmla="*/ 18055 w 18054"/>
                <a:gd name="connsiteY8" fmla="*/ 0 h 1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54" h="10792">
                  <a:moveTo>
                    <a:pt x="18055" y="0"/>
                  </a:moveTo>
                  <a:cubicBezTo>
                    <a:pt x="17991" y="2110"/>
                    <a:pt x="17178" y="4144"/>
                    <a:pt x="15766" y="5721"/>
                  </a:cubicBezTo>
                  <a:cubicBezTo>
                    <a:pt x="12638" y="9229"/>
                    <a:pt x="7247" y="9534"/>
                    <a:pt x="3738" y="6407"/>
                  </a:cubicBezTo>
                  <a:cubicBezTo>
                    <a:pt x="3497" y="6191"/>
                    <a:pt x="3268" y="5962"/>
                    <a:pt x="3052" y="5721"/>
                  </a:cubicBezTo>
                  <a:lnTo>
                    <a:pt x="0" y="2669"/>
                  </a:lnTo>
                  <a:cubicBezTo>
                    <a:pt x="420" y="6547"/>
                    <a:pt x="3217" y="9738"/>
                    <a:pt x="6993" y="10678"/>
                  </a:cubicBezTo>
                  <a:cubicBezTo>
                    <a:pt x="11888" y="11454"/>
                    <a:pt x="16516" y="8187"/>
                    <a:pt x="17419" y="3305"/>
                  </a:cubicBezTo>
                  <a:lnTo>
                    <a:pt x="17419" y="763"/>
                  </a:lnTo>
                  <a:cubicBezTo>
                    <a:pt x="17419" y="763"/>
                    <a:pt x="18055" y="0"/>
                    <a:pt x="18055" y="0"/>
                  </a:cubicBezTo>
                  <a:close/>
                </a:path>
              </a:pathLst>
            </a:custGeom>
            <a:solidFill>
              <a:srgbClr val="000000"/>
            </a:solidFill>
            <a:ln w="12685"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F0989E00-20E5-47E8-824A-1D58F6163CFC}"/>
                </a:ext>
              </a:extLst>
            </p:cNvPr>
            <p:cNvSpPr/>
            <p:nvPr/>
          </p:nvSpPr>
          <p:spPr>
            <a:xfrm>
              <a:off x="3735634" y="4693588"/>
              <a:ext cx="53970" cy="168468"/>
            </a:xfrm>
            <a:custGeom>
              <a:avLst/>
              <a:gdLst>
                <a:gd name="connsiteX0" fmla="*/ 43291 w 53970"/>
                <a:gd name="connsiteY0" fmla="*/ 11187 h 168468"/>
                <a:gd name="connsiteX1" fmla="*/ 36806 w 53970"/>
                <a:gd name="connsiteY1" fmla="*/ 0 h 168468"/>
                <a:gd name="connsiteX2" fmla="*/ 315 w 53970"/>
                <a:gd name="connsiteY2" fmla="*/ 156998 h 168468"/>
                <a:gd name="connsiteX3" fmla="*/ 6672 w 53970"/>
                <a:gd name="connsiteY3" fmla="*/ 168185 h 168468"/>
                <a:gd name="connsiteX4" fmla="*/ 17226 w 53970"/>
                <a:gd name="connsiteY4" fmla="*/ 162007 h 168468"/>
                <a:gd name="connsiteX5" fmla="*/ 17353 w 53970"/>
                <a:gd name="connsiteY5" fmla="*/ 161448 h 168468"/>
                <a:gd name="connsiteX6" fmla="*/ 19260 w 53970"/>
                <a:gd name="connsiteY6" fmla="*/ 153185 h 168468"/>
                <a:gd name="connsiteX7" fmla="*/ 53971 w 53970"/>
                <a:gd name="connsiteY7" fmla="*/ 4449 h 168468"/>
                <a:gd name="connsiteX8" fmla="*/ 43596 w 53970"/>
                <a:gd name="connsiteY8" fmla="*/ 11251 h 168468"/>
                <a:gd name="connsiteX9" fmla="*/ 43291 w 53970"/>
                <a:gd name="connsiteY9" fmla="*/ 11187 h 1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70" h="168468">
                  <a:moveTo>
                    <a:pt x="43291" y="11187"/>
                  </a:moveTo>
                  <a:cubicBezTo>
                    <a:pt x="38459" y="9827"/>
                    <a:pt x="35586" y="4869"/>
                    <a:pt x="36806" y="0"/>
                  </a:cubicBezTo>
                  <a:lnTo>
                    <a:pt x="315" y="156998"/>
                  </a:lnTo>
                  <a:cubicBezTo>
                    <a:pt x="-982" y="161842"/>
                    <a:pt x="1841" y="166825"/>
                    <a:pt x="6672" y="168185"/>
                  </a:cubicBezTo>
                  <a:cubicBezTo>
                    <a:pt x="11288" y="169393"/>
                    <a:pt x="16018" y="166634"/>
                    <a:pt x="17226" y="162007"/>
                  </a:cubicBezTo>
                  <a:cubicBezTo>
                    <a:pt x="17276" y="161829"/>
                    <a:pt x="17314" y="161638"/>
                    <a:pt x="17353" y="161448"/>
                  </a:cubicBezTo>
                  <a:lnTo>
                    <a:pt x="19260" y="153185"/>
                  </a:lnTo>
                  <a:lnTo>
                    <a:pt x="53971" y="4449"/>
                  </a:lnTo>
                  <a:cubicBezTo>
                    <a:pt x="52992" y="9191"/>
                    <a:pt x="48338" y="12242"/>
                    <a:pt x="43596" y="11251"/>
                  </a:cubicBezTo>
                  <a:cubicBezTo>
                    <a:pt x="43494" y="11238"/>
                    <a:pt x="43392" y="11213"/>
                    <a:pt x="43291" y="11187"/>
                  </a:cubicBezTo>
                  <a:close/>
                </a:path>
              </a:pathLst>
            </a:custGeom>
            <a:solidFill>
              <a:srgbClr val="000000"/>
            </a:solidFill>
            <a:ln w="12685"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511AC135-3F32-46F4-8CFD-645121003129}"/>
                </a:ext>
              </a:extLst>
            </p:cNvPr>
            <p:cNvSpPr/>
            <p:nvPr/>
          </p:nvSpPr>
          <p:spPr>
            <a:xfrm>
              <a:off x="1579669" y="1800321"/>
              <a:ext cx="131979" cy="70353"/>
            </a:xfrm>
            <a:custGeom>
              <a:avLst/>
              <a:gdLst>
                <a:gd name="connsiteX0" fmla="*/ 126384 w 131979"/>
                <a:gd name="connsiteY0" fmla="*/ 17852 h 70353"/>
                <a:gd name="connsiteX1" fmla="*/ 131126 w 131979"/>
                <a:gd name="connsiteY1" fmla="*/ 5231 h 70353"/>
                <a:gd name="connsiteX2" fmla="*/ 131088 w 131979"/>
                <a:gd name="connsiteY2" fmla="*/ 5139 h 70353"/>
                <a:gd name="connsiteX3" fmla="*/ 127528 w 131979"/>
                <a:gd name="connsiteY3" fmla="*/ 944 h 70353"/>
                <a:gd name="connsiteX4" fmla="*/ 125875 w 131979"/>
                <a:gd name="connsiteY4" fmla="*/ 54 h 70353"/>
                <a:gd name="connsiteX5" fmla="*/ 124222 w 131979"/>
                <a:gd name="connsiteY5" fmla="*/ 54 h 70353"/>
                <a:gd name="connsiteX6" fmla="*/ 122569 w 131979"/>
                <a:gd name="connsiteY6" fmla="*/ 54 h 70353"/>
                <a:gd name="connsiteX7" fmla="*/ 120789 w 131979"/>
                <a:gd name="connsiteY7" fmla="*/ 54 h 70353"/>
                <a:gd name="connsiteX8" fmla="*/ 119518 w 131979"/>
                <a:gd name="connsiteY8" fmla="*/ 54 h 70353"/>
                <a:gd name="connsiteX9" fmla="*/ 13478 w 131979"/>
                <a:gd name="connsiteY9" fmla="*/ 46709 h 70353"/>
                <a:gd name="connsiteX10" fmla="*/ 0 w 131979"/>
                <a:gd name="connsiteY10" fmla="*/ 52684 h 70353"/>
                <a:gd name="connsiteX11" fmla="*/ 11380 w 131979"/>
                <a:gd name="connsiteY11" fmla="*/ 57161 h 70353"/>
                <a:gd name="connsiteX12" fmla="*/ 11570 w 131979"/>
                <a:gd name="connsiteY12" fmla="*/ 57641 h 70353"/>
                <a:gd name="connsiteX13" fmla="*/ 6891 w 131979"/>
                <a:gd name="connsiteY13" fmla="*/ 70286 h 70353"/>
                <a:gd name="connsiteX14" fmla="*/ 6739 w 131979"/>
                <a:gd name="connsiteY14" fmla="*/ 70354 h 70353"/>
                <a:gd name="connsiteX15" fmla="*/ 121171 w 131979"/>
                <a:gd name="connsiteY15" fmla="*/ 19504 h 7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979" h="70353">
                  <a:moveTo>
                    <a:pt x="126384" y="17852"/>
                  </a:moveTo>
                  <a:cubicBezTo>
                    <a:pt x="131177" y="15677"/>
                    <a:pt x="133301" y="10026"/>
                    <a:pt x="131126" y="5231"/>
                  </a:cubicBezTo>
                  <a:cubicBezTo>
                    <a:pt x="131114" y="5200"/>
                    <a:pt x="131101" y="5170"/>
                    <a:pt x="131088" y="5139"/>
                  </a:cubicBezTo>
                  <a:cubicBezTo>
                    <a:pt x="130414" y="3375"/>
                    <a:pt x="129156" y="1895"/>
                    <a:pt x="127528" y="944"/>
                  </a:cubicBezTo>
                  <a:lnTo>
                    <a:pt x="125875" y="54"/>
                  </a:lnTo>
                  <a:cubicBezTo>
                    <a:pt x="125328" y="-18"/>
                    <a:pt x="124769" y="-18"/>
                    <a:pt x="124222" y="54"/>
                  </a:cubicBezTo>
                  <a:lnTo>
                    <a:pt x="122569" y="54"/>
                  </a:lnTo>
                  <a:cubicBezTo>
                    <a:pt x="121984" y="-18"/>
                    <a:pt x="121374" y="-18"/>
                    <a:pt x="120789" y="54"/>
                  </a:cubicBezTo>
                  <a:lnTo>
                    <a:pt x="119518" y="54"/>
                  </a:lnTo>
                  <a:lnTo>
                    <a:pt x="13478" y="46709"/>
                  </a:lnTo>
                  <a:lnTo>
                    <a:pt x="0" y="52684"/>
                  </a:lnTo>
                  <a:cubicBezTo>
                    <a:pt x="4374" y="50778"/>
                    <a:pt x="9472" y="52783"/>
                    <a:pt x="11380" y="57161"/>
                  </a:cubicBezTo>
                  <a:cubicBezTo>
                    <a:pt x="11443" y="57319"/>
                    <a:pt x="11507" y="57479"/>
                    <a:pt x="11570" y="57641"/>
                  </a:cubicBezTo>
                  <a:cubicBezTo>
                    <a:pt x="13770" y="62426"/>
                    <a:pt x="11672" y="68087"/>
                    <a:pt x="6891" y="70286"/>
                  </a:cubicBezTo>
                  <a:cubicBezTo>
                    <a:pt x="6841" y="70309"/>
                    <a:pt x="6790" y="70332"/>
                    <a:pt x="6739" y="70354"/>
                  </a:cubicBezTo>
                  <a:lnTo>
                    <a:pt x="121171" y="19504"/>
                  </a:lnTo>
                  <a:close/>
                </a:path>
              </a:pathLst>
            </a:custGeom>
            <a:solidFill>
              <a:srgbClr val="000000"/>
            </a:solidFill>
            <a:ln w="12685"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EA879F52-D188-49C8-9AB7-FBB181832CF1}"/>
                </a:ext>
              </a:extLst>
            </p:cNvPr>
            <p:cNvSpPr/>
            <p:nvPr/>
          </p:nvSpPr>
          <p:spPr>
            <a:xfrm>
              <a:off x="1277569" y="1976950"/>
              <a:ext cx="28989" cy="27331"/>
            </a:xfrm>
            <a:custGeom>
              <a:avLst/>
              <a:gdLst>
                <a:gd name="connsiteX0" fmla="*/ 0 w 28989"/>
                <a:gd name="connsiteY0" fmla="*/ 9661 h 27331"/>
                <a:gd name="connsiteX1" fmla="*/ 11380 w 28989"/>
                <a:gd name="connsiteY1" fmla="*/ 14136 h 27331"/>
                <a:gd name="connsiteX2" fmla="*/ 11570 w 28989"/>
                <a:gd name="connsiteY2" fmla="*/ 14619 h 27331"/>
                <a:gd name="connsiteX3" fmla="*/ 7196 w 28989"/>
                <a:gd name="connsiteY3" fmla="*/ 27179 h 27331"/>
                <a:gd name="connsiteX4" fmla="*/ 6866 w 28989"/>
                <a:gd name="connsiteY4" fmla="*/ 27332 h 27331"/>
                <a:gd name="connsiteX5" fmla="*/ 28989 w 28989"/>
                <a:gd name="connsiteY5" fmla="*/ 17670 h 27331"/>
                <a:gd name="connsiteX6" fmla="*/ 17521 w 28989"/>
                <a:gd name="connsiteY6" fmla="*/ 12954 h 27331"/>
                <a:gd name="connsiteX7" fmla="*/ 17419 w 28989"/>
                <a:gd name="connsiteY7" fmla="*/ 12712 h 27331"/>
                <a:gd name="connsiteX8" fmla="*/ 22098 w 28989"/>
                <a:gd name="connsiteY8" fmla="*/ 64 h 27331"/>
                <a:gd name="connsiteX9" fmla="*/ 22251 w 28989"/>
                <a:gd name="connsiteY9" fmla="*/ 0 h 27331"/>
                <a:gd name="connsiteX10" fmla="*/ 16148 w 28989"/>
                <a:gd name="connsiteY10" fmla="*/ 2670 h 27331"/>
                <a:gd name="connsiteX11" fmla="*/ 8900 w 28989"/>
                <a:gd name="connsiteY11" fmla="*/ 5848 h 27331"/>
                <a:gd name="connsiteX12" fmla="*/ 5086 w 28989"/>
                <a:gd name="connsiteY12" fmla="*/ 7500 h 2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89" h="27331">
                  <a:moveTo>
                    <a:pt x="0" y="9661"/>
                  </a:moveTo>
                  <a:cubicBezTo>
                    <a:pt x="4374" y="7755"/>
                    <a:pt x="9472" y="9763"/>
                    <a:pt x="11380" y="14136"/>
                  </a:cubicBezTo>
                  <a:cubicBezTo>
                    <a:pt x="11443" y="14301"/>
                    <a:pt x="11507" y="14454"/>
                    <a:pt x="11570" y="14619"/>
                  </a:cubicBezTo>
                  <a:cubicBezTo>
                    <a:pt x="13834" y="19297"/>
                    <a:pt x="11875" y="24916"/>
                    <a:pt x="7196" y="27179"/>
                  </a:cubicBezTo>
                  <a:cubicBezTo>
                    <a:pt x="7082" y="27230"/>
                    <a:pt x="6980" y="27281"/>
                    <a:pt x="6866" y="27332"/>
                  </a:cubicBezTo>
                  <a:lnTo>
                    <a:pt x="28989" y="17670"/>
                  </a:lnTo>
                  <a:cubicBezTo>
                    <a:pt x="24514" y="19539"/>
                    <a:pt x="19377" y="17429"/>
                    <a:pt x="17521" y="12954"/>
                  </a:cubicBezTo>
                  <a:cubicBezTo>
                    <a:pt x="17483" y="12878"/>
                    <a:pt x="17444" y="12789"/>
                    <a:pt x="17419" y="12712"/>
                  </a:cubicBezTo>
                  <a:cubicBezTo>
                    <a:pt x="15219" y="7933"/>
                    <a:pt x="17317" y="2263"/>
                    <a:pt x="22098" y="64"/>
                  </a:cubicBezTo>
                  <a:cubicBezTo>
                    <a:pt x="22149" y="51"/>
                    <a:pt x="22200" y="25"/>
                    <a:pt x="22251" y="0"/>
                  </a:cubicBezTo>
                  <a:lnTo>
                    <a:pt x="16148" y="2670"/>
                  </a:lnTo>
                  <a:lnTo>
                    <a:pt x="8900" y="5848"/>
                  </a:lnTo>
                  <a:lnTo>
                    <a:pt x="5086" y="7500"/>
                  </a:lnTo>
                  <a:close/>
                </a:path>
              </a:pathLst>
            </a:custGeom>
            <a:solidFill>
              <a:srgbClr val="000000"/>
            </a:solidFill>
            <a:ln w="12685"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4BAB5B1C-A62E-4725-B99E-0A99B50819E6}"/>
                </a:ext>
              </a:extLst>
            </p:cNvPr>
            <p:cNvSpPr/>
            <p:nvPr/>
          </p:nvSpPr>
          <p:spPr>
            <a:xfrm>
              <a:off x="1134995" y="1985256"/>
              <a:ext cx="154826" cy="79745"/>
            </a:xfrm>
            <a:custGeom>
              <a:avLst/>
              <a:gdLst>
                <a:gd name="connsiteX0" fmla="*/ 3984 w 154826"/>
                <a:gd name="connsiteY0" fmla="*/ 62629 h 79745"/>
                <a:gd name="connsiteX1" fmla="*/ 2331 w 154826"/>
                <a:gd name="connsiteY1" fmla="*/ 63773 h 79745"/>
                <a:gd name="connsiteX2" fmla="*/ 1313 w 154826"/>
                <a:gd name="connsiteY2" fmla="*/ 65171 h 79745"/>
                <a:gd name="connsiteX3" fmla="*/ 423 w 154826"/>
                <a:gd name="connsiteY3" fmla="*/ 66697 h 79745"/>
                <a:gd name="connsiteX4" fmla="*/ 423 w 154826"/>
                <a:gd name="connsiteY4" fmla="*/ 68604 h 79745"/>
                <a:gd name="connsiteX5" fmla="*/ 423 w 154826"/>
                <a:gd name="connsiteY5" fmla="*/ 74070 h 79745"/>
                <a:gd name="connsiteX6" fmla="*/ 11298 w 154826"/>
                <a:gd name="connsiteY6" fmla="*/ 79257 h 79745"/>
                <a:gd name="connsiteX7" fmla="*/ 11867 w 154826"/>
                <a:gd name="connsiteY7" fmla="*/ 79028 h 79745"/>
                <a:gd name="connsiteX8" fmla="*/ 16952 w 154826"/>
                <a:gd name="connsiteY8" fmla="*/ 76867 h 79745"/>
                <a:gd name="connsiteX9" fmla="*/ 17715 w 154826"/>
                <a:gd name="connsiteY9" fmla="*/ 76867 h 79745"/>
                <a:gd name="connsiteX10" fmla="*/ 149185 w 154826"/>
                <a:gd name="connsiteY10" fmla="*/ 18390 h 79745"/>
                <a:gd name="connsiteX11" fmla="*/ 154042 w 154826"/>
                <a:gd name="connsiteY11" fmla="*/ 6008 h 79745"/>
                <a:gd name="connsiteX12" fmla="*/ 153889 w 154826"/>
                <a:gd name="connsiteY12" fmla="*/ 5677 h 79745"/>
                <a:gd name="connsiteX13" fmla="*/ 142802 w 154826"/>
                <a:gd name="connsiteY13" fmla="*/ 529 h 79745"/>
                <a:gd name="connsiteX14" fmla="*/ 142319 w 154826"/>
                <a:gd name="connsiteY14" fmla="*/ 719 h 79745"/>
                <a:gd name="connsiteX15" fmla="*/ 129604 w 154826"/>
                <a:gd name="connsiteY15" fmla="*/ 6567 h 79745"/>
                <a:gd name="connsiteX16" fmla="*/ 5255 w 154826"/>
                <a:gd name="connsiteY16" fmla="*/ 61230 h 7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826" h="79745">
                  <a:moveTo>
                    <a:pt x="3984" y="62629"/>
                  </a:moveTo>
                  <a:cubicBezTo>
                    <a:pt x="3385" y="62934"/>
                    <a:pt x="2829" y="63315"/>
                    <a:pt x="2331" y="63773"/>
                  </a:cubicBezTo>
                  <a:cubicBezTo>
                    <a:pt x="1961" y="64218"/>
                    <a:pt x="1620" y="64688"/>
                    <a:pt x="1313" y="65171"/>
                  </a:cubicBezTo>
                  <a:cubicBezTo>
                    <a:pt x="989" y="65667"/>
                    <a:pt x="692" y="66176"/>
                    <a:pt x="423" y="66697"/>
                  </a:cubicBezTo>
                  <a:cubicBezTo>
                    <a:pt x="334" y="67332"/>
                    <a:pt x="334" y="67968"/>
                    <a:pt x="423" y="68604"/>
                  </a:cubicBezTo>
                  <a:cubicBezTo>
                    <a:pt x="-141" y="70383"/>
                    <a:pt x="-141" y="72290"/>
                    <a:pt x="423" y="74070"/>
                  </a:cubicBezTo>
                  <a:cubicBezTo>
                    <a:pt x="1995" y="78507"/>
                    <a:pt x="6865" y="80820"/>
                    <a:pt x="11298" y="79257"/>
                  </a:cubicBezTo>
                  <a:cubicBezTo>
                    <a:pt x="11490" y="79180"/>
                    <a:pt x="11680" y="79104"/>
                    <a:pt x="11867" y="79028"/>
                  </a:cubicBezTo>
                  <a:lnTo>
                    <a:pt x="16952" y="76867"/>
                  </a:lnTo>
                  <a:lnTo>
                    <a:pt x="17715" y="76867"/>
                  </a:lnTo>
                  <a:lnTo>
                    <a:pt x="149185" y="18390"/>
                  </a:lnTo>
                  <a:cubicBezTo>
                    <a:pt x="153940" y="16305"/>
                    <a:pt x="156114" y="10762"/>
                    <a:pt x="154042" y="6008"/>
                  </a:cubicBezTo>
                  <a:cubicBezTo>
                    <a:pt x="153991" y="5893"/>
                    <a:pt x="153940" y="5779"/>
                    <a:pt x="153889" y="5677"/>
                  </a:cubicBezTo>
                  <a:cubicBezTo>
                    <a:pt x="152249" y="1190"/>
                    <a:pt x="147290" y="-1111"/>
                    <a:pt x="142802" y="529"/>
                  </a:cubicBezTo>
                  <a:cubicBezTo>
                    <a:pt x="142637" y="592"/>
                    <a:pt x="142472" y="656"/>
                    <a:pt x="142319" y="719"/>
                  </a:cubicBezTo>
                  <a:lnTo>
                    <a:pt x="129604" y="6567"/>
                  </a:lnTo>
                  <a:lnTo>
                    <a:pt x="5255" y="61230"/>
                  </a:lnTo>
                  <a:close/>
                </a:path>
              </a:pathLst>
            </a:custGeom>
            <a:solidFill>
              <a:srgbClr val="000000"/>
            </a:solidFill>
            <a:ln w="12685"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0B5D3E5E-316B-404F-9AE0-D9388DBA1DE9}"/>
                </a:ext>
              </a:extLst>
            </p:cNvPr>
            <p:cNvSpPr/>
            <p:nvPr/>
          </p:nvSpPr>
          <p:spPr>
            <a:xfrm>
              <a:off x="797282" y="2057420"/>
              <a:ext cx="255873" cy="125302"/>
            </a:xfrm>
            <a:custGeom>
              <a:avLst/>
              <a:gdLst>
                <a:gd name="connsiteX0" fmla="*/ 18236 w 255873"/>
                <a:gd name="connsiteY0" fmla="*/ 102843 h 125302"/>
                <a:gd name="connsiteX1" fmla="*/ 8955 w 255873"/>
                <a:gd name="connsiteY1" fmla="*/ 111742 h 125302"/>
                <a:gd name="connsiteX2" fmla="*/ 3742 w 255873"/>
                <a:gd name="connsiteY2" fmla="*/ 109708 h 125302"/>
                <a:gd name="connsiteX3" fmla="*/ 54 w 255873"/>
                <a:gd name="connsiteY3" fmla="*/ 116827 h 125302"/>
                <a:gd name="connsiteX4" fmla="*/ 54 w 255873"/>
                <a:gd name="connsiteY4" fmla="*/ 118607 h 125302"/>
                <a:gd name="connsiteX5" fmla="*/ 54 w 255873"/>
                <a:gd name="connsiteY5" fmla="*/ 120386 h 125302"/>
                <a:gd name="connsiteX6" fmla="*/ 54 w 255873"/>
                <a:gd name="connsiteY6" fmla="*/ 120386 h 125302"/>
                <a:gd name="connsiteX7" fmla="*/ 817 w 255873"/>
                <a:gd name="connsiteY7" fmla="*/ 121403 h 125302"/>
                <a:gd name="connsiteX8" fmla="*/ 1962 w 255873"/>
                <a:gd name="connsiteY8" fmla="*/ 123183 h 125302"/>
                <a:gd name="connsiteX9" fmla="*/ 3360 w 255873"/>
                <a:gd name="connsiteY9" fmla="*/ 124327 h 125302"/>
                <a:gd name="connsiteX10" fmla="*/ 4632 w 255873"/>
                <a:gd name="connsiteY10" fmla="*/ 125217 h 125302"/>
                <a:gd name="connsiteX11" fmla="*/ 6666 w 255873"/>
                <a:gd name="connsiteY11" fmla="*/ 125217 h 125302"/>
                <a:gd name="connsiteX12" fmla="*/ 8065 w 255873"/>
                <a:gd name="connsiteY12" fmla="*/ 125217 h 125302"/>
                <a:gd name="connsiteX13" fmla="*/ 9845 w 255873"/>
                <a:gd name="connsiteY13" fmla="*/ 125217 h 125302"/>
                <a:gd name="connsiteX14" fmla="*/ 11498 w 255873"/>
                <a:gd name="connsiteY14" fmla="*/ 125217 h 125302"/>
                <a:gd name="connsiteX15" fmla="*/ 11498 w 255873"/>
                <a:gd name="connsiteY15" fmla="*/ 125217 h 125302"/>
                <a:gd name="connsiteX16" fmla="*/ 14295 w 255873"/>
                <a:gd name="connsiteY16" fmla="*/ 123946 h 125302"/>
                <a:gd name="connsiteX17" fmla="*/ 14295 w 255873"/>
                <a:gd name="connsiteY17" fmla="*/ 123946 h 125302"/>
                <a:gd name="connsiteX18" fmla="*/ 255873 w 255873"/>
                <a:gd name="connsiteY18" fmla="*/ 17670 h 125302"/>
                <a:gd name="connsiteX19" fmla="*/ 244495 w 255873"/>
                <a:gd name="connsiteY19" fmla="*/ 13195 h 125302"/>
                <a:gd name="connsiteX20" fmla="*/ 244303 w 255873"/>
                <a:gd name="connsiteY20" fmla="*/ 12712 h 125302"/>
                <a:gd name="connsiteX21" fmla="*/ 249135 w 255873"/>
                <a:gd name="connsiteY21" fmla="*/ 0 h 125302"/>
                <a:gd name="connsiteX22" fmla="*/ 229045 w 255873"/>
                <a:gd name="connsiteY22" fmla="*/ 8899 h 125302"/>
                <a:gd name="connsiteX23" fmla="*/ 16965 w 255873"/>
                <a:gd name="connsiteY23" fmla="*/ 102080 h 12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873" h="125302">
                  <a:moveTo>
                    <a:pt x="18236" y="102843"/>
                  </a:moveTo>
                  <a:cubicBezTo>
                    <a:pt x="18098" y="107852"/>
                    <a:pt x="13962" y="111818"/>
                    <a:pt x="8955" y="111742"/>
                  </a:cubicBezTo>
                  <a:cubicBezTo>
                    <a:pt x="7051" y="111602"/>
                    <a:pt x="5233" y="110903"/>
                    <a:pt x="3742" y="109708"/>
                  </a:cubicBezTo>
                  <a:cubicBezTo>
                    <a:pt x="1511" y="111411"/>
                    <a:pt x="160" y="114017"/>
                    <a:pt x="54" y="116827"/>
                  </a:cubicBezTo>
                  <a:cubicBezTo>
                    <a:pt x="54" y="116827"/>
                    <a:pt x="54" y="117971"/>
                    <a:pt x="54" y="118607"/>
                  </a:cubicBezTo>
                  <a:cubicBezTo>
                    <a:pt x="-18" y="119191"/>
                    <a:pt x="-18" y="119802"/>
                    <a:pt x="54" y="120386"/>
                  </a:cubicBezTo>
                  <a:lnTo>
                    <a:pt x="54" y="120386"/>
                  </a:lnTo>
                  <a:lnTo>
                    <a:pt x="817" y="121403"/>
                  </a:lnTo>
                  <a:cubicBezTo>
                    <a:pt x="1124" y="122039"/>
                    <a:pt x="1508" y="122636"/>
                    <a:pt x="1962" y="123183"/>
                  </a:cubicBezTo>
                  <a:cubicBezTo>
                    <a:pt x="2368" y="123628"/>
                    <a:pt x="2840" y="124022"/>
                    <a:pt x="3360" y="124327"/>
                  </a:cubicBezTo>
                  <a:lnTo>
                    <a:pt x="4632" y="125217"/>
                  </a:lnTo>
                  <a:lnTo>
                    <a:pt x="6666" y="125217"/>
                  </a:lnTo>
                  <a:lnTo>
                    <a:pt x="8065" y="125217"/>
                  </a:lnTo>
                  <a:cubicBezTo>
                    <a:pt x="8652" y="125331"/>
                    <a:pt x="9257" y="125331"/>
                    <a:pt x="9845" y="125217"/>
                  </a:cubicBezTo>
                  <a:cubicBezTo>
                    <a:pt x="10394" y="125281"/>
                    <a:pt x="10948" y="125281"/>
                    <a:pt x="11498" y="125217"/>
                  </a:cubicBezTo>
                  <a:lnTo>
                    <a:pt x="11498" y="125217"/>
                  </a:lnTo>
                  <a:lnTo>
                    <a:pt x="14295" y="123946"/>
                  </a:lnTo>
                  <a:lnTo>
                    <a:pt x="14295" y="123946"/>
                  </a:lnTo>
                  <a:lnTo>
                    <a:pt x="255873" y="17670"/>
                  </a:lnTo>
                  <a:cubicBezTo>
                    <a:pt x="251494" y="19577"/>
                    <a:pt x="246401" y="17568"/>
                    <a:pt x="244495" y="13195"/>
                  </a:cubicBezTo>
                  <a:cubicBezTo>
                    <a:pt x="244426" y="13030"/>
                    <a:pt x="244363" y="12878"/>
                    <a:pt x="244303" y="12712"/>
                  </a:cubicBezTo>
                  <a:cubicBezTo>
                    <a:pt x="242153" y="7869"/>
                    <a:pt x="244309" y="2199"/>
                    <a:pt x="249135" y="0"/>
                  </a:cubicBezTo>
                  <a:lnTo>
                    <a:pt x="229045" y="8899"/>
                  </a:lnTo>
                  <a:lnTo>
                    <a:pt x="16965" y="102080"/>
                  </a:lnTo>
                  <a:close/>
                </a:path>
              </a:pathLst>
            </a:custGeom>
            <a:solidFill>
              <a:srgbClr val="000000"/>
            </a:solidFill>
            <a:ln w="12685"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55CAA4E1-3D82-47C8-B092-4FCDDE9427DE}"/>
                </a:ext>
              </a:extLst>
            </p:cNvPr>
            <p:cNvSpPr/>
            <p:nvPr/>
          </p:nvSpPr>
          <p:spPr>
            <a:xfrm>
              <a:off x="1276726" y="2815577"/>
              <a:ext cx="88827" cy="85309"/>
            </a:xfrm>
            <a:custGeom>
              <a:avLst/>
              <a:gdLst>
                <a:gd name="connsiteX0" fmla="*/ 76113 w 88827"/>
                <a:gd name="connsiteY0" fmla="*/ 72851 h 85309"/>
                <a:gd name="connsiteX1" fmla="*/ 88281 w 88827"/>
                <a:gd name="connsiteY1" fmla="*/ 71606 h 85309"/>
                <a:gd name="connsiteX2" fmla="*/ 88828 w 88827"/>
                <a:gd name="connsiteY2" fmla="*/ 72089 h 85309"/>
                <a:gd name="connsiteX3" fmla="*/ 85268 w 88827"/>
                <a:gd name="connsiteY3" fmla="*/ 68783 h 85309"/>
                <a:gd name="connsiteX4" fmla="*/ 82343 w 88827"/>
                <a:gd name="connsiteY4" fmla="*/ 65987 h 85309"/>
                <a:gd name="connsiteX5" fmla="*/ 14701 w 88827"/>
                <a:gd name="connsiteY5" fmla="*/ 2425 h 85309"/>
                <a:gd name="connsiteX6" fmla="*/ 2470 w 88827"/>
                <a:gd name="connsiteY6" fmla="*/ 2641 h 85309"/>
                <a:gd name="connsiteX7" fmla="*/ 1987 w 88827"/>
                <a:gd name="connsiteY7" fmla="*/ 3187 h 85309"/>
                <a:gd name="connsiteX8" fmla="*/ 2749 w 88827"/>
                <a:gd name="connsiteY8" fmla="*/ 15900 h 85309"/>
                <a:gd name="connsiteX9" fmla="*/ 76749 w 88827"/>
                <a:gd name="connsiteY9" fmla="*/ 85310 h 85309"/>
                <a:gd name="connsiteX10" fmla="*/ 76113 w 88827"/>
                <a:gd name="connsiteY10" fmla="*/ 72851 h 8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827" h="85309">
                  <a:moveTo>
                    <a:pt x="76113" y="72851"/>
                  </a:moveTo>
                  <a:cubicBezTo>
                    <a:pt x="79127" y="69152"/>
                    <a:pt x="84568" y="68593"/>
                    <a:pt x="88281" y="71606"/>
                  </a:cubicBezTo>
                  <a:cubicBezTo>
                    <a:pt x="88472" y="71758"/>
                    <a:pt x="88650" y="71923"/>
                    <a:pt x="88828" y="72089"/>
                  </a:cubicBezTo>
                  <a:lnTo>
                    <a:pt x="85268" y="68783"/>
                  </a:lnTo>
                  <a:lnTo>
                    <a:pt x="82343" y="65987"/>
                  </a:lnTo>
                  <a:lnTo>
                    <a:pt x="14701" y="2425"/>
                  </a:lnTo>
                  <a:cubicBezTo>
                    <a:pt x="11268" y="-893"/>
                    <a:pt x="5788" y="-791"/>
                    <a:pt x="2470" y="2641"/>
                  </a:cubicBezTo>
                  <a:cubicBezTo>
                    <a:pt x="2305" y="2819"/>
                    <a:pt x="2139" y="2997"/>
                    <a:pt x="1987" y="3187"/>
                  </a:cubicBezTo>
                  <a:cubicBezTo>
                    <a:pt x="-925" y="7039"/>
                    <a:pt x="-607" y="12429"/>
                    <a:pt x="2749" y="15900"/>
                  </a:cubicBezTo>
                  <a:lnTo>
                    <a:pt x="76749" y="85310"/>
                  </a:lnTo>
                  <a:cubicBezTo>
                    <a:pt x="73519" y="81865"/>
                    <a:pt x="73252" y="76602"/>
                    <a:pt x="76113" y="72851"/>
                  </a:cubicBezTo>
                  <a:close/>
                </a:path>
              </a:pathLst>
            </a:custGeom>
            <a:solidFill>
              <a:srgbClr val="000000"/>
            </a:solidFill>
            <a:ln w="12685"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D1C97DC0-0AE5-45A5-99E1-728E01FF293F}"/>
                </a:ext>
              </a:extLst>
            </p:cNvPr>
            <p:cNvSpPr/>
            <p:nvPr/>
          </p:nvSpPr>
          <p:spPr>
            <a:xfrm>
              <a:off x="1350301" y="2886635"/>
              <a:ext cx="81448" cy="77813"/>
            </a:xfrm>
            <a:custGeom>
              <a:avLst/>
              <a:gdLst>
                <a:gd name="connsiteX0" fmla="*/ 73740 w 81448"/>
                <a:gd name="connsiteY0" fmla="*/ 77432 h 77813"/>
                <a:gd name="connsiteX1" fmla="*/ 73740 w 81448"/>
                <a:gd name="connsiteY1" fmla="*/ 77432 h 77813"/>
                <a:gd name="connsiteX2" fmla="*/ 75393 w 81448"/>
                <a:gd name="connsiteY2" fmla="*/ 77432 h 77813"/>
                <a:gd name="connsiteX3" fmla="*/ 76665 w 81448"/>
                <a:gd name="connsiteY3" fmla="*/ 77432 h 77813"/>
                <a:gd name="connsiteX4" fmla="*/ 76665 w 81448"/>
                <a:gd name="connsiteY4" fmla="*/ 77432 h 77813"/>
                <a:gd name="connsiteX5" fmla="*/ 79462 w 81448"/>
                <a:gd name="connsiteY5" fmla="*/ 75271 h 77813"/>
                <a:gd name="connsiteX6" fmla="*/ 78699 w 81448"/>
                <a:gd name="connsiteY6" fmla="*/ 62559 h 77813"/>
                <a:gd name="connsiteX7" fmla="*/ 74503 w 81448"/>
                <a:gd name="connsiteY7" fmla="*/ 58618 h 77813"/>
                <a:gd name="connsiteX8" fmla="*/ 14744 w 81448"/>
                <a:gd name="connsiteY8" fmla="*/ 2429 h 77813"/>
                <a:gd name="connsiteX9" fmla="*/ 2513 w 81448"/>
                <a:gd name="connsiteY9" fmla="*/ 2646 h 77813"/>
                <a:gd name="connsiteX10" fmla="*/ 2030 w 81448"/>
                <a:gd name="connsiteY10" fmla="*/ 3192 h 77813"/>
                <a:gd name="connsiteX11" fmla="*/ 2792 w 81448"/>
                <a:gd name="connsiteY11" fmla="*/ 15905 h 77813"/>
                <a:gd name="connsiteX12" fmla="*/ 62679 w 81448"/>
                <a:gd name="connsiteY12" fmla="*/ 72093 h 77813"/>
                <a:gd name="connsiteX13" fmla="*/ 65222 w 81448"/>
                <a:gd name="connsiteY13" fmla="*/ 74509 h 77813"/>
                <a:gd name="connsiteX14" fmla="*/ 66874 w 81448"/>
                <a:gd name="connsiteY14" fmla="*/ 76161 h 77813"/>
                <a:gd name="connsiteX15" fmla="*/ 67892 w 81448"/>
                <a:gd name="connsiteY15" fmla="*/ 76797 h 77813"/>
                <a:gd name="connsiteX16" fmla="*/ 69799 w 81448"/>
                <a:gd name="connsiteY16" fmla="*/ 77814 h 77813"/>
                <a:gd name="connsiteX17" fmla="*/ 69799 w 81448"/>
                <a:gd name="connsiteY17" fmla="*/ 77814 h 77813"/>
                <a:gd name="connsiteX18" fmla="*/ 70816 w 81448"/>
                <a:gd name="connsiteY18" fmla="*/ 77814 h 7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448" h="77813">
                  <a:moveTo>
                    <a:pt x="73740" y="77432"/>
                  </a:moveTo>
                  <a:lnTo>
                    <a:pt x="73740" y="77432"/>
                  </a:lnTo>
                  <a:lnTo>
                    <a:pt x="75393" y="77432"/>
                  </a:lnTo>
                  <a:cubicBezTo>
                    <a:pt x="75813" y="77483"/>
                    <a:pt x="76245" y="77483"/>
                    <a:pt x="76665" y="77432"/>
                  </a:cubicBezTo>
                  <a:lnTo>
                    <a:pt x="76665" y="77432"/>
                  </a:lnTo>
                  <a:cubicBezTo>
                    <a:pt x="77733" y="76898"/>
                    <a:pt x="78674" y="76161"/>
                    <a:pt x="79462" y="75271"/>
                  </a:cubicBezTo>
                  <a:cubicBezTo>
                    <a:pt x="82374" y="71419"/>
                    <a:pt x="82056" y="66029"/>
                    <a:pt x="78699" y="62559"/>
                  </a:cubicBezTo>
                  <a:lnTo>
                    <a:pt x="74503" y="58618"/>
                  </a:lnTo>
                  <a:lnTo>
                    <a:pt x="14744" y="2429"/>
                  </a:lnTo>
                  <a:cubicBezTo>
                    <a:pt x="11311" y="-889"/>
                    <a:pt x="5831" y="-800"/>
                    <a:pt x="2513" y="2646"/>
                  </a:cubicBezTo>
                  <a:cubicBezTo>
                    <a:pt x="2348" y="2823"/>
                    <a:pt x="2182" y="3001"/>
                    <a:pt x="2030" y="3192"/>
                  </a:cubicBezTo>
                  <a:cubicBezTo>
                    <a:pt x="-946" y="7019"/>
                    <a:pt x="-615" y="12459"/>
                    <a:pt x="2792" y="15905"/>
                  </a:cubicBezTo>
                  <a:lnTo>
                    <a:pt x="62679" y="72093"/>
                  </a:lnTo>
                  <a:lnTo>
                    <a:pt x="65222" y="74509"/>
                  </a:lnTo>
                  <a:lnTo>
                    <a:pt x="66874" y="76161"/>
                  </a:lnTo>
                  <a:lnTo>
                    <a:pt x="67892" y="76797"/>
                  </a:lnTo>
                  <a:cubicBezTo>
                    <a:pt x="68489" y="77216"/>
                    <a:pt x="69125" y="77547"/>
                    <a:pt x="69799" y="77814"/>
                  </a:cubicBezTo>
                  <a:lnTo>
                    <a:pt x="69799" y="77814"/>
                  </a:lnTo>
                  <a:lnTo>
                    <a:pt x="70816" y="77814"/>
                  </a:lnTo>
                  <a:close/>
                </a:path>
              </a:pathLst>
            </a:custGeom>
            <a:solidFill>
              <a:srgbClr val="000000"/>
            </a:solidFill>
            <a:ln w="12685"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65D5397D-E3DF-41CA-88E9-41DDB9ECC5FF}"/>
                </a:ext>
              </a:extLst>
            </p:cNvPr>
            <p:cNvSpPr/>
            <p:nvPr/>
          </p:nvSpPr>
          <p:spPr>
            <a:xfrm>
              <a:off x="2150558" y="1789345"/>
              <a:ext cx="216855" cy="109678"/>
            </a:xfrm>
            <a:custGeom>
              <a:avLst/>
              <a:gdLst>
                <a:gd name="connsiteX0" fmla="*/ 11697 w 216855"/>
                <a:gd name="connsiteY0" fmla="*/ 96966 h 109678"/>
                <a:gd name="connsiteX1" fmla="*/ 7082 w 216855"/>
                <a:gd name="connsiteY1" fmla="*/ 109640 h 109678"/>
                <a:gd name="connsiteX2" fmla="*/ 6993 w 216855"/>
                <a:gd name="connsiteY2" fmla="*/ 109678 h 109678"/>
                <a:gd name="connsiteX3" fmla="*/ 206486 w 216855"/>
                <a:gd name="connsiteY3" fmla="*/ 20056 h 109678"/>
                <a:gd name="connsiteX4" fmla="*/ 211318 w 216855"/>
                <a:gd name="connsiteY4" fmla="*/ 17895 h 109678"/>
                <a:gd name="connsiteX5" fmla="*/ 216022 w 216855"/>
                <a:gd name="connsiteY5" fmla="*/ 5449 h 109678"/>
                <a:gd name="connsiteX6" fmla="*/ 215895 w 216855"/>
                <a:gd name="connsiteY6" fmla="*/ 5182 h 109678"/>
                <a:gd name="connsiteX7" fmla="*/ 212208 w 216855"/>
                <a:gd name="connsiteY7" fmla="*/ 987 h 109678"/>
                <a:gd name="connsiteX8" fmla="*/ 210555 w 216855"/>
                <a:gd name="connsiteY8" fmla="*/ 97 h 109678"/>
                <a:gd name="connsiteX9" fmla="*/ 209029 w 216855"/>
                <a:gd name="connsiteY9" fmla="*/ 97 h 109678"/>
                <a:gd name="connsiteX10" fmla="*/ 207249 w 216855"/>
                <a:gd name="connsiteY10" fmla="*/ 97 h 109678"/>
                <a:gd name="connsiteX11" fmla="*/ 205596 w 216855"/>
                <a:gd name="connsiteY11" fmla="*/ 97 h 109678"/>
                <a:gd name="connsiteX12" fmla="*/ 204325 w 216855"/>
                <a:gd name="connsiteY12" fmla="*/ 97 h 109678"/>
                <a:gd name="connsiteX13" fmla="*/ 0 w 216855"/>
                <a:gd name="connsiteY13" fmla="*/ 91754 h 109678"/>
                <a:gd name="connsiteX14" fmla="*/ 11494 w 216855"/>
                <a:gd name="connsiteY14" fmla="*/ 96432 h 109678"/>
                <a:gd name="connsiteX15" fmla="*/ 11697 w 216855"/>
                <a:gd name="connsiteY15" fmla="*/ 96966 h 10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855" h="109678">
                  <a:moveTo>
                    <a:pt x="11697" y="96966"/>
                  </a:moveTo>
                  <a:cubicBezTo>
                    <a:pt x="13923" y="101733"/>
                    <a:pt x="11863" y="107415"/>
                    <a:pt x="7082" y="109640"/>
                  </a:cubicBezTo>
                  <a:cubicBezTo>
                    <a:pt x="7057" y="109653"/>
                    <a:pt x="7019" y="109665"/>
                    <a:pt x="6993" y="109678"/>
                  </a:cubicBezTo>
                  <a:lnTo>
                    <a:pt x="206486" y="20056"/>
                  </a:lnTo>
                  <a:lnTo>
                    <a:pt x="211318" y="17895"/>
                  </a:lnTo>
                  <a:cubicBezTo>
                    <a:pt x="216048" y="15756"/>
                    <a:pt x="218158" y="10185"/>
                    <a:pt x="216022" y="5449"/>
                  </a:cubicBezTo>
                  <a:cubicBezTo>
                    <a:pt x="215984" y="5360"/>
                    <a:pt x="215933" y="5271"/>
                    <a:pt x="215895" y="5182"/>
                  </a:cubicBezTo>
                  <a:cubicBezTo>
                    <a:pt x="215132" y="3434"/>
                    <a:pt x="213848" y="1967"/>
                    <a:pt x="212208" y="987"/>
                  </a:cubicBezTo>
                  <a:lnTo>
                    <a:pt x="210555" y="97"/>
                  </a:lnTo>
                  <a:lnTo>
                    <a:pt x="209029" y="97"/>
                  </a:lnTo>
                  <a:lnTo>
                    <a:pt x="207249" y="97"/>
                  </a:lnTo>
                  <a:cubicBezTo>
                    <a:pt x="206702" y="-32"/>
                    <a:pt x="206143" y="-32"/>
                    <a:pt x="205596" y="97"/>
                  </a:cubicBezTo>
                  <a:cubicBezTo>
                    <a:pt x="205596" y="97"/>
                    <a:pt x="204706" y="97"/>
                    <a:pt x="204325" y="97"/>
                  </a:cubicBezTo>
                  <a:lnTo>
                    <a:pt x="0" y="91754"/>
                  </a:lnTo>
                  <a:cubicBezTo>
                    <a:pt x="4463" y="89872"/>
                    <a:pt x="9612" y="91970"/>
                    <a:pt x="11494" y="96432"/>
                  </a:cubicBezTo>
                  <a:cubicBezTo>
                    <a:pt x="11570" y="96610"/>
                    <a:pt x="11634" y="96788"/>
                    <a:pt x="11697" y="96966"/>
                  </a:cubicBezTo>
                  <a:close/>
                </a:path>
              </a:pathLst>
            </a:custGeom>
            <a:solidFill>
              <a:srgbClr val="000000"/>
            </a:solidFill>
            <a:ln w="12685"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3D8357E9-3F4B-4060-B6E9-2609D9574AAA}"/>
                </a:ext>
              </a:extLst>
            </p:cNvPr>
            <p:cNvSpPr/>
            <p:nvPr/>
          </p:nvSpPr>
          <p:spPr>
            <a:xfrm>
              <a:off x="2070511" y="1880624"/>
              <a:ext cx="92635" cy="52551"/>
            </a:xfrm>
            <a:custGeom>
              <a:avLst/>
              <a:gdLst>
                <a:gd name="connsiteX0" fmla="*/ 19524 w 92635"/>
                <a:gd name="connsiteY0" fmla="*/ 27933 h 52551"/>
                <a:gd name="connsiteX1" fmla="*/ 5538 w 92635"/>
                <a:gd name="connsiteY1" fmla="*/ 34162 h 52551"/>
                <a:gd name="connsiteX2" fmla="*/ 834 w 92635"/>
                <a:gd name="connsiteY2" fmla="*/ 46608 h 52551"/>
                <a:gd name="connsiteX3" fmla="*/ 961 w 92635"/>
                <a:gd name="connsiteY3" fmla="*/ 46875 h 52551"/>
                <a:gd name="connsiteX4" fmla="*/ 12048 w 92635"/>
                <a:gd name="connsiteY4" fmla="*/ 52023 h 52551"/>
                <a:gd name="connsiteX5" fmla="*/ 12531 w 92635"/>
                <a:gd name="connsiteY5" fmla="*/ 51832 h 52551"/>
                <a:gd name="connsiteX6" fmla="*/ 87039 w 92635"/>
                <a:gd name="connsiteY6" fmla="*/ 18399 h 52551"/>
                <a:gd name="connsiteX7" fmla="*/ 91782 w 92635"/>
                <a:gd name="connsiteY7" fmla="*/ 5775 h 52551"/>
                <a:gd name="connsiteX8" fmla="*/ 91744 w 92635"/>
                <a:gd name="connsiteY8" fmla="*/ 5687 h 52551"/>
                <a:gd name="connsiteX9" fmla="*/ 80440 w 92635"/>
                <a:gd name="connsiteY9" fmla="*/ 563 h 52551"/>
                <a:gd name="connsiteX10" fmla="*/ 80046 w 92635"/>
                <a:gd name="connsiteY10" fmla="*/ 729 h 52551"/>
                <a:gd name="connsiteX11" fmla="*/ 77376 w 92635"/>
                <a:gd name="connsiteY11" fmla="*/ 2000 h 52551"/>
                <a:gd name="connsiteX12" fmla="*/ 74070 w 92635"/>
                <a:gd name="connsiteY12" fmla="*/ 3398 h 5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52551">
                  <a:moveTo>
                    <a:pt x="19524" y="27933"/>
                  </a:moveTo>
                  <a:lnTo>
                    <a:pt x="5538" y="34162"/>
                  </a:lnTo>
                  <a:cubicBezTo>
                    <a:pt x="808" y="36298"/>
                    <a:pt x="-1302" y="41866"/>
                    <a:pt x="834" y="46608"/>
                  </a:cubicBezTo>
                  <a:cubicBezTo>
                    <a:pt x="872" y="46697"/>
                    <a:pt x="923" y="46786"/>
                    <a:pt x="961" y="46875"/>
                  </a:cubicBezTo>
                  <a:cubicBezTo>
                    <a:pt x="2601" y="51362"/>
                    <a:pt x="7560" y="53663"/>
                    <a:pt x="12048" y="52023"/>
                  </a:cubicBezTo>
                  <a:cubicBezTo>
                    <a:pt x="12213" y="51960"/>
                    <a:pt x="12379" y="51896"/>
                    <a:pt x="12531" y="51832"/>
                  </a:cubicBezTo>
                  <a:lnTo>
                    <a:pt x="87039" y="18399"/>
                  </a:lnTo>
                  <a:cubicBezTo>
                    <a:pt x="91833" y="16225"/>
                    <a:pt x="93956" y="10568"/>
                    <a:pt x="91782" y="5775"/>
                  </a:cubicBezTo>
                  <a:cubicBezTo>
                    <a:pt x="91769" y="5750"/>
                    <a:pt x="91756" y="5712"/>
                    <a:pt x="91744" y="5687"/>
                  </a:cubicBezTo>
                  <a:cubicBezTo>
                    <a:pt x="90040" y="1148"/>
                    <a:pt x="84979" y="-1140"/>
                    <a:pt x="80440" y="563"/>
                  </a:cubicBezTo>
                  <a:cubicBezTo>
                    <a:pt x="80313" y="614"/>
                    <a:pt x="80173" y="678"/>
                    <a:pt x="80046" y="729"/>
                  </a:cubicBezTo>
                  <a:lnTo>
                    <a:pt x="77376" y="2000"/>
                  </a:lnTo>
                  <a:lnTo>
                    <a:pt x="74070" y="3398"/>
                  </a:lnTo>
                  <a:close/>
                </a:path>
              </a:pathLst>
            </a:custGeom>
            <a:solidFill>
              <a:srgbClr val="000000"/>
            </a:solidFill>
            <a:ln w="12685" cap="flat">
              <a:no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6B589E6F-4858-4C16-BD87-5965B7F858FA}"/>
                </a:ext>
              </a:extLst>
            </p:cNvPr>
            <p:cNvSpPr/>
            <p:nvPr/>
          </p:nvSpPr>
          <p:spPr>
            <a:xfrm>
              <a:off x="1887535" y="3250986"/>
              <a:ext cx="24113" cy="70602"/>
            </a:xfrm>
            <a:custGeom>
              <a:avLst/>
              <a:gdLst>
                <a:gd name="connsiteX0" fmla="*/ 14450 w 24113"/>
                <a:gd name="connsiteY0" fmla="*/ 10297 h 70602"/>
                <a:gd name="connsiteX1" fmla="*/ 6567 w 24113"/>
                <a:gd name="connsiteY1" fmla="*/ 38 h 70602"/>
                <a:gd name="connsiteX2" fmla="*/ 6567 w 24113"/>
                <a:gd name="connsiteY2" fmla="*/ 0 h 70602"/>
                <a:gd name="connsiteX3" fmla="*/ 4787 w 24113"/>
                <a:gd name="connsiteY3" fmla="*/ 16526 h 70602"/>
                <a:gd name="connsiteX4" fmla="*/ 83 w 24113"/>
                <a:gd name="connsiteY4" fmla="*/ 60257 h 70602"/>
                <a:gd name="connsiteX5" fmla="*/ 7928 w 24113"/>
                <a:gd name="connsiteY5" fmla="*/ 70554 h 70602"/>
                <a:gd name="connsiteX6" fmla="*/ 7966 w 24113"/>
                <a:gd name="connsiteY6" fmla="*/ 70554 h 70602"/>
                <a:gd name="connsiteX7" fmla="*/ 17604 w 24113"/>
                <a:gd name="connsiteY7" fmla="*/ 62736 h 70602"/>
                <a:gd name="connsiteX8" fmla="*/ 17629 w 24113"/>
                <a:gd name="connsiteY8" fmla="*/ 62418 h 70602"/>
                <a:gd name="connsiteX9" fmla="*/ 24114 w 24113"/>
                <a:gd name="connsiteY9" fmla="*/ 2161 h 70602"/>
                <a:gd name="connsiteX10" fmla="*/ 14768 w 24113"/>
                <a:gd name="connsiteY10" fmla="*/ 10323 h 70602"/>
                <a:gd name="connsiteX11" fmla="*/ 14450 w 24113"/>
                <a:gd name="connsiteY11" fmla="*/ 10297 h 7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13" h="70602">
                  <a:moveTo>
                    <a:pt x="14450" y="10297"/>
                  </a:moveTo>
                  <a:cubicBezTo>
                    <a:pt x="9441" y="9636"/>
                    <a:pt x="5906" y="5047"/>
                    <a:pt x="6567" y="38"/>
                  </a:cubicBezTo>
                  <a:cubicBezTo>
                    <a:pt x="6567" y="25"/>
                    <a:pt x="6567" y="13"/>
                    <a:pt x="6567" y="0"/>
                  </a:cubicBezTo>
                  <a:lnTo>
                    <a:pt x="4787" y="16526"/>
                  </a:lnTo>
                  <a:lnTo>
                    <a:pt x="83" y="60257"/>
                  </a:lnTo>
                  <a:cubicBezTo>
                    <a:pt x="-591" y="65265"/>
                    <a:pt x="2918" y="69880"/>
                    <a:pt x="7928" y="70554"/>
                  </a:cubicBezTo>
                  <a:cubicBezTo>
                    <a:pt x="7941" y="70554"/>
                    <a:pt x="7953" y="70554"/>
                    <a:pt x="7966" y="70554"/>
                  </a:cubicBezTo>
                  <a:cubicBezTo>
                    <a:pt x="12785" y="71062"/>
                    <a:pt x="17095" y="67554"/>
                    <a:pt x="17604" y="62736"/>
                  </a:cubicBezTo>
                  <a:cubicBezTo>
                    <a:pt x="17616" y="62634"/>
                    <a:pt x="17616" y="62520"/>
                    <a:pt x="17629" y="62418"/>
                  </a:cubicBezTo>
                  <a:lnTo>
                    <a:pt x="24114" y="2161"/>
                  </a:lnTo>
                  <a:cubicBezTo>
                    <a:pt x="23783" y="6992"/>
                    <a:pt x="19600" y="10653"/>
                    <a:pt x="14768" y="10323"/>
                  </a:cubicBezTo>
                  <a:cubicBezTo>
                    <a:pt x="14666" y="10323"/>
                    <a:pt x="14552" y="10310"/>
                    <a:pt x="14450" y="10297"/>
                  </a:cubicBezTo>
                  <a:close/>
                </a:path>
              </a:pathLst>
            </a:custGeom>
            <a:solidFill>
              <a:srgbClr val="000000"/>
            </a:solidFill>
            <a:ln w="12685" cap="flat">
              <a:no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BFD2F538-EC5B-421F-BE2C-58F14918C60F}"/>
                </a:ext>
              </a:extLst>
            </p:cNvPr>
            <p:cNvSpPr/>
            <p:nvPr/>
          </p:nvSpPr>
          <p:spPr>
            <a:xfrm>
              <a:off x="2333083" y="3590280"/>
              <a:ext cx="29300" cy="123188"/>
            </a:xfrm>
            <a:custGeom>
              <a:avLst/>
              <a:gdLst>
                <a:gd name="connsiteX0" fmla="*/ 10992 w 29300"/>
                <a:gd name="connsiteY0" fmla="*/ 122929 h 123188"/>
                <a:gd name="connsiteX1" fmla="*/ 14425 w 29300"/>
                <a:gd name="connsiteY1" fmla="*/ 121403 h 123188"/>
                <a:gd name="connsiteX2" fmla="*/ 29301 w 29300"/>
                <a:gd name="connsiteY2" fmla="*/ 12458 h 123188"/>
                <a:gd name="connsiteX3" fmla="*/ 29301 w 29300"/>
                <a:gd name="connsiteY3" fmla="*/ 8772 h 123188"/>
                <a:gd name="connsiteX4" fmla="*/ 22816 w 29300"/>
                <a:gd name="connsiteY4" fmla="*/ 10551 h 123188"/>
                <a:gd name="connsiteX5" fmla="*/ 15442 w 29300"/>
                <a:gd name="connsiteY5" fmla="*/ 0 h 123188"/>
                <a:gd name="connsiteX6" fmla="*/ 57 w 29300"/>
                <a:gd name="connsiteY6" fmla="*/ 112505 h 123188"/>
                <a:gd name="connsiteX7" fmla="*/ 57 w 29300"/>
                <a:gd name="connsiteY7" fmla="*/ 113522 h 123188"/>
                <a:gd name="connsiteX8" fmla="*/ 57 w 29300"/>
                <a:gd name="connsiteY8" fmla="*/ 115301 h 123188"/>
                <a:gd name="connsiteX9" fmla="*/ 57 w 29300"/>
                <a:gd name="connsiteY9" fmla="*/ 116954 h 123188"/>
                <a:gd name="connsiteX10" fmla="*/ 820 w 29300"/>
                <a:gd name="connsiteY10" fmla="*/ 118607 h 123188"/>
                <a:gd name="connsiteX11" fmla="*/ 1710 w 29300"/>
                <a:gd name="connsiteY11" fmla="*/ 120005 h 123188"/>
                <a:gd name="connsiteX12" fmla="*/ 6923 w 29300"/>
                <a:gd name="connsiteY12" fmla="*/ 123056 h 123188"/>
                <a:gd name="connsiteX13" fmla="*/ 10992 w 29300"/>
                <a:gd name="connsiteY13" fmla="*/ 122929 h 12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0" h="123188">
                  <a:moveTo>
                    <a:pt x="10992" y="122929"/>
                  </a:moveTo>
                  <a:cubicBezTo>
                    <a:pt x="12238" y="122687"/>
                    <a:pt x="13408" y="122166"/>
                    <a:pt x="14425" y="121403"/>
                  </a:cubicBezTo>
                  <a:lnTo>
                    <a:pt x="29301" y="12458"/>
                  </a:lnTo>
                  <a:lnTo>
                    <a:pt x="29301" y="8772"/>
                  </a:lnTo>
                  <a:cubicBezTo>
                    <a:pt x="27483" y="10246"/>
                    <a:pt x="25131" y="10882"/>
                    <a:pt x="22816" y="10551"/>
                  </a:cubicBezTo>
                  <a:cubicBezTo>
                    <a:pt x="17883" y="9649"/>
                    <a:pt x="14590" y="4945"/>
                    <a:pt x="15442" y="0"/>
                  </a:cubicBezTo>
                  <a:lnTo>
                    <a:pt x="57" y="112505"/>
                  </a:lnTo>
                  <a:cubicBezTo>
                    <a:pt x="57" y="112505"/>
                    <a:pt x="57" y="112505"/>
                    <a:pt x="57" y="113522"/>
                  </a:cubicBezTo>
                  <a:cubicBezTo>
                    <a:pt x="-6" y="114119"/>
                    <a:pt x="-6" y="114704"/>
                    <a:pt x="57" y="115301"/>
                  </a:cubicBezTo>
                  <a:cubicBezTo>
                    <a:pt x="-19" y="115848"/>
                    <a:pt x="-19" y="116407"/>
                    <a:pt x="57" y="116954"/>
                  </a:cubicBezTo>
                  <a:cubicBezTo>
                    <a:pt x="184" y="117552"/>
                    <a:pt x="439" y="118124"/>
                    <a:pt x="820" y="118607"/>
                  </a:cubicBezTo>
                  <a:cubicBezTo>
                    <a:pt x="1036" y="119115"/>
                    <a:pt x="1341" y="119585"/>
                    <a:pt x="1710" y="120005"/>
                  </a:cubicBezTo>
                  <a:cubicBezTo>
                    <a:pt x="3045" y="121594"/>
                    <a:pt x="4889" y="122675"/>
                    <a:pt x="6923" y="123056"/>
                  </a:cubicBezTo>
                  <a:cubicBezTo>
                    <a:pt x="8271" y="123272"/>
                    <a:pt x="9657" y="123221"/>
                    <a:pt x="10992" y="122929"/>
                  </a:cubicBezTo>
                  <a:close/>
                </a:path>
              </a:pathLst>
            </a:custGeom>
            <a:solidFill>
              <a:srgbClr val="000000"/>
            </a:solidFill>
            <a:ln w="12685" cap="flat">
              <a:no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79A84D7D-BED4-46E0-BC35-1C63079D984E}"/>
                </a:ext>
              </a:extLst>
            </p:cNvPr>
            <p:cNvSpPr/>
            <p:nvPr/>
          </p:nvSpPr>
          <p:spPr>
            <a:xfrm>
              <a:off x="1774076" y="1235084"/>
              <a:ext cx="206703" cy="100271"/>
            </a:xfrm>
            <a:custGeom>
              <a:avLst/>
              <a:gdLst>
                <a:gd name="connsiteX0" fmla="*/ 205978 w 206703"/>
                <a:gd name="connsiteY0" fmla="*/ 5310 h 100271"/>
                <a:gd name="connsiteX1" fmla="*/ 202163 w 206703"/>
                <a:gd name="connsiteY1" fmla="*/ 988 h 100271"/>
                <a:gd name="connsiteX2" fmla="*/ 200637 w 206703"/>
                <a:gd name="connsiteY2" fmla="*/ 98 h 100271"/>
                <a:gd name="connsiteX3" fmla="*/ 198984 w 206703"/>
                <a:gd name="connsiteY3" fmla="*/ 98 h 100271"/>
                <a:gd name="connsiteX4" fmla="*/ 197332 w 206703"/>
                <a:gd name="connsiteY4" fmla="*/ 98 h 100271"/>
                <a:gd name="connsiteX5" fmla="*/ 195552 w 206703"/>
                <a:gd name="connsiteY5" fmla="*/ 98 h 100271"/>
                <a:gd name="connsiteX6" fmla="*/ 194534 w 206703"/>
                <a:gd name="connsiteY6" fmla="*/ 98 h 100271"/>
                <a:gd name="connsiteX7" fmla="*/ 0 w 206703"/>
                <a:gd name="connsiteY7" fmla="*/ 82983 h 100271"/>
                <a:gd name="connsiteX8" fmla="*/ 11431 w 206703"/>
                <a:gd name="connsiteY8" fmla="*/ 87816 h 100271"/>
                <a:gd name="connsiteX9" fmla="*/ 11570 w 206703"/>
                <a:gd name="connsiteY9" fmla="*/ 88195 h 100271"/>
                <a:gd name="connsiteX10" fmla="*/ 6612 w 206703"/>
                <a:gd name="connsiteY10" fmla="*/ 100272 h 100271"/>
                <a:gd name="connsiteX11" fmla="*/ 196696 w 206703"/>
                <a:gd name="connsiteY11" fmla="*/ 19421 h 100271"/>
                <a:gd name="connsiteX12" fmla="*/ 201400 w 206703"/>
                <a:gd name="connsiteY12" fmla="*/ 17387 h 100271"/>
                <a:gd name="connsiteX13" fmla="*/ 205978 w 206703"/>
                <a:gd name="connsiteY13" fmla="*/ 5310 h 10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703" h="100271">
                  <a:moveTo>
                    <a:pt x="205978" y="5310"/>
                  </a:moveTo>
                  <a:cubicBezTo>
                    <a:pt x="205215" y="3491"/>
                    <a:pt x="203867" y="1973"/>
                    <a:pt x="202163" y="988"/>
                  </a:cubicBezTo>
                  <a:lnTo>
                    <a:pt x="200637" y="98"/>
                  </a:lnTo>
                  <a:lnTo>
                    <a:pt x="198984" y="98"/>
                  </a:lnTo>
                  <a:lnTo>
                    <a:pt x="197332" y="98"/>
                  </a:lnTo>
                  <a:cubicBezTo>
                    <a:pt x="196747" y="-33"/>
                    <a:pt x="196136" y="-33"/>
                    <a:pt x="195552" y="98"/>
                  </a:cubicBezTo>
                  <a:lnTo>
                    <a:pt x="194534" y="98"/>
                  </a:lnTo>
                  <a:lnTo>
                    <a:pt x="0" y="82983"/>
                  </a:lnTo>
                  <a:cubicBezTo>
                    <a:pt x="4488" y="81163"/>
                    <a:pt x="9612" y="83326"/>
                    <a:pt x="11431" y="87816"/>
                  </a:cubicBezTo>
                  <a:cubicBezTo>
                    <a:pt x="11481" y="87941"/>
                    <a:pt x="11520" y="88068"/>
                    <a:pt x="11570" y="88195"/>
                  </a:cubicBezTo>
                  <a:cubicBezTo>
                    <a:pt x="13363" y="92899"/>
                    <a:pt x="11189" y="98186"/>
                    <a:pt x="6612" y="100272"/>
                  </a:cubicBezTo>
                  <a:lnTo>
                    <a:pt x="196696" y="19421"/>
                  </a:lnTo>
                  <a:lnTo>
                    <a:pt x="201400" y="17387"/>
                  </a:lnTo>
                  <a:cubicBezTo>
                    <a:pt x="205889" y="15209"/>
                    <a:pt x="207897" y="9912"/>
                    <a:pt x="205978" y="5310"/>
                  </a:cubicBezTo>
                  <a:close/>
                </a:path>
              </a:pathLst>
            </a:custGeom>
            <a:solidFill>
              <a:srgbClr val="000000"/>
            </a:solidFill>
            <a:ln w="12685"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E1E98BC7-7932-4521-B8C7-DC2A46A24E05}"/>
                </a:ext>
              </a:extLst>
            </p:cNvPr>
            <p:cNvSpPr/>
            <p:nvPr/>
          </p:nvSpPr>
          <p:spPr>
            <a:xfrm>
              <a:off x="1740367" y="1317549"/>
              <a:ext cx="45906" cy="30539"/>
            </a:xfrm>
            <a:custGeom>
              <a:avLst/>
              <a:gdLst>
                <a:gd name="connsiteX0" fmla="*/ 45280 w 45906"/>
                <a:gd name="connsiteY0" fmla="*/ 5857 h 30539"/>
                <a:gd name="connsiteX1" fmla="*/ 34091 w 45906"/>
                <a:gd name="connsiteY1" fmla="*/ 501 h 30539"/>
                <a:gd name="connsiteX2" fmla="*/ 33709 w 45906"/>
                <a:gd name="connsiteY2" fmla="*/ 645 h 30539"/>
                <a:gd name="connsiteX3" fmla="*/ 30658 w 45906"/>
                <a:gd name="connsiteY3" fmla="*/ 1916 h 30539"/>
                <a:gd name="connsiteX4" fmla="*/ 27352 w 45906"/>
                <a:gd name="connsiteY4" fmla="*/ 3442 h 30539"/>
                <a:gd name="connsiteX5" fmla="*/ 18960 w 45906"/>
                <a:gd name="connsiteY5" fmla="*/ 7001 h 30539"/>
                <a:gd name="connsiteX6" fmla="*/ 5483 w 45906"/>
                <a:gd name="connsiteY6" fmla="*/ 12722 h 30539"/>
                <a:gd name="connsiteX7" fmla="*/ 651 w 45906"/>
                <a:gd name="connsiteY7" fmla="*/ 24799 h 30539"/>
                <a:gd name="connsiteX8" fmla="*/ 11700 w 45906"/>
                <a:gd name="connsiteY8" fmla="*/ 30035 h 30539"/>
                <a:gd name="connsiteX9" fmla="*/ 12094 w 45906"/>
                <a:gd name="connsiteY9" fmla="*/ 29884 h 30539"/>
                <a:gd name="connsiteX10" fmla="*/ 40321 w 45906"/>
                <a:gd name="connsiteY10" fmla="*/ 17934 h 30539"/>
                <a:gd name="connsiteX11" fmla="*/ 45280 w 45906"/>
                <a:gd name="connsiteY11" fmla="*/ 5857 h 3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906" h="30539">
                  <a:moveTo>
                    <a:pt x="45280" y="5857"/>
                  </a:moveTo>
                  <a:cubicBezTo>
                    <a:pt x="43665" y="1288"/>
                    <a:pt x="38655" y="-1109"/>
                    <a:pt x="34091" y="501"/>
                  </a:cubicBezTo>
                  <a:cubicBezTo>
                    <a:pt x="33963" y="546"/>
                    <a:pt x="33836" y="594"/>
                    <a:pt x="33709" y="645"/>
                  </a:cubicBezTo>
                  <a:lnTo>
                    <a:pt x="30658" y="1916"/>
                  </a:lnTo>
                  <a:lnTo>
                    <a:pt x="27352" y="3442"/>
                  </a:lnTo>
                  <a:lnTo>
                    <a:pt x="18960" y="7001"/>
                  </a:lnTo>
                  <a:lnTo>
                    <a:pt x="5483" y="12722"/>
                  </a:lnTo>
                  <a:cubicBezTo>
                    <a:pt x="944" y="14854"/>
                    <a:pt x="-1167" y="20129"/>
                    <a:pt x="651" y="24799"/>
                  </a:cubicBezTo>
                  <a:cubicBezTo>
                    <a:pt x="2253" y="29295"/>
                    <a:pt x="7199" y="31639"/>
                    <a:pt x="11700" y="30035"/>
                  </a:cubicBezTo>
                  <a:cubicBezTo>
                    <a:pt x="11827" y="29988"/>
                    <a:pt x="11967" y="29937"/>
                    <a:pt x="12094" y="29884"/>
                  </a:cubicBezTo>
                  <a:lnTo>
                    <a:pt x="40321" y="17934"/>
                  </a:lnTo>
                  <a:cubicBezTo>
                    <a:pt x="44898" y="15848"/>
                    <a:pt x="47072" y="10561"/>
                    <a:pt x="45280" y="5857"/>
                  </a:cubicBezTo>
                  <a:close/>
                </a:path>
              </a:pathLst>
            </a:custGeom>
            <a:solidFill>
              <a:srgbClr val="000000"/>
            </a:solidFill>
            <a:ln w="12685"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CA242280-B5B9-4116-8219-DE9DB2EAA5EB}"/>
                </a:ext>
              </a:extLst>
            </p:cNvPr>
            <p:cNvSpPr/>
            <p:nvPr/>
          </p:nvSpPr>
          <p:spPr>
            <a:xfrm>
              <a:off x="2306439" y="1672776"/>
              <a:ext cx="136602" cy="73316"/>
            </a:xfrm>
            <a:custGeom>
              <a:avLst/>
              <a:gdLst>
                <a:gd name="connsiteX0" fmla="*/ 11570 w 136602"/>
                <a:gd name="connsiteY0" fmla="*/ 60604 h 73316"/>
                <a:gd name="connsiteX1" fmla="*/ 7197 w 136602"/>
                <a:gd name="connsiteY1" fmla="*/ 73167 h 73316"/>
                <a:gd name="connsiteX2" fmla="*/ 6866 w 136602"/>
                <a:gd name="connsiteY2" fmla="*/ 73317 h 73316"/>
                <a:gd name="connsiteX3" fmla="*/ 126257 w 136602"/>
                <a:gd name="connsiteY3" fmla="*/ 20052 h 73316"/>
                <a:gd name="connsiteX4" fmla="*/ 130961 w 136602"/>
                <a:gd name="connsiteY4" fmla="*/ 17891 h 73316"/>
                <a:gd name="connsiteX5" fmla="*/ 135818 w 136602"/>
                <a:gd name="connsiteY5" fmla="*/ 5504 h 73316"/>
                <a:gd name="connsiteX6" fmla="*/ 135666 w 136602"/>
                <a:gd name="connsiteY6" fmla="*/ 5178 h 73316"/>
                <a:gd name="connsiteX7" fmla="*/ 131978 w 136602"/>
                <a:gd name="connsiteY7" fmla="*/ 983 h 73316"/>
                <a:gd name="connsiteX8" fmla="*/ 130325 w 136602"/>
                <a:gd name="connsiteY8" fmla="*/ 93 h 73316"/>
                <a:gd name="connsiteX9" fmla="*/ 128673 w 136602"/>
                <a:gd name="connsiteY9" fmla="*/ 93 h 73316"/>
                <a:gd name="connsiteX10" fmla="*/ 127020 w 136602"/>
                <a:gd name="connsiteY10" fmla="*/ 93 h 73316"/>
                <a:gd name="connsiteX11" fmla="*/ 125240 w 136602"/>
                <a:gd name="connsiteY11" fmla="*/ 93 h 73316"/>
                <a:gd name="connsiteX12" fmla="*/ 124095 w 136602"/>
                <a:gd name="connsiteY12" fmla="*/ 93 h 73316"/>
                <a:gd name="connsiteX13" fmla="*/ 14113 w 136602"/>
                <a:gd name="connsiteY13" fmla="*/ 49418 h 73316"/>
                <a:gd name="connsiteX14" fmla="*/ 0 w 136602"/>
                <a:gd name="connsiteY14" fmla="*/ 55647 h 73316"/>
                <a:gd name="connsiteX15" fmla="*/ 11469 w 136602"/>
                <a:gd name="connsiteY15" fmla="*/ 60365 h 73316"/>
                <a:gd name="connsiteX16" fmla="*/ 11570 w 136602"/>
                <a:gd name="connsiteY16" fmla="*/ 60604 h 7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602" h="73316">
                  <a:moveTo>
                    <a:pt x="11570" y="60604"/>
                  </a:moveTo>
                  <a:cubicBezTo>
                    <a:pt x="13834" y="65283"/>
                    <a:pt x="11876" y="70907"/>
                    <a:pt x="7197" y="73167"/>
                  </a:cubicBezTo>
                  <a:cubicBezTo>
                    <a:pt x="7082" y="73219"/>
                    <a:pt x="6980" y="73268"/>
                    <a:pt x="6866" y="73317"/>
                  </a:cubicBezTo>
                  <a:lnTo>
                    <a:pt x="126257" y="20052"/>
                  </a:lnTo>
                  <a:lnTo>
                    <a:pt x="130961" y="17891"/>
                  </a:lnTo>
                  <a:cubicBezTo>
                    <a:pt x="135716" y="15810"/>
                    <a:pt x="137891" y="10265"/>
                    <a:pt x="135818" y="5504"/>
                  </a:cubicBezTo>
                  <a:cubicBezTo>
                    <a:pt x="135767" y="5395"/>
                    <a:pt x="135716" y="5286"/>
                    <a:pt x="135666" y="5178"/>
                  </a:cubicBezTo>
                  <a:cubicBezTo>
                    <a:pt x="134903" y="3430"/>
                    <a:pt x="133618" y="1963"/>
                    <a:pt x="131978" y="983"/>
                  </a:cubicBezTo>
                  <a:lnTo>
                    <a:pt x="130325" y="93"/>
                  </a:lnTo>
                  <a:lnTo>
                    <a:pt x="128673" y="93"/>
                  </a:lnTo>
                  <a:cubicBezTo>
                    <a:pt x="128126" y="-31"/>
                    <a:pt x="127566" y="-31"/>
                    <a:pt x="127020" y="93"/>
                  </a:cubicBezTo>
                  <a:cubicBezTo>
                    <a:pt x="126435" y="-26"/>
                    <a:pt x="125824" y="-26"/>
                    <a:pt x="125240" y="93"/>
                  </a:cubicBezTo>
                  <a:cubicBezTo>
                    <a:pt x="125240" y="93"/>
                    <a:pt x="124477" y="93"/>
                    <a:pt x="124095" y="93"/>
                  </a:cubicBezTo>
                  <a:lnTo>
                    <a:pt x="14113" y="49418"/>
                  </a:lnTo>
                  <a:lnTo>
                    <a:pt x="0" y="55647"/>
                  </a:lnTo>
                  <a:cubicBezTo>
                    <a:pt x="4476" y="53782"/>
                    <a:pt x="9612" y="55894"/>
                    <a:pt x="11469" y="60365"/>
                  </a:cubicBezTo>
                  <a:cubicBezTo>
                    <a:pt x="11507" y="60444"/>
                    <a:pt x="11545" y="60524"/>
                    <a:pt x="11570" y="60604"/>
                  </a:cubicBezTo>
                  <a:close/>
                </a:path>
              </a:pathLst>
            </a:custGeom>
            <a:solidFill>
              <a:srgbClr val="000000"/>
            </a:solidFill>
            <a:ln w="12685"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BE51D2FE-C521-4FCF-9478-9A363DD941C8}"/>
                </a:ext>
              </a:extLst>
            </p:cNvPr>
            <p:cNvSpPr/>
            <p:nvPr/>
          </p:nvSpPr>
          <p:spPr>
            <a:xfrm>
              <a:off x="2291690" y="1727745"/>
              <a:ext cx="27256" cy="24958"/>
            </a:xfrm>
            <a:custGeom>
              <a:avLst/>
              <a:gdLst>
                <a:gd name="connsiteX0" fmla="*/ 5340 w 27256"/>
                <a:gd name="connsiteY0" fmla="*/ 5000 h 24958"/>
                <a:gd name="connsiteX1" fmla="*/ 0 w 27256"/>
                <a:gd name="connsiteY1" fmla="*/ 7289 h 24958"/>
                <a:gd name="connsiteX2" fmla="*/ 11379 w 27256"/>
                <a:gd name="connsiteY2" fmla="*/ 11766 h 24958"/>
                <a:gd name="connsiteX3" fmla="*/ 11570 w 27256"/>
                <a:gd name="connsiteY3" fmla="*/ 12246 h 24958"/>
                <a:gd name="connsiteX4" fmla="*/ 6955 w 27256"/>
                <a:gd name="connsiteY4" fmla="*/ 24917 h 24958"/>
                <a:gd name="connsiteX5" fmla="*/ 6866 w 27256"/>
                <a:gd name="connsiteY5" fmla="*/ 24959 h 24958"/>
                <a:gd name="connsiteX6" fmla="*/ 21615 w 27256"/>
                <a:gd name="connsiteY6" fmla="*/ 18348 h 24958"/>
                <a:gd name="connsiteX7" fmla="*/ 26472 w 27256"/>
                <a:gd name="connsiteY7" fmla="*/ 5961 h 24958"/>
                <a:gd name="connsiteX8" fmla="*/ 26319 w 27256"/>
                <a:gd name="connsiteY8" fmla="*/ 5636 h 24958"/>
                <a:gd name="connsiteX9" fmla="*/ 14991 w 27256"/>
                <a:gd name="connsiteY9" fmla="*/ 583 h 24958"/>
                <a:gd name="connsiteX10" fmla="*/ 14749 w 27256"/>
                <a:gd name="connsiteY10" fmla="*/ 678 h 24958"/>
                <a:gd name="connsiteX11" fmla="*/ 10044 w 27256"/>
                <a:gd name="connsiteY11" fmla="*/ 2839 h 24958"/>
                <a:gd name="connsiteX12" fmla="*/ 6357 w 27256"/>
                <a:gd name="connsiteY12" fmla="*/ 4492 h 2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56" h="24958">
                  <a:moveTo>
                    <a:pt x="5340" y="5000"/>
                  </a:moveTo>
                  <a:lnTo>
                    <a:pt x="0" y="7289"/>
                  </a:lnTo>
                  <a:cubicBezTo>
                    <a:pt x="4374" y="5383"/>
                    <a:pt x="9472" y="7388"/>
                    <a:pt x="11379" y="11766"/>
                  </a:cubicBezTo>
                  <a:cubicBezTo>
                    <a:pt x="11443" y="11924"/>
                    <a:pt x="11507" y="12084"/>
                    <a:pt x="11570" y="12246"/>
                  </a:cubicBezTo>
                  <a:cubicBezTo>
                    <a:pt x="13795" y="17019"/>
                    <a:pt x="11735" y="22691"/>
                    <a:pt x="6955" y="24917"/>
                  </a:cubicBezTo>
                  <a:cubicBezTo>
                    <a:pt x="6929" y="24931"/>
                    <a:pt x="6891" y="24945"/>
                    <a:pt x="6866" y="24959"/>
                  </a:cubicBezTo>
                  <a:lnTo>
                    <a:pt x="21615" y="18348"/>
                  </a:lnTo>
                  <a:cubicBezTo>
                    <a:pt x="26370" y="16267"/>
                    <a:pt x="28544" y="10722"/>
                    <a:pt x="26472" y="5961"/>
                  </a:cubicBezTo>
                  <a:cubicBezTo>
                    <a:pt x="26421" y="5852"/>
                    <a:pt x="26370" y="5744"/>
                    <a:pt x="26319" y="5636"/>
                  </a:cubicBezTo>
                  <a:cubicBezTo>
                    <a:pt x="24590" y="1112"/>
                    <a:pt x="19517" y="-1150"/>
                    <a:pt x="14991" y="583"/>
                  </a:cubicBezTo>
                  <a:cubicBezTo>
                    <a:pt x="14914" y="613"/>
                    <a:pt x="14825" y="645"/>
                    <a:pt x="14749" y="678"/>
                  </a:cubicBezTo>
                  <a:lnTo>
                    <a:pt x="10044" y="2839"/>
                  </a:lnTo>
                  <a:lnTo>
                    <a:pt x="6357" y="4492"/>
                  </a:lnTo>
                  <a:close/>
                </a:path>
              </a:pathLst>
            </a:custGeom>
            <a:solidFill>
              <a:srgbClr val="000000"/>
            </a:solidFill>
            <a:ln w="12685"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D74643F2-0065-4B00-A4F1-2978F0892D73}"/>
                </a:ext>
              </a:extLst>
            </p:cNvPr>
            <p:cNvSpPr/>
            <p:nvPr/>
          </p:nvSpPr>
          <p:spPr>
            <a:xfrm>
              <a:off x="2080277" y="1824401"/>
              <a:ext cx="17387" cy="20424"/>
            </a:xfrm>
            <a:custGeom>
              <a:avLst/>
              <a:gdLst>
                <a:gd name="connsiteX0" fmla="*/ 4927 w 17387"/>
                <a:gd name="connsiteY0" fmla="*/ 2542 h 20424"/>
                <a:gd name="connsiteX1" fmla="*/ 4037 w 17387"/>
                <a:gd name="connsiteY1" fmla="*/ 3305 h 20424"/>
                <a:gd name="connsiteX2" fmla="*/ 2511 w 17387"/>
                <a:gd name="connsiteY2" fmla="*/ 4322 h 20424"/>
                <a:gd name="connsiteX3" fmla="*/ 1367 w 17387"/>
                <a:gd name="connsiteY3" fmla="*/ 5721 h 20424"/>
                <a:gd name="connsiteX4" fmla="*/ 477 w 17387"/>
                <a:gd name="connsiteY4" fmla="*/ 7119 h 20424"/>
                <a:gd name="connsiteX5" fmla="*/ 477 w 17387"/>
                <a:gd name="connsiteY5" fmla="*/ 9026 h 20424"/>
                <a:gd name="connsiteX6" fmla="*/ 477 w 17387"/>
                <a:gd name="connsiteY6" fmla="*/ 14746 h 20424"/>
                <a:gd name="connsiteX7" fmla="*/ 11564 w 17387"/>
                <a:gd name="connsiteY7" fmla="*/ 19896 h 20424"/>
                <a:gd name="connsiteX8" fmla="*/ 12047 w 17387"/>
                <a:gd name="connsiteY8" fmla="*/ 19704 h 20424"/>
                <a:gd name="connsiteX9" fmla="*/ 16751 w 17387"/>
                <a:gd name="connsiteY9" fmla="*/ 17543 h 20424"/>
                <a:gd name="connsiteX10" fmla="*/ 17387 w 17387"/>
                <a:gd name="connsiteY10" fmla="*/ 17543 h 20424"/>
                <a:gd name="connsiteX11" fmla="*/ 6084 w 17387"/>
                <a:gd name="connsiteY11" fmla="*/ 13368 h 20424"/>
                <a:gd name="connsiteX12" fmla="*/ 5817 w 17387"/>
                <a:gd name="connsiteY12" fmla="*/ 12712 h 20424"/>
                <a:gd name="connsiteX13" fmla="*/ 10127 w 17387"/>
                <a:gd name="connsiteY13" fmla="*/ 126 h 20424"/>
                <a:gd name="connsiteX14" fmla="*/ 10394 w 17387"/>
                <a:gd name="connsiteY14" fmla="*/ 0 h 20424"/>
                <a:gd name="connsiteX15" fmla="*/ 5690 w 17387"/>
                <a:gd name="connsiteY15" fmla="*/ 2034 h 2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87" h="20424">
                  <a:moveTo>
                    <a:pt x="4927" y="2542"/>
                  </a:moveTo>
                  <a:lnTo>
                    <a:pt x="4037" y="3305"/>
                  </a:lnTo>
                  <a:cubicBezTo>
                    <a:pt x="3465" y="3538"/>
                    <a:pt x="2943" y="3884"/>
                    <a:pt x="2511" y="4322"/>
                  </a:cubicBezTo>
                  <a:cubicBezTo>
                    <a:pt x="2066" y="4729"/>
                    <a:pt x="1672" y="5201"/>
                    <a:pt x="1367" y="5721"/>
                  </a:cubicBezTo>
                  <a:lnTo>
                    <a:pt x="477" y="7119"/>
                  </a:lnTo>
                  <a:cubicBezTo>
                    <a:pt x="413" y="7753"/>
                    <a:pt x="413" y="8391"/>
                    <a:pt x="477" y="9026"/>
                  </a:cubicBezTo>
                  <a:cubicBezTo>
                    <a:pt x="-159" y="10880"/>
                    <a:pt x="-159" y="12892"/>
                    <a:pt x="477" y="14746"/>
                  </a:cubicBezTo>
                  <a:cubicBezTo>
                    <a:pt x="2117" y="19230"/>
                    <a:pt x="7076" y="21536"/>
                    <a:pt x="11564" y="19896"/>
                  </a:cubicBezTo>
                  <a:cubicBezTo>
                    <a:pt x="11729" y="19838"/>
                    <a:pt x="11895" y="19773"/>
                    <a:pt x="12047" y="19704"/>
                  </a:cubicBezTo>
                  <a:lnTo>
                    <a:pt x="16751" y="17543"/>
                  </a:lnTo>
                  <a:lnTo>
                    <a:pt x="17387" y="17543"/>
                  </a:lnTo>
                  <a:cubicBezTo>
                    <a:pt x="13115" y="19511"/>
                    <a:pt x="8055" y="17641"/>
                    <a:pt x="6084" y="13368"/>
                  </a:cubicBezTo>
                  <a:cubicBezTo>
                    <a:pt x="5982" y="13153"/>
                    <a:pt x="5893" y="12935"/>
                    <a:pt x="5817" y="12712"/>
                  </a:cubicBezTo>
                  <a:cubicBezTo>
                    <a:pt x="3528" y="8047"/>
                    <a:pt x="5461" y="2412"/>
                    <a:pt x="10127" y="126"/>
                  </a:cubicBezTo>
                  <a:cubicBezTo>
                    <a:pt x="10216" y="83"/>
                    <a:pt x="10305" y="41"/>
                    <a:pt x="10394" y="0"/>
                  </a:cubicBezTo>
                  <a:lnTo>
                    <a:pt x="5690" y="2034"/>
                  </a:lnTo>
                  <a:close/>
                </a:path>
              </a:pathLst>
            </a:custGeom>
            <a:solidFill>
              <a:srgbClr val="000000"/>
            </a:solidFill>
            <a:ln w="12685" cap="flat">
              <a:no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D1FDD1C5-94F0-45BE-83E1-261AEA10E9AC}"/>
                </a:ext>
              </a:extLst>
            </p:cNvPr>
            <p:cNvSpPr/>
            <p:nvPr/>
          </p:nvSpPr>
          <p:spPr>
            <a:xfrm>
              <a:off x="796573" y="2128482"/>
              <a:ext cx="18944" cy="40680"/>
            </a:xfrm>
            <a:custGeom>
              <a:avLst/>
              <a:gdLst>
                <a:gd name="connsiteX0" fmla="*/ 9663 w 18944"/>
                <a:gd name="connsiteY0" fmla="*/ 40680 h 40680"/>
                <a:gd name="connsiteX1" fmla="*/ 18945 w 18944"/>
                <a:gd name="connsiteY1" fmla="*/ 31781 h 40680"/>
                <a:gd name="connsiteX2" fmla="*/ 18945 w 18944"/>
                <a:gd name="connsiteY2" fmla="*/ 31781 h 40680"/>
                <a:gd name="connsiteX3" fmla="*/ 18945 w 18944"/>
                <a:gd name="connsiteY3" fmla="*/ 17543 h 40680"/>
                <a:gd name="connsiteX4" fmla="*/ 18945 w 18944"/>
                <a:gd name="connsiteY4" fmla="*/ 6738 h 40680"/>
                <a:gd name="connsiteX5" fmla="*/ 18945 w 18944"/>
                <a:gd name="connsiteY5" fmla="*/ 763 h 40680"/>
                <a:gd name="connsiteX6" fmla="*/ 9792 w 18944"/>
                <a:gd name="connsiteY6" fmla="*/ 9661 h 40680"/>
                <a:gd name="connsiteX7" fmla="*/ 9790 w 18944"/>
                <a:gd name="connsiteY7" fmla="*/ 9661 h 40680"/>
                <a:gd name="connsiteX8" fmla="*/ 1271 w 18944"/>
                <a:gd name="connsiteY8" fmla="*/ 0 h 40680"/>
                <a:gd name="connsiteX9" fmla="*/ 0 w 18944"/>
                <a:gd name="connsiteY9" fmla="*/ 31272 h 40680"/>
                <a:gd name="connsiteX10" fmla="*/ 4450 w 18944"/>
                <a:gd name="connsiteY10" fmla="*/ 38646 h 40680"/>
                <a:gd name="connsiteX11" fmla="*/ 9663 w 18944"/>
                <a:gd name="connsiteY11" fmla="*/ 40680 h 4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944" h="40680">
                  <a:moveTo>
                    <a:pt x="9663" y="40680"/>
                  </a:moveTo>
                  <a:cubicBezTo>
                    <a:pt x="14670" y="40756"/>
                    <a:pt x="18806" y="36790"/>
                    <a:pt x="18945" y="31781"/>
                  </a:cubicBezTo>
                  <a:lnTo>
                    <a:pt x="18945" y="31781"/>
                  </a:lnTo>
                  <a:lnTo>
                    <a:pt x="18945" y="17543"/>
                  </a:lnTo>
                  <a:lnTo>
                    <a:pt x="18945" y="6738"/>
                  </a:lnTo>
                  <a:lnTo>
                    <a:pt x="18945" y="763"/>
                  </a:lnTo>
                  <a:cubicBezTo>
                    <a:pt x="18875" y="5746"/>
                    <a:pt x="14777" y="9725"/>
                    <a:pt x="9792" y="9661"/>
                  </a:cubicBezTo>
                  <a:cubicBezTo>
                    <a:pt x="9792" y="9661"/>
                    <a:pt x="9790" y="9661"/>
                    <a:pt x="9790" y="9661"/>
                  </a:cubicBezTo>
                  <a:cubicBezTo>
                    <a:pt x="4782" y="9318"/>
                    <a:pt x="982" y="5009"/>
                    <a:pt x="1271" y="0"/>
                  </a:cubicBezTo>
                  <a:lnTo>
                    <a:pt x="0" y="31272"/>
                  </a:lnTo>
                  <a:cubicBezTo>
                    <a:pt x="225" y="34298"/>
                    <a:pt x="1878" y="37031"/>
                    <a:pt x="4450" y="38646"/>
                  </a:cubicBezTo>
                  <a:cubicBezTo>
                    <a:pt x="5942" y="39841"/>
                    <a:pt x="7760" y="40540"/>
                    <a:pt x="9663" y="40680"/>
                  </a:cubicBezTo>
                  <a:close/>
                </a:path>
              </a:pathLst>
            </a:custGeom>
            <a:solidFill>
              <a:srgbClr val="000000"/>
            </a:solidFill>
            <a:ln w="12685"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1C1701AA-0EF7-4C92-8C98-BD398056B8ED}"/>
                </a:ext>
              </a:extLst>
            </p:cNvPr>
            <p:cNvSpPr/>
            <p:nvPr/>
          </p:nvSpPr>
          <p:spPr>
            <a:xfrm>
              <a:off x="799482" y="2079446"/>
              <a:ext cx="19521" cy="58317"/>
            </a:xfrm>
            <a:custGeom>
              <a:avLst/>
              <a:gdLst>
                <a:gd name="connsiteX0" fmla="*/ 1541 w 19521"/>
                <a:gd name="connsiteY0" fmla="*/ 8611 h 58317"/>
                <a:gd name="connsiteX1" fmla="*/ 1541 w 19521"/>
                <a:gd name="connsiteY1" fmla="*/ 14713 h 58317"/>
                <a:gd name="connsiteX2" fmla="*/ 16 w 19521"/>
                <a:gd name="connsiteY2" fmla="*/ 48655 h 58317"/>
                <a:gd name="connsiteX3" fmla="*/ 8534 w 19521"/>
                <a:gd name="connsiteY3" fmla="*/ 58316 h 58317"/>
                <a:gd name="connsiteX4" fmla="*/ 17689 w 19521"/>
                <a:gd name="connsiteY4" fmla="*/ 49418 h 58317"/>
                <a:gd name="connsiteX5" fmla="*/ 17689 w 19521"/>
                <a:gd name="connsiteY5" fmla="*/ 49418 h 58317"/>
                <a:gd name="connsiteX6" fmla="*/ 18325 w 19521"/>
                <a:gd name="connsiteY6" fmla="*/ 34798 h 58317"/>
                <a:gd name="connsiteX7" fmla="*/ 19469 w 19521"/>
                <a:gd name="connsiteY7" fmla="*/ 9373 h 58317"/>
                <a:gd name="connsiteX8" fmla="*/ 19469 w 19521"/>
                <a:gd name="connsiteY8" fmla="*/ 9373 h 58317"/>
                <a:gd name="connsiteX9" fmla="*/ 19469 w 19521"/>
                <a:gd name="connsiteY9" fmla="*/ 7340 h 58317"/>
                <a:gd name="connsiteX10" fmla="*/ 19469 w 19521"/>
                <a:gd name="connsiteY10" fmla="*/ 5814 h 58317"/>
                <a:gd name="connsiteX11" fmla="*/ 18579 w 19521"/>
                <a:gd name="connsiteY11" fmla="*/ 4289 h 58317"/>
                <a:gd name="connsiteX12" fmla="*/ 17435 w 19521"/>
                <a:gd name="connsiteY12" fmla="*/ 2763 h 58317"/>
                <a:gd name="connsiteX13" fmla="*/ 11840 w 19521"/>
                <a:gd name="connsiteY13" fmla="*/ 93 h 58317"/>
                <a:gd name="connsiteX14" fmla="*/ 1623 w 19521"/>
                <a:gd name="connsiteY14" fmla="*/ 7746 h 58317"/>
                <a:gd name="connsiteX15" fmla="*/ 1541 w 19521"/>
                <a:gd name="connsiteY15" fmla="*/ 8611 h 5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1" h="58317">
                  <a:moveTo>
                    <a:pt x="1541" y="8611"/>
                  </a:moveTo>
                  <a:lnTo>
                    <a:pt x="1541" y="14713"/>
                  </a:lnTo>
                  <a:lnTo>
                    <a:pt x="16" y="48655"/>
                  </a:lnTo>
                  <a:cubicBezTo>
                    <a:pt x="-274" y="53663"/>
                    <a:pt x="3526" y="57973"/>
                    <a:pt x="8534" y="58316"/>
                  </a:cubicBezTo>
                  <a:cubicBezTo>
                    <a:pt x="13520" y="58392"/>
                    <a:pt x="17618" y="54401"/>
                    <a:pt x="17689" y="49418"/>
                  </a:cubicBezTo>
                  <a:cubicBezTo>
                    <a:pt x="17689" y="49418"/>
                    <a:pt x="17689" y="49418"/>
                    <a:pt x="17689" y="49418"/>
                  </a:cubicBezTo>
                  <a:lnTo>
                    <a:pt x="18325" y="34798"/>
                  </a:lnTo>
                  <a:lnTo>
                    <a:pt x="19469" y="9373"/>
                  </a:lnTo>
                  <a:cubicBezTo>
                    <a:pt x="19469" y="9373"/>
                    <a:pt x="19469" y="9373"/>
                    <a:pt x="19469" y="9373"/>
                  </a:cubicBezTo>
                  <a:cubicBezTo>
                    <a:pt x="19539" y="8700"/>
                    <a:pt x="19539" y="8013"/>
                    <a:pt x="19469" y="7340"/>
                  </a:cubicBezTo>
                  <a:lnTo>
                    <a:pt x="19469" y="5814"/>
                  </a:lnTo>
                  <a:cubicBezTo>
                    <a:pt x="19220" y="5280"/>
                    <a:pt x="18922" y="4772"/>
                    <a:pt x="18579" y="4289"/>
                  </a:cubicBezTo>
                  <a:cubicBezTo>
                    <a:pt x="18238" y="3755"/>
                    <a:pt x="17855" y="3246"/>
                    <a:pt x="17435" y="2763"/>
                  </a:cubicBezTo>
                  <a:cubicBezTo>
                    <a:pt x="15979" y="1187"/>
                    <a:pt x="13977" y="233"/>
                    <a:pt x="11840" y="93"/>
                  </a:cubicBezTo>
                  <a:cubicBezTo>
                    <a:pt x="6906" y="-618"/>
                    <a:pt x="2331" y="2814"/>
                    <a:pt x="1623" y="7746"/>
                  </a:cubicBezTo>
                  <a:cubicBezTo>
                    <a:pt x="1582" y="8039"/>
                    <a:pt x="1555" y="8318"/>
                    <a:pt x="1541" y="8611"/>
                  </a:cubicBezTo>
                  <a:close/>
                </a:path>
              </a:pathLst>
            </a:custGeom>
            <a:solidFill>
              <a:srgbClr val="000000"/>
            </a:solidFill>
            <a:ln w="12685" cap="flat">
              <a:no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14414A57-9493-41D6-ADDF-5B884E1D7B40}"/>
                </a:ext>
              </a:extLst>
            </p:cNvPr>
            <p:cNvSpPr/>
            <p:nvPr/>
          </p:nvSpPr>
          <p:spPr>
            <a:xfrm>
              <a:off x="2847702" y="5450992"/>
              <a:ext cx="28194" cy="29346"/>
            </a:xfrm>
            <a:custGeom>
              <a:avLst/>
              <a:gdLst>
                <a:gd name="connsiteX0" fmla="*/ 25811 w 28194"/>
                <a:gd name="connsiteY0" fmla="*/ 27204 h 29346"/>
                <a:gd name="connsiteX1" fmla="*/ 28099 w 28194"/>
                <a:gd name="connsiteY1" fmla="*/ 21484 h 29346"/>
                <a:gd name="connsiteX2" fmla="*/ 28099 w 28194"/>
                <a:gd name="connsiteY2" fmla="*/ 19831 h 29346"/>
                <a:gd name="connsiteX3" fmla="*/ 28099 w 28194"/>
                <a:gd name="connsiteY3" fmla="*/ 19831 h 29346"/>
                <a:gd name="connsiteX4" fmla="*/ 28099 w 28194"/>
                <a:gd name="connsiteY4" fmla="*/ 18051 h 29346"/>
                <a:gd name="connsiteX5" fmla="*/ 28099 w 28194"/>
                <a:gd name="connsiteY5" fmla="*/ 16780 h 29346"/>
                <a:gd name="connsiteX6" fmla="*/ 28099 w 28194"/>
                <a:gd name="connsiteY6" fmla="*/ 16780 h 29346"/>
                <a:gd name="connsiteX7" fmla="*/ 27082 w 28194"/>
                <a:gd name="connsiteY7" fmla="*/ 15255 h 29346"/>
                <a:gd name="connsiteX8" fmla="*/ 27082 w 28194"/>
                <a:gd name="connsiteY8" fmla="*/ 14365 h 29346"/>
                <a:gd name="connsiteX9" fmla="*/ 12715 w 28194"/>
                <a:gd name="connsiteY9" fmla="*/ 0 h 29346"/>
                <a:gd name="connsiteX10" fmla="*/ 12715 w 28194"/>
                <a:gd name="connsiteY10" fmla="*/ 12712 h 29346"/>
                <a:gd name="connsiteX11" fmla="*/ 496 w 28194"/>
                <a:gd name="connsiteY11" fmla="*/ 13208 h 29346"/>
                <a:gd name="connsiteX12" fmla="*/ 0 w 28194"/>
                <a:gd name="connsiteY12" fmla="*/ 12712 h 29346"/>
                <a:gd name="connsiteX13" fmla="*/ 10935 w 28194"/>
                <a:gd name="connsiteY13" fmla="*/ 23645 h 29346"/>
                <a:gd name="connsiteX14" fmla="*/ 10935 w 28194"/>
                <a:gd name="connsiteY14" fmla="*/ 23645 h 29346"/>
                <a:gd name="connsiteX15" fmla="*/ 13986 w 28194"/>
                <a:gd name="connsiteY15" fmla="*/ 26696 h 29346"/>
                <a:gd name="connsiteX16" fmla="*/ 25811 w 28194"/>
                <a:gd name="connsiteY16" fmla="*/ 27204 h 2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94" h="29346">
                  <a:moveTo>
                    <a:pt x="25811" y="27204"/>
                  </a:moveTo>
                  <a:cubicBezTo>
                    <a:pt x="27222" y="25628"/>
                    <a:pt x="28036" y="23594"/>
                    <a:pt x="28099" y="21484"/>
                  </a:cubicBezTo>
                  <a:cubicBezTo>
                    <a:pt x="28227" y="20937"/>
                    <a:pt x="28227" y="20378"/>
                    <a:pt x="28099" y="19831"/>
                  </a:cubicBezTo>
                  <a:lnTo>
                    <a:pt x="28099" y="19831"/>
                  </a:lnTo>
                  <a:cubicBezTo>
                    <a:pt x="28214" y="19247"/>
                    <a:pt x="28214" y="18636"/>
                    <a:pt x="28099" y="18051"/>
                  </a:cubicBezTo>
                  <a:lnTo>
                    <a:pt x="28099" y="16780"/>
                  </a:lnTo>
                  <a:lnTo>
                    <a:pt x="28099" y="16780"/>
                  </a:lnTo>
                  <a:cubicBezTo>
                    <a:pt x="27871" y="16208"/>
                    <a:pt x="27515" y="15687"/>
                    <a:pt x="27082" y="15255"/>
                  </a:cubicBezTo>
                  <a:cubicBezTo>
                    <a:pt x="27120" y="14963"/>
                    <a:pt x="27120" y="14657"/>
                    <a:pt x="27082" y="14365"/>
                  </a:cubicBezTo>
                  <a:lnTo>
                    <a:pt x="12715" y="0"/>
                  </a:lnTo>
                  <a:cubicBezTo>
                    <a:pt x="15957" y="3623"/>
                    <a:pt x="15957" y="9089"/>
                    <a:pt x="12715" y="12712"/>
                  </a:cubicBezTo>
                  <a:cubicBezTo>
                    <a:pt x="9472" y="16221"/>
                    <a:pt x="4005" y="16450"/>
                    <a:pt x="496" y="13208"/>
                  </a:cubicBezTo>
                  <a:cubicBezTo>
                    <a:pt x="331" y="13055"/>
                    <a:pt x="165" y="12890"/>
                    <a:pt x="0" y="12712"/>
                  </a:cubicBezTo>
                  <a:lnTo>
                    <a:pt x="10935" y="23645"/>
                  </a:lnTo>
                  <a:lnTo>
                    <a:pt x="10935" y="23645"/>
                  </a:lnTo>
                  <a:lnTo>
                    <a:pt x="13986" y="26696"/>
                  </a:lnTo>
                  <a:cubicBezTo>
                    <a:pt x="17152" y="30027"/>
                    <a:pt x="22378" y="30243"/>
                    <a:pt x="25811" y="27204"/>
                  </a:cubicBezTo>
                  <a:close/>
                </a:path>
              </a:pathLst>
            </a:custGeom>
            <a:solidFill>
              <a:srgbClr val="000000"/>
            </a:solidFill>
            <a:ln w="12685" cap="flat">
              <a:no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D0CF91CB-5846-4A07-985B-3F2D86A4C7A9}"/>
                </a:ext>
              </a:extLst>
            </p:cNvPr>
            <p:cNvSpPr/>
            <p:nvPr/>
          </p:nvSpPr>
          <p:spPr>
            <a:xfrm>
              <a:off x="2768744" y="5372557"/>
              <a:ext cx="92960" cy="93680"/>
            </a:xfrm>
            <a:custGeom>
              <a:avLst/>
              <a:gdLst>
                <a:gd name="connsiteX0" fmla="*/ 85061 w 92960"/>
                <a:gd name="connsiteY0" fmla="*/ 72588 h 93680"/>
                <a:gd name="connsiteX1" fmla="*/ 12715 w 92960"/>
                <a:gd name="connsiteY1" fmla="*/ 0 h 93680"/>
                <a:gd name="connsiteX2" fmla="*/ 12715 w 92960"/>
                <a:gd name="connsiteY2" fmla="*/ 12712 h 93680"/>
                <a:gd name="connsiteX3" fmla="*/ 687 w 92960"/>
                <a:gd name="connsiteY3" fmla="*/ 13399 h 93680"/>
                <a:gd name="connsiteX4" fmla="*/ 0 w 92960"/>
                <a:gd name="connsiteY4" fmla="*/ 12712 h 93680"/>
                <a:gd name="connsiteX5" fmla="*/ 77814 w 92960"/>
                <a:gd name="connsiteY5" fmla="*/ 90894 h 93680"/>
                <a:gd name="connsiteX6" fmla="*/ 90033 w 92960"/>
                <a:gd name="connsiteY6" fmla="*/ 91389 h 93680"/>
                <a:gd name="connsiteX7" fmla="*/ 90529 w 92960"/>
                <a:gd name="connsiteY7" fmla="*/ 90894 h 93680"/>
                <a:gd name="connsiteX8" fmla="*/ 90529 w 92960"/>
                <a:gd name="connsiteY8" fmla="*/ 78181 h 93680"/>
                <a:gd name="connsiteX9" fmla="*/ 87731 w 92960"/>
                <a:gd name="connsiteY9" fmla="*/ 75384 h 9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60" h="93680">
                  <a:moveTo>
                    <a:pt x="85061" y="72588"/>
                  </a:moveTo>
                  <a:lnTo>
                    <a:pt x="12715" y="0"/>
                  </a:lnTo>
                  <a:cubicBezTo>
                    <a:pt x="15957" y="3623"/>
                    <a:pt x="15957" y="9089"/>
                    <a:pt x="12715" y="12712"/>
                  </a:cubicBezTo>
                  <a:cubicBezTo>
                    <a:pt x="9587" y="16221"/>
                    <a:pt x="4196" y="16526"/>
                    <a:pt x="687" y="13399"/>
                  </a:cubicBezTo>
                  <a:cubicBezTo>
                    <a:pt x="445" y="13183"/>
                    <a:pt x="216" y="12954"/>
                    <a:pt x="0" y="12712"/>
                  </a:cubicBezTo>
                  <a:lnTo>
                    <a:pt x="77814" y="90894"/>
                  </a:lnTo>
                  <a:cubicBezTo>
                    <a:pt x="81056" y="94402"/>
                    <a:pt x="86523" y="94631"/>
                    <a:pt x="90033" y="91389"/>
                  </a:cubicBezTo>
                  <a:cubicBezTo>
                    <a:pt x="90198" y="91237"/>
                    <a:pt x="90363" y="91072"/>
                    <a:pt x="90529" y="90894"/>
                  </a:cubicBezTo>
                  <a:cubicBezTo>
                    <a:pt x="93771" y="87271"/>
                    <a:pt x="93771" y="81804"/>
                    <a:pt x="90529" y="78181"/>
                  </a:cubicBezTo>
                  <a:lnTo>
                    <a:pt x="87731" y="75384"/>
                  </a:lnTo>
                  <a:close/>
                </a:path>
              </a:pathLst>
            </a:custGeom>
            <a:solidFill>
              <a:srgbClr val="000000"/>
            </a:solidFill>
            <a:ln w="12685"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75691E50-C302-43C7-9551-C0F62895ECDA}"/>
                </a:ext>
              </a:extLst>
            </p:cNvPr>
            <p:cNvSpPr/>
            <p:nvPr/>
          </p:nvSpPr>
          <p:spPr>
            <a:xfrm>
              <a:off x="2694236" y="5297808"/>
              <a:ext cx="89908" cy="90630"/>
            </a:xfrm>
            <a:custGeom>
              <a:avLst/>
              <a:gdLst>
                <a:gd name="connsiteX0" fmla="*/ 87477 w 89908"/>
                <a:gd name="connsiteY0" fmla="*/ 87843 h 90630"/>
                <a:gd name="connsiteX1" fmla="*/ 87477 w 89908"/>
                <a:gd name="connsiteY1" fmla="*/ 75130 h 90630"/>
                <a:gd name="connsiteX2" fmla="*/ 84680 w 89908"/>
                <a:gd name="connsiteY2" fmla="*/ 72207 h 90630"/>
                <a:gd name="connsiteX3" fmla="*/ 82010 w 89908"/>
                <a:gd name="connsiteY3" fmla="*/ 69537 h 90630"/>
                <a:gd name="connsiteX4" fmla="*/ 16021 w 89908"/>
                <a:gd name="connsiteY4" fmla="*/ 3305 h 90630"/>
                <a:gd name="connsiteX5" fmla="*/ 13605 w 89908"/>
                <a:gd name="connsiteY5" fmla="*/ 890 h 90630"/>
                <a:gd name="connsiteX6" fmla="*/ 12715 w 89908"/>
                <a:gd name="connsiteY6" fmla="*/ 0 h 90630"/>
                <a:gd name="connsiteX7" fmla="*/ 12715 w 89908"/>
                <a:gd name="connsiteY7" fmla="*/ 0 h 90630"/>
                <a:gd name="connsiteX8" fmla="*/ 12715 w 89908"/>
                <a:gd name="connsiteY8" fmla="*/ 12712 h 90630"/>
                <a:gd name="connsiteX9" fmla="*/ 687 w 89908"/>
                <a:gd name="connsiteY9" fmla="*/ 13399 h 90630"/>
                <a:gd name="connsiteX10" fmla="*/ 0 w 89908"/>
                <a:gd name="connsiteY10" fmla="*/ 12712 h 90630"/>
                <a:gd name="connsiteX11" fmla="*/ 74762 w 89908"/>
                <a:gd name="connsiteY11" fmla="*/ 87716 h 90630"/>
                <a:gd name="connsiteX12" fmla="*/ 86778 w 89908"/>
                <a:gd name="connsiteY12" fmla="*/ 88529 h 90630"/>
                <a:gd name="connsiteX13" fmla="*/ 87477 w 89908"/>
                <a:gd name="connsiteY13" fmla="*/ 87843 h 9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908" h="90630">
                  <a:moveTo>
                    <a:pt x="87477" y="87843"/>
                  </a:moveTo>
                  <a:cubicBezTo>
                    <a:pt x="90719" y="84220"/>
                    <a:pt x="90719" y="78753"/>
                    <a:pt x="87477" y="75130"/>
                  </a:cubicBezTo>
                  <a:lnTo>
                    <a:pt x="84680" y="72207"/>
                  </a:lnTo>
                  <a:lnTo>
                    <a:pt x="82010" y="69537"/>
                  </a:lnTo>
                  <a:lnTo>
                    <a:pt x="16021" y="3305"/>
                  </a:lnTo>
                  <a:lnTo>
                    <a:pt x="13605" y="890"/>
                  </a:lnTo>
                  <a:lnTo>
                    <a:pt x="12715" y="0"/>
                  </a:lnTo>
                  <a:lnTo>
                    <a:pt x="12715" y="0"/>
                  </a:lnTo>
                  <a:cubicBezTo>
                    <a:pt x="15893" y="3636"/>
                    <a:pt x="15893" y="9077"/>
                    <a:pt x="12715" y="12712"/>
                  </a:cubicBezTo>
                  <a:cubicBezTo>
                    <a:pt x="9587" y="16221"/>
                    <a:pt x="4196" y="16526"/>
                    <a:pt x="687" y="13399"/>
                  </a:cubicBezTo>
                  <a:cubicBezTo>
                    <a:pt x="445" y="13183"/>
                    <a:pt x="216" y="12954"/>
                    <a:pt x="0" y="12712"/>
                  </a:cubicBezTo>
                  <a:lnTo>
                    <a:pt x="74762" y="87716"/>
                  </a:lnTo>
                  <a:cubicBezTo>
                    <a:pt x="77865" y="91262"/>
                    <a:pt x="83243" y="91618"/>
                    <a:pt x="86778" y="88529"/>
                  </a:cubicBezTo>
                  <a:cubicBezTo>
                    <a:pt x="87032" y="88313"/>
                    <a:pt x="87261" y="88084"/>
                    <a:pt x="87477" y="87843"/>
                  </a:cubicBezTo>
                  <a:close/>
                </a:path>
              </a:pathLst>
            </a:custGeom>
            <a:solidFill>
              <a:srgbClr val="000000"/>
            </a:solidFill>
            <a:ln w="12685"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97ED4EC9-8F52-4763-A754-7B878B6DA499}"/>
                </a:ext>
              </a:extLst>
            </p:cNvPr>
            <p:cNvSpPr/>
            <p:nvPr/>
          </p:nvSpPr>
          <p:spPr>
            <a:xfrm>
              <a:off x="2632857" y="5235994"/>
              <a:ext cx="76478" cy="77990"/>
            </a:xfrm>
            <a:custGeom>
              <a:avLst/>
              <a:gdLst>
                <a:gd name="connsiteX0" fmla="*/ 74095 w 76478"/>
                <a:gd name="connsiteY0" fmla="*/ 74653 h 77990"/>
                <a:gd name="connsiteX1" fmla="*/ 74095 w 76478"/>
                <a:gd name="connsiteY1" fmla="*/ 61941 h 77990"/>
                <a:gd name="connsiteX2" fmla="*/ 74095 w 76478"/>
                <a:gd name="connsiteY2" fmla="*/ 61941 h 77990"/>
                <a:gd name="connsiteX3" fmla="*/ 23236 w 76478"/>
                <a:gd name="connsiteY3" fmla="*/ 11092 h 77990"/>
                <a:gd name="connsiteX4" fmla="*/ 14463 w 76478"/>
                <a:gd name="connsiteY4" fmla="*/ 2193 h 77990"/>
                <a:gd name="connsiteX5" fmla="*/ 3147 w 76478"/>
                <a:gd name="connsiteY5" fmla="*/ 2193 h 77990"/>
                <a:gd name="connsiteX6" fmla="*/ 1875 w 76478"/>
                <a:gd name="connsiteY6" fmla="*/ 3083 h 77990"/>
                <a:gd name="connsiteX7" fmla="*/ 1875 w 76478"/>
                <a:gd name="connsiteY7" fmla="*/ 3083 h 77990"/>
                <a:gd name="connsiteX8" fmla="*/ 858 w 76478"/>
                <a:gd name="connsiteY8" fmla="*/ 4735 h 77990"/>
                <a:gd name="connsiteX9" fmla="*/ 95 w 76478"/>
                <a:gd name="connsiteY9" fmla="*/ 6261 h 77990"/>
                <a:gd name="connsiteX10" fmla="*/ 95 w 76478"/>
                <a:gd name="connsiteY10" fmla="*/ 7913 h 77990"/>
                <a:gd name="connsiteX11" fmla="*/ 95 w 76478"/>
                <a:gd name="connsiteY11" fmla="*/ 9693 h 77990"/>
                <a:gd name="connsiteX12" fmla="*/ 95 w 76478"/>
                <a:gd name="connsiteY12" fmla="*/ 11219 h 77990"/>
                <a:gd name="connsiteX13" fmla="*/ 95 w 76478"/>
                <a:gd name="connsiteY13" fmla="*/ 11981 h 77990"/>
                <a:gd name="connsiteX14" fmla="*/ 95 w 76478"/>
                <a:gd name="connsiteY14" fmla="*/ 13253 h 77990"/>
                <a:gd name="connsiteX15" fmla="*/ 985 w 76478"/>
                <a:gd name="connsiteY15" fmla="*/ 14651 h 77990"/>
                <a:gd name="connsiteX16" fmla="*/ 985 w 76478"/>
                <a:gd name="connsiteY16" fmla="*/ 14651 h 77990"/>
                <a:gd name="connsiteX17" fmla="*/ 1748 w 76478"/>
                <a:gd name="connsiteY17" fmla="*/ 15668 h 77990"/>
                <a:gd name="connsiteX18" fmla="*/ 61634 w 76478"/>
                <a:gd name="connsiteY18" fmla="*/ 75798 h 77990"/>
                <a:gd name="connsiteX19" fmla="*/ 73662 w 76478"/>
                <a:gd name="connsiteY19" fmla="*/ 75175 h 77990"/>
                <a:gd name="connsiteX20" fmla="*/ 74095 w 76478"/>
                <a:gd name="connsiteY20" fmla="*/ 74653 h 7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478" h="77990">
                  <a:moveTo>
                    <a:pt x="74095" y="74653"/>
                  </a:moveTo>
                  <a:cubicBezTo>
                    <a:pt x="77273" y="71018"/>
                    <a:pt x="77273" y="65577"/>
                    <a:pt x="74095" y="61941"/>
                  </a:cubicBezTo>
                  <a:lnTo>
                    <a:pt x="74095" y="61941"/>
                  </a:lnTo>
                  <a:lnTo>
                    <a:pt x="23236" y="11092"/>
                  </a:lnTo>
                  <a:lnTo>
                    <a:pt x="14463" y="2193"/>
                  </a:lnTo>
                  <a:cubicBezTo>
                    <a:pt x="11259" y="-731"/>
                    <a:pt x="6351" y="-731"/>
                    <a:pt x="3147" y="2193"/>
                  </a:cubicBezTo>
                  <a:lnTo>
                    <a:pt x="1875" y="3083"/>
                  </a:lnTo>
                  <a:lnTo>
                    <a:pt x="1875" y="3083"/>
                  </a:lnTo>
                  <a:lnTo>
                    <a:pt x="858" y="4735"/>
                  </a:lnTo>
                  <a:lnTo>
                    <a:pt x="95" y="6261"/>
                  </a:lnTo>
                  <a:cubicBezTo>
                    <a:pt x="95" y="6261"/>
                    <a:pt x="95" y="7278"/>
                    <a:pt x="95" y="7913"/>
                  </a:cubicBezTo>
                  <a:cubicBezTo>
                    <a:pt x="-32" y="8498"/>
                    <a:pt x="-32" y="9108"/>
                    <a:pt x="95" y="9693"/>
                  </a:cubicBezTo>
                  <a:cubicBezTo>
                    <a:pt x="32" y="10202"/>
                    <a:pt x="32" y="10710"/>
                    <a:pt x="95" y="11219"/>
                  </a:cubicBezTo>
                  <a:cubicBezTo>
                    <a:pt x="159" y="11473"/>
                    <a:pt x="159" y="11727"/>
                    <a:pt x="95" y="11981"/>
                  </a:cubicBezTo>
                  <a:cubicBezTo>
                    <a:pt x="19" y="12401"/>
                    <a:pt x="19" y="12833"/>
                    <a:pt x="95" y="13253"/>
                  </a:cubicBezTo>
                  <a:cubicBezTo>
                    <a:pt x="299" y="13774"/>
                    <a:pt x="604" y="14244"/>
                    <a:pt x="985" y="14651"/>
                  </a:cubicBezTo>
                  <a:lnTo>
                    <a:pt x="985" y="14651"/>
                  </a:lnTo>
                  <a:cubicBezTo>
                    <a:pt x="1163" y="15045"/>
                    <a:pt x="1430" y="15388"/>
                    <a:pt x="1748" y="15668"/>
                  </a:cubicBezTo>
                  <a:lnTo>
                    <a:pt x="61634" y="75798"/>
                  </a:lnTo>
                  <a:cubicBezTo>
                    <a:pt x="65131" y="78950"/>
                    <a:pt x="70522" y="78671"/>
                    <a:pt x="73662" y="75175"/>
                  </a:cubicBezTo>
                  <a:cubicBezTo>
                    <a:pt x="73815" y="74997"/>
                    <a:pt x="73955" y="74832"/>
                    <a:pt x="74095" y="74653"/>
                  </a:cubicBezTo>
                  <a:close/>
                </a:path>
              </a:pathLst>
            </a:custGeom>
            <a:solidFill>
              <a:srgbClr val="000000"/>
            </a:solidFill>
            <a:ln w="12685"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DADE798E-B4BD-43E9-93FD-101610838C32}"/>
                </a:ext>
              </a:extLst>
            </p:cNvPr>
            <p:cNvSpPr/>
            <p:nvPr/>
          </p:nvSpPr>
          <p:spPr>
            <a:xfrm>
              <a:off x="1151566" y="3453494"/>
              <a:ext cx="162695" cy="90512"/>
            </a:xfrm>
            <a:custGeom>
              <a:avLst/>
              <a:gdLst>
                <a:gd name="connsiteX0" fmla="*/ 11189 w 162695"/>
                <a:gd name="connsiteY0" fmla="*/ 77800 h 90512"/>
                <a:gd name="connsiteX1" fmla="*/ 6866 w 162695"/>
                <a:gd name="connsiteY1" fmla="*/ 90512 h 90512"/>
                <a:gd name="connsiteX2" fmla="*/ 152067 w 162695"/>
                <a:gd name="connsiteY2" fmla="*/ 20086 h 90512"/>
                <a:gd name="connsiteX3" fmla="*/ 157407 w 162695"/>
                <a:gd name="connsiteY3" fmla="*/ 17543 h 90512"/>
                <a:gd name="connsiteX4" fmla="*/ 161731 w 162695"/>
                <a:gd name="connsiteY4" fmla="*/ 4831 h 90512"/>
                <a:gd name="connsiteX5" fmla="*/ 159696 w 162695"/>
                <a:gd name="connsiteY5" fmla="*/ 1907 h 90512"/>
                <a:gd name="connsiteX6" fmla="*/ 159696 w 162695"/>
                <a:gd name="connsiteY6" fmla="*/ 1907 h 90512"/>
                <a:gd name="connsiteX7" fmla="*/ 156772 w 162695"/>
                <a:gd name="connsiteY7" fmla="*/ 0 h 90512"/>
                <a:gd name="connsiteX8" fmla="*/ 154610 w 162695"/>
                <a:gd name="connsiteY8" fmla="*/ 0 h 90512"/>
                <a:gd name="connsiteX9" fmla="*/ 153339 w 162695"/>
                <a:gd name="connsiteY9" fmla="*/ 0 h 90512"/>
                <a:gd name="connsiteX10" fmla="*/ 150033 w 162695"/>
                <a:gd name="connsiteY10" fmla="*/ 890 h 90512"/>
                <a:gd name="connsiteX11" fmla="*/ 150033 w 162695"/>
                <a:gd name="connsiteY11" fmla="*/ 890 h 90512"/>
                <a:gd name="connsiteX12" fmla="*/ 5467 w 162695"/>
                <a:gd name="connsiteY12" fmla="*/ 70681 h 90512"/>
                <a:gd name="connsiteX13" fmla="*/ 0 w 162695"/>
                <a:gd name="connsiteY13" fmla="*/ 73223 h 90512"/>
                <a:gd name="connsiteX14" fmla="*/ 11189 w 162695"/>
                <a:gd name="connsiteY14" fmla="*/ 77800 h 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695" h="90512">
                  <a:moveTo>
                    <a:pt x="11189" y="77800"/>
                  </a:moveTo>
                  <a:cubicBezTo>
                    <a:pt x="13409" y="82503"/>
                    <a:pt x="11498" y="88135"/>
                    <a:pt x="6866" y="90512"/>
                  </a:cubicBezTo>
                  <a:lnTo>
                    <a:pt x="152067" y="20086"/>
                  </a:lnTo>
                  <a:lnTo>
                    <a:pt x="157407" y="17543"/>
                  </a:lnTo>
                  <a:cubicBezTo>
                    <a:pt x="162099" y="15217"/>
                    <a:pt x="164019" y="9534"/>
                    <a:pt x="161731" y="4831"/>
                  </a:cubicBezTo>
                  <a:cubicBezTo>
                    <a:pt x="161235" y="3737"/>
                    <a:pt x="160548" y="2759"/>
                    <a:pt x="159696" y="1907"/>
                  </a:cubicBezTo>
                  <a:lnTo>
                    <a:pt x="159696" y="1907"/>
                  </a:lnTo>
                  <a:cubicBezTo>
                    <a:pt x="158870" y="1068"/>
                    <a:pt x="157865" y="420"/>
                    <a:pt x="156772" y="0"/>
                  </a:cubicBezTo>
                  <a:lnTo>
                    <a:pt x="154610" y="0"/>
                  </a:lnTo>
                  <a:lnTo>
                    <a:pt x="153339" y="0"/>
                  </a:lnTo>
                  <a:cubicBezTo>
                    <a:pt x="152195" y="102"/>
                    <a:pt x="151076" y="407"/>
                    <a:pt x="150033" y="890"/>
                  </a:cubicBezTo>
                  <a:lnTo>
                    <a:pt x="150033" y="890"/>
                  </a:lnTo>
                  <a:lnTo>
                    <a:pt x="5467" y="70681"/>
                  </a:lnTo>
                  <a:lnTo>
                    <a:pt x="0" y="73223"/>
                  </a:lnTo>
                  <a:cubicBezTo>
                    <a:pt x="4353" y="71520"/>
                    <a:pt x="9273" y="73541"/>
                    <a:pt x="11189" y="77800"/>
                  </a:cubicBezTo>
                  <a:close/>
                </a:path>
              </a:pathLst>
            </a:custGeom>
            <a:solidFill>
              <a:srgbClr val="000000"/>
            </a:solidFill>
            <a:ln w="12685"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0B08EA4E-2302-43BD-BD39-D3F938C6F712}"/>
                </a:ext>
              </a:extLst>
            </p:cNvPr>
            <p:cNvSpPr/>
            <p:nvPr/>
          </p:nvSpPr>
          <p:spPr>
            <a:xfrm>
              <a:off x="1128815" y="3525505"/>
              <a:ext cx="34865" cy="27101"/>
            </a:xfrm>
            <a:custGeom>
              <a:avLst/>
              <a:gdLst>
                <a:gd name="connsiteX0" fmla="*/ 1009 w 34865"/>
                <a:gd name="connsiteY0" fmla="*/ 21807 h 27101"/>
                <a:gd name="connsiteX1" fmla="*/ 12330 w 34865"/>
                <a:gd name="connsiteY1" fmla="*/ 26421 h 27101"/>
                <a:gd name="connsiteX2" fmla="*/ 12707 w 34865"/>
                <a:gd name="connsiteY2" fmla="*/ 26256 h 27101"/>
                <a:gd name="connsiteX3" fmla="*/ 29617 w 34865"/>
                <a:gd name="connsiteY3" fmla="*/ 18120 h 27101"/>
                <a:gd name="connsiteX4" fmla="*/ 33940 w 34865"/>
                <a:gd name="connsiteY4" fmla="*/ 5408 h 27101"/>
                <a:gd name="connsiteX5" fmla="*/ 22472 w 34865"/>
                <a:gd name="connsiteY5" fmla="*/ 679 h 27101"/>
                <a:gd name="connsiteX6" fmla="*/ 22116 w 34865"/>
                <a:gd name="connsiteY6" fmla="*/ 831 h 27101"/>
                <a:gd name="connsiteX7" fmla="*/ 10291 w 34865"/>
                <a:gd name="connsiteY7" fmla="*/ 6679 h 27101"/>
                <a:gd name="connsiteX8" fmla="*/ 5332 w 34865"/>
                <a:gd name="connsiteY8" fmla="*/ 9095 h 27101"/>
                <a:gd name="connsiteX9" fmla="*/ 932 w 34865"/>
                <a:gd name="connsiteY9" fmla="*/ 21654 h 27101"/>
                <a:gd name="connsiteX10" fmla="*/ 1009 w 34865"/>
                <a:gd name="connsiteY10" fmla="*/ 21807 h 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865" h="27101">
                  <a:moveTo>
                    <a:pt x="1009" y="21807"/>
                  </a:moveTo>
                  <a:cubicBezTo>
                    <a:pt x="2861" y="26205"/>
                    <a:pt x="7929" y="28277"/>
                    <a:pt x="12330" y="26421"/>
                  </a:cubicBezTo>
                  <a:cubicBezTo>
                    <a:pt x="12458" y="26371"/>
                    <a:pt x="12582" y="26320"/>
                    <a:pt x="12707" y="26256"/>
                  </a:cubicBezTo>
                  <a:lnTo>
                    <a:pt x="29617" y="18120"/>
                  </a:lnTo>
                  <a:cubicBezTo>
                    <a:pt x="34249" y="15743"/>
                    <a:pt x="36162" y="10111"/>
                    <a:pt x="33940" y="5408"/>
                  </a:cubicBezTo>
                  <a:cubicBezTo>
                    <a:pt x="32081" y="933"/>
                    <a:pt x="26946" y="-1190"/>
                    <a:pt x="22472" y="679"/>
                  </a:cubicBezTo>
                  <a:cubicBezTo>
                    <a:pt x="22352" y="730"/>
                    <a:pt x="22234" y="781"/>
                    <a:pt x="22116" y="831"/>
                  </a:cubicBezTo>
                  <a:lnTo>
                    <a:pt x="10291" y="6679"/>
                  </a:lnTo>
                  <a:lnTo>
                    <a:pt x="5332" y="9095"/>
                  </a:lnTo>
                  <a:cubicBezTo>
                    <a:pt x="650" y="11344"/>
                    <a:pt x="-1320" y="16963"/>
                    <a:pt x="932" y="21654"/>
                  </a:cubicBezTo>
                  <a:cubicBezTo>
                    <a:pt x="957" y="21705"/>
                    <a:pt x="983" y="21756"/>
                    <a:pt x="1009" y="21807"/>
                  </a:cubicBezTo>
                  <a:close/>
                </a:path>
              </a:pathLst>
            </a:custGeom>
            <a:solidFill>
              <a:srgbClr val="000000"/>
            </a:solidFill>
            <a:ln w="12685"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E5938079-53E6-4AD3-B184-509F2942E7E4}"/>
                </a:ext>
              </a:extLst>
            </p:cNvPr>
            <p:cNvSpPr/>
            <p:nvPr/>
          </p:nvSpPr>
          <p:spPr>
            <a:xfrm>
              <a:off x="3248975" y="4452180"/>
              <a:ext cx="44757" cy="147879"/>
            </a:xfrm>
            <a:custGeom>
              <a:avLst/>
              <a:gdLst>
                <a:gd name="connsiteX0" fmla="*/ 6995 w 44757"/>
                <a:gd name="connsiteY0" fmla="*/ 147718 h 147879"/>
                <a:gd name="connsiteX1" fmla="*/ 17408 w 44757"/>
                <a:gd name="connsiteY1" fmla="*/ 140650 h 147879"/>
                <a:gd name="connsiteX2" fmla="*/ 17421 w 44757"/>
                <a:gd name="connsiteY2" fmla="*/ 140599 h 147879"/>
                <a:gd name="connsiteX3" fmla="*/ 18438 w 44757"/>
                <a:gd name="connsiteY3" fmla="*/ 135133 h 147879"/>
                <a:gd name="connsiteX4" fmla="*/ 19328 w 44757"/>
                <a:gd name="connsiteY4" fmla="*/ 130937 h 147879"/>
                <a:gd name="connsiteX5" fmla="*/ 44758 w 44757"/>
                <a:gd name="connsiteY5" fmla="*/ 3814 h 147879"/>
                <a:gd name="connsiteX6" fmla="*/ 34637 w 44757"/>
                <a:gd name="connsiteY6" fmla="*/ 10996 h 147879"/>
                <a:gd name="connsiteX7" fmla="*/ 34332 w 44757"/>
                <a:gd name="connsiteY7" fmla="*/ 10932 h 147879"/>
                <a:gd name="connsiteX8" fmla="*/ 27466 w 44757"/>
                <a:gd name="connsiteY8" fmla="*/ 0 h 147879"/>
                <a:gd name="connsiteX9" fmla="*/ 129 w 44757"/>
                <a:gd name="connsiteY9" fmla="*/ 137294 h 147879"/>
                <a:gd name="connsiteX10" fmla="*/ 6995 w 44757"/>
                <a:gd name="connsiteY10" fmla="*/ 147718 h 1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57" h="147879">
                  <a:moveTo>
                    <a:pt x="6995" y="147718"/>
                  </a:moveTo>
                  <a:cubicBezTo>
                    <a:pt x="11827" y="148646"/>
                    <a:pt x="16480" y="145481"/>
                    <a:pt x="17408" y="140650"/>
                  </a:cubicBezTo>
                  <a:cubicBezTo>
                    <a:pt x="17408" y="140637"/>
                    <a:pt x="17421" y="140612"/>
                    <a:pt x="17421" y="140599"/>
                  </a:cubicBezTo>
                  <a:lnTo>
                    <a:pt x="18438" y="135133"/>
                  </a:lnTo>
                  <a:lnTo>
                    <a:pt x="19328" y="130937"/>
                  </a:lnTo>
                  <a:lnTo>
                    <a:pt x="44758" y="3814"/>
                  </a:lnTo>
                  <a:cubicBezTo>
                    <a:pt x="43944" y="8594"/>
                    <a:pt x="39418" y="11797"/>
                    <a:pt x="34637" y="10996"/>
                  </a:cubicBezTo>
                  <a:cubicBezTo>
                    <a:pt x="34535" y="10971"/>
                    <a:pt x="34433" y="10958"/>
                    <a:pt x="34332" y="10932"/>
                  </a:cubicBezTo>
                  <a:cubicBezTo>
                    <a:pt x="29424" y="9801"/>
                    <a:pt x="26360" y="4907"/>
                    <a:pt x="27466" y="0"/>
                  </a:cubicBezTo>
                  <a:lnTo>
                    <a:pt x="129" y="137294"/>
                  </a:lnTo>
                  <a:cubicBezTo>
                    <a:pt x="-672" y="142036"/>
                    <a:pt x="2329" y="146587"/>
                    <a:pt x="6995" y="147718"/>
                  </a:cubicBezTo>
                  <a:close/>
                </a:path>
              </a:pathLst>
            </a:custGeom>
            <a:solidFill>
              <a:srgbClr val="000000"/>
            </a:solidFill>
            <a:ln w="12685"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E4FF635B-DAAF-4E3D-A753-A7BC846293B0}"/>
                </a:ext>
              </a:extLst>
            </p:cNvPr>
            <p:cNvSpPr/>
            <p:nvPr/>
          </p:nvSpPr>
          <p:spPr>
            <a:xfrm>
              <a:off x="2808204" y="5078011"/>
              <a:ext cx="117439" cy="76255"/>
            </a:xfrm>
            <a:custGeom>
              <a:avLst/>
              <a:gdLst>
                <a:gd name="connsiteX0" fmla="*/ 112862 w 117439"/>
                <a:gd name="connsiteY0" fmla="*/ 19069 h 76255"/>
                <a:gd name="connsiteX1" fmla="*/ 117440 w 117439"/>
                <a:gd name="connsiteY1" fmla="*/ 16526 h 76255"/>
                <a:gd name="connsiteX2" fmla="*/ 105818 w 117439"/>
                <a:gd name="connsiteY2" fmla="*/ 13348 h 76255"/>
                <a:gd name="connsiteX3" fmla="*/ 105488 w 117439"/>
                <a:gd name="connsiteY3" fmla="*/ 12712 h 76255"/>
                <a:gd name="connsiteX4" fmla="*/ 109175 w 117439"/>
                <a:gd name="connsiteY4" fmla="*/ 0 h 76255"/>
                <a:gd name="connsiteX5" fmla="*/ 4788 w 117439"/>
                <a:gd name="connsiteY5" fmla="*/ 58604 h 76255"/>
                <a:gd name="connsiteX6" fmla="*/ 1100 w 117439"/>
                <a:gd name="connsiteY6" fmla="*/ 71316 h 76255"/>
                <a:gd name="connsiteX7" fmla="*/ 12416 w 117439"/>
                <a:gd name="connsiteY7" fmla="*/ 75460 h 76255"/>
                <a:gd name="connsiteX8" fmla="*/ 13052 w 117439"/>
                <a:gd name="connsiteY8" fmla="*/ 75130 h 76255"/>
                <a:gd name="connsiteX9" fmla="*/ 109429 w 117439"/>
                <a:gd name="connsiteY9" fmla="*/ 21103 h 7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39" h="76255">
                  <a:moveTo>
                    <a:pt x="112862" y="19069"/>
                  </a:moveTo>
                  <a:lnTo>
                    <a:pt x="117440" y="16526"/>
                  </a:lnTo>
                  <a:cubicBezTo>
                    <a:pt x="113358" y="18852"/>
                    <a:pt x="108145" y="17441"/>
                    <a:pt x="105818" y="13348"/>
                  </a:cubicBezTo>
                  <a:cubicBezTo>
                    <a:pt x="105704" y="13145"/>
                    <a:pt x="105589" y="12928"/>
                    <a:pt x="105488" y="12712"/>
                  </a:cubicBezTo>
                  <a:cubicBezTo>
                    <a:pt x="103097" y="8174"/>
                    <a:pt x="104725" y="2555"/>
                    <a:pt x="109175" y="0"/>
                  </a:cubicBezTo>
                  <a:lnTo>
                    <a:pt x="4788" y="58604"/>
                  </a:lnTo>
                  <a:cubicBezTo>
                    <a:pt x="337" y="61159"/>
                    <a:pt x="-1290" y="66778"/>
                    <a:pt x="1100" y="71316"/>
                  </a:cubicBezTo>
                  <a:cubicBezTo>
                    <a:pt x="3084" y="75588"/>
                    <a:pt x="8144" y="77444"/>
                    <a:pt x="12416" y="75460"/>
                  </a:cubicBezTo>
                  <a:cubicBezTo>
                    <a:pt x="12633" y="75359"/>
                    <a:pt x="12849" y="75244"/>
                    <a:pt x="13052" y="75130"/>
                  </a:cubicBezTo>
                  <a:lnTo>
                    <a:pt x="109429" y="21103"/>
                  </a:lnTo>
                  <a:close/>
                </a:path>
              </a:pathLst>
            </a:custGeom>
            <a:solidFill>
              <a:srgbClr val="000000"/>
            </a:solidFill>
            <a:ln w="12685" cap="flat">
              <a:no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D3CCC359-FAA7-4371-AF6C-DF0DB01ADEE1}"/>
                </a:ext>
              </a:extLst>
            </p:cNvPr>
            <p:cNvSpPr/>
            <p:nvPr/>
          </p:nvSpPr>
          <p:spPr>
            <a:xfrm>
              <a:off x="2912591" y="4927388"/>
              <a:ext cx="284336" cy="168528"/>
            </a:xfrm>
            <a:custGeom>
              <a:avLst/>
              <a:gdLst>
                <a:gd name="connsiteX0" fmla="*/ 1100 w 284336"/>
                <a:gd name="connsiteY0" fmla="*/ 163590 h 168528"/>
                <a:gd name="connsiteX1" fmla="*/ 12416 w 284336"/>
                <a:gd name="connsiteY1" fmla="*/ 167734 h 168528"/>
                <a:gd name="connsiteX2" fmla="*/ 13052 w 284336"/>
                <a:gd name="connsiteY2" fmla="*/ 167403 h 168528"/>
                <a:gd name="connsiteX3" fmla="*/ 280060 w 284336"/>
                <a:gd name="connsiteY3" fmla="*/ 17270 h 168528"/>
                <a:gd name="connsiteX4" fmla="*/ 280060 w 284336"/>
                <a:gd name="connsiteY4" fmla="*/ 17270 h 168528"/>
                <a:gd name="connsiteX5" fmla="*/ 281459 w 284336"/>
                <a:gd name="connsiteY5" fmla="*/ 15999 h 168528"/>
                <a:gd name="connsiteX6" fmla="*/ 282603 w 284336"/>
                <a:gd name="connsiteY6" fmla="*/ 14855 h 168528"/>
                <a:gd name="connsiteX7" fmla="*/ 283366 w 284336"/>
                <a:gd name="connsiteY7" fmla="*/ 13329 h 168528"/>
                <a:gd name="connsiteX8" fmla="*/ 284002 w 284336"/>
                <a:gd name="connsiteY8" fmla="*/ 11550 h 168528"/>
                <a:gd name="connsiteX9" fmla="*/ 283366 w 284336"/>
                <a:gd name="connsiteY9" fmla="*/ 4939 h 168528"/>
                <a:gd name="connsiteX10" fmla="*/ 272050 w 284336"/>
                <a:gd name="connsiteY10" fmla="*/ 795 h 168528"/>
                <a:gd name="connsiteX11" fmla="*/ 271414 w 284336"/>
                <a:gd name="connsiteY11" fmla="*/ 1125 h 168528"/>
                <a:gd name="connsiteX12" fmla="*/ 267727 w 284336"/>
                <a:gd name="connsiteY12" fmla="*/ 3159 h 168528"/>
                <a:gd name="connsiteX13" fmla="*/ 4788 w 284336"/>
                <a:gd name="connsiteY13" fmla="*/ 150877 h 168528"/>
                <a:gd name="connsiteX14" fmla="*/ 1100 w 284336"/>
                <a:gd name="connsiteY14" fmla="*/ 163590 h 16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336" h="168528">
                  <a:moveTo>
                    <a:pt x="1100" y="163590"/>
                  </a:moveTo>
                  <a:cubicBezTo>
                    <a:pt x="3084" y="167861"/>
                    <a:pt x="8144" y="169717"/>
                    <a:pt x="12416" y="167734"/>
                  </a:cubicBezTo>
                  <a:cubicBezTo>
                    <a:pt x="12633" y="167632"/>
                    <a:pt x="12849" y="167518"/>
                    <a:pt x="13052" y="167403"/>
                  </a:cubicBezTo>
                  <a:lnTo>
                    <a:pt x="280060" y="17270"/>
                  </a:lnTo>
                  <a:lnTo>
                    <a:pt x="280060" y="17270"/>
                  </a:lnTo>
                  <a:lnTo>
                    <a:pt x="281459" y="15999"/>
                  </a:lnTo>
                  <a:lnTo>
                    <a:pt x="282603" y="14855"/>
                  </a:lnTo>
                  <a:lnTo>
                    <a:pt x="283366" y="13329"/>
                  </a:lnTo>
                  <a:cubicBezTo>
                    <a:pt x="283633" y="12757"/>
                    <a:pt x="283849" y="12160"/>
                    <a:pt x="284002" y="11550"/>
                  </a:cubicBezTo>
                  <a:cubicBezTo>
                    <a:pt x="284612" y="9338"/>
                    <a:pt x="284383" y="6986"/>
                    <a:pt x="283366" y="4939"/>
                  </a:cubicBezTo>
                  <a:cubicBezTo>
                    <a:pt x="281382" y="668"/>
                    <a:pt x="276322" y="-1188"/>
                    <a:pt x="272050" y="795"/>
                  </a:cubicBezTo>
                  <a:cubicBezTo>
                    <a:pt x="271834" y="896"/>
                    <a:pt x="271618" y="1011"/>
                    <a:pt x="271414" y="1125"/>
                  </a:cubicBezTo>
                  <a:lnTo>
                    <a:pt x="267727" y="3159"/>
                  </a:lnTo>
                  <a:lnTo>
                    <a:pt x="4788" y="150877"/>
                  </a:lnTo>
                  <a:cubicBezTo>
                    <a:pt x="338" y="153432"/>
                    <a:pt x="-1290" y="159051"/>
                    <a:pt x="1100" y="163590"/>
                  </a:cubicBezTo>
                  <a:close/>
                </a:path>
              </a:pathLst>
            </a:custGeom>
            <a:solidFill>
              <a:srgbClr val="000000"/>
            </a:solidFill>
            <a:ln w="12685"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D5B93C84-DE7D-4A6F-A8E5-500FB3D09E9D}"/>
                </a:ext>
              </a:extLst>
            </p:cNvPr>
            <p:cNvSpPr/>
            <p:nvPr/>
          </p:nvSpPr>
          <p:spPr>
            <a:xfrm>
              <a:off x="2983518" y="2690919"/>
              <a:ext cx="85800" cy="75851"/>
            </a:xfrm>
            <a:custGeom>
              <a:avLst/>
              <a:gdLst>
                <a:gd name="connsiteX0" fmla="*/ 2901 w 85800"/>
                <a:gd name="connsiteY0" fmla="*/ 15468 h 75851"/>
                <a:gd name="connsiteX1" fmla="*/ 7097 w 85800"/>
                <a:gd name="connsiteY1" fmla="*/ 19027 h 75851"/>
                <a:gd name="connsiteX2" fmla="*/ 74485 w 85800"/>
                <a:gd name="connsiteY2" fmla="*/ 75852 h 75851"/>
                <a:gd name="connsiteX3" fmla="*/ 73086 w 85800"/>
                <a:gd name="connsiteY3" fmla="*/ 63139 h 75851"/>
                <a:gd name="connsiteX4" fmla="*/ 84949 w 85800"/>
                <a:gd name="connsiteY4" fmla="*/ 61067 h 75851"/>
                <a:gd name="connsiteX5" fmla="*/ 85801 w 85800"/>
                <a:gd name="connsiteY5" fmla="*/ 61741 h 75851"/>
                <a:gd name="connsiteX6" fmla="*/ 74231 w 85800"/>
                <a:gd name="connsiteY6" fmla="*/ 51952 h 75851"/>
                <a:gd name="connsiteX7" fmla="*/ 14217 w 85800"/>
                <a:gd name="connsiteY7" fmla="*/ 1103 h 75851"/>
                <a:gd name="connsiteX8" fmla="*/ 13073 w 85800"/>
                <a:gd name="connsiteY8" fmla="*/ 1103 h 75851"/>
                <a:gd name="connsiteX9" fmla="*/ 11293 w 85800"/>
                <a:gd name="connsiteY9" fmla="*/ 86 h 75851"/>
                <a:gd name="connsiteX10" fmla="*/ 9767 w 85800"/>
                <a:gd name="connsiteY10" fmla="*/ 86 h 75851"/>
                <a:gd name="connsiteX11" fmla="*/ 7987 w 85800"/>
                <a:gd name="connsiteY11" fmla="*/ 86 h 75851"/>
                <a:gd name="connsiteX12" fmla="*/ 6207 w 85800"/>
                <a:gd name="connsiteY12" fmla="*/ 86 h 75851"/>
                <a:gd name="connsiteX13" fmla="*/ 1757 w 85800"/>
                <a:gd name="connsiteY13" fmla="*/ 3010 h 75851"/>
                <a:gd name="connsiteX14" fmla="*/ 2901 w 85800"/>
                <a:gd name="connsiteY14" fmla="*/ 15468 h 7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800" h="75851">
                  <a:moveTo>
                    <a:pt x="2901" y="15468"/>
                  </a:moveTo>
                  <a:lnTo>
                    <a:pt x="7097" y="19027"/>
                  </a:lnTo>
                  <a:lnTo>
                    <a:pt x="74485" y="75852"/>
                  </a:lnTo>
                  <a:cubicBezTo>
                    <a:pt x="70874" y="72572"/>
                    <a:pt x="70276" y="67118"/>
                    <a:pt x="73086" y="63139"/>
                  </a:cubicBezTo>
                  <a:cubicBezTo>
                    <a:pt x="75795" y="59287"/>
                    <a:pt x="81097" y="58359"/>
                    <a:pt x="84949" y="61067"/>
                  </a:cubicBezTo>
                  <a:cubicBezTo>
                    <a:pt x="85254" y="61270"/>
                    <a:pt x="85534" y="61499"/>
                    <a:pt x="85801" y="61741"/>
                  </a:cubicBezTo>
                  <a:lnTo>
                    <a:pt x="74231" y="51952"/>
                  </a:lnTo>
                  <a:lnTo>
                    <a:pt x="14217" y="1103"/>
                  </a:lnTo>
                  <a:lnTo>
                    <a:pt x="13073" y="1103"/>
                  </a:lnTo>
                  <a:lnTo>
                    <a:pt x="11293" y="86"/>
                  </a:lnTo>
                  <a:lnTo>
                    <a:pt x="9767" y="86"/>
                  </a:lnTo>
                  <a:lnTo>
                    <a:pt x="7987" y="86"/>
                  </a:lnTo>
                  <a:cubicBezTo>
                    <a:pt x="7402" y="-29"/>
                    <a:pt x="6792" y="-29"/>
                    <a:pt x="6207" y="86"/>
                  </a:cubicBezTo>
                  <a:cubicBezTo>
                    <a:pt x="4427" y="518"/>
                    <a:pt x="2851" y="1548"/>
                    <a:pt x="1757" y="3010"/>
                  </a:cubicBezTo>
                  <a:cubicBezTo>
                    <a:pt x="-964" y="6887"/>
                    <a:pt x="-481" y="12150"/>
                    <a:pt x="2901" y="15468"/>
                  </a:cubicBezTo>
                  <a:close/>
                </a:path>
              </a:pathLst>
            </a:custGeom>
            <a:solidFill>
              <a:srgbClr val="000000"/>
            </a:solidFill>
            <a:ln w="12685"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3418F285-FCED-4B06-934A-774492803206}"/>
                </a:ext>
              </a:extLst>
            </p:cNvPr>
            <p:cNvSpPr/>
            <p:nvPr/>
          </p:nvSpPr>
          <p:spPr>
            <a:xfrm>
              <a:off x="3054838" y="2749928"/>
              <a:ext cx="219568" cy="189223"/>
            </a:xfrm>
            <a:custGeom>
              <a:avLst/>
              <a:gdLst>
                <a:gd name="connsiteX0" fmla="*/ 206854 w 219568"/>
                <a:gd name="connsiteY0" fmla="*/ 176638 h 189223"/>
                <a:gd name="connsiteX1" fmla="*/ 218717 w 219568"/>
                <a:gd name="connsiteY1" fmla="*/ 174566 h 189223"/>
                <a:gd name="connsiteX2" fmla="*/ 219569 w 219568"/>
                <a:gd name="connsiteY2" fmla="*/ 175240 h 189223"/>
                <a:gd name="connsiteX3" fmla="*/ 217280 w 219568"/>
                <a:gd name="connsiteY3" fmla="*/ 173206 h 189223"/>
                <a:gd name="connsiteX4" fmla="*/ 214483 w 219568"/>
                <a:gd name="connsiteY4" fmla="*/ 170917 h 189223"/>
                <a:gd name="connsiteX5" fmla="*/ 18550 w 219568"/>
                <a:gd name="connsiteY5" fmla="*/ 5656 h 189223"/>
                <a:gd name="connsiteX6" fmla="*/ 14481 w 219568"/>
                <a:gd name="connsiteY6" fmla="*/ 2224 h 189223"/>
                <a:gd name="connsiteX7" fmla="*/ 2440 w 219568"/>
                <a:gd name="connsiteY7" fmla="*/ 2771 h 189223"/>
                <a:gd name="connsiteX8" fmla="*/ 1766 w 219568"/>
                <a:gd name="connsiteY8" fmla="*/ 3622 h 189223"/>
                <a:gd name="connsiteX9" fmla="*/ 3165 w 219568"/>
                <a:gd name="connsiteY9" fmla="*/ 16335 h 189223"/>
                <a:gd name="connsiteX10" fmla="*/ 208253 w 219568"/>
                <a:gd name="connsiteY10" fmla="*/ 189223 h 189223"/>
                <a:gd name="connsiteX11" fmla="*/ 206854 w 219568"/>
                <a:gd name="connsiteY11" fmla="*/ 176638 h 18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568" h="189223">
                  <a:moveTo>
                    <a:pt x="206854" y="176638"/>
                  </a:moveTo>
                  <a:cubicBezTo>
                    <a:pt x="209562" y="172786"/>
                    <a:pt x="214864" y="171858"/>
                    <a:pt x="218717" y="174566"/>
                  </a:cubicBezTo>
                  <a:cubicBezTo>
                    <a:pt x="219022" y="174769"/>
                    <a:pt x="219302" y="174998"/>
                    <a:pt x="219569" y="175240"/>
                  </a:cubicBezTo>
                  <a:lnTo>
                    <a:pt x="217280" y="173206"/>
                  </a:lnTo>
                  <a:lnTo>
                    <a:pt x="214483" y="170917"/>
                  </a:lnTo>
                  <a:lnTo>
                    <a:pt x="18550" y="5656"/>
                  </a:lnTo>
                  <a:lnTo>
                    <a:pt x="14481" y="2224"/>
                  </a:lnTo>
                  <a:cubicBezTo>
                    <a:pt x="11010" y="-941"/>
                    <a:pt x="5619" y="-700"/>
                    <a:pt x="2440" y="2771"/>
                  </a:cubicBezTo>
                  <a:cubicBezTo>
                    <a:pt x="2199" y="3038"/>
                    <a:pt x="1970" y="3330"/>
                    <a:pt x="1766" y="3622"/>
                  </a:cubicBezTo>
                  <a:cubicBezTo>
                    <a:pt x="-1043" y="7601"/>
                    <a:pt x="-446" y="13055"/>
                    <a:pt x="3165" y="16335"/>
                  </a:cubicBezTo>
                  <a:lnTo>
                    <a:pt x="208253" y="189223"/>
                  </a:lnTo>
                  <a:cubicBezTo>
                    <a:pt x="204718" y="185956"/>
                    <a:pt x="204120" y="180591"/>
                    <a:pt x="206854" y="176638"/>
                  </a:cubicBezTo>
                  <a:close/>
                </a:path>
              </a:pathLst>
            </a:custGeom>
            <a:solidFill>
              <a:srgbClr val="000000"/>
            </a:solidFill>
            <a:ln w="12685"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BD106217-2B14-47B3-A793-B3305AD4FF2E}"/>
                </a:ext>
              </a:extLst>
            </p:cNvPr>
            <p:cNvSpPr/>
            <p:nvPr/>
          </p:nvSpPr>
          <p:spPr>
            <a:xfrm>
              <a:off x="3259925" y="2922943"/>
              <a:ext cx="248558" cy="213758"/>
            </a:xfrm>
            <a:custGeom>
              <a:avLst/>
              <a:gdLst>
                <a:gd name="connsiteX0" fmla="*/ 235844 w 248558"/>
                <a:gd name="connsiteY0" fmla="*/ 201046 h 213758"/>
                <a:gd name="connsiteX1" fmla="*/ 247706 w 248558"/>
                <a:gd name="connsiteY1" fmla="*/ 198974 h 213758"/>
                <a:gd name="connsiteX2" fmla="*/ 248558 w 248558"/>
                <a:gd name="connsiteY2" fmla="*/ 199647 h 213758"/>
                <a:gd name="connsiteX3" fmla="*/ 237369 w 248558"/>
                <a:gd name="connsiteY3" fmla="*/ 190113 h 213758"/>
                <a:gd name="connsiteX4" fmla="*/ 14481 w 248558"/>
                <a:gd name="connsiteY4" fmla="*/ 2224 h 213758"/>
                <a:gd name="connsiteX5" fmla="*/ 2441 w 248558"/>
                <a:gd name="connsiteY5" fmla="*/ 2771 h 213758"/>
                <a:gd name="connsiteX6" fmla="*/ 1767 w 248558"/>
                <a:gd name="connsiteY6" fmla="*/ 3622 h 213758"/>
                <a:gd name="connsiteX7" fmla="*/ 3165 w 248558"/>
                <a:gd name="connsiteY7" fmla="*/ 16335 h 213758"/>
                <a:gd name="connsiteX8" fmla="*/ 237242 w 248558"/>
                <a:gd name="connsiteY8" fmla="*/ 213758 h 213758"/>
                <a:gd name="connsiteX9" fmla="*/ 235844 w 248558"/>
                <a:gd name="connsiteY9" fmla="*/ 201046 h 21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558" h="213758">
                  <a:moveTo>
                    <a:pt x="235844" y="201046"/>
                  </a:moveTo>
                  <a:cubicBezTo>
                    <a:pt x="238552" y="197194"/>
                    <a:pt x="243854" y="196266"/>
                    <a:pt x="247706" y="198974"/>
                  </a:cubicBezTo>
                  <a:cubicBezTo>
                    <a:pt x="248012" y="199177"/>
                    <a:pt x="248291" y="199406"/>
                    <a:pt x="248558" y="199647"/>
                  </a:cubicBezTo>
                  <a:lnTo>
                    <a:pt x="237369" y="190113"/>
                  </a:lnTo>
                  <a:lnTo>
                    <a:pt x="14481" y="2224"/>
                  </a:lnTo>
                  <a:cubicBezTo>
                    <a:pt x="11010" y="-941"/>
                    <a:pt x="5619" y="-700"/>
                    <a:pt x="2441" y="2771"/>
                  </a:cubicBezTo>
                  <a:cubicBezTo>
                    <a:pt x="2199" y="3038"/>
                    <a:pt x="1970" y="3330"/>
                    <a:pt x="1767" y="3622"/>
                  </a:cubicBezTo>
                  <a:cubicBezTo>
                    <a:pt x="-1043" y="7601"/>
                    <a:pt x="-446" y="13055"/>
                    <a:pt x="3165" y="16335"/>
                  </a:cubicBezTo>
                  <a:lnTo>
                    <a:pt x="237242" y="213758"/>
                  </a:lnTo>
                  <a:cubicBezTo>
                    <a:pt x="233631" y="210478"/>
                    <a:pt x="233034" y="205025"/>
                    <a:pt x="235844" y="201046"/>
                  </a:cubicBezTo>
                  <a:close/>
                </a:path>
              </a:pathLst>
            </a:custGeom>
            <a:solidFill>
              <a:srgbClr val="000000"/>
            </a:solidFill>
            <a:ln w="12685"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02C23990-5241-401F-BC82-F5C7FA7F0CF5}"/>
                </a:ext>
              </a:extLst>
            </p:cNvPr>
            <p:cNvSpPr/>
            <p:nvPr/>
          </p:nvSpPr>
          <p:spPr>
            <a:xfrm>
              <a:off x="3493748" y="3120367"/>
              <a:ext cx="54913" cy="45700"/>
            </a:xfrm>
            <a:custGeom>
              <a:avLst/>
              <a:gdLst>
                <a:gd name="connsiteX0" fmla="*/ 39783 w 54913"/>
                <a:gd name="connsiteY0" fmla="*/ 40870 h 45700"/>
                <a:gd name="connsiteX1" fmla="*/ 50057 w 54913"/>
                <a:gd name="connsiteY1" fmla="*/ 33598 h 45700"/>
                <a:gd name="connsiteX2" fmla="*/ 50209 w 54913"/>
                <a:gd name="connsiteY2" fmla="*/ 33624 h 45700"/>
                <a:gd name="connsiteX3" fmla="*/ 54914 w 54913"/>
                <a:gd name="connsiteY3" fmla="*/ 36547 h 45700"/>
                <a:gd name="connsiteX4" fmla="*/ 54024 w 54913"/>
                <a:gd name="connsiteY4" fmla="*/ 35530 h 45700"/>
                <a:gd name="connsiteX5" fmla="*/ 18677 w 54913"/>
                <a:gd name="connsiteY5" fmla="*/ 5783 h 45700"/>
                <a:gd name="connsiteX6" fmla="*/ 14481 w 54913"/>
                <a:gd name="connsiteY6" fmla="*/ 2224 h 45700"/>
                <a:gd name="connsiteX7" fmla="*/ 2440 w 54913"/>
                <a:gd name="connsiteY7" fmla="*/ 2771 h 45700"/>
                <a:gd name="connsiteX8" fmla="*/ 1767 w 54913"/>
                <a:gd name="connsiteY8" fmla="*/ 3622 h 45700"/>
                <a:gd name="connsiteX9" fmla="*/ 3165 w 54913"/>
                <a:gd name="connsiteY9" fmla="*/ 16335 h 45700"/>
                <a:gd name="connsiteX10" fmla="*/ 38003 w 54913"/>
                <a:gd name="connsiteY10" fmla="*/ 45700 h 45700"/>
                <a:gd name="connsiteX11" fmla="*/ 38003 w 54913"/>
                <a:gd name="connsiteY11" fmla="*/ 45700 h 4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913" h="45700">
                  <a:moveTo>
                    <a:pt x="39783" y="40870"/>
                  </a:moveTo>
                  <a:cubicBezTo>
                    <a:pt x="40610" y="36026"/>
                    <a:pt x="45213" y="32772"/>
                    <a:pt x="50057" y="33598"/>
                  </a:cubicBezTo>
                  <a:cubicBezTo>
                    <a:pt x="50107" y="33598"/>
                    <a:pt x="50159" y="33611"/>
                    <a:pt x="50209" y="33624"/>
                  </a:cubicBezTo>
                  <a:cubicBezTo>
                    <a:pt x="52027" y="34107"/>
                    <a:pt x="53668" y="35124"/>
                    <a:pt x="54914" y="36547"/>
                  </a:cubicBezTo>
                  <a:cubicBezTo>
                    <a:pt x="54914" y="36547"/>
                    <a:pt x="54914" y="35785"/>
                    <a:pt x="54024" y="35530"/>
                  </a:cubicBezTo>
                  <a:lnTo>
                    <a:pt x="18677" y="5783"/>
                  </a:lnTo>
                  <a:lnTo>
                    <a:pt x="14481" y="2224"/>
                  </a:lnTo>
                  <a:cubicBezTo>
                    <a:pt x="11010" y="-941"/>
                    <a:pt x="5619" y="-700"/>
                    <a:pt x="2440" y="2771"/>
                  </a:cubicBezTo>
                  <a:cubicBezTo>
                    <a:pt x="2199" y="3038"/>
                    <a:pt x="1970" y="3330"/>
                    <a:pt x="1767" y="3622"/>
                  </a:cubicBezTo>
                  <a:cubicBezTo>
                    <a:pt x="-1043" y="7601"/>
                    <a:pt x="-446" y="13055"/>
                    <a:pt x="3165" y="16335"/>
                  </a:cubicBezTo>
                  <a:lnTo>
                    <a:pt x="38003" y="45700"/>
                  </a:lnTo>
                  <a:lnTo>
                    <a:pt x="38003" y="45700"/>
                  </a:lnTo>
                  <a:close/>
                </a:path>
              </a:pathLst>
            </a:custGeom>
            <a:solidFill>
              <a:srgbClr val="000000"/>
            </a:solidFill>
            <a:ln w="12685"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D51464CB-BFBF-41BA-98E6-B6D1A3D836F9}"/>
                </a:ext>
              </a:extLst>
            </p:cNvPr>
            <p:cNvSpPr/>
            <p:nvPr/>
          </p:nvSpPr>
          <p:spPr>
            <a:xfrm>
              <a:off x="1537481" y="3702276"/>
              <a:ext cx="56428" cy="39625"/>
            </a:xfrm>
            <a:custGeom>
              <a:avLst/>
              <a:gdLst>
                <a:gd name="connsiteX0" fmla="*/ 992 w 56428"/>
                <a:gd name="connsiteY0" fmla="*/ 34324 h 39625"/>
                <a:gd name="connsiteX1" fmla="*/ 12524 w 56428"/>
                <a:gd name="connsiteY1" fmla="*/ 38913 h 39625"/>
                <a:gd name="connsiteX2" fmla="*/ 12817 w 56428"/>
                <a:gd name="connsiteY2" fmla="*/ 38773 h 39625"/>
                <a:gd name="connsiteX3" fmla="*/ 56428 w 56428"/>
                <a:gd name="connsiteY3" fmla="*/ 17162 h 39625"/>
                <a:gd name="connsiteX4" fmla="*/ 44743 w 56428"/>
                <a:gd name="connsiteY4" fmla="*/ 13005 h 39625"/>
                <a:gd name="connsiteX5" fmla="*/ 44604 w 56428"/>
                <a:gd name="connsiteY5" fmla="*/ 12712 h 39625"/>
                <a:gd name="connsiteX6" fmla="*/ 48927 w 56428"/>
                <a:gd name="connsiteY6" fmla="*/ 0 h 39625"/>
                <a:gd name="connsiteX7" fmla="*/ 11673 w 56428"/>
                <a:gd name="connsiteY7" fmla="*/ 18433 h 39625"/>
                <a:gd name="connsiteX8" fmla="*/ 8367 w 56428"/>
                <a:gd name="connsiteY8" fmla="*/ 20086 h 39625"/>
                <a:gd name="connsiteX9" fmla="*/ 5188 w 56428"/>
                <a:gd name="connsiteY9" fmla="*/ 21611 h 39625"/>
                <a:gd name="connsiteX10" fmla="*/ 992 w 56428"/>
                <a:gd name="connsiteY10" fmla="*/ 34324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28" h="39625">
                  <a:moveTo>
                    <a:pt x="992" y="34324"/>
                  </a:moveTo>
                  <a:cubicBezTo>
                    <a:pt x="2912" y="38773"/>
                    <a:pt x="8074" y="40819"/>
                    <a:pt x="12524" y="38913"/>
                  </a:cubicBezTo>
                  <a:cubicBezTo>
                    <a:pt x="12626" y="38862"/>
                    <a:pt x="12715" y="38824"/>
                    <a:pt x="12817" y="38773"/>
                  </a:cubicBezTo>
                  <a:lnTo>
                    <a:pt x="56428" y="17162"/>
                  </a:lnTo>
                  <a:cubicBezTo>
                    <a:pt x="52054" y="19247"/>
                    <a:pt x="46816" y="17378"/>
                    <a:pt x="44743" y="13005"/>
                  </a:cubicBezTo>
                  <a:cubicBezTo>
                    <a:pt x="44693" y="12916"/>
                    <a:pt x="44642" y="12814"/>
                    <a:pt x="44604" y="12712"/>
                  </a:cubicBezTo>
                  <a:cubicBezTo>
                    <a:pt x="42315" y="8009"/>
                    <a:pt x="44235" y="2326"/>
                    <a:pt x="48927" y="0"/>
                  </a:cubicBezTo>
                  <a:lnTo>
                    <a:pt x="11673" y="18433"/>
                  </a:lnTo>
                  <a:lnTo>
                    <a:pt x="8367" y="20086"/>
                  </a:lnTo>
                  <a:lnTo>
                    <a:pt x="5188" y="21611"/>
                  </a:lnTo>
                  <a:cubicBezTo>
                    <a:pt x="547" y="23988"/>
                    <a:pt x="-1322" y="29658"/>
                    <a:pt x="992" y="34324"/>
                  </a:cubicBezTo>
                  <a:close/>
                </a:path>
              </a:pathLst>
            </a:custGeom>
            <a:solidFill>
              <a:srgbClr val="000000"/>
            </a:solidFill>
            <a:ln w="12685"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C57CA645-0496-40ED-A845-C572BCD218CC}"/>
                </a:ext>
              </a:extLst>
            </p:cNvPr>
            <p:cNvSpPr/>
            <p:nvPr/>
          </p:nvSpPr>
          <p:spPr>
            <a:xfrm>
              <a:off x="1764584" y="5046738"/>
              <a:ext cx="76370" cy="529090"/>
            </a:xfrm>
            <a:custGeom>
              <a:avLst/>
              <a:gdLst>
                <a:gd name="connsiteX0" fmla="*/ 18519 w 76370"/>
                <a:gd name="connsiteY0" fmla="*/ 520954 h 529090"/>
                <a:gd name="connsiteX1" fmla="*/ 18519 w 76370"/>
                <a:gd name="connsiteY1" fmla="*/ 516504 h 529090"/>
                <a:gd name="connsiteX2" fmla="*/ 18519 w 76370"/>
                <a:gd name="connsiteY2" fmla="*/ 512564 h 529090"/>
                <a:gd name="connsiteX3" fmla="*/ 76371 w 76370"/>
                <a:gd name="connsiteY3" fmla="*/ 11441 h 529090"/>
                <a:gd name="connsiteX4" fmla="*/ 73701 w 76370"/>
                <a:gd name="connsiteY4" fmla="*/ 8645 h 529090"/>
                <a:gd name="connsiteX5" fmla="*/ 67598 w 76370"/>
                <a:gd name="connsiteY5" fmla="*/ 10297 h 529090"/>
                <a:gd name="connsiteX6" fmla="*/ 59842 w 76370"/>
                <a:gd name="connsiteY6" fmla="*/ 0 h 529090"/>
                <a:gd name="connsiteX7" fmla="*/ 83 w 76370"/>
                <a:gd name="connsiteY7" fmla="*/ 518666 h 529090"/>
                <a:gd name="connsiteX8" fmla="*/ 6186 w 76370"/>
                <a:gd name="connsiteY8" fmla="*/ 528454 h 529090"/>
                <a:gd name="connsiteX9" fmla="*/ 7712 w 76370"/>
                <a:gd name="connsiteY9" fmla="*/ 529090 h 529090"/>
                <a:gd name="connsiteX10" fmla="*/ 9365 w 76370"/>
                <a:gd name="connsiteY10" fmla="*/ 529090 h 529090"/>
                <a:gd name="connsiteX11" fmla="*/ 18519 w 76370"/>
                <a:gd name="connsiteY11" fmla="*/ 520954 h 52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370" h="529090">
                  <a:moveTo>
                    <a:pt x="18519" y="520954"/>
                  </a:moveTo>
                  <a:lnTo>
                    <a:pt x="18519" y="516504"/>
                  </a:lnTo>
                  <a:lnTo>
                    <a:pt x="18519" y="512564"/>
                  </a:lnTo>
                  <a:lnTo>
                    <a:pt x="76371" y="11441"/>
                  </a:lnTo>
                  <a:lnTo>
                    <a:pt x="73701" y="8645"/>
                  </a:lnTo>
                  <a:cubicBezTo>
                    <a:pt x="71946" y="9941"/>
                    <a:pt x="69772" y="10539"/>
                    <a:pt x="67598" y="10297"/>
                  </a:cubicBezTo>
                  <a:cubicBezTo>
                    <a:pt x="62665" y="9509"/>
                    <a:pt x="59232" y="4958"/>
                    <a:pt x="59842" y="0"/>
                  </a:cubicBezTo>
                  <a:lnTo>
                    <a:pt x="83" y="518666"/>
                  </a:lnTo>
                  <a:cubicBezTo>
                    <a:pt x="-502" y="522975"/>
                    <a:pt x="2054" y="527081"/>
                    <a:pt x="6186" y="528454"/>
                  </a:cubicBezTo>
                  <a:lnTo>
                    <a:pt x="7712" y="529090"/>
                  </a:lnTo>
                  <a:lnTo>
                    <a:pt x="9365" y="529090"/>
                  </a:lnTo>
                  <a:cubicBezTo>
                    <a:pt x="14044" y="529115"/>
                    <a:pt x="17998" y="525607"/>
                    <a:pt x="18519" y="520954"/>
                  </a:cubicBezTo>
                  <a:close/>
                </a:path>
              </a:pathLst>
            </a:custGeom>
            <a:solidFill>
              <a:srgbClr val="000000"/>
            </a:solidFill>
            <a:ln w="12685"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88A90DAE-59EC-445B-B1DF-8FD00BB4671F}"/>
                </a:ext>
              </a:extLst>
            </p:cNvPr>
            <p:cNvSpPr/>
            <p:nvPr/>
          </p:nvSpPr>
          <p:spPr>
            <a:xfrm>
              <a:off x="1841337" y="5048899"/>
              <a:ext cx="1525" cy="5084"/>
            </a:xfrm>
            <a:custGeom>
              <a:avLst/>
              <a:gdLst>
                <a:gd name="connsiteX0" fmla="*/ 1526 w 1525"/>
                <a:gd name="connsiteY0" fmla="*/ 0 h 5084"/>
                <a:gd name="connsiteX1" fmla="*/ 0 w 1525"/>
                <a:gd name="connsiteY1" fmla="*/ 4068 h 5084"/>
                <a:gd name="connsiteX2" fmla="*/ 1017 w 1525"/>
                <a:gd name="connsiteY2" fmla="*/ 5085 h 5084"/>
              </a:gdLst>
              <a:ahLst/>
              <a:cxnLst>
                <a:cxn ang="0">
                  <a:pos x="connsiteX0" y="connsiteY0"/>
                </a:cxn>
                <a:cxn ang="0">
                  <a:pos x="connsiteX1" y="connsiteY1"/>
                </a:cxn>
                <a:cxn ang="0">
                  <a:pos x="connsiteX2" y="connsiteY2"/>
                </a:cxn>
              </a:cxnLst>
              <a:rect l="l" t="t" r="r" b="b"/>
              <a:pathLst>
                <a:path w="1525" h="5084">
                  <a:moveTo>
                    <a:pt x="1526" y="0"/>
                  </a:moveTo>
                  <a:cubicBezTo>
                    <a:pt x="1360" y="1462"/>
                    <a:pt x="839" y="2860"/>
                    <a:pt x="0" y="4068"/>
                  </a:cubicBezTo>
                  <a:lnTo>
                    <a:pt x="1017" y="5085"/>
                  </a:lnTo>
                  <a:close/>
                </a:path>
              </a:pathLst>
            </a:custGeom>
            <a:solidFill>
              <a:srgbClr val="000000"/>
            </a:solidFill>
            <a:ln w="12685"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272DC3DC-AE79-4361-AAA3-3777A6900210}"/>
                </a:ext>
              </a:extLst>
            </p:cNvPr>
            <p:cNvSpPr/>
            <p:nvPr/>
          </p:nvSpPr>
          <p:spPr>
            <a:xfrm>
              <a:off x="1857866" y="4621763"/>
              <a:ext cx="34075" cy="145557"/>
            </a:xfrm>
            <a:custGeom>
              <a:avLst/>
              <a:gdLst>
                <a:gd name="connsiteX0" fmla="*/ 9790 w 34075"/>
                <a:gd name="connsiteY0" fmla="*/ 135260 h 145557"/>
                <a:gd name="connsiteX1" fmla="*/ 17546 w 34075"/>
                <a:gd name="connsiteY1" fmla="*/ 145557 h 145557"/>
                <a:gd name="connsiteX2" fmla="*/ 18182 w 34075"/>
                <a:gd name="connsiteY2" fmla="*/ 139328 h 145557"/>
                <a:gd name="connsiteX3" fmla="*/ 34075 w 34075"/>
                <a:gd name="connsiteY3" fmla="*/ 2288 h 145557"/>
                <a:gd name="connsiteX4" fmla="*/ 24374 w 34075"/>
                <a:gd name="connsiteY4" fmla="*/ 10310 h 145557"/>
                <a:gd name="connsiteX5" fmla="*/ 24285 w 34075"/>
                <a:gd name="connsiteY5" fmla="*/ 10297 h 145557"/>
                <a:gd name="connsiteX6" fmla="*/ 16529 w 34075"/>
                <a:gd name="connsiteY6" fmla="*/ 0 h 145557"/>
                <a:gd name="connsiteX7" fmla="*/ 0 w 34075"/>
                <a:gd name="connsiteY7" fmla="*/ 143269 h 145557"/>
                <a:gd name="connsiteX8" fmla="*/ 9701 w 34075"/>
                <a:gd name="connsiteY8" fmla="*/ 135247 h 145557"/>
                <a:gd name="connsiteX9" fmla="*/ 9790 w 34075"/>
                <a:gd name="connsiteY9" fmla="*/ 135260 h 145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75" h="145557">
                  <a:moveTo>
                    <a:pt x="9790" y="135260"/>
                  </a:moveTo>
                  <a:cubicBezTo>
                    <a:pt x="14762" y="135984"/>
                    <a:pt x="18233" y="140574"/>
                    <a:pt x="17546" y="145557"/>
                  </a:cubicBezTo>
                  <a:lnTo>
                    <a:pt x="18182" y="139328"/>
                  </a:lnTo>
                  <a:lnTo>
                    <a:pt x="34075" y="2288"/>
                  </a:lnTo>
                  <a:cubicBezTo>
                    <a:pt x="33605" y="7183"/>
                    <a:pt x="29269" y="10768"/>
                    <a:pt x="24374" y="10310"/>
                  </a:cubicBezTo>
                  <a:cubicBezTo>
                    <a:pt x="24349" y="10297"/>
                    <a:pt x="24310" y="10297"/>
                    <a:pt x="24285" y="10297"/>
                  </a:cubicBezTo>
                  <a:cubicBezTo>
                    <a:pt x="19314" y="9572"/>
                    <a:pt x="15855" y="4983"/>
                    <a:pt x="16529" y="0"/>
                  </a:cubicBezTo>
                  <a:lnTo>
                    <a:pt x="0" y="143269"/>
                  </a:lnTo>
                  <a:cubicBezTo>
                    <a:pt x="470" y="138374"/>
                    <a:pt x="4806" y="134789"/>
                    <a:pt x="9701" y="135247"/>
                  </a:cubicBezTo>
                  <a:cubicBezTo>
                    <a:pt x="9727" y="135247"/>
                    <a:pt x="9765" y="135260"/>
                    <a:pt x="9790" y="135260"/>
                  </a:cubicBezTo>
                  <a:close/>
                </a:path>
              </a:pathLst>
            </a:custGeom>
            <a:solidFill>
              <a:srgbClr val="000000"/>
            </a:solidFill>
            <a:ln w="12685"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FE3FE121-6663-4FCD-BABE-420DA1D784BD}"/>
                </a:ext>
              </a:extLst>
            </p:cNvPr>
            <p:cNvSpPr/>
            <p:nvPr/>
          </p:nvSpPr>
          <p:spPr>
            <a:xfrm>
              <a:off x="1393117" y="3795096"/>
              <a:ext cx="346629" cy="343723"/>
            </a:xfrm>
            <a:custGeom>
              <a:avLst/>
              <a:gdLst>
                <a:gd name="connsiteX0" fmla="*/ 333915 w 346629"/>
                <a:gd name="connsiteY0" fmla="*/ 332536 h 343723"/>
                <a:gd name="connsiteX1" fmla="*/ 346134 w 346629"/>
                <a:gd name="connsiteY1" fmla="*/ 332041 h 343723"/>
                <a:gd name="connsiteX2" fmla="*/ 346630 w 346629"/>
                <a:gd name="connsiteY2" fmla="*/ 332536 h 343723"/>
                <a:gd name="connsiteX3" fmla="*/ 333915 w 346629"/>
                <a:gd name="connsiteY3" fmla="*/ 319824 h 343723"/>
                <a:gd name="connsiteX4" fmla="*/ 23805 w 346629"/>
                <a:gd name="connsiteY4" fmla="*/ 11930 h 343723"/>
                <a:gd name="connsiteX5" fmla="*/ 14396 w 346629"/>
                <a:gd name="connsiteY5" fmla="*/ 2523 h 343723"/>
                <a:gd name="connsiteX6" fmla="*/ 4860 w 346629"/>
                <a:gd name="connsiteY6" fmla="*/ 743 h 343723"/>
                <a:gd name="connsiteX7" fmla="*/ 4860 w 346629"/>
                <a:gd name="connsiteY7" fmla="*/ 743 h 343723"/>
                <a:gd name="connsiteX8" fmla="*/ 3588 w 346629"/>
                <a:gd name="connsiteY8" fmla="*/ 1633 h 343723"/>
                <a:gd name="connsiteX9" fmla="*/ 2063 w 346629"/>
                <a:gd name="connsiteY9" fmla="*/ 2777 h 343723"/>
                <a:gd name="connsiteX10" fmla="*/ 2063 w 346629"/>
                <a:gd name="connsiteY10" fmla="*/ 2777 h 343723"/>
                <a:gd name="connsiteX11" fmla="*/ 918 w 346629"/>
                <a:gd name="connsiteY11" fmla="*/ 4811 h 343723"/>
                <a:gd name="connsiteX12" fmla="*/ 283 w 346629"/>
                <a:gd name="connsiteY12" fmla="*/ 5828 h 343723"/>
                <a:gd name="connsiteX13" fmla="*/ 283 w 346629"/>
                <a:gd name="connsiteY13" fmla="*/ 7608 h 343723"/>
                <a:gd name="connsiteX14" fmla="*/ 283 w 346629"/>
                <a:gd name="connsiteY14" fmla="*/ 8752 h 343723"/>
                <a:gd name="connsiteX15" fmla="*/ 283 w 346629"/>
                <a:gd name="connsiteY15" fmla="*/ 8752 h 343723"/>
                <a:gd name="connsiteX16" fmla="*/ 283 w 346629"/>
                <a:gd name="connsiteY16" fmla="*/ 9896 h 343723"/>
                <a:gd name="connsiteX17" fmla="*/ 283 w 346629"/>
                <a:gd name="connsiteY17" fmla="*/ 9896 h 343723"/>
                <a:gd name="connsiteX18" fmla="*/ 283 w 346629"/>
                <a:gd name="connsiteY18" fmla="*/ 10659 h 343723"/>
                <a:gd name="connsiteX19" fmla="*/ 283 w 346629"/>
                <a:gd name="connsiteY19" fmla="*/ 12184 h 343723"/>
                <a:gd name="connsiteX20" fmla="*/ 1427 w 346629"/>
                <a:gd name="connsiteY20" fmla="*/ 13837 h 343723"/>
                <a:gd name="connsiteX21" fmla="*/ 1427 w 346629"/>
                <a:gd name="connsiteY21" fmla="*/ 14600 h 343723"/>
                <a:gd name="connsiteX22" fmla="*/ 1427 w 346629"/>
                <a:gd name="connsiteY22" fmla="*/ 14600 h 343723"/>
                <a:gd name="connsiteX23" fmla="*/ 1427 w 346629"/>
                <a:gd name="connsiteY23" fmla="*/ 14600 h 343723"/>
                <a:gd name="connsiteX24" fmla="*/ 1427 w 346629"/>
                <a:gd name="connsiteY24" fmla="*/ 14600 h 343723"/>
                <a:gd name="connsiteX25" fmla="*/ 333280 w 346629"/>
                <a:gd name="connsiteY25" fmla="*/ 343723 h 343723"/>
                <a:gd name="connsiteX26" fmla="*/ 333915 w 346629"/>
                <a:gd name="connsiteY26" fmla="*/ 332536 h 34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6629" h="343723">
                  <a:moveTo>
                    <a:pt x="333915" y="332536"/>
                  </a:moveTo>
                  <a:cubicBezTo>
                    <a:pt x="337158" y="329028"/>
                    <a:pt x="342625" y="328799"/>
                    <a:pt x="346134" y="332041"/>
                  </a:cubicBezTo>
                  <a:cubicBezTo>
                    <a:pt x="346299" y="332193"/>
                    <a:pt x="346465" y="332358"/>
                    <a:pt x="346630" y="332536"/>
                  </a:cubicBezTo>
                  <a:lnTo>
                    <a:pt x="333915" y="319824"/>
                  </a:lnTo>
                  <a:lnTo>
                    <a:pt x="23805" y="11930"/>
                  </a:lnTo>
                  <a:lnTo>
                    <a:pt x="14396" y="2523"/>
                  </a:lnTo>
                  <a:cubicBezTo>
                    <a:pt x="11904" y="6"/>
                    <a:pt x="8102" y="-706"/>
                    <a:pt x="4860" y="743"/>
                  </a:cubicBezTo>
                  <a:lnTo>
                    <a:pt x="4860" y="743"/>
                  </a:lnTo>
                  <a:cubicBezTo>
                    <a:pt x="4860" y="743"/>
                    <a:pt x="3970" y="1379"/>
                    <a:pt x="3588" y="1633"/>
                  </a:cubicBezTo>
                  <a:cubicBezTo>
                    <a:pt x="3029" y="1938"/>
                    <a:pt x="2520" y="2332"/>
                    <a:pt x="2063" y="2777"/>
                  </a:cubicBezTo>
                  <a:lnTo>
                    <a:pt x="2063" y="2777"/>
                  </a:lnTo>
                  <a:cubicBezTo>
                    <a:pt x="1605" y="3413"/>
                    <a:pt x="1223" y="4086"/>
                    <a:pt x="918" y="4811"/>
                  </a:cubicBezTo>
                  <a:cubicBezTo>
                    <a:pt x="918" y="4811"/>
                    <a:pt x="918" y="4811"/>
                    <a:pt x="283" y="5828"/>
                  </a:cubicBezTo>
                  <a:cubicBezTo>
                    <a:pt x="-353" y="6845"/>
                    <a:pt x="283" y="6972"/>
                    <a:pt x="283" y="7608"/>
                  </a:cubicBezTo>
                  <a:cubicBezTo>
                    <a:pt x="283" y="8243"/>
                    <a:pt x="283" y="8370"/>
                    <a:pt x="283" y="8752"/>
                  </a:cubicBezTo>
                  <a:cubicBezTo>
                    <a:pt x="283" y="9133"/>
                    <a:pt x="283" y="8752"/>
                    <a:pt x="283" y="8752"/>
                  </a:cubicBezTo>
                  <a:cubicBezTo>
                    <a:pt x="283" y="8752"/>
                    <a:pt x="283" y="9514"/>
                    <a:pt x="283" y="9896"/>
                  </a:cubicBezTo>
                  <a:lnTo>
                    <a:pt x="283" y="9896"/>
                  </a:lnTo>
                  <a:cubicBezTo>
                    <a:pt x="283" y="9896"/>
                    <a:pt x="283" y="9896"/>
                    <a:pt x="283" y="10659"/>
                  </a:cubicBezTo>
                  <a:cubicBezTo>
                    <a:pt x="219" y="11167"/>
                    <a:pt x="219" y="11676"/>
                    <a:pt x="283" y="12184"/>
                  </a:cubicBezTo>
                  <a:cubicBezTo>
                    <a:pt x="283" y="12184"/>
                    <a:pt x="1045" y="13201"/>
                    <a:pt x="1427" y="13837"/>
                  </a:cubicBezTo>
                  <a:lnTo>
                    <a:pt x="1427" y="14600"/>
                  </a:lnTo>
                  <a:lnTo>
                    <a:pt x="1427" y="14600"/>
                  </a:lnTo>
                  <a:lnTo>
                    <a:pt x="1427" y="14600"/>
                  </a:lnTo>
                  <a:lnTo>
                    <a:pt x="1427" y="14600"/>
                  </a:lnTo>
                  <a:lnTo>
                    <a:pt x="333280" y="343723"/>
                  </a:lnTo>
                  <a:cubicBezTo>
                    <a:pt x="331131" y="340227"/>
                    <a:pt x="331372" y="335765"/>
                    <a:pt x="333915" y="332536"/>
                  </a:cubicBezTo>
                  <a:close/>
                </a:path>
              </a:pathLst>
            </a:custGeom>
            <a:solidFill>
              <a:srgbClr val="000000"/>
            </a:solidFill>
            <a:ln w="12685"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3AE69810-95EB-4C99-9D17-616DBEAF527A}"/>
                </a:ext>
              </a:extLst>
            </p:cNvPr>
            <p:cNvSpPr/>
            <p:nvPr/>
          </p:nvSpPr>
          <p:spPr>
            <a:xfrm>
              <a:off x="1724559" y="4124464"/>
              <a:ext cx="84879" cy="85084"/>
            </a:xfrm>
            <a:custGeom>
              <a:avLst/>
              <a:gdLst>
                <a:gd name="connsiteX0" fmla="*/ 18239 w 84879"/>
                <a:gd name="connsiteY0" fmla="*/ 5965 h 85084"/>
                <a:gd name="connsiteX1" fmla="*/ 15061 w 84879"/>
                <a:gd name="connsiteY1" fmla="*/ 2787 h 85084"/>
                <a:gd name="connsiteX2" fmla="*/ 2842 w 84879"/>
                <a:gd name="connsiteY2" fmla="*/ 2291 h 85084"/>
                <a:gd name="connsiteX3" fmla="*/ 2346 w 84879"/>
                <a:gd name="connsiteY3" fmla="*/ 2787 h 85084"/>
                <a:gd name="connsiteX4" fmla="*/ 2346 w 84879"/>
                <a:gd name="connsiteY4" fmla="*/ 15499 h 85084"/>
                <a:gd name="connsiteX5" fmla="*/ 69733 w 84879"/>
                <a:gd name="connsiteY5" fmla="*/ 82239 h 85084"/>
                <a:gd name="connsiteX6" fmla="*/ 81761 w 84879"/>
                <a:gd name="connsiteY6" fmla="*/ 82925 h 85084"/>
                <a:gd name="connsiteX7" fmla="*/ 82448 w 84879"/>
                <a:gd name="connsiteY7" fmla="*/ 82239 h 85084"/>
                <a:gd name="connsiteX8" fmla="*/ 82448 w 84879"/>
                <a:gd name="connsiteY8" fmla="*/ 69527 h 85084"/>
                <a:gd name="connsiteX9" fmla="*/ 69733 w 84879"/>
                <a:gd name="connsiteY9" fmla="*/ 56814 h 8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879" h="85084">
                  <a:moveTo>
                    <a:pt x="18239" y="5965"/>
                  </a:moveTo>
                  <a:lnTo>
                    <a:pt x="15061" y="2787"/>
                  </a:lnTo>
                  <a:cubicBezTo>
                    <a:pt x="11818" y="-722"/>
                    <a:pt x="6351" y="-951"/>
                    <a:pt x="2842" y="2291"/>
                  </a:cubicBezTo>
                  <a:cubicBezTo>
                    <a:pt x="2676" y="2443"/>
                    <a:pt x="2511" y="2609"/>
                    <a:pt x="2346" y="2787"/>
                  </a:cubicBezTo>
                  <a:cubicBezTo>
                    <a:pt x="-782" y="6448"/>
                    <a:pt x="-782" y="11838"/>
                    <a:pt x="2346" y="15499"/>
                  </a:cubicBezTo>
                  <a:lnTo>
                    <a:pt x="69733" y="82239"/>
                  </a:lnTo>
                  <a:cubicBezTo>
                    <a:pt x="72861" y="85748"/>
                    <a:pt x="78252" y="86053"/>
                    <a:pt x="81761" y="82925"/>
                  </a:cubicBezTo>
                  <a:cubicBezTo>
                    <a:pt x="82003" y="82709"/>
                    <a:pt x="82232" y="82481"/>
                    <a:pt x="82448" y="82239"/>
                  </a:cubicBezTo>
                  <a:cubicBezTo>
                    <a:pt x="85690" y="78616"/>
                    <a:pt x="85690" y="73150"/>
                    <a:pt x="82448" y="69527"/>
                  </a:cubicBezTo>
                  <a:lnTo>
                    <a:pt x="69733" y="56814"/>
                  </a:lnTo>
                  <a:close/>
                </a:path>
              </a:pathLst>
            </a:custGeom>
            <a:solidFill>
              <a:srgbClr val="000000"/>
            </a:solidFill>
            <a:ln w="12685"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A1526971-7C1C-41BD-981B-9C2C5F5756FC}"/>
                </a:ext>
              </a:extLst>
            </p:cNvPr>
            <p:cNvSpPr/>
            <p:nvPr/>
          </p:nvSpPr>
          <p:spPr>
            <a:xfrm>
              <a:off x="56325" y="4712778"/>
              <a:ext cx="37508" cy="30896"/>
            </a:xfrm>
            <a:custGeom>
              <a:avLst/>
              <a:gdLst>
                <a:gd name="connsiteX0" fmla="*/ 36237 w 37508"/>
                <a:gd name="connsiteY0" fmla="*/ 14243 h 30896"/>
                <a:gd name="connsiteX1" fmla="*/ 37127 w 37508"/>
                <a:gd name="connsiteY1" fmla="*/ 12718 h 30896"/>
                <a:gd name="connsiteX2" fmla="*/ 37127 w 37508"/>
                <a:gd name="connsiteY2" fmla="*/ 10684 h 30896"/>
                <a:gd name="connsiteX3" fmla="*/ 37127 w 37508"/>
                <a:gd name="connsiteY3" fmla="*/ 5345 h 30896"/>
                <a:gd name="connsiteX4" fmla="*/ 26045 w 37508"/>
                <a:gd name="connsiteY4" fmla="*/ 616 h 30896"/>
                <a:gd name="connsiteX5" fmla="*/ 25429 w 37508"/>
                <a:gd name="connsiteY5" fmla="*/ 896 h 30896"/>
                <a:gd name="connsiteX6" fmla="*/ 20343 w 37508"/>
                <a:gd name="connsiteY6" fmla="*/ 3438 h 30896"/>
                <a:gd name="connsiteX7" fmla="*/ 0 w 37508"/>
                <a:gd name="connsiteY7" fmla="*/ 13735 h 30896"/>
                <a:gd name="connsiteX8" fmla="*/ 11421 w 37508"/>
                <a:gd name="connsiteY8" fmla="*/ 17574 h 30896"/>
                <a:gd name="connsiteX9" fmla="*/ 11697 w 37508"/>
                <a:gd name="connsiteY9" fmla="*/ 18184 h 30896"/>
                <a:gd name="connsiteX10" fmla="*/ 7684 w 37508"/>
                <a:gd name="connsiteY10" fmla="*/ 30871 h 30896"/>
                <a:gd name="connsiteX11" fmla="*/ 7629 w 37508"/>
                <a:gd name="connsiteY11" fmla="*/ 30897 h 30896"/>
                <a:gd name="connsiteX12" fmla="*/ 33058 w 37508"/>
                <a:gd name="connsiteY12" fmla="*/ 18184 h 30896"/>
                <a:gd name="connsiteX13" fmla="*/ 33821 w 37508"/>
                <a:gd name="connsiteY13" fmla="*/ 17549 h 30896"/>
                <a:gd name="connsiteX14" fmla="*/ 36237 w 37508"/>
                <a:gd name="connsiteY14" fmla="*/ 15387 h 30896"/>
                <a:gd name="connsiteX15" fmla="*/ 36237 w 37508"/>
                <a:gd name="connsiteY15" fmla="*/ 14243 h 3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08" h="30896">
                  <a:moveTo>
                    <a:pt x="36237" y="14243"/>
                  </a:moveTo>
                  <a:cubicBezTo>
                    <a:pt x="36580" y="13760"/>
                    <a:pt x="36878" y="13252"/>
                    <a:pt x="37127" y="12718"/>
                  </a:cubicBezTo>
                  <a:cubicBezTo>
                    <a:pt x="37187" y="12044"/>
                    <a:pt x="37187" y="11358"/>
                    <a:pt x="37127" y="10684"/>
                  </a:cubicBezTo>
                  <a:cubicBezTo>
                    <a:pt x="37635" y="8942"/>
                    <a:pt x="37635" y="7086"/>
                    <a:pt x="37127" y="5345"/>
                  </a:cubicBezTo>
                  <a:cubicBezTo>
                    <a:pt x="35372" y="984"/>
                    <a:pt x="30411" y="-1138"/>
                    <a:pt x="26045" y="616"/>
                  </a:cubicBezTo>
                  <a:cubicBezTo>
                    <a:pt x="25836" y="705"/>
                    <a:pt x="25631" y="794"/>
                    <a:pt x="25429" y="896"/>
                  </a:cubicBezTo>
                  <a:lnTo>
                    <a:pt x="20343" y="3438"/>
                  </a:lnTo>
                  <a:lnTo>
                    <a:pt x="0" y="13735"/>
                  </a:lnTo>
                  <a:cubicBezTo>
                    <a:pt x="4213" y="11638"/>
                    <a:pt x="9326" y="13353"/>
                    <a:pt x="11421" y="17574"/>
                  </a:cubicBezTo>
                  <a:cubicBezTo>
                    <a:pt x="11521" y="17765"/>
                    <a:pt x="11614" y="17981"/>
                    <a:pt x="11697" y="18184"/>
                  </a:cubicBezTo>
                  <a:cubicBezTo>
                    <a:pt x="14092" y="22799"/>
                    <a:pt x="12295" y="28469"/>
                    <a:pt x="7684" y="30871"/>
                  </a:cubicBezTo>
                  <a:cubicBezTo>
                    <a:pt x="7666" y="30871"/>
                    <a:pt x="7647" y="30884"/>
                    <a:pt x="7629" y="30897"/>
                  </a:cubicBezTo>
                  <a:lnTo>
                    <a:pt x="33058" y="18184"/>
                  </a:lnTo>
                  <a:lnTo>
                    <a:pt x="33821" y="17549"/>
                  </a:lnTo>
                  <a:cubicBezTo>
                    <a:pt x="34741" y="16964"/>
                    <a:pt x="35557" y="16239"/>
                    <a:pt x="36237" y="15387"/>
                  </a:cubicBezTo>
                  <a:cubicBezTo>
                    <a:pt x="36237" y="15387"/>
                    <a:pt x="36110" y="14371"/>
                    <a:pt x="36237" y="14243"/>
                  </a:cubicBezTo>
                  <a:close/>
                </a:path>
              </a:pathLst>
            </a:custGeom>
            <a:solidFill>
              <a:srgbClr val="000000"/>
            </a:solidFill>
            <a:ln w="12685"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8A610318-E30A-4F3C-B053-715D1974C156}"/>
                </a:ext>
              </a:extLst>
            </p:cNvPr>
            <p:cNvSpPr/>
            <p:nvPr/>
          </p:nvSpPr>
          <p:spPr>
            <a:xfrm>
              <a:off x="36812" y="4725618"/>
              <a:ext cx="31841" cy="25416"/>
            </a:xfrm>
            <a:custGeom>
              <a:avLst/>
              <a:gdLst>
                <a:gd name="connsiteX0" fmla="*/ 30956 w 31841"/>
                <a:gd name="connsiteY0" fmla="*/ 5345 h 25416"/>
                <a:gd name="connsiteX1" fmla="*/ 19875 w 31841"/>
                <a:gd name="connsiteY1" fmla="*/ 616 h 25416"/>
                <a:gd name="connsiteX2" fmla="*/ 19259 w 31841"/>
                <a:gd name="connsiteY2" fmla="*/ 895 h 25416"/>
                <a:gd name="connsiteX3" fmla="*/ 18242 w 31841"/>
                <a:gd name="connsiteY3" fmla="*/ 895 h 25416"/>
                <a:gd name="connsiteX4" fmla="*/ 15317 w 31841"/>
                <a:gd name="connsiteY4" fmla="*/ 2421 h 25416"/>
                <a:gd name="connsiteX5" fmla="*/ 10994 w 31841"/>
                <a:gd name="connsiteY5" fmla="*/ 4582 h 25416"/>
                <a:gd name="connsiteX6" fmla="*/ 5145 w 31841"/>
                <a:gd name="connsiteY6" fmla="*/ 7506 h 25416"/>
                <a:gd name="connsiteX7" fmla="*/ 950 w 31841"/>
                <a:gd name="connsiteY7" fmla="*/ 20218 h 25416"/>
                <a:gd name="connsiteX8" fmla="*/ 12538 w 31841"/>
                <a:gd name="connsiteY8" fmla="*/ 24655 h 25416"/>
                <a:gd name="connsiteX9" fmla="*/ 12774 w 31841"/>
                <a:gd name="connsiteY9" fmla="*/ 24540 h 25416"/>
                <a:gd name="connsiteX10" fmla="*/ 26760 w 31841"/>
                <a:gd name="connsiteY10" fmla="*/ 17676 h 25416"/>
                <a:gd name="connsiteX11" fmla="*/ 30956 w 31841"/>
                <a:gd name="connsiteY11" fmla="*/ 5345 h 2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41" h="25416">
                  <a:moveTo>
                    <a:pt x="30956" y="5345"/>
                  </a:moveTo>
                  <a:cubicBezTo>
                    <a:pt x="29201" y="984"/>
                    <a:pt x="24240" y="-1138"/>
                    <a:pt x="19875" y="616"/>
                  </a:cubicBezTo>
                  <a:cubicBezTo>
                    <a:pt x="19666" y="705"/>
                    <a:pt x="19460" y="794"/>
                    <a:pt x="19259" y="895"/>
                  </a:cubicBezTo>
                  <a:lnTo>
                    <a:pt x="18242" y="895"/>
                  </a:lnTo>
                  <a:lnTo>
                    <a:pt x="15317" y="2421"/>
                  </a:lnTo>
                  <a:lnTo>
                    <a:pt x="10994" y="4582"/>
                  </a:lnTo>
                  <a:lnTo>
                    <a:pt x="5145" y="7506"/>
                  </a:lnTo>
                  <a:cubicBezTo>
                    <a:pt x="562" y="9934"/>
                    <a:pt x="-1290" y="15540"/>
                    <a:pt x="950" y="20218"/>
                  </a:cubicBezTo>
                  <a:cubicBezTo>
                    <a:pt x="2925" y="24642"/>
                    <a:pt x="8114" y="26625"/>
                    <a:pt x="12538" y="24655"/>
                  </a:cubicBezTo>
                  <a:cubicBezTo>
                    <a:pt x="12617" y="24617"/>
                    <a:pt x="12696" y="24578"/>
                    <a:pt x="12774" y="24540"/>
                  </a:cubicBezTo>
                  <a:lnTo>
                    <a:pt x="26760" y="17676"/>
                  </a:lnTo>
                  <a:cubicBezTo>
                    <a:pt x="31239" y="15349"/>
                    <a:pt x="33090" y="9921"/>
                    <a:pt x="30956" y="5345"/>
                  </a:cubicBezTo>
                  <a:close/>
                </a:path>
              </a:pathLst>
            </a:custGeom>
            <a:solidFill>
              <a:srgbClr val="000000"/>
            </a:solidFill>
            <a:ln w="12685"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8C2F4A39-7218-4F8A-A343-19F107B67CC0}"/>
                </a:ext>
              </a:extLst>
            </p:cNvPr>
            <p:cNvSpPr/>
            <p:nvPr/>
          </p:nvSpPr>
          <p:spPr>
            <a:xfrm>
              <a:off x="733254" y="3453749"/>
              <a:ext cx="239302" cy="242311"/>
            </a:xfrm>
            <a:custGeom>
              <a:avLst/>
              <a:gdLst>
                <a:gd name="connsiteX0" fmla="*/ 236874 w 239302"/>
                <a:gd name="connsiteY0" fmla="*/ 239501 h 242311"/>
                <a:gd name="connsiteX1" fmla="*/ 236874 w 239302"/>
                <a:gd name="connsiteY1" fmla="*/ 226789 h 242311"/>
                <a:gd name="connsiteX2" fmla="*/ 233060 w 239302"/>
                <a:gd name="connsiteY2" fmla="*/ 222340 h 242311"/>
                <a:gd name="connsiteX3" fmla="*/ 230008 w 239302"/>
                <a:gd name="connsiteY3" fmla="*/ 219289 h 242311"/>
                <a:gd name="connsiteX4" fmla="*/ 12715 w 239302"/>
                <a:gd name="connsiteY4" fmla="*/ 0 h 242311"/>
                <a:gd name="connsiteX5" fmla="*/ 12715 w 239302"/>
                <a:gd name="connsiteY5" fmla="*/ 12712 h 242311"/>
                <a:gd name="connsiteX6" fmla="*/ 687 w 239302"/>
                <a:gd name="connsiteY6" fmla="*/ 13399 h 242311"/>
                <a:gd name="connsiteX7" fmla="*/ 0 w 239302"/>
                <a:gd name="connsiteY7" fmla="*/ 12712 h 242311"/>
                <a:gd name="connsiteX8" fmla="*/ 223905 w 239302"/>
                <a:gd name="connsiteY8" fmla="*/ 239120 h 242311"/>
                <a:gd name="connsiteX9" fmla="*/ 235880 w 239302"/>
                <a:gd name="connsiteY9" fmla="*/ 240442 h 242311"/>
                <a:gd name="connsiteX10" fmla="*/ 236874 w 239302"/>
                <a:gd name="connsiteY10" fmla="*/ 239501 h 2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302" h="242311">
                  <a:moveTo>
                    <a:pt x="236874" y="239501"/>
                  </a:moveTo>
                  <a:cubicBezTo>
                    <a:pt x="240111" y="235878"/>
                    <a:pt x="240111" y="230412"/>
                    <a:pt x="236874" y="226789"/>
                  </a:cubicBezTo>
                  <a:lnTo>
                    <a:pt x="233060" y="222340"/>
                  </a:lnTo>
                  <a:lnTo>
                    <a:pt x="230008" y="219289"/>
                  </a:lnTo>
                  <a:lnTo>
                    <a:pt x="12715" y="0"/>
                  </a:lnTo>
                  <a:cubicBezTo>
                    <a:pt x="15952" y="3623"/>
                    <a:pt x="15952" y="9089"/>
                    <a:pt x="12715" y="12712"/>
                  </a:cubicBezTo>
                  <a:cubicBezTo>
                    <a:pt x="9583" y="16221"/>
                    <a:pt x="4198" y="16526"/>
                    <a:pt x="687" y="13399"/>
                  </a:cubicBezTo>
                  <a:cubicBezTo>
                    <a:pt x="445" y="13183"/>
                    <a:pt x="216" y="12954"/>
                    <a:pt x="0" y="12712"/>
                  </a:cubicBezTo>
                  <a:lnTo>
                    <a:pt x="223905" y="239120"/>
                  </a:lnTo>
                  <a:cubicBezTo>
                    <a:pt x="226847" y="242794"/>
                    <a:pt x="232209" y="243379"/>
                    <a:pt x="235880" y="240442"/>
                  </a:cubicBezTo>
                  <a:cubicBezTo>
                    <a:pt x="236236" y="240150"/>
                    <a:pt x="236569" y="239845"/>
                    <a:pt x="236874" y="239501"/>
                  </a:cubicBezTo>
                  <a:close/>
                </a:path>
              </a:pathLst>
            </a:custGeom>
            <a:solidFill>
              <a:srgbClr val="000000"/>
            </a:solidFill>
            <a:ln w="12685" cap="flat">
              <a:no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5BD58FF6-FD41-4E5A-8995-2ED27F6C1B39}"/>
                </a:ext>
              </a:extLst>
            </p:cNvPr>
            <p:cNvSpPr/>
            <p:nvPr/>
          </p:nvSpPr>
          <p:spPr>
            <a:xfrm>
              <a:off x="517823" y="3240689"/>
              <a:ext cx="44" cy="1906"/>
            </a:xfrm>
            <a:custGeom>
              <a:avLst/>
              <a:gdLst>
                <a:gd name="connsiteX0" fmla="*/ 45 w 44"/>
                <a:gd name="connsiteY0" fmla="*/ 254 h 1906"/>
                <a:gd name="connsiteX1" fmla="*/ 45 w 44"/>
                <a:gd name="connsiteY1" fmla="*/ 254 h 1906"/>
                <a:gd name="connsiteX2" fmla="*/ 45 w 44"/>
                <a:gd name="connsiteY2" fmla="*/ 1907 h 1906"/>
                <a:gd name="connsiteX3" fmla="*/ 45 w 44"/>
                <a:gd name="connsiteY3" fmla="*/ 0 h 1906"/>
              </a:gdLst>
              <a:ahLst/>
              <a:cxnLst>
                <a:cxn ang="0">
                  <a:pos x="connsiteX0" y="connsiteY0"/>
                </a:cxn>
                <a:cxn ang="0">
                  <a:pos x="connsiteX1" y="connsiteY1"/>
                </a:cxn>
                <a:cxn ang="0">
                  <a:pos x="connsiteX2" y="connsiteY2"/>
                </a:cxn>
                <a:cxn ang="0">
                  <a:pos x="connsiteX3" y="connsiteY3"/>
                </a:cxn>
              </a:cxnLst>
              <a:rect l="l" t="t" r="r" b="b"/>
              <a:pathLst>
                <a:path w="44" h="1906">
                  <a:moveTo>
                    <a:pt x="45" y="254"/>
                  </a:moveTo>
                  <a:lnTo>
                    <a:pt x="45" y="254"/>
                  </a:lnTo>
                  <a:cubicBezTo>
                    <a:pt x="45" y="254"/>
                    <a:pt x="45" y="1398"/>
                    <a:pt x="45" y="1907"/>
                  </a:cubicBezTo>
                  <a:cubicBezTo>
                    <a:pt x="-15" y="1271"/>
                    <a:pt x="-15" y="636"/>
                    <a:pt x="45" y="0"/>
                  </a:cubicBezTo>
                  <a:close/>
                </a:path>
              </a:pathLst>
            </a:custGeom>
            <a:solidFill>
              <a:srgbClr val="000000"/>
            </a:solidFill>
            <a:ln w="12685"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8945F3C9-7279-450A-B5A5-1DF733C5FE3D}"/>
                </a:ext>
              </a:extLst>
            </p:cNvPr>
            <p:cNvSpPr/>
            <p:nvPr/>
          </p:nvSpPr>
          <p:spPr>
            <a:xfrm>
              <a:off x="519139" y="3237638"/>
              <a:ext cx="762" cy="1271"/>
            </a:xfrm>
            <a:custGeom>
              <a:avLst/>
              <a:gdLst>
                <a:gd name="connsiteX0" fmla="*/ 636 w 762"/>
                <a:gd name="connsiteY0" fmla="*/ 127 h 1271"/>
                <a:gd name="connsiteX1" fmla="*/ 0 w 762"/>
                <a:gd name="connsiteY1" fmla="*/ 1271 h 1271"/>
                <a:gd name="connsiteX2" fmla="*/ 763 w 762"/>
                <a:gd name="connsiteY2" fmla="*/ 0 h 1271"/>
              </a:gdLst>
              <a:ahLst/>
              <a:cxnLst>
                <a:cxn ang="0">
                  <a:pos x="connsiteX0" y="connsiteY0"/>
                </a:cxn>
                <a:cxn ang="0">
                  <a:pos x="connsiteX1" y="connsiteY1"/>
                </a:cxn>
                <a:cxn ang="0">
                  <a:pos x="connsiteX2" y="connsiteY2"/>
                </a:cxn>
              </a:cxnLst>
              <a:rect l="l" t="t" r="r" b="b"/>
              <a:pathLst>
                <a:path w="762" h="1271">
                  <a:moveTo>
                    <a:pt x="636" y="127"/>
                  </a:moveTo>
                  <a:lnTo>
                    <a:pt x="0" y="1271"/>
                  </a:lnTo>
                  <a:lnTo>
                    <a:pt x="763" y="0"/>
                  </a:lnTo>
                  <a:close/>
                </a:path>
              </a:pathLst>
            </a:custGeom>
            <a:solidFill>
              <a:srgbClr val="000000"/>
            </a:solidFill>
            <a:ln w="12685"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9BA3D2FE-452A-4BE6-899B-0CEC1F003146}"/>
                </a:ext>
              </a:extLst>
            </p:cNvPr>
            <p:cNvSpPr/>
            <p:nvPr/>
          </p:nvSpPr>
          <p:spPr>
            <a:xfrm>
              <a:off x="527658" y="3235556"/>
              <a:ext cx="1907" cy="47"/>
            </a:xfrm>
            <a:custGeom>
              <a:avLst/>
              <a:gdLst>
                <a:gd name="connsiteX0" fmla="*/ 1653 w 1907"/>
                <a:gd name="connsiteY0" fmla="*/ 48 h 47"/>
                <a:gd name="connsiteX1" fmla="*/ 0 w 1907"/>
                <a:gd name="connsiteY1" fmla="*/ 48 h 47"/>
                <a:gd name="connsiteX2" fmla="*/ 1907 w 1907"/>
                <a:gd name="connsiteY2" fmla="*/ 48 h 47"/>
              </a:gdLst>
              <a:ahLst/>
              <a:cxnLst>
                <a:cxn ang="0">
                  <a:pos x="connsiteX0" y="connsiteY0"/>
                </a:cxn>
                <a:cxn ang="0">
                  <a:pos x="connsiteX1" y="connsiteY1"/>
                </a:cxn>
                <a:cxn ang="0">
                  <a:pos x="connsiteX2" y="connsiteY2"/>
                </a:cxn>
              </a:cxnLst>
              <a:rect l="l" t="t" r="r" b="b"/>
              <a:pathLst>
                <a:path w="1907" h="47">
                  <a:moveTo>
                    <a:pt x="1653" y="48"/>
                  </a:moveTo>
                  <a:cubicBezTo>
                    <a:pt x="1104" y="-16"/>
                    <a:pt x="549" y="-16"/>
                    <a:pt x="0" y="48"/>
                  </a:cubicBezTo>
                  <a:lnTo>
                    <a:pt x="1907" y="48"/>
                  </a:lnTo>
                  <a:close/>
                </a:path>
              </a:pathLst>
            </a:custGeom>
            <a:solidFill>
              <a:srgbClr val="000000"/>
            </a:solidFill>
            <a:ln w="12685"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026789A4-ADF0-4DCC-BB26-669C6233D5F4}"/>
                </a:ext>
              </a:extLst>
            </p:cNvPr>
            <p:cNvSpPr/>
            <p:nvPr/>
          </p:nvSpPr>
          <p:spPr>
            <a:xfrm>
              <a:off x="531091" y="3237256"/>
              <a:ext cx="217559" cy="232439"/>
            </a:xfrm>
            <a:custGeom>
              <a:avLst/>
              <a:gdLst>
                <a:gd name="connsiteX0" fmla="*/ 215132 w 217559"/>
                <a:gd name="connsiteY0" fmla="*/ 229586 h 232439"/>
                <a:gd name="connsiteX1" fmla="*/ 215132 w 217559"/>
                <a:gd name="connsiteY1" fmla="*/ 216874 h 232439"/>
                <a:gd name="connsiteX2" fmla="*/ 211063 w 217559"/>
                <a:gd name="connsiteY2" fmla="*/ 212678 h 232439"/>
                <a:gd name="connsiteX3" fmla="*/ 208012 w 217559"/>
                <a:gd name="connsiteY3" fmla="*/ 209627 h 232439"/>
                <a:gd name="connsiteX4" fmla="*/ 10680 w 217559"/>
                <a:gd name="connsiteY4" fmla="*/ 10424 h 232439"/>
                <a:gd name="connsiteX5" fmla="*/ 1144 w 217559"/>
                <a:gd name="connsiteY5" fmla="*/ 763 h 232439"/>
                <a:gd name="connsiteX6" fmla="*/ 0 w 217559"/>
                <a:gd name="connsiteY6" fmla="*/ 0 h 232439"/>
                <a:gd name="connsiteX7" fmla="*/ 3814 w 217559"/>
                <a:gd name="connsiteY7" fmla="*/ 7755 h 232439"/>
                <a:gd name="connsiteX8" fmla="*/ 3814 w 217559"/>
                <a:gd name="connsiteY8" fmla="*/ 28730 h 232439"/>
                <a:gd name="connsiteX9" fmla="*/ 203180 w 217559"/>
                <a:gd name="connsiteY9" fmla="*/ 230349 h 232439"/>
                <a:gd name="connsiteX10" fmla="*/ 215132 w 217559"/>
                <a:gd name="connsiteY10" fmla="*/ 229586 h 2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559" h="232439">
                  <a:moveTo>
                    <a:pt x="215132" y="229586"/>
                  </a:moveTo>
                  <a:cubicBezTo>
                    <a:pt x="218369" y="225963"/>
                    <a:pt x="218369" y="220496"/>
                    <a:pt x="215132" y="216874"/>
                  </a:cubicBezTo>
                  <a:lnTo>
                    <a:pt x="211063" y="212678"/>
                  </a:lnTo>
                  <a:lnTo>
                    <a:pt x="208012" y="209627"/>
                  </a:lnTo>
                  <a:lnTo>
                    <a:pt x="10680" y="10424"/>
                  </a:lnTo>
                  <a:lnTo>
                    <a:pt x="1144" y="763"/>
                  </a:lnTo>
                  <a:lnTo>
                    <a:pt x="0" y="0"/>
                  </a:lnTo>
                  <a:cubicBezTo>
                    <a:pt x="2488" y="1780"/>
                    <a:pt x="3920" y="4691"/>
                    <a:pt x="3814" y="7755"/>
                  </a:cubicBezTo>
                  <a:lnTo>
                    <a:pt x="3814" y="28730"/>
                  </a:lnTo>
                  <a:lnTo>
                    <a:pt x="203180" y="230349"/>
                  </a:lnTo>
                  <a:cubicBezTo>
                    <a:pt x="206701" y="233412"/>
                    <a:pt x="212030" y="233069"/>
                    <a:pt x="215132" y="229586"/>
                  </a:cubicBezTo>
                  <a:close/>
                </a:path>
              </a:pathLst>
            </a:custGeom>
            <a:solidFill>
              <a:srgbClr val="000000"/>
            </a:solidFill>
            <a:ln w="12685"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23892042-6536-436E-A117-3A27801A595E}"/>
                </a:ext>
              </a:extLst>
            </p:cNvPr>
            <p:cNvSpPr/>
            <p:nvPr/>
          </p:nvSpPr>
          <p:spPr>
            <a:xfrm>
              <a:off x="514052" y="3235731"/>
              <a:ext cx="19968" cy="120386"/>
            </a:xfrm>
            <a:custGeom>
              <a:avLst/>
              <a:gdLst>
                <a:gd name="connsiteX0" fmla="*/ 9028 w 19968"/>
                <a:gd name="connsiteY0" fmla="*/ 110852 h 120386"/>
                <a:gd name="connsiteX1" fmla="*/ 17548 w 19968"/>
                <a:gd name="connsiteY1" fmla="*/ 120361 h 120386"/>
                <a:gd name="connsiteX2" fmla="*/ 17547 w 19968"/>
                <a:gd name="connsiteY2" fmla="*/ 120386 h 120386"/>
                <a:gd name="connsiteX3" fmla="*/ 19963 w 19968"/>
                <a:gd name="connsiteY3" fmla="*/ 29747 h 120386"/>
                <a:gd name="connsiteX4" fmla="*/ 19963 w 19968"/>
                <a:gd name="connsiteY4" fmla="*/ 8772 h 120386"/>
                <a:gd name="connsiteX5" fmla="*/ 16149 w 19968"/>
                <a:gd name="connsiteY5" fmla="*/ 1017 h 120386"/>
                <a:gd name="connsiteX6" fmla="*/ 14623 w 19968"/>
                <a:gd name="connsiteY6" fmla="*/ 0 h 120386"/>
                <a:gd name="connsiteX7" fmla="*/ 12716 w 19968"/>
                <a:gd name="connsiteY7" fmla="*/ 0 h 120386"/>
                <a:gd name="connsiteX8" fmla="*/ 11444 w 19968"/>
                <a:gd name="connsiteY8" fmla="*/ 0 h 120386"/>
                <a:gd name="connsiteX9" fmla="*/ 11444 w 19968"/>
                <a:gd name="connsiteY9" fmla="*/ 0 h 120386"/>
                <a:gd name="connsiteX10" fmla="*/ 9537 w 19968"/>
                <a:gd name="connsiteY10" fmla="*/ 0 h 120386"/>
                <a:gd name="connsiteX11" fmla="*/ 8138 w 19968"/>
                <a:gd name="connsiteY11" fmla="*/ 0 h 120386"/>
                <a:gd name="connsiteX12" fmla="*/ 6867 w 19968"/>
                <a:gd name="connsiteY12" fmla="*/ 890 h 120386"/>
                <a:gd name="connsiteX13" fmla="*/ 5214 w 19968"/>
                <a:gd name="connsiteY13" fmla="*/ 2034 h 120386"/>
                <a:gd name="connsiteX14" fmla="*/ 4451 w 19968"/>
                <a:gd name="connsiteY14" fmla="*/ 3305 h 120386"/>
                <a:gd name="connsiteX15" fmla="*/ 3307 w 19968"/>
                <a:gd name="connsiteY15" fmla="*/ 5085 h 120386"/>
                <a:gd name="connsiteX16" fmla="*/ 3307 w 19968"/>
                <a:gd name="connsiteY16" fmla="*/ 6992 h 120386"/>
                <a:gd name="connsiteX17" fmla="*/ 3307 w 19968"/>
                <a:gd name="connsiteY17" fmla="*/ 8390 h 120386"/>
                <a:gd name="connsiteX18" fmla="*/ 1 w 19968"/>
                <a:gd name="connsiteY18" fmla="*/ 119878 h 120386"/>
                <a:gd name="connsiteX19" fmla="*/ 8773 w 19968"/>
                <a:gd name="connsiteY19" fmla="*/ 110852 h 120386"/>
                <a:gd name="connsiteX20" fmla="*/ 9028 w 19968"/>
                <a:gd name="connsiteY20" fmla="*/ 110852 h 12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968" h="120386">
                  <a:moveTo>
                    <a:pt x="9028" y="110852"/>
                  </a:moveTo>
                  <a:cubicBezTo>
                    <a:pt x="14006" y="111119"/>
                    <a:pt x="17822" y="115378"/>
                    <a:pt x="17548" y="120361"/>
                  </a:cubicBezTo>
                  <a:cubicBezTo>
                    <a:pt x="17548" y="120374"/>
                    <a:pt x="17547" y="120374"/>
                    <a:pt x="17547" y="120386"/>
                  </a:cubicBezTo>
                  <a:lnTo>
                    <a:pt x="19963" y="29747"/>
                  </a:lnTo>
                  <a:lnTo>
                    <a:pt x="19963" y="8772"/>
                  </a:lnTo>
                  <a:cubicBezTo>
                    <a:pt x="20069" y="5708"/>
                    <a:pt x="18637" y="2797"/>
                    <a:pt x="16149" y="1017"/>
                  </a:cubicBezTo>
                  <a:lnTo>
                    <a:pt x="14623" y="0"/>
                  </a:lnTo>
                  <a:lnTo>
                    <a:pt x="12716" y="0"/>
                  </a:lnTo>
                  <a:lnTo>
                    <a:pt x="11444" y="0"/>
                  </a:lnTo>
                  <a:lnTo>
                    <a:pt x="11444" y="0"/>
                  </a:lnTo>
                  <a:lnTo>
                    <a:pt x="9537" y="0"/>
                  </a:lnTo>
                  <a:lnTo>
                    <a:pt x="8138" y="0"/>
                  </a:lnTo>
                  <a:lnTo>
                    <a:pt x="6867" y="890"/>
                  </a:lnTo>
                  <a:cubicBezTo>
                    <a:pt x="6287" y="1233"/>
                    <a:pt x="5734" y="1614"/>
                    <a:pt x="5214" y="2034"/>
                  </a:cubicBezTo>
                  <a:lnTo>
                    <a:pt x="4451" y="3305"/>
                  </a:lnTo>
                  <a:cubicBezTo>
                    <a:pt x="4025" y="3865"/>
                    <a:pt x="3642" y="4462"/>
                    <a:pt x="3307" y="5085"/>
                  </a:cubicBezTo>
                  <a:cubicBezTo>
                    <a:pt x="3247" y="5721"/>
                    <a:pt x="3247" y="6356"/>
                    <a:pt x="3307" y="6992"/>
                  </a:cubicBezTo>
                  <a:cubicBezTo>
                    <a:pt x="3247" y="7462"/>
                    <a:pt x="3247" y="7920"/>
                    <a:pt x="3307" y="8390"/>
                  </a:cubicBezTo>
                  <a:lnTo>
                    <a:pt x="1" y="119878"/>
                  </a:lnTo>
                  <a:cubicBezTo>
                    <a:pt x="-70" y="114958"/>
                    <a:pt x="3857" y="110928"/>
                    <a:pt x="8773" y="110852"/>
                  </a:cubicBezTo>
                  <a:cubicBezTo>
                    <a:pt x="8858" y="110852"/>
                    <a:pt x="8943" y="110852"/>
                    <a:pt x="9028" y="110852"/>
                  </a:cubicBezTo>
                  <a:close/>
                </a:path>
              </a:pathLst>
            </a:custGeom>
            <a:solidFill>
              <a:srgbClr val="000000"/>
            </a:solidFill>
            <a:ln w="12685"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97745C17-EF89-4055-B383-FB277ABD81E2}"/>
                </a:ext>
              </a:extLst>
            </p:cNvPr>
            <p:cNvSpPr/>
            <p:nvPr/>
          </p:nvSpPr>
          <p:spPr>
            <a:xfrm>
              <a:off x="512390" y="3346582"/>
              <a:ext cx="19225" cy="87843"/>
            </a:xfrm>
            <a:custGeom>
              <a:avLst/>
              <a:gdLst>
                <a:gd name="connsiteX0" fmla="*/ 8148 w 19225"/>
                <a:gd name="connsiteY0" fmla="*/ 87844 h 87843"/>
                <a:gd name="connsiteX1" fmla="*/ 17175 w 19225"/>
                <a:gd name="connsiteY1" fmla="*/ 78818 h 87843"/>
                <a:gd name="connsiteX2" fmla="*/ 19210 w 19225"/>
                <a:gd name="connsiteY2" fmla="*/ 9535 h 87843"/>
                <a:gd name="connsiteX3" fmla="*/ 10720 w 19225"/>
                <a:gd name="connsiteY3" fmla="*/ 1 h 87843"/>
                <a:gd name="connsiteX4" fmla="*/ 10691 w 19225"/>
                <a:gd name="connsiteY4" fmla="*/ 1 h 87843"/>
                <a:gd name="connsiteX5" fmla="*/ 1665 w 19225"/>
                <a:gd name="connsiteY5" fmla="*/ 8773 h 87843"/>
                <a:gd name="connsiteX6" fmla="*/ 1663 w 19225"/>
                <a:gd name="connsiteY6" fmla="*/ 8900 h 87843"/>
                <a:gd name="connsiteX7" fmla="*/ 1663 w 19225"/>
                <a:gd name="connsiteY7" fmla="*/ 15256 h 87843"/>
                <a:gd name="connsiteX8" fmla="*/ 11 w 19225"/>
                <a:gd name="connsiteY8" fmla="*/ 72462 h 87843"/>
                <a:gd name="connsiteX9" fmla="*/ 11 w 19225"/>
                <a:gd name="connsiteY9" fmla="*/ 78309 h 87843"/>
                <a:gd name="connsiteX10" fmla="*/ 8148 w 19225"/>
                <a:gd name="connsiteY10" fmla="*/ 87844 h 8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25" h="87843">
                  <a:moveTo>
                    <a:pt x="8148" y="87844"/>
                  </a:moveTo>
                  <a:cubicBezTo>
                    <a:pt x="13133" y="87844"/>
                    <a:pt x="17175" y="83801"/>
                    <a:pt x="17175" y="78818"/>
                  </a:cubicBezTo>
                  <a:lnTo>
                    <a:pt x="19210" y="9535"/>
                  </a:lnTo>
                  <a:cubicBezTo>
                    <a:pt x="19498" y="4565"/>
                    <a:pt x="15697" y="293"/>
                    <a:pt x="10720" y="1"/>
                  </a:cubicBezTo>
                  <a:cubicBezTo>
                    <a:pt x="10710" y="1"/>
                    <a:pt x="10701" y="1"/>
                    <a:pt x="10691" y="1"/>
                  </a:cubicBezTo>
                  <a:cubicBezTo>
                    <a:pt x="5775" y="-75"/>
                    <a:pt x="1735" y="3853"/>
                    <a:pt x="1665" y="8773"/>
                  </a:cubicBezTo>
                  <a:cubicBezTo>
                    <a:pt x="1663" y="8811"/>
                    <a:pt x="1663" y="8862"/>
                    <a:pt x="1663" y="8900"/>
                  </a:cubicBezTo>
                  <a:lnTo>
                    <a:pt x="1663" y="15256"/>
                  </a:lnTo>
                  <a:lnTo>
                    <a:pt x="11" y="72462"/>
                  </a:lnTo>
                  <a:lnTo>
                    <a:pt x="11" y="78309"/>
                  </a:lnTo>
                  <a:cubicBezTo>
                    <a:pt x="-220" y="83140"/>
                    <a:pt x="3343" y="87310"/>
                    <a:pt x="8148" y="87844"/>
                  </a:cubicBezTo>
                  <a:close/>
                </a:path>
              </a:pathLst>
            </a:custGeom>
            <a:solidFill>
              <a:srgbClr val="000000"/>
            </a:solidFill>
            <a:ln w="12685"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7936054B-05EA-4235-92BA-2379DE8D3AAD}"/>
                </a:ext>
              </a:extLst>
            </p:cNvPr>
            <p:cNvSpPr/>
            <p:nvPr/>
          </p:nvSpPr>
          <p:spPr>
            <a:xfrm>
              <a:off x="750037" y="3108550"/>
              <a:ext cx="21796" cy="21541"/>
            </a:xfrm>
            <a:custGeom>
              <a:avLst/>
              <a:gdLst>
                <a:gd name="connsiteX0" fmla="*/ 10807 w 21796"/>
                <a:gd name="connsiteY0" fmla="*/ 8829 h 21541"/>
                <a:gd name="connsiteX1" fmla="*/ 6802 w 21796"/>
                <a:gd name="connsiteY1" fmla="*/ 21325 h 21541"/>
                <a:gd name="connsiteX2" fmla="*/ 6357 w 21796"/>
                <a:gd name="connsiteY2" fmla="*/ 21541 h 21541"/>
                <a:gd name="connsiteX3" fmla="*/ 6357 w 21796"/>
                <a:gd name="connsiteY3" fmla="*/ 21541 h 21541"/>
                <a:gd name="connsiteX4" fmla="*/ 16529 w 21796"/>
                <a:gd name="connsiteY4" fmla="*/ 16710 h 21541"/>
                <a:gd name="connsiteX5" fmla="*/ 17673 w 21796"/>
                <a:gd name="connsiteY5" fmla="*/ 15821 h 21541"/>
                <a:gd name="connsiteX6" fmla="*/ 21742 w 21796"/>
                <a:gd name="connsiteY6" fmla="*/ 8320 h 21541"/>
                <a:gd name="connsiteX7" fmla="*/ 21742 w 21796"/>
                <a:gd name="connsiteY7" fmla="*/ 6541 h 21541"/>
                <a:gd name="connsiteX8" fmla="*/ 21742 w 21796"/>
                <a:gd name="connsiteY8" fmla="*/ 4761 h 21541"/>
                <a:gd name="connsiteX9" fmla="*/ 21742 w 21796"/>
                <a:gd name="connsiteY9" fmla="*/ 4761 h 21541"/>
                <a:gd name="connsiteX10" fmla="*/ 20979 w 21796"/>
                <a:gd name="connsiteY10" fmla="*/ 3617 h 21541"/>
                <a:gd name="connsiteX11" fmla="*/ 19835 w 21796"/>
                <a:gd name="connsiteY11" fmla="*/ 1964 h 21541"/>
                <a:gd name="connsiteX12" fmla="*/ 18563 w 21796"/>
                <a:gd name="connsiteY12" fmla="*/ 947 h 21541"/>
                <a:gd name="connsiteX13" fmla="*/ 17038 w 21796"/>
                <a:gd name="connsiteY13" fmla="*/ 57 h 21541"/>
                <a:gd name="connsiteX14" fmla="*/ 15512 w 21796"/>
                <a:gd name="connsiteY14" fmla="*/ 57 h 21541"/>
                <a:gd name="connsiteX15" fmla="*/ 15512 w 21796"/>
                <a:gd name="connsiteY15" fmla="*/ 57 h 21541"/>
                <a:gd name="connsiteX16" fmla="*/ 13986 w 21796"/>
                <a:gd name="connsiteY16" fmla="*/ 57 h 21541"/>
                <a:gd name="connsiteX17" fmla="*/ 12333 w 21796"/>
                <a:gd name="connsiteY17" fmla="*/ 57 h 21541"/>
                <a:gd name="connsiteX18" fmla="*/ 10553 w 21796"/>
                <a:gd name="connsiteY18" fmla="*/ 57 h 21541"/>
                <a:gd name="connsiteX19" fmla="*/ 10553 w 21796"/>
                <a:gd name="connsiteY19" fmla="*/ 57 h 21541"/>
                <a:gd name="connsiteX20" fmla="*/ 0 w 21796"/>
                <a:gd name="connsiteY20" fmla="*/ 4888 h 21541"/>
                <a:gd name="connsiteX21" fmla="*/ 0 w 21796"/>
                <a:gd name="connsiteY21" fmla="*/ 4888 h 21541"/>
                <a:gd name="connsiteX22" fmla="*/ 10807 w 21796"/>
                <a:gd name="connsiteY22" fmla="*/ 8829 h 2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796" h="21541">
                  <a:moveTo>
                    <a:pt x="10807" y="8829"/>
                  </a:moveTo>
                  <a:cubicBezTo>
                    <a:pt x="13153" y="13380"/>
                    <a:pt x="11361" y="18986"/>
                    <a:pt x="6802" y="21325"/>
                  </a:cubicBezTo>
                  <a:cubicBezTo>
                    <a:pt x="6656" y="21401"/>
                    <a:pt x="6507" y="21478"/>
                    <a:pt x="6357" y="21541"/>
                  </a:cubicBezTo>
                  <a:lnTo>
                    <a:pt x="6357" y="21541"/>
                  </a:lnTo>
                  <a:lnTo>
                    <a:pt x="16529" y="16710"/>
                  </a:lnTo>
                  <a:cubicBezTo>
                    <a:pt x="16963" y="16482"/>
                    <a:pt x="17350" y="16189"/>
                    <a:pt x="17673" y="15821"/>
                  </a:cubicBezTo>
                  <a:cubicBezTo>
                    <a:pt x="20218" y="14181"/>
                    <a:pt x="21751" y="11346"/>
                    <a:pt x="21742" y="8320"/>
                  </a:cubicBezTo>
                  <a:cubicBezTo>
                    <a:pt x="21795" y="7723"/>
                    <a:pt x="21795" y="7138"/>
                    <a:pt x="21742" y="6541"/>
                  </a:cubicBezTo>
                  <a:cubicBezTo>
                    <a:pt x="21815" y="5943"/>
                    <a:pt x="21815" y="5346"/>
                    <a:pt x="21742" y="4761"/>
                  </a:cubicBezTo>
                  <a:lnTo>
                    <a:pt x="21742" y="4761"/>
                  </a:lnTo>
                  <a:cubicBezTo>
                    <a:pt x="21518" y="4354"/>
                    <a:pt x="21263" y="3973"/>
                    <a:pt x="20979" y="3617"/>
                  </a:cubicBezTo>
                  <a:cubicBezTo>
                    <a:pt x="20642" y="3032"/>
                    <a:pt x="20260" y="2485"/>
                    <a:pt x="19835" y="1964"/>
                  </a:cubicBezTo>
                  <a:lnTo>
                    <a:pt x="18563" y="947"/>
                  </a:lnTo>
                  <a:lnTo>
                    <a:pt x="17038" y="57"/>
                  </a:lnTo>
                  <a:lnTo>
                    <a:pt x="15512" y="57"/>
                  </a:lnTo>
                  <a:lnTo>
                    <a:pt x="15512" y="57"/>
                  </a:lnTo>
                  <a:lnTo>
                    <a:pt x="13986" y="57"/>
                  </a:lnTo>
                  <a:lnTo>
                    <a:pt x="12333" y="57"/>
                  </a:lnTo>
                  <a:cubicBezTo>
                    <a:pt x="11742" y="-19"/>
                    <a:pt x="11144" y="-19"/>
                    <a:pt x="10553" y="57"/>
                  </a:cubicBezTo>
                  <a:lnTo>
                    <a:pt x="10553" y="57"/>
                  </a:lnTo>
                  <a:lnTo>
                    <a:pt x="0" y="4888"/>
                  </a:lnTo>
                  <a:lnTo>
                    <a:pt x="0" y="4888"/>
                  </a:lnTo>
                  <a:cubicBezTo>
                    <a:pt x="4080" y="3261"/>
                    <a:pt x="8729" y="4964"/>
                    <a:pt x="10807" y="8829"/>
                  </a:cubicBezTo>
                  <a:close/>
                </a:path>
              </a:pathLst>
            </a:custGeom>
            <a:solidFill>
              <a:srgbClr val="000000"/>
            </a:solidFill>
            <a:ln w="12685"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F9CB7C1C-8786-479A-9E8F-657D8D1BE6D3}"/>
                </a:ext>
              </a:extLst>
            </p:cNvPr>
            <p:cNvSpPr/>
            <p:nvPr/>
          </p:nvSpPr>
          <p:spPr>
            <a:xfrm>
              <a:off x="523029" y="3111303"/>
              <a:ext cx="238847" cy="121888"/>
            </a:xfrm>
            <a:custGeom>
              <a:avLst/>
              <a:gdLst>
                <a:gd name="connsiteX0" fmla="*/ 233366 w 238847"/>
                <a:gd name="connsiteY0" fmla="*/ 18279 h 121888"/>
                <a:gd name="connsiteX1" fmla="*/ 238031 w 238847"/>
                <a:gd name="connsiteY1" fmla="*/ 6012 h 121888"/>
                <a:gd name="connsiteX2" fmla="*/ 237816 w 238847"/>
                <a:gd name="connsiteY2" fmla="*/ 5567 h 121888"/>
                <a:gd name="connsiteX3" fmla="*/ 226659 w 238847"/>
                <a:gd name="connsiteY3" fmla="*/ 571 h 121888"/>
                <a:gd name="connsiteX4" fmla="*/ 226245 w 238847"/>
                <a:gd name="connsiteY4" fmla="*/ 736 h 121888"/>
                <a:gd name="connsiteX5" fmla="*/ 226245 w 238847"/>
                <a:gd name="connsiteY5" fmla="*/ 736 h 121888"/>
                <a:gd name="connsiteX6" fmla="*/ 5392 w 238847"/>
                <a:gd name="connsiteY6" fmla="*/ 103706 h 121888"/>
                <a:gd name="connsiteX7" fmla="*/ 942 w 238847"/>
                <a:gd name="connsiteY7" fmla="*/ 116419 h 121888"/>
                <a:gd name="connsiteX8" fmla="*/ 12376 w 238847"/>
                <a:gd name="connsiteY8" fmla="*/ 121237 h 121888"/>
                <a:gd name="connsiteX9" fmla="*/ 12639 w 238847"/>
                <a:gd name="connsiteY9" fmla="*/ 121123 h 121888"/>
                <a:gd name="connsiteX10" fmla="*/ 23955 w 238847"/>
                <a:gd name="connsiteY10" fmla="*/ 115783 h 12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847" h="121888">
                  <a:moveTo>
                    <a:pt x="233366" y="18279"/>
                  </a:moveTo>
                  <a:cubicBezTo>
                    <a:pt x="238042" y="16182"/>
                    <a:pt x="240130" y="10690"/>
                    <a:pt x="238031" y="6012"/>
                  </a:cubicBezTo>
                  <a:cubicBezTo>
                    <a:pt x="237962" y="5859"/>
                    <a:pt x="237891" y="5719"/>
                    <a:pt x="237816" y="5567"/>
                  </a:cubicBezTo>
                  <a:cubicBezTo>
                    <a:pt x="236116" y="1105"/>
                    <a:pt x="231120" y="-1133"/>
                    <a:pt x="226659" y="571"/>
                  </a:cubicBezTo>
                  <a:cubicBezTo>
                    <a:pt x="226519" y="622"/>
                    <a:pt x="226382" y="673"/>
                    <a:pt x="226245" y="736"/>
                  </a:cubicBezTo>
                  <a:lnTo>
                    <a:pt x="226245" y="736"/>
                  </a:lnTo>
                  <a:lnTo>
                    <a:pt x="5392" y="103706"/>
                  </a:lnTo>
                  <a:cubicBezTo>
                    <a:pt x="657" y="105995"/>
                    <a:pt x="-1334" y="111677"/>
                    <a:pt x="942" y="116419"/>
                  </a:cubicBezTo>
                  <a:cubicBezTo>
                    <a:pt x="2769" y="120906"/>
                    <a:pt x="7888" y="123068"/>
                    <a:pt x="12376" y="121237"/>
                  </a:cubicBezTo>
                  <a:cubicBezTo>
                    <a:pt x="12464" y="121199"/>
                    <a:pt x="12551" y="121161"/>
                    <a:pt x="12639" y="121123"/>
                  </a:cubicBezTo>
                  <a:lnTo>
                    <a:pt x="23955" y="115783"/>
                  </a:lnTo>
                  <a:close/>
                </a:path>
              </a:pathLst>
            </a:custGeom>
            <a:solidFill>
              <a:srgbClr val="000000"/>
            </a:solidFill>
            <a:ln w="12685"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F3BC9D90-74A4-43B7-8EFB-16F93ADA21AA}"/>
                </a:ext>
              </a:extLst>
            </p:cNvPr>
            <p:cNvSpPr/>
            <p:nvPr/>
          </p:nvSpPr>
          <p:spPr>
            <a:xfrm>
              <a:off x="2653277" y="3151321"/>
              <a:ext cx="49859" cy="36440"/>
            </a:xfrm>
            <a:custGeom>
              <a:avLst/>
              <a:gdLst>
                <a:gd name="connsiteX0" fmla="*/ 38162 w 49859"/>
                <a:gd name="connsiteY0" fmla="*/ 12712 h 36440"/>
                <a:gd name="connsiteX1" fmla="*/ 42027 w 49859"/>
                <a:gd name="connsiteY1" fmla="*/ 165 h 36440"/>
                <a:gd name="connsiteX2" fmla="*/ 42358 w 49859"/>
                <a:gd name="connsiteY2" fmla="*/ 0 h 36440"/>
                <a:gd name="connsiteX3" fmla="*/ 40196 w 49859"/>
                <a:gd name="connsiteY3" fmla="*/ 1017 h 36440"/>
                <a:gd name="connsiteX4" fmla="*/ 37145 w 49859"/>
                <a:gd name="connsiteY4" fmla="*/ 2542 h 36440"/>
                <a:gd name="connsiteX5" fmla="*/ 20361 w 49859"/>
                <a:gd name="connsiteY5" fmla="*/ 10933 h 36440"/>
                <a:gd name="connsiteX6" fmla="*/ 5231 w 49859"/>
                <a:gd name="connsiteY6" fmla="*/ 18433 h 36440"/>
                <a:gd name="connsiteX7" fmla="*/ 984 w 49859"/>
                <a:gd name="connsiteY7" fmla="*/ 31044 h 36440"/>
                <a:gd name="connsiteX8" fmla="*/ 1035 w 49859"/>
                <a:gd name="connsiteY8" fmla="*/ 31145 h 36440"/>
                <a:gd name="connsiteX9" fmla="*/ 12351 w 49859"/>
                <a:gd name="connsiteY9" fmla="*/ 35760 h 36440"/>
                <a:gd name="connsiteX10" fmla="*/ 12732 w 49859"/>
                <a:gd name="connsiteY10" fmla="*/ 35595 h 36440"/>
                <a:gd name="connsiteX11" fmla="*/ 49859 w 49859"/>
                <a:gd name="connsiteY11" fmla="*/ 17162 h 36440"/>
                <a:gd name="connsiteX12" fmla="*/ 38327 w 49859"/>
                <a:gd name="connsiteY12" fmla="*/ 13094 h 36440"/>
                <a:gd name="connsiteX13" fmla="*/ 38162 w 49859"/>
                <a:gd name="connsiteY13" fmla="*/ 12712 h 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59" h="36440">
                  <a:moveTo>
                    <a:pt x="38162" y="12712"/>
                  </a:moveTo>
                  <a:cubicBezTo>
                    <a:pt x="35759" y="8187"/>
                    <a:pt x="37488" y="2568"/>
                    <a:pt x="42027" y="165"/>
                  </a:cubicBezTo>
                  <a:cubicBezTo>
                    <a:pt x="42129" y="114"/>
                    <a:pt x="42243" y="51"/>
                    <a:pt x="42358" y="0"/>
                  </a:cubicBezTo>
                  <a:lnTo>
                    <a:pt x="40196" y="1017"/>
                  </a:lnTo>
                  <a:lnTo>
                    <a:pt x="37145" y="2542"/>
                  </a:lnTo>
                  <a:lnTo>
                    <a:pt x="20361" y="10933"/>
                  </a:lnTo>
                  <a:lnTo>
                    <a:pt x="5231" y="18433"/>
                  </a:lnTo>
                  <a:cubicBezTo>
                    <a:pt x="577" y="20747"/>
                    <a:pt x="-1330" y="26391"/>
                    <a:pt x="984" y="31044"/>
                  </a:cubicBezTo>
                  <a:cubicBezTo>
                    <a:pt x="997" y="31069"/>
                    <a:pt x="1022" y="31107"/>
                    <a:pt x="1035" y="31145"/>
                  </a:cubicBezTo>
                  <a:cubicBezTo>
                    <a:pt x="2891" y="35544"/>
                    <a:pt x="7952" y="37616"/>
                    <a:pt x="12351" y="35760"/>
                  </a:cubicBezTo>
                  <a:cubicBezTo>
                    <a:pt x="12478" y="35709"/>
                    <a:pt x="12605" y="35658"/>
                    <a:pt x="12732" y="35595"/>
                  </a:cubicBezTo>
                  <a:lnTo>
                    <a:pt x="49859" y="17162"/>
                  </a:lnTo>
                  <a:cubicBezTo>
                    <a:pt x="45549" y="19221"/>
                    <a:pt x="40387" y="17391"/>
                    <a:pt x="38327" y="13094"/>
                  </a:cubicBezTo>
                  <a:cubicBezTo>
                    <a:pt x="38276" y="12967"/>
                    <a:pt x="38213" y="12839"/>
                    <a:pt x="38162" y="12712"/>
                  </a:cubicBezTo>
                  <a:close/>
                </a:path>
              </a:pathLst>
            </a:custGeom>
            <a:solidFill>
              <a:srgbClr val="000000"/>
            </a:solidFill>
            <a:ln w="12685" cap="flat">
              <a:no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C5E59235-423A-45CA-9C7A-5C108568D355}"/>
                </a:ext>
              </a:extLst>
            </p:cNvPr>
            <p:cNvSpPr/>
            <p:nvPr/>
          </p:nvSpPr>
          <p:spPr>
            <a:xfrm>
              <a:off x="2690234" y="3125679"/>
              <a:ext cx="68244" cy="44031"/>
            </a:xfrm>
            <a:custGeom>
              <a:avLst/>
              <a:gdLst>
                <a:gd name="connsiteX0" fmla="*/ 67703 w 68244"/>
                <a:gd name="connsiteY0" fmla="*/ 5302 h 44031"/>
                <a:gd name="connsiteX1" fmla="*/ 56171 w 68244"/>
                <a:gd name="connsiteY1" fmla="*/ 713 h 44031"/>
                <a:gd name="connsiteX2" fmla="*/ 55878 w 68244"/>
                <a:gd name="connsiteY2" fmla="*/ 853 h 44031"/>
                <a:gd name="connsiteX3" fmla="*/ 51682 w 68244"/>
                <a:gd name="connsiteY3" fmla="*/ 3014 h 44031"/>
                <a:gd name="connsiteX4" fmla="*/ 5274 w 68244"/>
                <a:gd name="connsiteY4" fmla="*/ 26024 h 44031"/>
                <a:gd name="connsiteX5" fmla="*/ 913 w 68244"/>
                <a:gd name="connsiteY5" fmla="*/ 38405 h 44031"/>
                <a:gd name="connsiteX6" fmla="*/ 1078 w 68244"/>
                <a:gd name="connsiteY6" fmla="*/ 38736 h 44031"/>
                <a:gd name="connsiteX7" fmla="*/ 12394 w 68244"/>
                <a:gd name="connsiteY7" fmla="*/ 43351 h 44031"/>
                <a:gd name="connsiteX8" fmla="*/ 12776 w 68244"/>
                <a:gd name="connsiteY8" fmla="*/ 43185 h 44031"/>
                <a:gd name="connsiteX9" fmla="*/ 56133 w 68244"/>
                <a:gd name="connsiteY9" fmla="*/ 21701 h 44031"/>
                <a:gd name="connsiteX10" fmla="*/ 59566 w 68244"/>
                <a:gd name="connsiteY10" fmla="*/ 19922 h 44031"/>
                <a:gd name="connsiteX11" fmla="*/ 63380 w 68244"/>
                <a:gd name="connsiteY11" fmla="*/ 18015 h 44031"/>
                <a:gd name="connsiteX12" fmla="*/ 63380 w 68244"/>
                <a:gd name="connsiteY12" fmla="*/ 18015 h 44031"/>
                <a:gd name="connsiteX13" fmla="*/ 64906 w 68244"/>
                <a:gd name="connsiteY13" fmla="*/ 16871 h 44031"/>
                <a:gd name="connsiteX14" fmla="*/ 66050 w 68244"/>
                <a:gd name="connsiteY14" fmla="*/ 15599 h 44031"/>
                <a:gd name="connsiteX15" fmla="*/ 66813 w 68244"/>
                <a:gd name="connsiteY15" fmla="*/ 14074 h 44031"/>
                <a:gd name="connsiteX16" fmla="*/ 67449 w 68244"/>
                <a:gd name="connsiteY16" fmla="*/ 12294 h 44031"/>
                <a:gd name="connsiteX17" fmla="*/ 67703 w 68244"/>
                <a:gd name="connsiteY17" fmla="*/ 5302 h 4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44" h="44031">
                  <a:moveTo>
                    <a:pt x="67703" y="5302"/>
                  </a:moveTo>
                  <a:cubicBezTo>
                    <a:pt x="65783" y="853"/>
                    <a:pt x="60621" y="-1194"/>
                    <a:pt x="56171" y="713"/>
                  </a:cubicBezTo>
                  <a:cubicBezTo>
                    <a:pt x="56069" y="764"/>
                    <a:pt x="55980" y="802"/>
                    <a:pt x="55878" y="853"/>
                  </a:cubicBezTo>
                  <a:lnTo>
                    <a:pt x="51682" y="3014"/>
                  </a:lnTo>
                  <a:lnTo>
                    <a:pt x="5274" y="26024"/>
                  </a:lnTo>
                  <a:cubicBezTo>
                    <a:pt x="646" y="28235"/>
                    <a:pt x="-1299" y="33778"/>
                    <a:pt x="913" y="38405"/>
                  </a:cubicBezTo>
                  <a:cubicBezTo>
                    <a:pt x="964" y="38520"/>
                    <a:pt x="1014" y="38621"/>
                    <a:pt x="1078" y="38736"/>
                  </a:cubicBezTo>
                  <a:cubicBezTo>
                    <a:pt x="2934" y="43135"/>
                    <a:pt x="7995" y="45207"/>
                    <a:pt x="12394" y="43351"/>
                  </a:cubicBezTo>
                  <a:cubicBezTo>
                    <a:pt x="12521" y="43300"/>
                    <a:pt x="12649" y="43249"/>
                    <a:pt x="12776" y="43185"/>
                  </a:cubicBezTo>
                  <a:lnTo>
                    <a:pt x="56133" y="21701"/>
                  </a:lnTo>
                  <a:lnTo>
                    <a:pt x="59566" y="19922"/>
                  </a:lnTo>
                  <a:lnTo>
                    <a:pt x="63380" y="18015"/>
                  </a:lnTo>
                  <a:lnTo>
                    <a:pt x="63380" y="18015"/>
                  </a:lnTo>
                  <a:lnTo>
                    <a:pt x="64906" y="16871"/>
                  </a:lnTo>
                  <a:lnTo>
                    <a:pt x="66050" y="15599"/>
                  </a:lnTo>
                  <a:lnTo>
                    <a:pt x="66813" y="14074"/>
                  </a:lnTo>
                  <a:cubicBezTo>
                    <a:pt x="67105" y="13515"/>
                    <a:pt x="67309" y="12917"/>
                    <a:pt x="67449" y="12294"/>
                  </a:cubicBezTo>
                  <a:cubicBezTo>
                    <a:pt x="68415" y="10082"/>
                    <a:pt x="68504" y="7578"/>
                    <a:pt x="67703" y="5302"/>
                  </a:cubicBezTo>
                  <a:close/>
                </a:path>
              </a:pathLst>
            </a:custGeom>
            <a:solidFill>
              <a:srgbClr val="000000"/>
            </a:solidFill>
            <a:ln w="12685"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F72F5DFA-6330-4A07-B64D-EE6D492973DB}"/>
                </a:ext>
              </a:extLst>
            </p:cNvPr>
            <p:cNvSpPr/>
            <p:nvPr/>
          </p:nvSpPr>
          <p:spPr>
            <a:xfrm>
              <a:off x="2347396" y="3602738"/>
              <a:ext cx="32915" cy="123108"/>
            </a:xfrm>
            <a:custGeom>
              <a:avLst/>
              <a:gdLst>
                <a:gd name="connsiteX0" fmla="*/ 22490 w 32915"/>
                <a:gd name="connsiteY0" fmla="*/ 10551 h 123108"/>
                <a:gd name="connsiteX1" fmla="*/ 14988 w 32915"/>
                <a:gd name="connsiteY1" fmla="*/ 0 h 123108"/>
                <a:gd name="connsiteX2" fmla="*/ 112 w 32915"/>
                <a:gd name="connsiteY2" fmla="*/ 108945 h 123108"/>
                <a:gd name="connsiteX3" fmla="*/ 112 w 32915"/>
                <a:gd name="connsiteY3" fmla="*/ 112505 h 123108"/>
                <a:gd name="connsiteX4" fmla="*/ 7614 w 32915"/>
                <a:gd name="connsiteY4" fmla="*/ 123056 h 123108"/>
                <a:gd name="connsiteX5" fmla="*/ 17531 w 32915"/>
                <a:gd name="connsiteY5" fmla="*/ 115301 h 123108"/>
                <a:gd name="connsiteX6" fmla="*/ 32916 w 32915"/>
                <a:gd name="connsiteY6" fmla="*/ 2797 h 123108"/>
                <a:gd name="connsiteX7" fmla="*/ 22808 w 32915"/>
                <a:gd name="connsiteY7" fmla="*/ 10602 h 123108"/>
                <a:gd name="connsiteX8" fmla="*/ 22490 w 32915"/>
                <a:gd name="connsiteY8" fmla="*/ 10551 h 123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15" h="123108">
                  <a:moveTo>
                    <a:pt x="22490" y="10551"/>
                  </a:moveTo>
                  <a:cubicBezTo>
                    <a:pt x="17544" y="9649"/>
                    <a:pt x="14213" y="4971"/>
                    <a:pt x="14988" y="0"/>
                  </a:cubicBezTo>
                  <a:lnTo>
                    <a:pt x="112" y="108945"/>
                  </a:lnTo>
                  <a:lnTo>
                    <a:pt x="112" y="112505"/>
                  </a:lnTo>
                  <a:cubicBezTo>
                    <a:pt x="-664" y="117475"/>
                    <a:pt x="2668" y="122153"/>
                    <a:pt x="7614" y="123056"/>
                  </a:cubicBezTo>
                  <a:cubicBezTo>
                    <a:pt x="12471" y="123577"/>
                    <a:pt x="16870" y="120145"/>
                    <a:pt x="17531" y="115301"/>
                  </a:cubicBezTo>
                  <a:lnTo>
                    <a:pt x="32916" y="2797"/>
                  </a:lnTo>
                  <a:cubicBezTo>
                    <a:pt x="32280" y="7742"/>
                    <a:pt x="27754" y="11238"/>
                    <a:pt x="22808" y="10602"/>
                  </a:cubicBezTo>
                  <a:cubicBezTo>
                    <a:pt x="22706" y="10590"/>
                    <a:pt x="22591" y="10564"/>
                    <a:pt x="22490" y="10551"/>
                  </a:cubicBezTo>
                  <a:close/>
                </a:path>
              </a:pathLst>
            </a:custGeom>
            <a:solidFill>
              <a:srgbClr val="000000"/>
            </a:solidFill>
            <a:ln w="12685" cap="flat">
              <a:no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5AC85BBF-2715-476B-8E3D-AEF77189733F}"/>
                </a:ext>
              </a:extLst>
            </p:cNvPr>
            <p:cNvSpPr/>
            <p:nvPr/>
          </p:nvSpPr>
          <p:spPr>
            <a:xfrm>
              <a:off x="1793860" y="3296878"/>
              <a:ext cx="22429" cy="70160"/>
            </a:xfrm>
            <a:custGeom>
              <a:avLst/>
              <a:gdLst>
                <a:gd name="connsiteX0" fmla="*/ 14038 w 22429"/>
                <a:gd name="connsiteY0" fmla="*/ 10297 h 70160"/>
                <a:gd name="connsiteX1" fmla="*/ 6155 w 22429"/>
                <a:gd name="connsiteY1" fmla="*/ 0 h 70160"/>
                <a:gd name="connsiteX2" fmla="*/ 51 w 22429"/>
                <a:gd name="connsiteY2" fmla="*/ 60384 h 70160"/>
                <a:gd name="connsiteX3" fmla="*/ 7871 w 22429"/>
                <a:gd name="connsiteY3" fmla="*/ 70109 h 70160"/>
                <a:gd name="connsiteX4" fmla="*/ 17598 w 22429"/>
                <a:gd name="connsiteY4" fmla="*/ 62291 h 70160"/>
                <a:gd name="connsiteX5" fmla="*/ 17598 w 22429"/>
                <a:gd name="connsiteY5" fmla="*/ 58731 h 70160"/>
                <a:gd name="connsiteX6" fmla="*/ 17598 w 22429"/>
                <a:gd name="connsiteY6" fmla="*/ 54790 h 70160"/>
                <a:gd name="connsiteX7" fmla="*/ 22429 w 22429"/>
                <a:gd name="connsiteY7" fmla="*/ 7246 h 70160"/>
                <a:gd name="connsiteX8" fmla="*/ 22429 w 22429"/>
                <a:gd name="connsiteY8" fmla="*/ 2034 h 70160"/>
                <a:gd name="connsiteX9" fmla="*/ 14038 w 22429"/>
                <a:gd name="connsiteY9" fmla="*/ 10297 h 7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29" h="70160">
                  <a:moveTo>
                    <a:pt x="14038" y="10297"/>
                  </a:moveTo>
                  <a:cubicBezTo>
                    <a:pt x="9054" y="9573"/>
                    <a:pt x="5544" y="5009"/>
                    <a:pt x="6155" y="0"/>
                  </a:cubicBezTo>
                  <a:lnTo>
                    <a:pt x="51" y="60384"/>
                  </a:lnTo>
                  <a:cubicBezTo>
                    <a:pt x="-470" y="65227"/>
                    <a:pt x="3027" y="69588"/>
                    <a:pt x="7871" y="70109"/>
                  </a:cubicBezTo>
                  <a:cubicBezTo>
                    <a:pt x="12715" y="70630"/>
                    <a:pt x="17076" y="67134"/>
                    <a:pt x="17598" y="62291"/>
                  </a:cubicBezTo>
                  <a:lnTo>
                    <a:pt x="17598" y="58731"/>
                  </a:lnTo>
                  <a:lnTo>
                    <a:pt x="17598" y="54790"/>
                  </a:lnTo>
                  <a:lnTo>
                    <a:pt x="22429" y="7246"/>
                  </a:lnTo>
                  <a:lnTo>
                    <a:pt x="22429" y="2034"/>
                  </a:lnTo>
                  <a:cubicBezTo>
                    <a:pt x="22111" y="6509"/>
                    <a:pt x="18513" y="10056"/>
                    <a:pt x="14038" y="10297"/>
                  </a:cubicBezTo>
                  <a:close/>
                </a:path>
              </a:pathLst>
            </a:custGeom>
            <a:solidFill>
              <a:srgbClr val="000000"/>
            </a:solidFill>
            <a:ln w="12685"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3770B596-B189-4D02-9372-17E32F6F5E25}"/>
                </a:ext>
              </a:extLst>
            </p:cNvPr>
            <p:cNvSpPr/>
            <p:nvPr/>
          </p:nvSpPr>
          <p:spPr>
            <a:xfrm>
              <a:off x="798099" y="2200859"/>
              <a:ext cx="52405" cy="35932"/>
            </a:xfrm>
            <a:custGeom>
              <a:avLst/>
              <a:gdLst>
                <a:gd name="connsiteX0" fmla="*/ 51494 w 52405"/>
                <a:gd name="connsiteY0" fmla="*/ 5677 h 35932"/>
                <a:gd name="connsiteX1" fmla="*/ 40405 w 52405"/>
                <a:gd name="connsiteY1" fmla="*/ 529 h 35932"/>
                <a:gd name="connsiteX2" fmla="*/ 39924 w 52405"/>
                <a:gd name="connsiteY2" fmla="*/ 719 h 35932"/>
                <a:gd name="connsiteX3" fmla="*/ 37508 w 52405"/>
                <a:gd name="connsiteY3" fmla="*/ 1736 h 35932"/>
                <a:gd name="connsiteX4" fmla="*/ 34330 w 52405"/>
                <a:gd name="connsiteY4" fmla="*/ 3135 h 35932"/>
                <a:gd name="connsiteX5" fmla="*/ 12715 w 52405"/>
                <a:gd name="connsiteY5" fmla="*/ 12669 h 35932"/>
                <a:gd name="connsiteX6" fmla="*/ 0 w 52405"/>
                <a:gd name="connsiteY6" fmla="*/ 18263 h 35932"/>
                <a:gd name="connsiteX7" fmla="*/ 11475 w 52405"/>
                <a:gd name="connsiteY7" fmla="*/ 22979 h 35932"/>
                <a:gd name="connsiteX8" fmla="*/ 11570 w 52405"/>
                <a:gd name="connsiteY8" fmla="*/ 23220 h 35932"/>
                <a:gd name="connsiteX9" fmla="*/ 6957 w 52405"/>
                <a:gd name="connsiteY9" fmla="*/ 35895 h 35932"/>
                <a:gd name="connsiteX10" fmla="*/ 6866 w 52405"/>
                <a:gd name="connsiteY10" fmla="*/ 35933 h 35932"/>
                <a:gd name="connsiteX11" fmla="*/ 46917 w 52405"/>
                <a:gd name="connsiteY11" fmla="*/ 18263 h 35932"/>
                <a:gd name="connsiteX12" fmla="*/ 51546 w 52405"/>
                <a:gd name="connsiteY12" fmla="*/ 5792 h 35932"/>
                <a:gd name="connsiteX13" fmla="*/ 51494 w 52405"/>
                <a:gd name="connsiteY13" fmla="*/ 5677 h 3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05" h="35932">
                  <a:moveTo>
                    <a:pt x="51494" y="5677"/>
                  </a:moveTo>
                  <a:cubicBezTo>
                    <a:pt x="49854" y="1190"/>
                    <a:pt x="44890" y="-1111"/>
                    <a:pt x="40405" y="529"/>
                  </a:cubicBezTo>
                  <a:cubicBezTo>
                    <a:pt x="40243" y="592"/>
                    <a:pt x="40083" y="656"/>
                    <a:pt x="39924" y="719"/>
                  </a:cubicBezTo>
                  <a:lnTo>
                    <a:pt x="37508" y="1736"/>
                  </a:lnTo>
                  <a:lnTo>
                    <a:pt x="34330" y="3135"/>
                  </a:lnTo>
                  <a:lnTo>
                    <a:pt x="12715" y="12669"/>
                  </a:lnTo>
                  <a:lnTo>
                    <a:pt x="0" y="18263"/>
                  </a:lnTo>
                  <a:cubicBezTo>
                    <a:pt x="4472" y="16394"/>
                    <a:pt x="9608" y="18504"/>
                    <a:pt x="11475" y="22979"/>
                  </a:cubicBezTo>
                  <a:cubicBezTo>
                    <a:pt x="11508" y="23055"/>
                    <a:pt x="11540" y="23144"/>
                    <a:pt x="11570" y="23220"/>
                  </a:cubicBezTo>
                  <a:cubicBezTo>
                    <a:pt x="13795" y="27988"/>
                    <a:pt x="11731" y="33670"/>
                    <a:pt x="6957" y="35895"/>
                  </a:cubicBezTo>
                  <a:cubicBezTo>
                    <a:pt x="6927" y="35907"/>
                    <a:pt x="6896" y="35920"/>
                    <a:pt x="6866" y="35933"/>
                  </a:cubicBezTo>
                  <a:lnTo>
                    <a:pt x="46917" y="18263"/>
                  </a:lnTo>
                  <a:cubicBezTo>
                    <a:pt x="51641" y="16101"/>
                    <a:pt x="53713" y="10508"/>
                    <a:pt x="51546" y="5792"/>
                  </a:cubicBezTo>
                  <a:cubicBezTo>
                    <a:pt x="51530" y="5754"/>
                    <a:pt x="51512" y="5715"/>
                    <a:pt x="51494" y="5677"/>
                  </a:cubicBezTo>
                  <a:close/>
                </a:path>
              </a:pathLst>
            </a:custGeom>
            <a:solidFill>
              <a:srgbClr val="000000"/>
            </a:solidFill>
            <a:ln w="12685"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88713AA6-32D3-41E9-8217-A59746DBAABA}"/>
                </a:ext>
              </a:extLst>
            </p:cNvPr>
            <p:cNvSpPr/>
            <p:nvPr/>
          </p:nvSpPr>
          <p:spPr>
            <a:xfrm>
              <a:off x="702947" y="2218058"/>
              <a:ext cx="107108" cy="58461"/>
            </a:xfrm>
            <a:custGeom>
              <a:avLst/>
              <a:gdLst>
                <a:gd name="connsiteX0" fmla="*/ 11743 w 107108"/>
                <a:gd name="connsiteY0" fmla="*/ 58015 h 58461"/>
                <a:gd name="connsiteX1" fmla="*/ 16829 w 107108"/>
                <a:gd name="connsiteY1" fmla="*/ 55727 h 58461"/>
                <a:gd name="connsiteX2" fmla="*/ 16829 w 107108"/>
                <a:gd name="connsiteY2" fmla="*/ 55727 h 58461"/>
                <a:gd name="connsiteX3" fmla="*/ 101509 w 107108"/>
                <a:gd name="connsiteY3" fmla="*/ 18352 h 58461"/>
                <a:gd name="connsiteX4" fmla="*/ 106255 w 107108"/>
                <a:gd name="connsiteY4" fmla="*/ 5729 h 58461"/>
                <a:gd name="connsiteX5" fmla="*/ 106213 w 107108"/>
                <a:gd name="connsiteY5" fmla="*/ 5640 h 58461"/>
                <a:gd name="connsiteX6" fmla="*/ 94882 w 107108"/>
                <a:gd name="connsiteY6" fmla="*/ 581 h 58461"/>
                <a:gd name="connsiteX7" fmla="*/ 94643 w 107108"/>
                <a:gd name="connsiteY7" fmla="*/ 682 h 58461"/>
                <a:gd name="connsiteX8" fmla="*/ 89557 w 107108"/>
                <a:gd name="connsiteY8" fmla="*/ 2970 h 58461"/>
                <a:gd name="connsiteX9" fmla="*/ 4750 w 107108"/>
                <a:gd name="connsiteY9" fmla="*/ 40345 h 58461"/>
                <a:gd name="connsiteX10" fmla="*/ 4750 w 107108"/>
                <a:gd name="connsiteY10" fmla="*/ 40345 h 58461"/>
                <a:gd name="connsiteX11" fmla="*/ 3733 w 107108"/>
                <a:gd name="connsiteY11" fmla="*/ 41108 h 58461"/>
                <a:gd name="connsiteX12" fmla="*/ 2080 w 107108"/>
                <a:gd name="connsiteY12" fmla="*/ 42252 h 58461"/>
                <a:gd name="connsiteX13" fmla="*/ 1063 w 107108"/>
                <a:gd name="connsiteY13" fmla="*/ 43777 h 58461"/>
                <a:gd name="connsiteX14" fmla="*/ 46 w 107108"/>
                <a:gd name="connsiteY14" fmla="*/ 45176 h 58461"/>
                <a:gd name="connsiteX15" fmla="*/ 46 w 107108"/>
                <a:gd name="connsiteY15" fmla="*/ 47337 h 58461"/>
                <a:gd name="connsiteX16" fmla="*/ 46 w 107108"/>
                <a:gd name="connsiteY16" fmla="*/ 48862 h 58461"/>
                <a:gd name="connsiteX17" fmla="*/ 46 w 107108"/>
                <a:gd name="connsiteY17" fmla="*/ 48862 h 58461"/>
                <a:gd name="connsiteX18" fmla="*/ 809 w 107108"/>
                <a:gd name="connsiteY18" fmla="*/ 52549 h 58461"/>
                <a:gd name="connsiteX19" fmla="*/ 11743 w 107108"/>
                <a:gd name="connsiteY19" fmla="*/ 58015 h 5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08" h="58461">
                  <a:moveTo>
                    <a:pt x="11743" y="58015"/>
                  </a:moveTo>
                  <a:lnTo>
                    <a:pt x="16829" y="55727"/>
                  </a:lnTo>
                  <a:lnTo>
                    <a:pt x="16829" y="55727"/>
                  </a:lnTo>
                  <a:lnTo>
                    <a:pt x="101509" y="18352"/>
                  </a:lnTo>
                  <a:cubicBezTo>
                    <a:pt x="106305" y="16179"/>
                    <a:pt x="108431" y="10522"/>
                    <a:pt x="106255" y="5729"/>
                  </a:cubicBezTo>
                  <a:cubicBezTo>
                    <a:pt x="106241" y="5704"/>
                    <a:pt x="106227" y="5666"/>
                    <a:pt x="106213" y="5640"/>
                  </a:cubicBezTo>
                  <a:cubicBezTo>
                    <a:pt x="104480" y="1114"/>
                    <a:pt x="99407" y="-1148"/>
                    <a:pt x="94882" y="581"/>
                  </a:cubicBezTo>
                  <a:cubicBezTo>
                    <a:pt x="94802" y="619"/>
                    <a:pt x="94722" y="644"/>
                    <a:pt x="94643" y="682"/>
                  </a:cubicBezTo>
                  <a:lnTo>
                    <a:pt x="89557" y="2970"/>
                  </a:lnTo>
                  <a:lnTo>
                    <a:pt x="4750" y="40345"/>
                  </a:lnTo>
                  <a:lnTo>
                    <a:pt x="4750" y="40345"/>
                  </a:lnTo>
                  <a:cubicBezTo>
                    <a:pt x="4750" y="40345"/>
                    <a:pt x="4114" y="40345"/>
                    <a:pt x="3733" y="41108"/>
                  </a:cubicBezTo>
                  <a:cubicBezTo>
                    <a:pt x="3116" y="41387"/>
                    <a:pt x="2556" y="41769"/>
                    <a:pt x="2080" y="42252"/>
                  </a:cubicBezTo>
                  <a:cubicBezTo>
                    <a:pt x="1655" y="42697"/>
                    <a:pt x="1311" y="43218"/>
                    <a:pt x="1063" y="43777"/>
                  </a:cubicBezTo>
                  <a:cubicBezTo>
                    <a:pt x="654" y="44184"/>
                    <a:pt x="310" y="44654"/>
                    <a:pt x="46" y="45176"/>
                  </a:cubicBezTo>
                  <a:cubicBezTo>
                    <a:pt x="-15" y="45900"/>
                    <a:pt x="-15" y="46612"/>
                    <a:pt x="46" y="47337"/>
                  </a:cubicBezTo>
                  <a:cubicBezTo>
                    <a:pt x="46" y="47337"/>
                    <a:pt x="46" y="48354"/>
                    <a:pt x="46" y="48862"/>
                  </a:cubicBezTo>
                  <a:lnTo>
                    <a:pt x="46" y="48862"/>
                  </a:lnTo>
                  <a:cubicBezTo>
                    <a:pt x="52" y="50133"/>
                    <a:pt x="312" y="51379"/>
                    <a:pt x="809" y="52549"/>
                  </a:cubicBezTo>
                  <a:cubicBezTo>
                    <a:pt x="2319" y="57074"/>
                    <a:pt x="7214" y="59528"/>
                    <a:pt x="11743" y="58015"/>
                  </a:cubicBezTo>
                  <a:close/>
                </a:path>
              </a:pathLst>
            </a:custGeom>
            <a:solidFill>
              <a:srgbClr val="000000"/>
            </a:solidFill>
            <a:ln w="12685"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A40CA753-37E8-4CB9-A25B-A36D98CA7F17}"/>
                </a:ext>
              </a:extLst>
            </p:cNvPr>
            <p:cNvSpPr/>
            <p:nvPr/>
          </p:nvSpPr>
          <p:spPr>
            <a:xfrm>
              <a:off x="1145336" y="3868418"/>
              <a:ext cx="17709" cy="10814"/>
            </a:xfrm>
            <a:custGeom>
              <a:avLst/>
              <a:gdLst>
                <a:gd name="connsiteX0" fmla="*/ 16911 w 17709"/>
                <a:gd name="connsiteY0" fmla="*/ 9543 h 10814"/>
                <a:gd name="connsiteX1" fmla="*/ 16911 w 17709"/>
                <a:gd name="connsiteY1" fmla="*/ 7509 h 10814"/>
                <a:gd name="connsiteX2" fmla="*/ 16911 w 17709"/>
                <a:gd name="connsiteY2" fmla="*/ 5983 h 10814"/>
                <a:gd name="connsiteX3" fmla="*/ 16148 w 17709"/>
                <a:gd name="connsiteY3" fmla="*/ 4458 h 10814"/>
                <a:gd name="connsiteX4" fmla="*/ 15130 w 17709"/>
                <a:gd name="connsiteY4" fmla="*/ 2933 h 10814"/>
                <a:gd name="connsiteX5" fmla="*/ 9409 w 17709"/>
                <a:gd name="connsiteY5" fmla="*/ 9 h 10814"/>
                <a:gd name="connsiteX6" fmla="*/ 1 w 17709"/>
                <a:gd name="connsiteY6" fmla="*/ 8641 h 10814"/>
                <a:gd name="connsiteX7" fmla="*/ 0 w 17709"/>
                <a:gd name="connsiteY7" fmla="*/ 8653 h 10814"/>
                <a:gd name="connsiteX8" fmla="*/ 0 w 17709"/>
                <a:gd name="connsiteY8" fmla="*/ 9543 h 10814"/>
                <a:gd name="connsiteX9" fmla="*/ 9392 w 17709"/>
                <a:gd name="connsiteY9" fmla="*/ 899 h 10814"/>
                <a:gd name="connsiteX10" fmla="*/ 9409 w 17709"/>
                <a:gd name="connsiteY10" fmla="*/ 899 h 10814"/>
                <a:gd name="connsiteX11" fmla="*/ 17673 w 17709"/>
                <a:gd name="connsiteY11" fmla="*/ 10814 h 10814"/>
                <a:gd name="connsiteX12" fmla="*/ 17673 w 17709"/>
                <a:gd name="connsiteY12" fmla="*/ 9543 h 1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09" h="10814">
                  <a:moveTo>
                    <a:pt x="16911" y="9543"/>
                  </a:moveTo>
                  <a:cubicBezTo>
                    <a:pt x="16965" y="8869"/>
                    <a:pt x="16965" y="8183"/>
                    <a:pt x="16911" y="7509"/>
                  </a:cubicBezTo>
                  <a:cubicBezTo>
                    <a:pt x="16968" y="7001"/>
                    <a:pt x="16968" y="6492"/>
                    <a:pt x="16911" y="5983"/>
                  </a:cubicBezTo>
                  <a:cubicBezTo>
                    <a:pt x="16708" y="5450"/>
                    <a:pt x="16453" y="4941"/>
                    <a:pt x="16148" y="4458"/>
                  </a:cubicBezTo>
                  <a:cubicBezTo>
                    <a:pt x="15854" y="3924"/>
                    <a:pt x="15513" y="3416"/>
                    <a:pt x="15130" y="2933"/>
                  </a:cubicBezTo>
                  <a:cubicBezTo>
                    <a:pt x="13687" y="1242"/>
                    <a:pt x="11629" y="187"/>
                    <a:pt x="9409" y="9"/>
                  </a:cubicBezTo>
                  <a:cubicBezTo>
                    <a:pt x="4428" y="-207"/>
                    <a:pt x="216" y="3657"/>
                    <a:pt x="1" y="8641"/>
                  </a:cubicBezTo>
                  <a:cubicBezTo>
                    <a:pt x="0" y="8641"/>
                    <a:pt x="0" y="8653"/>
                    <a:pt x="0" y="8653"/>
                  </a:cubicBezTo>
                  <a:lnTo>
                    <a:pt x="0" y="9543"/>
                  </a:lnTo>
                  <a:cubicBezTo>
                    <a:pt x="206" y="4560"/>
                    <a:pt x="4411" y="695"/>
                    <a:pt x="9392" y="899"/>
                  </a:cubicBezTo>
                  <a:cubicBezTo>
                    <a:pt x="9399" y="899"/>
                    <a:pt x="9404" y="899"/>
                    <a:pt x="9409" y="899"/>
                  </a:cubicBezTo>
                  <a:cubicBezTo>
                    <a:pt x="14422" y="1369"/>
                    <a:pt x="18115" y="5793"/>
                    <a:pt x="17673" y="10814"/>
                  </a:cubicBezTo>
                  <a:lnTo>
                    <a:pt x="17673" y="9543"/>
                  </a:lnTo>
                  <a:close/>
                </a:path>
              </a:pathLst>
            </a:custGeom>
            <a:solidFill>
              <a:srgbClr val="000000"/>
            </a:solidFill>
            <a:ln w="12685"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F25B6AE0-C7B7-4560-9313-A21F09CB56AB}"/>
                </a:ext>
              </a:extLst>
            </p:cNvPr>
            <p:cNvSpPr/>
            <p:nvPr/>
          </p:nvSpPr>
          <p:spPr>
            <a:xfrm>
              <a:off x="1142632" y="3869308"/>
              <a:ext cx="19014" cy="41968"/>
            </a:xfrm>
            <a:custGeom>
              <a:avLst/>
              <a:gdLst>
                <a:gd name="connsiteX0" fmla="*/ 8553 w 19014"/>
                <a:gd name="connsiteY0" fmla="*/ 41960 h 41968"/>
                <a:gd name="connsiteX1" fmla="*/ 17960 w 19014"/>
                <a:gd name="connsiteY1" fmla="*/ 33328 h 41968"/>
                <a:gd name="connsiteX2" fmla="*/ 17962 w 19014"/>
                <a:gd name="connsiteY2" fmla="*/ 33315 h 41968"/>
                <a:gd name="connsiteX3" fmla="*/ 18979 w 19014"/>
                <a:gd name="connsiteY3" fmla="*/ 19840 h 41968"/>
                <a:gd name="connsiteX4" fmla="*/ 18979 w 19014"/>
                <a:gd name="connsiteY4" fmla="*/ 15518 h 41968"/>
                <a:gd name="connsiteX5" fmla="*/ 18979 w 19014"/>
                <a:gd name="connsiteY5" fmla="*/ 9924 h 41968"/>
                <a:gd name="connsiteX6" fmla="*/ 10714 w 19014"/>
                <a:gd name="connsiteY6" fmla="*/ 9 h 41968"/>
                <a:gd name="connsiteX7" fmla="*/ 1307 w 19014"/>
                <a:gd name="connsiteY7" fmla="*/ 8641 h 41968"/>
                <a:gd name="connsiteX8" fmla="*/ 1306 w 19014"/>
                <a:gd name="connsiteY8" fmla="*/ 8653 h 41968"/>
                <a:gd name="connsiteX9" fmla="*/ 1306 w 19014"/>
                <a:gd name="connsiteY9" fmla="*/ 12086 h 41968"/>
                <a:gd name="connsiteX10" fmla="*/ 34 w 19014"/>
                <a:gd name="connsiteY10" fmla="*/ 32044 h 41968"/>
                <a:gd name="connsiteX11" fmla="*/ 8372 w 19014"/>
                <a:gd name="connsiteY11" fmla="*/ 41947 h 41968"/>
                <a:gd name="connsiteX12" fmla="*/ 8553 w 19014"/>
                <a:gd name="connsiteY12" fmla="*/ 41960 h 4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14" h="41968">
                  <a:moveTo>
                    <a:pt x="8553" y="41960"/>
                  </a:moveTo>
                  <a:cubicBezTo>
                    <a:pt x="13534" y="42176"/>
                    <a:pt x="17746" y="38311"/>
                    <a:pt x="17960" y="33328"/>
                  </a:cubicBezTo>
                  <a:cubicBezTo>
                    <a:pt x="17962" y="33328"/>
                    <a:pt x="17962" y="33315"/>
                    <a:pt x="17962" y="33315"/>
                  </a:cubicBezTo>
                  <a:lnTo>
                    <a:pt x="18979" y="19840"/>
                  </a:lnTo>
                  <a:lnTo>
                    <a:pt x="18979" y="15518"/>
                  </a:lnTo>
                  <a:lnTo>
                    <a:pt x="18979" y="9924"/>
                  </a:lnTo>
                  <a:cubicBezTo>
                    <a:pt x="19420" y="4903"/>
                    <a:pt x="15728" y="479"/>
                    <a:pt x="10714" y="9"/>
                  </a:cubicBezTo>
                  <a:cubicBezTo>
                    <a:pt x="5733" y="-207"/>
                    <a:pt x="1522" y="3657"/>
                    <a:pt x="1307" y="8641"/>
                  </a:cubicBezTo>
                  <a:cubicBezTo>
                    <a:pt x="1306" y="8641"/>
                    <a:pt x="1306" y="8653"/>
                    <a:pt x="1306" y="8653"/>
                  </a:cubicBezTo>
                  <a:lnTo>
                    <a:pt x="1306" y="12086"/>
                  </a:lnTo>
                  <a:lnTo>
                    <a:pt x="34" y="32044"/>
                  </a:lnTo>
                  <a:cubicBezTo>
                    <a:pt x="-398" y="37078"/>
                    <a:pt x="3335" y="41515"/>
                    <a:pt x="8372" y="41947"/>
                  </a:cubicBezTo>
                  <a:cubicBezTo>
                    <a:pt x="8432" y="41947"/>
                    <a:pt x="8493" y="41960"/>
                    <a:pt x="8553" y="41960"/>
                  </a:cubicBezTo>
                  <a:close/>
                </a:path>
              </a:pathLst>
            </a:custGeom>
            <a:solidFill>
              <a:srgbClr val="000000"/>
            </a:solidFill>
            <a:ln w="12685"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B34C2C57-2E18-4366-AD5C-8524A9AC84E9}"/>
                </a:ext>
              </a:extLst>
            </p:cNvPr>
            <p:cNvSpPr/>
            <p:nvPr/>
          </p:nvSpPr>
          <p:spPr>
            <a:xfrm>
              <a:off x="294471" y="1186448"/>
              <a:ext cx="19517" cy="124881"/>
            </a:xfrm>
            <a:custGeom>
              <a:avLst/>
              <a:gdLst>
                <a:gd name="connsiteX0" fmla="*/ 9282 w 19517"/>
                <a:gd name="connsiteY0" fmla="*/ 115474 h 124881"/>
                <a:gd name="connsiteX1" fmla="*/ 17929 w 19517"/>
                <a:gd name="connsiteY1" fmla="*/ 124864 h 124881"/>
                <a:gd name="connsiteX2" fmla="*/ 17928 w 19517"/>
                <a:gd name="connsiteY2" fmla="*/ 124881 h 124881"/>
                <a:gd name="connsiteX3" fmla="*/ 17928 w 19517"/>
                <a:gd name="connsiteY3" fmla="*/ 119288 h 124881"/>
                <a:gd name="connsiteX4" fmla="*/ 19453 w 19517"/>
                <a:gd name="connsiteY4" fmla="*/ 16190 h 124881"/>
                <a:gd name="connsiteX5" fmla="*/ 19453 w 19517"/>
                <a:gd name="connsiteY5" fmla="*/ 9961 h 124881"/>
                <a:gd name="connsiteX6" fmla="*/ 11678 w 19517"/>
                <a:gd name="connsiteY6" fmla="*/ 64 h 124881"/>
                <a:gd name="connsiteX7" fmla="*/ 1780 w 19517"/>
                <a:gd name="connsiteY7" fmla="*/ 7838 h 124881"/>
                <a:gd name="connsiteX8" fmla="*/ 1780 w 19517"/>
                <a:gd name="connsiteY8" fmla="*/ 9961 h 124881"/>
                <a:gd name="connsiteX9" fmla="*/ 0 w 19517"/>
                <a:gd name="connsiteY9" fmla="*/ 124373 h 124881"/>
                <a:gd name="connsiteX10" fmla="*/ 9151 w 19517"/>
                <a:gd name="connsiteY10" fmla="*/ 115471 h 124881"/>
                <a:gd name="connsiteX11" fmla="*/ 9282 w 19517"/>
                <a:gd name="connsiteY11" fmla="*/ 115474 h 12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17" h="124881">
                  <a:moveTo>
                    <a:pt x="9282" y="115474"/>
                  </a:moveTo>
                  <a:cubicBezTo>
                    <a:pt x="14263" y="115680"/>
                    <a:pt x="18135" y="119884"/>
                    <a:pt x="17929" y="124864"/>
                  </a:cubicBezTo>
                  <a:cubicBezTo>
                    <a:pt x="17928" y="124871"/>
                    <a:pt x="17928" y="124876"/>
                    <a:pt x="17928" y="124881"/>
                  </a:cubicBezTo>
                  <a:lnTo>
                    <a:pt x="17928" y="119288"/>
                  </a:lnTo>
                  <a:lnTo>
                    <a:pt x="19453" y="16190"/>
                  </a:lnTo>
                  <a:lnTo>
                    <a:pt x="19453" y="9961"/>
                  </a:lnTo>
                  <a:cubicBezTo>
                    <a:pt x="20040" y="5082"/>
                    <a:pt x="16560" y="650"/>
                    <a:pt x="11678" y="64"/>
                  </a:cubicBezTo>
                  <a:cubicBezTo>
                    <a:pt x="6799" y="-522"/>
                    <a:pt x="2366" y="2958"/>
                    <a:pt x="1780" y="7838"/>
                  </a:cubicBezTo>
                  <a:cubicBezTo>
                    <a:pt x="1695" y="8542"/>
                    <a:pt x="1695" y="9255"/>
                    <a:pt x="1780" y="9961"/>
                  </a:cubicBezTo>
                  <a:lnTo>
                    <a:pt x="0" y="124373"/>
                  </a:lnTo>
                  <a:cubicBezTo>
                    <a:pt x="69" y="119388"/>
                    <a:pt x="4165" y="115403"/>
                    <a:pt x="9151" y="115471"/>
                  </a:cubicBezTo>
                  <a:cubicBezTo>
                    <a:pt x="9194" y="115471"/>
                    <a:pt x="9238" y="115473"/>
                    <a:pt x="9282" y="115474"/>
                  </a:cubicBezTo>
                  <a:close/>
                </a:path>
              </a:pathLst>
            </a:custGeom>
            <a:solidFill>
              <a:srgbClr val="000000"/>
            </a:solidFill>
            <a:ln w="12685"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88B8449F-30D8-4169-B4E1-60CB8BF34744}"/>
                </a:ext>
              </a:extLst>
            </p:cNvPr>
            <p:cNvSpPr/>
            <p:nvPr/>
          </p:nvSpPr>
          <p:spPr>
            <a:xfrm>
              <a:off x="289385" y="1301114"/>
              <a:ext cx="22950" cy="360695"/>
            </a:xfrm>
            <a:custGeom>
              <a:avLst/>
              <a:gdLst>
                <a:gd name="connsiteX0" fmla="*/ 1653 w 22950"/>
                <a:gd name="connsiteY0" fmla="*/ 356501 h 360695"/>
                <a:gd name="connsiteX1" fmla="*/ 1653 w 22950"/>
                <a:gd name="connsiteY1" fmla="*/ 356501 h 360695"/>
                <a:gd name="connsiteX2" fmla="*/ 2797 w 22950"/>
                <a:gd name="connsiteY2" fmla="*/ 358026 h 360695"/>
                <a:gd name="connsiteX3" fmla="*/ 8646 w 22950"/>
                <a:gd name="connsiteY3" fmla="*/ 360696 h 360695"/>
                <a:gd name="connsiteX4" fmla="*/ 17673 w 22950"/>
                <a:gd name="connsiteY4" fmla="*/ 351543 h 360695"/>
                <a:gd name="connsiteX5" fmla="*/ 17673 w 22950"/>
                <a:gd name="connsiteY5" fmla="*/ 347221 h 360695"/>
                <a:gd name="connsiteX6" fmla="*/ 22886 w 22950"/>
                <a:gd name="connsiteY6" fmla="*/ 9961 h 360695"/>
                <a:gd name="connsiteX7" fmla="*/ 15111 w 22950"/>
                <a:gd name="connsiteY7" fmla="*/ 64 h 360695"/>
                <a:gd name="connsiteX8" fmla="*/ 5213 w 22950"/>
                <a:gd name="connsiteY8" fmla="*/ 7838 h 360695"/>
                <a:gd name="connsiteX9" fmla="*/ 5213 w 22950"/>
                <a:gd name="connsiteY9" fmla="*/ 9961 h 360695"/>
                <a:gd name="connsiteX10" fmla="*/ 0 w 22950"/>
                <a:gd name="connsiteY10" fmla="*/ 351416 h 360695"/>
                <a:gd name="connsiteX11" fmla="*/ 0 w 22950"/>
                <a:gd name="connsiteY11" fmla="*/ 351416 h 360695"/>
                <a:gd name="connsiteX12" fmla="*/ 0 w 22950"/>
                <a:gd name="connsiteY12" fmla="*/ 352941 h 360695"/>
                <a:gd name="connsiteX13" fmla="*/ 1653 w 22950"/>
                <a:gd name="connsiteY13" fmla="*/ 356501 h 36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950" h="360695">
                  <a:moveTo>
                    <a:pt x="1653" y="356501"/>
                  </a:moveTo>
                  <a:lnTo>
                    <a:pt x="1653" y="356501"/>
                  </a:lnTo>
                  <a:cubicBezTo>
                    <a:pt x="1916" y="357088"/>
                    <a:pt x="2306" y="357609"/>
                    <a:pt x="2797" y="358026"/>
                  </a:cubicBezTo>
                  <a:cubicBezTo>
                    <a:pt x="4353" y="359604"/>
                    <a:pt x="6435" y="360553"/>
                    <a:pt x="8646" y="360696"/>
                  </a:cubicBezTo>
                  <a:cubicBezTo>
                    <a:pt x="13652" y="360626"/>
                    <a:pt x="17673" y="356549"/>
                    <a:pt x="17673" y="351543"/>
                  </a:cubicBezTo>
                  <a:lnTo>
                    <a:pt x="17673" y="347221"/>
                  </a:lnTo>
                  <a:lnTo>
                    <a:pt x="22886" y="9961"/>
                  </a:lnTo>
                  <a:cubicBezTo>
                    <a:pt x="23473" y="5082"/>
                    <a:pt x="19993" y="650"/>
                    <a:pt x="15111" y="64"/>
                  </a:cubicBezTo>
                  <a:cubicBezTo>
                    <a:pt x="10231" y="-522"/>
                    <a:pt x="5799" y="2958"/>
                    <a:pt x="5213" y="7838"/>
                  </a:cubicBezTo>
                  <a:cubicBezTo>
                    <a:pt x="5128" y="8542"/>
                    <a:pt x="5128" y="9255"/>
                    <a:pt x="5213" y="9961"/>
                  </a:cubicBezTo>
                  <a:lnTo>
                    <a:pt x="0" y="351416"/>
                  </a:lnTo>
                  <a:lnTo>
                    <a:pt x="0" y="351416"/>
                  </a:lnTo>
                  <a:cubicBezTo>
                    <a:pt x="0" y="351416"/>
                    <a:pt x="0" y="352433"/>
                    <a:pt x="0" y="352941"/>
                  </a:cubicBezTo>
                  <a:cubicBezTo>
                    <a:pt x="320" y="354221"/>
                    <a:pt x="881" y="355429"/>
                    <a:pt x="1653" y="356501"/>
                  </a:cubicBezTo>
                  <a:close/>
                </a:path>
              </a:pathLst>
            </a:custGeom>
            <a:solidFill>
              <a:srgbClr val="000000"/>
            </a:solidFill>
            <a:ln w="12685"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B33B98A5-9965-4165-A686-272AF6DE42D5}"/>
                </a:ext>
              </a:extLst>
            </p:cNvPr>
            <p:cNvSpPr/>
            <p:nvPr/>
          </p:nvSpPr>
          <p:spPr>
            <a:xfrm>
              <a:off x="3772160" y="4234798"/>
              <a:ext cx="124248" cy="470232"/>
            </a:xfrm>
            <a:custGeom>
              <a:avLst/>
              <a:gdLst>
                <a:gd name="connsiteX0" fmla="*/ 6765 w 124248"/>
                <a:gd name="connsiteY0" fmla="*/ 469977 h 470232"/>
                <a:gd name="connsiteX1" fmla="*/ 17369 w 124248"/>
                <a:gd name="connsiteY1" fmla="*/ 463545 h 470232"/>
                <a:gd name="connsiteX2" fmla="*/ 17445 w 124248"/>
                <a:gd name="connsiteY2" fmla="*/ 463240 h 470232"/>
                <a:gd name="connsiteX3" fmla="*/ 18844 w 124248"/>
                <a:gd name="connsiteY3" fmla="*/ 457265 h 470232"/>
                <a:gd name="connsiteX4" fmla="*/ 19861 w 124248"/>
                <a:gd name="connsiteY4" fmla="*/ 452943 h 470232"/>
                <a:gd name="connsiteX5" fmla="*/ 120815 w 124248"/>
                <a:gd name="connsiteY5" fmla="*/ 18942 h 470232"/>
                <a:gd name="connsiteX6" fmla="*/ 124248 w 124248"/>
                <a:gd name="connsiteY6" fmla="*/ 4449 h 470232"/>
                <a:gd name="connsiteX7" fmla="*/ 113873 w 124248"/>
                <a:gd name="connsiteY7" fmla="*/ 11251 h 470232"/>
                <a:gd name="connsiteX8" fmla="*/ 113568 w 124248"/>
                <a:gd name="connsiteY8" fmla="*/ 11187 h 470232"/>
                <a:gd name="connsiteX9" fmla="*/ 107084 w 124248"/>
                <a:gd name="connsiteY9" fmla="*/ 0 h 470232"/>
                <a:gd name="connsiteX10" fmla="*/ 281 w 124248"/>
                <a:gd name="connsiteY10" fmla="*/ 458790 h 470232"/>
                <a:gd name="connsiteX11" fmla="*/ 6765 w 124248"/>
                <a:gd name="connsiteY11" fmla="*/ 469977 h 4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248" h="470232">
                  <a:moveTo>
                    <a:pt x="6765" y="469977"/>
                  </a:moveTo>
                  <a:cubicBezTo>
                    <a:pt x="11469" y="471134"/>
                    <a:pt x="16225" y="468248"/>
                    <a:pt x="17369" y="463545"/>
                  </a:cubicBezTo>
                  <a:cubicBezTo>
                    <a:pt x="17394" y="463443"/>
                    <a:pt x="17420" y="463341"/>
                    <a:pt x="17445" y="463240"/>
                  </a:cubicBezTo>
                  <a:lnTo>
                    <a:pt x="18844" y="457265"/>
                  </a:lnTo>
                  <a:lnTo>
                    <a:pt x="19861" y="452943"/>
                  </a:lnTo>
                  <a:lnTo>
                    <a:pt x="120815" y="18942"/>
                  </a:lnTo>
                  <a:lnTo>
                    <a:pt x="124248" y="4449"/>
                  </a:lnTo>
                  <a:cubicBezTo>
                    <a:pt x="123269" y="9191"/>
                    <a:pt x="118616" y="12242"/>
                    <a:pt x="113873" y="11251"/>
                  </a:cubicBezTo>
                  <a:cubicBezTo>
                    <a:pt x="113772" y="11238"/>
                    <a:pt x="113670" y="11213"/>
                    <a:pt x="113568" y="11187"/>
                  </a:cubicBezTo>
                  <a:cubicBezTo>
                    <a:pt x="108737" y="9827"/>
                    <a:pt x="105863" y="4869"/>
                    <a:pt x="107084" y="0"/>
                  </a:cubicBezTo>
                  <a:lnTo>
                    <a:pt x="281" y="458790"/>
                  </a:lnTo>
                  <a:cubicBezTo>
                    <a:pt x="-940" y="463659"/>
                    <a:pt x="1933" y="468617"/>
                    <a:pt x="6765" y="469977"/>
                  </a:cubicBezTo>
                  <a:close/>
                </a:path>
              </a:pathLst>
            </a:custGeom>
            <a:solidFill>
              <a:srgbClr val="000000"/>
            </a:solidFill>
            <a:ln w="12685"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9C999C5E-C51D-4DBF-92AA-9A28A9226EA2}"/>
                </a:ext>
              </a:extLst>
            </p:cNvPr>
            <p:cNvSpPr/>
            <p:nvPr/>
          </p:nvSpPr>
          <p:spPr>
            <a:xfrm>
              <a:off x="1462186" y="1853047"/>
              <a:ext cx="129926" cy="70256"/>
            </a:xfrm>
            <a:custGeom>
              <a:avLst/>
              <a:gdLst>
                <a:gd name="connsiteX0" fmla="*/ 11062 w 129926"/>
                <a:gd name="connsiteY0" fmla="*/ 57545 h 70256"/>
                <a:gd name="connsiteX1" fmla="*/ 6688 w 129926"/>
                <a:gd name="connsiteY1" fmla="*/ 70104 h 70256"/>
                <a:gd name="connsiteX2" fmla="*/ 6357 w 129926"/>
                <a:gd name="connsiteY2" fmla="*/ 70257 h 70256"/>
                <a:gd name="connsiteX3" fmla="*/ 124222 w 129926"/>
                <a:gd name="connsiteY3" fmla="*/ 18390 h 70256"/>
                <a:gd name="connsiteX4" fmla="*/ 129117 w 129926"/>
                <a:gd name="connsiteY4" fmla="*/ 5828 h 70256"/>
                <a:gd name="connsiteX5" fmla="*/ 129054 w 129926"/>
                <a:gd name="connsiteY5" fmla="*/ 5678 h 70256"/>
                <a:gd name="connsiteX6" fmla="*/ 117967 w 129926"/>
                <a:gd name="connsiteY6" fmla="*/ 528 h 70256"/>
                <a:gd name="connsiteX7" fmla="*/ 117483 w 129926"/>
                <a:gd name="connsiteY7" fmla="*/ 720 h 70256"/>
                <a:gd name="connsiteX8" fmla="*/ 112525 w 129926"/>
                <a:gd name="connsiteY8" fmla="*/ 2881 h 70256"/>
                <a:gd name="connsiteX9" fmla="*/ 3306 w 129926"/>
                <a:gd name="connsiteY9" fmla="*/ 50934 h 70256"/>
                <a:gd name="connsiteX10" fmla="*/ 0 w 129926"/>
                <a:gd name="connsiteY10" fmla="*/ 52460 h 70256"/>
                <a:gd name="connsiteX11" fmla="*/ 0 w 129926"/>
                <a:gd name="connsiteY11" fmla="*/ 52460 h 70256"/>
                <a:gd name="connsiteX12" fmla="*/ 11062 w 129926"/>
                <a:gd name="connsiteY12" fmla="*/ 57545 h 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26" h="70256">
                  <a:moveTo>
                    <a:pt x="11062" y="57545"/>
                  </a:moveTo>
                  <a:cubicBezTo>
                    <a:pt x="13325" y="62223"/>
                    <a:pt x="11367" y="67842"/>
                    <a:pt x="6688" y="70104"/>
                  </a:cubicBezTo>
                  <a:cubicBezTo>
                    <a:pt x="6573" y="70155"/>
                    <a:pt x="6472" y="70206"/>
                    <a:pt x="6357" y="70257"/>
                  </a:cubicBezTo>
                  <a:lnTo>
                    <a:pt x="124222" y="18390"/>
                  </a:lnTo>
                  <a:cubicBezTo>
                    <a:pt x="129041" y="16274"/>
                    <a:pt x="131241" y="10650"/>
                    <a:pt x="129117" y="5828"/>
                  </a:cubicBezTo>
                  <a:cubicBezTo>
                    <a:pt x="129105" y="5777"/>
                    <a:pt x="129079" y="5728"/>
                    <a:pt x="129054" y="5678"/>
                  </a:cubicBezTo>
                  <a:cubicBezTo>
                    <a:pt x="127414" y="1194"/>
                    <a:pt x="122455" y="-1112"/>
                    <a:pt x="117967" y="528"/>
                  </a:cubicBezTo>
                  <a:cubicBezTo>
                    <a:pt x="117801" y="587"/>
                    <a:pt x="117636" y="652"/>
                    <a:pt x="117483" y="720"/>
                  </a:cubicBezTo>
                  <a:lnTo>
                    <a:pt x="112525" y="2881"/>
                  </a:lnTo>
                  <a:lnTo>
                    <a:pt x="3306" y="50934"/>
                  </a:lnTo>
                  <a:lnTo>
                    <a:pt x="0" y="52460"/>
                  </a:lnTo>
                  <a:lnTo>
                    <a:pt x="0" y="52460"/>
                  </a:lnTo>
                  <a:cubicBezTo>
                    <a:pt x="4450" y="50909"/>
                    <a:pt x="9345" y="53146"/>
                    <a:pt x="11062" y="57545"/>
                  </a:cubicBezTo>
                  <a:close/>
                </a:path>
              </a:pathLst>
            </a:custGeom>
            <a:solidFill>
              <a:srgbClr val="000000"/>
            </a:solidFill>
            <a:ln w="12685"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602B4E8C-E5A5-4A8F-8CB7-6CCDC56299E2}"/>
                </a:ext>
              </a:extLst>
            </p:cNvPr>
            <p:cNvSpPr/>
            <p:nvPr/>
          </p:nvSpPr>
          <p:spPr>
            <a:xfrm>
              <a:off x="1294115" y="1904339"/>
              <a:ext cx="180069" cy="90455"/>
            </a:xfrm>
            <a:custGeom>
              <a:avLst/>
              <a:gdLst>
                <a:gd name="connsiteX0" fmla="*/ 5705 w 180069"/>
                <a:gd name="connsiteY0" fmla="*/ 72103 h 90455"/>
                <a:gd name="connsiteX1" fmla="*/ 809 w 180069"/>
                <a:gd name="connsiteY1" fmla="*/ 84663 h 90455"/>
                <a:gd name="connsiteX2" fmla="*/ 873 w 180069"/>
                <a:gd name="connsiteY2" fmla="*/ 84815 h 90455"/>
                <a:gd name="connsiteX3" fmla="*/ 12202 w 180069"/>
                <a:gd name="connsiteY3" fmla="*/ 89875 h 90455"/>
                <a:gd name="connsiteX4" fmla="*/ 12443 w 180069"/>
                <a:gd name="connsiteY4" fmla="*/ 89773 h 90455"/>
                <a:gd name="connsiteX5" fmla="*/ 174428 w 180069"/>
                <a:gd name="connsiteY5" fmla="*/ 18457 h 90455"/>
                <a:gd name="connsiteX6" fmla="*/ 179285 w 180069"/>
                <a:gd name="connsiteY6" fmla="*/ 6075 h 90455"/>
                <a:gd name="connsiteX7" fmla="*/ 179133 w 180069"/>
                <a:gd name="connsiteY7" fmla="*/ 5744 h 90455"/>
                <a:gd name="connsiteX8" fmla="*/ 167867 w 180069"/>
                <a:gd name="connsiteY8" fmla="*/ 545 h 90455"/>
                <a:gd name="connsiteX9" fmla="*/ 167562 w 180069"/>
                <a:gd name="connsiteY9" fmla="*/ 659 h 90455"/>
                <a:gd name="connsiteX10" fmla="*/ 10663 w 180069"/>
                <a:gd name="connsiteY10" fmla="*/ 69815 h 90455"/>
                <a:gd name="connsiteX11" fmla="*/ 9900 w 180069"/>
                <a:gd name="connsiteY11" fmla="*/ 69815 h 9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9" h="90455">
                  <a:moveTo>
                    <a:pt x="5705" y="72103"/>
                  </a:moveTo>
                  <a:cubicBezTo>
                    <a:pt x="886" y="74213"/>
                    <a:pt x="-1314" y="79845"/>
                    <a:pt x="809" y="84663"/>
                  </a:cubicBezTo>
                  <a:cubicBezTo>
                    <a:pt x="822" y="84714"/>
                    <a:pt x="848" y="84765"/>
                    <a:pt x="873" y="84815"/>
                  </a:cubicBezTo>
                  <a:cubicBezTo>
                    <a:pt x="2602" y="89341"/>
                    <a:pt x="7675" y="91604"/>
                    <a:pt x="12202" y="89875"/>
                  </a:cubicBezTo>
                  <a:cubicBezTo>
                    <a:pt x="12278" y="89837"/>
                    <a:pt x="12367" y="89811"/>
                    <a:pt x="12443" y="89773"/>
                  </a:cubicBezTo>
                  <a:lnTo>
                    <a:pt x="174428" y="18457"/>
                  </a:lnTo>
                  <a:cubicBezTo>
                    <a:pt x="179183" y="16372"/>
                    <a:pt x="181358" y="10829"/>
                    <a:pt x="179285" y="6075"/>
                  </a:cubicBezTo>
                  <a:cubicBezTo>
                    <a:pt x="179234" y="5960"/>
                    <a:pt x="179183" y="5846"/>
                    <a:pt x="179133" y="5744"/>
                  </a:cubicBezTo>
                  <a:cubicBezTo>
                    <a:pt x="177454" y="1193"/>
                    <a:pt x="172419" y="-1133"/>
                    <a:pt x="167867" y="545"/>
                  </a:cubicBezTo>
                  <a:cubicBezTo>
                    <a:pt x="167766" y="583"/>
                    <a:pt x="167664" y="621"/>
                    <a:pt x="167562" y="659"/>
                  </a:cubicBezTo>
                  <a:lnTo>
                    <a:pt x="10663" y="69815"/>
                  </a:lnTo>
                  <a:lnTo>
                    <a:pt x="9900" y="69815"/>
                  </a:lnTo>
                  <a:close/>
                </a:path>
              </a:pathLst>
            </a:custGeom>
            <a:solidFill>
              <a:srgbClr val="000000"/>
            </a:solidFill>
            <a:ln w="12685"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70BAC537-9A0F-4413-B491-7D4C72F80CD4}"/>
                </a:ext>
              </a:extLst>
            </p:cNvPr>
            <p:cNvSpPr/>
            <p:nvPr/>
          </p:nvSpPr>
          <p:spPr>
            <a:xfrm>
              <a:off x="1058749" y="1966987"/>
              <a:ext cx="208725" cy="103653"/>
            </a:xfrm>
            <a:custGeom>
              <a:avLst/>
              <a:gdLst>
                <a:gd name="connsiteX0" fmla="*/ 11570 w 208725"/>
                <a:gd name="connsiteY0" fmla="*/ 90941 h 103653"/>
                <a:gd name="connsiteX1" fmla="*/ 7124 w 208725"/>
                <a:gd name="connsiteY1" fmla="*/ 103476 h 103653"/>
                <a:gd name="connsiteX2" fmla="*/ 6739 w 208725"/>
                <a:gd name="connsiteY2" fmla="*/ 103654 h 103653"/>
                <a:gd name="connsiteX3" fmla="*/ 198349 w 208725"/>
                <a:gd name="connsiteY3" fmla="*/ 19498 h 103653"/>
                <a:gd name="connsiteX4" fmla="*/ 203308 w 208725"/>
                <a:gd name="connsiteY4" fmla="*/ 17337 h 103653"/>
                <a:gd name="connsiteX5" fmla="*/ 207834 w 208725"/>
                <a:gd name="connsiteY5" fmla="*/ 4828 h 103653"/>
                <a:gd name="connsiteX6" fmla="*/ 204452 w 208725"/>
                <a:gd name="connsiteY6" fmla="*/ 938 h 103653"/>
                <a:gd name="connsiteX7" fmla="*/ 202926 w 208725"/>
                <a:gd name="connsiteY7" fmla="*/ 48 h 103653"/>
                <a:gd name="connsiteX8" fmla="*/ 201273 w 208725"/>
                <a:gd name="connsiteY8" fmla="*/ 48 h 103653"/>
                <a:gd name="connsiteX9" fmla="*/ 199493 w 208725"/>
                <a:gd name="connsiteY9" fmla="*/ 48 h 103653"/>
                <a:gd name="connsiteX10" fmla="*/ 197713 w 208725"/>
                <a:gd name="connsiteY10" fmla="*/ 48 h 103653"/>
                <a:gd name="connsiteX11" fmla="*/ 196442 w 208725"/>
                <a:gd name="connsiteY11" fmla="*/ 48 h 103653"/>
                <a:gd name="connsiteX12" fmla="*/ 1907 w 208725"/>
                <a:gd name="connsiteY12" fmla="*/ 85729 h 103653"/>
                <a:gd name="connsiteX13" fmla="*/ 0 w 208725"/>
                <a:gd name="connsiteY13" fmla="*/ 86619 h 103653"/>
                <a:gd name="connsiteX14" fmla="*/ 11570 w 208725"/>
                <a:gd name="connsiteY14" fmla="*/ 90941 h 10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8725" h="103653">
                  <a:moveTo>
                    <a:pt x="11570" y="90941"/>
                  </a:moveTo>
                  <a:cubicBezTo>
                    <a:pt x="13806" y="95632"/>
                    <a:pt x="11816" y="101251"/>
                    <a:pt x="7124" y="103476"/>
                  </a:cubicBezTo>
                  <a:cubicBezTo>
                    <a:pt x="6997" y="103539"/>
                    <a:pt x="6869" y="103603"/>
                    <a:pt x="6739" y="103654"/>
                  </a:cubicBezTo>
                  <a:lnTo>
                    <a:pt x="198349" y="19498"/>
                  </a:lnTo>
                  <a:lnTo>
                    <a:pt x="203308" y="17337"/>
                  </a:lnTo>
                  <a:cubicBezTo>
                    <a:pt x="208013" y="15137"/>
                    <a:pt x="210039" y="9531"/>
                    <a:pt x="207834" y="4828"/>
                  </a:cubicBezTo>
                  <a:cubicBezTo>
                    <a:pt x="207090" y="3239"/>
                    <a:pt x="205919" y="1891"/>
                    <a:pt x="204452" y="938"/>
                  </a:cubicBezTo>
                  <a:lnTo>
                    <a:pt x="202926" y="48"/>
                  </a:lnTo>
                  <a:lnTo>
                    <a:pt x="201273" y="48"/>
                  </a:lnTo>
                  <a:lnTo>
                    <a:pt x="199493" y="48"/>
                  </a:lnTo>
                  <a:cubicBezTo>
                    <a:pt x="198902" y="-16"/>
                    <a:pt x="198304" y="-16"/>
                    <a:pt x="197713" y="48"/>
                  </a:cubicBezTo>
                  <a:lnTo>
                    <a:pt x="196442" y="48"/>
                  </a:lnTo>
                  <a:lnTo>
                    <a:pt x="1907" y="85729"/>
                  </a:lnTo>
                  <a:lnTo>
                    <a:pt x="0" y="86619"/>
                  </a:lnTo>
                  <a:cubicBezTo>
                    <a:pt x="4389" y="84636"/>
                    <a:pt x="9553" y="86568"/>
                    <a:pt x="11570" y="90941"/>
                  </a:cubicBezTo>
                  <a:close/>
                </a:path>
              </a:pathLst>
            </a:custGeom>
            <a:solidFill>
              <a:srgbClr val="000000"/>
            </a:solidFill>
            <a:ln w="12685"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1AE6F671-0AB1-40C1-9EAD-4353CAC34348}"/>
                </a:ext>
              </a:extLst>
            </p:cNvPr>
            <p:cNvSpPr/>
            <p:nvPr/>
          </p:nvSpPr>
          <p:spPr>
            <a:xfrm>
              <a:off x="1041769" y="2051779"/>
              <a:ext cx="29213" cy="23902"/>
            </a:xfrm>
            <a:custGeom>
              <a:avLst/>
              <a:gdLst>
                <a:gd name="connsiteX0" fmla="*/ 833 w 29213"/>
                <a:gd name="connsiteY0" fmla="*/ 18225 h 23902"/>
                <a:gd name="connsiteX1" fmla="*/ 11922 w 29213"/>
                <a:gd name="connsiteY1" fmla="*/ 23374 h 23902"/>
                <a:gd name="connsiteX2" fmla="*/ 12403 w 29213"/>
                <a:gd name="connsiteY2" fmla="*/ 23183 h 23902"/>
                <a:gd name="connsiteX3" fmla="*/ 23465 w 29213"/>
                <a:gd name="connsiteY3" fmla="*/ 18353 h 23902"/>
                <a:gd name="connsiteX4" fmla="*/ 28469 w 29213"/>
                <a:gd name="connsiteY4" fmla="*/ 6021 h 23902"/>
                <a:gd name="connsiteX5" fmla="*/ 28296 w 29213"/>
                <a:gd name="connsiteY5" fmla="*/ 5640 h 23902"/>
                <a:gd name="connsiteX6" fmla="*/ 16965 w 29213"/>
                <a:gd name="connsiteY6" fmla="*/ 581 h 23902"/>
                <a:gd name="connsiteX7" fmla="*/ 16726 w 29213"/>
                <a:gd name="connsiteY7" fmla="*/ 682 h 23902"/>
                <a:gd name="connsiteX8" fmla="*/ 5664 w 29213"/>
                <a:gd name="connsiteY8" fmla="*/ 5513 h 23902"/>
                <a:gd name="connsiteX9" fmla="*/ 833 w 29213"/>
                <a:gd name="connsiteY9" fmla="*/ 18225 h 2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13" h="23902">
                  <a:moveTo>
                    <a:pt x="833" y="18225"/>
                  </a:moveTo>
                  <a:cubicBezTo>
                    <a:pt x="2473" y="22713"/>
                    <a:pt x="7437" y="25014"/>
                    <a:pt x="11922" y="23374"/>
                  </a:cubicBezTo>
                  <a:cubicBezTo>
                    <a:pt x="12084" y="23310"/>
                    <a:pt x="12244" y="23247"/>
                    <a:pt x="12403" y="23183"/>
                  </a:cubicBezTo>
                  <a:lnTo>
                    <a:pt x="23465" y="18353"/>
                  </a:lnTo>
                  <a:cubicBezTo>
                    <a:pt x="28252" y="16331"/>
                    <a:pt x="30492" y="10814"/>
                    <a:pt x="28469" y="6021"/>
                  </a:cubicBezTo>
                  <a:cubicBezTo>
                    <a:pt x="28414" y="5894"/>
                    <a:pt x="28357" y="5767"/>
                    <a:pt x="28296" y="5640"/>
                  </a:cubicBezTo>
                  <a:cubicBezTo>
                    <a:pt x="26563" y="1114"/>
                    <a:pt x="21490" y="-1148"/>
                    <a:pt x="16965" y="581"/>
                  </a:cubicBezTo>
                  <a:cubicBezTo>
                    <a:pt x="16885" y="619"/>
                    <a:pt x="16805" y="644"/>
                    <a:pt x="16726" y="682"/>
                  </a:cubicBezTo>
                  <a:lnTo>
                    <a:pt x="5664" y="5513"/>
                  </a:lnTo>
                  <a:cubicBezTo>
                    <a:pt x="839" y="7712"/>
                    <a:pt x="-1317" y="13382"/>
                    <a:pt x="833" y="18225"/>
                  </a:cubicBezTo>
                  <a:close/>
                </a:path>
              </a:pathLst>
            </a:custGeom>
            <a:solidFill>
              <a:srgbClr val="000000"/>
            </a:solidFill>
            <a:ln w="12685"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86C4F8FD-3E81-4992-805C-6B834F04A5FE}"/>
                </a:ext>
              </a:extLst>
            </p:cNvPr>
            <p:cNvSpPr/>
            <p:nvPr/>
          </p:nvSpPr>
          <p:spPr>
            <a:xfrm>
              <a:off x="1893766" y="2928854"/>
              <a:ext cx="52340" cy="332478"/>
            </a:xfrm>
            <a:custGeom>
              <a:avLst/>
              <a:gdLst>
                <a:gd name="connsiteX0" fmla="*/ 42804 w 52340"/>
                <a:gd name="connsiteY0" fmla="*/ 10297 h 332478"/>
                <a:gd name="connsiteX1" fmla="*/ 35048 w 52340"/>
                <a:gd name="connsiteY1" fmla="*/ 0 h 332478"/>
                <a:gd name="connsiteX2" fmla="*/ 35048 w 52340"/>
                <a:gd name="connsiteY2" fmla="*/ 3559 h 332478"/>
                <a:gd name="connsiteX3" fmla="*/ 35048 w 52340"/>
                <a:gd name="connsiteY3" fmla="*/ 7373 h 332478"/>
                <a:gd name="connsiteX4" fmla="*/ 719 w 52340"/>
                <a:gd name="connsiteY4" fmla="*/ 317047 h 332478"/>
                <a:gd name="connsiteX5" fmla="*/ 83 w 52340"/>
                <a:gd name="connsiteY5" fmla="*/ 322132 h 332478"/>
                <a:gd name="connsiteX6" fmla="*/ 7928 w 52340"/>
                <a:gd name="connsiteY6" fmla="*/ 332429 h 332478"/>
                <a:gd name="connsiteX7" fmla="*/ 7966 w 52340"/>
                <a:gd name="connsiteY7" fmla="*/ 332429 h 332478"/>
                <a:gd name="connsiteX8" fmla="*/ 17604 w 52340"/>
                <a:gd name="connsiteY8" fmla="*/ 324611 h 332478"/>
                <a:gd name="connsiteX9" fmla="*/ 17629 w 52340"/>
                <a:gd name="connsiteY9" fmla="*/ 324293 h 332478"/>
                <a:gd name="connsiteX10" fmla="*/ 52340 w 52340"/>
                <a:gd name="connsiteY10" fmla="*/ 2034 h 332478"/>
                <a:gd name="connsiteX11" fmla="*/ 42804 w 52340"/>
                <a:gd name="connsiteY11" fmla="*/ 10297 h 33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40" h="332478">
                  <a:moveTo>
                    <a:pt x="42804" y="10297"/>
                  </a:moveTo>
                  <a:cubicBezTo>
                    <a:pt x="37871" y="9509"/>
                    <a:pt x="34438" y="4958"/>
                    <a:pt x="35048" y="0"/>
                  </a:cubicBezTo>
                  <a:lnTo>
                    <a:pt x="35048" y="3559"/>
                  </a:lnTo>
                  <a:lnTo>
                    <a:pt x="35048" y="7373"/>
                  </a:lnTo>
                  <a:lnTo>
                    <a:pt x="719" y="317047"/>
                  </a:lnTo>
                  <a:lnTo>
                    <a:pt x="83" y="322132"/>
                  </a:lnTo>
                  <a:cubicBezTo>
                    <a:pt x="-591" y="327141"/>
                    <a:pt x="2918" y="331755"/>
                    <a:pt x="7928" y="332429"/>
                  </a:cubicBezTo>
                  <a:cubicBezTo>
                    <a:pt x="7940" y="332429"/>
                    <a:pt x="7953" y="332429"/>
                    <a:pt x="7966" y="332429"/>
                  </a:cubicBezTo>
                  <a:cubicBezTo>
                    <a:pt x="12785" y="332938"/>
                    <a:pt x="17095" y="329429"/>
                    <a:pt x="17604" y="324611"/>
                  </a:cubicBezTo>
                  <a:cubicBezTo>
                    <a:pt x="17616" y="324509"/>
                    <a:pt x="17616" y="324395"/>
                    <a:pt x="17629" y="324293"/>
                  </a:cubicBezTo>
                  <a:lnTo>
                    <a:pt x="52340" y="2034"/>
                  </a:lnTo>
                  <a:cubicBezTo>
                    <a:pt x="51933" y="6916"/>
                    <a:pt x="47699" y="10590"/>
                    <a:pt x="42804" y="10297"/>
                  </a:cubicBezTo>
                  <a:close/>
                </a:path>
              </a:pathLst>
            </a:custGeom>
            <a:solidFill>
              <a:srgbClr val="000000"/>
            </a:solidFill>
            <a:ln w="12685"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81E57807-DD7A-4414-9004-10BCD85F5D14}"/>
                </a:ext>
              </a:extLst>
            </p:cNvPr>
            <p:cNvSpPr/>
            <p:nvPr/>
          </p:nvSpPr>
          <p:spPr>
            <a:xfrm>
              <a:off x="2348899" y="2989365"/>
              <a:ext cx="99054" cy="612187"/>
            </a:xfrm>
            <a:custGeom>
              <a:avLst/>
              <a:gdLst>
                <a:gd name="connsiteX0" fmla="*/ 89264 w 99054"/>
                <a:gd name="connsiteY0" fmla="*/ 10424 h 612187"/>
                <a:gd name="connsiteX1" fmla="*/ 81750 w 99054"/>
                <a:gd name="connsiteY1" fmla="*/ 114 h 612187"/>
                <a:gd name="connsiteX2" fmla="*/ 81762 w 99054"/>
                <a:gd name="connsiteY2" fmla="*/ 0 h 612187"/>
                <a:gd name="connsiteX3" fmla="*/ 134 w 99054"/>
                <a:gd name="connsiteY3" fmla="*/ 601550 h 612187"/>
                <a:gd name="connsiteX4" fmla="*/ 7509 w 99054"/>
                <a:gd name="connsiteY4" fmla="*/ 612102 h 612187"/>
                <a:gd name="connsiteX5" fmla="*/ 13993 w 99054"/>
                <a:gd name="connsiteY5" fmla="*/ 610322 h 612187"/>
                <a:gd name="connsiteX6" fmla="*/ 13993 w 99054"/>
                <a:gd name="connsiteY6" fmla="*/ 609432 h 612187"/>
                <a:gd name="connsiteX7" fmla="*/ 13993 w 99054"/>
                <a:gd name="connsiteY7" fmla="*/ 609432 h 612187"/>
                <a:gd name="connsiteX8" fmla="*/ 33701 w 99054"/>
                <a:gd name="connsiteY8" fmla="*/ 466036 h 612187"/>
                <a:gd name="connsiteX9" fmla="*/ 54680 w 99054"/>
                <a:gd name="connsiteY9" fmla="*/ 312598 h 612187"/>
                <a:gd name="connsiteX10" fmla="*/ 57859 w 99054"/>
                <a:gd name="connsiteY10" fmla="*/ 306750 h 612187"/>
                <a:gd name="connsiteX11" fmla="*/ 99054 w 99054"/>
                <a:gd name="connsiteY11" fmla="*/ 3178 h 612187"/>
                <a:gd name="connsiteX12" fmla="*/ 89264 w 99054"/>
                <a:gd name="connsiteY12" fmla="*/ 10424 h 61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54" h="612187">
                  <a:moveTo>
                    <a:pt x="89264" y="10424"/>
                  </a:moveTo>
                  <a:cubicBezTo>
                    <a:pt x="84343" y="9649"/>
                    <a:pt x="80974" y="5034"/>
                    <a:pt x="81750" y="114"/>
                  </a:cubicBezTo>
                  <a:cubicBezTo>
                    <a:pt x="81750" y="76"/>
                    <a:pt x="81762" y="38"/>
                    <a:pt x="81762" y="0"/>
                  </a:cubicBezTo>
                  <a:lnTo>
                    <a:pt x="134" y="601550"/>
                  </a:lnTo>
                  <a:cubicBezTo>
                    <a:pt x="-718" y="606496"/>
                    <a:pt x="2575" y="611199"/>
                    <a:pt x="7509" y="612102"/>
                  </a:cubicBezTo>
                  <a:cubicBezTo>
                    <a:pt x="9823" y="612432"/>
                    <a:pt x="12175" y="611797"/>
                    <a:pt x="13993" y="610322"/>
                  </a:cubicBezTo>
                  <a:lnTo>
                    <a:pt x="13993" y="609432"/>
                  </a:lnTo>
                  <a:lnTo>
                    <a:pt x="13993" y="609432"/>
                  </a:lnTo>
                  <a:lnTo>
                    <a:pt x="33701" y="466036"/>
                  </a:lnTo>
                  <a:lnTo>
                    <a:pt x="54680" y="312598"/>
                  </a:lnTo>
                  <a:cubicBezTo>
                    <a:pt x="54947" y="310310"/>
                    <a:pt x="56079" y="308212"/>
                    <a:pt x="57859" y="306750"/>
                  </a:cubicBezTo>
                  <a:lnTo>
                    <a:pt x="99054" y="3178"/>
                  </a:lnTo>
                  <a:cubicBezTo>
                    <a:pt x="98279" y="7831"/>
                    <a:pt x="93943" y="11035"/>
                    <a:pt x="89264" y="10424"/>
                  </a:cubicBezTo>
                  <a:close/>
                </a:path>
              </a:pathLst>
            </a:custGeom>
            <a:solidFill>
              <a:srgbClr val="000000"/>
            </a:solidFill>
            <a:ln w="12685"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DAA9F620-E80B-4D10-8C13-A317D35042B0}"/>
                </a:ext>
              </a:extLst>
            </p:cNvPr>
            <p:cNvSpPr/>
            <p:nvPr/>
          </p:nvSpPr>
          <p:spPr>
            <a:xfrm>
              <a:off x="2282917" y="1734313"/>
              <a:ext cx="21235" cy="22331"/>
            </a:xfrm>
            <a:custGeom>
              <a:avLst/>
              <a:gdLst>
                <a:gd name="connsiteX0" fmla="*/ 11570 w 21235"/>
                <a:gd name="connsiteY0" fmla="*/ 9619 h 22331"/>
                <a:gd name="connsiteX1" fmla="*/ 6955 w 21235"/>
                <a:gd name="connsiteY1" fmla="*/ 22289 h 22331"/>
                <a:gd name="connsiteX2" fmla="*/ 6866 w 21235"/>
                <a:gd name="connsiteY2" fmla="*/ 22331 h 22331"/>
                <a:gd name="connsiteX3" fmla="*/ 15639 w 21235"/>
                <a:gd name="connsiteY3" fmla="*/ 18390 h 22331"/>
                <a:gd name="connsiteX4" fmla="*/ 20382 w 21235"/>
                <a:gd name="connsiteY4" fmla="*/ 5770 h 22331"/>
                <a:gd name="connsiteX5" fmla="*/ 20343 w 21235"/>
                <a:gd name="connsiteY5" fmla="*/ 5678 h 22331"/>
                <a:gd name="connsiteX6" fmla="*/ 9256 w 21235"/>
                <a:gd name="connsiteY6" fmla="*/ 528 h 22331"/>
                <a:gd name="connsiteX7" fmla="*/ 8773 w 21235"/>
                <a:gd name="connsiteY7" fmla="*/ 720 h 22331"/>
                <a:gd name="connsiteX8" fmla="*/ 0 w 21235"/>
                <a:gd name="connsiteY8" fmla="*/ 4661 h 22331"/>
                <a:gd name="connsiteX9" fmla="*/ 11380 w 21235"/>
                <a:gd name="connsiteY9" fmla="*/ 9138 h 22331"/>
                <a:gd name="connsiteX10" fmla="*/ 11570 w 21235"/>
                <a:gd name="connsiteY10" fmla="*/ 9619 h 2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5" h="22331">
                  <a:moveTo>
                    <a:pt x="11570" y="9619"/>
                  </a:moveTo>
                  <a:cubicBezTo>
                    <a:pt x="13795" y="14391"/>
                    <a:pt x="11736" y="20063"/>
                    <a:pt x="6955" y="22289"/>
                  </a:cubicBezTo>
                  <a:cubicBezTo>
                    <a:pt x="6929" y="22303"/>
                    <a:pt x="6891" y="22317"/>
                    <a:pt x="6866" y="22331"/>
                  </a:cubicBezTo>
                  <a:lnTo>
                    <a:pt x="15639" y="18390"/>
                  </a:lnTo>
                  <a:cubicBezTo>
                    <a:pt x="20432" y="16215"/>
                    <a:pt x="22556" y="10565"/>
                    <a:pt x="20382" y="5770"/>
                  </a:cubicBezTo>
                  <a:cubicBezTo>
                    <a:pt x="20369" y="5739"/>
                    <a:pt x="20356" y="5708"/>
                    <a:pt x="20343" y="5678"/>
                  </a:cubicBezTo>
                  <a:cubicBezTo>
                    <a:pt x="18703" y="1194"/>
                    <a:pt x="13744" y="-1112"/>
                    <a:pt x="9256" y="528"/>
                  </a:cubicBezTo>
                  <a:cubicBezTo>
                    <a:pt x="9091" y="587"/>
                    <a:pt x="8926" y="652"/>
                    <a:pt x="8773" y="720"/>
                  </a:cubicBezTo>
                  <a:lnTo>
                    <a:pt x="0" y="4661"/>
                  </a:lnTo>
                  <a:cubicBezTo>
                    <a:pt x="4374" y="2755"/>
                    <a:pt x="9472" y="4760"/>
                    <a:pt x="11380" y="9138"/>
                  </a:cubicBezTo>
                  <a:cubicBezTo>
                    <a:pt x="11443" y="9296"/>
                    <a:pt x="11507" y="9456"/>
                    <a:pt x="11570" y="9619"/>
                  </a:cubicBezTo>
                  <a:close/>
                </a:path>
              </a:pathLst>
            </a:custGeom>
            <a:solidFill>
              <a:srgbClr val="000000"/>
            </a:solidFill>
            <a:ln w="12685"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AEA0CB14-39D4-4EBF-8FCF-637D93A2EA9E}"/>
                </a:ext>
              </a:extLst>
            </p:cNvPr>
            <p:cNvSpPr/>
            <p:nvPr/>
          </p:nvSpPr>
          <p:spPr>
            <a:xfrm>
              <a:off x="2085388" y="1738254"/>
              <a:ext cx="210031" cy="104727"/>
            </a:xfrm>
            <a:custGeom>
              <a:avLst/>
              <a:gdLst>
                <a:gd name="connsiteX0" fmla="*/ 209100 w 210031"/>
                <a:gd name="connsiteY0" fmla="*/ 5678 h 104727"/>
                <a:gd name="connsiteX1" fmla="*/ 198013 w 210031"/>
                <a:gd name="connsiteY1" fmla="*/ 528 h 104727"/>
                <a:gd name="connsiteX2" fmla="*/ 197530 w 210031"/>
                <a:gd name="connsiteY2" fmla="*/ 720 h 104727"/>
                <a:gd name="connsiteX3" fmla="*/ 192825 w 210031"/>
                <a:gd name="connsiteY3" fmla="*/ 2881 h 104727"/>
                <a:gd name="connsiteX4" fmla="*/ 19524 w 210031"/>
                <a:gd name="connsiteY4" fmla="*/ 80173 h 104727"/>
                <a:gd name="connsiteX5" fmla="*/ 5538 w 210031"/>
                <a:gd name="connsiteY5" fmla="*/ 86402 h 104727"/>
                <a:gd name="connsiteX6" fmla="*/ 834 w 210031"/>
                <a:gd name="connsiteY6" fmla="*/ 98847 h 104727"/>
                <a:gd name="connsiteX7" fmla="*/ 961 w 210031"/>
                <a:gd name="connsiteY7" fmla="*/ 99114 h 104727"/>
                <a:gd name="connsiteX8" fmla="*/ 11870 w 210031"/>
                <a:gd name="connsiteY8" fmla="*/ 104214 h 104727"/>
                <a:gd name="connsiteX9" fmla="*/ 12531 w 210031"/>
                <a:gd name="connsiteY9" fmla="*/ 103945 h 104727"/>
                <a:gd name="connsiteX10" fmla="*/ 13294 w 210031"/>
                <a:gd name="connsiteY10" fmla="*/ 103945 h 104727"/>
                <a:gd name="connsiteX11" fmla="*/ 204014 w 210031"/>
                <a:gd name="connsiteY11" fmla="*/ 18645 h 104727"/>
                <a:gd name="connsiteX12" fmla="*/ 209354 w 210031"/>
                <a:gd name="connsiteY12" fmla="*/ 6264 h 104727"/>
                <a:gd name="connsiteX13" fmla="*/ 209100 w 210031"/>
                <a:gd name="connsiteY13" fmla="*/ 5678 h 10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031" h="104727">
                  <a:moveTo>
                    <a:pt x="209100" y="5678"/>
                  </a:moveTo>
                  <a:cubicBezTo>
                    <a:pt x="207460" y="1194"/>
                    <a:pt x="202501" y="-1112"/>
                    <a:pt x="198013" y="528"/>
                  </a:cubicBezTo>
                  <a:cubicBezTo>
                    <a:pt x="197847" y="587"/>
                    <a:pt x="197682" y="652"/>
                    <a:pt x="197530" y="720"/>
                  </a:cubicBezTo>
                  <a:lnTo>
                    <a:pt x="192825" y="2881"/>
                  </a:lnTo>
                  <a:lnTo>
                    <a:pt x="19524" y="80173"/>
                  </a:lnTo>
                  <a:lnTo>
                    <a:pt x="5538" y="86402"/>
                  </a:lnTo>
                  <a:cubicBezTo>
                    <a:pt x="808" y="88540"/>
                    <a:pt x="-1302" y="94112"/>
                    <a:pt x="834" y="98847"/>
                  </a:cubicBezTo>
                  <a:cubicBezTo>
                    <a:pt x="872" y="98936"/>
                    <a:pt x="923" y="99025"/>
                    <a:pt x="961" y="99114"/>
                  </a:cubicBezTo>
                  <a:cubicBezTo>
                    <a:pt x="2563" y="103535"/>
                    <a:pt x="7458" y="105819"/>
                    <a:pt x="11870" y="104214"/>
                  </a:cubicBezTo>
                  <a:cubicBezTo>
                    <a:pt x="12099" y="104134"/>
                    <a:pt x="12315" y="104044"/>
                    <a:pt x="12531" y="103945"/>
                  </a:cubicBezTo>
                  <a:lnTo>
                    <a:pt x="13294" y="103945"/>
                  </a:lnTo>
                  <a:lnTo>
                    <a:pt x="204014" y="18645"/>
                  </a:lnTo>
                  <a:cubicBezTo>
                    <a:pt x="208909" y="16701"/>
                    <a:pt x="211300" y="11157"/>
                    <a:pt x="209354" y="6264"/>
                  </a:cubicBezTo>
                  <a:cubicBezTo>
                    <a:pt x="209278" y="6066"/>
                    <a:pt x="209189" y="5870"/>
                    <a:pt x="209100" y="5678"/>
                  </a:cubicBezTo>
                  <a:close/>
                </a:path>
              </a:pathLst>
            </a:custGeom>
            <a:solidFill>
              <a:srgbClr val="000000"/>
            </a:solidFill>
            <a:ln w="12685"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3D2424A8-4D54-489E-BBFF-89C640A3EDA6}"/>
                </a:ext>
              </a:extLst>
            </p:cNvPr>
            <p:cNvSpPr/>
            <p:nvPr/>
          </p:nvSpPr>
          <p:spPr>
            <a:xfrm>
              <a:off x="3276215" y="3965168"/>
              <a:ext cx="114403" cy="497618"/>
            </a:xfrm>
            <a:custGeom>
              <a:avLst/>
              <a:gdLst>
                <a:gd name="connsiteX0" fmla="*/ 7092 w 114403"/>
                <a:gd name="connsiteY0" fmla="*/ 497436 h 497618"/>
                <a:gd name="connsiteX1" fmla="*/ 17454 w 114403"/>
                <a:gd name="connsiteY1" fmla="*/ 490622 h 497618"/>
                <a:gd name="connsiteX2" fmla="*/ 17518 w 114403"/>
                <a:gd name="connsiteY2" fmla="*/ 490317 h 497618"/>
                <a:gd name="connsiteX3" fmla="*/ 18535 w 114403"/>
                <a:gd name="connsiteY3" fmla="*/ 484978 h 497618"/>
                <a:gd name="connsiteX4" fmla="*/ 19425 w 114403"/>
                <a:gd name="connsiteY4" fmla="*/ 480783 h 497618"/>
                <a:gd name="connsiteX5" fmla="*/ 114404 w 114403"/>
                <a:gd name="connsiteY5" fmla="*/ 3814 h 497618"/>
                <a:gd name="connsiteX6" fmla="*/ 104384 w 114403"/>
                <a:gd name="connsiteY6" fmla="*/ 11136 h 497618"/>
                <a:gd name="connsiteX7" fmla="*/ 103978 w 114403"/>
                <a:gd name="connsiteY7" fmla="*/ 11060 h 497618"/>
                <a:gd name="connsiteX8" fmla="*/ 97112 w 114403"/>
                <a:gd name="connsiteY8" fmla="*/ 0 h 497618"/>
                <a:gd name="connsiteX9" fmla="*/ 226 w 114403"/>
                <a:gd name="connsiteY9" fmla="*/ 486503 h 497618"/>
                <a:gd name="connsiteX10" fmla="*/ 7092 w 114403"/>
                <a:gd name="connsiteY10" fmla="*/ 497436 h 4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403" h="497618">
                  <a:moveTo>
                    <a:pt x="7092" y="497436"/>
                  </a:moveTo>
                  <a:cubicBezTo>
                    <a:pt x="11834" y="498415"/>
                    <a:pt x="16475" y="495364"/>
                    <a:pt x="17454" y="490622"/>
                  </a:cubicBezTo>
                  <a:cubicBezTo>
                    <a:pt x="17480" y="490520"/>
                    <a:pt x="17505" y="490419"/>
                    <a:pt x="17518" y="490317"/>
                  </a:cubicBezTo>
                  <a:lnTo>
                    <a:pt x="18535" y="484978"/>
                  </a:lnTo>
                  <a:lnTo>
                    <a:pt x="19425" y="480783"/>
                  </a:lnTo>
                  <a:lnTo>
                    <a:pt x="114404" y="3814"/>
                  </a:lnTo>
                  <a:cubicBezTo>
                    <a:pt x="113653" y="8606"/>
                    <a:pt x="109178" y="11873"/>
                    <a:pt x="104384" y="11136"/>
                  </a:cubicBezTo>
                  <a:cubicBezTo>
                    <a:pt x="104244" y="11111"/>
                    <a:pt x="104117" y="11085"/>
                    <a:pt x="103978" y="11060"/>
                  </a:cubicBezTo>
                  <a:cubicBezTo>
                    <a:pt x="99095" y="9801"/>
                    <a:pt x="96069" y="4932"/>
                    <a:pt x="97112" y="0"/>
                  </a:cubicBezTo>
                  <a:lnTo>
                    <a:pt x="226" y="486503"/>
                  </a:lnTo>
                  <a:cubicBezTo>
                    <a:pt x="-880" y="491410"/>
                    <a:pt x="2184" y="496304"/>
                    <a:pt x="7092" y="497436"/>
                  </a:cubicBezTo>
                  <a:close/>
                </a:path>
              </a:pathLst>
            </a:custGeom>
            <a:solidFill>
              <a:srgbClr val="000000"/>
            </a:solidFill>
            <a:ln w="12685"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D552937B-DD88-48DD-8DF7-D9BB7FA8D309}"/>
                </a:ext>
              </a:extLst>
            </p:cNvPr>
            <p:cNvSpPr/>
            <p:nvPr/>
          </p:nvSpPr>
          <p:spPr>
            <a:xfrm>
              <a:off x="1581629" y="3609984"/>
              <a:ext cx="198423" cy="110306"/>
            </a:xfrm>
            <a:custGeom>
              <a:avLst/>
              <a:gdLst>
                <a:gd name="connsiteX0" fmla="*/ 198423 w 198423"/>
                <a:gd name="connsiteY0" fmla="*/ 17162 h 110306"/>
                <a:gd name="connsiteX1" fmla="*/ 187006 w 198423"/>
                <a:gd name="connsiteY1" fmla="*/ 13323 h 110306"/>
                <a:gd name="connsiteX2" fmla="*/ 186726 w 198423"/>
                <a:gd name="connsiteY2" fmla="*/ 12712 h 110306"/>
                <a:gd name="connsiteX3" fmla="*/ 190922 w 198423"/>
                <a:gd name="connsiteY3" fmla="*/ 0 h 110306"/>
                <a:gd name="connsiteX4" fmla="*/ 186471 w 198423"/>
                <a:gd name="connsiteY4" fmla="*/ 2161 h 110306"/>
                <a:gd name="connsiteX5" fmla="*/ 11645 w 198423"/>
                <a:gd name="connsiteY5" fmla="*/ 89114 h 110306"/>
                <a:gd name="connsiteX6" fmla="*/ 8339 w 198423"/>
                <a:gd name="connsiteY6" fmla="*/ 90639 h 110306"/>
                <a:gd name="connsiteX7" fmla="*/ 5287 w 198423"/>
                <a:gd name="connsiteY7" fmla="*/ 92292 h 110306"/>
                <a:gd name="connsiteX8" fmla="*/ 965 w 198423"/>
                <a:gd name="connsiteY8" fmla="*/ 105004 h 110306"/>
                <a:gd name="connsiteX9" fmla="*/ 12497 w 198423"/>
                <a:gd name="connsiteY9" fmla="*/ 109594 h 110306"/>
                <a:gd name="connsiteX10" fmla="*/ 12789 w 198423"/>
                <a:gd name="connsiteY10" fmla="*/ 109454 h 110306"/>
                <a:gd name="connsiteX11" fmla="*/ 195117 w 198423"/>
                <a:gd name="connsiteY11" fmla="*/ 19069 h 11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423" h="110306">
                  <a:moveTo>
                    <a:pt x="198423" y="17162"/>
                  </a:moveTo>
                  <a:cubicBezTo>
                    <a:pt x="194215" y="19259"/>
                    <a:pt x="189103" y="17543"/>
                    <a:pt x="187006" y="13323"/>
                  </a:cubicBezTo>
                  <a:cubicBezTo>
                    <a:pt x="186904" y="13132"/>
                    <a:pt x="186815" y="12916"/>
                    <a:pt x="186726" y="12712"/>
                  </a:cubicBezTo>
                  <a:cubicBezTo>
                    <a:pt x="184412" y="8047"/>
                    <a:pt x="186281" y="2377"/>
                    <a:pt x="190922" y="0"/>
                  </a:cubicBezTo>
                  <a:lnTo>
                    <a:pt x="186471" y="2161"/>
                  </a:lnTo>
                  <a:lnTo>
                    <a:pt x="11645" y="89114"/>
                  </a:lnTo>
                  <a:lnTo>
                    <a:pt x="8339" y="90639"/>
                  </a:lnTo>
                  <a:lnTo>
                    <a:pt x="5287" y="92292"/>
                  </a:lnTo>
                  <a:cubicBezTo>
                    <a:pt x="596" y="94618"/>
                    <a:pt x="-1324" y="100301"/>
                    <a:pt x="965" y="105004"/>
                  </a:cubicBezTo>
                  <a:cubicBezTo>
                    <a:pt x="2884" y="109454"/>
                    <a:pt x="8047" y="111500"/>
                    <a:pt x="12497" y="109594"/>
                  </a:cubicBezTo>
                  <a:cubicBezTo>
                    <a:pt x="12598" y="109543"/>
                    <a:pt x="12687" y="109505"/>
                    <a:pt x="12789" y="109454"/>
                  </a:cubicBezTo>
                  <a:lnTo>
                    <a:pt x="195117" y="19069"/>
                  </a:lnTo>
                  <a:close/>
                </a:path>
              </a:pathLst>
            </a:custGeom>
            <a:solidFill>
              <a:srgbClr val="000000"/>
            </a:solidFill>
            <a:ln w="12685"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202FFE03-D18C-492A-AE8C-F00CE98B9AB2}"/>
                </a:ext>
              </a:extLst>
            </p:cNvPr>
            <p:cNvSpPr/>
            <p:nvPr/>
          </p:nvSpPr>
          <p:spPr>
            <a:xfrm>
              <a:off x="1766981" y="3605153"/>
              <a:ext cx="29012" cy="23269"/>
            </a:xfrm>
            <a:custGeom>
              <a:avLst/>
              <a:gdLst>
                <a:gd name="connsiteX0" fmla="*/ 5188 w 29012"/>
                <a:gd name="connsiteY0" fmla="*/ 5212 h 23269"/>
                <a:gd name="connsiteX1" fmla="*/ 992 w 29012"/>
                <a:gd name="connsiteY1" fmla="*/ 17925 h 23269"/>
                <a:gd name="connsiteX2" fmla="*/ 12079 w 29012"/>
                <a:gd name="connsiteY2" fmla="*/ 22653 h 23269"/>
                <a:gd name="connsiteX3" fmla="*/ 12690 w 29012"/>
                <a:gd name="connsiteY3" fmla="*/ 22374 h 23269"/>
                <a:gd name="connsiteX4" fmla="*/ 24006 w 29012"/>
                <a:gd name="connsiteY4" fmla="*/ 16780 h 23269"/>
                <a:gd name="connsiteX5" fmla="*/ 28965 w 29012"/>
                <a:gd name="connsiteY5" fmla="*/ 8645 h 23269"/>
                <a:gd name="connsiteX6" fmla="*/ 28965 w 29012"/>
                <a:gd name="connsiteY6" fmla="*/ 6865 h 23269"/>
                <a:gd name="connsiteX7" fmla="*/ 28965 w 29012"/>
                <a:gd name="connsiteY7" fmla="*/ 5085 h 23269"/>
                <a:gd name="connsiteX8" fmla="*/ 28965 w 29012"/>
                <a:gd name="connsiteY8" fmla="*/ 4449 h 23269"/>
                <a:gd name="connsiteX9" fmla="*/ 28329 w 29012"/>
                <a:gd name="connsiteY9" fmla="*/ 3559 h 23269"/>
                <a:gd name="connsiteX10" fmla="*/ 27312 w 29012"/>
                <a:gd name="connsiteY10" fmla="*/ 2034 h 23269"/>
                <a:gd name="connsiteX11" fmla="*/ 26040 w 29012"/>
                <a:gd name="connsiteY11" fmla="*/ 890 h 23269"/>
                <a:gd name="connsiteX12" fmla="*/ 24642 w 29012"/>
                <a:gd name="connsiteY12" fmla="*/ 0 h 23269"/>
                <a:gd name="connsiteX13" fmla="*/ 22862 w 29012"/>
                <a:gd name="connsiteY13" fmla="*/ 0 h 23269"/>
                <a:gd name="connsiteX14" fmla="*/ 21336 w 29012"/>
                <a:gd name="connsiteY14" fmla="*/ 0 h 23269"/>
                <a:gd name="connsiteX15" fmla="*/ 20064 w 29012"/>
                <a:gd name="connsiteY15" fmla="*/ 0 h 23269"/>
                <a:gd name="connsiteX16" fmla="*/ 17267 w 29012"/>
                <a:gd name="connsiteY16" fmla="*/ 763 h 2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012" h="23269">
                  <a:moveTo>
                    <a:pt x="5188" y="5212"/>
                  </a:moveTo>
                  <a:cubicBezTo>
                    <a:pt x="547" y="7589"/>
                    <a:pt x="-1322" y="13259"/>
                    <a:pt x="992" y="17925"/>
                  </a:cubicBezTo>
                  <a:cubicBezTo>
                    <a:pt x="2747" y="22285"/>
                    <a:pt x="7706" y="24408"/>
                    <a:pt x="12079" y="22653"/>
                  </a:cubicBezTo>
                  <a:cubicBezTo>
                    <a:pt x="12283" y="22565"/>
                    <a:pt x="12486" y="22476"/>
                    <a:pt x="12690" y="22374"/>
                  </a:cubicBezTo>
                  <a:lnTo>
                    <a:pt x="24006" y="16780"/>
                  </a:lnTo>
                  <a:cubicBezTo>
                    <a:pt x="27032" y="15191"/>
                    <a:pt x="28939" y="12064"/>
                    <a:pt x="28965" y="8645"/>
                  </a:cubicBezTo>
                  <a:cubicBezTo>
                    <a:pt x="28965" y="8645"/>
                    <a:pt x="28965" y="7500"/>
                    <a:pt x="28965" y="6865"/>
                  </a:cubicBezTo>
                  <a:cubicBezTo>
                    <a:pt x="29015" y="6267"/>
                    <a:pt x="29015" y="5683"/>
                    <a:pt x="28965" y="5085"/>
                  </a:cubicBezTo>
                  <a:cubicBezTo>
                    <a:pt x="29028" y="4882"/>
                    <a:pt x="29028" y="4653"/>
                    <a:pt x="28965" y="4449"/>
                  </a:cubicBezTo>
                  <a:cubicBezTo>
                    <a:pt x="28965" y="4449"/>
                    <a:pt x="28965" y="4449"/>
                    <a:pt x="28329" y="3559"/>
                  </a:cubicBezTo>
                  <a:cubicBezTo>
                    <a:pt x="28036" y="3026"/>
                    <a:pt x="27693" y="2517"/>
                    <a:pt x="27312" y="2034"/>
                  </a:cubicBezTo>
                  <a:lnTo>
                    <a:pt x="26040" y="890"/>
                  </a:lnTo>
                  <a:lnTo>
                    <a:pt x="24642" y="0"/>
                  </a:lnTo>
                  <a:lnTo>
                    <a:pt x="22862" y="0"/>
                  </a:lnTo>
                  <a:lnTo>
                    <a:pt x="21336" y="0"/>
                  </a:lnTo>
                  <a:lnTo>
                    <a:pt x="20064" y="0"/>
                  </a:lnTo>
                  <a:cubicBezTo>
                    <a:pt x="19098" y="76"/>
                    <a:pt x="18144" y="331"/>
                    <a:pt x="17267" y="763"/>
                  </a:cubicBezTo>
                  <a:close/>
                </a:path>
              </a:pathLst>
            </a:custGeom>
            <a:solidFill>
              <a:srgbClr val="000000"/>
            </a:solidFill>
            <a:ln w="12685"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41FBB363-78C7-4E61-91B6-C89D9784D293}"/>
                </a:ext>
              </a:extLst>
            </p:cNvPr>
            <p:cNvSpPr/>
            <p:nvPr/>
          </p:nvSpPr>
          <p:spPr>
            <a:xfrm>
              <a:off x="1824241" y="4952285"/>
              <a:ext cx="28539" cy="104802"/>
            </a:xfrm>
            <a:custGeom>
              <a:avLst/>
              <a:gdLst>
                <a:gd name="connsiteX0" fmla="*/ 8832 w 28539"/>
                <a:gd name="connsiteY0" fmla="*/ 104750 h 104802"/>
                <a:gd name="connsiteX1" fmla="*/ 14935 w 28539"/>
                <a:gd name="connsiteY1" fmla="*/ 103098 h 104802"/>
                <a:gd name="connsiteX2" fmla="*/ 8832 w 28539"/>
                <a:gd name="connsiteY2" fmla="*/ 96741 h 104802"/>
                <a:gd name="connsiteX3" fmla="*/ 8832 w 28539"/>
                <a:gd name="connsiteY3" fmla="*/ 94326 h 104802"/>
                <a:gd name="connsiteX4" fmla="*/ 10803 w 28539"/>
                <a:gd name="connsiteY4" fmla="*/ 94135 h 104802"/>
                <a:gd name="connsiteX5" fmla="*/ 10993 w 28539"/>
                <a:gd name="connsiteY5" fmla="*/ 94326 h 104802"/>
                <a:gd name="connsiteX6" fmla="*/ 17097 w 28539"/>
                <a:gd name="connsiteY6" fmla="*/ 100682 h 104802"/>
                <a:gd name="connsiteX7" fmla="*/ 18622 w 28539"/>
                <a:gd name="connsiteY7" fmla="*/ 96614 h 104802"/>
                <a:gd name="connsiteX8" fmla="*/ 28540 w 28539"/>
                <a:gd name="connsiteY8" fmla="*/ 11441 h 104802"/>
                <a:gd name="connsiteX9" fmla="*/ 28540 w 28539"/>
                <a:gd name="connsiteY9" fmla="*/ 7246 h 104802"/>
                <a:gd name="connsiteX10" fmla="*/ 28540 w 28539"/>
                <a:gd name="connsiteY10" fmla="*/ 2288 h 104802"/>
                <a:gd name="connsiteX11" fmla="*/ 18838 w 28539"/>
                <a:gd name="connsiteY11" fmla="*/ 10310 h 104802"/>
                <a:gd name="connsiteX12" fmla="*/ 18749 w 28539"/>
                <a:gd name="connsiteY12" fmla="*/ 10297 h 104802"/>
                <a:gd name="connsiteX13" fmla="*/ 10993 w 28539"/>
                <a:gd name="connsiteY13" fmla="*/ 0 h 104802"/>
                <a:gd name="connsiteX14" fmla="*/ 59 w 28539"/>
                <a:gd name="connsiteY14" fmla="*/ 94453 h 104802"/>
                <a:gd name="connsiteX15" fmla="*/ 8260 w 28539"/>
                <a:gd name="connsiteY15" fmla="*/ 104699 h 104802"/>
                <a:gd name="connsiteX16" fmla="*/ 8832 w 28539"/>
                <a:gd name="connsiteY16" fmla="*/ 104750 h 10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39" h="104802">
                  <a:moveTo>
                    <a:pt x="8832" y="104750"/>
                  </a:moveTo>
                  <a:cubicBezTo>
                    <a:pt x="11006" y="104992"/>
                    <a:pt x="13180" y="104394"/>
                    <a:pt x="14935" y="103098"/>
                  </a:cubicBezTo>
                  <a:lnTo>
                    <a:pt x="8832" y="96741"/>
                  </a:lnTo>
                  <a:cubicBezTo>
                    <a:pt x="8196" y="96055"/>
                    <a:pt x="8196" y="95012"/>
                    <a:pt x="8832" y="94326"/>
                  </a:cubicBezTo>
                  <a:cubicBezTo>
                    <a:pt x="9328" y="93729"/>
                    <a:pt x="10205" y="93639"/>
                    <a:pt x="10803" y="94135"/>
                  </a:cubicBezTo>
                  <a:cubicBezTo>
                    <a:pt x="10866" y="94186"/>
                    <a:pt x="10930" y="94250"/>
                    <a:pt x="10993" y="94326"/>
                  </a:cubicBezTo>
                  <a:lnTo>
                    <a:pt x="17097" y="100682"/>
                  </a:lnTo>
                  <a:cubicBezTo>
                    <a:pt x="17936" y="99475"/>
                    <a:pt x="18457" y="98076"/>
                    <a:pt x="18622" y="96614"/>
                  </a:cubicBezTo>
                  <a:lnTo>
                    <a:pt x="28540" y="11441"/>
                  </a:lnTo>
                  <a:lnTo>
                    <a:pt x="28540" y="7246"/>
                  </a:lnTo>
                  <a:lnTo>
                    <a:pt x="28540" y="2288"/>
                  </a:lnTo>
                  <a:cubicBezTo>
                    <a:pt x="28069" y="7183"/>
                    <a:pt x="23733" y="10768"/>
                    <a:pt x="18838" y="10310"/>
                  </a:cubicBezTo>
                  <a:cubicBezTo>
                    <a:pt x="18813" y="10297"/>
                    <a:pt x="18775" y="10297"/>
                    <a:pt x="18749" y="10297"/>
                  </a:cubicBezTo>
                  <a:cubicBezTo>
                    <a:pt x="13778" y="9572"/>
                    <a:pt x="10307" y="4983"/>
                    <a:pt x="10993" y="0"/>
                  </a:cubicBezTo>
                  <a:lnTo>
                    <a:pt x="59" y="94453"/>
                  </a:lnTo>
                  <a:cubicBezTo>
                    <a:pt x="-513" y="99551"/>
                    <a:pt x="3161" y="104140"/>
                    <a:pt x="8260" y="104699"/>
                  </a:cubicBezTo>
                  <a:cubicBezTo>
                    <a:pt x="8450" y="104725"/>
                    <a:pt x="8641" y="104738"/>
                    <a:pt x="8832" y="104750"/>
                  </a:cubicBezTo>
                  <a:close/>
                </a:path>
              </a:pathLst>
            </a:custGeom>
            <a:solidFill>
              <a:srgbClr val="000000"/>
            </a:solidFill>
            <a:ln w="12685"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20270979-9C79-49AD-8708-B33E6478ED5C}"/>
                </a:ext>
              </a:extLst>
            </p:cNvPr>
            <p:cNvSpPr/>
            <p:nvPr/>
          </p:nvSpPr>
          <p:spPr>
            <a:xfrm>
              <a:off x="1835783" y="4756974"/>
              <a:ext cx="39334" cy="205656"/>
            </a:xfrm>
            <a:custGeom>
              <a:avLst/>
              <a:gdLst>
                <a:gd name="connsiteX0" fmla="*/ 7843 w 39334"/>
                <a:gd name="connsiteY0" fmla="*/ 205608 h 205656"/>
                <a:gd name="connsiteX1" fmla="*/ 17620 w 39334"/>
                <a:gd name="connsiteY1" fmla="*/ 197688 h 205656"/>
                <a:gd name="connsiteX2" fmla="*/ 17633 w 39334"/>
                <a:gd name="connsiteY2" fmla="*/ 197599 h 205656"/>
                <a:gd name="connsiteX3" fmla="*/ 39248 w 39334"/>
                <a:gd name="connsiteY3" fmla="*/ 10346 h 205656"/>
                <a:gd name="connsiteX4" fmla="*/ 31492 w 39334"/>
                <a:gd name="connsiteY4" fmla="*/ 49 h 205656"/>
                <a:gd name="connsiteX5" fmla="*/ 21714 w 39334"/>
                <a:gd name="connsiteY5" fmla="*/ 7968 h 205656"/>
                <a:gd name="connsiteX6" fmla="*/ 21701 w 39334"/>
                <a:gd name="connsiteY6" fmla="*/ 8057 h 205656"/>
                <a:gd name="connsiteX7" fmla="*/ 87 w 39334"/>
                <a:gd name="connsiteY7" fmla="*/ 195311 h 205656"/>
                <a:gd name="connsiteX8" fmla="*/ 7843 w 39334"/>
                <a:gd name="connsiteY8" fmla="*/ 205608 h 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34" h="205656">
                  <a:moveTo>
                    <a:pt x="7843" y="205608"/>
                  </a:moveTo>
                  <a:cubicBezTo>
                    <a:pt x="12725" y="206116"/>
                    <a:pt x="17112" y="202570"/>
                    <a:pt x="17620" y="197688"/>
                  </a:cubicBezTo>
                  <a:cubicBezTo>
                    <a:pt x="17633" y="197662"/>
                    <a:pt x="17633" y="197624"/>
                    <a:pt x="17633" y="197599"/>
                  </a:cubicBezTo>
                  <a:lnTo>
                    <a:pt x="39248" y="10346"/>
                  </a:lnTo>
                  <a:cubicBezTo>
                    <a:pt x="39934" y="5362"/>
                    <a:pt x="36463" y="773"/>
                    <a:pt x="31492" y="49"/>
                  </a:cubicBezTo>
                  <a:cubicBezTo>
                    <a:pt x="26609" y="-460"/>
                    <a:pt x="22223" y="3087"/>
                    <a:pt x="21714" y="7968"/>
                  </a:cubicBezTo>
                  <a:cubicBezTo>
                    <a:pt x="21701" y="7994"/>
                    <a:pt x="21701" y="8032"/>
                    <a:pt x="21701" y="8057"/>
                  </a:cubicBezTo>
                  <a:lnTo>
                    <a:pt x="87" y="195311"/>
                  </a:lnTo>
                  <a:cubicBezTo>
                    <a:pt x="-600" y="200294"/>
                    <a:pt x="2871" y="204883"/>
                    <a:pt x="7843" y="205608"/>
                  </a:cubicBezTo>
                  <a:close/>
                </a:path>
              </a:pathLst>
            </a:custGeom>
            <a:solidFill>
              <a:srgbClr val="000000"/>
            </a:solidFill>
            <a:ln w="12685"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31B96159-33AA-4378-8C38-AD293A28385B}"/>
                </a:ext>
              </a:extLst>
            </p:cNvPr>
            <p:cNvSpPr/>
            <p:nvPr/>
          </p:nvSpPr>
          <p:spPr>
            <a:xfrm>
              <a:off x="1872945" y="4379592"/>
              <a:ext cx="45697" cy="252516"/>
            </a:xfrm>
            <a:custGeom>
              <a:avLst/>
              <a:gdLst>
                <a:gd name="connsiteX0" fmla="*/ 8825 w 45697"/>
                <a:gd name="connsiteY0" fmla="*/ 252468 h 252516"/>
                <a:gd name="connsiteX1" fmla="*/ 18602 w 45697"/>
                <a:gd name="connsiteY1" fmla="*/ 244548 h 252516"/>
                <a:gd name="connsiteX2" fmla="*/ 18615 w 45697"/>
                <a:gd name="connsiteY2" fmla="*/ 244459 h 252516"/>
                <a:gd name="connsiteX3" fmla="*/ 18615 w 45697"/>
                <a:gd name="connsiteY3" fmla="*/ 240264 h 252516"/>
                <a:gd name="connsiteX4" fmla="*/ 18615 w 45697"/>
                <a:gd name="connsiteY4" fmla="*/ 236323 h 252516"/>
                <a:gd name="connsiteX5" fmla="*/ 44935 w 45697"/>
                <a:gd name="connsiteY5" fmla="*/ 9026 h 252516"/>
                <a:gd name="connsiteX6" fmla="*/ 45697 w 45697"/>
                <a:gd name="connsiteY6" fmla="*/ 2161 h 252516"/>
                <a:gd name="connsiteX7" fmla="*/ 45697 w 45697"/>
                <a:gd name="connsiteY7" fmla="*/ 2161 h 252516"/>
                <a:gd name="connsiteX8" fmla="*/ 35869 w 45697"/>
                <a:gd name="connsiteY8" fmla="*/ 10310 h 252516"/>
                <a:gd name="connsiteX9" fmla="*/ 35780 w 45697"/>
                <a:gd name="connsiteY9" fmla="*/ 10297 h 252516"/>
                <a:gd name="connsiteX10" fmla="*/ 28151 w 45697"/>
                <a:gd name="connsiteY10" fmla="*/ 0 h 252516"/>
                <a:gd name="connsiteX11" fmla="*/ 179 w 45697"/>
                <a:gd name="connsiteY11" fmla="*/ 241535 h 252516"/>
                <a:gd name="connsiteX12" fmla="*/ 7375 w 45697"/>
                <a:gd name="connsiteY12" fmla="*/ 252303 h 252516"/>
                <a:gd name="connsiteX13" fmla="*/ 8825 w 45697"/>
                <a:gd name="connsiteY13" fmla="*/ 252468 h 25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697" h="252516">
                  <a:moveTo>
                    <a:pt x="8825" y="252468"/>
                  </a:moveTo>
                  <a:cubicBezTo>
                    <a:pt x="13707" y="252976"/>
                    <a:pt x="18094" y="249430"/>
                    <a:pt x="18602" y="244548"/>
                  </a:cubicBezTo>
                  <a:cubicBezTo>
                    <a:pt x="18615" y="244523"/>
                    <a:pt x="18615" y="244485"/>
                    <a:pt x="18615" y="244459"/>
                  </a:cubicBezTo>
                  <a:lnTo>
                    <a:pt x="18615" y="240264"/>
                  </a:lnTo>
                  <a:lnTo>
                    <a:pt x="18615" y="236323"/>
                  </a:lnTo>
                  <a:lnTo>
                    <a:pt x="44935" y="9026"/>
                  </a:lnTo>
                  <a:lnTo>
                    <a:pt x="45697" y="2161"/>
                  </a:lnTo>
                  <a:lnTo>
                    <a:pt x="45697" y="2161"/>
                  </a:lnTo>
                  <a:cubicBezTo>
                    <a:pt x="45227" y="7119"/>
                    <a:pt x="40828" y="10767"/>
                    <a:pt x="35869" y="10310"/>
                  </a:cubicBezTo>
                  <a:cubicBezTo>
                    <a:pt x="35844" y="10297"/>
                    <a:pt x="35805" y="10297"/>
                    <a:pt x="35780" y="10297"/>
                  </a:cubicBezTo>
                  <a:cubicBezTo>
                    <a:pt x="30859" y="9509"/>
                    <a:pt x="27465" y="4932"/>
                    <a:pt x="28151" y="0"/>
                  </a:cubicBezTo>
                  <a:lnTo>
                    <a:pt x="179" y="241535"/>
                  </a:lnTo>
                  <a:cubicBezTo>
                    <a:pt x="-813" y="246493"/>
                    <a:pt x="2417" y="251311"/>
                    <a:pt x="7375" y="252303"/>
                  </a:cubicBezTo>
                  <a:cubicBezTo>
                    <a:pt x="7846" y="252392"/>
                    <a:pt x="8342" y="252455"/>
                    <a:pt x="8825" y="252468"/>
                  </a:cubicBezTo>
                  <a:close/>
                </a:path>
              </a:pathLst>
            </a:custGeom>
            <a:solidFill>
              <a:srgbClr val="000000"/>
            </a:solidFill>
            <a:ln w="12685"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9EB65783-BC2C-4BB0-A2C0-A640426C9554}"/>
                </a:ext>
              </a:extLst>
            </p:cNvPr>
            <p:cNvSpPr/>
            <p:nvPr/>
          </p:nvSpPr>
          <p:spPr>
            <a:xfrm>
              <a:off x="1903557" y="4307719"/>
              <a:ext cx="23603" cy="82217"/>
            </a:xfrm>
            <a:custGeom>
              <a:avLst/>
              <a:gdLst>
                <a:gd name="connsiteX0" fmla="*/ 6439 w 23603"/>
                <a:gd name="connsiteY0" fmla="*/ 82170 h 82217"/>
                <a:gd name="connsiteX1" fmla="*/ 16344 w 23603"/>
                <a:gd name="connsiteY1" fmla="*/ 74123 h 82217"/>
                <a:gd name="connsiteX2" fmla="*/ 16356 w 23603"/>
                <a:gd name="connsiteY2" fmla="*/ 74034 h 82217"/>
                <a:gd name="connsiteX3" fmla="*/ 16356 w 23603"/>
                <a:gd name="connsiteY3" fmla="*/ 74034 h 82217"/>
                <a:gd name="connsiteX4" fmla="*/ 23604 w 23603"/>
                <a:gd name="connsiteY4" fmla="*/ 10472 h 82217"/>
                <a:gd name="connsiteX5" fmla="*/ 23604 w 23603"/>
                <a:gd name="connsiteY5" fmla="*/ 9709 h 82217"/>
                <a:gd name="connsiteX6" fmla="*/ 23604 w 23603"/>
                <a:gd name="connsiteY6" fmla="*/ 7802 h 82217"/>
                <a:gd name="connsiteX7" fmla="*/ 23604 w 23603"/>
                <a:gd name="connsiteY7" fmla="*/ 6150 h 82217"/>
                <a:gd name="connsiteX8" fmla="*/ 22841 w 23603"/>
                <a:gd name="connsiteY8" fmla="*/ 4624 h 82217"/>
                <a:gd name="connsiteX9" fmla="*/ 21824 w 23603"/>
                <a:gd name="connsiteY9" fmla="*/ 3099 h 82217"/>
                <a:gd name="connsiteX10" fmla="*/ 16483 w 23603"/>
                <a:gd name="connsiteY10" fmla="*/ 48 h 82217"/>
                <a:gd name="connsiteX11" fmla="*/ 6579 w 23603"/>
                <a:gd name="connsiteY11" fmla="*/ 8095 h 82217"/>
                <a:gd name="connsiteX12" fmla="*/ 6566 w 23603"/>
                <a:gd name="connsiteY12" fmla="*/ 8184 h 82217"/>
                <a:gd name="connsiteX13" fmla="*/ 6566 w 23603"/>
                <a:gd name="connsiteY13" fmla="*/ 12887 h 82217"/>
                <a:gd name="connsiteX14" fmla="*/ 6566 w 23603"/>
                <a:gd name="connsiteY14" fmla="*/ 16193 h 82217"/>
                <a:gd name="connsiteX15" fmla="*/ 209 w 23603"/>
                <a:gd name="connsiteY15" fmla="*/ 71491 h 82217"/>
                <a:gd name="connsiteX16" fmla="*/ 6439 w 23603"/>
                <a:gd name="connsiteY16" fmla="*/ 82170 h 8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3" h="82217">
                  <a:moveTo>
                    <a:pt x="6439" y="82170"/>
                  </a:moveTo>
                  <a:cubicBezTo>
                    <a:pt x="11398" y="82678"/>
                    <a:pt x="15835" y="79081"/>
                    <a:pt x="16344" y="74123"/>
                  </a:cubicBezTo>
                  <a:cubicBezTo>
                    <a:pt x="16356" y="74097"/>
                    <a:pt x="16356" y="74059"/>
                    <a:pt x="16356" y="74034"/>
                  </a:cubicBezTo>
                  <a:lnTo>
                    <a:pt x="16356" y="74034"/>
                  </a:lnTo>
                  <a:lnTo>
                    <a:pt x="23604" y="10472"/>
                  </a:lnTo>
                  <a:lnTo>
                    <a:pt x="23604" y="9709"/>
                  </a:lnTo>
                  <a:cubicBezTo>
                    <a:pt x="23604" y="9074"/>
                    <a:pt x="23604" y="8438"/>
                    <a:pt x="23604" y="7802"/>
                  </a:cubicBezTo>
                  <a:lnTo>
                    <a:pt x="23604" y="6150"/>
                  </a:lnTo>
                  <a:lnTo>
                    <a:pt x="22841" y="4624"/>
                  </a:lnTo>
                  <a:lnTo>
                    <a:pt x="21824" y="3099"/>
                  </a:lnTo>
                  <a:cubicBezTo>
                    <a:pt x="20476" y="1472"/>
                    <a:pt x="18569" y="391"/>
                    <a:pt x="16483" y="48"/>
                  </a:cubicBezTo>
                  <a:cubicBezTo>
                    <a:pt x="11525" y="-461"/>
                    <a:pt x="7087" y="3137"/>
                    <a:pt x="6579" y="8095"/>
                  </a:cubicBezTo>
                  <a:cubicBezTo>
                    <a:pt x="6566" y="8120"/>
                    <a:pt x="6566" y="8158"/>
                    <a:pt x="6566" y="8184"/>
                  </a:cubicBezTo>
                  <a:lnTo>
                    <a:pt x="6566" y="12887"/>
                  </a:lnTo>
                  <a:lnTo>
                    <a:pt x="6566" y="16193"/>
                  </a:lnTo>
                  <a:lnTo>
                    <a:pt x="209" y="71491"/>
                  </a:lnTo>
                  <a:cubicBezTo>
                    <a:pt x="-796" y="76131"/>
                    <a:pt x="1913" y="80759"/>
                    <a:pt x="6439" y="82170"/>
                  </a:cubicBezTo>
                  <a:close/>
                </a:path>
              </a:pathLst>
            </a:custGeom>
            <a:solidFill>
              <a:srgbClr val="000000"/>
            </a:solidFill>
            <a:ln w="12685" cap="flat">
              <a:no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9FC96DF4-6D4C-42F3-91DF-73602754F8B5}"/>
                </a:ext>
              </a:extLst>
            </p:cNvPr>
            <p:cNvSpPr/>
            <p:nvPr/>
          </p:nvSpPr>
          <p:spPr>
            <a:xfrm>
              <a:off x="3305" y="4924318"/>
              <a:ext cx="271076" cy="156108"/>
            </a:xfrm>
            <a:custGeom>
              <a:avLst/>
              <a:gdLst>
                <a:gd name="connsiteX0" fmla="*/ 259252 w 271076"/>
                <a:gd name="connsiteY0" fmla="*/ 12712 h 156108"/>
                <a:gd name="connsiteX1" fmla="*/ 263321 w 271076"/>
                <a:gd name="connsiteY1" fmla="*/ 0 h 156108"/>
                <a:gd name="connsiteX2" fmla="*/ 262431 w 271076"/>
                <a:gd name="connsiteY2" fmla="*/ 0 h 156108"/>
                <a:gd name="connsiteX3" fmla="*/ 259506 w 271076"/>
                <a:gd name="connsiteY3" fmla="*/ 1525 h 156108"/>
                <a:gd name="connsiteX4" fmla="*/ 0 w 271076"/>
                <a:gd name="connsiteY4" fmla="*/ 135387 h 156108"/>
                <a:gd name="connsiteX5" fmla="*/ 0 w 271076"/>
                <a:gd name="connsiteY5" fmla="*/ 156108 h 156108"/>
                <a:gd name="connsiteX6" fmla="*/ 271077 w 271076"/>
                <a:gd name="connsiteY6" fmla="*/ 16907 h 156108"/>
                <a:gd name="connsiteX7" fmla="*/ 259449 w 271076"/>
                <a:gd name="connsiteY7" fmla="*/ 13132 h 156108"/>
                <a:gd name="connsiteX8" fmla="*/ 259252 w 271076"/>
                <a:gd name="connsiteY8" fmla="*/ 12712 h 15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076" h="156108">
                  <a:moveTo>
                    <a:pt x="259252" y="12712"/>
                  </a:moveTo>
                  <a:cubicBezTo>
                    <a:pt x="256921" y="8072"/>
                    <a:pt x="258729" y="2428"/>
                    <a:pt x="263321" y="0"/>
                  </a:cubicBezTo>
                  <a:lnTo>
                    <a:pt x="262431" y="0"/>
                  </a:lnTo>
                  <a:lnTo>
                    <a:pt x="259506" y="1525"/>
                  </a:lnTo>
                  <a:lnTo>
                    <a:pt x="0" y="135387"/>
                  </a:lnTo>
                  <a:lnTo>
                    <a:pt x="0" y="156108"/>
                  </a:lnTo>
                  <a:lnTo>
                    <a:pt x="271077" y="16907"/>
                  </a:lnTo>
                  <a:cubicBezTo>
                    <a:pt x="266821" y="19069"/>
                    <a:pt x="261616" y="17378"/>
                    <a:pt x="259449" y="13132"/>
                  </a:cubicBezTo>
                  <a:cubicBezTo>
                    <a:pt x="259379" y="12992"/>
                    <a:pt x="259314" y="12852"/>
                    <a:pt x="259252" y="12712"/>
                  </a:cubicBezTo>
                  <a:close/>
                </a:path>
              </a:pathLst>
            </a:custGeom>
            <a:solidFill>
              <a:srgbClr val="000000"/>
            </a:solidFill>
            <a:ln w="12685" cap="flat">
              <a:no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3CA1F9DD-9267-4989-8C0D-28DDFE0DDA99}"/>
                </a:ext>
              </a:extLst>
            </p:cNvPr>
            <p:cNvSpPr/>
            <p:nvPr/>
          </p:nvSpPr>
          <p:spPr>
            <a:xfrm>
              <a:off x="407759" y="4329626"/>
              <a:ext cx="93997" cy="58228"/>
            </a:xfrm>
            <a:custGeom>
              <a:avLst/>
              <a:gdLst>
                <a:gd name="connsiteX0" fmla="*/ 11825 w 93997"/>
                <a:gd name="connsiteY0" fmla="*/ 45516 h 58228"/>
                <a:gd name="connsiteX1" fmla="*/ 7629 w 93997"/>
                <a:gd name="connsiteY1" fmla="*/ 58228 h 58228"/>
                <a:gd name="connsiteX2" fmla="*/ 89511 w 93997"/>
                <a:gd name="connsiteY2" fmla="*/ 17295 h 58228"/>
                <a:gd name="connsiteX3" fmla="*/ 90528 w 93997"/>
                <a:gd name="connsiteY3" fmla="*/ 16532 h 58228"/>
                <a:gd name="connsiteX4" fmla="*/ 92054 w 93997"/>
                <a:gd name="connsiteY4" fmla="*/ 15388 h 58228"/>
                <a:gd name="connsiteX5" fmla="*/ 92817 w 93997"/>
                <a:gd name="connsiteY5" fmla="*/ 14244 h 58228"/>
                <a:gd name="connsiteX6" fmla="*/ 92817 w 93997"/>
                <a:gd name="connsiteY6" fmla="*/ 14244 h 58228"/>
                <a:gd name="connsiteX7" fmla="*/ 93580 w 93997"/>
                <a:gd name="connsiteY7" fmla="*/ 12718 h 58228"/>
                <a:gd name="connsiteX8" fmla="*/ 93580 w 93997"/>
                <a:gd name="connsiteY8" fmla="*/ 10811 h 58228"/>
                <a:gd name="connsiteX9" fmla="*/ 93580 w 93997"/>
                <a:gd name="connsiteY9" fmla="*/ 5345 h 58228"/>
                <a:gd name="connsiteX10" fmla="*/ 82498 w 93997"/>
                <a:gd name="connsiteY10" fmla="*/ 616 h 58228"/>
                <a:gd name="connsiteX11" fmla="*/ 81882 w 93997"/>
                <a:gd name="connsiteY11" fmla="*/ 895 h 58228"/>
                <a:gd name="connsiteX12" fmla="*/ 77051 w 93997"/>
                <a:gd name="connsiteY12" fmla="*/ 3311 h 58228"/>
                <a:gd name="connsiteX13" fmla="*/ 0 w 93997"/>
                <a:gd name="connsiteY13" fmla="*/ 41448 h 58228"/>
                <a:gd name="connsiteX14" fmla="*/ 11650 w 93997"/>
                <a:gd name="connsiteY14" fmla="*/ 45160 h 58228"/>
                <a:gd name="connsiteX15" fmla="*/ 11825 w 93997"/>
                <a:gd name="connsiteY15" fmla="*/ 45516 h 58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997" h="58228">
                  <a:moveTo>
                    <a:pt x="11825" y="45516"/>
                  </a:moveTo>
                  <a:cubicBezTo>
                    <a:pt x="14136" y="50182"/>
                    <a:pt x="12268" y="55851"/>
                    <a:pt x="7629" y="58228"/>
                  </a:cubicBezTo>
                  <a:lnTo>
                    <a:pt x="89511" y="17295"/>
                  </a:lnTo>
                  <a:lnTo>
                    <a:pt x="90528" y="16532"/>
                  </a:lnTo>
                  <a:lnTo>
                    <a:pt x="92054" y="15388"/>
                  </a:lnTo>
                  <a:lnTo>
                    <a:pt x="92817" y="14244"/>
                  </a:lnTo>
                  <a:lnTo>
                    <a:pt x="92817" y="14244"/>
                  </a:lnTo>
                  <a:cubicBezTo>
                    <a:pt x="93146" y="13773"/>
                    <a:pt x="93403" y="13265"/>
                    <a:pt x="93580" y="12718"/>
                  </a:cubicBezTo>
                  <a:cubicBezTo>
                    <a:pt x="93637" y="12082"/>
                    <a:pt x="93637" y="11447"/>
                    <a:pt x="93580" y="10811"/>
                  </a:cubicBezTo>
                  <a:cubicBezTo>
                    <a:pt x="94137" y="9032"/>
                    <a:pt x="94137" y="7125"/>
                    <a:pt x="93580" y="5345"/>
                  </a:cubicBezTo>
                  <a:cubicBezTo>
                    <a:pt x="91825" y="985"/>
                    <a:pt x="86864" y="-1139"/>
                    <a:pt x="82498" y="616"/>
                  </a:cubicBezTo>
                  <a:cubicBezTo>
                    <a:pt x="82289" y="705"/>
                    <a:pt x="82085" y="794"/>
                    <a:pt x="81882" y="895"/>
                  </a:cubicBezTo>
                  <a:lnTo>
                    <a:pt x="77051" y="3311"/>
                  </a:lnTo>
                  <a:lnTo>
                    <a:pt x="0" y="41448"/>
                  </a:lnTo>
                  <a:cubicBezTo>
                    <a:pt x="4242" y="39262"/>
                    <a:pt x="9458" y="40914"/>
                    <a:pt x="11650" y="45160"/>
                  </a:cubicBezTo>
                  <a:cubicBezTo>
                    <a:pt x="11711" y="45274"/>
                    <a:pt x="11769" y="45402"/>
                    <a:pt x="11825" y="45516"/>
                  </a:cubicBezTo>
                  <a:close/>
                </a:path>
              </a:pathLst>
            </a:custGeom>
            <a:solidFill>
              <a:srgbClr val="000000"/>
            </a:solidFill>
            <a:ln w="12685" cap="flat">
              <a:no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96A78894-FE42-408A-821B-5606847F578B}"/>
                </a:ext>
              </a:extLst>
            </p:cNvPr>
            <p:cNvSpPr/>
            <p:nvPr/>
          </p:nvSpPr>
          <p:spPr>
            <a:xfrm>
              <a:off x="344313" y="4369975"/>
              <a:ext cx="76261" cy="49661"/>
            </a:xfrm>
            <a:custGeom>
              <a:avLst/>
              <a:gdLst>
                <a:gd name="connsiteX0" fmla="*/ 11697 w 76261"/>
                <a:gd name="connsiteY0" fmla="*/ 36949 h 49661"/>
                <a:gd name="connsiteX1" fmla="*/ 7607 w 76261"/>
                <a:gd name="connsiteY1" fmla="*/ 49610 h 49661"/>
                <a:gd name="connsiteX2" fmla="*/ 7502 w 76261"/>
                <a:gd name="connsiteY2" fmla="*/ 49661 h 49661"/>
                <a:gd name="connsiteX3" fmla="*/ 71075 w 76261"/>
                <a:gd name="connsiteY3" fmla="*/ 18008 h 49661"/>
                <a:gd name="connsiteX4" fmla="*/ 75271 w 76261"/>
                <a:gd name="connsiteY4" fmla="*/ 5295 h 49661"/>
                <a:gd name="connsiteX5" fmla="*/ 63950 w 76261"/>
                <a:gd name="connsiteY5" fmla="*/ 681 h 49661"/>
                <a:gd name="connsiteX6" fmla="*/ 63573 w 76261"/>
                <a:gd name="connsiteY6" fmla="*/ 846 h 49661"/>
                <a:gd name="connsiteX7" fmla="*/ 62302 w 76261"/>
                <a:gd name="connsiteY7" fmla="*/ 1481 h 49661"/>
                <a:gd name="connsiteX8" fmla="*/ 59377 w 76261"/>
                <a:gd name="connsiteY8" fmla="*/ 3007 h 49661"/>
                <a:gd name="connsiteX9" fmla="*/ 0 w 76261"/>
                <a:gd name="connsiteY9" fmla="*/ 32627 h 49661"/>
                <a:gd name="connsiteX10" fmla="*/ 11443 w 76261"/>
                <a:gd name="connsiteY10" fmla="*/ 36389 h 49661"/>
                <a:gd name="connsiteX11" fmla="*/ 11697 w 76261"/>
                <a:gd name="connsiteY11" fmla="*/ 36949 h 4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1" h="49661">
                  <a:moveTo>
                    <a:pt x="11697" y="36949"/>
                  </a:moveTo>
                  <a:cubicBezTo>
                    <a:pt x="14064" y="41576"/>
                    <a:pt x="12233" y="47246"/>
                    <a:pt x="7607" y="49610"/>
                  </a:cubicBezTo>
                  <a:cubicBezTo>
                    <a:pt x="7572" y="49623"/>
                    <a:pt x="7537" y="49649"/>
                    <a:pt x="7502" y="49661"/>
                  </a:cubicBezTo>
                  <a:lnTo>
                    <a:pt x="71075" y="18008"/>
                  </a:lnTo>
                  <a:cubicBezTo>
                    <a:pt x="75715" y="15630"/>
                    <a:pt x="77582" y="9973"/>
                    <a:pt x="75271" y="5295"/>
                  </a:cubicBezTo>
                  <a:cubicBezTo>
                    <a:pt x="73420" y="897"/>
                    <a:pt x="68351" y="-1175"/>
                    <a:pt x="63950" y="681"/>
                  </a:cubicBezTo>
                  <a:cubicBezTo>
                    <a:pt x="63823" y="731"/>
                    <a:pt x="63698" y="782"/>
                    <a:pt x="63573" y="846"/>
                  </a:cubicBezTo>
                  <a:lnTo>
                    <a:pt x="62302" y="1481"/>
                  </a:lnTo>
                  <a:lnTo>
                    <a:pt x="59377" y="3007"/>
                  </a:lnTo>
                  <a:lnTo>
                    <a:pt x="0" y="32627"/>
                  </a:lnTo>
                  <a:cubicBezTo>
                    <a:pt x="4201" y="30504"/>
                    <a:pt x="9324" y="32195"/>
                    <a:pt x="11443" y="36389"/>
                  </a:cubicBezTo>
                  <a:cubicBezTo>
                    <a:pt x="11535" y="36580"/>
                    <a:pt x="11619" y="36758"/>
                    <a:pt x="11697" y="36949"/>
                  </a:cubicBezTo>
                  <a:close/>
                </a:path>
              </a:pathLst>
            </a:custGeom>
            <a:solidFill>
              <a:srgbClr val="000000"/>
            </a:solidFill>
            <a:ln w="12685" cap="flat">
              <a:no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BA6F1B2A-6C00-4734-BCEA-2F09968AFB17}"/>
                </a:ext>
              </a:extLst>
            </p:cNvPr>
            <p:cNvSpPr/>
            <p:nvPr/>
          </p:nvSpPr>
          <p:spPr>
            <a:xfrm>
              <a:off x="202544" y="4401579"/>
              <a:ext cx="154627" cy="88865"/>
            </a:xfrm>
            <a:custGeom>
              <a:avLst/>
              <a:gdLst>
                <a:gd name="connsiteX0" fmla="*/ 11697 w 154627"/>
                <a:gd name="connsiteY0" fmla="*/ 76153 h 88865"/>
                <a:gd name="connsiteX1" fmla="*/ 7607 w 154627"/>
                <a:gd name="connsiteY1" fmla="*/ 88815 h 88865"/>
                <a:gd name="connsiteX2" fmla="*/ 7502 w 154627"/>
                <a:gd name="connsiteY2" fmla="*/ 88865 h 88865"/>
                <a:gd name="connsiteX3" fmla="*/ 149397 w 154627"/>
                <a:gd name="connsiteY3" fmla="*/ 18057 h 88865"/>
                <a:gd name="connsiteX4" fmla="*/ 153647 w 154627"/>
                <a:gd name="connsiteY4" fmla="*/ 5447 h 88865"/>
                <a:gd name="connsiteX5" fmla="*/ 153593 w 154627"/>
                <a:gd name="connsiteY5" fmla="*/ 5345 h 88865"/>
                <a:gd name="connsiteX6" fmla="*/ 142511 w 154627"/>
                <a:gd name="connsiteY6" fmla="*/ 616 h 88865"/>
                <a:gd name="connsiteX7" fmla="*/ 141896 w 154627"/>
                <a:gd name="connsiteY7" fmla="*/ 896 h 88865"/>
                <a:gd name="connsiteX8" fmla="*/ 139226 w 154627"/>
                <a:gd name="connsiteY8" fmla="*/ 2167 h 88865"/>
                <a:gd name="connsiteX9" fmla="*/ 0 w 154627"/>
                <a:gd name="connsiteY9" fmla="*/ 71704 h 88865"/>
                <a:gd name="connsiteX10" fmla="*/ 11528 w 154627"/>
                <a:gd name="connsiteY10" fmla="*/ 75772 h 88865"/>
                <a:gd name="connsiteX11" fmla="*/ 11697 w 154627"/>
                <a:gd name="connsiteY11" fmla="*/ 76153 h 8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627" h="88865">
                  <a:moveTo>
                    <a:pt x="11697" y="76153"/>
                  </a:moveTo>
                  <a:cubicBezTo>
                    <a:pt x="14064" y="80780"/>
                    <a:pt x="12233" y="86450"/>
                    <a:pt x="7607" y="88815"/>
                  </a:cubicBezTo>
                  <a:cubicBezTo>
                    <a:pt x="7572" y="88827"/>
                    <a:pt x="7537" y="88853"/>
                    <a:pt x="7502" y="88865"/>
                  </a:cubicBezTo>
                  <a:lnTo>
                    <a:pt x="149397" y="18057"/>
                  </a:lnTo>
                  <a:cubicBezTo>
                    <a:pt x="154052" y="15744"/>
                    <a:pt x="155954" y="10099"/>
                    <a:pt x="153647" y="5447"/>
                  </a:cubicBezTo>
                  <a:cubicBezTo>
                    <a:pt x="153629" y="5409"/>
                    <a:pt x="153611" y="5383"/>
                    <a:pt x="153593" y="5345"/>
                  </a:cubicBezTo>
                  <a:cubicBezTo>
                    <a:pt x="151839" y="984"/>
                    <a:pt x="146877" y="-1138"/>
                    <a:pt x="142511" y="616"/>
                  </a:cubicBezTo>
                  <a:cubicBezTo>
                    <a:pt x="142303" y="705"/>
                    <a:pt x="142098" y="794"/>
                    <a:pt x="141896" y="896"/>
                  </a:cubicBezTo>
                  <a:lnTo>
                    <a:pt x="139226" y="2167"/>
                  </a:lnTo>
                  <a:lnTo>
                    <a:pt x="0" y="71704"/>
                  </a:lnTo>
                  <a:cubicBezTo>
                    <a:pt x="4309" y="69644"/>
                    <a:pt x="9470" y="71475"/>
                    <a:pt x="11528" y="75772"/>
                  </a:cubicBezTo>
                  <a:cubicBezTo>
                    <a:pt x="11588" y="75899"/>
                    <a:pt x="11644" y="76026"/>
                    <a:pt x="11697" y="76153"/>
                  </a:cubicBezTo>
                  <a:close/>
                </a:path>
              </a:pathLst>
            </a:custGeom>
            <a:solidFill>
              <a:srgbClr val="000000"/>
            </a:solidFill>
            <a:ln w="12685" cap="flat">
              <a:no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03D211B1-D1CF-4261-9749-B232862A6D86}"/>
                </a:ext>
              </a:extLst>
            </p:cNvPr>
            <p:cNvSpPr/>
            <p:nvPr/>
          </p:nvSpPr>
          <p:spPr>
            <a:xfrm>
              <a:off x="105939" y="4472436"/>
              <a:ext cx="109337" cy="64497"/>
            </a:xfrm>
            <a:custGeom>
              <a:avLst/>
              <a:gdLst>
                <a:gd name="connsiteX0" fmla="*/ 991 w 109337"/>
                <a:gd name="connsiteY0" fmla="*/ 59196 h 64497"/>
                <a:gd name="connsiteX1" fmla="*/ 12520 w 109337"/>
                <a:gd name="connsiteY1" fmla="*/ 63785 h 64497"/>
                <a:gd name="connsiteX2" fmla="*/ 12816 w 109337"/>
                <a:gd name="connsiteY2" fmla="*/ 63645 h 64497"/>
                <a:gd name="connsiteX3" fmla="*/ 104107 w 109337"/>
                <a:gd name="connsiteY3" fmla="*/ 18008 h 64497"/>
                <a:gd name="connsiteX4" fmla="*/ 108356 w 109337"/>
                <a:gd name="connsiteY4" fmla="*/ 5397 h 64497"/>
                <a:gd name="connsiteX5" fmla="*/ 108303 w 109337"/>
                <a:gd name="connsiteY5" fmla="*/ 5295 h 64497"/>
                <a:gd name="connsiteX6" fmla="*/ 96982 w 109337"/>
                <a:gd name="connsiteY6" fmla="*/ 681 h 64497"/>
                <a:gd name="connsiteX7" fmla="*/ 96605 w 109337"/>
                <a:gd name="connsiteY7" fmla="*/ 846 h 64497"/>
                <a:gd name="connsiteX8" fmla="*/ 95461 w 109337"/>
                <a:gd name="connsiteY8" fmla="*/ 846 h 64497"/>
                <a:gd name="connsiteX9" fmla="*/ 92537 w 109337"/>
                <a:gd name="connsiteY9" fmla="*/ 2244 h 64497"/>
                <a:gd name="connsiteX10" fmla="*/ 5187 w 109337"/>
                <a:gd name="connsiteY10" fmla="*/ 46483 h 64497"/>
                <a:gd name="connsiteX11" fmla="*/ 991 w 109337"/>
                <a:gd name="connsiteY11" fmla="*/ 59196 h 6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337" h="64497">
                  <a:moveTo>
                    <a:pt x="991" y="59196"/>
                  </a:moveTo>
                  <a:cubicBezTo>
                    <a:pt x="2909" y="63645"/>
                    <a:pt x="8071" y="65691"/>
                    <a:pt x="12520" y="63785"/>
                  </a:cubicBezTo>
                  <a:cubicBezTo>
                    <a:pt x="12620" y="63734"/>
                    <a:pt x="12718" y="63696"/>
                    <a:pt x="12816" y="63645"/>
                  </a:cubicBezTo>
                  <a:lnTo>
                    <a:pt x="104107" y="18008"/>
                  </a:lnTo>
                  <a:cubicBezTo>
                    <a:pt x="108762" y="15694"/>
                    <a:pt x="110664" y="10050"/>
                    <a:pt x="108356" y="5397"/>
                  </a:cubicBezTo>
                  <a:cubicBezTo>
                    <a:pt x="108338" y="5371"/>
                    <a:pt x="108321" y="5333"/>
                    <a:pt x="108303" y="5295"/>
                  </a:cubicBezTo>
                  <a:cubicBezTo>
                    <a:pt x="106452" y="897"/>
                    <a:pt x="101384" y="-1175"/>
                    <a:pt x="96982" y="681"/>
                  </a:cubicBezTo>
                  <a:cubicBezTo>
                    <a:pt x="96855" y="731"/>
                    <a:pt x="96730" y="782"/>
                    <a:pt x="96605" y="846"/>
                  </a:cubicBezTo>
                  <a:lnTo>
                    <a:pt x="95461" y="846"/>
                  </a:lnTo>
                  <a:lnTo>
                    <a:pt x="92537" y="2244"/>
                  </a:lnTo>
                  <a:lnTo>
                    <a:pt x="5187" y="46483"/>
                  </a:lnTo>
                  <a:cubicBezTo>
                    <a:pt x="548" y="48861"/>
                    <a:pt x="-1321" y="54530"/>
                    <a:pt x="991" y="59196"/>
                  </a:cubicBezTo>
                  <a:close/>
                </a:path>
              </a:pathLst>
            </a:custGeom>
            <a:solidFill>
              <a:srgbClr val="000000"/>
            </a:solidFill>
            <a:ln w="12685" cap="flat">
              <a:no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34161180-9554-466B-A476-58153F1B974D}"/>
                </a:ext>
              </a:extLst>
            </p:cNvPr>
            <p:cNvSpPr/>
            <p:nvPr/>
          </p:nvSpPr>
          <p:spPr>
            <a:xfrm>
              <a:off x="2362908" y="3598161"/>
              <a:ext cx="17658" cy="15193"/>
            </a:xfrm>
            <a:custGeom>
              <a:avLst/>
              <a:gdLst>
                <a:gd name="connsiteX0" fmla="*/ 7614 w 17658"/>
                <a:gd name="connsiteY0" fmla="*/ 10551 h 15193"/>
                <a:gd name="connsiteX1" fmla="*/ 112 w 17658"/>
                <a:gd name="connsiteY1" fmla="*/ 0 h 15193"/>
                <a:gd name="connsiteX2" fmla="*/ 112 w 17658"/>
                <a:gd name="connsiteY2" fmla="*/ 0 h 15193"/>
                <a:gd name="connsiteX3" fmla="*/ 112 w 17658"/>
                <a:gd name="connsiteY3" fmla="*/ 890 h 15193"/>
                <a:gd name="connsiteX4" fmla="*/ 112 w 17658"/>
                <a:gd name="connsiteY4" fmla="*/ 4576 h 15193"/>
                <a:gd name="connsiteX5" fmla="*/ 7614 w 17658"/>
                <a:gd name="connsiteY5" fmla="*/ 15128 h 15193"/>
                <a:gd name="connsiteX6" fmla="*/ 17658 w 17658"/>
                <a:gd name="connsiteY6" fmla="*/ 7246 h 15193"/>
                <a:gd name="connsiteX7" fmla="*/ 17658 w 17658"/>
                <a:gd name="connsiteY7" fmla="*/ 7246 h 15193"/>
                <a:gd name="connsiteX8" fmla="*/ 17658 w 17658"/>
                <a:gd name="connsiteY8" fmla="*/ 2669 h 15193"/>
                <a:gd name="connsiteX9" fmla="*/ 7614 w 17658"/>
                <a:gd name="connsiteY9" fmla="*/ 10551 h 15193"/>
                <a:gd name="connsiteX10" fmla="*/ 7614 w 17658"/>
                <a:gd name="connsiteY10" fmla="*/ 10551 h 1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58" h="15193">
                  <a:moveTo>
                    <a:pt x="7614" y="10551"/>
                  </a:moveTo>
                  <a:cubicBezTo>
                    <a:pt x="2668" y="9649"/>
                    <a:pt x="-664" y="4970"/>
                    <a:pt x="112" y="0"/>
                  </a:cubicBezTo>
                  <a:lnTo>
                    <a:pt x="112" y="0"/>
                  </a:lnTo>
                  <a:lnTo>
                    <a:pt x="112" y="890"/>
                  </a:lnTo>
                  <a:lnTo>
                    <a:pt x="112" y="4576"/>
                  </a:lnTo>
                  <a:cubicBezTo>
                    <a:pt x="-664" y="9547"/>
                    <a:pt x="2668" y="14225"/>
                    <a:pt x="7614" y="15128"/>
                  </a:cubicBezTo>
                  <a:cubicBezTo>
                    <a:pt x="12560" y="15725"/>
                    <a:pt x="17061" y="12191"/>
                    <a:pt x="17658" y="7246"/>
                  </a:cubicBezTo>
                  <a:cubicBezTo>
                    <a:pt x="17658" y="7246"/>
                    <a:pt x="17658" y="7246"/>
                    <a:pt x="17658" y="7246"/>
                  </a:cubicBezTo>
                  <a:lnTo>
                    <a:pt x="17658" y="2669"/>
                  </a:lnTo>
                  <a:cubicBezTo>
                    <a:pt x="17061" y="7615"/>
                    <a:pt x="12572" y="11149"/>
                    <a:pt x="7614" y="10551"/>
                  </a:cubicBezTo>
                  <a:cubicBezTo>
                    <a:pt x="7614" y="10551"/>
                    <a:pt x="7614" y="10551"/>
                    <a:pt x="7614" y="10551"/>
                  </a:cubicBezTo>
                  <a:close/>
                </a:path>
              </a:pathLst>
            </a:custGeom>
            <a:solidFill>
              <a:srgbClr val="000000"/>
            </a:solidFill>
            <a:ln w="12685"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75D8E031-6057-42D7-BFF1-6A2F009DD1C8}"/>
                </a:ext>
              </a:extLst>
            </p:cNvPr>
            <p:cNvSpPr/>
            <p:nvPr/>
          </p:nvSpPr>
          <p:spPr>
            <a:xfrm>
              <a:off x="1547882" y="6161361"/>
              <a:ext cx="1194415" cy="702613"/>
            </a:xfrm>
            <a:custGeom>
              <a:avLst/>
              <a:gdLst>
                <a:gd name="connsiteX0" fmla="*/ 1182591 w 1194415"/>
                <a:gd name="connsiteY0" fmla="*/ 12712 h 702613"/>
                <a:gd name="connsiteX1" fmla="*/ 1186024 w 1194415"/>
                <a:gd name="connsiteY1" fmla="*/ 0 h 702613"/>
                <a:gd name="connsiteX2" fmla="*/ 1182464 w 1194415"/>
                <a:gd name="connsiteY2" fmla="*/ 2161 h 702613"/>
                <a:gd name="connsiteX3" fmla="*/ 0 w 1194415"/>
                <a:gd name="connsiteY3" fmla="*/ 702614 h 702613"/>
                <a:gd name="connsiteX4" fmla="*/ 35983 w 1194415"/>
                <a:gd name="connsiteY4" fmla="*/ 702614 h 702613"/>
                <a:gd name="connsiteX5" fmla="*/ 1194415 w 1194415"/>
                <a:gd name="connsiteY5" fmla="*/ 16145 h 702613"/>
                <a:gd name="connsiteX6" fmla="*/ 1182769 w 1194415"/>
                <a:gd name="connsiteY6" fmla="*/ 13043 h 702613"/>
                <a:gd name="connsiteX7" fmla="*/ 1182591 w 1194415"/>
                <a:gd name="connsiteY7" fmla="*/ 12712 h 70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415" h="702613">
                  <a:moveTo>
                    <a:pt x="1182591" y="12712"/>
                  </a:moveTo>
                  <a:cubicBezTo>
                    <a:pt x="1180086" y="8250"/>
                    <a:pt x="1181612" y="2593"/>
                    <a:pt x="1186024" y="0"/>
                  </a:cubicBezTo>
                  <a:lnTo>
                    <a:pt x="1182464" y="2161"/>
                  </a:lnTo>
                  <a:lnTo>
                    <a:pt x="0" y="702614"/>
                  </a:lnTo>
                  <a:lnTo>
                    <a:pt x="35983" y="702614"/>
                  </a:lnTo>
                  <a:lnTo>
                    <a:pt x="1194415" y="16145"/>
                  </a:lnTo>
                  <a:cubicBezTo>
                    <a:pt x="1190347" y="18509"/>
                    <a:pt x="1185134" y="17111"/>
                    <a:pt x="1182769" y="13043"/>
                  </a:cubicBezTo>
                  <a:cubicBezTo>
                    <a:pt x="1182705" y="12941"/>
                    <a:pt x="1182654" y="12827"/>
                    <a:pt x="1182591" y="12712"/>
                  </a:cubicBezTo>
                  <a:close/>
                </a:path>
              </a:pathLst>
            </a:custGeom>
            <a:solidFill>
              <a:srgbClr val="000000"/>
            </a:solidFill>
            <a:ln w="12685" cap="flat">
              <a:no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65AE5E11-7370-4F22-8677-001AFE4D8B03}"/>
                </a:ext>
              </a:extLst>
            </p:cNvPr>
            <p:cNvSpPr/>
            <p:nvPr/>
          </p:nvSpPr>
          <p:spPr>
            <a:xfrm>
              <a:off x="3919167" y="3749031"/>
              <a:ext cx="88805" cy="319361"/>
            </a:xfrm>
            <a:custGeom>
              <a:avLst/>
              <a:gdLst>
                <a:gd name="connsiteX0" fmla="*/ 71584 w 88805"/>
                <a:gd name="connsiteY0" fmla="*/ 7145 h 319361"/>
                <a:gd name="connsiteX1" fmla="*/ 70312 w 88805"/>
                <a:gd name="connsiteY1" fmla="*/ 12866 h 319361"/>
                <a:gd name="connsiteX2" fmla="*/ 69295 w 88805"/>
                <a:gd name="connsiteY2" fmla="*/ 17061 h 319361"/>
                <a:gd name="connsiteX3" fmla="*/ 0 w 88805"/>
                <a:gd name="connsiteY3" fmla="*/ 315039 h 319361"/>
                <a:gd name="connsiteX4" fmla="*/ 10019 w 88805"/>
                <a:gd name="connsiteY4" fmla="*/ 308035 h 319361"/>
                <a:gd name="connsiteX5" fmla="*/ 10680 w 88805"/>
                <a:gd name="connsiteY5" fmla="*/ 308175 h 319361"/>
                <a:gd name="connsiteX6" fmla="*/ 17165 w 88805"/>
                <a:gd name="connsiteY6" fmla="*/ 319362 h 319361"/>
                <a:gd name="connsiteX7" fmla="*/ 88748 w 88805"/>
                <a:gd name="connsiteY7" fmla="*/ 11595 h 319361"/>
                <a:gd name="connsiteX8" fmla="*/ 88748 w 88805"/>
                <a:gd name="connsiteY8" fmla="*/ 10196 h 319361"/>
                <a:gd name="connsiteX9" fmla="*/ 88748 w 88805"/>
                <a:gd name="connsiteY9" fmla="*/ 8162 h 319361"/>
                <a:gd name="connsiteX10" fmla="*/ 88748 w 88805"/>
                <a:gd name="connsiteY10" fmla="*/ 6510 h 319361"/>
                <a:gd name="connsiteX11" fmla="*/ 88113 w 88805"/>
                <a:gd name="connsiteY11" fmla="*/ 4730 h 319361"/>
                <a:gd name="connsiteX12" fmla="*/ 86841 w 88805"/>
                <a:gd name="connsiteY12" fmla="*/ 3205 h 319361"/>
                <a:gd name="connsiteX13" fmla="*/ 82518 w 88805"/>
                <a:gd name="connsiteY13" fmla="*/ 281 h 319361"/>
                <a:gd name="connsiteX14" fmla="*/ 71685 w 88805"/>
                <a:gd name="connsiteY14" fmla="*/ 6688 h 319361"/>
                <a:gd name="connsiteX15" fmla="*/ 71584 w 88805"/>
                <a:gd name="connsiteY15" fmla="*/ 7145 h 31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805" h="319361">
                  <a:moveTo>
                    <a:pt x="71584" y="7145"/>
                  </a:moveTo>
                  <a:lnTo>
                    <a:pt x="70312" y="12866"/>
                  </a:lnTo>
                  <a:lnTo>
                    <a:pt x="69295" y="17061"/>
                  </a:lnTo>
                  <a:lnTo>
                    <a:pt x="0" y="315039"/>
                  </a:lnTo>
                  <a:cubicBezTo>
                    <a:pt x="826" y="310336"/>
                    <a:pt x="5315" y="307196"/>
                    <a:pt x="10019" y="308035"/>
                  </a:cubicBezTo>
                  <a:cubicBezTo>
                    <a:pt x="10236" y="308073"/>
                    <a:pt x="10464" y="308124"/>
                    <a:pt x="10680" y="308175"/>
                  </a:cubicBezTo>
                  <a:cubicBezTo>
                    <a:pt x="15474" y="309598"/>
                    <a:pt x="18309" y="314506"/>
                    <a:pt x="17165" y="319362"/>
                  </a:cubicBezTo>
                  <a:lnTo>
                    <a:pt x="88748" y="11595"/>
                  </a:lnTo>
                  <a:cubicBezTo>
                    <a:pt x="88748" y="11595"/>
                    <a:pt x="88748" y="10705"/>
                    <a:pt x="88748" y="10196"/>
                  </a:cubicBezTo>
                  <a:cubicBezTo>
                    <a:pt x="88812" y="9523"/>
                    <a:pt x="88812" y="8836"/>
                    <a:pt x="88748" y="8162"/>
                  </a:cubicBezTo>
                  <a:cubicBezTo>
                    <a:pt x="88825" y="7616"/>
                    <a:pt x="88825" y="7056"/>
                    <a:pt x="88748" y="6510"/>
                  </a:cubicBezTo>
                  <a:cubicBezTo>
                    <a:pt x="88748" y="5874"/>
                    <a:pt x="88748" y="5239"/>
                    <a:pt x="88113" y="4730"/>
                  </a:cubicBezTo>
                  <a:lnTo>
                    <a:pt x="86841" y="3205"/>
                  </a:lnTo>
                  <a:cubicBezTo>
                    <a:pt x="85710" y="1844"/>
                    <a:pt x="84209" y="827"/>
                    <a:pt x="82518" y="281"/>
                  </a:cubicBezTo>
                  <a:cubicBezTo>
                    <a:pt x="77750" y="-940"/>
                    <a:pt x="72906" y="1933"/>
                    <a:pt x="71685" y="6688"/>
                  </a:cubicBezTo>
                  <a:cubicBezTo>
                    <a:pt x="71647" y="6840"/>
                    <a:pt x="71609" y="6993"/>
                    <a:pt x="71584" y="7145"/>
                  </a:cubicBezTo>
                  <a:close/>
                </a:path>
              </a:pathLst>
            </a:custGeom>
            <a:solidFill>
              <a:srgbClr val="000000"/>
            </a:solidFill>
            <a:ln w="12685" cap="flat">
              <a:no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D86A06B1-B645-4066-A591-57D8CAC4AD8E}"/>
                </a:ext>
              </a:extLst>
            </p:cNvPr>
            <p:cNvSpPr/>
            <p:nvPr/>
          </p:nvSpPr>
          <p:spPr>
            <a:xfrm>
              <a:off x="3878963" y="4056292"/>
              <a:ext cx="57622" cy="189947"/>
            </a:xfrm>
            <a:custGeom>
              <a:avLst/>
              <a:gdLst>
                <a:gd name="connsiteX0" fmla="*/ 57369 w 57622"/>
                <a:gd name="connsiteY0" fmla="*/ 11465 h 189947"/>
                <a:gd name="connsiteX1" fmla="*/ 50885 w 57622"/>
                <a:gd name="connsiteY1" fmla="*/ 278 h 189947"/>
                <a:gd name="connsiteX2" fmla="*/ 40344 w 57622"/>
                <a:gd name="connsiteY2" fmla="*/ 6481 h 189947"/>
                <a:gd name="connsiteX3" fmla="*/ 40204 w 57622"/>
                <a:gd name="connsiteY3" fmla="*/ 7142 h 189947"/>
                <a:gd name="connsiteX4" fmla="*/ 280 w 57622"/>
                <a:gd name="connsiteY4" fmla="*/ 178505 h 189947"/>
                <a:gd name="connsiteX5" fmla="*/ 6765 w 57622"/>
                <a:gd name="connsiteY5" fmla="*/ 189692 h 189947"/>
                <a:gd name="connsiteX6" fmla="*/ 17382 w 57622"/>
                <a:gd name="connsiteY6" fmla="*/ 183260 h 189947"/>
                <a:gd name="connsiteX7" fmla="*/ 17445 w 57622"/>
                <a:gd name="connsiteY7" fmla="*/ 182955 h 189947"/>
                <a:gd name="connsiteX8" fmla="*/ 18717 w 57622"/>
                <a:gd name="connsiteY8" fmla="*/ 177234 h 189947"/>
                <a:gd name="connsiteX9" fmla="*/ 55844 w 57622"/>
                <a:gd name="connsiteY9" fmla="*/ 17694 h 189947"/>
                <a:gd name="connsiteX10" fmla="*/ 56734 w 57622"/>
                <a:gd name="connsiteY10" fmla="*/ 14134 h 18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22" h="189947">
                  <a:moveTo>
                    <a:pt x="57369" y="11465"/>
                  </a:moveTo>
                  <a:cubicBezTo>
                    <a:pt x="58513" y="6608"/>
                    <a:pt x="55678" y="1701"/>
                    <a:pt x="50885" y="278"/>
                  </a:cubicBezTo>
                  <a:cubicBezTo>
                    <a:pt x="46257" y="-917"/>
                    <a:pt x="41540" y="1854"/>
                    <a:pt x="40344" y="6481"/>
                  </a:cubicBezTo>
                  <a:cubicBezTo>
                    <a:pt x="40294" y="6698"/>
                    <a:pt x="40243" y="6926"/>
                    <a:pt x="40204" y="7142"/>
                  </a:cubicBezTo>
                  <a:lnTo>
                    <a:pt x="280" y="178505"/>
                  </a:lnTo>
                  <a:cubicBezTo>
                    <a:pt x="-940" y="183374"/>
                    <a:pt x="1933" y="188332"/>
                    <a:pt x="6765" y="189692"/>
                  </a:cubicBezTo>
                  <a:cubicBezTo>
                    <a:pt x="11469" y="190849"/>
                    <a:pt x="16225" y="187964"/>
                    <a:pt x="17382" y="183260"/>
                  </a:cubicBezTo>
                  <a:cubicBezTo>
                    <a:pt x="17407" y="183158"/>
                    <a:pt x="17420" y="183056"/>
                    <a:pt x="17445" y="182955"/>
                  </a:cubicBezTo>
                  <a:lnTo>
                    <a:pt x="18717" y="177234"/>
                  </a:lnTo>
                  <a:lnTo>
                    <a:pt x="55844" y="17694"/>
                  </a:lnTo>
                  <a:lnTo>
                    <a:pt x="56734" y="14134"/>
                  </a:lnTo>
                  <a:close/>
                </a:path>
              </a:pathLst>
            </a:custGeom>
            <a:solidFill>
              <a:srgbClr val="000000"/>
            </a:solidFill>
            <a:ln w="12685"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57DC09B7-7FDA-434E-B959-8364BB69FF22}"/>
                </a:ext>
              </a:extLst>
            </p:cNvPr>
            <p:cNvSpPr/>
            <p:nvPr/>
          </p:nvSpPr>
          <p:spPr>
            <a:xfrm>
              <a:off x="1929506" y="2589052"/>
              <a:ext cx="53980" cy="350642"/>
            </a:xfrm>
            <a:custGeom>
              <a:avLst/>
              <a:gdLst>
                <a:gd name="connsiteX0" fmla="*/ 43682 w 53980"/>
                <a:gd name="connsiteY0" fmla="*/ 10297 h 350642"/>
                <a:gd name="connsiteX1" fmla="*/ 35926 w 53980"/>
                <a:gd name="connsiteY1" fmla="*/ 0 h 350642"/>
                <a:gd name="connsiteX2" fmla="*/ 35926 w 53980"/>
                <a:gd name="connsiteY2" fmla="*/ 3559 h 350642"/>
                <a:gd name="connsiteX3" fmla="*/ 35926 w 53980"/>
                <a:gd name="connsiteY3" fmla="*/ 7373 h 350642"/>
                <a:gd name="connsiteX4" fmla="*/ 70 w 53980"/>
                <a:gd name="connsiteY4" fmla="*/ 340311 h 350642"/>
                <a:gd name="connsiteX5" fmla="*/ 7826 w 53980"/>
                <a:gd name="connsiteY5" fmla="*/ 350608 h 350642"/>
                <a:gd name="connsiteX6" fmla="*/ 17616 w 53980"/>
                <a:gd name="connsiteY6" fmla="*/ 342408 h 350642"/>
                <a:gd name="connsiteX7" fmla="*/ 17616 w 53980"/>
                <a:gd name="connsiteY7" fmla="*/ 342345 h 350642"/>
                <a:gd name="connsiteX8" fmla="*/ 53980 w 53980"/>
                <a:gd name="connsiteY8" fmla="*/ 1525 h 350642"/>
                <a:gd name="connsiteX9" fmla="*/ 44788 w 53980"/>
                <a:gd name="connsiteY9" fmla="*/ 10386 h 350642"/>
                <a:gd name="connsiteX10" fmla="*/ 43682 w 53980"/>
                <a:gd name="connsiteY10" fmla="*/ 10297 h 3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80" h="350642">
                  <a:moveTo>
                    <a:pt x="43682" y="10297"/>
                  </a:moveTo>
                  <a:cubicBezTo>
                    <a:pt x="38710" y="9572"/>
                    <a:pt x="35239" y="4983"/>
                    <a:pt x="35926" y="0"/>
                  </a:cubicBezTo>
                  <a:lnTo>
                    <a:pt x="35926" y="3559"/>
                  </a:lnTo>
                  <a:lnTo>
                    <a:pt x="35926" y="7373"/>
                  </a:lnTo>
                  <a:lnTo>
                    <a:pt x="70" y="340311"/>
                  </a:lnTo>
                  <a:cubicBezTo>
                    <a:pt x="-540" y="345269"/>
                    <a:pt x="2893" y="349819"/>
                    <a:pt x="7826" y="350608"/>
                  </a:cubicBezTo>
                  <a:cubicBezTo>
                    <a:pt x="12798" y="351040"/>
                    <a:pt x="17171" y="347379"/>
                    <a:pt x="17616" y="342408"/>
                  </a:cubicBezTo>
                  <a:cubicBezTo>
                    <a:pt x="17616" y="342383"/>
                    <a:pt x="17616" y="342370"/>
                    <a:pt x="17616" y="342345"/>
                  </a:cubicBezTo>
                  <a:lnTo>
                    <a:pt x="53980" y="1525"/>
                  </a:lnTo>
                  <a:cubicBezTo>
                    <a:pt x="53891" y="6509"/>
                    <a:pt x="49772" y="10475"/>
                    <a:pt x="44788" y="10386"/>
                  </a:cubicBezTo>
                  <a:cubicBezTo>
                    <a:pt x="44419" y="10373"/>
                    <a:pt x="44050" y="10348"/>
                    <a:pt x="43682" y="10297"/>
                  </a:cubicBezTo>
                  <a:close/>
                </a:path>
              </a:pathLst>
            </a:custGeom>
            <a:solidFill>
              <a:srgbClr val="000000"/>
            </a:solidFill>
            <a:ln w="12685" cap="flat">
              <a:no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ACB684BB-E9D4-4936-9B6D-0077D9F35B7B}"/>
                </a:ext>
              </a:extLst>
            </p:cNvPr>
            <p:cNvSpPr/>
            <p:nvPr/>
          </p:nvSpPr>
          <p:spPr>
            <a:xfrm>
              <a:off x="2430535" y="2667869"/>
              <a:ext cx="61284" cy="332000"/>
            </a:xfrm>
            <a:custGeom>
              <a:avLst/>
              <a:gdLst>
                <a:gd name="connsiteX0" fmla="*/ 51240 w 61284"/>
                <a:gd name="connsiteY0" fmla="*/ 10551 h 332000"/>
                <a:gd name="connsiteX1" fmla="*/ 43738 w 61284"/>
                <a:gd name="connsiteY1" fmla="*/ 0 h 332000"/>
                <a:gd name="connsiteX2" fmla="*/ 127 w 61284"/>
                <a:gd name="connsiteY2" fmla="*/ 321496 h 332000"/>
                <a:gd name="connsiteX3" fmla="*/ 7514 w 61284"/>
                <a:gd name="connsiteY3" fmla="*/ 331908 h 332000"/>
                <a:gd name="connsiteX4" fmla="*/ 7628 w 61284"/>
                <a:gd name="connsiteY4" fmla="*/ 331921 h 332000"/>
                <a:gd name="connsiteX5" fmla="*/ 17508 w 61284"/>
                <a:gd name="connsiteY5" fmla="*/ 324407 h 332000"/>
                <a:gd name="connsiteX6" fmla="*/ 17546 w 61284"/>
                <a:gd name="connsiteY6" fmla="*/ 324039 h 332000"/>
                <a:gd name="connsiteX7" fmla="*/ 19834 w 61284"/>
                <a:gd name="connsiteY7" fmla="*/ 307386 h 332000"/>
                <a:gd name="connsiteX8" fmla="*/ 61284 w 61284"/>
                <a:gd name="connsiteY8" fmla="*/ 2288 h 332000"/>
                <a:gd name="connsiteX9" fmla="*/ 61284 w 61284"/>
                <a:gd name="connsiteY9" fmla="*/ 2288 h 332000"/>
                <a:gd name="connsiteX10" fmla="*/ 51329 w 61284"/>
                <a:gd name="connsiteY10" fmla="*/ 10564 h 332000"/>
                <a:gd name="connsiteX11" fmla="*/ 51240 w 61284"/>
                <a:gd name="connsiteY11" fmla="*/ 10551 h 3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84" h="332000">
                  <a:moveTo>
                    <a:pt x="51240" y="10551"/>
                  </a:moveTo>
                  <a:cubicBezTo>
                    <a:pt x="46294" y="9649"/>
                    <a:pt x="42962" y="4971"/>
                    <a:pt x="43738" y="0"/>
                  </a:cubicBezTo>
                  <a:lnTo>
                    <a:pt x="127" y="321496"/>
                  </a:lnTo>
                  <a:cubicBezTo>
                    <a:pt x="-700" y="326416"/>
                    <a:pt x="2606" y="331069"/>
                    <a:pt x="7514" y="331908"/>
                  </a:cubicBezTo>
                  <a:cubicBezTo>
                    <a:pt x="7552" y="331908"/>
                    <a:pt x="7590" y="331921"/>
                    <a:pt x="7628" y="331921"/>
                  </a:cubicBezTo>
                  <a:cubicBezTo>
                    <a:pt x="12434" y="332569"/>
                    <a:pt x="16846" y="329213"/>
                    <a:pt x="17508" y="324407"/>
                  </a:cubicBezTo>
                  <a:cubicBezTo>
                    <a:pt x="17520" y="324293"/>
                    <a:pt x="17533" y="324166"/>
                    <a:pt x="17546" y="324039"/>
                  </a:cubicBezTo>
                  <a:lnTo>
                    <a:pt x="19834" y="307386"/>
                  </a:lnTo>
                  <a:lnTo>
                    <a:pt x="61284" y="2288"/>
                  </a:lnTo>
                  <a:lnTo>
                    <a:pt x="61284" y="2288"/>
                  </a:lnTo>
                  <a:cubicBezTo>
                    <a:pt x="60814" y="7322"/>
                    <a:pt x="56364" y="11022"/>
                    <a:pt x="51329" y="10564"/>
                  </a:cubicBezTo>
                  <a:cubicBezTo>
                    <a:pt x="51303" y="10551"/>
                    <a:pt x="51265" y="10551"/>
                    <a:pt x="51240" y="10551"/>
                  </a:cubicBezTo>
                  <a:close/>
                </a:path>
              </a:pathLst>
            </a:custGeom>
            <a:solidFill>
              <a:srgbClr val="000000"/>
            </a:solidFill>
            <a:ln w="12685"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3532C9CB-3B7D-4722-B631-A62C020F497D}"/>
                </a:ext>
              </a:extLst>
            </p:cNvPr>
            <p:cNvSpPr/>
            <p:nvPr/>
          </p:nvSpPr>
          <p:spPr>
            <a:xfrm>
              <a:off x="3372634" y="3791517"/>
              <a:ext cx="52059" cy="184889"/>
            </a:xfrm>
            <a:custGeom>
              <a:avLst/>
              <a:gdLst>
                <a:gd name="connsiteX0" fmla="*/ 7559 w 52059"/>
                <a:gd name="connsiteY0" fmla="*/ 184711 h 184889"/>
                <a:gd name="connsiteX1" fmla="*/ 17908 w 52059"/>
                <a:gd name="connsiteY1" fmla="*/ 177872 h 184889"/>
                <a:gd name="connsiteX2" fmla="*/ 17985 w 52059"/>
                <a:gd name="connsiteY2" fmla="*/ 177465 h 184889"/>
                <a:gd name="connsiteX3" fmla="*/ 19129 w 52059"/>
                <a:gd name="connsiteY3" fmla="*/ 172253 h 184889"/>
                <a:gd name="connsiteX4" fmla="*/ 19892 w 52059"/>
                <a:gd name="connsiteY4" fmla="*/ 168058 h 184889"/>
                <a:gd name="connsiteX5" fmla="*/ 51297 w 52059"/>
                <a:gd name="connsiteY5" fmla="*/ 10551 h 184889"/>
                <a:gd name="connsiteX6" fmla="*/ 52060 w 52059"/>
                <a:gd name="connsiteY6" fmla="*/ 6865 h 184889"/>
                <a:gd name="connsiteX7" fmla="*/ 52060 w 52059"/>
                <a:gd name="connsiteY7" fmla="*/ 3814 h 184889"/>
                <a:gd name="connsiteX8" fmla="*/ 41786 w 52059"/>
                <a:gd name="connsiteY8" fmla="*/ 11085 h 184889"/>
                <a:gd name="connsiteX9" fmla="*/ 41634 w 52059"/>
                <a:gd name="connsiteY9" fmla="*/ 11060 h 184889"/>
                <a:gd name="connsiteX10" fmla="*/ 34895 w 52059"/>
                <a:gd name="connsiteY10" fmla="*/ 0 h 184889"/>
                <a:gd name="connsiteX11" fmla="*/ 184 w 52059"/>
                <a:gd name="connsiteY11" fmla="*/ 173651 h 184889"/>
                <a:gd name="connsiteX12" fmla="*/ 7559 w 52059"/>
                <a:gd name="connsiteY12" fmla="*/ 184711 h 18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059" h="184889">
                  <a:moveTo>
                    <a:pt x="7559" y="184711"/>
                  </a:moveTo>
                  <a:cubicBezTo>
                    <a:pt x="12301" y="185677"/>
                    <a:pt x="16942" y="182626"/>
                    <a:pt x="17908" y="177872"/>
                  </a:cubicBezTo>
                  <a:cubicBezTo>
                    <a:pt x="17933" y="177745"/>
                    <a:pt x="17959" y="177605"/>
                    <a:pt x="17985" y="177465"/>
                  </a:cubicBezTo>
                  <a:lnTo>
                    <a:pt x="19129" y="172253"/>
                  </a:lnTo>
                  <a:lnTo>
                    <a:pt x="19892" y="168058"/>
                  </a:lnTo>
                  <a:lnTo>
                    <a:pt x="51297" y="10551"/>
                  </a:lnTo>
                  <a:lnTo>
                    <a:pt x="52060" y="6865"/>
                  </a:lnTo>
                  <a:lnTo>
                    <a:pt x="52060" y="3814"/>
                  </a:lnTo>
                  <a:cubicBezTo>
                    <a:pt x="51233" y="8657"/>
                    <a:pt x="46631" y="11911"/>
                    <a:pt x="41786" y="11085"/>
                  </a:cubicBezTo>
                  <a:cubicBezTo>
                    <a:pt x="41735" y="11085"/>
                    <a:pt x="41685" y="11073"/>
                    <a:pt x="41634" y="11060"/>
                  </a:cubicBezTo>
                  <a:cubicBezTo>
                    <a:pt x="36802" y="9750"/>
                    <a:pt x="33840" y="4894"/>
                    <a:pt x="34895" y="0"/>
                  </a:cubicBezTo>
                  <a:lnTo>
                    <a:pt x="184" y="173651"/>
                  </a:lnTo>
                  <a:cubicBezTo>
                    <a:pt x="-833" y="178736"/>
                    <a:pt x="2473" y="183694"/>
                    <a:pt x="7559" y="184711"/>
                  </a:cubicBezTo>
                  <a:close/>
                </a:path>
              </a:pathLst>
            </a:custGeom>
            <a:solidFill>
              <a:srgbClr val="000000"/>
            </a:solidFill>
            <a:ln w="12685" cap="flat">
              <a:no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6141FC25-CFE1-413F-B03C-485EFF4EF2EA}"/>
                </a:ext>
              </a:extLst>
            </p:cNvPr>
            <p:cNvSpPr/>
            <p:nvPr/>
          </p:nvSpPr>
          <p:spPr>
            <a:xfrm>
              <a:off x="261922" y="4866731"/>
              <a:ext cx="124857" cy="75689"/>
            </a:xfrm>
            <a:custGeom>
              <a:avLst/>
              <a:gdLst>
                <a:gd name="connsiteX0" fmla="*/ 112652 w 124857"/>
                <a:gd name="connsiteY0" fmla="*/ 12712 h 75689"/>
                <a:gd name="connsiteX1" fmla="*/ 116720 w 124857"/>
                <a:gd name="connsiteY1" fmla="*/ 0 h 75689"/>
                <a:gd name="connsiteX2" fmla="*/ 115830 w 124857"/>
                <a:gd name="connsiteY2" fmla="*/ 0 h 75689"/>
                <a:gd name="connsiteX3" fmla="*/ 112906 w 124857"/>
                <a:gd name="connsiteY3" fmla="*/ 1526 h 75689"/>
                <a:gd name="connsiteX4" fmla="*/ 5086 w 124857"/>
                <a:gd name="connsiteY4" fmla="*/ 57842 h 75689"/>
                <a:gd name="connsiteX5" fmla="*/ 1017 w 124857"/>
                <a:gd name="connsiteY5" fmla="*/ 70554 h 75689"/>
                <a:gd name="connsiteX6" fmla="*/ 12428 w 124857"/>
                <a:gd name="connsiteY6" fmla="*/ 74940 h 75689"/>
                <a:gd name="connsiteX7" fmla="*/ 12842 w 124857"/>
                <a:gd name="connsiteY7" fmla="*/ 74749 h 75689"/>
                <a:gd name="connsiteX8" fmla="*/ 124858 w 124857"/>
                <a:gd name="connsiteY8" fmla="*/ 17289 h 75689"/>
                <a:gd name="connsiteX9" fmla="*/ 113029 w 124857"/>
                <a:gd name="connsiteY9" fmla="*/ 13539 h 75689"/>
                <a:gd name="connsiteX10" fmla="*/ 112652 w 124857"/>
                <a:gd name="connsiteY10" fmla="*/ 12712 h 7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57" h="75689">
                  <a:moveTo>
                    <a:pt x="112652" y="12712"/>
                  </a:moveTo>
                  <a:cubicBezTo>
                    <a:pt x="110460" y="8060"/>
                    <a:pt x="112237" y="2517"/>
                    <a:pt x="116720" y="0"/>
                  </a:cubicBezTo>
                  <a:lnTo>
                    <a:pt x="115830" y="0"/>
                  </a:lnTo>
                  <a:lnTo>
                    <a:pt x="112906" y="1526"/>
                  </a:lnTo>
                  <a:lnTo>
                    <a:pt x="5086" y="57842"/>
                  </a:lnTo>
                  <a:cubicBezTo>
                    <a:pt x="494" y="60270"/>
                    <a:pt x="-1314" y="65914"/>
                    <a:pt x="1017" y="70554"/>
                  </a:cubicBezTo>
                  <a:cubicBezTo>
                    <a:pt x="2955" y="74914"/>
                    <a:pt x="8063" y="76885"/>
                    <a:pt x="12428" y="74940"/>
                  </a:cubicBezTo>
                  <a:cubicBezTo>
                    <a:pt x="12567" y="74889"/>
                    <a:pt x="12705" y="74813"/>
                    <a:pt x="12842" y="74749"/>
                  </a:cubicBezTo>
                  <a:lnTo>
                    <a:pt x="124858" y="17289"/>
                  </a:lnTo>
                  <a:cubicBezTo>
                    <a:pt x="120558" y="19526"/>
                    <a:pt x="115262" y="17848"/>
                    <a:pt x="113029" y="13539"/>
                  </a:cubicBezTo>
                  <a:cubicBezTo>
                    <a:pt x="112889" y="13272"/>
                    <a:pt x="112764" y="12992"/>
                    <a:pt x="112652" y="12712"/>
                  </a:cubicBezTo>
                  <a:close/>
                </a:path>
              </a:pathLst>
            </a:custGeom>
            <a:solidFill>
              <a:srgbClr val="000000"/>
            </a:solidFill>
            <a:ln w="12685"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9CC79A4E-78C9-4C5F-86A2-FFD7E1738DEA}"/>
                </a:ext>
              </a:extLst>
            </p:cNvPr>
            <p:cNvSpPr/>
            <p:nvPr/>
          </p:nvSpPr>
          <p:spPr>
            <a:xfrm>
              <a:off x="373637" y="4760977"/>
              <a:ext cx="223101" cy="124426"/>
            </a:xfrm>
            <a:custGeom>
              <a:avLst/>
              <a:gdLst>
                <a:gd name="connsiteX0" fmla="*/ 220900 w 223101"/>
                <a:gd name="connsiteY0" fmla="*/ 15241 h 124426"/>
                <a:gd name="connsiteX1" fmla="*/ 221790 w 223101"/>
                <a:gd name="connsiteY1" fmla="*/ 14224 h 124426"/>
                <a:gd name="connsiteX2" fmla="*/ 221790 w 223101"/>
                <a:gd name="connsiteY2" fmla="*/ 14224 h 124426"/>
                <a:gd name="connsiteX3" fmla="*/ 222680 w 223101"/>
                <a:gd name="connsiteY3" fmla="*/ 12699 h 124426"/>
                <a:gd name="connsiteX4" fmla="*/ 222680 w 223101"/>
                <a:gd name="connsiteY4" fmla="*/ 10919 h 124426"/>
                <a:gd name="connsiteX5" fmla="*/ 222680 w 223101"/>
                <a:gd name="connsiteY5" fmla="*/ 5198 h 124426"/>
                <a:gd name="connsiteX6" fmla="*/ 211092 w 223101"/>
                <a:gd name="connsiteY6" fmla="*/ 762 h 124426"/>
                <a:gd name="connsiteX7" fmla="*/ 210855 w 223101"/>
                <a:gd name="connsiteY7" fmla="*/ 876 h 124426"/>
                <a:gd name="connsiteX8" fmla="*/ 206024 w 223101"/>
                <a:gd name="connsiteY8" fmla="*/ 3419 h 124426"/>
                <a:gd name="connsiteX9" fmla="*/ 5005 w 223101"/>
                <a:gd name="connsiteY9" fmla="*/ 106516 h 124426"/>
                <a:gd name="connsiteX10" fmla="*/ 936 w 223101"/>
                <a:gd name="connsiteY10" fmla="*/ 119229 h 124426"/>
                <a:gd name="connsiteX11" fmla="*/ 12525 w 223101"/>
                <a:gd name="connsiteY11" fmla="*/ 123665 h 124426"/>
                <a:gd name="connsiteX12" fmla="*/ 12761 w 223101"/>
                <a:gd name="connsiteY12" fmla="*/ 123551 h 124426"/>
                <a:gd name="connsiteX13" fmla="*/ 218611 w 223101"/>
                <a:gd name="connsiteY13" fmla="*/ 17911 h 124426"/>
                <a:gd name="connsiteX14" fmla="*/ 219501 w 223101"/>
                <a:gd name="connsiteY14" fmla="*/ 17148 h 124426"/>
                <a:gd name="connsiteX15" fmla="*/ 219501 w 223101"/>
                <a:gd name="connsiteY15" fmla="*/ 17148 h 124426"/>
                <a:gd name="connsiteX16" fmla="*/ 220900 w 223101"/>
                <a:gd name="connsiteY16" fmla="*/ 15241 h 12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3101" h="124426">
                  <a:moveTo>
                    <a:pt x="220900" y="15241"/>
                  </a:moveTo>
                  <a:lnTo>
                    <a:pt x="221790" y="14224"/>
                  </a:lnTo>
                  <a:cubicBezTo>
                    <a:pt x="221790" y="14224"/>
                    <a:pt x="221790" y="14224"/>
                    <a:pt x="221790" y="14224"/>
                  </a:cubicBezTo>
                  <a:cubicBezTo>
                    <a:pt x="222160" y="13766"/>
                    <a:pt x="222460" y="13245"/>
                    <a:pt x="222680" y="12699"/>
                  </a:cubicBezTo>
                  <a:cubicBezTo>
                    <a:pt x="222753" y="12101"/>
                    <a:pt x="222753" y="11516"/>
                    <a:pt x="222680" y="10919"/>
                  </a:cubicBezTo>
                  <a:cubicBezTo>
                    <a:pt x="223242" y="9050"/>
                    <a:pt x="223242" y="7067"/>
                    <a:pt x="222680" y="5198"/>
                  </a:cubicBezTo>
                  <a:cubicBezTo>
                    <a:pt x="220704" y="774"/>
                    <a:pt x="215517" y="-1209"/>
                    <a:pt x="211092" y="762"/>
                  </a:cubicBezTo>
                  <a:cubicBezTo>
                    <a:pt x="211013" y="800"/>
                    <a:pt x="210934" y="838"/>
                    <a:pt x="210855" y="876"/>
                  </a:cubicBezTo>
                  <a:lnTo>
                    <a:pt x="206024" y="3419"/>
                  </a:lnTo>
                  <a:lnTo>
                    <a:pt x="5005" y="106516"/>
                  </a:lnTo>
                  <a:cubicBezTo>
                    <a:pt x="522" y="109033"/>
                    <a:pt x="-1256" y="114576"/>
                    <a:pt x="936" y="119229"/>
                  </a:cubicBezTo>
                  <a:cubicBezTo>
                    <a:pt x="2912" y="123652"/>
                    <a:pt x="8101" y="125636"/>
                    <a:pt x="12525" y="123665"/>
                  </a:cubicBezTo>
                  <a:cubicBezTo>
                    <a:pt x="12603" y="123627"/>
                    <a:pt x="12682" y="123589"/>
                    <a:pt x="12761" y="123551"/>
                  </a:cubicBezTo>
                  <a:lnTo>
                    <a:pt x="218611" y="17911"/>
                  </a:lnTo>
                  <a:lnTo>
                    <a:pt x="219501" y="17148"/>
                  </a:lnTo>
                  <a:lnTo>
                    <a:pt x="219501" y="17148"/>
                  </a:lnTo>
                  <a:cubicBezTo>
                    <a:pt x="220114" y="16640"/>
                    <a:pt x="220595" y="15978"/>
                    <a:pt x="220900" y="15241"/>
                  </a:cubicBezTo>
                  <a:close/>
                </a:path>
              </a:pathLst>
            </a:custGeom>
            <a:solidFill>
              <a:srgbClr val="000000"/>
            </a:solidFill>
            <a:ln w="12685" cap="flat">
              <a:no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0E7F58F7-DCC1-42A6-9430-6E8FEB6E0094}"/>
                </a:ext>
              </a:extLst>
            </p:cNvPr>
            <p:cNvSpPr/>
            <p:nvPr/>
          </p:nvSpPr>
          <p:spPr>
            <a:xfrm>
              <a:off x="2382727" y="3293359"/>
              <a:ext cx="37874" cy="164076"/>
            </a:xfrm>
            <a:custGeom>
              <a:avLst/>
              <a:gdLst>
                <a:gd name="connsiteX0" fmla="*/ 0 w 37874"/>
                <a:gd name="connsiteY0" fmla="*/ 161406 h 164076"/>
                <a:gd name="connsiteX1" fmla="*/ 9549 w 37874"/>
                <a:gd name="connsiteY1" fmla="*/ 153487 h 164076"/>
                <a:gd name="connsiteX2" fmla="*/ 9917 w 37874"/>
                <a:gd name="connsiteY2" fmla="*/ 153525 h 164076"/>
                <a:gd name="connsiteX3" fmla="*/ 17419 w 37874"/>
                <a:gd name="connsiteY3" fmla="*/ 164076 h 164076"/>
                <a:gd name="connsiteX4" fmla="*/ 37763 w 37874"/>
                <a:gd name="connsiteY4" fmla="*/ 15468 h 164076"/>
                <a:gd name="connsiteX5" fmla="*/ 37763 w 37874"/>
                <a:gd name="connsiteY5" fmla="*/ 10637 h 164076"/>
                <a:gd name="connsiteX6" fmla="*/ 30261 w 37874"/>
                <a:gd name="connsiteY6" fmla="*/ 86 h 164076"/>
                <a:gd name="connsiteX7" fmla="*/ 24666 w 37874"/>
                <a:gd name="connsiteY7" fmla="*/ 1357 h 164076"/>
                <a:gd name="connsiteX8" fmla="*/ 23522 w 37874"/>
                <a:gd name="connsiteY8" fmla="*/ 2120 h 164076"/>
                <a:gd name="connsiteX9" fmla="*/ 20344 w 37874"/>
                <a:gd name="connsiteY9" fmla="*/ 7968 h 16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74" h="164076">
                  <a:moveTo>
                    <a:pt x="0" y="161406"/>
                  </a:moveTo>
                  <a:cubicBezTo>
                    <a:pt x="445" y="156588"/>
                    <a:pt x="4717" y="153029"/>
                    <a:pt x="9549" y="153487"/>
                  </a:cubicBezTo>
                  <a:cubicBezTo>
                    <a:pt x="9676" y="153499"/>
                    <a:pt x="9790" y="153512"/>
                    <a:pt x="9917" y="153525"/>
                  </a:cubicBezTo>
                  <a:cubicBezTo>
                    <a:pt x="14864" y="154427"/>
                    <a:pt x="18195" y="159105"/>
                    <a:pt x="17419" y="164076"/>
                  </a:cubicBezTo>
                  <a:lnTo>
                    <a:pt x="37763" y="15468"/>
                  </a:lnTo>
                  <a:lnTo>
                    <a:pt x="37763" y="10637"/>
                  </a:lnTo>
                  <a:cubicBezTo>
                    <a:pt x="38538" y="5667"/>
                    <a:pt x="35207" y="989"/>
                    <a:pt x="30261" y="86"/>
                  </a:cubicBezTo>
                  <a:cubicBezTo>
                    <a:pt x="28303" y="-206"/>
                    <a:pt x="26307" y="252"/>
                    <a:pt x="24666" y="1357"/>
                  </a:cubicBezTo>
                  <a:lnTo>
                    <a:pt x="23522" y="2120"/>
                  </a:lnTo>
                  <a:cubicBezTo>
                    <a:pt x="21742" y="3582"/>
                    <a:pt x="20610" y="5680"/>
                    <a:pt x="20344" y="7968"/>
                  </a:cubicBezTo>
                  <a:close/>
                </a:path>
              </a:pathLst>
            </a:custGeom>
            <a:solidFill>
              <a:srgbClr val="000000"/>
            </a:solidFill>
            <a:ln w="12685" cap="flat">
              <a:no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32B32CFC-AA06-4491-A4B0-23DE0C688FEA}"/>
                </a:ext>
              </a:extLst>
            </p:cNvPr>
            <p:cNvSpPr/>
            <p:nvPr/>
          </p:nvSpPr>
          <p:spPr>
            <a:xfrm>
              <a:off x="2362908" y="3446804"/>
              <a:ext cx="37350" cy="161974"/>
            </a:xfrm>
            <a:custGeom>
              <a:avLst/>
              <a:gdLst>
                <a:gd name="connsiteX0" fmla="*/ 29737 w 37350"/>
                <a:gd name="connsiteY0" fmla="*/ 80 h 161974"/>
                <a:gd name="connsiteX1" fmla="*/ 19858 w 37350"/>
                <a:gd name="connsiteY1" fmla="*/ 7593 h 161974"/>
                <a:gd name="connsiteX2" fmla="*/ 19820 w 37350"/>
                <a:gd name="connsiteY2" fmla="*/ 7962 h 161974"/>
                <a:gd name="connsiteX3" fmla="*/ 112 w 37350"/>
                <a:gd name="connsiteY3" fmla="*/ 151358 h 161974"/>
                <a:gd name="connsiteX4" fmla="*/ 112 w 37350"/>
                <a:gd name="connsiteY4" fmla="*/ 151358 h 161974"/>
                <a:gd name="connsiteX5" fmla="*/ 7614 w 37350"/>
                <a:gd name="connsiteY5" fmla="*/ 161909 h 161974"/>
                <a:gd name="connsiteX6" fmla="*/ 17658 w 37350"/>
                <a:gd name="connsiteY6" fmla="*/ 154027 h 161974"/>
                <a:gd name="connsiteX7" fmla="*/ 17658 w 37350"/>
                <a:gd name="connsiteY7" fmla="*/ 154027 h 161974"/>
                <a:gd name="connsiteX8" fmla="*/ 37239 w 37350"/>
                <a:gd name="connsiteY8" fmla="*/ 10631 h 161974"/>
                <a:gd name="connsiteX9" fmla="*/ 29737 w 37350"/>
                <a:gd name="connsiteY9" fmla="*/ 80 h 16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50" h="161974">
                  <a:moveTo>
                    <a:pt x="29737" y="80"/>
                  </a:moveTo>
                  <a:cubicBezTo>
                    <a:pt x="24931" y="-568"/>
                    <a:pt x="20519" y="2788"/>
                    <a:pt x="19858" y="7593"/>
                  </a:cubicBezTo>
                  <a:cubicBezTo>
                    <a:pt x="19845" y="7708"/>
                    <a:pt x="19832" y="7835"/>
                    <a:pt x="19820" y="7962"/>
                  </a:cubicBezTo>
                  <a:lnTo>
                    <a:pt x="112" y="151358"/>
                  </a:lnTo>
                  <a:lnTo>
                    <a:pt x="112" y="151358"/>
                  </a:lnTo>
                  <a:cubicBezTo>
                    <a:pt x="-664" y="156328"/>
                    <a:pt x="2668" y="161006"/>
                    <a:pt x="7614" y="161909"/>
                  </a:cubicBezTo>
                  <a:cubicBezTo>
                    <a:pt x="12560" y="162506"/>
                    <a:pt x="17061" y="158985"/>
                    <a:pt x="17658" y="154027"/>
                  </a:cubicBezTo>
                  <a:cubicBezTo>
                    <a:pt x="17658" y="154027"/>
                    <a:pt x="17658" y="154027"/>
                    <a:pt x="17658" y="154027"/>
                  </a:cubicBezTo>
                  <a:lnTo>
                    <a:pt x="37239" y="10631"/>
                  </a:lnTo>
                  <a:cubicBezTo>
                    <a:pt x="38014" y="5661"/>
                    <a:pt x="34683" y="983"/>
                    <a:pt x="29737" y="80"/>
                  </a:cubicBezTo>
                  <a:close/>
                </a:path>
              </a:pathLst>
            </a:custGeom>
            <a:solidFill>
              <a:srgbClr val="000000"/>
            </a:solidFill>
            <a:ln w="12685"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9AE5541F-5E60-4493-90C4-7B13657C96A4}"/>
                </a:ext>
              </a:extLst>
            </p:cNvPr>
            <p:cNvSpPr/>
            <p:nvPr/>
          </p:nvSpPr>
          <p:spPr>
            <a:xfrm>
              <a:off x="2729269" y="4891011"/>
              <a:ext cx="2156975" cy="1287983"/>
            </a:xfrm>
            <a:custGeom>
              <a:avLst/>
              <a:gdLst>
                <a:gd name="connsiteX0" fmla="*/ 2144897 w 2156975"/>
                <a:gd name="connsiteY0" fmla="*/ 12712 h 1287983"/>
                <a:gd name="connsiteX1" fmla="*/ 2148329 w 2156975"/>
                <a:gd name="connsiteY1" fmla="*/ 0 h 1287983"/>
                <a:gd name="connsiteX2" fmla="*/ 2146804 w 2156975"/>
                <a:gd name="connsiteY2" fmla="*/ 890 h 1287983"/>
                <a:gd name="connsiteX3" fmla="*/ 2143879 w 2156975"/>
                <a:gd name="connsiteY3" fmla="*/ 2543 h 1287983"/>
                <a:gd name="connsiteX4" fmla="*/ 21293 w 2156975"/>
                <a:gd name="connsiteY4" fmla="*/ 1260561 h 1287983"/>
                <a:gd name="connsiteX5" fmla="*/ 4637 w 2156975"/>
                <a:gd name="connsiteY5" fmla="*/ 1270476 h 1287983"/>
                <a:gd name="connsiteX6" fmla="*/ 1204 w 2156975"/>
                <a:gd name="connsiteY6" fmla="*/ 1283189 h 1287983"/>
                <a:gd name="connsiteX7" fmla="*/ 12584 w 2156975"/>
                <a:gd name="connsiteY7" fmla="*/ 1287130 h 1287983"/>
                <a:gd name="connsiteX8" fmla="*/ 13283 w 2156975"/>
                <a:gd name="connsiteY8" fmla="*/ 1286748 h 1287983"/>
                <a:gd name="connsiteX9" fmla="*/ 2156975 w 2156975"/>
                <a:gd name="connsiteY9" fmla="*/ 16399 h 1287983"/>
                <a:gd name="connsiteX10" fmla="*/ 2145291 w 2156975"/>
                <a:gd name="connsiteY10" fmla="*/ 13463 h 1287983"/>
                <a:gd name="connsiteX11" fmla="*/ 2144897 w 2156975"/>
                <a:gd name="connsiteY11" fmla="*/ 12712 h 128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6975" h="1287983">
                  <a:moveTo>
                    <a:pt x="2144897" y="12712"/>
                  </a:moveTo>
                  <a:cubicBezTo>
                    <a:pt x="2142455" y="8238"/>
                    <a:pt x="2143968" y="2644"/>
                    <a:pt x="2148329" y="0"/>
                  </a:cubicBezTo>
                  <a:lnTo>
                    <a:pt x="2146804" y="890"/>
                  </a:lnTo>
                  <a:lnTo>
                    <a:pt x="2143879" y="2543"/>
                  </a:lnTo>
                  <a:lnTo>
                    <a:pt x="21293" y="1260561"/>
                  </a:lnTo>
                  <a:lnTo>
                    <a:pt x="4637" y="1270476"/>
                  </a:lnTo>
                  <a:cubicBezTo>
                    <a:pt x="225" y="1273070"/>
                    <a:pt x="-1301" y="1278727"/>
                    <a:pt x="1204" y="1283189"/>
                  </a:cubicBezTo>
                  <a:cubicBezTo>
                    <a:pt x="3264" y="1287422"/>
                    <a:pt x="8363" y="1289176"/>
                    <a:pt x="12584" y="1287130"/>
                  </a:cubicBezTo>
                  <a:cubicBezTo>
                    <a:pt x="12826" y="1287015"/>
                    <a:pt x="13054" y="1286888"/>
                    <a:pt x="13283" y="1286748"/>
                  </a:cubicBezTo>
                  <a:lnTo>
                    <a:pt x="2156975" y="16399"/>
                  </a:lnTo>
                  <a:cubicBezTo>
                    <a:pt x="2152932" y="18814"/>
                    <a:pt x="2147707" y="17492"/>
                    <a:pt x="2145291" y="13463"/>
                  </a:cubicBezTo>
                  <a:cubicBezTo>
                    <a:pt x="2145151" y="13221"/>
                    <a:pt x="2145011" y="12967"/>
                    <a:pt x="2144897" y="12712"/>
                  </a:cubicBezTo>
                  <a:close/>
                </a:path>
              </a:pathLst>
            </a:custGeom>
            <a:solidFill>
              <a:srgbClr val="000000"/>
            </a:solidFill>
            <a:ln w="12685"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6B7B5B67-6F5E-4917-B03E-689EA6B3ADFB}"/>
                </a:ext>
              </a:extLst>
            </p:cNvPr>
            <p:cNvSpPr/>
            <p:nvPr/>
          </p:nvSpPr>
          <p:spPr>
            <a:xfrm>
              <a:off x="4873000" y="4718413"/>
              <a:ext cx="307267" cy="190233"/>
            </a:xfrm>
            <a:custGeom>
              <a:avLst/>
              <a:gdLst>
                <a:gd name="connsiteX0" fmla="*/ 4598 w 307267"/>
                <a:gd name="connsiteY0" fmla="*/ 172726 h 190233"/>
                <a:gd name="connsiteX1" fmla="*/ 1165 w 307267"/>
                <a:gd name="connsiteY1" fmla="*/ 185438 h 190233"/>
                <a:gd name="connsiteX2" fmla="*/ 12545 w 307267"/>
                <a:gd name="connsiteY2" fmla="*/ 189379 h 190233"/>
                <a:gd name="connsiteX3" fmla="*/ 13244 w 307267"/>
                <a:gd name="connsiteY3" fmla="*/ 188998 h 190233"/>
                <a:gd name="connsiteX4" fmla="*/ 302630 w 307267"/>
                <a:gd name="connsiteY4" fmla="*/ 17508 h 190233"/>
                <a:gd name="connsiteX5" fmla="*/ 306063 w 307267"/>
                <a:gd name="connsiteY5" fmla="*/ 4795 h 190233"/>
                <a:gd name="connsiteX6" fmla="*/ 294683 w 307267"/>
                <a:gd name="connsiteY6" fmla="*/ 854 h 190233"/>
                <a:gd name="connsiteX7" fmla="*/ 293984 w 307267"/>
                <a:gd name="connsiteY7" fmla="*/ 1236 h 190233"/>
                <a:gd name="connsiteX8" fmla="*/ 292458 w 307267"/>
                <a:gd name="connsiteY8" fmla="*/ 2125 h 190233"/>
                <a:gd name="connsiteX9" fmla="*/ 289152 w 307267"/>
                <a:gd name="connsiteY9" fmla="*/ 3905 h 19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267" h="190233">
                  <a:moveTo>
                    <a:pt x="4598" y="172726"/>
                  </a:moveTo>
                  <a:cubicBezTo>
                    <a:pt x="237" y="175370"/>
                    <a:pt x="-1276" y="180964"/>
                    <a:pt x="1165" y="185438"/>
                  </a:cubicBezTo>
                  <a:cubicBezTo>
                    <a:pt x="3225" y="189672"/>
                    <a:pt x="8323" y="191426"/>
                    <a:pt x="12545" y="189379"/>
                  </a:cubicBezTo>
                  <a:cubicBezTo>
                    <a:pt x="12786" y="189265"/>
                    <a:pt x="13015" y="189138"/>
                    <a:pt x="13244" y="188998"/>
                  </a:cubicBezTo>
                  <a:lnTo>
                    <a:pt x="302630" y="17508"/>
                  </a:lnTo>
                  <a:cubicBezTo>
                    <a:pt x="307042" y="14914"/>
                    <a:pt x="308568" y="9257"/>
                    <a:pt x="306063" y="4795"/>
                  </a:cubicBezTo>
                  <a:cubicBezTo>
                    <a:pt x="304003" y="562"/>
                    <a:pt x="298904" y="-1192"/>
                    <a:pt x="294683" y="854"/>
                  </a:cubicBezTo>
                  <a:cubicBezTo>
                    <a:pt x="294441" y="969"/>
                    <a:pt x="294213" y="1096"/>
                    <a:pt x="293984" y="1236"/>
                  </a:cubicBezTo>
                  <a:lnTo>
                    <a:pt x="292458" y="2125"/>
                  </a:lnTo>
                  <a:lnTo>
                    <a:pt x="289152" y="3905"/>
                  </a:lnTo>
                  <a:close/>
                </a:path>
              </a:pathLst>
            </a:custGeom>
            <a:solidFill>
              <a:srgbClr val="000000"/>
            </a:solidFill>
            <a:ln w="12685"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6C271749-A077-4CD2-AA58-AC3F5BB423B2}"/>
                </a:ext>
              </a:extLst>
            </p:cNvPr>
            <p:cNvSpPr/>
            <p:nvPr/>
          </p:nvSpPr>
          <p:spPr>
            <a:xfrm>
              <a:off x="1966235" y="2481124"/>
              <a:ext cx="29203" cy="117751"/>
            </a:xfrm>
            <a:custGeom>
              <a:avLst/>
              <a:gdLst>
                <a:gd name="connsiteX0" fmla="*/ 18523 w 29203"/>
                <a:gd name="connsiteY0" fmla="*/ 10297 h 117751"/>
                <a:gd name="connsiteX1" fmla="*/ 10767 w 29203"/>
                <a:gd name="connsiteY1" fmla="*/ 0 h 117751"/>
                <a:gd name="connsiteX2" fmla="*/ 10767 w 29203"/>
                <a:gd name="connsiteY2" fmla="*/ 3559 h 117751"/>
                <a:gd name="connsiteX3" fmla="*/ 10767 w 29203"/>
                <a:gd name="connsiteY3" fmla="*/ 7373 h 117751"/>
                <a:gd name="connsiteX4" fmla="*/ 87 w 29203"/>
                <a:gd name="connsiteY4" fmla="*/ 107420 h 117751"/>
                <a:gd name="connsiteX5" fmla="*/ 7843 w 29203"/>
                <a:gd name="connsiteY5" fmla="*/ 117717 h 117751"/>
                <a:gd name="connsiteX6" fmla="*/ 17633 w 29203"/>
                <a:gd name="connsiteY6" fmla="*/ 109517 h 117751"/>
                <a:gd name="connsiteX7" fmla="*/ 17633 w 29203"/>
                <a:gd name="connsiteY7" fmla="*/ 109454 h 117751"/>
                <a:gd name="connsiteX8" fmla="*/ 29203 w 29203"/>
                <a:gd name="connsiteY8" fmla="*/ 2161 h 117751"/>
                <a:gd name="connsiteX9" fmla="*/ 19744 w 29203"/>
                <a:gd name="connsiteY9" fmla="*/ 10462 h 117751"/>
                <a:gd name="connsiteX10" fmla="*/ 18523 w 29203"/>
                <a:gd name="connsiteY10" fmla="*/ 10297 h 11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03" h="117751">
                  <a:moveTo>
                    <a:pt x="18523" y="10297"/>
                  </a:moveTo>
                  <a:cubicBezTo>
                    <a:pt x="13551" y="9573"/>
                    <a:pt x="10080" y="4983"/>
                    <a:pt x="10767" y="0"/>
                  </a:cubicBezTo>
                  <a:lnTo>
                    <a:pt x="10767" y="3559"/>
                  </a:lnTo>
                  <a:lnTo>
                    <a:pt x="10767" y="7373"/>
                  </a:lnTo>
                  <a:lnTo>
                    <a:pt x="87" y="107420"/>
                  </a:lnTo>
                  <a:cubicBezTo>
                    <a:pt x="-600" y="112403"/>
                    <a:pt x="2871" y="116992"/>
                    <a:pt x="7843" y="117717"/>
                  </a:cubicBezTo>
                  <a:cubicBezTo>
                    <a:pt x="12814" y="118149"/>
                    <a:pt x="17188" y="114488"/>
                    <a:pt x="17633" y="109517"/>
                  </a:cubicBezTo>
                  <a:cubicBezTo>
                    <a:pt x="17633" y="109492"/>
                    <a:pt x="17633" y="109479"/>
                    <a:pt x="17633" y="109454"/>
                  </a:cubicBezTo>
                  <a:lnTo>
                    <a:pt x="29203" y="2161"/>
                  </a:lnTo>
                  <a:cubicBezTo>
                    <a:pt x="28885" y="7068"/>
                    <a:pt x="24651" y="10780"/>
                    <a:pt x="19744" y="10462"/>
                  </a:cubicBezTo>
                  <a:cubicBezTo>
                    <a:pt x="19337" y="10437"/>
                    <a:pt x="18930" y="10386"/>
                    <a:pt x="18523" y="10297"/>
                  </a:cubicBezTo>
                  <a:close/>
                </a:path>
              </a:pathLst>
            </a:custGeom>
            <a:solidFill>
              <a:srgbClr val="000000"/>
            </a:solidFill>
            <a:ln w="12685"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22D640A1-197F-463D-9D28-C42E3F4ED2FA}"/>
                </a:ext>
              </a:extLst>
            </p:cNvPr>
            <p:cNvSpPr/>
            <p:nvPr/>
          </p:nvSpPr>
          <p:spPr>
            <a:xfrm>
              <a:off x="2474161" y="2651851"/>
              <a:ext cx="19819" cy="26619"/>
            </a:xfrm>
            <a:custGeom>
              <a:avLst/>
              <a:gdLst>
                <a:gd name="connsiteX0" fmla="*/ 7614 w 19819"/>
                <a:gd name="connsiteY0" fmla="*/ 26569 h 26619"/>
                <a:gd name="connsiteX1" fmla="*/ 17658 w 19819"/>
                <a:gd name="connsiteY1" fmla="*/ 18560 h 26619"/>
                <a:gd name="connsiteX2" fmla="*/ 19820 w 19819"/>
                <a:gd name="connsiteY2" fmla="*/ 2669 h 26619"/>
                <a:gd name="connsiteX3" fmla="*/ 9775 w 19819"/>
                <a:gd name="connsiteY3" fmla="*/ 10551 h 26619"/>
                <a:gd name="connsiteX4" fmla="*/ 9775 w 19819"/>
                <a:gd name="connsiteY4" fmla="*/ 10551 h 26619"/>
                <a:gd name="connsiteX5" fmla="*/ 2274 w 19819"/>
                <a:gd name="connsiteY5" fmla="*/ 0 h 26619"/>
                <a:gd name="connsiteX6" fmla="*/ 112 w 19819"/>
                <a:gd name="connsiteY6" fmla="*/ 16018 h 26619"/>
                <a:gd name="connsiteX7" fmla="*/ 7614 w 19819"/>
                <a:gd name="connsiteY7" fmla="*/ 26569 h 2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19" h="26619">
                  <a:moveTo>
                    <a:pt x="7614" y="26569"/>
                  </a:moveTo>
                  <a:cubicBezTo>
                    <a:pt x="12585" y="27090"/>
                    <a:pt x="17061" y="23531"/>
                    <a:pt x="17658" y="18560"/>
                  </a:cubicBezTo>
                  <a:lnTo>
                    <a:pt x="19820" y="2669"/>
                  </a:lnTo>
                  <a:cubicBezTo>
                    <a:pt x="19222" y="7615"/>
                    <a:pt x="14734" y="11149"/>
                    <a:pt x="9775" y="10551"/>
                  </a:cubicBezTo>
                  <a:cubicBezTo>
                    <a:pt x="9775" y="10551"/>
                    <a:pt x="9775" y="10551"/>
                    <a:pt x="9775" y="10551"/>
                  </a:cubicBezTo>
                  <a:cubicBezTo>
                    <a:pt x="4829" y="9649"/>
                    <a:pt x="1498" y="4970"/>
                    <a:pt x="2274" y="0"/>
                  </a:cubicBezTo>
                  <a:lnTo>
                    <a:pt x="112" y="16018"/>
                  </a:lnTo>
                  <a:cubicBezTo>
                    <a:pt x="-664" y="20988"/>
                    <a:pt x="2668" y="25666"/>
                    <a:pt x="7614" y="26569"/>
                  </a:cubicBezTo>
                  <a:close/>
                </a:path>
              </a:pathLst>
            </a:custGeom>
            <a:solidFill>
              <a:srgbClr val="000000"/>
            </a:solidFill>
            <a:ln w="12685"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0B62DA9B-1C88-42A2-B9F4-0823C28E3883}"/>
                </a:ext>
              </a:extLst>
            </p:cNvPr>
            <p:cNvSpPr/>
            <p:nvPr/>
          </p:nvSpPr>
          <p:spPr>
            <a:xfrm>
              <a:off x="3407342" y="3508666"/>
              <a:ext cx="74313" cy="294067"/>
            </a:xfrm>
            <a:custGeom>
              <a:avLst/>
              <a:gdLst>
                <a:gd name="connsiteX0" fmla="*/ 7435 w 74313"/>
                <a:gd name="connsiteY0" fmla="*/ 293910 h 294067"/>
                <a:gd name="connsiteX1" fmla="*/ 17835 w 74313"/>
                <a:gd name="connsiteY1" fmla="*/ 286817 h 294067"/>
                <a:gd name="connsiteX2" fmla="*/ 17861 w 74313"/>
                <a:gd name="connsiteY2" fmla="*/ 286664 h 294067"/>
                <a:gd name="connsiteX3" fmla="*/ 74313 w 74313"/>
                <a:gd name="connsiteY3" fmla="*/ 3814 h 294067"/>
                <a:gd name="connsiteX4" fmla="*/ 64065 w 74313"/>
                <a:gd name="connsiteY4" fmla="*/ 11111 h 294067"/>
                <a:gd name="connsiteX5" fmla="*/ 63760 w 74313"/>
                <a:gd name="connsiteY5" fmla="*/ 11060 h 294067"/>
                <a:gd name="connsiteX6" fmla="*/ 57022 w 74313"/>
                <a:gd name="connsiteY6" fmla="*/ 0 h 294067"/>
                <a:gd name="connsiteX7" fmla="*/ 187 w 74313"/>
                <a:gd name="connsiteY7" fmla="*/ 282851 h 294067"/>
                <a:gd name="connsiteX8" fmla="*/ 7435 w 74313"/>
                <a:gd name="connsiteY8" fmla="*/ 293910 h 29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313" h="294067">
                  <a:moveTo>
                    <a:pt x="7435" y="293910"/>
                  </a:moveTo>
                  <a:cubicBezTo>
                    <a:pt x="12266" y="294826"/>
                    <a:pt x="16920" y="291648"/>
                    <a:pt x="17835" y="286817"/>
                  </a:cubicBezTo>
                  <a:cubicBezTo>
                    <a:pt x="17848" y="286766"/>
                    <a:pt x="17848" y="286715"/>
                    <a:pt x="17861" y="286664"/>
                  </a:cubicBezTo>
                  <a:lnTo>
                    <a:pt x="74313" y="3814"/>
                  </a:lnTo>
                  <a:cubicBezTo>
                    <a:pt x="73500" y="8657"/>
                    <a:pt x="68910" y="11924"/>
                    <a:pt x="64065" y="11111"/>
                  </a:cubicBezTo>
                  <a:cubicBezTo>
                    <a:pt x="63964" y="11098"/>
                    <a:pt x="63862" y="11085"/>
                    <a:pt x="63760" y="11060"/>
                  </a:cubicBezTo>
                  <a:cubicBezTo>
                    <a:pt x="58891" y="9814"/>
                    <a:pt x="55903" y="4907"/>
                    <a:pt x="57022" y="0"/>
                  </a:cubicBezTo>
                  <a:lnTo>
                    <a:pt x="187" y="282851"/>
                  </a:lnTo>
                  <a:cubicBezTo>
                    <a:pt x="-830" y="287898"/>
                    <a:pt x="2400" y="292830"/>
                    <a:pt x="7435" y="293910"/>
                  </a:cubicBezTo>
                  <a:close/>
                </a:path>
              </a:pathLst>
            </a:custGeom>
            <a:solidFill>
              <a:srgbClr val="000000"/>
            </a:solidFill>
            <a:ln w="12685"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B9999168-E7C1-499B-81FF-F5C9099794BC}"/>
                </a:ext>
              </a:extLst>
            </p:cNvPr>
            <p:cNvSpPr/>
            <p:nvPr/>
          </p:nvSpPr>
          <p:spPr>
            <a:xfrm>
              <a:off x="1977170" y="2242385"/>
              <a:ext cx="43062" cy="249084"/>
            </a:xfrm>
            <a:custGeom>
              <a:avLst/>
              <a:gdLst>
                <a:gd name="connsiteX0" fmla="*/ 33272 w 43062"/>
                <a:gd name="connsiteY0" fmla="*/ 10170 h 249084"/>
                <a:gd name="connsiteX1" fmla="*/ 25516 w 43062"/>
                <a:gd name="connsiteY1" fmla="*/ 38 h 249084"/>
                <a:gd name="connsiteX2" fmla="*/ 25516 w 43062"/>
                <a:gd name="connsiteY2" fmla="*/ 0 h 249084"/>
                <a:gd name="connsiteX3" fmla="*/ 25516 w 43062"/>
                <a:gd name="connsiteY3" fmla="*/ 4958 h 249084"/>
                <a:gd name="connsiteX4" fmla="*/ 87 w 43062"/>
                <a:gd name="connsiteY4" fmla="*/ 238739 h 249084"/>
                <a:gd name="connsiteX5" fmla="*/ 7843 w 43062"/>
                <a:gd name="connsiteY5" fmla="*/ 249036 h 249084"/>
                <a:gd name="connsiteX6" fmla="*/ 17620 w 43062"/>
                <a:gd name="connsiteY6" fmla="*/ 241103 h 249084"/>
                <a:gd name="connsiteX7" fmla="*/ 17633 w 43062"/>
                <a:gd name="connsiteY7" fmla="*/ 240900 h 249084"/>
                <a:gd name="connsiteX8" fmla="*/ 43062 w 43062"/>
                <a:gd name="connsiteY8" fmla="*/ 2034 h 249084"/>
                <a:gd name="connsiteX9" fmla="*/ 33475 w 43062"/>
                <a:gd name="connsiteY9" fmla="*/ 10183 h 249084"/>
                <a:gd name="connsiteX10" fmla="*/ 33272 w 43062"/>
                <a:gd name="connsiteY10" fmla="*/ 10170 h 24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62" h="249084">
                  <a:moveTo>
                    <a:pt x="33272" y="10170"/>
                  </a:moveTo>
                  <a:cubicBezTo>
                    <a:pt x="28326" y="9509"/>
                    <a:pt x="24855" y="4971"/>
                    <a:pt x="25516" y="38"/>
                  </a:cubicBezTo>
                  <a:cubicBezTo>
                    <a:pt x="25516" y="25"/>
                    <a:pt x="25516" y="13"/>
                    <a:pt x="25516" y="0"/>
                  </a:cubicBezTo>
                  <a:lnTo>
                    <a:pt x="25516" y="4958"/>
                  </a:lnTo>
                  <a:lnTo>
                    <a:pt x="87" y="238739"/>
                  </a:lnTo>
                  <a:cubicBezTo>
                    <a:pt x="-600" y="243722"/>
                    <a:pt x="2871" y="248311"/>
                    <a:pt x="7843" y="249036"/>
                  </a:cubicBezTo>
                  <a:cubicBezTo>
                    <a:pt x="12738" y="249544"/>
                    <a:pt x="17112" y="245997"/>
                    <a:pt x="17620" y="241103"/>
                  </a:cubicBezTo>
                  <a:cubicBezTo>
                    <a:pt x="17620" y="241040"/>
                    <a:pt x="17633" y="240963"/>
                    <a:pt x="17633" y="240900"/>
                  </a:cubicBezTo>
                  <a:lnTo>
                    <a:pt x="43062" y="2034"/>
                  </a:lnTo>
                  <a:cubicBezTo>
                    <a:pt x="42668" y="6928"/>
                    <a:pt x="38370" y="10590"/>
                    <a:pt x="33475" y="10183"/>
                  </a:cubicBezTo>
                  <a:cubicBezTo>
                    <a:pt x="33412" y="10183"/>
                    <a:pt x="33336" y="10183"/>
                    <a:pt x="33272" y="10170"/>
                  </a:cubicBezTo>
                  <a:close/>
                </a:path>
              </a:pathLst>
            </a:custGeom>
            <a:solidFill>
              <a:srgbClr val="000000"/>
            </a:solidFill>
            <a:ln w="12685" cap="flat">
              <a:no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4D1961E2-F171-460C-8FC3-AFBADBF68AA0}"/>
                </a:ext>
              </a:extLst>
            </p:cNvPr>
            <p:cNvSpPr/>
            <p:nvPr/>
          </p:nvSpPr>
          <p:spPr>
            <a:xfrm>
              <a:off x="2003318" y="1930001"/>
              <a:ext cx="49660" cy="323395"/>
            </a:xfrm>
            <a:custGeom>
              <a:avLst/>
              <a:gdLst>
                <a:gd name="connsiteX0" fmla="*/ 49591 w 49660"/>
                <a:gd name="connsiteY0" fmla="*/ 10337 h 323395"/>
                <a:gd name="connsiteX1" fmla="*/ 41835 w 49660"/>
                <a:gd name="connsiteY1" fmla="*/ 40 h 323395"/>
                <a:gd name="connsiteX2" fmla="*/ 36367 w 49660"/>
                <a:gd name="connsiteY2" fmla="*/ 1438 h 323395"/>
                <a:gd name="connsiteX3" fmla="*/ 34969 w 49660"/>
                <a:gd name="connsiteY3" fmla="*/ 2455 h 323395"/>
                <a:gd name="connsiteX4" fmla="*/ 33824 w 49660"/>
                <a:gd name="connsiteY4" fmla="*/ 3854 h 323395"/>
                <a:gd name="connsiteX5" fmla="*/ 32934 w 49660"/>
                <a:gd name="connsiteY5" fmla="*/ 5252 h 323395"/>
                <a:gd name="connsiteX6" fmla="*/ 32934 w 49660"/>
                <a:gd name="connsiteY6" fmla="*/ 7032 h 323395"/>
                <a:gd name="connsiteX7" fmla="*/ 32934 w 49660"/>
                <a:gd name="connsiteY7" fmla="*/ 8176 h 323395"/>
                <a:gd name="connsiteX8" fmla="*/ 2038 w 49660"/>
                <a:gd name="connsiteY8" fmla="*/ 295349 h 323395"/>
                <a:gd name="connsiteX9" fmla="*/ 258 w 49660"/>
                <a:gd name="connsiteY9" fmla="*/ 312383 h 323395"/>
                <a:gd name="connsiteX10" fmla="*/ 6793 w 49660"/>
                <a:gd name="connsiteY10" fmla="*/ 323138 h 323395"/>
                <a:gd name="connsiteX11" fmla="*/ 17550 w 49660"/>
                <a:gd name="connsiteY11" fmla="*/ 316604 h 323395"/>
                <a:gd name="connsiteX12" fmla="*/ 17804 w 49660"/>
                <a:gd name="connsiteY12" fmla="*/ 314417 h 323395"/>
                <a:gd name="connsiteX13" fmla="*/ 49591 w 49660"/>
                <a:gd name="connsiteY13" fmla="*/ 18092 h 323395"/>
                <a:gd name="connsiteX14" fmla="*/ 49591 w 49660"/>
                <a:gd name="connsiteY14" fmla="*/ 15676 h 32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660" h="323395">
                  <a:moveTo>
                    <a:pt x="49591" y="10337"/>
                  </a:moveTo>
                  <a:cubicBezTo>
                    <a:pt x="50201" y="5379"/>
                    <a:pt x="46768" y="828"/>
                    <a:pt x="41835" y="40"/>
                  </a:cubicBezTo>
                  <a:cubicBezTo>
                    <a:pt x="39902" y="-151"/>
                    <a:pt x="37969" y="345"/>
                    <a:pt x="36367" y="1438"/>
                  </a:cubicBezTo>
                  <a:lnTo>
                    <a:pt x="34969" y="2455"/>
                  </a:lnTo>
                  <a:cubicBezTo>
                    <a:pt x="34523" y="2862"/>
                    <a:pt x="34129" y="3333"/>
                    <a:pt x="33824" y="3854"/>
                  </a:cubicBezTo>
                  <a:cubicBezTo>
                    <a:pt x="33455" y="4273"/>
                    <a:pt x="33150" y="4744"/>
                    <a:pt x="32934" y="5252"/>
                  </a:cubicBezTo>
                  <a:cubicBezTo>
                    <a:pt x="32883" y="5850"/>
                    <a:pt x="32883" y="6434"/>
                    <a:pt x="32934" y="7032"/>
                  </a:cubicBezTo>
                  <a:cubicBezTo>
                    <a:pt x="32883" y="7413"/>
                    <a:pt x="32883" y="7795"/>
                    <a:pt x="32934" y="8176"/>
                  </a:cubicBezTo>
                  <a:lnTo>
                    <a:pt x="2038" y="295349"/>
                  </a:lnTo>
                  <a:lnTo>
                    <a:pt x="258" y="312383"/>
                  </a:lnTo>
                  <a:cubicBezTo>
                    <a:pt x="-912" y="317163"/>
                    <a:pt x="2012" y="321969"/>
                    <a:pt x="6793" y="323138"/>
                  </a:cubicBezTo>
                  <a:cubicBezTo>
                    <a:pt x="11574" y="324308"/>
                    <a:pt x="16380" y="321384"/>
                    <a:pt x="17550" y="316604"/>
                  </a:cubicBezTo>
                  <a:cubicBezTo>
                    <a:pt x="17727" y="315892"/>
                    <a:pt x="17804" y="315155"/>
                    <a:pt x="17804" y="314417"/>
                  </a:cubicBezTo>
                  <a:lnTo>
                    <a:pt x="49591" y="18092"/>
                  </a:lnTo>
                  <a:lnTo>
                    <a:pt x="49591" y="15676"/>
                  </a:lnTo>
                  <a:close/>
                </a:path>
              </a:pathLst>
            </a:custGeom>
            <a:solidFill>
              <a:srgbClr val="000000"/>
            </a:solidFill>
            <a:ln w="12685"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98C0BD38-45A2-49A9-9568-9222812A8610}"/>
                </a:ext>
              </a:extLst>
            </p:cNvPr>
            <p:cNvSpPr/>
            <p:nvPr/>
          </p:nvSpPr>
          <p:spPr>
            <a:xfrm>
              <a:off x="2476831" y="1980001"/>
              <a:ext cx="108313" cy="682467"/>
            </a:xfrm>
            <a:custGeom>
              <a:avLst/>
              <a:gdLst>
                <a:gd name="connsiteX0" fmla="*/ 98396 w 108313"/>
                <a:gd name="connsiteY0" fmla="*/ 10551 h 682467"/>
                <a:gd name="connsiteX1" fmla="*/ 90895 w 108313"/>
                <a:gd name="connsiteY1" fmla="*/ 0 h 682467"/>
                <a:gd name="connsiteX2" fmla="*/ 90895 w 108313"/>
                <a:gd name="connsiteY2" fmla="*/ 2034 h 682467"/>
                <a:gd name="connsiteX3" fmla="*/ 90895 w 108313"/>
                <a:gd name="connsiteY3" fmla="*/ 4195 h 682467"/>
                <a:gd name="connsiteX4" fmla="*/ 112 w 108313"/>
                <a:gd name="connsiteY4" fmla="*/ 671850 h 682467"/>
                <a:gd name="connsiteX5" fmla="*/ 7614 w 108313"/>
                <a:gd name="connsiteY5" fmla="*/ 682401 h 682467"/>
                <a:gd name="connsiteX6" fmla="*/ 17658 w 108313"/>
                <a:gd name="connsiteY6" fmla="*/ 674519 h 682467"/>
                <a:gd name="connsiteX7" fmla="*/ 17658 w 108313"/>
                <a:gd name="connsiteY7" fmla="*/ 674519 h 682467"/>
                <a:gd name="connsiteX8" fmla="*/ 17658 w 108313"/>
                <a:gd name="connsiteY8" fmla="*/ 669307 h 682467"/>
                <a:gd name="connsiteX9" fmla="*/ 108314 w 108313"/>
                <a:gd name="connsiteY9" fmla="*/ 2670 h 682467"/>
                <a:gd name="connsiteX10" fmla="*/ 98396 w 108313"/>
                <a:gd name="connsiteY10" fmla="*/ 10551 h 68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313" h="682467">
                  <a:moveTo>
                    <a:pt x="98396" y="10551"/>
                  </a:moveTo>
                  <a:cubicBezTo>
                    <a:pt x="93450" y="9649"/>
                    <a:pt x="90119" y="4971"/>
                    <a:pt x="90895" y="0"/>
                  </a:cubicBezTo>
                  <a:lnTo>
                    <a:pt x="90895" y="2034"/>
                  </a:lnTo>
                  <a:lnTo>
                    <a:pt x="90895" y="4195"/>
                  </a:lnTo>
                  <a:lnTo>
                    <a:pt x="112" y="671850"/>
                  </a:lnTo>
                  <a:cubicBezTo>
                    <a:pt x="-664" y="676820"/>
                    <a:pt x="2668" y="681499"/>
                    <a:pt x="7614" y="682401"/>
                  </a:cubicBezTo>
                  <a:cubicBezTo>
                    <a:pt x="12560" y="682999"/>
                    <a:pt x="17061" y="679477"/>
                    <a:pt x="17658" y="674519"/>
                  </a:cubicBezTo>
                  <a:cubicBezTo>
                    <a:pt x="17658" y="674519"/>
                    <a:pt x="17658" y="674519"/>
                    <a:pt x="17658" y="674519"/>
                  </a:cubicBezTo>
                  <a:lnTo>
                    <a:pt x="17658" y="669307"/>
                  </a:lnTo>
                  <a:lnTo>
                    <a:pt x="108314" y="2670"/>
                  </a:lnTo>
                  <a:cubicBezTo>
                    <a:pt x="107716" y="7564"/>
                    <a:pt x="103304" y="11073"/>
                    <a:pt x="98396" y="10551"/>
                  </a:cubicBezTo>
                  <a:close/>
                </a:path>
              </a:pathLst>
            </a:custGeom>
            <a:solidFill>
              <a:srgbClr val="000000"/>
            </a:solidFill>
            <a:ln w="12685"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FCDCC9C3-DE11-4278-B7B4-0951FE97F74D}"/>
                </a:ext>
              </a:extLst>
            </p:cNvPr>
            <p:cNvSpPr/>
            <p:nvPr/>
          </p:nvSpPr>
          <p:spPr>
            <a:xfrm>
              <a:off x="2568249" y="1968716"/>
              <a:ext cx="17848" cy="21648"/>
            </a:xfrm>
            <a:custGeom>
              <a:avLst/>
              <a:gdLst>
                <a:gd name="connsiteX0" fmla="*/ 112 w 17848"/>
                <a:gd name="connsiteY0" fmla="*/ 7726 h 21648"/>
                <a:gd name="connsiteX1" fmla="*/ 112 w 17848"/>
                <a:gd name="connsiteY1" fmla="*/ 11031 h 21648"/>
                <a:gd name="connsiteX2" fmla="*/ 7614 w 17848"/>
                <a:gd name="connsiteY2" fmla="*/ 21582 h 21648"/>
                <a:gd name="connsiteX3" fmla="*/ 17658 w 17848"/>
                <a:gd name="connsiteY3" fmla="*/ 13701 h 21648"/>
                <a:gd name="connsiteX4" fmla="*/ 17658 w 17848"/>
                <a:gd name="connsiteY4" fmla="*/ 13701 h 21648"/>
                <a:gd name="connsiteX5" fmla="*/ 17658 w 17848"/>
                <a:gd name="connsiteY5" fmla="*/ 10268 h 21648"/>
                <a:gd name="connsiteX6" fmla="*/ 17658 w 17848"/>
                <a:gd name="connsiteY6" fmla="*/ 10268 h 21648"/>
                <a:gd name="connsiteX7" fmla="*/ 17658 w 17848"/>
                <a:gd name="connsiteY7" fmla="*/ 6836 h 21648"/>
                <a:gd name="connsiteX8" fmla="*/ 17658 w 17848"/>
                <a:gd name="connsiteY8" fmla="*/ 5946 h 21648"/>
                <a:gd name="connsiteX9" fmla="*/ 17023 w 17848"/>
                <a:gd name="connsiteY9" fmla="*/ 4421 h 21648"/>
                <a:gd name="connsiteX10" fmla="*/ 15751 w 17848"/>
                <a:gd name="connsiteY10" fmla="*/ 2895 h 21648"/>
                <a:gd name="connsiteX11" fmla="*/ 10920 w 17848"/>
                <a:gd name="connsiteY11" fmla="*/ 226 h 21648"/>
                <a:gd name="connsiteX12" fmla="*/ 265 w 17848"/>
                <a:gd name="connsiteY12" fmla="*/ 6912 h 21648"/>
                <a:gd name="connsiteX13" fmla="*/ 112 w 17848"/>
                <a:gd name="connsiteY13" fmla="*/ 7726 h 2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48" h="21648">
                  <a:moveTo>
                    <a:pt x="112" y="7726"/>
                  </a:moveTo>
                  <a:lnTo>
                    <a:pt x="112" y="11031"/>
                  </a:lnTo>
                  <a:cubicBezTo>
                    <a:pt x="-664" y="16002"/>
                    <a:pt x="2668" y="20680"/>
                    <a:pt x="7614" y="21582"/>
                  </a:cubicBezTo>
                  <a:cubicBezTo>
                    <a:pt x="12560" y="22180"/>
                    <a:pt x="17061" y="18658"/>
                    <a:pt x="17658" y="13701"/>
                  </a:cubicBezTo>
                  <a:cubicBezTo>
                    <a:pt x="17658" y="13701"/>
                    <a:pt x="17658" y="13701"/>
                    <a:pt x="17658" y="13701"/>
                  </a:cubicBezTo>
                  <a:lnTo>
                    <a:pt x="17658" y="10268"/>
                  </a:lnTo>
                  <a:cubicBezTo>
                    <a:pt x="17658" y="10268"/>
                    <a:pt x="17658" y="10268"/>
                    <a:pt x="17658" y="10268"/>
                  </a:cubicBezTo>
                  <a:cubicBezTo>
                    <a:pt x="17913" y="9137"/>
                    <a:pt x="17913" y="7967"/>
                    <a:pt x="17658" y="6836"/>
                  </a:cubicBezTo>
                  <a:cubicBezTo>
                    <a:pt x="17735" y="6543"/>
                    <a:pt x="17735" y="6238"/>
                    <a:pt x="17658" y="5946"/>
                  </a:cubicBezTo>
                  <a:cubicBezTo>
                    <a:pt x="17506" y="5412"/>
                    <a:pt x="17290" y="4904"/>
                    <a:pt x="17023" y="4421"/>
                  </a:cubicBezTo>
                  <a:lnTo>
                    <a:pt x="15751" y="2895"/>
                  </a:lnTo>
                  <a:cubicBezTo>
                    <a:pt x="14505" y="1459"/>
                    <a:pt x="12801" y="518"/>
                    <a:pt x="10920" y="226"/>
                  </a:cubicBezTo>
                  <a:cubicBezTo>
                    <a:pt x="6126" y="-868"/>
                    <a:pt x="1358" y="2120"/>
                    <a:pt x="265" y="6912"/>
                  </a:cubicBezTo>
                  <a:cubicBezTo>
                    <a:pt x="201" y="7179"/>
                    <a:pt x="150" y="7459"/>
                    <a:pt x="112" y="7726"/>
                  </a:cubicBezTo>
                  <a:close/>
                </a:path>
              </a:pathLst>
            </a:custGeom>
            <a:solidFill>
              <a:srgbClr val="000000"/>
            </a:solidFill>
            <a:ln w="12685"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8BFA5053-E5B5-4071-8A57-7BCB89E05BCC}"/>
                </a:ext>
              </a:extLst>
            </p:cNvPr>
            <p:cNvSpPr/>
            <p:nvPr/>
          </p:nvSpPr>
          <p:spPr>
            <a:xfrm>
              <a:off x="3463668" y="3241833"/>
              <a:ext cx="70625" cy="278073"/>
            </a:xfrm>
            <a:custGeom>
              <a:avLst/>
              <a:gdLst>
                <a:gd name="connsiteX0" fmla="*/ 7434 w 70625"/>
                <a:gd name="connsiteY0" fmla="*/ 277893 h 278073"/>
                <a:gd name="connsiteX1" fmla="*/ 17936 w 70625"/>
                <a:gd name="connsiteY1" fmla="*/ 270952 h 278073"/>
                <a:gd name="connsiteX2" fmla="*/ 17987 w 70625"/>
                <a:gd name="connsiteY2" fmla="*/ 270647 h 278073"/>
                <a:gd name="connsiteX3" fmla="*/ 19004 w 70625"/>
                <a:gd name="connsiteY3" fmla="*/ 265562 h 278073"/>
                <a:gd name="connsiteX4" fmla="*/ 19767 w 70625"/>
                <a:gd name="connsiteY4" fmla="*/ 261494 h 278073"/>
                <a:gd name="connsiteX5" fmla="*/ 70626 w 70625"/>
                <a:gd name="connsiteY5" fmla="*/ 3814 h 278073"/>
                <a:gd name="connsiteX6" fmla="*/ 60505 w 70625"/>
                <a:gd name="connsiteY6" fmla="*/ 10996 h 278073"/>
                <a:gd name="connsiteX7" fmla="*/ 60200 w 70625"/>
                <a:gd name="connsiteY7" fmla="*/ 10933 h 278073"/>
                <a:gd name="connsiteX8" fmla="*/ 53334 w 70625"/>
                <a:gd name="connsiteY8" fmla="*/ 0 h 278073"/>
                <a:gd name="connsiteX9" fmla="*/ 187 w 70625"/>
                <a:gd name="connsiteY9" fmla="*/ 266960 h 278073"/>
                <a:gd name="connsiteX10" fmla="*/ 7434 w 70625"/>
                <a:gd name="connsiteY10" fmla="*/ 277893 h 27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25" h="278073">
                  <a:moveTo>
                    <a:pt x="7434" y="277893"/>
                  </a:moveTo>
                  <a:cubicBezTo>
                    <a:pt x="12253" y="278872"/>
                    <a:pt x="16944" y="275770"/>
                    <a:pt x="17936" y="270952"/>
                  </a:cubicBezTo>
                  <a:cubicBezTo>
                    <a:pt x="17949" y="270850"/>
                    <a:pt x="17975" y="270749"/>
                    <a:pt x="17987" y="270647"/>
                  </a:cubicBezTo>
                  <a:lnTo>
                    <a:pt x="19004" y="265562"/>
                  </a:lnTo>
                  <a:lnTo>
                    <a:pt x="19767" y="261494"/>
                  </a:lnTo>
                  <a:lnTo>
                    <a:pt x="70626" y="3814"/>
                  </a:lnTo>
                  <a:cubicBezTo>
                    <a:pt x="69812" y="8594"/>
                    <a:pt x="65286" y="11797"/>
                    <a:pt x="60505" y="10996"/>
                  </a:cubicBezTo>
                  <a:cubicBezTo>
                    <a:pt x="60403" y="10971"/>
                    <a:pt x="60301" y="10958"/>
                    <a:pt x="60200" y="10933"/>
                  </a:cubicBezTo>
                  <a:cubicBezTo>
                    <a:pt x="55292" y="9801"/>
                    <a:pt x="52228" y="4907"/>
                    <a:pt x="53334" y="0"/>
                  </a:cubicBezTo>
                  <a:lnTo>
                    <a:pt x="187" y="266960"/>
                  </a:lnTo>
                  <a:cubicBezTo>
                    <a:pt x="-830" y="271982"/>
                    <a:pt x="2412" y="276876"/>
                    <a:pt x="7434" y="277893"/>
                  </a:cubicBezTo>
                  <a:close/>
                </a:path>
              </a:pathLst>
            </a:custGeom>
            <a:solidFill>
              <a:srgbClr val="000000"/>
            </a:solidFill>
            <a:ln w="12685"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6FCBA92D-0A4B-4471-A89A-34C8E8D39AA2}"/>
                </a:ext>
              </a:extLst>
            </p:cNvPr>
            <p:cNvSpPr/>
            <p:nvPr/>
          </p:nvSpPr>
          <p:spPr>
            <a:xfrm>
              <a:off x="3517645" y="3153833"/>
              <a:ext cx="33273" cy="99115"/>
            </a:xfrm>
            <a:custGeom>
              <a:avLst/>
              <a:gdLst>
                <a:gd name="connsiteX0" fmla="*/ 6731 w 33273"/>
                <a:gd name="connsiteY0" fmla="*/ 98932 h 99115"/>
                <a:gd name="connsiteX1" fmla="*/ 17094 w 33273"/>
                <a:gd name="connsiteY1" fmla="*/ 92118 h 99115"/>
                <a:gd name="connsiteX2" fmla="*/ 17158 w 33273"/>
                <a:gd name="connsiteY2" fmla="*/ 91813 h 99115"/>
                <a:gd name="connsiteX3" fmla="*/ 18175 w 33273"/>
                <a:gd name="connsiteY3" fmla="*/ 86856 h 99115"/>
                <a:gd name="connsiteX4" fmla="*/ 18937 w 33273"/>
                <a:gd name="connsiteY4" fmla="*/ 82660 h 99115"/>
                <a:gd name="connsiteX5" fmla="*/ 33178 w 33273"/>
                <a:gd name="connsiteY5" fmla="*/ 11217 h 99115"/>
                <a:gd name="connsiteX6" fmla="*/ 33178 w 33273"/>
                <a:gd name="connsiteY6" fmla="*/ 9818 h 99115"/>
                <a:gd name="connsiteX7" fmla="*/ 33178 w 33273"/>
                <a:gd name="connsiteY7" fmla="*/ 7912 h 99115"/>
                <a:gd name="connsiteX8" fmla="*/ 33178 w 33273"/>
                <a:gd name="connsiteY8" fmla="*/ 6259 h 99115"/>
                <a:gd name="connsiteX9" fmla="*/ 32415 w 33273"/>
                <a:gd name="connsiteY9" fmla="*/ 4606 h 99115"/>
                <a:gd name="connsiteX10" fmla="*/ 31398 w 33273"/>
                <a:gd name="connsiteY10" fmla="*/ 3081 h 99115"/>
                <a:gd name="connsiteX11" fmla="*/ 26694 w 33273"/>
                <a:gd name="connsiteY11" fmla="*/ 157 h 99115"/>
                <a:gd name="connsiteX12" fmla="*/ 16293 w 33273"/>
                <a:gd name="connsiteY12" fmla="*/ 7251 h 99115"/>
                <a:gd name="connsiteX13" fmla="*/ 16267 w 33273"/>
                <a:gd name="connsiteY13" fmla="*/ 7403 h 99115"/>
                <a:gd name="connsiteX14" fmla="*/ 15250 w 33273"/>
                <a:gd name="connsiteY14" fmla="*/ 12997 h 99115"/>
                <a:gd name="connsiteX15" fmla="*/ 14487 w 33273"/>
                <a:gd name="connsiteY15" fmla="*/ 16429 h 99115"/>
                <a:gd name="connsiteX16" fmla="*/ 247 w 33273"/>
                <a:gd name="connsiteY16" fmla="*/ 88000 h 99115"/>
                <a:gd name="connsiteX17" fmla="*/ 6731 w 33273"/>
                <a:gd name="connsiteY17" fmla="*/ 98932 h 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273" h="99115">
                  <a:moveTo>
                    <a:pt x="6731" y="98932"/>
                  </a:moveTo>
                  <a:cubicBezTo>
                    <a:pt x="11474" y="99911"/>
                    <a:pt x="16115" y="96860"/>
                    <a:pt x="17094" y="92118"/>
                  </a:cubicBezTo>
                  <a:cubicBezTo>
                    <a:pt x="17119" y="92017"/>
                    <a:pt x="17145" y="91915"/>
                    <a:pt x="17158" y="91813"/>
                  </a:cubicBezTo>
                  <a:lnTo>
                    <a:pt x="18175" y="86856"/>
                  </a:lnTo>
                  <a:lnTo>
                    <a:pt x="18937" y="82660"/>
                  </a:lnTo>
                  <a:lnTo>
                    <a:pt x="33178" y="11217"/>
                  </a:lnTo>
                  <a:cubicBezTo>
                    <a:pt x="33241" y="10759"/>
                    <a:pt x="33241" y="10276"/>
                    <a:pt x="33178" y="9818"/>
                  </a:cubicBezTo>
                  <a:cubicBezTo>
                    <a:pt x="33305" y="9183"/>
                    <a:pt x="33305" y="8547"/>
                    <a:pt x="33178" y="7912"/>
                  </a:cubicBezTo>
                  <a:cubicBezTo>
                    <a:pt x="33254" y="7365"/>
                    <a:pt x="33254" y="6806"/>
                    <a:pt x="33178" y="6259"/>
                  </a:cubicBezTo>
                  <a:cubicBezTo>
                    <a:pt x="33000" y="5674"/>
                    <a:pt x="32746" y="5115"/>
                    <a:pt x="32415" y="4606"/>
                  </a:cubicBezTo>
                  <a:cubicBezTo>
                    <a:pt x="32148" y="4047"/>
                    <a:pt x="31805" y="3538"/>
                    <a:pt x="31398" y="3081"/>
                  </a:cubicBezTo>
                  <a:cubicBezTo>
                    <a:pt x="30152" y="1657"/>
                    <a:pt x="28512" y="640"/>
                    <a:pt x="26694" y="157"/>
                  </a:cubicBezTo>
                  <a:cubicBezTo>
                    <a:pt x="21862" y="-758"/>
                    <a:pt x="17208" y="2420"/>
                    <a:pt x="16293" y="7251"/>
                  </a:cubicBezTo>
                  <a:cubicBezTo>
                    <a:pt x="16280" y="7301"/>
                    <a:pt x="16280" y="7352"/>
                    <a:pt x="16267" y="7403"/>
                  </a:cubicBezTo>
                  <a:lnTo>
                    <a:pt x="15250" y="12997"/>
                  </a:lnTo>
                  <a:lnTo>
                    <a:pt x="14487" y="16429"/>
                  </a:lnTo>
                  <a:lnTo>
                    <a:pt x="247" y="88000"/>
                  </a:lnTo>
                  <a:cubicBezTo>
                    <a:pt x="-885" y="92792"/>
                    <a:pt x="1976" y="97623"/>
                    <a:pt x="6731" y="98932"/>
                  </a:cubicBezTo>
                  <a:close/>
                </a:path>
              </a:pathLst>
            </a:custGeom>
            <a:solidFill>
              <a:srgbClr val="000000"/>
            </a:solidFill>
            <a:ln w="12685"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96707FA3-5101-4FAB-AAA9-91CB46953284}"/>
                </a:ext>
              </a:extLst>
            </p:cNvPr>
            <p:cNvSpPr/>
            <p:nvPr/>
          </p:nvSpPr>
          <p:spPr>
            <a:xfrm>
              <a:off x="1800708" y="3057271"/>
              <a:ext cx="41184" cy="249927"/>
            </a:xfrm>
            <a:custGeom>
              <a:avLst/>
              <a:gdLst>
                <a:gd name="connsiteX0" fmla="*/ 22955 w 41184"/>
                <a:gd name="connsiteY0" fmla="*/ 8877 h 249927"/>
                <a:gd name="connsiteX1" fmla="*/ 22955 w 41184"/>
                <a:gd name="connsiteY1" fmla="*/ 13708 h 249927"/>
                <a:gd name="connsiteX2" fmla="*/ 22955 w 41184"/>
                <a:gd name="connsiteY2" fmla="*/ 16250 h 249927"/>
                <a:gd name="connsiteX3" fmla="*/ 69 w 41184"/>
                <a:gd name="connsiteY3" fmla="*/ 239607 h 249927"/>
                <a:gd name="connsiteX4" fmla="*/ 7952 w 41184"/>
                <a:gd name="connsiteY4" fmla="*/ 249904 h 249927"/>
                <a:gd name="connsiteX5" fmla="*/ 17463 w 41184"/>
                <a:gd name="connsiteY5" fmla="*/ 241666 h 249927"/>
                <a:gd name="connsiteX6" fmla="*/ 17488 w 41184"/>
                <a:gd name="connsiteY6" fmla="*/ 241260 h 249927"/>
                <a:gd name="connsiteX7" fmla="*/ 19268 w 41184"/>
                <a:gd name="connsiteY7" fmla="*/ 224988 h 249927"/>
                <a:gd name="connsiteX8" fmla="*/ 41137 w 41184"/>
                <a:gd name="connsiteY8" fmla="*/ 10530 h 249927"/>
                <a:gd name="connsiteX9" fmla="*/ 41137 w 41184"/>
                <a:gd name="connsiteY9" fmla="*/ 9640 h 249927"/>
                <a:gd name="connsiteX10" fmla="*/ 41137 w 41184"/>
                <a:gd name="connsiteY10" fmla="*/ 7860 h 249927"/>
                <a:gd name="connsiteX11" fmla="*/ 41137 w 41184"/>
                <a:gd name="connsiteY11" fmla="*/ 6080 h 249927"/>
                <a:gd name="connsiteX12" fmla="*/ 40374 w 41184"/>
                <a:gd name="connsiteY12" fmla="*/ 4682 h 249927"/>
                <a:gd name="connsiteX13" fmla="*/ 39357 w 41184"/>
                <a:gd name="connsiteY13" fmla="*/ 3156 h 249927"/>
                <a:gd name="connsiteX14" fmla="*/ 34017 w 41184"/>
                <a:gd name="connsiteY14" fmla="*/ 233 h 249927"/>
                <a:gd name="connsiteX15" fmla="*/ 23184 w 41184"/>
                <a:gd name="connsiteY15" fmla="*/ 6996 h 249927"/>
                <a:gd name="connsiteX16" fmla="*/ 22955 w 41184"/>
                <a:gd name="connsiteY16" fmla="*/ 8877 h 24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84" h="249927">
                  <a:moveTo>
                    <a:pt x="22955" y="8877"/>
                  </a:moveTo>
                  <a:lnTo>
                    <a:pt x="22955" y="13708"/>
                  </a:lnTo>
                  <a:lnTo>
                    <a:pt x="22955" y="16250"/>
                  </a:lnTo>
                  <a:lnTo>
                    <a:pt x="69" y="239607"/>
                  </a:lnTo>
                  <a:cubicBezTo>
                    <a:pt x="-541" y="244616"/>
                    <a:pt x="2968" y="249179"/>
                    <a:pt x="7952" y="249904"/>
                  </a:cubicBezTo>
                  <a:cubicBezTo>
                    <a:pt x="12860" y="250260"/>
                    <a:pt x="17119" y="246573"/>
                    <a:pt x="17463" y="241666"/>
                  </a:cubicBezTo>
                  <a:cubicBezTo>
                    <a:pt x="17475" y="241526"/>
                    <a:pt x="17488" y="241399"/>
                    <a:pt x="17488" y="241260"/>
                  </a:cubicBezTo>
                  <a:lnTo>
                    <a:pt x="19268" y="224988"/>
                  </a:lnTo>
                  <a:lnTo>
                    <a:pt x="41137" y="10530"/>
                  </a:lnTo>
                  <a:cubicBezTo>
                    <a:pt x="41201" y="10237"/>
                    <a:pt x="41201" y="9932"/>
                    <a:pt x="41137" y="9640"/>
                  </a:cubicBezTo>
                  <a:cubicBezTo>
                    <a:pt x="41137" y="9004"/>
                    <a:pt x="41137" y="8496"/>
                    <a:pt x="41137" y="7860"/>
                  </a:cubicBezTo>
                  <a:cubicBezTo>
                    <a:pt x="41188" y="7263"/>
                    <a:pt x="41188" y="6678"/>
                    <a:pt x="41137" y="6080"/>
                  </a:cubicBezTo>
                  <a:cubicBezTo>
                    <a:pt x="40985" y="5572"/>
                    <a:pt x="40730" y="5089"/>
                    <a:pt x="40374" y="4682"/>
                  </a:cubicBezTo>
                  <a:cubicBezTo>
                    <a:pt x="40145" y="4110"/>
                    <a:pt x="39789" y="3589"/>
                    <a:pt x="39357" y="3156"/>
                  </a:cubicBezTo>
                  <a:cubicBezTo>
                    <a:pt x="37997" y="1567"/>
                    <a:pt x="36089" y="525"/>
                    <a:pt x="34017" y="233"/>
                  </a:cubicBezTo>
                  <a:cubicBezTo>
                    <a:pt x="29160" y="-886"/>
                    <a:pt x="24316" y="2139"/>
                    <a:pt x="23184" y="6996"/>
                  </a:cubicBezTo>
                  <a:cubicBezTo>
                    <a:pt x="23044" y="7606"/>
                    <a:pt x="22968" y="8241"/>
                    <a:pt x="22955" y="8877"/>
                  </a:cubicBezTo>
                  <a:close/>
                </a:path>
              </a:pathLst>
            </a:custGeom>
            <a:solidFill>
              <a:srgbClr val="000000"/>
            </a:solidFill>
            <a:ln w="12685" cap="flat">
              <a:no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37455F80-8D3B-4CF2-9547-4A8ABF0E0FE1}"/>
                </a:ext>
              </a:extLst>
            </p:cNvPr>
            <p:cNvSpPr/>
            <p:nvPr/>
          </p:nvSpPr>
          <p:spPr>
            <a:xfrm>
              <a:off x="636617" y="5890962"/>
              <a:ext cx="15777" cy="294882"/>
            </a:xfrm>
            <a:custGeom>
              <a:avLst/>
              <a:gdLst>
                <a:gd name="connsiteX0" fmla="*/ 3057 w 15777"/>
                <a:gd name="connsiteY0" fmla="*/ 293281 h 294882"/>
                <a:gd name="connsiteX1" fmla="*/ 3057 w 15777"/>
                <a:gd name="connsiteY1" fmla="*/ 293281 h 294882"/>
                <a:gd name="connsiteX2" fmla="*/ 3057 w 15777"/>
                <a:gd name="connsiteY2" fmla="*/ 292518 h 294882"/>
                <a:gd name="connsiteX3" fmla="*/ 15772 w 15777"/>
                <a:gd name="connsiteY3" fmla="*/ 11447 h 294882"/>
                <a:gd name="connsiteX4" fmla="*/ 15772 w 15777"/>
                <a:gd name="connsiteY4" fmla="*/ 10685 h 294882"/>
                <a:gd name="connsiteX5" fmla="*/ 15772 w 15777"/>
                <a:gd name="connsiteY5" fmla="*/ 1659 h 294882"/>
                <a:gd name="connsiteX6" fmla="*/ 14383 w 15777"/>
                <a:gd name="connsiteY6" fmla="*/ 6 h 294882"/>
                <a:gd name="connsiteX7" fmla="*/ 14373 w 15777"/>
                <a:gd name="connsiteY7" fmla="*/ 6 h 294882"/>
                <a:gd name="connsiteX8" fmla="*/ 12725 w 15777"/>
                <a:gd name="connsiteY8" fmla="*/ 1405 h 294882"/>
                <a:gd name="connsiteX9" fmla="*/ 12720 w 15777"/>
                <a:gd name="connsiteY9" fmla="*/ 1532 h 294882"/>
                <a:gd name="connsiteX10" fmla="*/ 12720 w 15777"/>
                <a:gd name="connsiteY10" fmla="*/ 10558 h 294882"/>
                <a:gd name="connsiteX11" fmla="*/ 12720 w 15777"/>
                <a:gd name="connsiteY11" fmla="*/ 13227 h 294882"/>
                <a:gd name="connsiteX12" fmla="*/ 5 w 15777"/>
                <a:gd name="connsiteY12" fmla="*/ 292137 h 294882"/>
                <a:gd name="connsiteX13" fmla="*/ 5 w 15777"/>
                <a:gd name="connsiteY13" fmla="*/ 293027 h 294882"/>
                <a:gd name="connsiteX14" fmla="*/ 1521 w 15777"/>
                <a:gd name="connsiteY14" fmla="*/ 294807 h 294882"/>
                <a:gd name="connsiteX15" fmla="*/ 1531 w 15777"/>
                <a:gd name="connsiteY15" fmla="*/ 294807 h 294882"/>
                <a:gd name="connsiteX16" fmla="*/ 2421 w 15777"/>
                <a:gd name="connsiteY16" fmla="*/ 294807 h 294882"/>
                <a:gd name="connsiteX17" fmla="*/ 2421 w 15777"/>
                <a:gd name="connsiteY17" fmla="*/ 294807 h 2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77" h="294882">
                  <a:moveTo>
                    <a:pt x="3057" y="293281"/>
                  </a:moveTo>
                  <a:lnTo>
                    <a:pt x="3057" y="293281"/>
                  </a:lnTo>
                  <a:lnTo>
                    <a:pt x="3057" y="292518"/>
                  </a:lnTo>
                  <a:lnTo>
                    <a:pt x="15772" y="11447"/>
                  </a:lnTo>
                  <a:lnTo>
                    <a:pt x="15772" y="10685"/>
                  </a:lnTo>
                  <a:lnTo>
                    <a:pt x="15772" y="1659"/>
                  </a:lnTo>
                  <a:cubicBezTo>
                    <a:pt x="15844" y="820"/>
                    <a:pt x="15223" y="83"/>
                    <a:pt x="14383" y="6"/>
                  </a:cubicBezTo>
                  <a:cubicBezTo>
                    <a:pt x="14380" y="6"/>
                    <a:pt x="14377" y="6"/>
                    <a:pt x="14373" y="6"/>
                  </a:cubicBezTo>
                  <a:cubicBezTo>
                    <a:pt x="13534" y="-70"/>
                    <a:pt x="12795" y="566"/>
                    <a:pt x="12725" y="1405"/>
                  </a:cubicBezTo>
                  <a:cubicBezTo>
                    <a:pt x="12721" y="1443"/>
                    <a:pt x="12720" y="1494"/>
                    <a:pt x="12720" y="1532"/>
                  </a:cubicBezTo>
                  <a:lnTo>
                    <a:pt x="12720" y="10558"/>
                  </a:lnTo>
                  <a:lnTo>
                    <a:pt x="12720" y="13227"/>
                  </a:lnTo>
                  <a:lnTo>
                    <a:pt x="5" y="292137"/>
                  </a:lnTo>
                  <a:lnTo>
                    <a:pt x="5" y="293027"/>
                  </a:lnTo>
                  <a:cubicBezTo>
                    <a:pt x="-67" y="293942"/>
                    <a:pt x="612" y="294731"/>
                    <a:pt x="1521" y="294807"/>
                  </a:cubicBezTo>
                  <a:cubicBezTo>
                    <a:pt x="1525" y="294807"/>
                    <a:pt x="1527" y="294807"/>
                    <a:pt x="1531" y="294807"/>
                  </a:cubicBezTo>
                  <a:cubicBezTo>
                    <a:pt x="1820" y="294908"/>
                    <a:pt x="2132" y="294908"/>
                    <a:pt x="2421" y="294807"/>
                  </a:cubicBezTo>
                  <a:lnTo>
                    <a:pt x="2421" y="294807"/>
                  </a:lnTo>
                  <a:close/>
                </a:path>
              </a:pathLst>
            </a:custGeom>
            <a:solidFill>
              <a:srgbClr val="000000"/>
            </a:solidFill>
            <a:ln w="12685" cap="flat">
              <a:no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AE61B176-3959-4049-9DFF-AA09A5359EC1}"/>
                </a:ext>
              </a:extLst>
            </p:cNvPr>
            <p:cNvSpPr/>
            <p:nvPr/>
          </p:nvSpPr>
          <p:spPr>
            <a:xfrm>
              <a:off x="1832596" y="5046099"/>
              <a:ext cx="150023" cy="157255"/>
            </a:xfrm>
            <a:custGeom>
              <a:avLst/>
              <a:gdLst>
                <a:gd name="connsiteX0" fmla="*/ 149111 w 150023"/>
                <a:gd name="connsiteY0" fmla="*/ 157256 h 157255"/>
                <a:gd name="connsiteX1" fmla="*/ 149111 w 150023"/>
                <a:gd name="connsiteY1" fmla="*/ 157256 h 157255"/>
                <a:gd name="connsiteX2" fmla="*/ 149111 w 150023"/>
                <a:gd name="connsiteY2" fmla="*/ 157256 h 157255"/>
                <a:gd name="connsiteX3" fmla="*/ 149111 w 150023"/>
                <a:gd name="connsiteY3" fmla="*/ 157256 h 157255"/>
                <a:gd name="connsiteX4" fmla="*/ 149747 w 150023"/>
                <a:gd name="connsiteY4" fmla="*/ 157256 h 157255"/>
                <a:gd name="connsiteX5" fmla="*/ 149747 w 150023"/>
                <a:gd name="connsiteY5" fmla="*/ 157256 h 157255"/>
                <a:gd name="connsiteX6" fmla="*/ 149747 w 150023"/>
                <a:gd name="connsiteY6" fmla="*/ 157256 h 157255"/>
                <a:gd name="connsiteX7" fmla="*/ 149747 w 150023"/>
                <a:gd name="connsiteY7" fmla="*/ 155349 h 157255"/>
                <a:gd name="connsiteX8" fmla="*/ 147586 w 150023"/>
                <a:gd name="connsiteY8" fmla="*/ 153061 h 157255"/>
                <a:gd name="connsiteX9" fmla="*/ 9758 w 150023"/>
                <a:gd name="connsiteY9" fmla="*/ 7885 h 157255"/>
                <a:gd name="connsiteX10" fmla="*/ 8741 w 150023"/>
                <a:gd name="connsiteY10" fmla="*/ 6868 h 157255"/>
                <a:gd name="connsiteX11" fmla="*/ 2638 w 150023"/>
                <a:gd name="connsiteY11" fmla="*/ 512 h 157255"/>
                <a:gd name="connsiteX12" fmla="*/ 668 w 150023"/>
                <a:gd name="connsiteY12" fmla="*/ 321 h 157255"/>
                <a:gd name="connsiteX13" fmla="*/ 477 w 150023"/>
                <a:gd name="connsiteY13" fmla="*/ 512 h 157255"/>
                <a:gd name="connsiteX14" fmla="*/ 477 w 150023"/>
                <a:gd name="connsiteY14" fmla="*/ 2927 h 157255"/>
                <a:gd name="connsiteX15" fmla="*/ 6580 w 150023"/>
                <a:gd name="connsiteY15" fmla="*/ 9284 h 157255"/>
                <a:gd name="connsiteX16" fmla="*/ 9250 w 150023"/>
                <a:gd name="connsiteY16" fmla="*/ 12080 h 157255"/>
                <a:gd name="connsiteX17" fmla="*/ 149111 w 150023"/>
                <a:gd name="connsiteY17" fmla="*/ 157002 h 15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023" h="157255">
                  <a:moveTo>
                    <a:pt x="149111" y="157256"/>
                  </a:moveTo>
                  <a:lnTo>
                    <a:pt x="149111" y="157256"/>
                  </a:lnTo>
                  <a:lnTo>
                    <a:pt x="149111" y="157256"/>
                  </a:lnTo>
                  <a:lnTo>
                    <a:pt x="149111" y="157256"/>
                  </a:lnTo>
                  <a:lnTo>
                    <a:pt x="149747" y="157256"/>
                  </a:lnTo>
                  <a:lnTo>
                    <a:pt x="149747" y="157256"/>
                  </a:lnTo>
                  <a:lnTo>
                    <a:pt x="149747" y="157256"/>
                  </a:lnTo>
                  <a:cubicBezTo>
                    <a:pt x="150116" y="156671"/>
                    <a:pt x="150116" y="155934"/>
                    <a:pt x="149747" y="155349"/>
                  </a:cubicBezTo>
                  <a:lnTo>
                    <a:pt x="147586" y="153061"/>
                  </a:lnTo>
                  <a:lnTo>
                    <a:pt x="9758" y="7885"/>
                  </a:lnTo>
                  <a:lnTo>
                    <a:pt x="8741" y="6868"/>
                  </a:lnTo>
                  <a:lnTo>
                    <a:pt x="2638" y="512"/>
                  </a:lnTo>
                  <a:cubicBezTo>
                    <a:pt x="2142" y="-85"/>
                    <a:pt x="1265" y="-175"/>
                    <a:pt x="668" y="321"/>
                  </a:cubicBezTo>
                  <a:cubicBezTo>
                    <a:pt x="604" y="372"/>
                    <a:pt x="540" y="436"/>
                    <a:pt x="477" y="512"/>
                  </a:cubicBezTo>
                  <a:cubicBezTo>
                    <a:pt x="-159" y="1198"/>
                    <a:pt x="-159" y="2241"/>
                    <a:pt x="477" y="2927"/>
                  </a:cubicBezTo>
                  <a:lnTo>
                    <a:pt x="6580" y="9284"/>
                  </a:lnTo>
                  <a:lnTo>
                    <a:pt x="9250" y="12080"/>
                  </a:lnTo>
                  <a:lnTo>
                    <a:pt x="149111" y="157002"/>
                  </a:lnTo>
                  <a:close/>
                </a:path>
              </a:pathLst>
            </a:custGeom>
            <a:solidFill>
              <a:srgbClr val="000000"/>
            </a:solidFill>
            <a:ln w="1268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117864" y="1289304"/>
            <a:ext cx="5486400" cy="1325563"/>
          </a:xfrm>
        </p:spPr>
        <p:txBody>
          <a:body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675" name="Text Placeholder 7">
            <a:extLst>
              <a:ext uri="{FF2B5EF4-FFF2-40B4-BE49-F238E27FC236}">
                <a16:creationId xmlns:a16="http://schemas.microsoft.com/office/drawing/2014/main" id="{2E8766DA-C6C6-45DD-A32E-F7A76297B36B}"/>
              </a:ext>
            </a:extLst>
          </p:cNvPr>
          <p:cNvSpPr>
            <a:spLocks noGrp="1"/>
          </p:cNvSpPr>
          <p:nvPr>
            <p:ph type="body" sz="quarter" idx="13"/>
          </p:nvPr>
        </p:nvSpPr>
        <p:spPr>
          <a:xfrm>
            <a:off x="6117336" y="2816352"/>
            <a:ext cx="4114800" cy="2779776"/>
          </a:xfrm>
        </p:spPr>
        <p:txBody>
          <a:bodyPr>
            <a:normAutofit/>
          </a:bodyPr>
          <a:lstStyle>
            <a:lvl1pPr marL="0" indent="0">
              <a:lnSpc>
                <a:spcPts val="2400"/>
              </a:lnSpc>
              <a:buNone/>
              <a:defRPr sz="1400"/>
            </a:lvl1pPr>
            <a:lvl2pPr marL="457200" indent="0">
              <a:lnSpc>
                <a:spcPts val="2400"/>
              </a:lnSpc>
              <a:buNone/>
              <a:defRPr sz="1400"/>
            </a:lvl2pPr>
            <a:lvl3pPr marL="914400" indent="0">
              <a:lnSpc>
                <a:spcPts val="2400"/>
              </a:lnSpc>
              <a:buNone/>
              <a:defRPr sz="1400"/>
            </a:lvl3pPr>
            <a:lvl4pPr marL="1371600" indent="0">
              <a:lnSpc>
                <a:spcPts val="2400"/>
              </a:lnSpc>
              <a:buNone/>
              <a:defRPr sz="1400"/>
            </a:lvl4pPr>
            <a:lvl5pPr marL="1828800" indent="0">
              <a:lnSpc>
                <a:spcPts val="2400"/>
              </a:lnSpc>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6558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Thank You">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6469A43-F0B7-024C-AC47-309F9197DE07}"/>
              </a:ext>
            </a:extLst>
          </p:cNvPr>
          <p:cNvSpPr/>
          <p:nvPr userDrawn="1"/>
        </p:nvSpPr>
        <p:spPr>
          <a:xfrm>
            <a:off x="896112" y="1552575"/>
            <a:ext cx="6601968" cy="3812566"/>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1353312" y="1755648"/>
            <a:ext cx="4306824" cy="1325563"/>
          </a:xfrm>
        </p:spPr>
        <p:txBody>
          <a:bodyPr anchor="b" anchorCtr="0"/>
          <a:lstStyle/>
          <a:p>
            <a:r>
              <a:rPr lang="en-US"/>
              <a:t>CLICK TO EDIT MASTER TITLE STYLE</a:t>
            </a:r>
          </a:p>
        </p:txBody>
      </p:sp>
      <p:sp>
        <p:nvSpPr>
          <p:cNvPr id="14" name="Text Placeholder 13">
            <a:extLst>
              <a:ext uri="{FF2B5EF4-FFF2-40B4-BE49-F238E27FC236}">
                <a16:creationId xmlns:a16="http://schemas.microsoft.com/office/drawing/2014/main" id="{EDEB9A17-7C72-4874-B1A3-A5CDB434C7C7}"/>
              </a:ext>
            </a:extLst>
          </p:cNvPr>
          <p:cNvSpPr>
            <a:spLocks noGrp="1"/>
          </p:cNvSpPr>
          <p:nvPr>
            <p:ph type="body" sz="quarter" idx="13" hasCustomPrompt="1"/>
          </p:nvPr>
        </p:nvSpPr>
        <p:spPr>
          <a:xfrm>
            <a:off x="1353312" y="3191256"/>
            <a:ext cx="3505201" cy="1798639"/>
          </a:xfrm>
        </p:spPr>
        <p:txBody>
          <a:bodyPr>
            <a:normAutofit/>
          </a:bodyPr>
          <a:lstStyle>
            <a:lvl1pPr marL="0" indent="0">
              <a:lnSpc>
                <a:spcPts val="3000"/>
              </a:lnSpc>
              <a:spcBef>
                <a:spcPts val="0"/>
              </a:spcBef>
              <a:buNone/>
              <a:defRPr sz="18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text</a:t>
            </a:r>
          </a:p>
        </p:txBody>
      </p:sp>
      <p:grpSp>
        <p:nvGrpSpPr>
          <p:cNvPr id="10" name="Picture Placeholder 44" descr="abstract colorful illustration of buildings">
            <a:extLst>
              <a:ext uri="{FF2B5EF4-FFF2-40B4-BE49-F238E27FC236}">
                <a16:creationId xmlns:a16="http://schemas.microsoft.com/office/drawing/2014/main" id="{1E5DE903-EB9A-470C-97FF-9715ECB589F0}"/>
              </a:ext>
            </a:extLst>
          </p:cNvPr>
          <p:cNvGrpSpPr/>
          <p:nvPr userDrawn="1"/>
        </p:nvGrpSpPr>
        <p:grpSpPr>
          <a:xfrm>
            <a:off x="2861990" y="447912"/>
            <a:ext cx="9332044" cy="6419365"/>
            <a:chOff x="2861990" y="447912"/>
            <a:chExt cx="9332044" cy="6419365"/>
          </a:xfrm>
        </p:grpSpPr>
        <p:sp>
          <p:nvSpPr>
            <p:cNvPr id="11" name="Freeform: Shape 10">
              <a:extLst>
                <a:ext uri="{FF2B5EF4-FFF2-40B4-BE49-F238E27FC236}">
                  <a16:creationId xmlns:a16="http://schemas.microsoft.com/office/drawing/2014/main" id="{07B72BB8-FFEC-48A4-B3EE-558704DC4B59}"/>
                </a:ext>
              </a:extLst>
            </p:cNvPr>
            <p:cNvSpPr/>
            <p:nvPr/>
          </p:nvSpPr>
          <p:spPr>
            <a:xfrm>
              <a:off x="6400314" y="4755276"/>
              <a:ext cx="2209733" cy="721935"/>
            </a:xfrm>
            <a:custGeom>
              <a:avLst/>
              <a:gdLst>
                <a:gd name="connsiteX0" fmla="*/ 508 w 2209733"/>
                <a:gd name="connsiteY0" fmla="*/ 164411 h 721935"/>
                <a:gd name="connsiteX1" fmla="*/ 2176060 w 2209733"/>
                <a:gd name="connsiteY1" fmla="*/ 164411 h 721935"/>
                <a:gd name="connsiteX2" fmla="*/ 2187750 w 2209733"/>
                <a:gd name="connsiteY2" fmla="*/ 176482 h 721935"/>
                <a:gd name="connsiteX3" fmla="*/ 2187750 w 2209733"/>
                <a:gd name="connsiteY3" fmla="*/ 721936 h 721935"/>
                <a:gd name="connsiteX4" fmla="*/ 2209734 w 2209733"/>
                <a:gd name="connsiteY4" fmla="*/ 721936 h 721935"/>
                <a:gd name="connsiteX5" fmla="*/ 2209734 w 2209733"/>
                <a:gd name="connsiteY5" fmla="*/ 116638 h 721935"/>
                <a:gd name="connsiteX6" fmla="*/ 1613652 w 2209733"/>
                <a:gd name="connsiteY6" fmla="*/ 116638 h 721935"/>
                <a:gd name="connsiteX7" fmla="*/ 1601961 w 2209733"/>
                <a:gd name="connsiteY7" fmla="*/ 104695 h 721935"/>
                <a:gd name="connsiteX8" fmla="*/ 1601961 w 2209733"/>
                <a:gd name="connsiteY8" fmla="*/ 104695 h 721935"/>
                <a:gd name="connsiteX9" fmla="*/ 1601961 w 2209733"/>
                <a:gd name="connsiteY9" fmla="*/ 0 h 721935"/>
                <a:gd name="connsiteX10" fmla="*/ 226183 w 2209733"/>
                <a:gd name="connsiteY10" fmla="*/ 0 h 721935"/>
                <a:gd name="connsiteX11" fmla="*/ 106357 w 2209733"/>
                <a:gd name="connsiteY11" fmla="*/ 53491 h 721935"/>
                <a:gd name="connsiteX12" fmla="*/ 4701 w 2209733"/>
                <a:gd name="connsiteY12" fmla="*/ 98596 h 721935"/>
                <a:gd name="connsiteX13" fmla="*/ 0 w 2209733"/>
                <a:gd name="connsiteY13" fmla="*/ 100629 h 72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09733" h="721935">
                  <a:moveTo>
                    <a:pt x="508" y="164411"/>
                  </a:moveTo>
                  <a:lnTo>
                    <a:pt x="2176060" y="164411"/>
                  </a:lnTo>
                  <a:cubicBezTo>
                    <a:pt x="2182604" y="164551"/>
                    <a:pt x="2187827" y="169938"/>
                    <a:pt x="2187750" y="176482"/>
                  </a:cubicBezTo>
                  <a:lnTo>
                    <a:pt x="2187750" y="721936"/>
                  </a:lnTo>
                  <a:lnTo>
                    <a:pt x="2209734" y="721936"/>
                  </a:lnTo>
                  <a:lnTo>
                    <a:pt x="2209734" y="116638"/>
                  </a:lnTo>
                  <a:lnTo>
                    <a:pt x="1613652" y="116638"/>
                  </a:lnTo>
                  <a:cubicBezTo>
                    <a:pt x="1607120" y="116562"/>
                    <a:pt x="1601885" y="111225"/>
                    <a:pt x="1601961" y="104695"/>
                  </a:cubicBezTo>
                  <a:cubicBezTo>
                    <a:pt x="1601961" y="104695"/>
                    <a:pt x="1601961" y="104695"/>
                    <a:pt x="1601961" y="104695"/>
                  </a:cubicBezTo>
                  <a:lnTo>
                    <a:pt x="1601961" y="0"/>
                  </a:lnTo>
                  <a:lnTo>
                    <a:pt x="226183" y="0"/>
                  </a:lnTo>
                  <a:lnTo>
                    <a:pt x="106357" y="53491"/>
                  </a:lnTo>
                  <a:lnTo>
                    <a:pt x="4701" y="98596"/>
                  </a:lnTo>
                  <a:lnTo>
                    <a:pt x="0" y="100629"/>
                  </a:lnTo>
                  <a:close/>
                </a:path>
              </a:pathLst>
            </a:custGeom>
            <a:solidFill>
              <a:schemeClr val="tx2"/>
            </a:solidFill>
            <a:ln w="1270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8AD674F-F2AB-4803-80BC-510B226BF7FC}"/>
                </a:ext>
              </a:extLst>
            </p:cNvPr>
            <p:cNvSpPr/>
            <p:nvPr/>
          </p:nvSpPr>
          <p:spPr>
            <a:xfrm>
              <a:off x="6256725" y="4855523"/>
              <a:ext cx="144096" cy="64163"/>
            </a:xfrm>
            <a:custGeom>
              <a:avLst/>
              <a:gdLst>
                <a:gd name="connsiteX0" fmla="*/ 144096 w 144096"/>
                <a:gd name="connsiteY0" fmla="*/ 0 h 64163"/>
                <a:gd name="connsiteX1" fmla="*/ 0 w 144096"/>
                <a:gd name="connsiteY1" fmla="*/ 64163 h 64163"/>
                <a:gd name="connsiteX2" fmla="*/ 144096 w 144096"/>
                <a:gd name="connsiteY2" fmla="*/ 64163 h 64163"/>
                <a:gd name="connsiteX3" fmla="*/ 144096 w 144096"/>
                <a:gd name="connsiteY3" fmla="*/ 0 h 64163"/>
              </a:gdLst>
              <a:ahLst/>
              <a:cxnLst>
                <a:cxn ang="0">
                  <a:pos x="connsiteX0" y="connsiteY0"/>
                </a:cxn>
                <a:cxn ang="0">
                  <a:pos x="connsiteX1" y="connsiteY1"/>
                </a:cxn>
                <a:cxn ang="0">
                  <a:pos x="connsiteX2" y="connsiteY2"/>
                </a:cxn>
                <a:cxn ang="0">
                  <a:pos x="connsiteX3" y="connsiteY3"/>
                </a:cxn>
              </a:cxnLst>
              <a:rect l="l" t="t" r="r" b="b"/>
              <a:pathLst>
                <a:path w="144096" h="64163">
                  <a:moveTo>
                    <a:pt x="144096" y="0"/>
                  </a:moveTo>
                  <a:lnTo>
                    <a:pt x="0" y="64163"/>
                  </a:lnTo>
                  <a:lnTo>
                    <a:pt x="144096" y="64163"/>
                  </a:lnTo>
                  <a:lnTo>
                    <a:pt x="144096" y="0"/>
                  </a:lnTo>
                  <a:close/>
                </a:path>
              </a:pathLst>
            </a:custGeom>
            <a:solidFill>
              <a:schemeClr val="accent4"/>
            </a:solidFill>
            <a:ln w="1270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F3BD113-A66B-44EF-AC75-95861F7B14CE}"/>
                </a:ext>
              </a:extLst>
            </p:cNvPr>
            <p:cNvSpPr/>
            <p:nvPr/>
          </p:nvSpPr>
          <p:spPr>
            <a:xfrm>
              <a:off x="8588064" y="5481531"/>
              <a:ext cx="21982" cy="62003"/>
            </a:xfrm>
            <a:custGeom>
              <a:avLst/>
              <a:gdLst>
                <a:gd name="connsiteX0" fmla="*/ 0 w 21982"/>
                <a:gd name="connsiteY0" fmla="*/ 0 h 62003"/>
                <a:gd name="connsiteX1" fmla="*/ 21983 w 21982"/>
                <a:gd name="connsiteY1" fmla="*/ 0 h 62003"/>
                <a:gd name="connsiteX2" fmla="*/ 21983 w 21982"/>
                <a:gd name="connsiteY2" fmla="*/ 62004 h 62003"/>
                <a:gd name="connsiteX3" fmla="*/ 0 w 21982"/>
                <a:gd name="connsiteY3" fmla="*/ 62004 h 62003"/>
              </a:gdLst>
              <a:ahLst/>
              <a:cxnLst>
                <a:cxn ang="0">
                  <a:pos x="connsiteX0" y="connsiteY0"/>
                </a:cxn>
                <a:cxn ang="0">
                  <a:pos x="connsiteX1" y="connsiteY1"/>
                </a:cxn>
                <a:cxn ang="0">
                  <a:pos x="connsiteX2" y="connsiteY2"/>
                </a:cxn>
                <a:cxn ang="0">
                  <a:pos x="connsiteX3" y="connsiteY3"/>
                </a:cxn>
              </a:cxnLst>
              <a:rect l="l" t="t" r="r" b="b"/>
              <a:pathLst>
                <a:path w="21982" h="62003">
                  <a:moveTo>
                    <a:pt x="0" y="0"/>
                  </a:moveTo>
                  <a:lnTo>
                    <a:pt x="21983" y="0"/>
                  </a:lnTo>
                  <a:lnTo>
                    <a:pt x="21983" y="62004"/>
                  </a:lnTo>
                  <a:lnTo>
                    <a:pt x="0" y="62004"/>
                  </a:lnTo>
                  <a:close/>
                </a:path>
              </a:pathLst>
            </a:custGeom>
            <a:solidFill>
              <a:srgbClr val="9FD1D0"/>
            </a:solidFill>
            <a:ln w="1270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AB25B5C-9469-4175-BD84-826E72EBA23A}"/>
                </a:ext>
              </a:extLst>
            </p:cNvPr>
            <p:cNvSpPr/>
            <p:nvPr/>
          </p:nvSpPr>
          <p:spPr>
            <a:xfrm>
              <a:off x="6626116" y="3298571"/>
              <a:ext cx="1376159" cy="1432309"/>
            </a:xfrm>
            <a:custGeom>
              <a:avLst/>
              <a:gdLst>
                <a:gd name="connsiteX0" fmla="*/ 1121259 w 1376159"/>
                <a:gd name="connsiteY0" fmla="*/ 4320 h 1432309"/>
                <a:gd name="connsiteX1" fmla="*/ 1113380 w 1376159"/>
                <a:gd name="connsiteY1" fmla="*/ 7623 h 1432309"/>
                <a:gd name="connsiteX2" fmla="*/ 1102579 w 1376159"/>
                <a:gd name="connsiteY2" fmla="*/ 0 h 1432309"/>
                <a:gd name="connsiteX3" fmla="*/ 461388 w 1376159"/>
                <a:gd name="connsiteY3" fmla="*/ 0 h 1432309"/>
                <a:gd name="connsiteX4" fmla="*/ 448199 w 1376159"/>
                <a:gd name="connsiteY4" fmla="*/ 9046 h 1432309"/>
                <a:gd name="connsiteX5" fmla="*/ 439151 w 1376159"/>
                <a:gd name="connsiteY5" fmla="*/ 0 h 1432309"/>
                <a:gd name="connsiteX6" fmla="*/ 202930 w 1376159"/>
                <a:gd name="connsiteY6" fmla="*/ 0 h 1432309"/>
                <a:gd name="connsiteX7" fmla="*/ 192637 w 1376159"/>
                <a:gd name="connsiteY7" fmla="*/ 6607 h 1432309"/>
                <a:gd name="connsiteX8" fmla="*/ 186284 w 1376159"/>
                <a:gd name="connsiteY8" fmla="*/ 4320 h 1432309"/>
                <a:gd name="connsiteX9" fmla="*/ 17027 w 1376159"/>
                <a:gd name="connsiteY9" fmla="*/ 4320 h 1432309"/>
                <a:gd name="connsiteX10" fmla="*/ 7497 w 1376159"/>
                <a:gd name="connsiteY10" fmla="*/ 9656 h 1432309"/>
                <a:gd name="connsiteX11" fmla="*/ 0 w 1376159"/>
                <a:gd name="connsiteY11" fmla="*/ 6734 h 1432309"/>
                <a:gd name="connsiteX12" fmla="*/ 0 w 1376159"/>
                <a:gd name="connsiteY12" fmla="*/ 1432309 h 1432309"/>
                <a:gd name="connsiteX13" fmla="*/ 1376159 w 1376159"/>
                <a:gd name="connsiteY13" fmla="*/ 1432309 h 1432309"/>
                <a:gd name="connsiteX14" fmla="*/ 1376159 w 1376159"/>
                <a:gd name="connsiteY14" fmla="*/ 5844 h 1432309"/>
                <a:gd name="connsiteX15" fmla="*/ 1371077 w 1376159"/>
                <a:gd name="connsiteY15" fmla="*/ 6988 h 1432309"/>
                <a:gd name="connsiteX16" fmla="*/ 1363961 w 1376159"/>
                <a:gd name="connsiteY16" fmla="*/ 4320 h 1432309"/>
                <a:gd name="connsiteX17" fmla="*/ 1121259 w 1376159"/>
                <a:gd name="connsiteY17" fmla="*/ 4320 h 14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6159" h="1432309">
                  <a:moveTo>
                    <a:pt x="1121259" y="4320"/>
                  </a:moveTo>
                  <a:cubicBezTo>
                    <a:pt x="1119175" y="6416"/>
                    <a:pt x="1116341" y="7611"/>
                    <a:pt x="1113380" y="7623"/>
                  </a:cubicBezTo>
                  <a:cubicBezTo>
                    <a:pt x="1108539" y="7598"/>
                    <a:pt x="1104231" y="4548"/>
                    <a:pt x="1102579" y="0"/>
                  </a:cubicBezTo>
                  <a:lnTo>
                    <a:pt x="461388" y="0"/>
                  </a:lnTo>
                  <a:cubicBezTo>
                    <a:pt x="460245" y="6137"/>
                    <a:pt x="454349" y="10190"/>
                    <a:pt x="448199" y="9046"/>
                  </a:cubicBezTo>
                  <a:cubicBezTo>
                    <a:pt x="443599" y="8195"/>
                    <a:pt x="440002" y="4599"/>
                    <a:pt x="439151" y="0"/>
                  </a:cubicBezTo>
                  <a:lnTo>
                    <a:pt x="202930" y="0"/>
                  </a:lnTo>
                  <a:cubicBezTo>
                    <a:pt x="201036" y="3990"/>
                    <a:pt x="197046" y="6543"/>
                    <a:pt x="192637" y="6607"/>
                  </a:cubicBezTo>
                  <a:cubicBezTo>
                    <a:pt x="190337" y="6531"/>
                    <a:pt x="188113" y="5730"/>
                    <a:pt x="186284" y="4320"/>
                  </a:cubicBezTo>
                  <a:lnTo>
                    <a:pt x="17027" y="4320"/>
                  </a:lnTo>
                  <a:cubicBezTo>
                    <a:pt x="14956" y="7598"/>
                    <a:pt x="11373" y="9605"/>
                    <a:pt x="7497" y="9656"/>
                  </a:cubicBezTo>
                  <a:cubicBezTo>
                    <a:pt x="4727" y="9631"/>
                    <a:pt x="2058" y="8589"/>
                    <a:pt x="0" y="6734"/>
                  </a:cubicBezTo>
                  <a:lnTo>
                    <a:pt x="0" y="1432309"/>
                  </a:lnTo>
                  <a:lnTo>
                    <a:pt x="1376159" y="1432309"/>
                  </a:lnTo>
                  <a:lnTo>
                    <a:pt x="1376159" y="5844"/>
                  </a:lnTo>
                  <a:cubicBezTo>
                    <a:pt x="1374546" y="6543"/>
                    <a:pt x="1372830" y="6925"/>
                    <a:pt x="1371077" y="6988"/>
                  </a:cubicBezTo>
                  <a:cubicBezTo>
                    <a:pt x="1368472" y="6963"/>
                    <a:pt x="1365943" y="6010"/>
                    <a:pt x="1363961" y="4320"/>
                  </a:cubicBezTo>
                  <a:lnTo>
                    <a:pt x="1121259" y="4320"/>
                  </a:lnTo>
                  <a:close/>
                </a:path>
              </a:pathLst>
            </a:custGeom>
            <a:solidFill>
              <a:schemeClr val="bg1">
                <a:lumMod val="95000"/>
              </a:schemeClr>
            </a:solidFill>
            <a:ln w="1270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3C8051A-C571-4A6C-ABA8-B599779AF344}"/>
                </a:ext>
              </a:extLst>
            </p:cNvPr>
            <p:cNvSpPr/>
            <p:nvPr/>
          </p:nvSpPr>
          <p:spPr>
            <a:xfrm>
              <a:off x="6503875" y="2341708"/>
              <a:ext cx="117793" cy="2441520"/>
            </a:xfrm>
            <a:custGeom>
              <a:avLst/>
              <a:gdLst>
                <a:gd name="connsiteX0" fmla="*/ 115506 w 117793"/>
                <a:gd name="connsiteY0" fmla="*/ 2390190 h 2441520"/>
                <a:gd name="connsiteX1" fmla="*/ 115506 w 117793"/>
                <a:gd name="connsiteY1" fmla="*/ 2390190 h 2441520"/>
                <a:gd name="connsiteX2" fmla="*/ 117793 w 117793"/>
                <a:gd name="connsiteY2" fmla="*/ 2390190 h 2441520"/>
                <a:gd name="connsiteX3" fmla="*/ 117793 w 117793"/>
                <a:gd name="connsiteY3" fmla="*/ 2390190 h 2441520"/>
                <a:gd name="connsiteX4" fmla="*/ 117793 w 117793"/>
                <a:gd name="connsiteY4" fmla="*/ 29223 h 2441520"/>
                <a:gd name="connsiteX5" fmla="*/ 0 w 117793"/>
                <a:gd name="connsiteY5" fmla="*/ 0 h 2441520"/>
                <a:gd name="connsiteX6" fmla="*/ 0 w 117793"/>
                <a:gd name="connsiteY6" fmla="*/ 2441521 h 244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93" h="2441520">
                  <a:moveTo>
                    <a:pt x="115506" y="2390190"/>
                  </a:moveTo>
                  <a:lnTo>
                    <a:pt x="115506" y="2390190"/>
                  </a:lnTo>
                  <a:lnTo>
                    <a:pt x="117793" y="2390190"/>
                  </a:lnTo>
                  <a:lnTo>
                    <a:pt x="117793" y="2390190"/>
                  </a:lnTo>
                  <a:lnTo>
                    <a:pt x="117793" y="29223"/>
                  </a:lnTo>
                  <a:lnTo>
                    <a:pt x="0" y="0"/>
                  </a:lnTo>
                  <a:lnTo>
                    <a:pt x="0" y="2441521"/>
                  </a:lnTo>
                  <a:close/>
                </a:path>
              </a:pathLst>
            </a:custGeom>
            <a:solidFill>
              <a:schemeClr val="accent3"/>
            </a:solidFill>
            <a:ln w="1270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C7DD9F3-ED90-4843-82FC-413BC0002FE6}"/>
                </a:ext>
              </a:extLst>
            </p:cNvPr>
            <p:cNvSpPr/>
            <p:nvPr/>
          </p:nvSpPr>
          <p:spPr>
            <a:xfrm>
              <a:off x="5993184" y="2341199"/>
              <a:ext cx="506370" cy="2458418"/>
            </a:xfrm>
            <a:custGeom>
              <a:avLst/>
              <a:gdLst>
                <a:gd name="connsiteX0" fmla="*/ 0 w 506370"/>
                <a:gd name="connsiteY0" fmla="*/ 2245218 h 2458418"/>
                <a:gd name="connsiteX1" fmla="*/ 0 w 506370"/>
                <a:gd name="connsiteY1" fmla="*/ 2458419 h 2458418"/>
                <a:gd name="connsiteX2" fmla="*/ 34182 w 506370"/>
                <a:gd name="connsiteY2" fmla="*/ 2444951 h 2458418"/>
                <a:gd name="connsiteX3" fmla="*/ 49341 w 506370"/>
                <a:gd name="connsiteY3" fmla="*/ 2451558 h 2458418"/>
                <a:gd name="connsiteX4" fmla="*/ 49430 w 506370"/>
                <a:gd name="connsiteY4" fmla="*/ 2451812 h 2458418"/>
                <a:gd name="connsiteX5" fmla="*/ 49430 w 506370"/>
                <a:gd name="connsiteY5" fmla="*/ 2453972 h 2458418"/>
                <a:gd name="connsiteX6" fmla="*/ 483879 w 506370"/>
                <a:gd name="connsiteY6" fmla="*/ 2453972 h 2458418"/>
                <a:gd name="connsiteX7" fmla="*/ 503702 w 506370"/>
                <a:gd name="connsiteY7" fmla="*/ 2445078 h 2458418"/>
                <a:gd name="connsiteX8" fmla="*/ 506371 w 506370"/>
                <a:gd name="connsiteY8" fmla="*/ 2443935 h 2458418"/>
                <a:gd name="connsiteX9" fmla="*/ 506371 w 506370"/>
                <a:gd name="connsiteY9" fmla="*/ 0 h 2458418"/>
                <a:gd name="connsiteX10" fmla="*/ 0 w 506370"/>
                <a:gd name="connsiteY10" fmla="*/ 0 h 2458418"/>
                <a:gd name="connsiteX11" fmla="*/ 0 w 506370"/>
                <a:gd name="connsiteY11" fmla="*/ 2245218 h 245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370" h="2458418">
                  <a:moveTo>
                    <a:pt x="0" y="2245218"/>
                  </a:moveTo>
                  <a:lnTo>
                    <a:pt x="0" y="2458419"/>
                  </a:lnTo>
                  <a:lnTo>
                    <a:pt x="34182" y="2444951"/>
                  </a:lnTo>
                  <a:cubicBezTo>
                    <a:pt x="40192" y="2442588"/>
                    <a:pt x="46977" y="2445548"/>
                    <a:pt x="49341" y="2451558"/>
                  </a:cubicBezTo>
                  <a:cubicBezTo>
                    <a:pt x="49366" y="2451647"/>
                    <a:pt x="49405" y="2451723"/>
                    <a:pt x="49430" y="2451812"/>
                  </a:cubicBezTo>
                  <a:cubicBezTo>
                    <a:pt x="49493" y="2452536"/>
                    <a:pt x="49493" y="2453248"/>
                    <a:pt x="49430" y="2453972"/>
                  </a:cubicBezTo>
                  <a:lnTo>
                    <a:pt x="483879" y="2453972"/>
                  </a:lnTo>
                  <a:lnTo>
                    <a:pt x="503702" y="2445078"/>
                  </a:lnTo>
                  <a:lnTo>
                    <a:pt x="506371" y="2443935"/>
                  </a:lnTo>
                  <a:lnTo>
                    <a:pt x="506371" y="0"/>
                  </a:lnTo>
                  <a:lnTo>
                    <a:pt x="0" y="0"/>
                  </a:lnTo>
                  <a:lnTo>
                    <a:pt x="0" y="2245218"/>
                  </a:lnTo>
                  <a:close/>
                </a:path>
              </a:pathLst>
            </a:custGeom>
            <a:solidFill>
              <a:schemeClr val="accent6">
                <a:lumMod val="75000"/>
              </a:schemeClr>
            </a:solidFill>
            <a:ln w="1270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582FEF9-1C10-4053-9C2B-A7535F17609A}"/>
                </a:ext>
              </a:extLst>
            </p:cNvPr>
            <p:cNvSpPr/>
            <p:nvPr/>
          </p:nvSpPr>
          <p:spPr>
            <a:xfrm>
              <a:off x="2885579" y="6397864"/>
              <a:ext cx="9308455" cy="462994"/>
            </a:xfrm>
            <a:custGeom>
              <a:avLst/>
              <a:gdLst>
                <a:gd name="connsiteX0" fmla="*/ 0 w 9308455"/>
                <a:gd name="connsiteY0" fmla="*/ 5718 h 462994"/>
                <a:gd name="connsiteX1" fmla="*/ 0 w 9308455"/>
                <a:gd name="connsiteY1" fmla="*/ 462994 h 462994"/>
                <a:gd name="connsiteX2" fmla="*/ 9308455 w 9308455"/>
                <a:gd name="connsiteY2" fmla="*/ 462994 h 462994"/>
                <a:gd name="connsiteX3" fmla="*/ 9308455 w 9308455"/>
                <a:gd name="connsiteY3" fmla="*/ 0 h 462994"/>
                <a:gd name="connsiteX4" fmla="*/ 12961 w 9308455"/>
                <a:gd name="connsiteY4" fmla="*/ 0 h 462994"/>
                <a:gd name="connsiteX5" fmla="*/ 0 w 9308455"/>
                <a:gd name="connsiteY5" fmla="*/ 5718 h 46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8455" h="462994">
                  <a:moveTo>
                    <a:pt x="0" y="5718"/>
                  </a:moveTo>
                  <a:lnTo>
                    <a:pt x="0" y="462994"/>
                  </a:lnTo>
                  <a:lnTo>
                    <a:pt x="9308455" y="462994"/>
                  </a:lnTo>
                  <a:lnTo>
                    <a:pt x="9308455" y="0"/>
                  </a:lnTo>
                  <a:lnTo>
                    <a:pt x="12961" y="0"/>
                  </a:lnTo>
                  <a:lnTo>
                    <a:pt x="0" y="5718"/>
                  </a:lnTo>
                  <a:close/>
                </a:path>
              </a:pathLst>
            </a:custGeom>
            <a:solidFill>
              <a:schemeClr val="accent6">
                <a:lumMod val="75000"/>
              </a:schemeClr>
            </a:solidFill>
            <a:ln w="12704"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0815436-0AE5-4E2B-9B0F-FE1EA7178D66}"/>
                </a:ext>
              </a:extLst>
            </p:cNvPr>
            <p:cNvSpPr/>
            <p:nvPr/>
          </p:nvSpPr>
          <p:spPr>
            <a:xfrm>
              <a:off x="12016773" y="3267188"/>
              <a:ext cx="38247" cy="1381740"/>
            </a:xfrm>
            <a:custGeom>
              <a:avLst/>
              <a:gdLst>
                <a:gd name="connsiteX0" fmla="*/ 1143 w 38247"/>
                <a:gd name="connsiteY0" fmla="*/ 125405 h 1381740"/>
                <a:gd name="connsiteX1" fmla="*/ 1143 w 38247"/>
                <a:gd name="connsiteY1" fmla="*/ 1355949 h 1381740"/>
                <a:gd name="connsiteX2" fmla="*/ 0 w 38247"/>
                <a:gd name="connsiteY2" fmla="*/ 1361031 h 1381740"/>
                <a:gd name="connsiteX3" fmla="*/ 28591 w 38247"/>
                <a:gd name="connsiteY3" fmla="*/ 1381741 h 1381740"/>
                <a:gd name="connsiteX4" fmla="*/ 28591 w 38247"/>
                <a:gd name="connsiteY4" fmla="*/ 130614 h 1381740"/>
                <a:gd name="connsiteX5" fmla="*/ 38248 w 38247"/>
                <a:gd name="connsiteY5" fmla="*/ 119052 h 1381740"/>
                <a:gd name="connsiteX6" fmla="*/ 38248 w 38247"/>
                <a:gd name="connsiteY6" fmla="*/ 0 h 1381740"/>
                <a:gd name="connsiteX7" fmla="*/ 1143 w 38247"/>
                <a:gd name="connsiteY7" fmla="*/ 0 h 1381740"/>
                <a:gd name="connsiteX8" fmla="*/ 1143 w 38247"/>
                <a:gd name="connsiteY8" fmla="*/ 125405 h 138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47" h="1381740">
                  <a:moveTo>
                    <a:pt x="1143" y="125405"/>
                  </a:moveTo>
                  <a:lnTo>
                    <a:pt x="1143" y="1355949"/>
                  </a:lnTo>
                  <a:cubicBezTo>
                    <a:pt x="1118" y="1357702"/>
                    <a:pt x="724" y="1359430"/>
                    <a:pt x="0" y="1361031"/>
                  </a:cubicBezTo>
                  <a:lnTo>
                    <a:pt x="28591" y="1381741"/>
                  </a:lnTo>
                  <a:lnTo>
                    <a:pt x="28591" y="130614"/>
                  </a:lnTo>
                  <a:cubicBezTo>
                    <a:pt x="28565" y="124922"/>
                    <a:pt x="32644" y="120043"/>
                    <a:pt x="38248" y="119052"/>
                  </a:cubicBezTo>
                  <a:lnTo>
                    <a:pt x="38248" y="0"/>
                  </a:lnTo>
                  <a:lnTo>
                    <a:pt x="1143" y="0"/>
                  </a:lnTo>
                  <a:lnTo>
                    <a:pt x="1143" y="125405"/>
                  </a:lnTo>
                  <a:close/>
                </a:path>
              </a:pathLst>
            </a:custGeom>
            <a:solidFill>
              <a:schemeClr val="accent5"/>
            </a:solidFill>
            <a:ln w="1270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3C10F1-B489-4AE7-B70A-AEA0C023F1F9}"/>
                </a:ext>
              </a:extLst>
            </p:cNvPr>
            <p:cNvSpPr/>
            <p:nvPr/>
          </p:nvSpPr>
          <p:spPr>
            <a:xfrm>
              <a:off x="12059214" y="3267188"/>
              <a:ext cx="134820" cy="118670"/>
            </a:xfrm>
            <a:custGeom>
              <a:avLst/>
              <a:gdLst>
                <a:gd name="connsiteX0" fmla="*/ 0 w 134820"/>
                <a:gd name="connsiteY0" fmla="*/ 0 h 118670"/>
                <a:gd name="connsiteX1" fmla="*/ 134820 w 134820"/>
                <a:gd name="connsiteY1" fmla="*/ 0 h 118670"/>
                <a:gd name="connsiteX2" fmla="*/ 134820 w 134820"/>
                <a:gd name="connsiteY2" fmla="*/ 118671 h 118670"/>
                <a:gd name="connsiteX3" fmla="*/ 0 w 134820"/>
                <a:gd name="connsiteY3" fmla="*/ 118671 h 118670"/>
              </a:gdLst>
              <a:ahLst/>
              <a:cxnLst>
                <a:cxn ang="0">
                  <a:pos x="connsiteX0" y="connsiteY0"/>
                </a:cxn>
                <a:cxn ang="0">
                  <a:pos x="connsiteX1" y="connsiteY1"/>
                </a:cxn>
                <a:cxn ang="0">
                  <a:pos x="connsiteX2" y="connsiteY2"/>
                </a:cxn>
                <a:cxn ang="0">
                  <a:pos x="connsiteX3" y="connsiteY3"/>
                </a:cxn>
              </a:cxnLst>
              <a:rect l="l" t="t" r="r" b="b"/>
              <a:pathLst>
                <a:path w="134820" h="118670">
                  <a:moveTo>
                    <a:pt x="0" y="0"/>
                  </a:moveTo>
                  <a:lnTo>
                    <a:pt x="134820" y="0"/>
                  </a:lnTo>
                  <a:lnTo>
                    <a:pt x="134820" y="118671"/>
                  </a:lnTo>
                  <a:lnTo>
                    <a:pt x="0" y="118671"/>
                  </a:lnTo>
                  <a:close/>
                </a:path>
              </a:pathLst>
            </a:custGeom>
            <a:solidFill>
              <a:srgbClr val="F9C996"/>
            </a:solidFill>
            <a:ln w="1270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2D682C2-671A-4E52-B57D-3D0E82CE56EF}"/>
                </a:ext>
              </a:extLst>
            </p:cNvPr>
            <p:cNvSpPr/>
            <p:nvPr/>
          </p:nvSpPr>
          <p:spPr>
            <a:xfrm>
              <a:off x="7046715" y="4943700"/>
              <a:ext cx="1516571" cy="11562"/>
            </a:xfrm>
            <a:custGeom>
              <a:avLst/>
              <a:gdLst>
                <a:gd name="connsiteX0" fmla="*/ 1506660 w 1516571"/>
                <a:gd name="connsiteY0" fmla="*/ 11562 h 11562"/>
                <a:gd name="connsiteX1" fmla="*/ 1516571 w 1516571"/>
                <a:gd name="connsiteY1" fmla="*/ 0 h 11562"/>
                <a:gd name="connsiteX2" fmla="*/ 19950 w 1516571"/>
                <a:gd name="connsiteY2" fmla="*/ 0 h 11562"/>
                <a:gd name="connsiteX3" fmla="*/ 0 w 1516571"/>
                <a:gd name="connsiteY3" fmla="*/ 11562 h 11562"/>
                <a:gd name="connsiteX4" fmla="*/ 1506660 w 1516571"/>
                <a:gd name="connsiteY4" fmla="*/ 11562 h 11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6571" h="11562">
                  <a:moveTo>
                    <a:pt x="1506660" y="11562"/>
                  </a:moveTo>
                  <a:lnTo>
                    <a:pt x="1516571" y="0"/>
                  </a:lnTo>
                  <a:lnTo>
                    <a:pt x="19950" y="0"/>
                  </a:lnTo>
                  <a:lnTo>
                    <a:pt x="0" y="11562"/>
                  </a:lnTo>
                  <a:lnTo>
                    <a:pt x="1506660" y="11562"/>
                  </a:lnTo>
                  <a:close/>
                </a:path>
              </a:pathLst>
            </a:custGeom>
            <a:solidFill>
              <a:srgbClr val="22B0AE"/>
            </a:solidFill>
            <a:ln w="1270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38DD350-043F-47AD-8C1E-BE69DC488741}"/>
                </a:ext>
              </a:extLst>
            </p:cNvPr>
            <p:cNvSpPr/>
            <p:nvPr/>
          </p:nvSpPr>
          <p:spPr>
            <a:xfrm>
              <a:off x="9745411" y="1878205"/>
              <a:ext cx="47904" cy="332380"/>
            </a:xfrm>
            <a:custGeom>
              <a:avLst/>
              <a:gdLst>
                <a:gd name="connsiteX0" fmla="*/ 47905 w 47904"/>
                <a:gd name="connsiteY0" fmla="*/ 332380 h 332380"/>
                <a:gd name="connsiteX1" fmla="*/ 47905 w 47904"/>
                <a:gd name="connsiteY1" fmla="*/ 18042 h 332380"/>
                <a:gd name="connsiteX2" fmla="*/ 44347 w 47904"/>
                <a:gd name="connsiteY2" fmla="*/ 0 h 332380"/>
                <a:gd name="connsiteX3" fmla="*/ 0 w 47904"/>
                <a:gd name="connsiteY3" fmla="*/ 0 h 332380"/>
                <a:gd name="connsiteX4" fmla="*/ 0 w 47904"/>
                <a:gd name="connsiteY4" fmla="*/ 16771 h 332380"/>
                <a:gd name="connsiteX5" fmla="*/ 0 w 47904"/>
                <a:gd name="connsiteY5" fmla="*/ 332380 h 332380"/>
                <a:gd name="connsiteX6" fmla="*/ 47905 w 47904"/>
                <a:gd name="connsiteY6" fmla="*/ 332380 h 33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04" h="332380">
                  <a:moveTo>
                    <a:pt x="47905" y="332380"/>
                  </a:moveTo>
                  <a:lnTo>
                    <a:pt x="47905" y="18042"/>
                  </a:lnTo>
                  <a:lnTo>
                    <a:pt x="44347" y="0"/>
                  </a:lnTo>
                  <a:lnTo>
                    <a:pt x="0" y="0"/>
                  </a:lnTo>
                  <a:lnTo>
                    <a:pt x="0" y="16771"/>
                  </a:lnTo>
                  <a:lnTo>
                    <a:pt x="0" y="332380"/>
                  </a:lnTo>
                  <a:lnTo>
                    <a:pt x="47905" y="332380"/>
                  </a:lnTo>
                  <a:close/>
                </a:path>
              </a:pathLst>
            </a:custGeom>
            <a:solidFill>
              <a:schemeClr val="accent4"/>
            </a:solidFill>
            <a:ln w="1270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5164A02-7E00-4590-A448-35CF8F5E8DB0}"/>
                </a:ext>
              </a:extLst>
            </p:cNvPr>
            <p:cNvSpPr/>
            <p:nvPr/>
          </p:nvSpPr>
          <p:spPr>
            <a:xfrm>
              <a:off x="8922256" y="472196"/>
              <a:ext cx="415007" cy="1659486"/>
            </a:xfrm>
            <a:custGeom>
              <a:avLst/>
              <a:gdLst>
                <a:gd name="connsiteX0" fmla="*/ 147273 w 415007"/>
                <a:gd name="connsiteY0" fmla="*/ 289943 h 1659486"/>
                <a:gd name="connsiteX1" fmla="*/ 151720 w 415007"/>
                <a:gd name="connsiteY1" fmla="*/ 290833 h 1659486"/>
                <a:gd name="connsiteX2" fmla="*/ 153627 w 415007"/>
                <a:gd name="connsiteY2" fmla="*/ 292103 h 1659486"/>
                <a:gd name="connsiteX3" fmla="*/ 155533 w 415007"/>
                <a:gd name="connsiteY3" fmla="*/ 293374 h 1659486"/>
                <a:gd name="connsiteX4" fmla="*/ 158074 w 415007"/>
                <a:gd name="connsiteY4" fmla="*/ 297313 h 1659486"/>
                <a:gd name="connsiteX5" fmla="*/ 158074 w 415007"/>
                <a:gd name="connsiteY5" fmla="*/ 297313 h 1659486"/>
                <a:gd name="connsiteX6" fmla="*/ 169383 w 415007"/>
                <a:gd name="connsiteY6" fmla="*/ 325265 h 1659486"/>
                <a:gd name="connsiteX7" fmla="*/ 169383 w 415007"/>
                <a:gd name="connsiteY7" fmla="*/ 325265 h 1659486"/>
                <a:gd name="connsiteX8" fmla="*/ 169383 w 415007"/>
                <a:gd name="connsiteY8" fmla="*/ 327298 h 1659486"/>
                <a:gd name="connsiteX9" fmla="*/ 169383 w 415007"/>
                <a:gd name="connsiteY9" fmla="*/ 329966 h 1659486"/>
                <a:gd name="connsiteX10" fmla="*/ 169383 w 415007"/>
                <a:gd name="connsiteY10" fmla="*/ 329966 h 1659486"/>
                <a:gd name="connsiteX11" fmla="*/ 169383 w 415007"/>
                <a:gd name="connsiteY11" fmla="*/ 1659487 h 1659486"/>
                <a:gd name="connsiteX12" fmla="*/ 415008 w 415007"/>
                <a:gd name="connsiteY12" fmla="*/ 1659487 h 1659486"/>
                <a:gd name="connsiteX13" fmla="*/ 415008 w 415007"/>
                <a:gd name="connsiteY13" fmla="*/ 26682 h 1659486"/>
                <a:gd name="connsiteX14" fmla="*/ 408146 w 415007"/>
                <a:gd name="connsiteY14" fmla="*/ 0 h 1659486"/>
                <a:gd name="connsiteX15" fmla="*/ 0 w 415007"/>
                <a:gd name="connsiteY15" fmla="*/ 0 h 1659486"/>
                <a:gd name="connsiteX16" fmla="*/ 0 w 415007"/>
                <a:gd name="connsiteY16" fmla="*/ 289943 h 165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007" h="1659486">
                  <a:moveTo>
                    <a:pt x="147273" y="289943"/>
                  </a:moveTo>
                  <a:cubicBezTo>
                    <a:pt x="148798" y="289971"/>
                    <a:pt x="150297" y="290272"/>
                    <a:pt x="151720" y="290833"/>
                  </a:cubicBezTo>
                  <a:cubicBezTo>
                    <a:pt x="152483" y="290833"/>
                    <a:pt x="152991" y="291722"/>
                    <a:pt x="153627" y="292103"/>
                  </a:cubicBezTo>
                  <a:lnTo>
                    <a:pt x="155533" y="293374"/>
                  </a:lnTo>
                  <a:cubicBezTo>
                    <a:pt x="156562" y="294555"/>
                    <a:pt x="157426" y="295883"/>
                    <a:pt x="158074" y="297313"/>
                  </a:cubicBezTo>
                  <a:lnTo>
                    <a:pt x="158074" y="297313"/>
                  </a:lnTo>
                  <a:lnTo>
                    <a:pt x="169383" y="325265"/>
                  </a:lnTo>
                  <a:lnTo>
                    <a:pt x="169383" y="325265"/>
                  </a:lnTo>
                  <a:cubicBezTo>
                    <a:pt x="169447" y="325941"/>
                    <a:pt x="169447" y="326622"/>
                    <a:pt x="169383" y="327298"/>
                  </a:cubicBezTo>
                  <a:cubicBezTo>
                    <a:pt x="169510" y="328182"/>
                    <a:pt x="169510" y="329082"/>
                    <a:pt x="169383" y="329966"/>
                  </a:cubicBezTo>
                  <a:lnTo>
                    <a:pt x="169383" y="329966"/>
                  </a:lnTo>
                  <a:lnTo>
                    <a:pt x="169383" y="1659487"/>
                  </a:lnTo>
                  <a:lnTo>
                    <a:pt x="415008" y="1659487"/>
                  </a:lnTo>
                  <a:lnTo>
                    <a:pt x="415008" y="26682"/>
                  </a:lnTo>
                  <a:lnTo>
                    <a:pt x="408146" y="0"/>
                  </a:lnTo>
                  <a:lnTo>
                    <a:pt x="0" y="0"/>
                  </a:lnTo>
                  <a:lnTo>
                    <a:pt x="0" y="289943"/>
                  </a:lnTo>
                  <a:close/>
                </a:path>
              </a:pathLst>
            </a:custGeom>
            <a:solidFill>
              <a:schemeClr val="bg1">
                <a:lumMod val="95000"/>
              </a:schemeClr>
            </a:solidFill>
            <a:ln w="1270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FD24CA7-F858-4A21-AD6E-8068DDF89D68}"/>
                </a:ext>
              </a:extLst>
            </p:cNvPr>
            <p:cNvSpPr/>
            <p:nvPr/>
          </p:nvSpPr>
          <p:spPr>
            <a:xfrm>
              <a:off x="6830570" y="2070315"/>
              <a:ext cx="234061" cy="1220633"/>
            </a:xfrm>
            <a:custGeom>
              <a:avLst/>
              <a:gdLst>
                <a:gd name="connsiteX0" fmla="*/ 0 w 234061"/>
                <a:gd name="connsiteY0" fmla="*/ 1220633 h 1220633"/>
                <a:gd name="connsiteX1" fmla="*/ 0 w 234061"/>
                <a:gd name="connsiteY1" fmla="*/ 1220633 h 1220633"/>
                <a:gd name="connsiteX2" fmla="*/ 234062 w 234061"/>
                <a:gd name="connsiteY2" fmla="*/ 1220633 h 1220633"/>
                <a:gd name="connsiteX3" fmla="*/ 234062 w 234061"/>
                <a:gd name="connsiteY3" fmla="*/ 0 h 1220633"/>
                <a:gd name="connsiteX4" fmla="*/ 0 w 234061"/>
                <a:gd name="connsiteY4" fmla="*/ 0 h 1220633"/>
                <a:gd name="connsiteX5" fmla="*/ 0 w 234061"/>
                <a:gd name="connsiteY5" fmla="*/ 1210469 h 1220633"/>
                <a:gd name="connsiteX6" fmla="*/ 0 w 234061"/>
                <a:gd name="connsiteY6" fmla="*/ 1212502 h 1220633"/>
                <a:gd name="connsiteX7" fmla="*/ 0 w 234061"/>
                <a:gd name="connsiteY7" fmla="*/ 1220633 h 12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61" h="1220633">
                  <a:moveTo>
                    <a:pt x="0" y="1220633"/>
                  </a:moveTo>
                  <a:lnTo>
                    <a:pt x="0" y="1220633"/>
                  </a:lnTo>
                  <a:lnTo>
                    <a:pt x="234062" y="1220633"/>
                  </a:lnTo>
                  <a:lnTo>
                    <a:pt x="234062" y="0"/>
                  </a:lnTo>
                  <a:lnTo>
                    <a:pt x="0" y="0"/>
                  </a:lnTo>
                  <a:lnTo>
                    <a:pt x="0" y="1210469"/>
                  </a:lnTo>
                  <a:lnTo>
                    <a:pt x="0" y="1212502"/>
                  </a:lnTo>
                  <a:lnTo>
                    <a:pt x="0" y="1220633"/>
                  </a:lnTo>
                  <a:close/>
                </a:path>
              </a:pathLst>
            </a:custGeom>
            <a:solidFill>
              <a:schemeClr val="accent4"/>
            </a:solidFill>
            <a:ln w="1270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FFDA524-B729-4190-BFE5-08FBEF92C020}"/>
                </a:ext>
              </a:extLst>
            </p:cNvPr>
            <p:cNvSpPr/>
            <p:nvPr/>
          </p:nvSpPr>
          <p:spPr>
            <a:xfrm>
              <a:off x="7699469" y="1569076"/>
              <a:ext cx="28336" cy="1724285"/>
            </a:xfrm>
            <a:custGeom>
              <a:avLst/>
              <a:gdLst>
                <a:gd name="connsiteX0" fmla="*/ 28337 w 28336"/>
                <a:gd name="connsiteY0" fmla="*/ 1723396 h 1724285"/>
                <a:gd name="connsiteX1" fmla="*/ 28337 w 28336"/>
                <a:gd name="connsiteY1" fmla="*/ 1721872 h 1724285"/>
                <a:gd name="connsiteX2" fmla="*/ 28337 w 28336"/>
                <a:gd name="connsiteY2" fmla="*/ 271139 h 1724285"/>
                <a:gd name="connsiteX3" fmla="*/ 28337 w 28336"/>
                <a:gd name="connsiteY3" fmla="*/ 19821 h 1724285"/>
                <a:gd name="connsiteX4" fmla="*/ 0 w 28336"/>
                <a:gd name="connsiteY4" fmla="*/ 0 h 1724285"/>
                <a:gd name="connsiteX5" fmla="*/ 0 w 28336"/>
                <a:gd name="connsiteY5" fmla="*/ 1724286 h 1724285"/>
                <a:gd name="connsiteX6" fmla="*/ 28337 w 28336"/>
                <a:gd name="connsiteY6" fmla="*/ 1723396 h 172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36" h="1724285">
                  <a:moveTo>
                    <a:pt x="28337" y="1723396"/>
                  </a:moveTo>
                  <a:lnTo>
                    <a:pt x="28337" y="1721872"/>
                  </a:lnTo>
                  <a:lnTo>
                    <a:pt x="28337" y="271139"/>
                  </a:lnTo>
                  <a:lnTo>
                    <a:pt x="28337" y="19821"/>
                  </a:lnTo>
                  <a:lnTo>
                    <a:pt x="0" y="0"/>
                  </a:lnTo>
                  <a:lnTo>
                    <a:pt x="0" y="1724286"/>
                  </a:lnTo>
                  <a:lnTo>
                    <a:pt x="28337" y="1723396"/>
                  </a:lnTo>
                  <a:close/>
                </a:path>
              </a:pathLst>
            </a:custGeom>
            <a:solidFill>
              <a:srgbClr val="F9AA19"/>
            </a:solidFill>
            <a:ln w="1270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F571952-70C1-43C1-9B96-DD5CBF75755E}"/>
                </a:ext>
              </a:extLst>
            </p:cNvPr>
            <p:cNvSpPr/>
            <p:nvPr/>
          </p:nvSpPr>
          <p:spPr>
            <a:xfrm>
              <a:off x="7088139" y="1565010"/>
              <a:ext cx="607263" cy="1728478"/>
            </a:xfrm>
            <a:custGeom>
              <a:avLst/>
              <a:gdLst>
                <a:gd name="connsiteX0" fmla="*/ 0 w 607263"/>
                <a:gd name="connsiteY0" fmla="*/ 1728479 h 1728478"/>
                <a:gd name="connsiteX1" fmla="*/ 607264 w 607263"/>
                <a:gd name="connsiteY1" fmla="*/ 1728479 h 1728478"/>
                <a:gd name="connsiteX2" fmla="*/ 607264 w 607263"/>
                <a:gd name="connsiteY2" fmla="*/ 1143 h 1728478"/>
                <a:gd name="connsiteX3" fmla="*/ 605612 w 607263"/>
                <a:gd name="connsiteY3" fmla="*/ 0 h 1728478"/>
                <a:gd name="connsiteX4" fmla="*/ 0 w 607263"/>
                <a:gd name="connsiteY4" fmla="*/ 0 h 1728478"/>
                <a:gd name="connsiteX5" fmla="*/ 0 w 607263"/>
                <a:gd name="connsiteY5" fmla="*/ 493361 h 1728478"/>
                <a:gd name="connsiteX6" fmla="*/ 0 w 607263"/>
                <a:gd name="connsiteY6" fmla="*/ 1728097 h 1728478"/>
                <a:gd name="connsiteX7" fmla="*/ 0 w 607263"/>
                <a:gd name="connsiteY7" fmla="*/ 1728479 h 172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263" h="1728478">
                  <a:moveTo>
                    <a:pt x="0" y="1728479"/>
                  </a:moveTo>
                  <a:lnTo>
                    <a:pt x="607264" y="1728479"/>
                  </a:lnTo>
                  <a:lnTo>
                    <a:pt x="607264" y="1143"/>
                  </a:lnTo>
                  <a:lnTo>
                    <a:pt x="605612" y="0"/>
                  </a:lnTo>
                  <a:lnTo>
                    <a:pt x="0" y="0"/>
                  </a:lnTo>
                  <a:lnTo>
                    <a:pt x="0" y="493361"/>
                  </a:lnTo>
                  <a:lnTo>
                    <a:pt x="0" y="1728097"/>
                  </a:lnTo>
                  <a:lnTo>
                    <a:pt x="0" y="1728479"/>
                  </a:lnTo>
                  <a:close/>
                </a:path>
              </a:pathLst>
            </a:custGeom>
            <a:solidFill>
              <a:schemeClr val="accent2"/>
            </a:solidFill>
            <a:ln w="1270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E91C9556-F045-4297-988B-78E25C54CACF}"/>
                </a:ext>
              </a:extLst>
            </p:cNvPr>
            <p:cNvSpPr/>
            <p:nvPr/>
          </p:nvSpPr>
          <p:spPr>
            <a:xfrm>
              <a:off x="7774313" y="1855462"/>
              <a:ext cx="23762" cy="1423415"/>
            </a:xfrm>
            <a:custGeom>
              <a:avLst/>
              <a:gdLst>
                <a:gd name="connsiteX0" fmla="*/ 23762 w 23762"/>
                <a:gd name="connsiteY0" fmla="*/ 1423416 h 1423415"/>
                <a:gd name="connsiteX1" fmla="*/ 23762 w 23762"/>
                <a:gd name="connsiteY1" fmla="*/ 14230 h 1423415"/>
                <a:gd name="connsiteX2" fmla="*/ 0 w 23762"/>
                <a:gd name="connsiteY2" fmla="*/ 0 h 1423415"/>
                <a:gd name="connsiteX3" fmla="*/ 0 w 23762"/>
                <a:gd name="connsiteY3" fmla="*/ 1423416 h 1423415"/>
                <a:gd name="connsiteX4" fmla="*/ 23762 w 23762"/>
                <a:gd name="connsiteY4" fmla="*/ 1423416 h 14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2" h="1423415">
                  <a:moveTo>
                    <a:pt x="23762" y="1423416"/>
                  </a:moveTo>
                  <a:lnTo>
                    <a:pt x="23762" y="14230"/>
                  </a:lnTo>
                  <a:lnTo>
                    <a:pt x="0" y="0"/>
                  </a:lnTo>
                  <a:lnTo>
                    <a:pt x="0" y="1423416"/>
                  </a:lnTo>
                  <a:lnTo>
                    <a:pt x="23762" y="1423416"/>
                  </a:lnTo>
                  <a:close/>
                </a:path>
              </a:pathLst>
            </a:custGeom>
            <a:solidFill>
              <a:srgbClr val="9FD1D0"/>
            </a:solidFill>
            <a:ln w="1270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C29D0AD-7377-4CF3-8C47-4BF9A158E59D}"/>
                </a:ext>
              </a:extLst>
            </p:cNvPr>
            <p:cNvSpPr/>
            <p:nvPr/>
          </p:nvSpPr>
          <p:spPr>
            <a:xfrm>
              <a:off x="7751187" y="1852285"/>
              <a:ext cx="18933" cy="1426592"/>
            </a:xfrm>
            <a:custGeom>
              <a:avLst/>
              <a:gdLst>
                <a:gd name="connsiteX0" fmla="*/ 18933 w 18933"/>
                <a:gd name="connsiteY0" fmla="*/ 1426592 h 1426592"/>
                <a:gd name="connsiteX1" fmla="*/ 18933 w 18933"/>
                <a:gd name="connsiteY1" fmla="*/ 635 h 1426592"/>
                <a:gd name="connsiteX2" fmla="*/ 17790 w 18933"/>
                <a:gd name="connsiteY2" fmla="*/ 0 h 1426592"/>
                <a:gd name="connsiteX3" fmla="*/ 0 w 18933"/>
                <a:gd name="connsiteY3" fmla="*/ 0 h 1426592"/>
                <a:gd name="connsiteX4" fmla="*/ 0 w 18933"/>
                <a:gd name="connsiteY4" fmla="*/ 1426592 h 1426592"/>
                <a:gd name="connsiteX5" fmla="*/ 18933 w 18933"/>
                <a:gd name="connsiteY5" fmla="*/ 1426592 h 142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3" h="1426592">
                  <a:moveTo>
                    <a:pt x="18933" y="1426592"/>
                  </a:moveTo>
                  <a:lnTo>
                    <a:pt x="18933" y="635"/>
                  </a:lnTo>
                  <a:lnTo>
                    <a:pt x="17790" y="0"/>
                  </a:lnTo>
                  <a:lnTo>
                    <a:pt x="0" y="0"/>
                  </a:lnTo>
                  <a:lnTo>
                    <a:pt x="0" y="1426592"/>
                  </a:lnTo>
                  <a:lnTo>
                    <a:pt x="18933" y="1426592"/>
                  </a:lnTo>
                  <a:close/>
                </a:path>
              </a:pathLst>
            </a:custGeom>
            <a:solidFill>
              <a:srgbClr val="F9AA19"/>
            </a:solidFill>
            <a:ln w="1270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5FE2B24-4CFE-468A-8586-F861D55C422B}"/>
                </a:ext>
              </a:extLst>
            </p:cNvPr>
            <p:cNvSpPr/>
            <p:nvPr/>
          </p:nvSpPr>
          <p:spPr>
            <a:xfrm>
              <a:off x="8025656" y="3289423"/>
              <a:ext cx="584391" cy="1558476"/>
            </a:xfrm>
            <a:custGeom>
              <a:avLst/>
              <a:gdLst>
                <a:gd name="connsiteX0" fmla="*/ 584392 w 584391"/>
                <a:gd name="connsiteY0" fmla="*/ 1558477 h 1558476"/>
                <a:gd name="connsiteX1" fmla="*/ 584392 w 584391"/>
                <a:gd name="connsiteY1" fmla="*/ 0 h 1558476"/>
                <a:gd name="connsiteX2" fmla="*/ 55656 w 584391"/>
                <a:gd name="connsiteY2" fmla="*/ 0 h 1558476"/>
                <a:gd name="connsiteX3" fmla="*/ 43331 w 584391"/>
                <a:gd name="connsiteY3" fmla="*/ 0 h 1558476"/>
                <a:gd name="connsiteX4" fmla="*/ 0 w 584391"/>
                <a:gd name="connsiteY4" fmla="*/ 1398 h 1558476"/>
                <a:gd name="connsiteX5" fmla="*/ 0 w 584391"/>
                <a:gd name="connsiteY5" fmla="*/ 4193 h 1558476"/>
                <a:gd name="connsiteX6" fmla="*/ 0 w 584391"/>
                <a:gd name="connsiteY6" fmla="*/ 7115 h 1558476"/>
                <a:gd name="connsiteX7" fmla="*/ 0 w 584391"/>
                <a:gd name="connsiteY7" fmla="*/ 1453528 h 1558476"/>
                <a:gd name="connsiteX8" fmla="*/ 0 w 584391"/>
                <a:gd name="connsiteY8" fmla="*/ 1558477 h 1558476"/>
                <a:gd name="connsiteX9" fmla="*/ 584392 w 584391"/>
                <a:gd name="connsiteY9" fmla="*/ 1558477 h 155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391" h="1558476">
                  <a:moveTo>
                    <a:pt x="584392" y="1558477"/>
                  </a:moveTo>
                  <a:lnTo>
                    <a:pt x="584392" y="0"/>
                  </a:lnTo>
                  <a:lnTo>
                    <a:pt x="55656" y="0"/>
                  </a:lnTo>
                  <a:lnTo>
                    <a:pt x="43331" y="0"/>
                  </a:lnTo>
                  <a:lnTo>
                    <a:pt x="0" y="1398"/>
                  </a:lnTo>
                  <a:lnTo>
                    <a:pt x="0" y="4193"/>
                  </a:lnTo>
                  <a:lnTo>
                    <a:pt x="0" y="7115"/>
                  </a:lnTo>
                  <a:lnTo>
                    <a:pt x="0" y="1453528"/>
                  </a:lnTo>
                  <a:lnTo>
                    <a:pt x="0" y="1558477"/>
                  </a:lnTo>
                  <a:lnTo>
                    <a:pt x="584392" y="1558477"/>
                  </a:lnTo>
                  <a:close/>
                </a:path>
              </a:pathLst>
            </a:custGeom>
            <a:solidFill>
              <a:schemeClr val="accent4"/>
            </a:solidFill>
            <a:ln w="12704"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F406D1A4-002E-4E93-8227-5EA2A92BC2F5}"/>
                </a:ext>
              </a:extLst>
            </p:cNvPr>
            <p:cNvSpPr/>
            <p:nvPr/>
          </p:nvSpPr>
          <p:spPr>
            <a:xfrm>
              <a:off x="8008883" y="1854191"/>
              <a:ext cx="601164" cy="277491"/>
            </a:xfrm>
            <a:custGeom>
              <a:avLst/>
              <a:gdLst>
                <a:gd name="connsiteX0" fmla="*/ 601164 w 601164"/>
                <a:gd name="connsiteY0" fmla="*/ 0 h 277491"/>
                <a:gd name="connsiteX1" fmla="*/ 496841 w 601164"/>
                <a:gd name="connsiteY1" fmla="*/ 0 h 277491"/>
                <a:gd name="connsiteX2" fmla="*/ 430892 w 601164"/>
                <a:gd name="connsiteY2" fmla="*/ 0 h 277491"/>
                <a:gd name="connsiteX3" fmla="*/ 233299 w 601164"/>
                <a:gd name="connsiteY3" fmla="*/ 0 h 277491"/>
                <a:gd name="connsiteX4" fmla="*/ 156168 w 601164"/>
                <a:gd name="connsiteY4" fmla="*/ 0 h 277491"/>
                <a:gd name="connsiteX5" fmla="*/ 0 w 601164"/>
                <a:gd name="connsiteY5" fmla="*/ 0 h 277491"/>
                <a:gd name="connsiteX6" fmla="*/ 0 w 601164"/>
                <a:gd name="connsiteY6" fmla="*/ 277492 h 277491"/>
                <a:gd name="connsiteX7" fmla="*/ 601164 w 601164"/>
                <a:gd name="connsiteY7" fmla="*/ 277492 h 277491"/>
                <a:gd name="connsiteX8" fmla="*/ 601164 w 601164"/>
                <a:gd name="connsiteY8" fmla="*/ 0 h 27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164" h="277491">
                  <a:moveTo>
                    <a:pt x="601164" y="0"/>
                  </a:moveTo>
                  <a:lnTo>
                    <a:pt x="496841" y="0"/>
                  </a:lnTo>
                  <a:lnTo>
                    <a:pt x="430892" y="0"/>
                  </a:lnTo>
                  <a:lnTo>
                    <a:pt x="233299" y="0"/>
                  </a:lnTo>
                  <a:lnTo>
                    <a:pt x="156168" y="0"/>
                  </a:lnTo>
                  <a:lnTo>
                    <a:pt x="0" y="0"/>
                  </a:lnTo>
                  <a:lnTo>
                    <a:pt x="0" y="277492"/>
                  </a:lnTo>
                  <a:lnTo>
                    <a:pt x="601164" y="277492"/>
                  </a:lnTo>
                  <a:lnTo>
                    <a:pt x="601164" y="0"/>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816848D-6D6B-4F76-BDDC-2FF77AC36F1F}"/>
                </a:ext>
              </a:extLst>
            </p:cNvPr>
            <p:cNvSpPr/>
            <p:nvPr/>
          </p:nvSpPr>
          <p:spPr>
            <a:xfrm>
              <a:off x="8008374" y="2683998"/>
              <a:ext cx="61247" cy="584714"/>
            </a:xfrm>
            <a:custGeom>
              <a:avLst/>
              <a:gdLst>
                <a:gd name="connsiteX0" fmla="*/ 3177 w 61247"/>
                <a:gd name="connsiteY0" fmla="*/ 583698 h 584714"/>
                <a:gd name="connsiteX1" fmla="*/ 5210 w 61247"/>
                <a:gd name="connsiteY1" fmla="*/ 583698 h 584714"/>
                <a:gd name="connsiteX2" fmla="*/ 60104 w 61247"/>
                <a:gd name="connsiteY2" fmla="*/ 581919 h 584714"/>
                <a:gd name="connsiteX3" fmla="*/ 61247 w 61247"/>
                <a:gd name="connsiteY3" fmla="*/ 581919 h 584714"/>
                <a:gd name="connsiteX4" fmla="*/ 61247 w 61247"/>
                <a:gd name="connsiteY4" fmla="*/ 0 h 584714"/>
                <a:gd name="connsiteX5" fmla="*/ 0 w 61247"/>
                <a:gd name="connsiteY5" fmla="*/ 0 h 584714"/>
                <a:gd name="connsiteX6" fmla="*/ 1016 w 61247"/>
                <a:gd name="connsiteY6" fmla="*/ 5082 h 584714"/>
                <a:gd name="connsiteX7" fmla="*/ 1016 w 61247"/>
                <a:gd name="connsiteY7" fmla="*/ 584715 h 584714"/>
                <a:gd name="connsiteX8" fmla="*/ 1016 w 61247"/>
                <a:gd name="connsiteY8" fmla="*/ 584715 h 584714"/>
                <a:gd name="connsiteX9" fmla="*/ 3177 w 61247"/>
                <a:gd name="connsiteY9" fmla="*/ 583698 h 58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47" h="584714">
                  <a:moveTo>
                    <a:pt x="3177" y="583698"/>
                  </a:moveTo>
                  <a:cubicBezTo>
                    <a:pt x="3850" y="583571"/>
                    <a:pt x="4536" y="583571"/>
                    <a:pt x="5210" y="583698"/>
                  </a:cubicBezTo>
                  <a:lnTo>
                    <a:pt x="60104" y="581919"/>
                  </a:lnTo>
                  <a:lnTo>
                    <a:pt x="61247" y="581919"/>
                  </a:lnTo>
                  <a:lnTo>
                    <a:pt x="61247" y="0"/>
                  </a:lnTo>
                  <a:lnTo>
                    <a:pt x="0" y="0"/>
                  </a:lnTo>
                  <a:cubicBezTo>
                    <a:pt x="648" y="1614"/>
                    <a:pt x="991" y="3342"/>
                    <a:pt x="1016" y="5082"/>
                  </a:cubicBezTo>
                  <a:lnTo>
                    <a:pt x="1016" y="584715"/>
                  </a:lnTo>
                  <a:lnTo>
                    <a:pt x="1016" y="584715"/>
                  </a:lnTo>
                  <a:cubicBezTo>
                    <a:pt x="1665" y="584245"/>
                    <a:pt x="2402" y="583902"/>
                    <a:pt x="3177" y="583698"/>
                  </a:cubicBezTo>
                  <a:close/>
                </a:path>
              </a:pathLst>
            </a:custGeom>
            <a:solidFill>
              <a:schemeClr val="accent6">
                <a:lumMod val="75000"/>
              </a:schemeClr>
            </a:solidFill>
            <a:ln w="1270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E1DC19C7-51A0-4A0C-9F4B-3E68597DF821}"/>
                </a:ext>
              </a:extLst>
            </p:cNvPr>
            <p:cNvSpPr/>
            <p:nvPr/>
          </p:nvSpPr>
          <p:spPr>
            <a:xfrm>
              <a:off x="7970254" y="2683490"/>
              <a:ext cx="16518" cy="3938"/>
            </a:xfrm>
            <a:custGeom>
              <a:avLst/>
              <a:gdLst>
                <a:gd name="connsiteX0" fmla="*/ 0 w 16518"/>
                <a:gd name="connsiteY0" fmla="*/ 0 h 3938"/>
                <a:gd name="connsiteX1" fmla="*/ 15502 w 16518"/>
                <a:gd name="connsiteY1" fmla="*/ 3939 h 3938"/>
                <a:gd name="connsiteX2" fmla="*/ 16519 w 16518"/>
                <a:gd name="connsiteY2" fmla="*/ 0 h 3938"/>
              </a:gdLst>
              <a:ahLst/>
              <a:cxnLst>
                <a:cxn ang="0">
                  <a:pos x="connsiteX0" y="connsiteY0"/>
                </a:cxn>
                <a:cxn ang="0">
                  <a:pos x="connsiteX1" y="connsiteY1"/>
                </a:cxn>
                <a:cxn ang="0">
                  <a:pos x="connsiteX2" y="connsiteY2"/>
                </a:cxn>
              </a:cxnLst>
              <a:rect l="l" t="t" r="r" b="b"/>
              <a:pathLst>
                <a:path w="16518" h="3938">
                  <a:moveTo>
                    <a:pt x="0" y="0"/>
                  </a:moveTo>
                  <a:lnTo>
                    <a:pt x="15502" y="3939"/>
                  </a:lnTo>
                  <a:cubicBezTo>
                    <a:pt x="15642" y="2579"/>
                    <a:pt x="15985" y="1258"/>
                    <a:pt x="16519" y="0"/>
                  </a:cubicBezTo>
                  <a:close/>
                </a:path>
              </a:pathLst>
            </a:custGeom>
            <a:solidFill>
              <a:srgbClr val="088A8F"/>
            </a:solidFill>
            <a:ln w="1270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E504602F-4096-464D-875B-7048826F4FF8}"/>
                </a:ext>
              </a:extLst>
            </p:cNvPr>
            <p:cNvSpPr/>
            <p:nvPr/>
          </p:nvSpPr>
          <p:spPr>
            <a:xfrm>
              <a:off x="2909087" y="5377091"/>
              <a:ext cx="9284947" cy="1016453"/>
            </a:xfrm>
            <a:custGeom>
              <a:avLst/>
              <a:gdLst>
                <a:gd name="connsiteX0" fmla="*/ 2542020 w 9284947"/>
                <a:gd name="connsiteY0" fmla="*/ 982783 h 1016453"/>
                <a:gd name="connsiteX1" fmla="*/ 435847 w 9284947"/>
                <a:gd name="connsiteY1" fmla="*/ 982783 h 1016453"/>
                <a:gd name="connsiteX2" fmla="*/ 425076 w 9284947"/>
                <a:gd name="connsiteY2" fmla="*/ 969544 h 1016453"/>
                <a:gd name="connsiteX3" fmla="*/ 435847 w 9284947"/>
                <a:gd name="connsiteY3" fmla="*/ 958769 h 1016453"/>
                <a:gd name="connsiteX4" fmla="*/ 456560 w 9284947"/>
                <a:gd name="connsiteY4" fmla="*/ 958769 h 1016453"/>
                <a:gd name="connsiteX5" fmla="*/ 2500341 w 9284947"/>
                <a:gd name="connsiteY5" fmla="*/ 4193 h 1016453"/>
                <a:gd name="connsiteX6" fmla="*/ 2280638 w 9284947"/>
                <a:gd name="connsiteY6" fmla="*/ 0 h 1016453"/>
                <a:gd name="connsiteX7" fmla="*/ 2280638 w 9284947"/>
                <a:gd name="connsiteY7" fmla="*/ 2160 h 1016453"/>
                <a:gd name="connsiteX8" fmla="*/ 2279495 w 9284947"/>
                <a:gd name="connsiteY8" fmla="*/ 4066 h 1016453"/>
                <a:gd name="connsiteX9" fmla="*/ 2278224 w 9284947"/>
                <a:gd name="connsiteY9" fmla="*/ 5972 h 1016453"/>
                <a:gd name="connsiteX10" fmla="*/ 2275556 w 9284947"/>
                <a:gd name="connsiteY10" fmla="*/ 7877 h 1016453"/>
                <a:gd name="connsiteX11" fmla="*/ 2274539 w 9284947"/>
                <a:gd name="connsiteY11" fmla="*/ 8640 h 1016453"/>
                <a:gd name="connsiteX12" fmla="*/ 2274539 w 9284947"/>
                <a:gd name="connsiteY12" fmla="*/ 8640 h 1016453"/>
                <a:gd name="connsiteX13" fmla="*/ 0 w 9284947"/>
                <a:gd name="connsiteY13" fmla="*/ 1016453 h 1016453"/>
                <a:gd name="connsiteX14" fmla="*/ 9284947 w 9284947"/>
                <a:gd name="connsiteY14" fmla="*/ 1016453 h 1016453"/>
                <a:gd name="connsiteX15" fmla="*/ 9284947 w 9284947"/>
                <a:gd name="connsiteY15" fmla="*/ 982783 h 1016453"/>
                <a:gd name="connsiteX16" fmla="*/ 2542020 w 9284947"/>
                <a:gd name="connsiteY16" fmla="*/ 982783 h 10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84947" h="1016453">
                  <a:moveTo>
                    <a:pt x="2542020" y="982783"/>
                  </a:moveTo>
                  <a:lnTo>
                    <a:pt x="435847" y="982783"/>
                  </a:lnTo>
                  <a:cubicBezTo>
                    <a:pt x="429216" y="982097"/>
                    <a:pt x="424393" y="976176"/>
                    <a:pt x="425076" y="969544"/>
                  </a:cubicBezTo>
                  <a:cubicBezTo>
                    <a:pt x="425663" y="963852"/>
                    <a:pt x="430159" y="959354"/>
                    <a:pt x="435847" y="958769"/>
                  </a:cubicBezTo>
                  <a:lnTo>
                    <a:pt x="456560" y="958769"/>
                  </a:lnTo>
                  <a:lnTo>
                    <a:pt x="2500341" y="4193"/>
                  </a:lnTo>
                  <a:lnTo>
                    <a:pt x="2280638" y="0"/>
                  </a:lnTo>
                  <a:cubicBezTo>
                    <a:pt x="2280689" y="724"/>
                    <a:pt x="2280689" y="1436"/>
                    <a:pt x="2280638" y="2160"/>
                  </a:cubicBezTo>
                  <a:cubicBezTo>
                    <a:pt x="2280333" y="2833"/>
                    <a:pt x="2279952" y="3481"/>
                    <a:pt x="2279495" y="4066"/>
                  </a:cubicBezTo>
                  <a:cubicBezTo>
                    <a:pt x="2279152" y="4752"/>
                    <a:pt x="2278720" y="5387"/>
                    <a:pt x="2278224" y="5972"/>
                  </a:cubicBezTo>
                  <a:cubicBezTo>
                    <a:pt x="2277449" y="6759"/>
                    <a:pt x="2276547" y="7408"/>
                    <a:pt x="2275556" y="7877"/>
                  </a:cubicBezTo>
                  <a:cubicBezTo>
                    <a:pt x="2275556" y="7877"/>
                    <a:pt x="2274920" y="8513"/>
                    <a:pt x="2274539" y="8640"/>
                  </a:cubicBezTo>
                  <a:lnTo>
                    <a:pt x="2274539" y="8640"/>
                  </a:lnTo>
                  <a:lnTo>
                    <a:pt x="0" y="1016453"/>
                  </a:lnTo>
                  <a:lnTo>
                    <a:pt x="9284947" y="1016453"/>
                  </a:lnTo>
                  <a:lnTo>
                    <a:pt x="9284947" y="982783"/>
                  </a:lnTo>
                  <a:lnTo>
                    <a:pt x="2542020" y="982783"/>
                  </a:lnTo>
                  <a:close/>
                </a:path>
              </a:pathLst>
            </a:custGeom>
            <a:solidFill>
              <a:schemeClr val="accent4"/>
            </a:solidFill>
            <a:ln w="12704"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3CE7DFE-DB01-421B-97AD-AA1A76AFC3FB}"/>
                </a:ext>
              </a:extLst>
            </p:cNvPr>
            <p:cNvSpPr/>
            <p:nvPr/>
          </p:nvSpPr>
          <p:spPr>
            <a:xfrm>
              <a:off x="9801575" y="2245780"/>
              <a:ext cx="1270" cy="476589"/>
            </a:xfrm>
            <a:custGeom>
              <a:avLst/>
              <a:gdLst>
                <a:gd name="connsiteX0" fmla="*/ 1270 w 1270"/>
                <a:gd name="connsiteY0" fmla="*/ 476589 h 476589"/>
                <a:gd name="connsiteX1" fmla="*/ 1270 w 1270"/>
                <a:gd name="connsiteY1" fmla="*/ 0 h 476589"/>
                <a:gd name="connsiteX2" fmla="*/ 0 w 1270"/>
                <a:gd name="connsiteY2" fmla="*/ 0 h 476589"/>
                <a:gd name="connsiteX3" fmla="*/ 0 w 1270"/>
                <a:gd name="connsiteY3" fmla="*/ 476589 h 476589"/>
              </a:gdLst>
              <a:ahLst/>
              <a:cxnLst>
                <a:cxn ang="0">
                  <a:pos x="connsiteX0" y="connsiteY0"/>
                </a:cxn>
                <a:cxn ang="0">
                  <a:pos x="connsiteX1" y="connsiteY1"/>
                </a:cxn>
                <a:cxn ang="0">
                  <a:pos x="connsiteX2" y="connsiteY2"/>
                </a:cxn>
                <a:cxn ang="0">
                  <a:pos x="connsiteX3" y="connsiteY3"/>
                </a:cxn>
              </a:cxnLst>
              <a:rect l="l" t="t" r="r" b="b"/>
              <a:pathLst>
                <a:path w="1270" h="476589">
                  <a:moveTo>
                    <a:pt x="1270" y="476589"/>
                  </a:moveTo>
                  <a:lnTo>
                    <a:pt x="1270" y="0"/>
                  </a:lnTo>
                  <a:cubicBezTo>
                    <a:pt x="852" y="51"/>
                    <a:pt x="420" y="51"/>
                    <a:pt x="0" y="0"/>
                  </a:cubicBezTo>
                  <a:lnTo>
                    <a:pt x="0" y="476589"/>
                  </a:lnTo>
                  <a:close/>
                </a:path>
              </a:pathLst>
            </a:custGeom>
            <a:solidFill>
              <a:srgbClr val="F2494C"/>
            </a:solidFill>
            <a:ln w="12704"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493E1DE5-58CC-4FDF-8755-85728EB6A025}"/>
                </a:ext>
              </a:extLst>
            </p:cNvPr>
            <p:cNvSpPr/>
            <p:nvPr/>
          </p:nvSpPr>
          <p:spPr>
            <a:xfrm>
              <a:off x="9807039" y="2246161"/>
              <a:ext cx="543475" cy="1020010"/>
            </a:xfrm>
            <a:custGeom>
              <a:avLst/>
              <a:gdLst>
                <a:gd name="connsiteX0" fmla="*/ 11437 w 543475"/>
                <a:gd name="connsiteY0" fmla="*/ 476208 h 1020010"/>
                <a:gd name="connsiteX1" fmla="*/ 13089 w 543475"/>
                <a:gd name="connsiteY1" fmla="*/ 476208 h 1020010"/>
                <a:gd name="connsiteX2" fmla="*/ 15503 w 543475"/>
                <a:gd name="connsiteY2" fmla="*/ 476208 h 1020010"/>
                <a:gd name="connsiteX3" fmla="*/ 17536 w 543475"/>
                <a:gd name="connsiteY3" fmla="*/ 477352 h 1020010"/>
                <a:gd name="connsiteX4" fmla="*/ 19315 w 543475"/>
                <a:gd name="connsiteY4" fmla="*/ 478622 h 1020010"/>
                <a:gd name="connsiteX5" fmla="*/ 20967 w 543475"/>
                <a:gd name="connsiteY5" fmla="*/ 480655 h 1020010"/>
                <a:gd name="connsiteX6" fmla="*/ 21984 w 543475"/>
                <a:gd name="connsiteY6" fmla="*/ 481926 h 1020010"/>
                <a:gd name="connsiteX7" fmla="*/ 23635 w 543475"/>
                <a:gd name="connsiteY7" fmla="*/ 485356 h 1020010"/>
                <a:gd name="connsiteX8" fmla="*/ 24271 w 543475"/>
                <a:gd name="connsiteY8" fmla="*/ 487643 h 1020010"/>
                <a:gd name="connsiteX9" fmla="*/ 24271 w 543475"/>
                <a:gd name="connsiteY9" fmla="*/ 489930 h 1020010"/>
                <a:gd name="connsiteX10" fmla="*/ 24271 w 543475"/>
                <a:gd name="connsiteY10" fmla="*/ 1020011 h 1020010"/>
                <a:gd name="connsiteX11" fmla="*/ 543475 w 543475"/>
                <a:gd name="connsiteY11" fmla="*/ 1020011 h 1020010"/>
                <a:gd name="connsiteX12" fmla="*/ 543475 w 543475"/>
                <a:gd name="connsiteY12" fmla="*/ 0 h 1020010"/>
                <a:gd name="connsiteX13" fmla="*/ 0 w 543475"/>
                <a:gd name="connsiteY13" fmla="*/ 0 h 1020010"/>
                <a:gd name="connsiteX14" fmla="*/ 0 w 543475"/>
                <a:gd name="connsiteY14" fmla="*/ 476208 h 102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475" h="1020010">
                  <a:moveTo>
                    <a:pt x="11437" y="476208"/>
                  </a:moveTo>
                  <a:lnTo>
                    <a:pt x="13089" y="476208"/>
                  </a:lnTo>
                  <a:lnTo>
                    <a:pt x="15503" y="476208"/>
                  </a:lnTo>
                  <a:cubicBezTo>
                    <a:pt x="16227" y="476513"/>
                    <a:pt x="16900" y="476894"/>
                    <a:pt x="17536" y="477352"/>
                  </a:cubicBezTo>
                  <a:cubicBezTo>
                    <a:pt x="18184" y="477707"/>
                    <a:pt x="18781" y="478127"/>
                    <a:pt x="19315" y="478622"/>
                  </a:cubicBezTo>
                  <a:cubicBezTo>
                    <a:pt x="19938" y="479245"/>
                    <a:pt x="20484" y="479918"/>
                    <a:pt x="20967" y="480655"/>
                  </a:cubicBezTo>
                  <a:cubicBezTo>
                    <a:pt x="21335" y="481049"/>
                    <a:pt x="21678" y="481481"/>
                    <a:pt x="21984" y="481926"/>
                  </a:cubicBezTo>
                  <a:lnTo>
                    <a:pt x="23635" y="485356"/>
                  </a:lnTo>
                  <a:cubicBezTo>
                    <a:pt x="23991" y="486068"/>
                    <a:pt x="24207" y="486843"/>
                    <a:pt x="24271" y="487643"/>
                  </a:cubicBezTo>
                  <a:cubicBezTo>
                    <a:pt x="24271" y="488406"/>
                    <a:pt x="24271" y="489168"/>
                    <a:pt x="24271" y="489930"/>
                  </a:cubicBezTo>
                  <a:lnTo>
                    <a:pt x="24271" y="1020011"/>
                  </a:lnTo>
                  <a:lnTo>
                    <a:pt x="543475" y="1020011"/>
                  </a:lnTo>
                  <a:lnTo>
                    <a:pt x="543475" y="0"/>
                  </a:lnTo>
                  <a:lnTo>
                    <a:pt x="0" y="0"/>
                  </a:lnTo>
                  <a:lnTo>
                    <a:pt x="0" y="476208"/>
                  </a:lnTo>
                  <a:close/>
                </a:path>
              </a:pathLst>
            </a:custGeom>
            <a:solidFill>
              <a:schemeClr val="tx2"/>
            </a:solidFill>
            <a:ln w="12704"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F3E5FC8-C385-4AFF-AC21-8362775C7D47}"/>
                </a:ext>
              </a:extLst>
            </p:cNvPr>
            <p:cNvSpPr/>
            <p:nvPr/>
          </p:nvSpPr>
          <p:spPr>
            <a:xfrm>
              <a:off x="10354581" y="1942877"/>
              <a:ext cx="293529" cy="223746"/>
            </a:xfrm>
            <a:custGeom>
              <a:avLst/>
              <a:gdLst>
                <a:gd name="connsiteX0" fmla="*/ 127 w 293529"/>
                <a:gd name="connsiteY0" fmla="*/ 223493 h 223746"/>
                <a:gd name="connsiteX1" fmla="*/ 2033 w 293529"/>
                <a:gd name="connsiteY1" fmla="*/ 222857 h 223746"/>
                <a:gd name="connsiteX2" fmla="*/ 4447 w 293529"/>
                <a:gd name="connsiteY2" fmla="*/ 222857 h 223746"/>
                <a:gd name="connsiteX3" fmla="*/ 293530 w 293529"/>
                <a:gd name="connsiteY3" fmla="*/ 222857 h 223746"/>
                <a:gd name="connsiteX4" fmla="*/ 293530 w 293529"/>
                <a:gd name="connsiteY4" fmla="*/ 0 h 223746"/>
                <a:gd name="connsiteX5" fmla="*/ 0 w 293529"/>
                <a:gd name="connsiteY5" fmla="*/ 0 h 223746"/>
                <a:gd name="connsiteX6" fmla="*/ 0 w 293529"/>
                <a:gd name="connsiteY6" fmla="*/ 1779 h 223746"/>
                <a:gd name="connsiteX7" fmla="*/ 0 w 293529"/>
                <a:gd name="connsiteY7" fmla="*/ 223747 h 22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29" h="223746">
                  <a:moveTo>
                    <a:pt x="127" y="223493"/>
                  </a:moveTo>
                  <a:lnTo>
                    <a:pt x="2033" y="222857"/>
                  </a:lnTo>
                  <a:lnTo>
                    <a:pt x="4447" y="222857"/>
                  </a:lnTo>
                  <a:lnTo>
                    <a:pt x="293530" y="222857"/>
                  </a:lnTo>
                  <a:lnTo>
                    <a:pt x="293530" y="0"/>
                  </a:lnTo>
                  <a:lnTo>
                    <a:pt x="0" y="0"/>
                  </a:lnTo>
                  <a:lnTo>
                    <a:pt x="0" y="1779"/>
                  </a:lnTo>
                  <a:lnTo>
                    <a:pt x="0" y="223747"/>
                  </a:lnTo>
                  <a:close/>
                </a:path>
              </a:pathLst>
            </a:custGeom>
            <a:solidFill>
              <a:schemeClr val="accent6">
                <a:lumMod val="75000"/>
              </a:schemeClr>
            </a:solidFill>
            <a:ln w="12704"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B4232831-ACC1-462B-A138-359553D0F30B}"/>
                </a:ext>
              </a:extLst>
            </p:cNvPr>
            <p:cNvSpPr/>
            <p:nvPr/>
          </p:nvSpPr>
          <p:spPr>
            <a:xfrm>
              <a:off x="9467002" y="1907047"/>
              <a:ext cx="255027" cy="815322"/>
            </a:xfrm>
            <a:custGeom>
              <a:avLst/>
              <a:gdLst>
                <a:gd name="connsiteX0" fmla="*/ 8005 w 255027"/>
                <a:gd name="connsiteY0" fmla="*/ 332507 h 815322"/>
                <a:gd name="connsiteX1" fmla="*/ 6735 w 255027"/>
                <a:gd name="connsiteY1" fmla="*/ 334413 h 815322"/>
                <a:gd name="connsiteX2" fmla="*/ 5083 w 255027"/>
                <a:gd name="connsiteY2" fmla="*/ 336065 h 815322"/>
                <a:gd name="connsiteX3" fmla="*/ 4066 w 255027"/>
                <a:gd name="connsiteY3" fmla="*/ 336954 h 815322"/>
                <a:gd name="connsiteX4" fmla="*/ 3050 w 255027"/>
                <a:gd name="connsiteY4" fmla="*/ 336954 h 815322"/>
                <a:gd name="connsiteX5" fmla="*/ 1906 w 255027"/>
                <a:gd name="connsiteY5" fmla="*/ 336954 h 815322"/>
                <a:gd name="connsiteX6" fmla="*/ 0 w 255027"/>
                <a:gd name="connsiteY6" fmla="*/ 337589 h 815322"/>
                <a:gd name="connsiteX7" fmla="*/ 0 w 255027"/>
                <a:gd name="connsiteY7" fmla="*/ 815322 h 815322"/>
                <a:gd name="connsiteX8" fmla="*/ 255028 w 255027"/>
                <a:gd name="connsiteY8" fmla="*/ 815322 h 815322"/>
                <a:gd name="connsiteX9" fmla="*/ 255028 w 255027"/>
                <a:gd name="connsiteY9" fmla="*/ 0 h 815322"/>
                <a:gd name="connsiteX10" fmla="*/ 9657 w 255027"/>
                <a:gd name="connsiteY10" fmla="*/ 0 h 815322"/>
                <a:gd name="connsiteX11" fmla="*/ 9657 w 255027"/>
                <a:gd name="connsiteY11" fmla="*/ 327044 h 815322"/>
                <a:gd name="connsiteX12" fmla="*/ 9657 w 255027"/>
                <a:gd name="connsiteY12" fmla="*/ 328441 h 815322"/>
                <a:gd name="connsiteX13" fmla="*/ 9657 w 255027"/>
                <a:gd name="connsiteY13" fmla="*/ 330855 h 815322"/>
                <a:gd name="connsiteX14" fmla="*/ 8005 w 255027"/>
                <a:gd name="connsiteY14" fmla="*/ 332507 h 8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5027" h="815322">
                  <a:moveTo>
                    <a:pt x="8005" y="332507"/>
                  </a:moveTo>
                  <a:lnTo>
                    <a:pt x="6735" y="334413"/>
                  </a:lnTo>
                  <a:lnTo>
                    <a:pt x="5083" y="336065"/>
                  </a:lnTo>
                  <a:lnTo>
                    <a:pt x="4066" y="336954"/>
                  </a:lnTo>
                  <a:lnTo>
                    <a:pt x="3050" y="336954"/>
                  </a:lnTo>
                  <a:lnTo>
                    <a:pt x="1906" y="336954"/>
                  </a:lnTo>
                  <a:lnTo>
                    <a:pt x="0" y="337589"/>
                  </a:lnTo>
                  <a:lnTo>
                    <a:pt x="0" y="815322"/>
                  </a:lnTo>
                  <a:lnTo>
                    <a:pt x="255028" y="815322"/>
                  </a:lnTo>
                  <a:lnTo>
                    <a:pt x="255028" y="0"/>
                  </a:lnTo>
                  <a:lnTo>
                    <a:pt x="9657" y="0"/>
                  </a:lnTo>
                  <a:lnTo>
                    <a:pt x="9657" y="327044"/>
                  </a:lnTo>
                  <a:cubicBezTo>
                    <a:pt x="9657" y="327044"/>
                    <a:pt x="9657" y="327933"/>
                    <a:pt x="9657" y="328441"/>
                  </a:cubicBezTo>
                  <a:cubicBezTo>
                    <a:pt x="9709" y="329242"/>
                    <a:pt x="9709" y="330055"/>
                    <a:pt x="9657" y="330855"/>
                  </a:cubicBezTo>
                  <a:cubicBezTo>
                    <a:pt x="9149" y="331453"/>
                    <a:pt x="8603" y="331999"/>
                    <a:pt x="8005" y="332507"/>
                  </a:cubicBezTo>
                  <a:close/>
                </a:path>
              </a:pathLst>
            </a:custGeom>
            <a:solidFill>
              <a:schemeClr val="accent5"/>
            </a:solidFill>
            <a:ln w="12704"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559A4AA7-C997-40AB-9D6E-D68F9E8D9FFB}"/>
                </a:ext>
              </a:extLst>
            </p:cNvPr>
            <p:cNvSpPr/>
            <p:nvPr/>
          </p:nvSpPr>
          <p:spPr>
            <a:xfrm>
              <a:off x="8184492" y="1795110"/>
              <a:ext cx="243591" cy="35067"/>
            </a:xfrm>
            <a:custGeom>
              <a:avLst/>
              <a:gdLst>
                <a:gd name="connsiteX0" fmla="*/ 57690 w 243591"/>
                <a:gd name="connsiteY0" fmla="*/ 35068 h 35067"/>
                <a:gd name="connsiteX1" fmla="*/ 243592 w 243591"/>
                <a:gd name="connsiteY1" fmla="*/ 35068 h 35067"/>
                <a:gd name="connsiteX2" fmla="*/ 243592 w 243591"/>
                <a:gd name="connsiteY2" fmla="*/ 0 h 35067"/>
                <a:gd name="connsiteX3" fmla="*/ 0 w 243591"/>
                <a:gd name="connsiteY3" fmla="*/ 0 h 35067"/>
                <a:gd name="connsiteX4" fmla="*/ 46381 w 243591"/>
                <a:gd name="connsiteY4" fmla="*/ 35068 h 35067"/>
                <a:gd name="connsiteX5" fmla="*/ 57690 w 243591"/>
                <a:gd name="connsiteY5" fmla="*/ 35068 h 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91" h="35067">
                  <a:moveTo>
                    <a:pt x="57690" y="35068"/>
                  </a:moveTo>
                  <a:lnTo>
                    <a:pt x="243592" y="35068"/>
                  </a:lnTo>
                  <a:lnTo>
                    <a:pt x="243592" y="0"/>
                  </a:lnTo>
                  <a:lnTo>
                    <a:pt x="0" y="0"/>
                  </a:lnTo>
                  <a:lnTo>
                    <a:pt x="46381" y="35068"/>
                  </a:lnTo>
                  <a:lnTo>
                    <a:pt x="57690" y="35068"/>
                  </a:lnTo>
                  <a:close/>
                </a:path>
              </a:pathLst>
            </a:custGeom>
            <a:solidFill>
              <a:schemeClr val="accent4"/>
            </a:solidFill>
            <a:ln w="12704"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D0424EB-BEC3-4DD4-BC1E-3EB7504FBD06}"/>
                </a:ext>
              </a:extLst>
            </p:cNvPr>
            <p:cNvSpPr/>
            <p:nvPr/>
          </p:nvSpPr>
          <p:spPr>
            <a:xfrm>
              <a:off x="8176741" y="1795110"/>
              <a:ext cx="47142" cy="35067"/>
            </a:xfrm>
            <a:custGeom>
              <a:avLst/>
              <a:gdLst>
                <a:gd name="connsiteX0" fmla="*/ 762 w 47142"/>
                <a:gd name="connsiteY0" fmla="*/ 0 h 35067"/>
                <a:gd name="connsiteX1" fmla="*/ 0 w 47142"/>
                <a:gd name="connsiteY1" fmla="*/ 0 h 35067"/>
                <a:gd name="connsiteX2" fmla="*/ 0 w 47142"/>
                <a:gd name="connsiteY2" fmla="*/ 35068 h 35067"/>
                <a:gd name="connsiteX3" fmla="*/ 47143 w 47142"/>
                <a:gd name="connsiteY3" fmla="*/ 35068 h 35067"/>
                <a:gd name="connsiteX4" fmla="*/ 762 w 47142"/>
                <a:gd name="connsiteY4" fmla="*/ 0 h 3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42" h="35067">
                  <a:moveTo>
                    <a:pt x="762" y="0"/>
                  </a:moveTo>
                  <a:lnTo>
                    <a:pt x="0" y="0"/>
                  </a:lnTo>
                  <a:lnTo>
                    <a:pt x="0" y="35068"/>
                  </a:lnTo>
                  <a:lnTo>
                    <a:pt x="47143" y="35068"/>
                  </a:lnTo>
                  <a:lnTo>
                    <a:pt x="762" y="0"/>
                  </a:lnTo>
                  <a:close/>
                </a:path>
              </a:pathLst>
            </a:custGeom>
            <a:solidFill>
              <a:srgbClr val="E8E7E3"/>
            </a:solidFill>
            <a:ln w="12704"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8C13BDC9-F44C-4D61-B19F-05AA0D0558B3}"/>
                </a:ext>
              </a:extLst>
            </p:cNvPr>
            <p:cNvSpPr/>
            <p:nvPr/>
          </p:nvSpPr>
          <p:spPr>
            <a:xfrm>
              <a:off x="8451592" y="1809340"/>
              <a:ext cx="23634" cy="20837"/>
            </a:xfrm>
            <a:custGeom>
              <a:avLst/>
              <a:gdLst>
                <a:gd name="connsiteX0" fmla="*/ 0 w 23634"/>
                <a:gd name="connsiteY0" fmla="*/ 0 h 20837"/>
                <a:gd name="connsiteX1" fmla="*/ 0 w 23634"/>
                <a:gd name="connsiteY1" fmla="*/ 20837 h 20837"/>
                <a:gd name="connsiteX2" fmla="*/ 23635 w 23634"/>
                <a:gd name="connsiteY2" fmla="*/ 20837 h 20837"/>
                <a:gd name="connsiteX3" fmla="*/ 0 w 23634"/>
                <a:gd name="connsiteY3" fmla="*/ 0 h 20837"/>
              </a:gdLst>
              <a:ahLst/>
              <a:cxnLst>
                <a:cxn ang="0">
                  <a:pos x="connsiteX0" y="connsiteY0"/>
                </a:cxn>
                <a:cxn ang="0">
                  <a:pos x="connsiteX1" y="connsiteY1"/>
                </a:cxn>
                <a:cxn ang="0">
                  <a:pos x="connsiteX2" y="connsiteY2"/>
                </a:cxn>
                <a:cxn ang="0">
                  <a:pos x="connsiteX3" y="connsiteY3"/>
                </a:cxn>
              </a:cxnLst>
              <a:rect l="l" t="t" r="r" b="b"/>
              <a:pathLst>
                <a:path w="23634" h="20837">
                  <a:moveTo>
                    <a:pt x="0" y="0"/>
                  </a:moveTo>
                  <a:lnTo>
                    <a:pt x="0" y="20837"/>
                  </a:lnTo>
                  <a:lnTo>
                    <a:pt x="23635" y="20837"/>
                  </a:lnTo>
                  <a:lnTo>
                    <a:pt x="0" y="0"/>
                  </a:lnTo>
                  <a:close/>
                </a:path>
              </a:pathLst>
            </a:custGeom>
            <a:solidFill>
              <a:srgbClr val="F9AA19"/>
            </a:solidFill>
            <a:ln w="12704"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86BEAE79-46C9-4EFD-833F-DC2626E2D1BF}"/>
                </a:ext>
              </a:extLst>
            </p:cNvPr>
            <p:cNvSpPr/>
            <p:nvPr/>
          </p:nvSpPr>
          <p:spPr>
            <a:xfrm>
              <a:off x="5727609" y="4799873"/>
              <a:ext cx="739542" cy="130487"/>
            </a:xfrm>
            <a:custGeom>
              <a:avLst/>
              <a:gdLst>
                <a:gd name="connsiteX0" fmla="*/ 461388 w 739542"/>
                <a:gd name="connsiteY0" fmla="*/ 129725 h 130487"/>
                <a:gd name="connsiteX1" fmla="*/ 461388 w 739542"/>
                <a:gd name="connsiteY1" fmla="*/ 127311 h 130487"/>
                <a:gd name="connsiteX2" fmla="*/ 462659 w 739542"/>
                <a:gd name="connsiteY2" fmla="*/ 125405 h 130487"/>
                <a:gd name="connsiteX3" fmla="*/ 463930 w 739542"/>
                <a:gd name="connsiteY3" fmla="*/ 123499 h 130487"/>
                <a:gd name="connsiteX4" fmla="*/ 466598 w 739542"/>
                <a:gd name="connsiteY4" fmla="*/ 121593 h 130487"/>
                <a:gd name="connsiteX5" fmla="*/ 467615 w 739542"/>
                <a:gd name="connsiteY5" fmla="*/ 120831 h 130487"/>
                <a:gd name="connsiteX6" fmla="*/ 467615 w 739542"/>
                <a:gd name="connsiteY6" fmla="*/ 120831 h 130487"/>
                <a:gd name="connsiteX7" fmla="*/ 667876 w 739542"/>
                <a:gd name="connsiteY7" fmla="*/ 31891 h 130487"/>
                <a:gd name="connsiteX8" fmla="*/ 739543 w 739542"/>
                <a:gd name="connsiteY8" fmla="*/ 0 h 130487"/>
                <a:gd name="connsiteX9" fmla="*/ 315386 w 739542"/>
                <a:gd name="connsiteY9" fmla="*/ 0 h 130487"/>
                <a:gd name="connsiteX10" fmla="*/ 308270 w 739542"/>
                <a:gd name="connsiteY10" fmla="*/ 9021 h 130487"/>
                <a:gd name="connsiteX11" fmla="*/ 257442 w 739542"/>
                <a:gd name="connsiteY11" fmla="*/ 28842 h 130487"/>
                <a:gd name="connsiteX12" fmla="*/ 0 w 739542"/>
                <a:gd name="connsiteY12" fmla="*/ 130487 h 1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542" h="130487">
                  <a:moveTo>
                    <a:pt x="461388" y="129725"/>
                  </a:moveTo>
                  <a:cubicBezTo>
                    <a:pt x="461388" y="128962"/>
                    <a:pt x="461388" y="128073"/>
                    <a:pt x="461388" y="127311"/>
                  </a:cubicBezTo>
                  <a:cubicBezTo>
                    <a:pt x="461388" y="126548"/>
                    <a:pt x="462278" y="126040"/>
                    <a:pt x="462659" y="125405"/>
                  </a:cubicBezTo>
                  <a:cubicBezTo>
                    <a:pt x="463002" y="124719"/>
                    <a:pt x="463434" y="124083"/>
                    <a:pt x="463930" y="123499"/>
                  </a:cubicBezTo>
                  <a:cubicBezTo>
                    <a:pt x="464705" y="122724"/>
                    <a:pt x="465607" y="122076"/>
                    <a:pt x="466598" y="121593"/>
                  </a:cubicBezTo>
                  <a:lnTo>
                    <a:pt x="467615" y="120831"/>
                  </a:lnTo>
                  <a:lnTo>
                    <a:pt x="467615" y="120831"/>
                  </a:lnTo>
                  <a:lnTo>
                    <a:pt x="667876" y="31891"/>
                  </a:lnTo>
                  <a:lnTo>
                    <a:pt x="739543" y="0"/>
                  </a:lnTo>
                  <a:lnTo>
                    <a:pt x="315386" y="0"/>
                  </a:lnTo>
                  <a:cubicBezTo>
                    <a:pt x="314738" y="4040"/>
                    <a:pt x="312044" y="7446"/>
                    <a:pt x="308270" y="9021"/>
                  </a:cubicBezTo>
                  <a:lnTo>
                    <a:pt x="257442" y="28842"/>
                  </a:lnTo>
                  <a:lnTo>
                    <a:pt x="0" y="130487"/>
                  </a:lnTo>
                  <a:close/>
                </a:path>
              </a:pathLst>
            </a:custGeom>
            <a:solidFill>
              <a:srgbClr val="088A8F"/>
            </a:solidFill>
            <a:ln w="1270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18FB508-A99A-4F83-880E-05E3EADFAB6A}"/>
                </a:ext>
              </a:extLst>
            </p:cNvPr>
            <p:cNvSpPr/>
            <p:nvPr/>
          </p:nvSpPr>
          <p:spPr>
            <a:xfrm>
              <a:off x="5701814" y="4935315"/>
              <a:ext cx="496459" cy="753445"/>
            </a:xfrm>
            <a:custGeom>
              <a:avLst/>
              <a:gdLst>
                <a:gd name="connsiteX0" fmla="*/ 0 w 496459"/>
                <a:gd name="connsiteY0" fmla="*/ 752048 h 753445"/>
                <a:gd name="connsiteX1" fmla="*/ 496459 w 496459"/>
                <a:gd name="connsiteY1" fmla="*/ 752048 h 753445"/>
                <a:gd name="connsiteX2" fmla="*/ 496459 w 496459"/>
                <a:gd name="connsiteY2" fmla="*/ 8131 h 753445"/>
                <a:gd name="connsiteX3" fmla="*/ 494553 w 496459"/>
                <a:gd name="connsiteY3" fmla="*/ 8131 h 753445"/>
                <a:gd name="connsiteX4" fmla="*/ 493410 w 496459"/>
                <a:gd name="connsiteY4" fmla="*/ 8131 h 753445"/>
                <a:gd name="connsiteX5" fmla="*/ 490868 w 496459"/>
                <a:gd name="connsiteY5" fmla="*/ 6353 h 753445"/>
                <a:gd name="connsiteX6" fmla="*/ 490106 w 496459"/>
                <a:gd name="connsiteY6" fmla="*/ 5590 h 753445"/>
                <a:gd name="connsiteX7" fmla="*/ 487819 w 496459"/>
                <a:gd name="connsiteY7" fmla="*/ 2287 h 753445"/>
                <a:gd name="connsiteX8" fmla="*/ 487819 w 496459"/>
                <a:gd name="connsiteY8" fmla="*/ 2287 h 753445"/>
                <a:gd name="connsiteX9" fmla="*/ 487819 w 496459"/>
                <a:gd name="connsiteY9" fmla="*/ 0 h 753445"/>
                <a:gd name="connsiteX10" fmla="*/ 487819 w 496459"/>
                <a:gd name="connsiteY10" fmla="*/ 0 h 753445"/>
                <a:gd name="connsiteX11" fmla="*/ 15502 w 496459"/>
                <a:gd name="connsiteY11" fmla="*/ 0 h 753445"/>
                <a:gd name="connsiteX12" fmla="*/ 0 w 496459"/>
                <a:gd name="connsiteY12" fmla="*/ 6098 h 753445"/>
                <a:gd name="connsiteX13" fmla="*/ 0 w 496459"/>
                <a:gd name="connsiteY13" fmla="*/ 753446 h 75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459" h="753445">
                  <a:moveTo>
                    <a:pt x="0" y="752048"/>
                  </a:moveTo>
                  <a:lnTo>
                    <a:pt x="496459" y="752048"/>
                  </a:lnTo>
                  <a:lnTo>
                    <a:pt x="496459" y="8131"/>
                  </a:lnTo>
                  <a:lnTo>
                    <a:pt x="494553" y="8131"/>
                  </a:lnTo>
                  <a:lnTo>
                    <a:pt x="493410" y="8131"/>
                  </a:lnTo>
                  <a:cubicBezTo>
                    <a:pt x="492482" y="7661"/>
                    <a:pt x="491631" y="7064"/>
                    <a:pt x="490868" y="6353"/>
                  </a:cubicBezTo>
                  <a:lnTo>
                    <a:pt x="490106" y="5590"/>
                  </a:lnTo>
                  <a:cubicBezTo>
                    <a:pt x="489127" y="4650"/>
                    <a:pt x="488352" y="3532"/>
                    <a:pt x="487819" y="2287"/>
                  </a:cubicBezTo>
                  <a:lnTo>
                    <a:pt x="487819" y="2287"/>
                  </a:lnTo>
                  <a:cubicBezTo>
                    <a:pt x="487704" y="1525"/>
                    <a:pt x="487704" y="762"/>
                    <a:pt x="487819" y="0"/>
                  </a:cubicBezTo>
                  <a:lnTo>
                    <a:pt x="487819" y="0"/>
                  </a:lnTo>
                  <a:lnTo>
                    <a:pt x="15502" y="0"/>
                  </a:lnTo>
                  <a:lnTo>
                    <a:pt x="0" y="6098"/>
                  </a:lnTo>
                  <a:lnTo>
                    <a:pt x="0" y="753446"/>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918B8610-599E-47A9-B9B2-0CEB2CF39A3E}"/>
                </a:ext>
              </a:extLst>
            </p:cNvPr>
            <p:cNvSpPr/>
            <p:nvPr/>
          </p:nvSpPr>
          <p:spPr>
            <a:xfrm>
              <a:off x="5479697" y="5679232"/>
              <a:ext cx="1447318" cy="111555"/>
            </a:xfrm>
            <a:custGeom>
              <a:avLst/>
              <a:gdLst>
                <a:gd name="connsiteX0" fmla="*/ 1447318 w 1447318"/>
                <a:gd name="connsiteY0" fmla="*/ 12452 h 111555"/>
                <a:gd name="connsiteX1" fmla="*/ 221736 w 1447318"/>
                <a:gd name="connsiteY1" fmla="*/ 12452 h 111555"/>
                <a:gd name="connsiteX2" fmla="*/ 210427 w 1447318"/>
                <a:gd name="connsiteY2" fmla="*/ 22235 h 111555"/>
                <a:gd name="connsiteX3" fmla="*/ 198609 w 1447318"/>
                <a:gd name="connsiteY3" fmla="*/ 10292 h 111555"/>
                <a:gd name="connsiteX4" fmla="*/ 198609 w 1447318"/>
                <a:gd name="connsiteY4" fmla="*/ 0 h 111555"/>
                <a:gd name="connsiteX5" fmla="*/ 115125 w 1447318"/>
                <a:gd name="connsiteY5" fmla="*/ 46757 h 111555"/>
                <a:gd name="connsiteX6" fmla="*/ 0 w 1447318"/>
                <a:gd name="connsiteY6" fmla="*/ 111556 h 111555"/>
                <a:gd name="connsiteX7" fmla="*/ 1447318 w 1447318"/>
                <a:gd name="connsiteY7" fmla="*/ 111556 h 11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318" h="111555">
                  <a:moveTo>
                    <a:pt x="1447318" y="12452"/>
                  </a:moveTo>
                  <a:lnTo>
                    <a:pt x="221736" y="12452"/>
                  </a:lnTo>
                  <a:cubicBezTo>
                    <a:pt x="220821" y="18017"/>
                    <a:pt x="216056" y="22121"/>
                    <a:pt x="210427" y="22235"/>
                  </a:cubicBezTo>
                  <a:cubicBezTo>
                    <a:pt x="203883" y="22171"/>
                    <a:pt x="198609" y="16835"/>
                    <a:pt x="198609" y="10292"/>
                  </a:cubicBezTo>
                  <a:lnTo>
                    <a:pt x="198609" y="0"/>
                  </a:lnTo>
                  <a:lnTo>
                    <a:pt x="115125" y="46757"/>
                  </a:lnTo>
                  <a:lnTo>
                    <a:pt x="0" y="111556"/>
                  </a:lnTo>
                  <a:lnTo>
                    <a:pt x="1447318" y="111556"/>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ADCE22DB-407A-45A6-8EE5-5A84E404C45E}"/>
                </a:ext>
              </a:extLst>
            </p:cNvPr>
            <p:cNvSpPr/>
            <p:nvPr/>
          </p:nvSpPr>
          <p:spPr>
            <a:xfrm>
              <a:off x="6202467" y="4943700"/>
              <a:ext cx="815784" cy="743662"/>
            </a:xfrm>
            <a:custGeom>
              <a:avLst/>
              <a:gdLst>
                <a:gd name="connsiteX0" fmla="*/ 805110 w 815784"/>
                <a:gd name="connsiteY0" fmla="*/ 12198 h 743662"/>
                <a:gd name="connsiteX1" fmla="*/ 805110 w 815784"/>
                <a:gd name="connsiteY1" fmla="*/ 9784 h 743662"/>
                <a:gd name="connsiteX2" fmla="*/ 806127 w 815784"/>
                <a:gd name="connsiteY2" fmla="*/ 7623 h 743662"/>
                <a:gd name="connsiteX3" fmla="*/ 807271 w 815784"/>
                <a:gd name="connsiteY3" fmla="*/ 5845 h 743662"/>
                <a:gd name="connsiteX4" fmla="*/ 809177 w 815784"/>
                <a:gd name="connsiteY4" fmla="*/ 4193 h 743662"/>
                <a:gd name="connsiteX5" fmla="*/ 810320 w 815784"/>
                <a:gd name="connsiteY5" fmla="*/ 3176 h 743662"/>
                <a:gd name="connsiteX6" fmla="*/ 815784 w 815784"/>
                <a:gd name="connsiteY6" fmla="*/ 0 h 743662"/>
                <a:gd name="connsiteX7" fmla="*/ 0 w 815784"/>
                <a:gd name="connsiteY7" fmla="*/ 0 h 743662"/>
                <a:gd name="connsiteX8" fmla="*/ 0 w 815784"/>
                <a:gd name="connsiteY8" fmla="*/ 743663 h 743662"/>
                <a:gd name="connsiteX9" fmla="*/ 724295 w 815784"/>
                <a:gd name="connsiteY9" fmla="*/ 743663 h 743662"/>
                <a:gd name="connsiteX10" fmla="*/ 724295 w 815784"/>
                <a:gd name="connsiteY10" fmla="*/ 655612 h 743662"/>
                <a:gd name="connsiteX11" fmla="*/ 724295 w 815784"/>
                <a:gd name="connsiteY11" fmla="*/ 654723 h 743662"/>
                <a:gd name="connsiteX12" fmla="*/ 724295 w 815784"/>
                <a:gd name="connsiteY12" fmla="*/ 652309 h 743662"/>
                <a:gd name="connsiteX13" fmla="*/ 725819 w 815784"/>
                <a:gd name="connsiteY13" fmla="*/ 650149 h 743662"/>
                <a:gd name="connsiteX14" fmla="*/ 727090 w 815784"/>
                <a:gd name="connsiteY14" fmla="*/ 648243 h 743662"/>
                <a:gd name="connsiteX15" fmla="*/ 728615 w 815784"/>
                <a:gd name="connsiteY15" fmla="*/ 646464 h 743662"/>
                <a:gd name="connsiteX16" fmla="*/ 728615 w 815784"/>
                <a:gd name="connsiteY16" fmla="*/ 645829 h 743662"/>
                <a:gd name="connsiteX17" fmla="*/ 804856 w 815784"/>
                <a:gd name="connsiteY17" fmla="*/ 588018 h 743662"/>
                <a:gd name="connsiteX18" fmla="*/ 804856 w 815784"/>
                <a:gd name="connsiteY18" fmla="*/ 13722 h 743662"/>
                <a:gd name="connsiteX19" fmla="*/ 805110 w 815784"/>
                <a:gd name="connsiteY19" fmla="*/ 12198 h 743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5784" h="743662">
                  <a:moveTo>
                    <a:pt x="805110" y="12198"/>
                  </a:moveTo>
                  <a:cubicBezTo>
                    <a:pt x="805034" y="11397"/>
                    <a:pt x="805034" y="10584"/>
                    <a:pt x="805110" y="9784"/>
                  </a:cubicBezTo>
                  <a:cubicBezTo>
                    <a:pt x="805403" y="9034"/>
                    <a:pt x="805733" y="8322"/>
                    <a:pt x="806127" y="7623"/>
                  </a:cubicBezTo>
                  <a:cubicBezTo>
                    <a:pt x="806432" y="6988"/>
                    <a:pt x="806813" y="6391"/>
                    <a:pt x="807271" y="5845"/>
                  </a:cubicBezTo>
                  <a:lnTo>
                    <a:pt x="809177" y="4193"/>
                  </a:lnTo>
                  <a:cubicBezTo>
                    <a:pt x="809177" y="4193"/>
                    <a:pt x="809177" y="3431"/>
                    <a:pt x="810320" y="3176"/>
                  </a:cubicBezTo>
                  <a:lnTo>
                    <a:pt x="815784" y="0"/>
                  </a:lnTo>
                  <a:lnTo>
                    <a:pt x="0" y="0"/>
                  </a:lnTo>
                  <a:lnTo>
                    <a:pt x="0" y="743663"/>
                  </a:lnTo>
                  <a:lnTo>
                    <a:pt x="724295" y="743663"/>
                  </a:lnTo>
                  <a:lnTo>
                    <a:pt x="724295" y="655612"/>
                  </a:lnTo>
                  <a:cubicBezTo>
                    <a:pt x="724295" y="655612"/>
                    <a:pt x="724295" y="654977"/>
                    <a:pt x="724295" y="654723"/>
                  </a:cubicBezTo>
                  <a:cubicBezTo>
                    <a:pt x="724193" y="653923"/>
                    <a:pt x="724193" y="653109"/>
                    <a:pt x="724295" y="652309"/>
                  </a:cubicBezTo>
                  <a:cubicBezTo>
                    <a:pt x="724701" y="651521"/>
                    <a:pt x="725209" y="650797"/>
                    <a:pt x="725819" y="650149"/>
                  </a:cubicBezTo>
                  <a:lnTo>
                    <a:pt x="727090" y="648243"/>
                  </a:lnTo>
                  <a:cubicBezTo>
                    <a:pt x="727535" y="647595"/>
                    <a:pt x="728043" y="646998"/>
                    <a:pt x="728615" y="646464"/>
                  </a:cubicBezTo>
                  <a:lnTo>
                    <a:pt x="728615" y="645829"/>
                  </a:lnTo>
                  <a:lnTo>
                    <a:pt x="804856" y="588018"/>
                  </a:lnTo>
                  <a:lnTo>
                    <a:pt x="804856" y="13722"/>
                  </a:lnTo>
                  <a:cubicBezTo>
                    <a:pt x="804869" y="13201"/>
                    <a:pt x="804958" y="12693"/>
                    <a:pt x="805110" y="12198"/>
                  </a:cubicBezTo>
                  <a:close/>
                </a:path>
              </a:pathLst>
            </a:custGeom>
            <a:solidFill>
              <a:schemeClr val="accent2"/>
            </a:solidFill>
            <a:ln w="12704"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801A25C-1F73-4DB6-AC4F-4D23A0EA51B6}"/>
                </a:ext>
              </a:extLst>
            </p:cNvPr>
            <p:cNvSpPr/>
            <p:nvPr/>
          </p:nvSpPr>
          <p:spPr>
            <a:xfrm>
              <a:off x="10944690" y="6212234"/>
              <a:ext cx="701422" cy="123625"/>
            </a:xfrm>
            <a:custGeom>
              <a:avLst/>
              <a:gdLst>
                <a:gd name="connsiteX0" fmla="*/ 2542 w 701422"/>
                <a:gd name="connsiteY0" fmla="*/ 116638 h 123625"/>
                <a:gd name="connsiteX1" fmla="*/ 0 w 701422"/>
                <a:gd name="connsiteY1" fmla="*/ 123626 h 123625"/>
                <a:gd name="connsiteX2" fmla="*/ 701422 w 701422"/>
                <a:gd name="connsiteY2" fmla="*/ 123626 h 123625"/>
                <a:gd name="connsiteX3" fmla="*/ 701422 w 701422"/>
                <a:gd name="connsiteY3" fmla="*/ 1016 h 123625"/>
                <a:gd name="connsiteX4" fmla="*/ 701422 w 701422"/>
                <a:gd name="connsiteY4" fmla="*/ 0 h 123625"/>
                <a:gd name="connsiteX5" fmla="*/ 2542 w 701422"/>
                <a:gd name="connsiteY5" fmla="*/ 0 h 12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1422" h="123625">
                  <a:moveTo>
                    <a:pt x="2542" y="116638"/>
                  </a:moveTo>
                  <a:cubicBezTo>
                    <a:pt x="2490" y="119192"/>
                    <a:pt x="1601" y="121644"/>
                    <a:pt x="0" y="123626"/>
                  </a:cubicBezTo>
                  <a:lnTo>
                    <a:pt x="701422" y="123626"/>
                  </a:lnTo>
                  <a:lnTo>
                    <a:pt x="701422" y="1016"/>
                  </a:lnTo>
                  <a:lnTo>
                    <a:pt x="701422" y="0"/>
                  </a:lnTo>
                  <a:lnTo>
                    <a:pt x="2542" y="0"/>
                  </a:lnTo>
                  <a:close/>
                </a:path>
              </a:pathLst>
            </a:custGeom>
            <a:solidFill>
              <a:schemeClr val="accent6">
                <a:lumMod val="75000"/>
              </a:schemeClr>
            </a:solidFill>
            <a:ln w="12704"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110D18BB-DFB4-4E00-8758-504E7233133F}"/>
                </a:ext>
              </a:extLst>
            </p:cNvPr>
            <p:cNvSpPr/>
            <p:nvPr/>
          </p:nvSpPr>
          <p:spPr>
            <a:xfrm>
              <a:off x="5462797" y="5601346"/>
              <a:ext cx="3048771" cy="734514"/>
            </a:xfrm>
            <a:custGeom>
              <a:avLst/>
              <a:gdLst>
                <a:gd name="connsiteX0" fmla="*/ 2978884 w 3048771"/>
                <a:gd name="connsiteY0" fmla="*/ 376469 h 734514"/>
                <a:gd name="connsiteX1" fmla="*/ 2978884 w 3048771"/>
                <a:gd name="connsiteY1" fmla="*/ 375707 h 734514"/>
                <a:gd name="connsiteX2" fmla="*/ 2978884 w 3048771"/>
                <a:gd name="connsiteY2" fmla="*/ 373292 h 734514"/>
                <a:gd name="connsiteX3" fmla="*/ 2979646 w 3048771"/>
                <a:gd name="connsiteY3" fmla="*/ 371006 h 734514"/>
                <a:gd name="connsiteX4" fmla="*/ 2979646 w 3048771"/>
                <a:gd name="connsiteY4" fmla="*/ 370243 h 734514"/>
                <a:gd name="connsiteX5" fmla="*/ 3040766 w 3048771"/>
                <a:gd name="connsiteY5" fmla="*/ 264913 h 734514"/>
                <a:gd name="connsiteX6" fmla="*/ 3048772 w 3048771"/>
                <a:gd name="connsiteY6" fmla="*/ 259450 h 734514"/>
                <a:gd name="connsiteX7" fmla="*/ 3048772 w 3048771"/>
                <a:gd name="connsiteY7" fmla="*/ 0 h 734514"/>
                <a:gd name="connsiteX8" fmla="*/ 1492682 w 3048771"/>
                <a:gd name="connsiteY8" fmla="*/ 0 h 734514"/>
                <a:gd name="connsiteX9" fmla="*/ 1487599 w 3048771"/>
                <a:gd name="connsiteY9" fmla="*/ 3939 h 734514"/>
                <a:gd name="connsiteX10" fmla="*/ 1487599 w 3048771"/>
                <a:gd name="connsiteY10" fmla="*/ 191474 h 734514"/>
                <a:gd name="connsiteX11" fmla="*/ 1476036 w 3048771"/>
                <a:gd name="connsiteY11" fmla="*/ 203545 h 734514"/>
                <a:gd name="connsiteX12" fmla="*/ 1475909 w 3048771"/>
                <a:gd name="connsiteY12" fmla="*/ 203545 h 734514"/>
                <a:gd name="connsiteX13" fmla="*/ 1464600 w 3048771"/>
                <a:gd name="connsiteY13" fmla="*/ 193634 h 734514"/>
                <a:gd name="connsiteX14" fmla="*/ 8895 w 3048771"/>
                <a:gd name="connsiteY14" fmla="*/ 193634 h 734514"/>
                <a:gd name="connsiteX15" fmla="*/ 0 w 3048771"/>
                <a:gd name="connsiteY15" fmla="*/ 198590 h 734514"/>
                <a:gd name="connsiteX16" fmla="*/ 0 w 3048771"/>
                <a:gd name="connsiteY16" fmla="*/ 734514 h 734514"/>
                <a:gd name="connsiteX17" fmla="*/ 2981298 w 3048771"/>
                <a:gd name="connsiteY17" fmla="*/ 734514 h 734514"/>
                <a:gd name="connsiteX18" fmla="*/ 2978884 w 3048771"/>
                <a:gd name="connsiteY18" fmla="*/ 727526 h 73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771" h="734514">
                  <a:moveTo>
                    <a:pt x="2978884" y="376469"/>
                  </a:moveTo>
                  <a:cubicBezTo>
                    <a:pt x="2978884" y="376469"/>
                    <a:pt x="2978884" y="376469"/>
                    <a:pt x="2978884" y="375707"/>
                  </a:cubicBezTo>
                  <a:cubicBezTo>
                    <a:pt x="2978807" y="374906"/>
                    <a:pt x="2978807" y="374093"/>
                    <a:pt x="2978884" y="373292"/>
                  </a:cubicBezTo>
                  <a:cubicBezTo>
                    <a:pt x="2979074" y="372517"/>
                    <a:pt x="2979341" y="371742"/>
                    <a:pt x="2979646" y="371006"/>
                  </a:cubicBezTo>
                  <a:cubicBezTo>
                    <a:pt x="2979646" y="371006"/>
                    <a:pt x="2979646" y="371006"/>
                    <a:pt x="2979646" y="370243"/>
                  </a:cubicBezTo>
                  <a:lnTo>
                    <a:pt x="3040766" y="264913"/>
                  </a:lnTo>
                  <a:cubicBezTo>
                    <a:pt x="3042494" y="261991"/>
                    <a:pt x="3045430" y="259996"/>
                    <a:pt x="3048772" y="259450"/>
                  </a:cubicBezTo>
                  <a:lnTo>
                    <a:pt x="3048772" y="0"/>
                  </a:lnTo>
                  <a:lnTo>
                    <a:pt x="1492682" y="0"/>
                  </a:lnTo>
                  <a:lnTo>
                    <a:pt x="1487599" y="3939"/>
                  </a:lnTo>
                  <a:lnTo>
                    <a:pt x="1487599" y="191474"/>
                  </a:lnTo>
                  <a:cubicBezTo>
                    <a:pt x="1487739" y="198005"/>
                    <a:pt x="1482567" y="203405"/>
                    <a:pt x="1476036" y="203545"/>
                  </a:cubicBezTo>
                  <a:cubicBezTo>
                    <a:pt x="1475998" y="203545"/>
                    <a:pt x="1475947" y="203545"/>
                    <a:pt x="1475909" y="203545"/>
                  </a:cubicBezTo>
                  <a:cubicBezTo>
                    <a:pt x="1470229" y="203431"/>
                    <a:pt x="1465464" y="199250"/>
                    <a:pt x="1464600" y="193634"/>
                  </a:cubicBezTo>
                  <a:lnTo>
                    <a:pt x="8895" y="193634"/>
                  </a:lnTo>
                  <a:lnTo>
                    <a:pt x="0" y="198590"/>
                  </a:lnTo>
                  <a:lnTo>
                    <a:pt x="0" y="734514"/>
                  </a:lnTo>
                  <a:lnTo>
                    <a:pt x="2981298" y="734514"/>
                  </a:lnTo>
                  <a:cubicBezTo>
                    <a:pt x="2979824" y="732481"/>
                    <a:pt x="2978973" y="730042"/>
                    <a:pt x="2978884" y="727526"/>
                  </a:cubicBezTo>
                  <a:close/>
                </a:path>
              </a:pathLst>
            </a:custGeom>
            <a:solidFill>
              <a:schemeClr val="accent5"/>
            </a:solidFill>
            <a:ln w="1270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EDAE1CAA-F004-4D0D-ACB9-72ACFBB1A392}"/>
                </a:ext>
              </a:extLst>
            </p:cNvPr>
            <p:cNvSpPr/>
            <p:nvPr/>
          </p:nvSpPr>
          <p:spPr>
            <a:xfrm>
              <a:off x="4404183" y="5687998"/>
              <a:ext cx="1173357" cy="647734"/>
            </a:xfrm>
            <a:custGeom>
              <a:avLst/>
              <a:gdLst>
                <a:gd name="connsiteX0" fmla="*/ 1035487 w 1173357"/>
                <a:gd name="connsiteY0" fmla="*/ 103297 h 647734"/>
                <a:gd name="connsiteX1" fmla="*/ 1035487 w 1173357"/>
                <a:gd name="connsiteY1" fmla="*/ 100883 h 647734"/>
                <a:gd name="connsiteX2" fmla="*/ 1036503 w 1173357"/>
                <a:gd name="connsiteY2" fmla="*/ 98850 h 647734"/>
                <a:gd name="connsiteX3" fmla="*/ 1037647 w 1173357"/>
                <a:gd name="connsiteY3" fmla="*/ 96944 h 647734"/>
                <a:gd name="connsiteX4" fmla="*/ 1039553 w 1173357"/>
                <a:gd name="connsiteY4" fmla="*/ 95292 h 647734"/>
                <a:gd name="connsiteX5" fmla="*/ 1040697 w 1173357"/>
                <a:gd name="connsiteY5" fmla="*/ 94276 h 647734"/>
                <a:gd name="connsiteX6" fmla="*/ 1173357 w 1173357"/>
                <a:gd name="connsiteY6" fmla="*/ 20202 h 647734"/>
                <a:gd name="connsiteX7" fmla="*/ 1173357 w 1173357"/>
                <a:gd name="connsiteY7" fmla="*/ 0 h 647734"/>
                <a:gd name="connsiteX8" fmla="*/ 1015283 w 1173357"/>
                <a:gd name="connsiteY8" fmla="*/ 87288 h 647734"/>
                <a:gd name="connsiteX9" fmla="*/ 0 w 1173357"/>
                <a:gd name="connsiteY9" fmla="*/ 647735 h 647734"/>
                <a:gd name="connsiteX10" fmla="*/ 1035106 w 1173357"/>
                <a:gd name="connsiteY10" fmla="*/ 647735 h 647734"/>
                <a:gd name="connsiteX11" fmla="*/ 1035106 w 1173357"/>
                <a:gd name="connsiteY11" fmla="*/ 104822 h 647734"/>
                <a:gd name="connsiteX12" fmla="*/ 1035487 w 1173357"/>
                <a:gd name="connsiteY12" fmla="*/ 103297 h 64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3357" h="647734">
                  <a:moveTo>
                    <a:pt x="1035487" y="103297"/>
                  </a:moveTo>
                  <a:cubicBezTo>
                    <a:pt x="1035360" y="102496"/>
                    <a:pt x="1035360" y="101683"/>
                    <a:pt x="1035487" y="100883"/>
                  </a:cubicBezTo>
                  <a:cubicBezTo>
                    <a:pt x="1035754" y="100171"/>
                    <a:pt x="1036084" y="99485"/>
                    <a:pt x="1036503" y="98850"/>
                  </a:cubicBezTo>
                  <a:cubicBezTo>
                    <a:pt x="1036834" y="98189"/>
                    <a:pt x="1037215" y="97554"/>
                    <a:pt x="1037647" y="96944"/>
                  </a:cubicBezTo>
                  <a:lnTo>
                    <a:pt x="1039553" y="95292"/>
                  </a:lnTo>
                  <a:lnTo>
                    <a:pt x="1040697" y="94276"/>
                  </a:lnTo>
                  <a:lnTo>
                    <a:pt x="1173357" y="20202"/>
                  </a:lnTo>
                  <a:lnTo>
                    <a:pt x="1173357" y="0"/>
                  </a:lnTo>
                  <a:lnTo>
                    <a:pt x="1015283" y="87288"/>
                  </a:lnTo>
                  <a:lnTo>
                    <a:pt x="0" y="647735"/>
                  </a:lnTo>
                  <a:lnTo>
                    <a:pt x="1035106" y="647735"/>
                  </a:lnTo>
                  <a:lnTo>
                    <a:pt x="1035106" y="104822"/>
                  </a:lnTo>
                  <a:cubicBezTo>
                    <a:pt x="1035169" y="104301"/>
                    <a:pt x="1035296" y="103793"/>
                    <a:pt x="1035487" y="103297"/>
                  </a:cubicBezTo>
                  <a:close/>
                </a:path>
              </a:pathLst>
            </a:custGeom>
            <a:solidFill>
              <a:schemeClr val="accent3"/>
            </a:solidFill>
            <a:ln w="1270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7069A4F-8E59-49D4-880B-0F50BDD0FA38}"/>
                </a:ext>
              </a:extLst>
            </p:cNvPr>
            <p:cNvSpPr/>
            <p:nvPr/>
          </p:nvSpPr>
          <p:spPr>
            <a:xfrm>
              <a:off x="11619809" y="6113765"/>
              <a:ext cx="574225" cy="221078"/>
            </a:xfrm>
            <a:custGeom>
              <a:avLst/>
              <a:gdLst>
                <a:gd name="connsiteX0" fmla="*/ 48159 w 574225"/>
                <a:gd name="connsiteY0" fmla="*/ 90591 h 221078"/>
                <a:gd name="connsiteX1" fmla="*/ 48159 w 574225"/>
                <a:gd name="connsiteY1" fmla="*/ 90591 h 221078"/>
                <a:gd name="connsiteX2" fmla="*/ 48794 w 574225"/>
                <a:gd name="connsiteY2" fmla="*/ 93005 h 221078"/>
                <a:gd name="connsiteX3" fmla="*/ 48794 w 574225"/>
                <a:gd name="connsiteY3" fmla="*/ 95292 h 221078"/>
                <a:gd name="connsiteX4" fmla="*/ 48794 w 574225"/>
                <a:gd name="connsiteY4" fmla="*/ 95292 h 221078"/>
                <a:gd name="connsiteX5" fmla="*/ 48794 w 574225"/>
                <a:gd name="connsiteY5" fmla="*/ 221078 h 221078"/>
                <a:gd name="connsiteX6" fmla="*/ 574226 w 574225"/>
                <a:gd name="connsiteY6" fmla="*/ 221078 h 221078"/>
                <a:gd name="connsiteX7" fmla="*/ 574226 w 574225"/>
                <a:gd name="connsiteY7" fmla="*/ 0 h 221078"/>
                <a:gd name="connsiteX8" fmla="*/ 0 w 574225"/>
                <a:gd name="connsiteY8" fmla="*/ 0 h 221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225" h="221078">
                  <a:moveTo>
                    <a:pt x="48159" y="90591"/>
                  </a:moveTo>
                  <a:lnTo>
                    <a:pt x="48159" y="90591"/>
                  </a:lnTo>
                  <a:cubicBezTo>
                    <a:pt x="48451" y="91379"/>
                    <a:pt x="48655" y="92179"/>
                    <a:pt x="48794" y="93005"/>
                  </a:cubicBezTo>
                  <a:cubicBezTo>
                    <a:pt x="48909" y="93767"/>
                    <a:pt x="48909" y="94530"/>
                    <a:pt x="48794" y="95292"/>
                  </a:cubicBezTo>
                  <a:cubicBezTo>
                    <a:pt x="48794" y="95292"/>
                    <a:pt x="48794" y="95292"/>
                    <a:pt x="48794" y="95292"/>
                  </a:cubicBezTo>
                  <a:lnTo>
                    <a:pt x="48794" y="221078"/>
                  </a:lnTo>
                  <a:lnTo>
                    <a:pt x="574226" y="221078"/>
                  </a:lnTo>
                  <a:lnTo>
                    <a:pt x="574226" y="0"/>
                  </a:lnTo>
                  <a:lnTo>
                    <a:pt x="0" y="0"/>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5115174-4595-4E26-A998-D185E2FB574F}"/>
                </a:ext>
              </a:extLst>
            </p:cNvPr>
            <p:cNvSpPr/>
            <p:nvPr/>
          </p:nvSpPr>
          <p:spPr>
            <a:xfrm>
              <a:off x="11612311" y="6102076"/>
              <a:ext cx="581723" cy="7369"/>
            </a:xfrm>
            <a:custGeom>
              <a:avLst/>
              <a:gdLst>
                <a:gd name="connsiteX0" fmla="*/ 3177 w 581723"/>
                <a:gd name="connsiteY0" fmla="*/ 3812 h 7369"/>
                <a:gd name="connsiteX1" fmla="*/ 5210 w 581723"/>
                <a:gd name="connsiteY1" fmla="*/ 7369 h 7369"/>
                <a:gd name="connsiteX2" fmla="*/ 581723 w 581723"/>
                <a:gd name="connsiteY2" fmla="*/ 7369 h 7369"/>
                <a:gd name="connsiteX3" fmla="*/ 581723 w 581723"/>
                <a:gd name="connsiteY3" fmla="*/ 0 h 7369"/>
                <a:gd name="connsiteX4" fmla="*/ 0 w 581723"/>
                <a:gd name="connsiteY4" fmla="*/ 0 h 7369"/>
                <a:gd name="connsiteX5" fmla="*/ 3177 w 581723"/>
                <a:gd name="connsiteY5" fmla="*/ 3812 h 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723" h="7369">
                  <a:moveTo>
                    <a:pt x="3177" y="3812"/>
                  </a:moveTo>
                  <a:lnTo>
                    <a:pt x="5210" y="7369"/>
                  </a:lnTo>
                  <a:lnTo>
                    <a:pt x="581723" y="7369"/>
                  </a:lnTo>
                  <a:lnTo>
                    <a:pt x="581723" y="0"/>
                  </a:lnTo>
                  <a:lnTo>
                    <a:pt x="0" y="0"/>
                  </a:lnTo>
                  <a:cubicBezTo>
                    <a:pt x="1322" y="1029"/>
                    <a:pt x="2402" y="2325"/>
                    <a:pt x="3177" y="3812"/>
                  </a:cubicBezTo>
                  <a:close/>
                </a:path>
              </a:pathLst>
            </a:custGeom>
            <a:solidFill>
              <a:srgbClr val="F4F5F3"/>
            </a:solidFill>
            <a:ln w="1270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E300177D-D70C-4D48-8238-39EFB9365705}"/>
                </a:ext>
              </a:extLst>
            </p:cNvPr>
            <p:cNvSpPr/>
            <p:nvPr/>
          </p:nvSpPr>
          <p:spPr>
            <a:xfrm>
              <a:off x="11387526" y="4862130"/>
              <a:ext cx="191493" cy="1225461"/>
            </a:xfrm>
            <a:custGeom>
              <a:avLst/>
              <a:gdLst>
                <a:gd name="connsiteX0" fmla="*/ 26303 w 191493"/>
                <a:gd name="connsiteY0" fmla="*/ 1109840 h 1225461"/>
                <a:gd name="connsiteX1" fmla="*/ 24271 w 191493"/>
                <a:gd name="connsiteY1" fmla="*/ 1107807 h 1225461"/>
                <a:gd name="connsiteX2" fmla="*/ 24271 w 191493"/>
                <a:gd name="connsiteY2" fmla="*/ 1107680 h 1225461"/>
                <a:gd name="connsiteX3" fmla="*/ 24271 w 191493"/>
                <a:gd name="connsiteY3" fmla="*/ 1103487 h 1225461"/>
                <a:gd name="connsiteX4" fmla="*/ 4829 w 191493"/>
                <a:gd name="connsiteY4" fmla="*/ 1064227 h 1225461"/>
                <a:gd name="connsiteX5" fmla="*/ 4829 w 191493"/>
                <a:gd name="connsiteY5" fmla="*/ 1139698 h 1225461"/>
                <a:gd name="connsiteX6" fmla="*/ 0 w 191493"/>
                <a:gd name="connsiteY6" fmla="*/ 1149227 h 1225461"/>
                <a:gd name="connsiteX7" fmla="*/ 36342 w 191493"/>
                <a:gd name="connsiteY7" fmla="*/ 1225461 h 1225461"/>
                <a:gd name="connsiteX8" fmla="*/ 191493 w 191493"/>
                <a:gd name="connsiteY8" fmla="*/ 1225461 h 1225461"/>
                <a:gd name="connsiteX9" fmla="*/ 131517 w 191493"/>
                <a:gd name="connsiteY9" fmla="*/ 1113143 h 1225461"/>
                <a:gd name="connsiteX10" fmla="*/ 131517 w 191493"/>
                <a:gd name="connsiteY10" fmla="*/ 1112508 h 1225461"/>
                <a:gd name="connsiteX11" fmla="*/ 131517 w 191493"/>
                <a:gd name="connsiteY11" fmla="*/ 1110221 h 1225461"/>
                <a:gd name="connsiteX12" fmla="*/ 131517 w 191493"/>
                <a:gd name="connsiteY12" fmla="*/ 1107934 h 1225461"/>
                <a:gd name="connsiteX13" fmla="*/ 131517 w 191493"/>
                <a:gd name="connsiteY13" fmla="*/ 1107299 h 1225461"/>
                <a:gd name="connsiteX14" fmla="*/ 131517 w 191493"/>
                <a:gd name="connsiteY14" fmla="*/ 0 h 1225461"/>
                <a:gd name="connsiteX15" fmla="*/ 29862 w 191493"/>
                <a:gd name="connsiteY15" fmla="*/ 0 h 1225461"/>
                <a:gd name="connsiteX16" fmla="*/ 29862 w 191493"/>
                <a:gd name="connsiteY16" fmla="*/ 1107680 h 1225461"/>
                <a:gd name="connsiteX17" fmla="*/ 28362 w 191493"/>
                <a:gd name="connsiteY17" fmla="*/ 1110348 h 1225461"/>
                <a:gd name="connsiteX18" fmla="*/ 26303 w 191493"/>
                <a:gd name="connsiteY18" fmla="*/ 1109840 h 122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493" h="1225461">
                  <a:moveTo>
                    <a:pt x="26303" y="1109840"/>
                  </a:moveTo>
                  <a:cubicBezTo>
                    <a:pt x="25185" y="1109840"/>
                    <a:pt x="24271" y="1108938"/>
                    <a:pt x="24271" y="1107807"/>
                  </a:cubicBezTo>
                  <a:cubicBezTo>
                    <a:pt x="24271" y="1107769"/>
                    <a:pt x="24271" y="1107718"/>
                    <a:pt x="24271" y="1107680"/>
                  </a:cubicBezTo>
                  <a:lnTo>
                    <a:pt x="24271" y="1103487"/>
                  </a:lnTo>
                  <a:lnTo>
                    <a:pt x="4829" y="1064227"/>
                  </a:lnTo>
                  <a:lnTo>
                    <a:pt x="4829" y="1139698"/>
                  </a:lnTo>
                  <a:cubicBezTo>
                    <a:pt x="4829" y="1143459"/>
                    <a:pt x="3037" y="1147004"/>
                    <a:pt x="0" y="1149227"/>
                  </a:cubicBezTo>
                  <a:lnTo>
                    <a:pt x="36342" y="1225461"/>
                  </a:lnTo>
                  <a:lnTo>
                    <a:pt x="191493" y="1225461"/>
                  </a:lnTo>
                  <a:lnTo>
                    <a:pt x="131517" y="1113143"/>
                  </a:lnTo>
                  <a:lnTo>
                    <a:pt x="131517" y="1112508"/>
                  </a:lnTo>
                  <a:cubicBezTo>
                    <a:pt x="131454" y="1111746"/>
                    <a:pt x="131454" y="1110983"/>
                    <a:pt x="131517" y="1110221"/>
                  </a:cubicBezTo>
                  <a:cubicBezTo>
                    <a:pt x="131402" y="1109459"/>
                    <a:pt x="131402" y="1108696"/>
                    <a:pt x="131517" y="1107934"/>
                  </a:cubicBezTo>
                  <a:cubicBezTo>
                    <a:pt x="131517" y="1107934"/>
                    <a:pt x="131517" y="1107934"/>
                    <a:pt x="131517" y="1107299"/>
                  </a:cubicBezTo>
                  <a:lnTo>
                    <a:pt x="131517" y="0"/>
                  </a:lnTo>
                  <a:lnTo>
                    <a:pt x="29862" y="0"/>
                  </a:lnTo>
                  <a:lnTo>
                    <a:pt x="29862" y="1107680"/>
                  </a:lnTo>
                  <a:cubicBezTo>
                    <a:pt x="30179" y="1108823"/>
                    <a:pt x="29518" y="1110017"/>
                    <a:pt x="28362" y="1110348"/>
                  </a:cubicBezTo>
                  <a:cubicBezTo>
                    <a:pt x="27637" y="1110551"/>
                    <a:pt x="26863" y="1110361"/>
                    <a:pt x="26303" y="1109840"/>
                  </a:cubicBezTo>
                  <a:close/>
                </a:path>
              </a:pathLst>
            </a:custGeom>
            <a:solidFill>
              <a:schemeClr val="bg1">
                <a:lumMod val="95000"/>
              </a:schemeClr>
            </a:solidFill>
            <a:ln w="1270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12A1DBB-65D0-474F-B22B-35AA3048A473}"/>
                </a:ext>
              </a:extLst>
            </p:cNvPr>
            <p:cNvSpPr/>
            <p:nvPr/>
          </p:nvSpPr>
          <p:spPr>
            <a:xfrm>
              <a:off x="11541280" y="4862003"/>
              <a:ext cx="652754" cy="1216059"/>
            </a:xfrm>
            <a:custGeom>
              <a:avLst/>
              <a:gdLst>
                <a:gd name="connsiteX0" fmla="*/ 0 w 652754"/>
                <a:gd name="connsiteY0" fmla="*/ 1104758 h 1216059"/>
                <a:gd name="connsiteX1" fmla="*/ 59468 w 652754"/>
                <a:gd name="connsiteY1" fmla="*/ 1216059 h 1216059"/>
                <a:gd name="connsiteX2" fmla="*/ 652754 w 652754"/>
                <a:gd name="connsiteY2" fmla="*/ 1216059 h 1216059"/>
                <a:gd name="connsiteX3" fmla="*/ 652754 w 652754"/>
                <a:gd name="connsiteY3" fmla="*/ 0 h 1216059"/>
                <a:gd name="connsiteX4" fmla="*/ 0 w 652754"/>
                <a:gd name="connsiteY4" fmla="*/ 0 h 1216059"/>
                <a:gd name="connsiteX5" fmla="*/ 0 w 652754"/>
                <a:gd name="connsiteY5" fmla="*/ 1104758 h 121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754" h="1216059">
                  <a:moveTo>
                    <a:pt x="0" y="1104758"/>
                  </a:moveTo>
                  <a:lnTo>
                    <a:pt x="59468" y="1216059"/>
                  </a:lnTo>
                  <a:lnTo>
                    <a:pt x="652754" y="1216059"/>
                  </a:lnTo>
                  <a:lnTo>
                    <a:pt x="652754" y="0"/>
                  </a:lnTo>
                  <a:lnTo>
                    <a:pt x="0" y="0"/>
                  </a:lnTo>
                  <a:lnTo>
                    <a:pt x="0" y="1104758"/>
                  </a:lnTo>
                  <a:close/>
                </a:path>
              </a:pathLst>
            </a:custGeom>
            <a:solidFill>
              <a:schemeClr val="bg1">
                <a:lumMod val="95000"/>
              </a:schemeClr>
            </a:solidFill>
            <a:ln w="1270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7C556FA-B7B1-4DA2-A3E2-590F20260C9C}"/>
                </a:ext>
              </a:extLst>
            </p:cNvPr>
            <p:cNvSpPr/>
            <p:nvPr/>
          </p:nvSpPr>
          <p:spPr>
            <a:xfrm>
              <a:off x="11232248" y="4619071"/>
              <a:ext cx="177896" cy="1346546"/>
            </a:xfrm>
            <a:custGeom>
              <a:avLst/>
              <a:gdLst>
                <a:gd name="connsiteX0" fmla="*/ 157312 w 177896"/>
                <a:gd name="connsiteY0" fmla="*/ 252335 h 1346546"/>
                <a:gd name="connsiteX1" fmla="*/ 157312 w 177896"/>
                <a:gd name="connsiteY1" fmla="*/ 253732 h 1346546"/>
                <a:gd name="connsiteX2" fmla="*/ 158455 w 177896"/>
                <a:gd name="connsiteY2" fmla="*/ 256019 h 1346546"/>
                <a:gd name="connsiteX3" fmla="*/ 158455 w 177896"/>
                <a:gd name="connsiteY3" fmla="*/ 258433 h 1346546"/>
                <a:gd name="connsiteX4" fmla="*/ 158455 w 177896"/>
                <a:gd name="connsiteY4" fmla="*/ 259958 h 1346546"/>
                <a:gd name="connsiteX5" fmla="*/ 158455 w 177896"/>
                <a:gd name="connsiteY5" fmla="*/ 1307286 h 1346546"/>
                <a:gd name="connsiteX6" fmla="*/ 177897 w 177896"/>
                <a:gd name="connsiteY6" fmla="*/ 1346546 h 1346546"/>
                <a:gd name="connsiteX7" fmla="*/ 177897 w 177896"/>
                <a:gd name="connsiteY7" fmla="*/ 212439 h 1346546"/>
                <a:gd name="connsiteX8" fmla="*/ 0 w 177896"/>
                <a:gd name="connsiteY8" fmla="*/ 0 h 1346546"/>
                <a:gd name="connsiteX9" fmla="*/ 0 w 177896"/>
                <a:gd name="connsiteY9" fmla="*/ 56286 h 134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96" h="1346546">
                  <a:moveTo>
                    <a:pt x="157312" y="252335"/>
                  </a:moveTo>
                  <a:cubicBezTo>
                    <a:pt x="157286" y="252805"/>
                    <a:pt x="157286" y="253262"/>
                    <a:pt x="157312" y="253732"/>
                  </a:cubicBezTo>
                  <a:cubicBezTo>
                    <a:pt x="157820" y="254431"/>
                    <a:pt x="158201" y="255193"/>
                    <a:pt x="158455" y="256019"/>
                  </a:cubicBezTo>
                  <a:cubicBezTo>
                    <a:pt x="158531" y="256820"/>
                    <a:pt x="158531" y="257633"/>
                    <a:pt x="158455" y="258433"/>
                  </a:cubicBezTo>
                  <a:cubicBezTo>
                    <a:pt x="158519" y="258942"/>
                    <a:pt x="158519" y="259450"/>
                    <a:pt x="158455" y="259958"/>
                  </a:cubicBezTo>
                  <a:lnTo>
                    <a:pt x="158455" y="1307286"/>
                  </a:lnTo>
                  <a:lnTo>
                    <a:pt x="177897" y="1346546"/>
                  </a:lnTo>
                  <a:lnTo>
                    <a:pt x="177897" y="212439"/>
                  </a:lnTo>
                  <a:lnTo>
                    <a:pt x="0" y="0"/>
                  </a:lnTo>
                  <a:lnTo>
                    <a:pt x="0" y="56286"/>
                  </a:lnTo>
                  <a:close/>
                </a:path>
              </a:pathLst>
            </a:custGeom>
            <a:solidFill>
              <a:srgbClr val="F4F5F3"/>
            </a:solidFill>
            <a:ln w="1270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E9A21DF-B438-4FAA-9E40-F83CE9EC93C3}"/>
                </a:ext>
              </a:extLst>
            </p:cNvPr>
            <p:cNvSpPr/>
            <p:nvPr/>
          </p:nvSpPr>
          <p:spPr>
            <a:xfrm>
              <a:off x="11415736" y="4832399"/>
              <a:ext cx="778298" cy="25411"/>
            </a:xfrm>
            <a:custGeom>
              <a:avLst/>
              <a:gdLst>
                <a:gd name="connsiteX0" fmla="*/ 0 w 778298"/>
                <a:gd name="connsiteY0" fmla="*/ 25411 h 25411"/>
                <a:gd name="connsiteX1" fmla="*/ 102544 w 778298"/>
                <a:gd name="connsiteY1" fmla="*/ 25411 h 25411"/>
                <a:gd name="connsiteX2" fmla="*/ 115557 w 778298"/>
                <a:gd name="connsiteY2" fmla="*/ 15806 h 25411"/>
                <a:gd name="connsiteX3" fmla="*/ 125163 w 778298"/>
                <a:gd name="connsiteY3" fmla="*/ 25411 h 25411"/>
                <a:gd name="connsiteX4" fmla="*/ 778299 w 778298"/>
                <a:gd name="connsiteY4" fmla="*/ 25411 h 25411"/>
                <a:gd name="connsiteX5" fmla="*/ 778299 w 778298"/>
                <a:gd name="connsiteY5" fmla="*/ 0 h 25411"/>
                <a:gd name="connsiteX6" fmla="*/ 0 w 778298"/>
                <a:gd name="connsiteY6" fmla="*/ 0 h 2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298" h="25411">
                  <a:moveTo>
                    <a:pt x="0" y="25411"/>
                  </a:moveTo>
                  <a:lnTo>
                    <a:pt x="102544" y="25411"/>
                  </a:lnTo>
                  <a:cubicBezTo>
                    <a:pt x="103485" y="19160"/>
                    <a:pt x="109305" y="14865"/>
                    <a:pt x="115557" y="15806"/>
                  </a:cubicBezTo>
                  <a:cubicBezTo>
                    <a:pt x="120525" y="16555"/>
                    <a:pt x="124413" y="20443"/>
                    <a:pt x="125163" y="25411"/>
                  </a:cubicBezTo>
                  <a:lnTo>
                    <a:pt x="778299" y="25411"/>
                  </a:lnTo>
                  <a:lnTo>
                    <a:pt x="778299" y="0"/>
                  </a:lnTo>
                  <a:lnTo>
                    <a:pt x="0" y="0"/>
                  </a:lnTo>
                  <a:close/>
                </a:path>
              </a:pathLst>
            </a:custGeom>
            <a:solidFill>
              <a:srgbClr val="F9AA19"/>
            </a:solidFill>
            <a:ln w="1270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076C4638-FA5F-4255-8BFF-5B5A048E4DA2}"/>
                </a:ext>
              </a:extLst>
            </p:cNvPr>
            <p:cNvSpPr/>
            <p:nvPr/>
          </p:nvSpPr>
          <p:spPr>
            <a:xfrm>
              <a:off x="11085229" y="4590102"/>
              <a:ext cx="124654" cy="55142"/>
            </a:xfrm>
            <a:custGeom>
              <a:avLst/>
              <a:gdLst>
                <a:gd name="connsiteX0" fmla="*/ 0 w 124654"/>
                <a:gd name="connsiteY0" fmla="*/ 21091 h 55142"/>
                <a:gd name="connsiteX1" fmla="*/ 72810 w 124654"/>
                <a:gd name="connsiteY1" fmla="*/ 21091 h 55142"/>
                <a:gd name="connsiteX2" fmla="*/ 76877 w 124654"/>
                <a:gd name="connsiteY2" fmla="*/ 13976 h 55142"/>
                <a:gd name="connsiteX3" fmla="*/ 93167 w 124654"/>
                <a:gd name="connsiteY3" fmla="*/ 15463 h 55142"/>
                <a:gd name="connsiteX4" fmla="*/ 93396 w 124654"/>
                <a:gd name="connsiteY4" fmla="*/ 15755 h 55142"/>
                <a:gd name="connsiteX5" fmla="*/ 124655 w 124654"/>
                <a:gd name="connsiteY5" fmla="*/ 55143 h 55142"/>
                <a:gd name="connsiteX6" fmla="*/ 124655 w 124654"/>
                <a:gd name="connsiteY6" fmla="*/ 0 h 55142"/>
                <a:gd name="connsiteX7" fmla="*/ 0 w 124654"/>
                <a:gd name="connsiteY7" fmla="*/ 0 h 5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54" h="55142">
                  <a:moveTo>
                    <a:pt x="0" y="21091"/>
                  </a:moveTo>
                  <a:lnTo>
                    <a:pt x="72810" y="21091"/>
                  </a:lnTo>
                  <a:cubicBezTo>
                    <a:pt x="73280" y="18309"/>
                    <a:pt x="74729" y="15793"/>
                    <a:pt x="76877" y="13976"/>
                  </a:cubicBezTo>
                  <a:cubicBezTo>
                    <a:pt x="81781" y="9885"/>
                    <a:pt x="89076" y="10558"/>
                    <a:pt x="93167" y="15463"/>
                  </a:cubicBezTo>
                  <a:cubicBezTo>
                    <a:pt x="93244" y="15565"/>
                    <a:pt x="93320" y="15653"/>
                    <a:pt x="93396" y="15755"/>
                  </a:cubicBezTo>
                  <a:lnTo>
                    <a:pt x="124655" y="55143"/>
                  </a:lnTo>
                  <a:lnTo>
                    <a:pt x="124655" y="0"/>
                  </a:lnTo>
                  <a:lnTo>
                    <a:pt x="0" y="0"/>
                  </a:lnTo>
                  <a:close/>
                </a:path>
              </a:pathLst>
            </a:custGeom>
            <a:solidFill>
              <a:srgbClr val="E8E7E3"/>
            </a:solidFill>
            <a:ln w="1270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11F1AED-CEED-4F46-8FB6-260E1D0A1EE4}"/>
                </a:ext>
              </a:extLst>
            </p:cNvPr>
            <p:cNvSpPr/>
            <p:nvPr/>
          </p:nvSpPr>
          <p:spPr>
            <a:xfrm>
              <a:off x="11954763" y="4619706"/>
              <a:ext cx="60612" cy="47392"/>
            </a:xfrm>
            <a:custGeom>
              <a:avLst/>
              <a:gdLst>
                <a:gd name="connsiteX0" fmla="*/ 4574 w 60612"/>
                <a:gd name="connsiteY0" fmla="*/ 0 h 47392"/>
                <a:gd name="connsiteX1" fmla="*/ 0 w 60612"/>
                <a:gd name="connsiteY1" fmla="*/ 2668 h 47392"/>
                <a:gd name="connsiteX2" fmla="*/ 3304 w 60612"/>
                <a:gd name="connsiteY2" fmla="*/ 5209 h 47392"/>
                <a:gd name="connsiteX3" fmla="*/ 59468 w 60612"/>
                <a:gd name="connsiteY3" fmla="*/ 47392 h 47392"/>
                <a:gd name="connsiteX4" fmla="*/ 60612 w 60612"/>
                <a:gd name="connsiteY4" fmla="*/ 41421 h 4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12" h="47392">
                  <a:moveTo>
                    <a:pt x="4574" y="0"/>
                  </a:moveTo>
                  <a:cubicBezTo>
                    <a:pt x="3253" y="1195"/>
                    <a:pt x="1690" y="2109"/>
                    <a:pt x="0" y="2668"/>
                  </a:cubicBezTo>
                  <a:lnTo>
                    <a:pt x="3304" y="5209"/>
                  </a:lnTo>
                  <a:lnTo>
                    <a:pt x="59468" y="47392"/>
                  </a:lnTo>
                  <a:cubicBezTo>
                    <a:pt x="59367" y="45334"/>
                    <a:pt x="59748" y="43288"/>
                    <a:pt x="60612" y="41421"/>
                  </a:cubicBezTo>
                  <a:close/>
                </a:path>
              </a:pathLst>
            </a:custGeom>
            <a:solidFill>
              <a:srgbClr val="9FD1D0"/>
            </a:solidFill>
            <a:ln w="12704"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38188F6-F9A2-4EE6-A3EB-0E67B0106C28}"/>
                </a:ext>
              </a:extLst>
            </p:cNvPr>
            <p:cNvSpPr/>
            <p:nvPr/>
          </p:nvSpPr>
          <p:spPr>
            <a:xfrm>
              <a:off x="11961624" y="4596709"/>
              <a:ext cx="83923" cy="67340"/>
            </a:xfrm>
            <a:custGeom>
              <a:avLst/>
              <a:gdLst>
                <a:gd name="connsiteX0" fmla="*/ 44474 w 83923"/>
                <a:gd name="connsiteY0" fmla="*/ 38498 h 67340"/>
                <a:gd name="connsiteX1" fmla="*/ 32784 w 83923"/>
                <a:gd name="connsiteY1" fmla="*/ 26428 h 67340"/>
                <a:gd name="connsiteX2" fmla="*/ 32784 w 83923"/>
                <a:gd name="connsiteY2" fmla="*/ 20584 h 67340"/>
                <a:gd name="connsiteX3" fmla="*/ 4321 w 83923"/>
                <a:gd name="connsiteY3" fmla="*/ 0 h 67340"/>
                <a:gd name="connsiteX4" fmla="*/ 1271 w 83923"/>
                <a:gd name="connsiteY4" fmla="*/ 2160 h 67340"/>
                <a:gd name="connsiteX5" fmla="*/ 1271 w 83923"/>
                <a:gd name="connsiteY5" fmla="*/ 14866 h 67340"/>
                <a:gd name="connsiteX6" fmla="*/ 0 w 83923"/>
                <a:gd name="connsiteY6" fmla="*/ 20075 h 67340"/>
                <a:gd name="connsiteX7" fmla="*/ 56165 w 83923"/>
                <a:gd name="connsiteY7" fmla="*/ 61495 h 67340"/>
                <a:gd name="connsiteX8" fmla="*/ 71032 w 83923"/>
                <a:gd name="connsiteY8" fmla="*/ 60225 h 67340"/>
                <a:gd name="connsiteX9" fmla="*/ 80689 w 83923"/>
                <a:gd name="connsiteY9" fmla="*/ 67340 h 67340"/>
                <a:gd name="connsiteX10" fmla="*/ 80689 w 83923"/>
                <a:gd name="connsiteY10" fmla="*/ 67340 h 67340"/>
                <a:gd name="connsiteX11" fmla="*/ 80689 w 83923"/>
                <a:gd name="connsiteY11" fmla="*/ 67340 h 67340"/>
                <a:gd name="connsiteX12" fmla="*/ 83866 w 83923"/>
                <a:gd name="connsiteY12" fmla="*/ 67340 h 67340"/>
                <a:gd name="connsiteX13" fmla="*/ 83866 w 83923"/>
                <a:gd name="connsiteY13" fmla="*/ 66705 h 67340"/>
                <a:gd name="connsiteX14" fmla="*/ 83866 w 83923"/>
                <a:gd name="connsiteY14" fmla="*/ 64291 h 67340"/>
                <a:gd name="connsiteX15" fmla="*/ 83866 w 83923"/>
                <a:gd name="connsiteY15" fmla="*/ 63274 h 67340"/>
                <a:gd name="connsiteX16" fmla="*/ 83866 w 83923"/>
                <a:gd name="connsiteY16" fmla="*/ 56922 h 67340"/>
                <a:gd name="connsiteX17" fmla="*/ 52861 w 83923"/>
                <a:gd name="connsiteY17" fmla="*/ 34559 h 67340"/>
                <a:gd name="connsiteX18" fmla="*/ 44474 w 83923"/>
                <a:gd name="connsiteY18" fmla="*/ 38498 h 6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3923" h="67340">
                  <a:moveTo>
                    <a:pt x="44474" y="38498"/>
                  </a:moveTo>
                  <a:cubicBezTo>
                    <a:pt x="37930" y="38359"/>
                    <a:pt x="32708" y="32971"/>
                    <a:pt x="32784" y="26428"/>
                  </a:cubicBezTo>
                  <a:lnTo>
                    <a:pt x="32784" y="20584"/>
                  </a:lnTo>
                  <a:lnTo>
                    <a:pt x="4321" y="0"/>
                  </a:lnTo>
                  <a:cubicBezTo>
                    <a:pt x="3419" y="864"/>
                    <a:pt x="2389" y="1588"/>
                    <a:pt x="1271" y="2160"/>
                  </a:cubicBezTo>
                  <a:lnTo>
                    <a:pt x="1271" y="14866"/>
                  </a:lnTo>
                  <a:cubicBezTo>
                    <a:pt x="1220" y="16670"/>
                    <a:pt x="788" y="18449"/>
                    <a:pt x="0" y="20075"/>
                  </a:cubicBezTo>
                  <a:lnTo>
                    <a:pt x="56165" y="61495"/>
                  </a:lnTo>
                  <a:cubicBezTo>
                    <a:pt x="60129" y="57455"/>
                    <a:pt x="66445" y="56909"/>
                    <a:pt x="71032" y="60225"/>
                  </a:cubicBezTo>
                  <a:lnTo>
                    <a:pt x="80689" y="67340"/>
                  </a:lnTo>
                  <a:lnTo>
                    <a:pt x="80689" y="67340"/>
                  </a:lnTo>
                  <a:lnTo>
                    <a:pt x="80689" y="67340"/>
                  </a:lnTo>
                  <a:lnTo>
                    <a:pt x="83866" y="67340"/>
                  </a:lnTo>
                  <a:cubicBezTo>
                    <a:pt x="83942" y="67137"/>
                    <a:pt x="83942" y="66908"/>
                    <a:pt x="83866" y="66705"/>
                  </a:cubicBezTo>
                  <a:cubicBezTo>
                    <a:pt x="83803" y="65904"/>
                    <a:pt x="83803" y="65091"/>
                    <a:pt x="83866" y="64291"/>
                  </a:cubicBezTo>
                  <a:cubicBezTo>
                    <a:pt x="83866" y="64291"/>
                    <a:pt x="83866" y="63656"/>
                    <a:pt x="83866" y="63274"/>
                  </a:cubicBezTo>
                  <a:lnTo>
                    <a:pt x="83866" y="56922"/>
                  </a:lnTo>
                  <a:lnTo>
                    <a:pt x="52861" y="34559"/>
                  </a:lnTo>
                  <a:cubicBezTo>
                    <a:pt x="50714" y="36948"/>
                    <a:pt x="47689" y="38371"/>
                    <a:pt x="44474" y="38498"/>
                  </a:cubicBezTo>
                  <a:close/>
                </a:path>
              </a:pathLst>
            </a:custGeom>
            <a:solidFill>
              <a:srgbClr val="F9AA19"/>
            </a:solidFill>
            <a:ln w="12704"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8FA2343D-0E1F-4B5E-BC6D-D64F15F2A53C}"/>
                </a:ext>
              </a:extLst>
            </p:cNvPr>
            <p:cNvSpPr/>
            <p:nvPr/>
          </p:nvSpPr>
          <p:spPr>
            <a:xfrm>
              <a:off x="11968360" y="4561260"/>
              <a:ext cx="26049" cy="50822"/>
            </a:xfrm>
            <a:custGeom>
              <a:avLst/>
              <a:gdLst>
                <a:gd name="connsiteX0" fmla="*/ 1143 w 26049"/>
                <a:gd name="connsiteY0" fmla="*/ 26936 h 50822"/>
                <a:gd name="connsiteX1" fmla="*/ 0 w 26049"/>
                <a:gd name="connsiteY1" fmla="*/ 31891 h 50822"/>
                <a:gd name="connsiteX2" fmla="*/ 26049 w 26049"/>
                <a:gd name="connsiteY2" fmla="*/ 50823 h 50822"/>
                <a:gd name="connsiteX3" fmla="*/ 26049 w 26049"/>
                <a:gd name="connsiteY3" fmla="*/ 0 h 50822"/>
                <a:gd name="connsiteX4" fmla="*/ 635 w 26049"/>
                <a:gd name="connsiteY4" fmla="*/ 0 h 50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9" h="50822">
                  <a:moveTo>
                    <a:pt x="1143" y="26936"/>
                  </a:moveTo>
                  <a:cubicBezTo>
                    <a:pt x="1105" y="28651"/>
                    <a:pt x="711" y="30328"/>
                    <a:pt x="0" y="31891"/>
                  </a:cubicBezTo>
                  <a:lnTo>
                    <a:pt x="26049" y="50823"/>
                  </a:lnTo>
                  <a:lnTo>
                    <a:pt x="26049" y="0"/>
                  </a:lnTo>
                  <a:lnTo>
                    <a:pt x="635" y="0"/>
                  </a:lnTo>
                  <a:close/>
                </a:path>
              </a:pathLst>
            </a:custGeom>
            <a:solidFill>
              <a:srgbClr val="0A4054"/>
            </a:solidFill>
            <a:ln w="12704"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39DAFAF-B961-46D7-9271-5677E8A42411}"/>
                </a:ext>
              </a:extLst>
            </p:cNvPr>
            <p:cNvSpPr/>
            <p:nvPr/>
          </p:nvSpPr>
          <p:spPr>
            <a:xfrm>
              <a:off x="12067854" y="4633937"/>
              <a:ext cx="125163" cy="26046"/>
            </a:xfrm>
            <a:custGeom>
              <a:avLst/>
              <a:gdLst>
                <a:gd name="connsiteX0" fmla="*/ 1017 w 125163"/>
                <a:gd name="connsiteY0" fmla="*/ 19694 h 26046"/>
                <a:gd name="connsiteX1" fmla="*/ 4575 w 125163"/>
                <a:gd name="connsiteY1" fmla="*/ 22362 h 26046"/>
                <a:gd name="connsiteX2" fmla="*/ 4575 w 125163"/>
                <a:gd name="connsiteY2" fmla="*/ 22362 h 26046"/>
                <a:gd name="connsiteX3" fmla="*/ 6227 w 125163"/>
                <a:gd name="connsiteY3" fmla="*/ 24141 h 26046"/>
                <a:gd name="connsiteX4" fmla="*/ 7370 w 125163"/>
                <a:gd name="connsiteY4" fmla="*/ 26046 h 26046"/>
                <a:gd name="connsiteX5" fmla="*/ 7370 w 125163"/>
                <a:gd name="connsiteY5" fmla="*/ 26046 h 26046"/>
                <a:gd name="connsiteX6" fmla="*/ 125164 w 125163"/>
                <a:gd name="connsiteY6" fmla="*/ 26046 h 26046"/>
                <a:gd name="connsiteX7" fmla="*/ 125164 w 125163"/>
                <a:gd name="connsiteY7" fmla="*/ 0 h 26046"/>
                <a:gd name="connsiteX8" fmla="*/ 0 w 125163"/>
                <a:gd name="connsiteY8" fmla="*/ 0 h 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63" h="26046">
                  <a:moveTo>
                    <a:pt x="1017" y="19694"/>
                  </a:moveTo>
                  <a:lnTo>
                    <a:pt x="4575" y="22362"/>
                  </a:lnTo>
                  <a:lnTo>
                    <a:pt x="4575" y="22362"/>
                  </a:lnTo>
                  <a:cubicBezTo>
                    <a:pt x="5185" y="22896"/>
                    <a:pt x="5744" y="23493"/>
                    <a:pt x="6227" y="24141"/>
                  </a:cubicBezTo>
                  <a:cubicBezTo>
                    <a:pt x="6659" y="24751"/>
                    <a:pt x="7040" y="25386"/>
                    <a:pt x="7370" y="26046"/>
                  </a:cubicBezTo>
                  <a:lnTo>
                    <a:pt x="7370" y="26046"/>
                  </a:lnTo>
                  <a:lnTo>
                    <a:pt x="125164" y="26046"/>
                  </a:lnTo>
                  <a:lnTo>
                    <a:pt x="125164" y="0"/>
                  </a:lnTo>
                  <a:lnTo>
                    <a:pt x="0" y="0"/>
                  </a:lnTo>
                  <a:close/>
                </a:path>
              </a:pathLst>
            </a:custGeom>
            <a:solidFill>
              <a:srgbClr val="F9AA19"/>
            </a:solidFill>
            <a:ln w="12704"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8820D4BB-9DC8-41B7-A20E-524C97019200}"/>
                </a:ext>
              </a:extLst>
            </p:cNvPr>
            <p:cNvSpPr/>
            <p:nvPr/>
          </p:nvSpPr>
          <p:spPr>
            <a:xfrm>
              <a:off x="12071794" y="4685267"/>
              <a:ext cx="122240" cy="90337"/>
            </a:xfrm>
            <a:custGeom>
              <a:avLst/>
              <a:gdLst>
                <a:gd name="connsiteX0" fmla="*/ 635 w 122240"/>
                <a:gd name="connsiteY0" fmla="*/ 508 h 90337"/>
                <a:gd name="connsiteX1" fmla="*/ 122241 w 122240"/>
                <a:gd name="connsiteY1" fmla="*/ 90337 h 90337"/>
                <a:gd name="connsiteX2" fmla="*/ 122241 w 122240"/>
                <a:gd name="connsiteY2" fmla="*/ 0 h 90337"/>
                <a:gd name="connsiteX3" fmla="*/ 0 w 122240"/>
                <a:gd name="connsiteY3" fmla="*/ 0 h 90337"/>
                <a:gd name="connsiteX4" fmla="*/ 635 w 122240"/>
                <a:gd name="connsiteY4" fmla="*/ 508 h 9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40" h="90337">
                  <a:moveTo>
                    <a:pt x="635" y="508"/>
                  </a:moveTo>
                  <a:lnTo>
                    <a:pt x="122241" y="90337"/>
                  </a:lnTo>
                  <a:lnTo>
                    <a:pt x="122241" y="0"/>
                  </a:lnTo>
                  <a:lnTo>
                    <a:pt x="0" y="0"/>
                  </a:lnTo>
                  <a:lnTo>
                    <a:pt x="635" y="508"/>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1332BB9-CC4A-4345-9718-E93E52D03750}"/>
                </a:ext>
              </a:extLst>
            </p:cNvPr>
            <p:cNvSpPr/>
            <p:nvPr/>
          </p:nvSpPr>
          <p:spPr>
            <a:xfrm>
              <a:off x="12068871" y="3409873"/>
              <a:ext cx="125163" cy="1201320"/>
            </a:xfrm>
            <a:custGeom>
              <a:avLst/>
              <a:gdLst>
                <a:gd name="connsiteX0" fmla="*/ 0 w 125163"/>
                <a:gd name="connsiteY0" fmla="*/ 0 h 1201320"/>
                <a:gd name="connsiteX1" fmla="*/ 125163 w 125163"/>
                <a:gd name="connsiteY1" fmla="*/ 0 h 1201320"/>
                <a:gd name="connsiteX2" fmla="*/ 125163 w 125163"/>
                <a:gd name="connsiteY2" fmla="*/ 1201321 h 1201320"/>
                <a:gd name="connsiteX3" fmla="*/ 0 w 125163"/>
                <a:gd name="connsiteY3" fmla="*/ 1201321 h 1201320"/>
              </a:gdLst>
              <a:ahLst/>
              <a:cxnLst>
                <a:cxn ang="0">
                  <a:pos x="connsiteX0" y="connsiteY0"/>
                </a:cxn>
                <a:cxn ang="0">
                  <a:pos x="connsiteX1" y="connsiteY1"/>
                </a:cxn>
                <a:cxn ang="0">
                  <a:pos x="connsiteX2" y="connsiteY2"/>
                </a:cxn>
                <a:cxn ang="0">
                  <a:pos x="connsiteX3" y="connsiteY3"/>
                </a:cxn>
              </a:cxnLst>
              <a:rect l="l" t="t" r="r" b="b"/>
              <a:pathLst>
                <a:path w="125163" h="1201320">
                  <a:moveTo>
                    <a:pt x="0" y="0"/>
                  </a:moveTo>
                  <a:lnTo>
                    <a:pt x="125163" y="0"/>
                  </a:lnTo>
                  <a:lnTo>
                    <a:pt x="125163" y="1201321"/>
                  </a:lnTo>
                  <a:lnTo>
                    <a:pt x="0" y="1201321"/>
                  </a:lnTo>
                  <a:close/>
                </a:path>
              </a:pathLst>
            </a:custGeom>
            <a:solidFill>
              <a:schemeClr val="accent6">
                <a:lumMod val="75000"/>
              </a:schemeClr>
            </a:solidFill>
            <a:ln w="12704"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D5F9D829-2587-4DA5-ADA3-A519C4ACB118}"/>
                </a:ext>
              </a:extLst>
            </p:cNvPr>
            <p:cNvSpPr/>
            <p:nvPr/>
          </p:nvSpPr>
          <p:spPr>
            <a:xfrm>
              <a:off x="11233391" y="4601410"/>
              <a:ext cx="678295" cy="7496"/>
            </a:xfrm>
            <a:custGeom>
              <a:avLst/>
              <a:gdLst>
                <a:gd name="connsiteX0" fmla="*/ 0 w 678295"/>
                <a:gd name="connsiteY0" fmla="*/ 0 h 7496"/>
                <a:gd name="connsiteX1" fmla="*/ 0 w 678295"/>
                <a:gd name="connsiteY1" fmla="*/ 7496 h 7496"/>
                <a:gd name="connsiteX2" fmla="*/ 674992 w 678295"/>
                <a:gd name="connsiteY2" fmla="*/ 7496 h 7496"/>
                <a:gd name="connsiteX3" fmla="*/ 674992 w 678295"/>
                <a:gd name="connsiteY3" fmla="*/ 5971 h 7496"/>
                <a:gd name="connsiteX4" fmla="*/ 675881 w 678295"/>
                <a:gd name="connsiteY4" fmla="*/ 3812 h 7496"/>
                <a:gd name="connsiteX5" fmla="*/ 676516 w 678295"/>
                <a:gd name="connsiteY5" fmla="*/ 2541 h 7496"/>
                <a:gd name="connsiteX6" fmla="*/ 676516 w 678295"/>
                <a:gd name="connsiteY6" fmla="*/ 2541 h 7496"/>
                <a:gd name="connsiteX7" fmla="*/ 678296 w 678295"/>
                <a:gd name="connsiteY7" fmla="*/ 1016 h 7496"/>
                <a:gd name="connsiteX8" fmla="*/ 678296 w 678295"/>
                <a:gd name="connsiteY8" fmla="*/ 1016 h 7496"/>
                <a:gd name="connsiteX9" fmla="*/ 0 w 678295"/>
                <a:gd name="connsiteY9" fmla="*/ 1016 h 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295" h="7496">
                  <a:moveTo>
                    <a:pt x="0" y="0"/>
                  </a:moveTo>
                  <a:lnTo>
                    <a:pt x="0" y="7496"/>
                  </a:lnTo>
                  <a:lnTo>
                    <a:pt x="674992" y="7496"/>
                  </a:lnTo>
                  <a:cubicBezTo>
                    <a:pt x="674941" y="6988"/>
                    <a:pt x="674941" y="6480"/>
                    <a:pt x="674992" y="5971"/>
                  </a:cubicBezTo>
                  <a:cubicBezTo>
                    <a:pt x="675208" y="5222"/>
                    <a:pt x="675513" y="4497"/>
                    <a:pt x="675881" y="3812"/>
                  </a:cubicBezTo>
                  <a:cubicBezTo>
                    <a:pt x="675881" y="3812"/>
                    <a:pt x="675881" y="2922"/>
                    <a:pt x="676516" y="2541"/>
                  </a:cubicBezTo>
                  <a:lnTo>
                    <a:pt x="676516" y="2541"/>
                  </a:lnTo>
                  <a:lnTo>
                    <a:pt x="678296" y="1016"/>
                  </a:lnTo>
                  <a:lnTo>
                    <a:pt x="678296" y="1016"/>
                  </a:lnTo>
                  <a:lnTo>
                    <a:pt x="0" y="1016"/>
                  </a:lnTo>
                  <a:close/>
                </a:path>
              </a:pathLst>
            </a:custGeom>
            <a:solidFill>
              <a:srgbClr val="22B0AE"/>
            </a:solidFill>
            <a:ln w="12704"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DB55F466-9E4E-4CA2-AB19-D61CD09A360F}"/>
                </a:ext>
              </a:extLst>
            </p:cNvPr>
            <p:cNvSpPr/>
            <p:nvPr/>
          </p:nvSpPr>
          <p:spPr>
            <a:xfrm>
              <a:off x="11235932" y="4613226"/>
              <a:ext cx="955433" cy="214852"/>
            </a:xfrm>
            <a:custGeom>
              <a:avLst/>
              <a:gdLst>
                <a:gd name="connsiteX0" fmla="*/ 695069 w 955433"/>
                <a:gd name="connsiteY0" fmla="*/ 21218 h 214852"/>
                <a:gd name="connsiteX1" fmla="*/ 677025 w 955433"/>
                <a:gd name="connsiteY1" fmla="*/ 7496 h 214852"/>
                <a:gd name="connsiteX2" fmla="*/ 677025 w 955433"/>
                <a:gd name="connsiteY2" fmla="*/ 6861 h 214852"/>
                <a:gd name="connsiteX3" fmla="*/ 675373 w 955433"/>
                <a:gd name="connsiteY3" fmla="*/ 5082 h 214852"/>
                <a:gd name="connsiteX4" fmla="*/ 674229 w 955433"/>
                <a:gd name="connsiteY4" fmla="*/ 3176 h 214852"/>
                <a:gd name="connsiteX5" fmla="*/ 673467 w 955433"/>
                <a:gd name="connsiteY5" fmla="*/ 1143 h 214852"/>
                <a:gd name="connsiteX6" fmla="*/ 673467 w 955433"/>
                <a:gd name="connsiteY6" fmla="*/ 0 h 214852"/>
                <a:gd name="connsiteX7" fmla="*/ 0 w 955433"/>
                <a:gd name="connsiteY7" fmla="*/ 0 h 214852"/>
                <a:gd name="connsiteX8" fmla="*/ 180311 w 955433"/>
                <a:gd name="connsiteY8" fmla="*/ 214853 h 214852"/>
                <a:gd name="connsiteX9" fmla="*/ 955433 w 955433"/>
                <a:gd name="connsiteY9" fmla="*/ 214853 h 214852"/>
                <a:gd name="connsiteX10" fmla="*/ 785160 w 955433"/>
                <a:gd name="connsiteY10" fmla="*/ 87034 h 214852"/>
                <a:gd name="connsiteX11" fmla="*/ 710571 w 955433"/>
                <a:gd name="connsiteY11" fmla="*/ 31129 h 2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5433" h="214852">
                  <a:moveTo>
                    <a:pt x="695069" y="21218"/>
                  </a:moveTo>
                  <a:lnTo>
                    <a:pt x="677025" y="7496"/>
                  </a:lnTo>
                  <a:lnTo>
                    <a:pt x="677025" y="6861"/>
                  </a:lnTo>
                  <a:cubicBezTo>
                    <a:pt x="676415" y="6327"/>
                    <a:pt x="675856" y="5730"/>
                    <a:pt x="675373" y="5082"/>
                  </a:cubicBezTo>
                  <a:cubicBezTo>
                    <a:pt x="674916" y="4498"/>
                    <a:pt x="674534" y="3850"/>
                    <a:pt x="674229" y="3176"/>
                  </a:cubicBezTo>
                  <a:cubicBezTo>
                    <a:pt x="673899" y="2528"/>
                    <a:pt x="673644" y="1842"/>
                    <a:pt x="673467" y="1143"/>
                  </a:cubicBezTo>
                  <a:cubicBezTo>
                    <a:pt x="673416" y="762"/>
                    <a:pt x="673416" y="381"/>
                    <a:pt x="673467" y="0"/>
                  </a:cubicBezTo>
                  <a:lnTo>
                    <a:pt x="0" y="0"/>
                  </a:lnTo>
                  <a:lnTo>
                    <a:pt x="180311" y="214853"/>
                  </a:lnTo>
                  <a:lnTo>
                    <a:pt x="955433" y="214853"/>
                  </a:lnTo>
                  <a:lnTo>
                    <a:pt x="785160" y="87034"/>
                  </a:lnTo>
                  <a:lnTo>
                    <a:pt x="710571" y="31129"/>
                  </a:ln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11FC55A-3BE2-484E-BE0C-2168A3A16467}"/>
                </a:ext>
              </a:extLst>
            </p:cNvPr>
            <p:cNvSpPr/>
            <p:nvPr/>
          </p:nvSpPr>
          <p:spPr>
            <a:xfrm>
              <a:off x="10947232" y="6003988"/>
              <a:ext cx="696084" cy="204052"/>
            </a:xfrm>
            <a:custGeom>
              <a:avLst/>
              <a:gdLst>
                <a:gd name="connsiteX0" fmla="*/ 642462 w 696084"/>
                <a:gd name="connsiteY0" fmla="*/ 97198 h 204052"/>
                <a:gd name="connsiteX1" fmla="*/ 641445 w 696084"/>
                <a:gd name="connsiteY1" fmla="*/ 97198 h 204052"/>
                <a:gd name="connsiteX2" fmla="*/ 638268 w 696084"/>
                <a:gd name="connsiteY2" fmla="*/ 95039 h 204052"/>
                <a:gd name="connsiteX3" fmla="*/ 638268 w 696084"/>
                <a:gd name="connsiteY3" fmla="*/ 95039 h 204052"/>
                <a:gd name="connsiteX4" fmla="*/ 636362 w 696084"/>
                <a:gd name="connsiteY4" fmla="*/ 92370 h 204052"/>
                <a:gd name="connsiteX5" fmla="*/ 634329 w 696084"/>
                <a:gd name="connsiteY5" fmla="*/ 88686 h 204052"/>
                <a:gd name="connsiteX6" fmla="*/ 474984 w 696084"/>
                <a:gd name="connsiteY6" fmla="*/ 88686 h 204052"/>
                <a:gd name="connsiteX7" fmla="*/ 473459 w 696084"/>
                <a:gd name="connsiteY7" fmla="*/ 87669 h 204052"/>
                <a:gd name="connsiteX8" fmla="*/ 473459 w 696084"/>
                <a:gd name="connsiteY8" fmla="*/ 87669 h 204052"/>
                <a:gd name="connsiteX9" fmla="*/ 436228 w 696084"/>
                <a:gd name="connsiteY9" fmla="*/ 9148 h 204052"/>
                <a:gd name="connsiteX10" fmla="*/ 433179 w 696084"/>
                <a:gd name="connsiteY10" fmla="*/ 9910 h 204052"/>
                <a:gd name="connsiteX11" fmla="*/ 421869 w 696084"/>
                <a:gd name="connsiteY11" fmla="*/ 0 h 204052"/>
                <a:gd name="connsiteX12" fmla="*/ 0 w 696084"/>
                <a:gd name="connsiteY12" fmla="*/ 0 h 204052"/>
                <a:gd name="connsiteX13" fmla="*/ 0 w 696084"/>
                <a:gd name="connsiteY13" fmla="*/ 204053 h 204052"/>
                <a:gd name="connsiteX14" fmla="*/ 696085 w 696084"/>
                <a:gd name="connsiteY14" fmla="*/ 204053 h 204052"/>
                <a:gd name="connsiteX15" fmla="*/ 647671 w 696084"/>
                <a:gd name="connsiteY15" fmla="*/ 113335 h 204052"/>
                <a:gd name="connsiteX16" fmla="*/ 650721 w 696084"/>
                <a:gd name="connsiteY16" fmla="*/ 98469 h 204052"/>
                <a:gd name="connsiteX17" fmla="*/ 650721 w 696084"/>
                <a:gd name="connsiteY17" fmla="*/ 98469 h 204052"/>
                <a:gd name="connsiteX18" fmla="*/ 646655 w 696084"/>
                <a:gd name="connsiteY18" fmla="*/ 98469 h 204052"/>
                <a:gd name="connsiteX19" fmla="*/ 642462 w 696084"/>
                <a:gd name="connsiteY19" fmla="*/ 97198 h 20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6084" h="204052">
                  <a:moveTo>
                    <a:pt x="642462" y="97198"/>
                  </a:moveTo>
                  <a:lnTo>
                    <a:pt x="641445" y="97198"/>
                  </a:lnTo>
                  <a:cubicBezTo>
                    <a:pt x="640289" y="96639"/>
                    <a:pt x="639208" y="95915"/>
                    <a:pt x="638268" y="95039"/>
                  </a:cubicBezTo>
                  <a:lnTo>
                    <a:pt x="638268" y="95039"/>
                  </a:lnTo>
                  <a:cubicBezTo>
                    <a:pt x="637493" y="94263"/>
                    <a:pt x="636845" y="93361"/>
                    <a:pt x="636362" y="92370"/>
                  </a:cubicBezTo>
                  <a:lnTo>
                    <a:pt x="634329" y="88686"/>
                  </a:lnTo>
                  <a:lnTo>
                    <a:pt x="474984" y="88686"/>
                  </a:lnTo>
                  <a:cubicBezTo>
                    <a:pt x="474336" y="88635"/>
                    <a:pt x="473765" y="88241"/>
                    <a:pt x="473459" y="87669"/>
                  </a:cubicBezTo>
                  <a:lnTo>
                    <a:pt x="473459" y="87669"/>
                  </a:lnTo>
                  <a:lnTo>
                    <a:pt x="436228" y="9148"/>
                  </a:lnTo>
                  <a:cubicBezTo>
                    <a:pt x="435275" y="9593"/>
                    <a:pt x="434233" y="9860"/>
                    <a:pt x="433179" y="9910"/>
                  </a:cubicBezTo>
                  <a:cubicBezTo>
                    <a:pt x="427498" y="9796"/>
                    <a:pt x="422733" y="5616"/>
                    <a:pt x="421869" y="0"/>
                  </a:cubicBezTo>
                  <a:lnTo>
                    <a:pt x="0" y="0"/>
                  </a:lnTo>
                  <a:lnTo>
                    <a:pt x="0" y="204053"/>
                  </a:lnTo>
                  <a:lnTo>
                    <a:pt x="696085" y="204053"/>
                  </a:lnTo>
                  <a:lnTo>
                    <a:pt x="647671" y="113335"/>
                  </a:lnTo>
                  <a:cubicBezTo>
                    <a:pt x="645295" y="108252"/>
                    <a:pt x="646527" y="102204"/>
                    <a:pt x="650721" y="98469"/>
                  </a:cubicBezTo>
                  <a:lnTo>
                    <a:pt x="650721" y="98469"/>
                  </a:lnTo>
                  <a:lnTo>
                    <a:pt x="646655" y="98469"/>
                  </a:lnTo>
                  <a:cubicBezTo>
                    <a:pt x="645181" y="98329"/>
                    <a:pt x="643758" y="97897"/>
                    <a:pt x="642462" y="97198"/>
                  </a:cubicBezTo>
                  <a:close/>
                </a:path>
              </a:pathLst>
            </a:custGeom>
            <a:solidFill>
              <a:schemeClr val="bg1">
                <a:lumMod val="95000"/>
              </a:schemeClr>
            </a:solidFill>
            <a:ln w="12704"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27C7441-3384-4235-B0B0-B95A4B1EFBEB}"/>
                </a:ext>
              </a:extLst>
            </p:cNvPr>
            <p:cNvSpPr/>
            <p:nvPr/>
          </p:nvSpPr>
          <p:spPr>
            <a:xfrm>
              <a:off x="11922106" y="4273985"/>
              <a:ext cx="23889" cy="305317"/>
            </a:xfrm>
            <a:custGeom>
              <a:avLst/>
              <a:gdLst>
                <a:gd name="connsiteX0" fmla="*/ 23889 w 23889"/>
                <a:gd name="connsiteY0" fmla="*/ 5082 h 305317"/>
                <a:gd name="connsiteX1" fmla="*/ 14867 w 23889"/>
                <a:gd name="connsiteY1" fmla="*/ 0 h 305317"/>
                <a:gd name="connsiteX2" fmla="*/ 0 w 23889"/>
                <a:gd name="connsiteY2" fmla="*/ 0 h 305317"/>
                <a:gd name="connsiteX3" fmla="*/ 0 w 23889"/>
                <a:gd name="connsiteY3" fmla="*/ 302522 h 305317"/>
                <a:gd name="connsiteX4" fmla="*/ 2922 w 23889"/>
                <a:gd name="connsiteY4" fmla="*/ 303411 h 305317"/>
                <a:gd name="connsiteX5" fmla="*/ 15629 w 23889"/>
                <a:gd name="connsiteY5" fmla="*/ 303411 h 305317"/>
                <a:gd name="connsiteX6" fmla="*/ 16900 w 23889"/>
                <a:gd name="connsiteY6" fmla="*/ 303411 h 305317"/>
                <a:gd name="connsiteX7" fmla="*/ 19188 w 23889"/>
                <a:gd name="connsiteY7" fmla="*/ 303411 h 305317"/>
                <a:gd name="connsiteX8" fmla="*/ 21348 w 23889"/>
                <a:gd name="connsiteY8" fmla="*/ 304428 h 305317"/>
                <a:gd name="connsiteX9" fmla="*/ 22491 w 23889"/>
                <a:gd name="connsiteY9" fmla="*/ 304428 h 305317"/>
                <a:gd name="connsiteX10" fmla="*/ 23635 w 23889"/>
                <a:gd name="connsiteY10" fmla="*/ 305317 h 305317"/>
                <a:gd name="connsiteX11" fmla="*/ 23635 w 23889"/>
                <a:gd name="connsiteY11" fmla="*/ 5082 h 30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89" h="305317">
                  <a:moveTo>
                    <a:pt x="23889" y="5082"/>
                  </a:moveTo>
                  <a:lnTo>
                    <a:pt x="14867" y="0"/>
                  </a:lnTo>
                  <a:lnTo>
                    <a:pt x="0" y="0"/>
                  </a:lnTo>
                  <a:lnTo>
                    <a:pt x="0" y="302522"/>
                  </a:lnTo>
                  <a:lnTo>
                    <a:pt x="2922" y="303411"/>
                  </a:lnTo>
                  <a:lnTo>
                    <a:pt x="15629" y="303411"/>
                  </a:lnTo>
                  <a:lnTo>
                    <a:pt x="16900" y="303411"/>
                  </a:lnTo>
                  <a:lnTo>
                    <a:pt x="19188" y="303411"/>
                  </a:lnTo>
                  <a:lnTo>
                    <a:pt x="21348" y="304428"/>
                  </a:lnTo>
                  <a:lnTo>
                    <a:pt x="22491" y="304428"/>
                  </a:lnTo>
                  <a:lnTo>
                    <a:pt x="23635" y="305317"/>
                  </a:lnTo>
                  <a:lnTo>
                    <a:pt x="23635" y="5082"/>
                  </a:lnTo>
                  <a:close/>
                </a:path>
              </a:pathLst>
            </a:custGeom>
            <a:solidFill>
              <a:srgbClr val="F4F5F3"/>
            </a:solidFill>
            <a:ln w="12704"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BF8B12A4-0270-4C22-AD6F-D3CC9B1D1E3B}"/>
                </a:ext>
              </a:extLst>
            </p:cNvPr>
            <p:cNvSpPr/>
            <p:nvPr/>
          </p:nvSpPr>
          <p:spPr>
            <a:xfrm>
              <a:off x="11838749" y="4223290"/>
              <a:ext cx="90600" cy="46629"/>
            </a:xfrm>
            <a:custGeom>
              <a:avLst/>
              <a:gdLst>
                <a:gd name="connsiteX0" fmla="*/ 90600 w 90600"/>
                <a:gd name="connsiteY0" fmla="*/ 46503 h 46629"/>
                <a:gd name="connsiteX1" fmla="*/ 22110 w 90600"/>
                <a:gd name="connsiteY1" fmla="*/ 8386 h 46629"/>
                <a:gd name="connsiteX2" fmla="*/ 16392 w 90600"/>
                <a:gd name="connsiteY2" fmla="*/ 0 h 46629"/>
                <a:gd name="connsiteX3" fmla="*/ 0 w 90600"/>
                <a:gd name="connsiteY3" fmla="*/ 0 h 46629"/>
                <a:gd name="connsiteX4" fmla="*/ 81833 w 90600"/>
                <a:gd name="connsiteY4" fmla="*/ 46630 h 4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00" h="46629">
                  <a:moveTo>
                    <a:pt x="90600" y="46503"/>
                  </a:moveTo>
                  <a:lnTo>
                    <a:pt x="22110" y="8386"/>
                  </a:lnTo>
                  <a:cubicBezTo>
                    <a:pt x="19048" y="6582"/>
                    <a:pt x="16951" y="3507"/>
                    <a:pt x="16392" y="0"/>
                  </a:cubicBezTo>
                  <a:lnTo>
                    <a:pt x="0" y="0"/>
                  </a:lnTo>
                  <a:lnTo>
                    <a:pt x="81833" y="46630"/>
                  </a:lnTo>
                  <a:close/>
                </a:path>
              </a:pathLst>
            </a:custGeom>
            <a:solidFill>
              <a:srgbClr val="088A8F"/>
            </a:solidFill>
            <a:ln w="12704"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1EB61E3D-CD44-4081-A5ED-38718DF7EF4E}"/>
                </a:ext>
              </a:extLst>
            </p:cNvPr>
            <p:cNvSpPr/>
            <p:nvPr/>
          </p:nvSpPr>
          <p:spPr>
            <a:xfrm>
              <a:off x="11311284" y="4273985"/>
              <a:ext cx="606755" cy="301759"/>
            </a:xfrm>
            <a:custGeom>
              <a:avLst/>
              <a:gdLst>
                <a:gd name="connsiteX0" fmla="*/ 9149 w 606755"/>
                <a:gd name="connsiteY0" fmla="*/ 0 h 301759"/>
                <a:gd name="connsiteX1" fmla="*/ 0 w 606755"/>
                <a:gd name="connsiteY1" fmla="*/ 9529 h 301759"/>
                <a:gd name="connsiteX2" fmla="*/ 0 w 606755"/>
                <a:gd name="connsiteY2" fmla="*/ 301760 h 301759"/>
                <a:gd name="connsiteX3" fmla="*/ 606756 w 606755"/>
                <a:gd name="connsiteY3" fmla="*/ 301760 h 301759"/>
                <a:gd name="connsiteX4" fmla="*/ 606756 w 606755"/>
                <a:gd name="connsiteY4" fmla="*/ 0 h 301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5" h="301759">
                  <a:moveTo>
                    <a:pt x="9149" y="0"/>
                  </a:moveTo>
                  <a:cubicBezTo>
                    <a:pt x="8323" y="4739"/>
                    <a:pt x="4701" y="8513"/>
                    <a:pt x="0" y="9529"/>
                  </a:cubicBezTo>
                  <a:lnTo>
                    <a:pt x="0" y="301760"/>
                  </a:lnTo>
                  <a:lnTo>
                    <a:pt x="606756" y="301760"/>
                  </a:lnTo>
                  <a:lnTo>
                    <a:pt x="606756" y="0"/>
                  </a:ln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EBDAE8A3-4794-4CCE-97DA-D972191E5D6A}"/>
                </a:ext>
              </a:extLst>
            </p:cNvPr>
            <p:cNvSpPr/>
            <p:nvPr/>
          </p:nvSpPr>
          <p:spPr>
            <a:xfrm>
              <a:off x="10845322" y="4881189"/>
              <a:ext cx="225420" cy="1118352"/>
            </a:xfrm>
            <a:custGeom>
              <a:avLst/>
              <a:gdLst>
                <a:gd name="connsiteX0" fmla="*/ 216780 w 225420"/>
                <a:gd name="connsiteY0" fmla="*/ 0 h 1118352"/>
                <a:gd name="connsiteX1" fmla="*/ 15375 w 225420"/>
                <a:gd name="connsiteY1" fmla="*/ 0 h 1118352"/>
                <a:gd name="connsiteX2" fmla="*/ 15375 w 225420"/>
                <a:gd name="connsiteY2" fmla="*/ 749634 h 1118352"/>
                <a:gd name="connsiteX3" fmla="*/ 3812 w 225420"/>
                <a:gd name="connsiteY3" fmla="*/ 761704 h 1118352"/>
                <a:gd name="connsiteX4" fmla="*/ 3685 w 225420"/>
                <a:gd name="connsiteY4" fmla="*/ 761704 h 1118352"/>
                <a:gd name="connsiteX5" fmla="*/ 0 w 225420"/>
                <a:gd name="connsiteY5" fmla="*/ 761704 h 1118352"/>
                <a:gd name="connsiteX6" fmla="*/ 0 w 225420"/>
                <a:gd name="connsiteY6" fmla="*/ 794612 h 1118352"/>
                <a:gd name="connsiteX7" fmla="*/ 9149 w 225420"/>
                <a:gd name="connsiteY7" fmla="*/ 802617 h 1118352"/>
                <a:gd name="connsiteX8" fmla="*/ 101274 w 225420"/>
                <a:gd name="connsiteY8" fmla="*/ 1092687 h 1118352"/>
                <a:gd name="connsiteX9" fmla="*/ 101274 w 225420"/>
                <a:gd name="connsiteY9" fmla="*/ 1094593 h 1118352"/>
                <a:gd name="connsiteX10" fmla="*/ 101274 w 225420"/>
                <a:gd name="connsiteY10" fmla="*/ 1096499 h 1118352"/>
                <a:gd name="connsiteX11" fmla="*/ 101274 w 225420"/>
                <a:gd name="connsiteY11" fmla="*/ 1118352 h 1118352"/>
                <a:gd name="connsiteX12" fmla="*/ 225421 w 225420"/>
                <a:gd name="connsiteY12" fmla="*/ 1118352 h 1118352"/>
                <a:gd name="connsiteX13" fmla="*/ 225421 w 225420"/>
                <a:gd name="connsiteY13" fmla="*/ 9402 h 1118352"/>
                <a:gd name="connsiteX14" fmla="*/ 216780 w 225420"/>
                <a:gd name="connsiteY14" fmla="*/ 0 h 111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420" h="1118352">
                  <a:moveTo>
                    <a:pt x="216780" y="0"/>
                  </a:moveTo>
                  <a:lnTo>
                    <a:pt x="15375" y="0"/>
                  </a:lnTo>
                  <a:lnTo>
                    <a:pt x="15375" y="749634"/>
                  </a:lnTo>
                  <a:cubicBezTo>
                    <a:pt x="15515" y="756165"/>
                    <a:pt x="10343" y="761565"/>
                    <a:pt x="3812" y="761704"/>
                  </a:cubicBezTo>
                  <a:cubicBezTo>
                    <a:pt x="3774" y="761704"/>
                    <a:pt x="3723" y="761704"/>
                    <a:pt x="3685" y="761704"/>
                  </a:cubicBezTo>
                  <a:lnTo>
                    <a:pt x="0" y="761704"/>
                  </a:lnTo>
                  <a:lnTo>
                    <a:pt x="0" y="794612"/>
                  </a:lnTo>
                  <a:cubicBezTo>
                    <a:pt x="4308" y="795362"/>
                    <a:pt x="7840" y="798450"/>
                    <a:pt x="9149" y="802617"/>
                  </a:cubicBezTo>
                  <a:lnTo>
                    <a:pt x="101274" y="1092687"/>
                  </a:lnTo>
                  <a:cubicBezTo>
                    <a:pt x="101337" y="1093322"/>
                    <a:pt x="101337" y="1093958"/>
                    <a:pt x="101274" y="1094593"/>
                  </a:cubicBezTo>
                  <a:cubicBezTo>
                    <a:pt x="101274" y="1095228"/>
                    <a:pt x="101274" y="1095864"/>
                    <a:pt x="101274" y="1096499"/>
                  </a:cubicBezTo>
                  <a:lnTo>
                    <a:pt x="101274" y="1118352"/>
                  </a:lnTo>
                  <a:lnTo>
                    <a:pt x="225421" y="1118352"/>
                  </a:lnTo>
                  <a:lnTo>
                    <a:pt x="225421" y="9402"/>
                  </a:lnTo>
                  <a:cubicBezTo>
                    <a:pt x="220935" y="8259"/>
                    <a:pt x="217542" y="4574"/>
                    <a:pt x="216780" y="0"/>
                  </a:cubicBezTo>
                  <a:close/>
                </a:path>
              </a:pathLst>
            </a:custGeom>
            <a:solidFill>
              <a:schemeClr val="accent4"/>
            </a:solidFill>
            <a:ln w="12704"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26112D06-5273-4007-BA78-87F58137A75F}"/>
                </a:ext>
              </a:extLst>
            </p:cNvPr>
            <p:cNvSpPr/>
            <p:nvPr/>
          </p:nvSpPr>
          <p:spPr>
            <a:xfrm>
              <a:off x="10861205" y="3291964"/>
              <a:ext cx="201023" cy="1584904"/>
            </a:xfrm>
            <a:custGeom>
              <a:avLst/>
              <a:gdLst>
                <a:gd name="connsiteX0" fmla="*/ 107882 w 201023"/>
                <a:gd name="connsiteY0" fmla="*/ 508 h 1584904"/>
                <a:gd name="connsiteX1" fmla="*/ 890 w 201023"/>
                <a:gd name="connsiteY1" fmla="*/ 508 h 1584904"/>
                <a:gd name="connsiteX2" fmla="*/ 890 w 201023"/>
                <a:gd name="connsiteY2" fmla="*/ 807826 h 1584904"/>
                <a:gd name="connsiteX3" fmla="*/ 0 w 201023"/>
                <a:gd name="connsiteY3" fmla="*/ 812273 h 1584904"/>
                <a:gd name="connsiteX4" fmla="*/ 0 w 201023"/>
                <a:gd name="connsiteY4" fmla="*/ 1584905 h 1584904"/>
                <a:gd name="connsiteX5" fmla="*/ 201024 w 201023"/>
                <a:gd name="connsiteY5" fmla="*/ 1584905 h 1584904"/>
                <a:gd name="connsiteX6" fmla="*/ 201024 w 201023"/>
                <a:gd name="connsiteY6" fmla="*/ 0 h 1584904"/>
                <a:gd name="connsiteX7" fmla="*/ 110423 w 201023"/>
                <a:gd name="connsiteY7" fmla="*/ 0 h 1584904"/>
                <a:gd name="connsiteX8" fmla="*/ 107882 w 201023"/>
                <a:gd name="connsiteY8" fmla="*/ 0 h 158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23" h="1584904">
                  <a:moveTo>
                    <a:pt x="107882" y="508"/>
                  </a:moveTo>
                  <a:lnTo>
                    <a:pt x="890" y="508"/>
                  </a:lnTo>
                  <a:lnTo>
                    <a:pt x="890" y="807826"/>
                  </a:lnTo>
                  <a:cubicBezTo>
                    <a:pt x="864" y="809351"/>
                    <a:pt x="559" y="810850"/>
                    <a:pt x="0" y="812273"/>
                  </a:cubicBezTo>
                  <a:lnTo>
                    <a:pt x="0" y="1584905"/>
                  </a:lnTo>
                  <a:lnTo>
                    <a:pt x="201024" y="1584905"/>
                  </a:lnTo>
                  <a:lnTo>
                    <a:pt x="201024" y="0"/>
                  </a:lnTo>
                  <a:lnTo>
                    <a:pt x="110423" y="0"/>
                  </a:lnTo>
                  <a:cubicBezTo>
                    <a:pt x="109572" y="76"/>
                    <a:pt x="108733" y="76"/>
                    <a:pt x="107882" y="0"/>
                  </a:cubicBez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6FB06AA4-249C-4B7C-8EC6-22D65EB47F15}"/>
                </a:ext>
              </a:extLst>
            </p:cNvPr>
            <p:cNvSpPr/>
            <p:nvPr/>
          </p:nvSpPr>
          <p:spPr>
            <a:xfrm>
              <a:off x="10702242" y="2272716"/>
              <a:ext cx="535469" cy="1119750"/>
            </a:xfrm>
            <a:custGeom>
              <a:avLst/>
              <a:gdLst>
                <a:gd name="connsiteX0" fmla="*/ 132025 w 535469"/>
                <a:gd name="connsiteY0" fmla="*/ 994472 h 1119750"/>
                <a:gd name="connsiteX1" fmla="*/ 133041 w 535469"/>
                <a:gd name="connsiteY1" fmla="*/ 994472 h 1119750"/>
                <a:gd name="connsiteX2" fmla="*/ 141555 w 535469"/>
                <a:gd name="connsiteY2" fmla="*/ 995235 h 1119750"/>
                <a:gd name="connsiteX3" fmla="*/ 371169 w 535469"/>
                <a:gd name="connsiteY3" fmla="*/ 995235 h 1119750"/>
                <a:gd name="connsiteX4" fmla="*/ 382987 w 535469"/>
                <a:gd name="connsiteY4" fmla="*/ 1007178 h 1119750"/>
                <a:gd name="connsiteX5" fmla="*/ 382987 w 535469"/>
                <a:gd name="connsiteY5" fmla="*/ 1119750 h 1119750"/>
                <a:gd name="connsiteX6" fmla="*/ 535470 w 535469"/>
                <a:gd name="connsiteY6" fmla="*/ 1119750 h 1119750"/>
                <a:gd name="connsiteX7" fmla="*/ 535470 w 535469"/>
                <a:gd name="connsiteY7" fmla="*/ 0 h 1119750"/>
                <a:gd name="connsiteX8" fmla="*/ 0 w 535469"/>
                <a:gd name="connsiteY8" fmla="*/ 0 h 1119750"/>
                <a:gd name="connsiteX9" fmla="*/ 0 w 535469"/>
                <a:gd name="connsiteY9" fmla="*/ 994472 h 111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469" h="1119750">
                  <a:moveTo>
                    <a:pt x="132025" y="994472"/>
                  </a:moveTo>
                  <a:lnTo>
                    <a:pt x="133041" y="994472"/>
                  </a:lnTo>
                  <a:lnTo>
                    <a:pt x="141555" y="995235"/>
                  </a:lnTo>
                  <a:lnTo>
                    <a:pt x="371169" y="995235"/>
                  </a:lnTo>
                  <a:cubicBezTo>
                    <a:pt x="377713" y="995298"/>
                    <a:pt x="382987" y="1000635"/>
                    <a:pt x="382987" y="1007178"/>
                  </a:cubicBezTo>
                  <a:lnTo>
                    <a:pt x="382987" y="1119750"/>
                  </a:lnTo>
                  <a:lnTo>
                    <a:pt x="535470" y="1119750"/>
                  </a:lnTo>
                  <a:lnTo>
                    <a:pt x="535470" y="0"/>
                  </a:lnTo>
                  <a:lnTo>
                    <a:pt x="0" y="0"/>
                  </a:lnTo>
                  <a:lnTo>
                    <a:pt x="0" y="994472"/>
                  </a:ln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050691C6-38D6-4255-A3B2-B60D7BE66EB3}"/>
                </a:ext>
              </a:extLst>
            </p:cNvPr>
            <p:cNvSpPr/>
            <p:nvPr/>
          </p:nvSpPr>
          <p:spPr>
            <a:xfrm>
              <a:off x="8465188" y="5979848"/>
              <a:ext cx="2458534" cy="336954"/>
            </a:xfrm>
            <a:custGeom>
              <a:avLst/>
              <a:gdLst>
                <a:gd name="connsiteX0" fmla="*/ 635 w 2458534"/>
                <a:gd name="connsiteY0" fmla="*/ 0 h 336954"/>
                <a:gd name="connsiteX1" fmla="*/ 0 w 2458534"/>
                <a:gd name="connsiteY1" fmla="*/ 1271 h 336954"/>
                <a:gd name="connsiteX2" fmla="*/ 0 w 2458534"/>
                <a:gd name="connsiteY2" fmla="*/ 336954 h 336954"/>
                <a:gd name="connsiteX3" fmla="*/ 2458535 w 2458534"/>
                <a:gd name="connsiteY3" fmla="*/ 336954 h 336954"/>
                <a:gd name="connsiteX4" fmla="*/ 2458535 w 2458534"/>
                <a:gd name="connsiteY4" fmla="*/ 230227 h 336954"/>
                <a:gd name="connsiteX5" fmla="*/ 2458535 w 2458534"/>
                <a:gd name="connsiteY5" fmla="*/ 21981 h 336954"/>
                <a:gd name="connsiteX6" fmla="*/ 2458535 w 2458534"/>
                <a:gd name="connsiteY6" fmla="*/ 0 h 336954"/>
                <a:gd name="connsiteX7" fmla="*/ 635 w 2458534"/>
                <a:gd name="connsiteY7" fmla="*/ 0 h 336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534" h="336954">
                  <a:moveTo>
                    <a:pt x="635" y="0"/>
                  </a:moveTo>
                  <a:lnTo>
                    <a:pt x="0" y="1271"/>
                  </a:lnTo>
                  <a:lnTo>
                    <a:pt x="0" y="336954"/>
                  </a:lnTo>
                  <a:lnTo>
                    <a:pt x="2458535" y="336954"/>
                  </a:lnTo>
                  <a:lnTo>
                    <a:pt x="2458535" y="230227"/>
                  </a:lnTo>
                  <a:lnTo>
                    <a:pt x="2458535" y="21981"/>
                  </a:lnTo>
                  <a:lnTo>
                    <a:pt x="2458535" y="0"/>
                  </a:lnTo>
                  <a:lnTo>
                    <a:pt x="635" y="0"/>
                  </a:lnTo>
                  <a:close/>
                </a:path>
              </a:pathLst>
            </a:custGeom>
            <a:solidFill>
              <a:schemeClr val="bg1">
                <a:lumMod val="95000"/>
              </a:schemeClr>
            </a:solidFill>
            <a:ln w="12704"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4CCF9770-7C92-407D-9872-40CB98DA9282}"/>
                </a:ext>
              </a:extLst>
            </p:cNvPr>
            <p:cNvSpPr/>
            <p:nvPr/>
          </p:nvSpPr>
          <p:spPr>
            <a:xfrm>
              <a:off x="8518684" y="5545822"/>
              <a:ext cx="41043" cy="315608"/>
            </a:xfrm>
            <a:custGeom>
              <a:avLst/>
              <a:gdLst>
                <a:gd name="connsiteX0" fmla="*/ 37740 w 41043"/>
                <a:gd name="connsiteY0" fmla="*/ 246871 h 315608"/>
                <a:gd name="connsiteX1" fmla="*/ 36469 w 41043"/>
                <a:gd name="connsiteY1" fmla="*/ 245092 h 315608"/>
                <a:gd name="connsiteX2" fmla="*/ 35579 w 41043"/>
                <a:gd name="connsiteY2" fmla="*/ 243059 h 315608"/>
                <a:gd name="connsiteX3" fmla="*/ 35579 w 41043"/>
                <a:gd name="connsiteY3" fmla="*/ 240645 h 315608"/>
                <a:gd name="connsiteX4" fmla="*/ 35579 w 41043"/>
                <a:gd name="connsiteY4" fmla="*/ 239247 h 315608"/>
                <a:gd name="connsiteX5" fmla="*/ 35579 w 41043"/>
                <a:gd name="connsiteY5" fmla="*/ 121720 h 315608"/>
                <a:gd name="connsiteX6" fmla="*/ 35579 w 41043"/>
                <a:gd name="connsiteY6" fmla="*/ 121720 h 315608"/>
                <a:gd name="connsiteX7" fmla="*/ 35579 w 41043"/>
                <a:gd name="connsiteY7" fmla="*/ 121720 h 315608"/>
                <a:gd name="connsiteX8" fmla="*/ 35579 w 41043"/>
                <a:gd name="connsiteY8" fmla="*/ 121720 h 315608"/>
                <a:gd name="connsiteX9" fmla="*/ 35579 w 41043"/>
                <a:gd name="connsiteY9" fmla="*/ 120958 h 315608"/>
                <a:gd name="connsiteX10" fmla="*/ 35579 w 41043"/>
                <a:gd name="connsiteY10" fmla="*/ 0 h 315608"/>
                <a:gd name="connsiteX11" fmla="*/ 0 w 41043"/>
                <a:gd name="connsiteY11" fmla="*/ 55015 h 315608"/>
                <a:gd name="connsiteX12" fmla="*/ 0 w 41043"/>
                <a:gd name="connsiteY12" fmla="*/ 314846 h 315608"/>
                <a:gd name="connsiteX13" fmla="*/ 1906 w 41043"/>
                <a:gd name="connsiteY13" fmla="*/ 315609 h 315608"/>
                <a:gd name="connsiteX14" fmla="*/ 41043 w 41043"/>
                <a:gd name="connsiteY14" fmla="*/ 248142 h 315608"/>
                <a:gd name="connsiteX15" fmla="*/ 37740 w 41043"/>
                <a:gd name="connsiteY15" fmla="*/ 246871 h 3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043" h="315608">
                  <a:moveTo>
                    <a:pt x="37740" y="246871"/>
                  </a:moveTo>
                  <a:cubicBezTo>
                    <a:pt x="37244" y="246337"/>
                    <a:pt x="36825" y="245740"/>
                    <a:pt x="36469" y="245092"/>
                  </a:cubicBezTo>
                  <a:cubicBezTo>
                    <a:pt x="36469" y="244330"/>
                    <a:pt x="36469" y="243695"/>
                    <a:pt x="35579" y="243059"/>
                  </a:cubicBezTo>
                  <a:cubicBezTo>
                    <a:pt x="35528" y="242259"/>
                    <a:pt x="35528" y="241446"/>
                    <a:pt x="35579" y="240645"/>
                  </a:cubicBezTo>
                  <a:cubicBezTo>
                    <a:pt x="35579" y="240645"/>
                    <a:pt x="35579" y="239756"/>
                    <a:pt x="35579" y="239247"/>
                  </a:cubicBezTo>
                  <a:lnTo>
                    <a:pt x="35579" y="121720"/>
                  </a:lnTo>
                  <a:lnTo>
                    <a:pt x="35579" y="121720"/>
                  </a:lnTo>
                  <a:lnTo>
                    <a:pt x="35579" y="121720"/>
                  </a:lnTo>
                  <a:lnTo>
                    <a:pt x="35579" y="121720"/>
                  </a:lnTo>
                  <a:lnTo>
                    <a:pt x="35579" y="120958"/>
                  </a:lnTo>
                  <a:lnTo>
                    <a:pt x="35579" y="0"/>
                  </a:lnTo>
                  <a:lnTo>
                    <a:pt x="0" y="55015"/>
                  </a:lnTo>
                  <a:lnTo>
                    <a:pt x="0" y="314846"/>
                  </a:lnTo>
                  <a:lnTo>
                    <a:pt x="1906" y="315609"/>
                  </a:lnTo>
                  <a:lnTo>
                    <a:pt x="41043" y="248142"/>
                  </a:lnTo>
                  <a:cubicBezTo>
                    <a:pt x="39836" y="248065"/>
                    <a:pt x="38692" y="247621"/>
                    <a:pt x="37740" y="246871"/>
                  </a:cubicBezTo>
                  <a:close/>
                </a:path>
              </a:pathLst>
            </a:custGeom>
            <a:solidFill>
              <a:srgbClr val="088A8F"/>
            </a:solidFill>
            <a:ln w="12704"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AE54CFCE-494E-42F4-917A-4AC75DFDFE7E}"/>
                </a:ext>
              </a:extLst>
            </p:cNvPr>
            <p:cNvSpPr/>
            <p:nvPr/>
          </p:nvSpPr>
          <p:spPr>
            <a:xfrm>
              <a:off x="11969503" y="4524287"/>
              <a:ext cx="24905" cy="32272"/>
            </a:xfrm>
            <a:custGeom>
              <a:avLst/>
              <a:gdLst>
                <a:gd name="connsiteX0" fmla="*/ 0 w 24905"/>
                <a:gd name="connsiteY0" fmla="*/ 0 h 32272"/>
                <a:gd name="connsiteX1" fmla="*/ 24906 w 24905"/>
                <a:gd name="connsiteY1" fmla="*/ 0 h 32272"/>
                <a:gd name="connsiteX2" fmla="*/ 24906 w 24905"/>
                <a:gd name="connsiteY2" fmla="*/ 32273 h 32272"/>
                <a:gd name="connsiteX3" fmla="*/ 0 w 24905"/>
                <a:gd name="connsiteY3" fmla="*/ 32273 h 32272"/>
              </a:gdLst>
              <a:ahLst/>
              <a:cxnLst>
                <a:cxn ang="0">
                  <a:pos x="connsiteX0" y="connsiteY0"/>
                </a:cxn>
                <a:cxn ang="0">
                  <a:pos x="connsiteX1" y="connsiteY1"/>
                </a:cxn>
                <a:cxn ang="0">
                  <a:pos x="connsiteX2" y="connsiteY2"/>
                </a:cxn>
                <a:cxn ang="0">
                  <a:pos x="connsiteX3" y="connsiteY3"/>
                </a:cxn>
              </a:cxnLst>
              <a:rect l="l" t="t" r="r" b="b"/>
              <a:pathLst>
                <a:path w="24905" h="32272">
                  <a:moveTo>
                    <a:pt x="0" y="0"/>
                  </a:moveTo>
                  <a:lnTo>
                    <a:pt x="24906" y="0"/>
                  </a:lnTo>
                  <a:lnTo>
                    <a:pt x="24906" y="32273"/>
                  </a:lnTo>
                  <a:lnTo>
                    <a:pt x="0" y="32273"/>
                  </a:lnTo>
                  <a:close/>
                </a:path>
              </a:pathLst>
            </a:custGeom>
            <a:solidFill>
              <a:srgbClr val="0A4054"/>
            </a:solidFill>
            <a:ln w="12704"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0043800F-3436-417B-B3A9-247279B67844}"/>
                </a:ext>
              </a:extLst>
            </p:cNvPr>
            <p:cNvSpPr/>
            <p:nvPr/>
          </p:nvSpPr>
          <p:spPr>
            <a:xfrm>
              <a:off x="11320942" y="4223162"/>
              <a:ext cx="591126" cy="46629"/>
            </a:xfrm>
            <a:custGeom>
              <a:avLst/>
              <a:gdLst>
                <a:gd name="connsiteX0" fmla="*/ 591126 w 591126"/>
                <a:gd name="connsiteY0" fmla="*/ 46630 h 46629"/>
                <a:gd name="connsiteX1" fmla="*/ 509166 w 591126"/>
                <a:gd name="connsiteY1" fmla="*/ 0 h 46629"/>
                <a:gd name="connsiteX2" fmla="*/ 0 w 591126"/>
                <a:gd name="connsiteY2" fmla="*/ 0 h 46629"/>
                <a:gd name="connsiteX3" fmla="*/ 0 w 591126"/>
                <a:gd name="connsiteY3" fmla="*/ 46630 h 46629"/>
                <a:gd name="connsiteX4" fmla="*/ 591126 w 591126"/>
                <a:gd name="connsiteY4" fmla="*/ 46630 h 4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26" h="46629">
                  <a:moveTo>
                    <a:pt x="591126" y="46630"/>
                  </a:moveTo>
                  <a:lnTo>
                    <a:pt x="509166" y="0"/>
                  </a:lnTo>
                  <a:lnTo>
                    <a:pt x="0" y="0"/>
                  </a:lnTo>
                  <a:lnTo>
                    <a:pt x="0" y="46630"/>
                  </a:lnTo>
                  <a:lnTo>
                    <a:pt x="591126" y="46630"/>
                  </a:lnTo>
                  <a:close/>
                </a:path>
              </a:pathLst>
            </a:custGeom>
            <a:solidFill>
              <a:schemeClr val="accent4"/>
            </a:solidFill>
            <a:ln w="12704"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3C1D16F2-8619-492F-86F2-07D7ADCD028A}"/>
                </a:ext>
              </a:extLst>
            </p:cNvPr>
            <p:cNvSpPr/>
            <p:nvPr/>
          </p:nvSpPr>
          <p:spPr>
            <a:xfrm>
              <a:off x="11251054" y="3401868"/>
              <a:ext cx="741830" cy="1118098"/>
            </a:xfrm>
            <a:custGeom>
              <a:avLst/>
              <a:gdLst>
                <a:gd name="connsiteX0" fmla="*/ 3812 w 741830"/>
                <a:gd name="connsiteY0" fmla="*/ 507718 h 1118098"/>
                <a:gd name="connsiteX1" fmla="*/ 63915 w 741830"/>
                <a:gd name="connsiteY1" fmla="*/ 543294 h 1118098"/>
                <a:gd name="connsiteX2" fmla="*/ 65059 w 741830"/>
                <a:gd name="connsiteY2" fmla="*/ 544311 h 1118098"/>
                <a:gd name="connsiteX3" fmla="*/ 66839 w 741830"/>
                <a:gd name="connsiteY3" fmla="*/ 545963 h 1118098"/>
                <a:gd name="connsiteX4" fmla="*/ 68109 w 741830"/>
                <a:gd name="connsiteY4" fmla="*/ 547868 h 1118098"/>
                <a:gd name="connsiteX5" fmla="*/ 69126 w 741830"/>
                <a:gd name="connsiteY5" fmla="*/ 549901 h 1118098"/>
                <a:gd name="connsiteX6" fmla="*/ 69126 w 741830"/>
                <a:gd name="connsiteY6" fmla="*/ 552315 h 1118098"/>
                <a:gd name="connsiteX7" fmla="*/ 69126 w 741830"/>
                <a:gd name="connsiteY7" fmla="*/ 553713 h 1118098"/>
                <a:gd name="connsiteX8" fmla="*/ 69126 w 741830"/>
                <a:gd name="connsiteY8" fmla="*/ 816974 h 1118098"/>
                <a:gd name="connsiteX9" fmla="*/ 602816 w 741830"/>
                <a:gd name="connsiteY9" fmla="*/ 816974 h 1118098"/>
                <a:gd name="connsiteX10" fmla="*/ 603833 w 741830"/>
                <a:gd name="connsiteY10" fmla="*/ 813417 h 1118098"/>
                <a:gd name="connsiteX11" fmla="*/ 619602 w 741830"/>
                <a:gd name="connsiteY11" fmla="*/ 808461 h 1118098"/>
                <a:gd name="connsiteX12" fmla="*/ 619843 w 741830"/>
                <a:gd name="connsiteY12" fmla="*/ 808588 h 1118098"/>
                <a:gd name="connsiteX13" fmla="*/ 711080 w 741830"/>
                <a:gd name="connsiteY13" fmla="*/ 859411 h 1118098"/>
                <a:gd name="connsiteX14" fmla="*/ 712223 w 741830"/>
                <a:gd name="connsiteY14" fmla="*/ 860428 h 1118098"/>
                <a:gd name="connsiteX15" fmla="*/ 714129 w 741830"/>
                <a:gd name="connsiteY15" fmla="*/ 862079 h 1118098"/>
                <a:gd name="connsiteX16" fmla="*/ 715400 w 741830"/>
                <a:gd name="connsiteY16" fmla="*/ 863985 h 1118098"/>
                <a:gd name="connsiteX17" fmla="*/ 716416 w 741830"/>
                <a:gd name="connsiteY17" fmla="*/ 866018 h 1118098"/>
                <a:gd name="connsiteX18" fmla="*/ 716416 w 741830"/>
                <a:gd name="connsiteY18" fmla="*/ 868432 h 1118098"/>
                <a:gd name="connsiteX19" fmla="*/ 716416 w 741830"/>
                <a:gd name="connsiteY19" fmla="*/ 869957 h 1118098"/>
                <a:gd name="connsiteX20" fmla="*/ 716416 w 741830"/>
                <a:gd name="connsiteY20" fmla="*/ 1118099 h 1118098"/>
                <a:gd name="connsiteX21" fmla="*/ 741830 w 741830"/>
                <a:gd name="connsiteY21" fmla="*/ 1118099 h 1118098"/>
                <a:gd name="connsiteX22" fmla="*/ 741830 w 741830"/>
                <a:gd name="connsiteY22" fmla="*/ 0 h 1118098"/>
                <a:gd name="connsiteX23" fmla="*/ 7116 w 741830"/>
                <a:gd name="connsiteY23" fmla="*/ 0 h 1118098"/>
                <a:gd name="connsiteX24" fmla="*/ 0 w 741830"/>
                <a:gd name="connsiteY24" fmla="*/ 4447 h 1118098"/>
                <a:gd name="connsiteX25" fmla="*/ 0 w 741830"/>
                <a:gd name="connsiteY25" fmla="*/ 506448 h 1118098"/>
                <a:gd name="connsiteX26" fmla="*/ 3812 w 741830"/>
                <a:gd name="connsiteY26" fmla="*/ 507718 h 111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41830" h="1118098">
                  <a:moveTo>
                    <a:pt x="3812" y="507718"/>
                  </a:moveTo>
                  <a:lnTo>
                    <a:pt x="63915" y="543294"/>
                  </a:lnTo>
                  <a:cubicBezTo>
                    <a:pt x="63915" y="543294"/>
                    <a:pt x="64679" y="544056"/>
                    <a:pt x="65059" y="544311"/>
                  </a:cubicBezTo>
                  <a:cubicBezTo>
                    <a:pt x="65708" y="544794"/>
                    <a:pt x="66305" y="545353"/>
                    <a:pt x="66839" y="545963"/>
                  </a:cubicBezTo>
                  <a:cubicBezTo>
                    <a:pt x="67360" y="546521"/>
                    <a:pt x="67792" y="547170"/>
                    <a:pt x="68109" y="547868"/>
                  </a:cubicBezTo>
                  <a:cubicBezTo>
                    <a:pt x="68528" y="548504"/>
                    <a:pt x="68859" y="549190"/>
                    <a:pt x="69126" y="549901"/>
                  </a:cubicBezTo>
                  <a:cubicBezTo>
                    <a:pt x="69202" y="550702"/>
                    <a:pt x="69202" y="551515"/>
                    <a:pt x="69126" y="552315"/>
                  </a:cubicBezTo>
                  <a:cubicBezTo>
                    <a:pt x="69189" y="552785"/>
                    <a:pt x="69189" y="553243"/>
                    <a:pt x="69126" y="553713"/>
                  </a:cubicBezTo>
                  <a:lnTo>
                    <a:pt x="69126" y="816974"/>
                  </a:lnTo>
                  <a:lnTo>
                    <a:pt x="602816" y="816974"/>
                  </a:lnTo>
                  <a:cubicBezTo>
                    <a:pt x="602918" y="815729"/>
                    <a:pt x="603261" y="814522"/>
                    <a:pt x="603833" y="813417"/>
                  </a:cubicBezTo>
                  <a:cubicBezTo>
                    <a:pt x="606819" y="807699"/>
                    <a:pt x="613884" y="805476"/>
                    <a:pt x="619602" y="808461"/>
                  </a:cubicBezTo>
                  <a:cubicBezTo>
                    <a:pt x="619691" y="808500"/>
                    <a:pt x="619767" y="808550"/>
                    <a:pt x="619843" y="808588"/>
                  </a:cubicBezTo>
                  <a:lnTo>
                    <a:pt x="711080" y="859411"/>
                  </a:lnTo>
                  <a:lnTo>
                    <a:pt x="712223" y="860428"/>
                  </a:lnTo>
                  <a:cubicBezTo>
                    <a:pt x="712909" y="860911"/>
                    <a:pt x="713557" y="861457"/>
                    <a:pt x="714129" y="862079"/>
                  </a:cubicBezTo>
                  <a:lnTo>
                    <a:pt x="715400" y="863985"/>
                  </a:lnTo>
                  <a:cubicBezTo>
                    <a:pt x="715819" y="864621"/>
                    <a:pt x="716150" y="865307"/>
                    <a:pt x="716416" y="866018"/>
                  </a:cubicBezTo>
                  <a:cubicBezTo>
                    <a:pt x="716492" y="866819"/>
                    <a:pt x="716492" y="867632"/>
                    <a:pt x="716416" y="868432"/>
                  </a:cubicBezTo>
                  <a:cubicBezTo>
                    <a:pt x="716416" y="868432"/>
                    <a:pt x="716416" y="869449"/>
                    <a:pt x="716416" y="869957"/>
                  </a:cubicBezTo>
                  <a:lnTo>
                    <a:pt x="716416" y="1118099"/>
                  </a:lnTo>
                  <a:lnTo>
                    <a:pt x="741830" y="1118099"/>
                  </a:lnTo>
                  <a:lnTo>
                    <a:pt x="741830" y="0"/>
                  </a:lnTo>
                  <a:lnTo>
                    <a:pt x="7116" y="0"/>
                  </a:lnTo>
                  <a:cubicBezTo>
                    <a:pt x="5451" y="2389"/>
                    <a:pt x="2884" y="4002"/>
                    <a:pt x="0" y="4447"/>
                  </a:cubicBezTo>
                  <a:lnTo>
                    <a:pt x="0" y="506448"/>
                  </a:lnTo>
                  <a:cubicBezTo>
                    <a:pt x="1347" y="506600"/>
                    <a:pt x="2643" y="507032"/>
                    <a:pt x="3812" y="507718"/>
                  </a:cubicBezTo>
                  <a:close/>
                </a:path>
              </a:pathLst>
            </a:custGeom>
            <a:solidFill>
              <a:schemeClr val="tx2"/>
            </a:solidFill>
            <a:ln w="12704"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24E527E-7FA5-4ABC-A719-A2D8648052CC}"/>
                </a:ext>
              </a:extLst>
            </p:cNvPr>
            <p:cNvSpPr/>
            <p:nvPr/>
          </p:nvSpPr>
          <p:spPr>
            <a:xfrm>
              <a:off x="11085229" y="3396786"/>
              <a:ext cx="161758" cy="521059"/>
            </a:xfrm>
            <a:custGeom>
              <a:avLst/>
              <a:gdLst>
                <a:gd name="connsiteX0" fmla="*/ 152356 w 161758"/>
                <a:gd name="connsiteY0" fmla="*/ 521059 h 521059"/>
                <a:gd name="connsiteX1" fmla="*/ 153626 w 161758"/>
                <a:gd name="connsiteY1" fmla="*/ 517121 h 521059"/>
                <a:gd name="connsiteX2" fmla="*/ 161759 w 161758"/>
                <a:gd name="connsiteY2" fmla="*/ 511530 h 521059"/>
                <a:gd name="connsiteX3" fmla="*/ 161759 w 161758"/>
                <a:gd name="connsiteY3" fmla="*/ 9402 h 521059"/>
                <a:gd name="connsiteX4" fmla="*/ 152483 w 161758"/>
                <a:gd name="connsiteY4" fmla="*/ 0 h 521059"/>
                <a:gd name="connsiteX5" fmla="*/ 0 w 161758"/>
                <a:gd name="connsiteY5" fmla="*/ 0 h 521059"/>
                <a:gd name="connsiteX6" fmla="*/ 0 w 161758"/>
                <a:gd name="connsiteY6" fmla="*/ 520932 h 52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758" h="521059">
                  <a:moveTo>
                    <a:pt x="152356" y="521059"/>
                  </a:moveTo>
                  <a:cubicBezTo>
                    <a:pt x="152585" y="519687"/>
                    <a:pt x="153017" y="518366"/>
                    <a:pt x="153626" y="517121"/>
                  </a:cubicBezTo>
                  <a:cubicBezTo>
                    <a:pt x="155329" y="514096"/>
                    <a:pt x="158328" y="512026"/>
                    <a:pt x="161759" y="511530"/>
                  </a:cubicBezTo>
                  <a:lnTo>
                    <a:pt x="161759" y="9402"/>
                  </a:lnTo>
                  <a:cubicBezTo>
                    <a:pt x="156981" y="8551"/>
                    <a:pt x="153271" y="4777"/>
                    <a:pt x="152483" y="0"/>
                  </a:cubicBezTo>
                  <a:lnTo>
                    <a:pt x="0" y="0"/>
                  </a:lnTo>
                  <a:lnTo>
                    <a:pt x="0" y="520932"/>
                  </a:lnTo>
                  <a:close/>
                </a:path>
              </a:pathLst>
            </a:custGeom>
            <a:solidFill>
              <a:srgbClr val="E8E7E3"/>
            </a:solidFill>
            <a:ln w="12704"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818A86F9-D25B-4156-A127-C0977C63C7E8}"/>
                </a:ext>
              </a:extLst>
            </p:cNvPr>
            <p:cNvSpPr/>
            <p:nvPr/>
          </p:nvSpPr>
          <p:spPr>
            <a:xfrm>
              <a:off x="11085229" y="4615132"/>
              <a:ext cx="278408" cy="261736"/>
            </a:xfrm>
            <a:custGeom>
              <a:avLst/>
              <a:gdLst>
                <a:gd name="connsiteX0" fmla="*/ 0 w 278408"/>
                <a:gd name="connsiteY0" fmla="*/ 261737 h 261736"/>
                <a:gd name="connsiteX1" fmla="*/ 278408 w 278408"/>
                <a:gd name="connsiteY1" fmla="*/ 261737 h 261736"/>
                <a:gd name="connsiteX2" fmla="*/ 127323 w 278408"/>
                <a:gd name="connsiteY2" fmla="*/ 71152 h 261736"/>
                <a:gd name="connsiteX3" fmla="*/ 127323 w 278408"/>
                <a:gd name="connsiteY3" fmla="*/ 71152 h 261736"/>
                <a:gd name="connsiteX4" fmla="*/ 75098 w 278408"/>
                <a:gd name="connsiteY4" fmla="*/ 5463 h 261736"/>
                <a:gd name="connsiteX5" fmla="*/ 72810 w 278408"/>
                <a:gd name="connsiteY5" fmla="*/ 0 h 261736"/>
                <a:gd name="connsiteX6" fmla="*/ 0 w 278408"/>
                <a:gd name="connsiteY6" fmla="*/ 0 h 26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408" h="261736">
                  <a:moveTo>
                    <a:pt x="0" y="261737"/>
                  </a:moveTo>
                  <a:lnTo>
                    <a:pt x="278408" y="261737"/>
                  </a:lnTo>
                  <a:lnTo>
                    <a:pt x="127323" y="71152"/>
                  </a:lnTo>
                  <a:lnTo>
                    <a:pt x="127323" y="71152"/>
                  </a:lnTo>
                  <a:lnTo>
                    <a:pt x="75098" y="5463"/>
                  </a:lnTo>
                  <a:cubicBezTo>
                    <a:pt x="73916" y="3850"/>
                    <a:pt x="73128" y="1982"/>
                    <a:pt x="72810" y="0"/>
                  </a:cubicBezTo>
                  <a:lnTo>
                    <a:pt x="0" y="0"/>
                  </a:ln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8129B7B0-3F06-4BA6-8DDE-3634E1082B7F}"/>
                </a:ext>
              </a:extLst>
            </p:cNvPr>
            <p:cNvSpPr/>
            <p:nvPr/>
          </p:nvSpPr>
          <p:spPr>
            <a:xfrm>
              <a:off x="11075571" y="4881189"/>
              <a:ext cx="293148" cy="1118479"/>
            </a:xfrm>
            <a:custGeom>
              <a:avLst/>
              <a:gdLst>
                <a:gd name="connsiteX0" fmla="*/ 291370 w 293148"/>
                <a:gd name="connsiteY0" fmla="*/ 0 h 1118479"/>
                <a:gd name="connsiteX1" fmla="*/ 9276 w 293148"/>
                <a:gd name="connsiteY1" fmla="*/ 0 h 1118479"/>
                <a:gd name="connsiteX2" fmla="*/ 0 w 293148"/>
                <a:gd name="connsiteY2" fmla="*/ 9402 h 1118479"/>
                <a:gd name="connsiteX3" fmla="*/ 0 w 293148"/>
                <a:gd name="connsiteY3" fmla="*/ 1118480 h 1118479"/>
                <a:gd name="connsiteX4" fmla="*/ 293149 w 293148"/>
                <a:gd name="connsiteY4" fmla="*/ 1118480 h 1118479"/>
                <a:gd name="connsiteX5" fmla="*/ 293149 w 293148"/>
                <a:gd name="connsiteY5" fmla="*/ 2160 h 111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148" h="1118479">
                  <a:moveTo>
                    <a:pt x="291370" y="0"/>
                  </a:moveTo>
                  <a:lnTo>
                    <a:pt x="9276" y="0"/>
                  </a:lnTo>
                  <a:cubicBezTo>
                    <a:pt x="8425" y="4752"/>
                    <a:pt x="4740" y="8487"/>
                    <a:pt x="0" y="9402"/>
                  </a:cubicBezTo>
                  <a:lnTo>
                    <a:pt x="0" y="1118480"/>
                  </a:lnTo>
                  <a:lnTo>
                    <a:pt x="293149" y="1118480"/>
                  </a:lnTo>
                  <a:lnTo>
                    <a:pt x="293149" y="2160"/>
                  </a:lnTo>
                  <a:close/>
                </a:path>
              </a:pathLst>
            </a:custGeom>
            <a:solidFill>
              <a:schemeClr val="accent6">
                <a:lumMod val="75000"/>
              </a:schemeClr>
            </a:solidFill>
            <a:ln w="12704"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78B2EC14-CF6A-4CAB-ACE4-5C4F7E123E45}"/>
                </a:ext>
              </a:extLst>
            </p:cNvPr>
            <p:cNvSpPr/>
            <p:nvPr/>
          </p:nvSpPr>
          <p:spPr>
            <a:xfrm>
              <a:off x="8469509" y="5487630"/>
              <a:ext cx="2452944" cy="487389"/>
            </a:xfrm>
            <a:custGeom>
              <a:avLst/>
              <a:gdLst>
                <a:gd name="connsiteX0" fmla="*/ 2362597 w 2452944"/>
                <a:gd name="connsiteY0" fmla="*/ 203672 h 487389"/>
                <a:gd name="connsiteX1" fmla="*/ 2368316 w 2452944"/>
                <a:gd name="connsiteY1" fmla="*/ 189568 h 487389"/>
                <a:gd name="connsiteX2" fmla="*/ 2357388 w 2452944"/>
                <a:gd name="connsiteY2" fmla="*/ 155390 h 487389"/>
                <a:gd name="connsiteX3" fmla="*/ 592778 w 2452944"/>
                <a:gd name="connsiteY3" fmla="*/ 155390 h 487389"/>
                <a:gd name="connsiteX4" fmla="*/ 581087 w 2452944"/>
                <a:gd name="connsiteY4" fmla="*/ 143447 h 487389"/>
                <a:gd name="connsiteX5" fmla="*/ 581087 w 2452944"/>
                <a:gd name="connsiteY5" fmla="*/ 143320 h 487389"/>
                <a:gd name="connsiteX6" fmla="*/ 581087 w 2452944"/>
                <a:gd name="connsiteY6" fmla="*/ 9783 h 487389"/>
                <a:gd name="connsiteX7" fmla="*/ 476636 w 2452944"/>
                <a:gd name="connsiteY7" fmla="*/ 9783 h 487389"/>
                <a:gd name="connsiteX8" fmla="*/ 465327 w 2452944"/>
                <a:gd name="connsiteY8" fmla="*/ 0 h 487389"/>
                <a:gd name="connsiteX9" fmla="*/ 270657 w 2452944"/>
                <a:gd name="connsiteY9" fmla="*/ 0 h 487389"/>
                <a:gd name="connsiteX10" fmla="*/ 170527 w 2452944"/>
                <a:gd name="connsiteY10" fmla="*/ 172670 h 487389"/>
                <a:gd name="connsiteX11" fmla="*/ 154008 w 2452944"/>
                <a:gd name="connsiteY11" fmla="*/ 201003 h 487389"/>
                <a:gd name="connsiteX12" fmla="*/ 118555 w 2452944"/>
                <a:gd name="connsiteY12" fmla="*/ 262245 h 487389"/>
                <a:gd name="connsiteX13" fmla="*/ 118555 w 2452944"/>
                <a:gd name="connsiteY13" fmla="*/ 278254 h 487389"/>
                <a:gd name="connsiteX14" fmla="*/ 118555 w 2452944"/>
                <a:gd name="connsiteY14" fmla="*/ 279016 h 487389"/>
                <a:gd name="connsiteX15" fmla="*/ 118555 w 2452944"/>
                <a:gd name="connsiteY15" fmla="*/ 281430 h 487389"/>
                <a:gd name="connsiteX16" fmla="*/ 117793 w 2452944"/>
                <a:gd name="connsiteY16" fmla="*/ 283590 h 487389"/>
                <a:gd name="connsiteX17" fmla="*/ 117793 w 2452944"/>
                <a:gd name="connsiteY17" fmla="*/ 284352 h 487389"/>
                <a:gd name="connsiteX18" fmla="*/ 106738 w 2452944"/>
                <a:gd name="connsiteY18" fmla="*/ 303538 h 487389"/>
                <a:gd name="connsiteX19" fmla="*/ 105086 w 2452944"/>
                <a:gd name="connsiteY19" fmla="*/ 305698 h 487389"/>
                <a:gd name="connsiteX20" fmla="*/ 105086 w 2452944"/>
                <a:gd name="connsiteY20" fmla="*/ 305698 h 487389"/>
                <a:gd name="connsiteX21" fmla="*/ 101782 w 2452944"/>
                <a:gd name="connsiteY21" fmla="*/ 307985 h 487389"/>
                <a:gd name="connsiteX22" fmla="*/ 100893 w 2452944"/>
                <a:gd name="connsiteY22" fmla="*/ 307985 h 487389"/>
                <a:gd name="connsiteX23" fmla="*/ 96827 w 2452944"/>
                <a:gd name="connsiteY23" fmla="*/ 308747 h 487389"/>
                <a:gd name="connsiteX24" fmla="*/ 92888 w 2452944"/>
                <a:gd name="connsiteY24" fmla="*/ 307985 h 487389"/>
                <a:gd name="connsiteX25" fmla="*/ 92888 w 2452944"/>
                <a:gd name="connsiteY25" fmla="*/ 307985 h 487389"/>
                <a:gd name="connsiteX26" fmla="*/ 53750 w 2452944"/>
                <a:gd name="connsiteY26" fmla="*/ 375325 h 487389"/>
                <a:gd name="connsiteX27" fmla="*/ 56292 w 2452944"/>
                <a:gd name="connsiteY27" fmla="*/ 390318 h 487389"/>
                <a:gd name="connsiteX28" fmla="*/ 0 w 2452944"/>
                <a:gd name="connsiteY28" fmla="*/ 487389 h 487389"/>
                <a:gd name="connsiteX29" fmla="*/ 2452944 w 2452944"/>
                <a:gd name="connsiteY29" fmla="*/ 487389 h 48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52944" h="487389">
                  <a:moveTo>
                    <a:pt x="2362597" y="203672"/>
                  </a:moveTo>
                  <a:cubicBezTo>
                    <a:pt x="2360869" y="198208"/>
                    <a:pt x="2363271" y="192287"/>
                    <a:pt x="2368316" y="189568"/>
                  </a:cubicBezTo>
                  <a:lnTo>
                    <a:pt x="2357388" y="155390"/>
                  </a:lnTo>
                  <a:lnTo>
                    <a:pt x="592778" y="155390"/>
                  </a:lnTo>
                  <a:cubicBezTo>
                    <a:pt x="586246" y="155326"/>
                    <a:pt x="581011" y="149977"/>
                    <a:pt x="581087" y="143447"/>
                  </a:cubicBezTo>
                  <a:cubicBezTo>
                    <a:pt x="581087" y="143409"/>
                    <a:pt x="581087" y="143358"/>
                    <a:pt x="581087" y="143320"/>
                  </a:cubicBezTo>
                  <a:lnTo>
                    <a:pt x="581087" y="9783"/>
                  </a:lnTo>
                  <a:lnTo>
                    <a:pt x="476636" y="9783"/>
                  </a:lnTo>
                  <a:cubicBezTo>
                    <a:pt x="470982" y="9732"/>
                    <a:pt x="466191" y="5590"/>
                    <a:pt x="465327" y="0"/>
                  </a:cubicBezTo>
                  <a:lnTo>
                    <a:pt x="270657" y="0"/>
                  </a:lnTo>
                  <a:lnTo>
                    <a:pt x="170527" y="172670"/>
                  </a:lnTo>
                  <a:lnTo>
                    <a:pt x="154008" y="201003"/>
                  </a:lnTo>
                  <a:lnTo>
                    <a:pt x="118555" y="262245"/>
                  </a:lnTo>
                  <a:lnTo>
                    <a:pt x="118555" y="278254"/>
                  </a:lnTo>
                  <a:cubicBezTo>
                    <a:pt x="118555" y="278254"/>
                    <a:pt x="118555" y="278254"/>
                    <a:pt x="118555" y="279016"/>
                  </a:cubicBezTo>
                  <a:cubicBezTo>
                    <a:pt x="118657" y="279817"/>
                    <a:pt x="118657" y="280630"/>
                    <a:pt x="118555" y="281430"/>
                  </a:cubicBezTo>
                  <a:cubicBezTo>
                    <a:pt x="118441" y="282193"/>
                    <a:pt x="118174" y="282929"/>
                    <a:pt x="117793" y="283590"/>
                  </a:cubicBezTo>
                  <a:lnTo>
                    <a:pt x="117793" y="284352"/>
                  </a:lnTo>
                  <a:lnTo>
                    <a:pt x="106738" y="303538"/>
                  </a:lnTo>
                  <a:cubicBezTo>
                    <a:pt x="106255" y="304313"/>
                    <a:pt x="105709" y="305038"/>
                    <a:pt x="105086" y="305698"/>
                  </a:cubicBezTo>
                  <a:cubicBezTo>
                    <a:pt x="105086" y="305698"/>
                    <a:pt x="105086" y="305698"/>
                    <a:pt x="105086" y="305698"/>
                  </a:cubicBezTo>
                  <a:cubicBezTo>
                    <a:pt x="104146" y="306677"/>
                    <a:pt x="103028" y="307452"/>
                    <a:pt x="101782" y="307985"/>
                  </a:cubicBezTo>
                  <a:lnTo>
                    <a:pt x="100893" y="307985"/>
                  </a:lnTo>
                  <a:cubicBezTo>
                    <a:pt x="99597" y="308494"/>
                    <a:pt x="98224" y="308747"/>
                    <a:pt x="96827" y="308747"/>
                  </a:cubicBezTo>
                  <a:cubicBezTo>
                    <a:pt x="95480" y="308747"/>
                    <a:pt x="94146" y="308481"/>
                    <a:pt x="92888" y="307985"/>
                  </a:cubicBezTo>
                  <a:lnTo>
                    <a:pt x="92888" y="307985"/>
                  </a:lnTo>
                  <a:lnTo>
                    <a:pt x="53750" y="375325"/>
                  </a:lnTo>
                  <a:cubicBezTo>
                    <a:pt x="58083" y="379073"/>
                    <a:pt x="59151" y="385363"/>
                    <a:pt x="56292" y="390318"/>
                  </a:cubicBezTo>
                  <a:lnTo>
                    <a:pt x="0" y="487389"/>
                  </a:lnTo>
                  <a:lnTo>
                    <a:pt x="2452944" y="487389"/>
                  </a:lnTo>
                  <a:close/>
                </a:path>
              </a:pathLst>
            </a:custGeom>
            <a:solidFill>
              <a:schemeClr val="bg1">
                <a:lumMod val="95000"/>
              </a:schemeClr>
            </a:solidFill>
            <a:ln w="12704"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8D1BDA5-0E6A-4DDF-8D86-E5DCABB30BA4}"/>
                </a:ext>
              </a:extLst>
            </p:cNvPr>
            <p:cNvSpPr/>
            <p:nvPr/>
          </p:nvSpPr>
          <p:spPr>
            <a:xfrm>
              <a:off x="8741056" y="4871914"/>
              <a:ext cx="147908" cy="611396"/>
            </a:xfrm>
            <a:custGeom>
              <a:avLst/>
              <a:gdLst>
                <a:gd name="connsiteX0" fmla="*/ 0 w 147908"/>
                <a:gd name="connsiteY0" fmla="*/ 0 h 611396"/>
                <a:gd name="connsiteX1" fmla="*/ 147909 w 147908"/>
                <a:gd name="connsiteY1" fmla="*/ 0 h 611396"/>
                <a:gd name="connsiteX2" fmla="*/ 147909 w 147908"/>
                <a:gd name="connsiteY2" fmla="*/ 611396 h 611396"/>
                <a:gd name="connsiteX3" fmla="*/ 0 w 147908"/>
                <a:gd name="connsiteY3" fmla="*/ 611396 h 611396"/>
              </a:gdLst>
              <a:ahLst/>
              <a:cxnLst>
                <a:cxn ang="0">
                  <a:pos x="connsiteX0" y="connsiteY0"/>
                </a:cxn>
                <a:cxn ang="0">
                  <a:pos x="connsiteX1" y="connsiteY1"/>
                </a:cxn>
                <a:cxn ang="0">
                  <a:pos x="connsiteX2" y="connsiteY2"/>
                </a:cxn>
                <a:cxn ang="0">
                  <a:pos x="connsiteX3" y="connsiteY3"/>
                </a:cxn>
              </a:cxnLst>
              <a:rect l="l" t="t" r="r" b="b"/>
              <a:pathLst>
                <a:path w="147908" h="611396">
                  <a:moveTo>
                    <a:pt x="0" y="0"/>
                  </a:moveTo>
                  <a:lnTo>
                    <a:pt x="147909" y="0"/>
                  </a:lnTo>
                  <a:lnTo>
                    <a:pt x="147909" y="611396"/>
                  </a:lnTo>
                  <a:lnTo>
                    <a:pt x="0" y="611396"/>
                  </a:lnTo>
                  <a:close/>
                </a:path>
              </a:pathLst>
            </a:custGeom>
            <a:solidFill>
              <a:schemeClr val="accent6">
                <a:lumMod val="75000"/>
              </a:schemeClr>
            </a:solidFill>
            <a:ln w="12704"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35E66D6-1466-404A-9AE3-941DC636E717}"/>
                </a:ext>
              </a:extLst>
            </p:cNvPr>
            <p:cNvSpPr/>
            <p:nvPr/>
          </p:nvSpPr>
          <p:spPr>
            <a:xfrm>
              <a:off x="8893157" y="4871914"/>
              <a:ext cx="50954" cy="611396"/>
            </a:xfrm>
            <a:custGeom>
              <a:avLst/>
              <a:gdLst>
                <a:gd name="connsiteX0" fmla="*/ 0 w 50954"/>
                <a:gd name="connsiteY0" fmla="*/ 0 h 611396"/>
                <a:gd name="connsiteX1" fmla="*/ 0 w 50954"/>
                <a:gd name="connsiteY1" fmla="*/ 611397 h 611396"/>
                <a:gd name="connsiteX2" fmla="*/ 41679 w 50954"/>
                <a:gd name="connsiteY2" fmla="*/ 611397 h 611396"/>
                <a:gd name="connsiteX3" fmla="*/ 50955 w 50954"/>
                <a:gd name="connsiteY3" fmla="*/ 601994 h 611396"/>
                <a:gd name="connsiteX4" fmla="*/ 50955 w 50954"/>
                <a:gd name="connsiteY4" fmla="*/ 0 h 61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4" h="611396">
                  <a:moveTo>
                    <a:pt x="0" y="0"/>
                  </a:moveTo>
                  <a:lnTo>
                    <a:pt x="0" y="611397"/>
                  </a:lnTo>
                  <a:lnTo>
                    <a:pt x="41679" y="611397"/>
                  </a:lnTo>
                  <a:cubicBezTo>
                    <a:pt x="42466" y="606619"/>
                    <a:pt x="46177" y="602846"/>
                    <a:pt x="50955" y="601994"/>
                  </a:cubicBezTo>
                  <a:lnTo>
                    <a:pt x="50955" y="0"/>
                  </a:lnTo>
                  <a:close/>
                </a:path>
              </a:pathLst>
            </a:custGeom>
            <a:solidFill>
              <a:srgbClr val="F9C996"/>
            </a:solidFill>
            <a:ln w="12704"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086BD401-4956-47E5-92FB-E869CB2E768A}"/>
                </a:ext>
              </a:extLst>
            </p:cNvPr>
            <p:cNvSpPr/>
            <p:nvPr/>
          </p:nvSpPr>
          <p:spPr>
            <a:xfrm>
              <a:off x="8640290" y="4871914"/>
              <a:ext cx="96699" cy="779619"/>
            </a:xfrm>
            <a:custGeom>
              <a:avLst/>
              <a:gdLst>
                <a:gd name="connsiteX0" fmla="*/ 96699 w 96699"/>
                <a:gd name="connsiteY0" fmla="*/ 612922 h 779619"/>
                <a:gd name="connsiteX1" fmla="*/ 96699 w 96699"/>
                <a:gd name="connsiteY1" fmla="*/ 0 h 779619"/>
                <a:gd name="connsiteX2" fmla="*/ 0 w 96699"/>
                <a:gd name="connsiteY2" fmla="*/ 0 h 779619"/>
                <a:gd name="connsiteX3" fmla="*/ 0 w 96699"/>
                <a:gd name="connsiteY3" fmla="*/ 779620 h 779619"/>
                <a:gd name="connsiteX4" fmla="*/ 96699 w 96699"/>
                <a:gd name="connsiteY4" fmla="*/ 612922 h 779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99" h="779619">
                  <a:moveTo>
                    <a:pt x="96699" y="612922"/>
                  </a:moveTo>
                  <a:lnTo>
                    <a:pt x="96699" y="0"/>
                  </a:lnTo>
                  <a:lnTo>
                    <a:pt x="0" y="0"/>
                  </a:lnTo>
                  <a:lnTo>
                    <a:pt x="0" y="779620"/>
                  </a:lnTo>
                  <a:lnTo>
                    <a:pt x="96699" y="612922"/>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AD57C92B-F5CA-4C22-B75B-EFE4EC4149A3}"/>
                </a:ext>
              </a:extLst>
            </p:cNvPr>
            <p:cNvSpPr/>
            <p:nvPr/>
          </p:nvSpPr>
          <p:spPr>
            <a:xfrm>
              <a:off x="8948178" y="4871914"/>
              <a:ext cx="82722" cy="601486"/>
            </a:xfrm>
            <a:custGeom>
              <a:avLst/>
              <a:gdLst>
                <a:gd name="connsiteX0" fmla="*/ 0 w 82722"/>
                <a:gd name="connsiteY0" fmla="*/ 0 h 601486"/>
                <a:gd name="connsiteX1" fmla="*/ 82722 w 82722"/>
                <a:gd name="connsiteY1" fmla="*/ 0 h 601486"/>
                <a:gd name="connsiteX2" fmla="*/ 82722 w 82722"/>
                <a:gd name="connsiteY2" fmla="*/ 601486 h 601486"/>
                <a:gd name="connsiteX3" fmla="*/ 0 w 82722"/>
                <a:gd name="connsiteY3" fmla="*/ 601486 h 601486"/>
              </a:gdLst>
              <a:ahLst/>
              <a:cxnLst>
                <a:cxn ang="0">
                  <a:pos x="connsiteX0" y="connsiteY0"/>
                </a:cxn>
                <a:cxn ang="0">
                  <a:pos x="connsiteX1" y="connsiteY1"/>
                </a:cxn>
                <a:cxn ang="0">
                  <a:pos x="connsiteX2" y="connsiteY2"/>
                </a:cxn>
                <a:cxn ang="0">
                  <a:pos x="connsiteX3" y="connsiteY3"/>
                </a:cxn>
              </a:cxnLst>
              <a:rect l="l" t="t" r="r" b="b"/>
              <a:pathLst>
                <a:path w="82722" h="601486">
                  <a:moveTo>
                    <a:pt x="0" y="0"/>
                  </a:moveTo>
                  <a:lnTo>
                    <a:pt x="82722" y="0"/>
                  </a:lnTo>
                  <a:lnTo>
                    <a:pt x="82722" y="601486"/>
                  </a:lnTo>
                  <a:lnTo>
                    <a:pt x="0" y="601486"/>
                  </a:lnTo>
                  <a:close/>
                </a:path>
              </a:pathLst>
            </a:custGeom>
            <a:solidFill>
              <a:schemeClr val="accent4"/>
            </a:solidFill>
            <a:ln w="12704"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71F958E-36EA-41B2-AD0C-2319BF81B084}"/>
                </a:ext>
              </a:extLst>
            </p:cNvPr>
            <p:cNvSpPr/>
            <p:nvPr/>
          </p:nvSpPr>
          <p:spPr>
            <a:xfrm>
              <a:off x="10831344" y="5643020"/>
              <a:ext cx="9784" cy="31129"/>
            </a:xfrm>
            <a:custGeom>
              <a:avLst/>
              <a:gdLst>
                <a:gd name="connsiteX0" fmla="*/ 9785 w 9784"/>
                <a:gd name="connsiteY0" fmla="*/ 31129 h 31129"/>
                <a:gd name="connsiteX1" fmla="*/ 9785 w 9784"/>
                <a:gd name="connsiteY1" fmla="*/ 0 h 31129"/>
                <a:gd name="connsiteX2" fmla="*/ 0 w 9784"/>
                <a:gd name="connsiteY2" fmla="*/ 0 h 31129"/>
                <a:gd name="connsiteX3" fmla="*/ 9785 w 9784"/>
                <a:gd name="connsiteY3" fmla="*/ 31129 h 31129"/>
              </a:gdLst>
              <a:ahLst/>
              <a:cxnLst>
                <a:cxn ang="0">
                  <a:pos x="connsiteX0" y="connsiteY0"/>
                </a:cxn>
                <a:cxn ang="0">
                  <a:pos x="connsiteX1" y="connsiteY1"/>
                </a:cxn>
                <a:cxn ang="0">
                  <a:pos x="connsiteX2" y="connsiteY2"/>
                </a:cxn>
                <a:cxn ang="0">
                  <a:pos x="connsiteX3" y="connsiteY3"/>
                </a:cxn>
              </a:cxnLst>
              <a:rect l="l" t="t" r="r" b="b"/>
              <a:pathLst>
                <a:path w="9784" h="31129">
                  <a:moveTo>
                    <a:pt x="9785" y="31129"/>
                  </a:moveTo>
                  <a:lnTo>
                    <a:pt x="9785" y="0"/>
                  </a:lnTo>
                  <a:lnTo>
                    <a:pt x="0" y="0"/>
                  </a:lnTo>
                  <a:lnTo>
                    <a:pt x="9785" y="31129"/>
                  </a:lnTo>
                  <a:close/>
                </a:path>
              </a:pathLst>
            </a:custGeom>
            <a:solidFill>
              <a:srgbClr val="F9C996"/>
            </a:solidFill>
            <a:ln w="12704"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79C78906-0F71-41D1-8315-D38D3556B846}"/>
                </a:ext>
              </a:extLst>
            </p:cNvPr>
            <p:cNvSpPr/>
            <p:nvPr/>
          </p:nvSpPr>
          <p:spPr>
            <a:xfrm>
              <a:off x="8633555" y="3291964"/>
              <a:ext cx="2541" cy="1556951"/>
            </a:xfrm>
            <a:custGeom>
              <a:avLst/>
              <a:gdLst>
                <a:gd name="connsiteX0" fmla="*/ 2541 w 2541"/>
                <a:gd name="connsiteY0" fmla="*/ 0 h 1556951"/>
                <a:gd name="connsiteX1" fmla="*/ 0 w 2541"/>
                <a:gd name="connsiteY1" fmla="*/ 0 h 1556951"/>
                <a:gd name="connsiteX2" fmla="*/ 0 w 2541"/>
                <a:gd name="connsiteY2" fmla="*/ 1556952 h 1556951"/>
                <a:gd name="connsiteX3" fmla="*/ 2541 w 2541"/>
                <a:gd name="connsiteY3" fmla="*/ 1556952 h 1556951"/>
              </a:gdLst>
              <a:ahLst/>
              <a:cxnLst>
                <a:cxn ang="0">
                  <a:pos x="connsiteX0" y="connsiteY0"/>
                </a:cxn>
                <a:cxn ang="0">
                  <a:pos x="connsiteX1" y="connsiteY1"/>
                </a:cxn>
                <a:cxn ang="0">
                  <a:pos x="connsiteX2" y="connsiteY2"/>
                </a:cxn>
                <a:cxn ang="0">
                  <a:pos x="connsiteX3" y="connsiteY3"/>
                </a:cxn>
              </a:cxnLst>
              <a:rect l="l" t="t" r="r" b="b"/>
              <a:pathLst>
                <a:path w="2541" h="1556951">
                  <a:moveTo>
                    <a:pt x="2541" y="0"/>
                  </a:moveTo>
                  <a:lnTo>
                    <a:pt x="0" y="0"/>
                  </a:lnTo>
                  <a:lnTo>
                    <a:pt x="0" y="1556952"/>
                  </a:lnTo>
                  <a:lnTo>
                    <a:pt x="2541" y="1556952"/>
                  </a:lnTo>
                  <a:close/>
                </a:path>
              </a:pathLst>
            </a:custGeom>
            <a:solidFill>
              <a:srgbClr val="F9AA19"/>
            </a:solidFill>
            <a:ln w="12704"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40F6D8FD-4FDA-436E-9304-C1DB84A3D680}"/>
                </a:ext>
              </a:extLst>
            </p:cNvPr>
            <p:cNvSpPr/>
            <p:nvPr/>
          </p:nvSpPr>
          <p:spPr>
            <a:xfrm>
              <a:off x="8623898" y="4870897"/>
              <a:ext cx="12706" cy="808969"/>
            </a:xfrm>
            <a:custGeom>
              <a:avLst/>
              <a:gdLst>
                <a:gd name="connsiteX0" fmla="*/ 0 w 12706"/>
                <a:gd name="connsiteY0" fmla="*/ 696143 h 808969"/>
                <a:gd name="connsiteX1" fmla="*/ 0 w 12706"/>
                <a:gd name="connsiteY1" fmla="*/ 808969 h 808969"/>
                <a:gd name="connsiteX2" fmla="*/ 12707 w 12706"/>
                <a:gd name="connsiteY2" fmla="*/ 787751 h 808969"/>
                <a:gd name="connsiteX3" fmla="*/ 12707 w 12706"/>
                <a:gd name="connsiteY3" fmla="*/ 0 h 808969"/>
                <a:gd name="connsiteX4" fmla="*/ 10165 w 12706"/>
                <a:gd name="connsiteY4" fmla="*/ 0 h 808969"/>
                <a:gd name="connsiteX5" fmla="*/ 10165 w 12706"/>
                <a:gd name="connsiteY5" fmla="*/ 684835 h 808969"/>
                <a:gd name="connsiteX6" fmla="*/ 0 w 12706"/>
                <a:gd name="connsiteY6" fmla="*/ 696143 h 80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6" h="808969">
                  <a:moveTo>
                    <a:pt x="0" y="696143"/>
                  </a:moveTo>
                  <a:lnTo>
                    <a:pt x="0" y="808969"/>
                  </a:lnTo>
                  <a:lnTo>
                    <a:pt x="12707" y="787751"/>
                  </a:lnTo>
                  <a:lnTo>
                    <a:pt x="12707" y="0"/>
                  </a:lnTo>
                  <a:cubicBezTo>
                    <a:pt x="11868" y="127"/>
                    <a:pt x="11004" y="127"/>
                    <a:pt x="10165" y="0"/>
                  </a:cubicBezTo>
                  <a:lnTo>
                    <a:pt x="10165" y="684835"/>
                  </a:lnTo>
                  <a:cubicBezTo>
                    <a:pt x="9975" y="690578"/>
                    <a:pt x="5680" y="695343"/>
                    <a:pt x="0" y="696143"/>
                  </a:cubicBezTo>
                  <a:close/>
                </a:path>
              </a:pathLst>
            </a:custGeom>
            <a:solidFill>
              <a:srgbClr val="F9AA19"/>
            </a:solidFill>
            <a:ln w="12704"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1CF35B7-6F43-4AC9-A7BD-C7A0DAA6542D}"/>
                </a:ext>
              </a:extLst>
            </p:cNvPr>
            <p:cNvSpPr/>
            <p:nvPr/>
          </p:nvSpPr>
          <p:spPr>
            <a:xfrm>
              <a:off x="8640035" y="3291964"/>
              <a:ext cx="410306" cy="1555935"/>
            </a:xfrm>
            <a:custGeom>
              <a:avLst/>
              <a:gdLst>
                <a:gd name="connsiteX0" fmla="*/ 306110 w 410306"/>
                <a:gd name="connsiteY0" fmla="*/ 1555936 h 1555935"/>
                <a:gd name="connsiteX1" fmla="*/ 410307 w 410306"/>
                <a:gd name="connsiteY1" fmla="*/ 1555936 h 1555935"/>
                <a:gd name="connsiteX2" fmla="*/ 410307 w 410306"/>
                <a:gd name="connsiteY2" fmla="*/ 812781 h 1555935"/>
                <a:gd name="connsiteX3" fmla="*/ 409163 w 410306"/>
                <a:gd name="connsiteY3" fmla="*/ 807826 h 1555935"/>
                <a:gd name="connsiteX4" fmla="*/ 409163 w 410306"/>
                <a:gd name="connsiteY4" fmla="*/ 0 h 1555935"/>
                <a:gd name="connsiteX5" fmla="*/ 0 w 410306"/>
                <a:gd name="connsiteY5" fmla="*/ 0 h 1555935"/>
                <a:gd name="connsiteX6" fmla="*/ 0 w 410306"/>
                <a:gd name="connsiteY6" fmla="*/ 1555936 h 1555935"/>
                <a:gd name="connsiteX7" fmla="*/ 306110 w 410306"/>
                <a:gd name="connsiteY7" fmla="*/ 1555936 h 155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306" h="1555935">
                  <a:moveTo>
                    <a:pt x="306110" y="1555936"/>
                  </a:moveTo>
                  <a:lnTo>
                    <a:pt x="410307" y="1555936"/>
                  </a:lnTo>
                  <a:lnTo>
                    <a:pt x="410307" y="812781"/>
                  </a:lnTo>
                  <a:cubicBezTo>
                    <a:pt x="409595" y="811219"/>
                    <a:pt x="409201" y="809542"/>
                    <a:pt x="409163" y="807826"/>
                  </a:cubicBezTo>
                  <a:lnTo>
                    <a:pt x="409163" y="0"/>
                  </a:lnTo>
                  <a:lnTo>
                    <a:pt x="0" y="0"/>
                  </a:lnTo>
                  <a:lnTo>
                    <a:pt x="0" y="1555936"/>
                  </a:lnTo>
                  <a:lnTo>
                    <a:pt x="306110" y="1555936"/>
                  </a:lnTo>
                  <a:close/>
                </a:path>
              </a:pathLst>
            </a:custGeom>
            <a:solidFill>
              <a:schemeClr val="bg1">
                <a:lumMod val="95000"/>
              </a:schemeClr>
            </a:solidFill>
            <a:ln w="12704"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A1B9F6AB-E4F9-4840-BCF4-C9B3D7F11B9A}"/>
                </a:ext>
              </a:extLst>
            </p:cNvPr>
            <p:cNvSpPr/>
            <p:nvPr/>
          </p:nvSpPr>
          <p:spPr>
            <a:xfrm>
              <a:off x="8588064" y="5567549"/>
              <a:ext cx="31640" cy="173940"/>
            </a:xfrm>
            <a:custGeom>
              <a:avLst/>
              <a:gdLst>
                <a:gd name="connsiteX0" fmla="*/ 28845 w 31640"/>
                <a:gd name="connsiteY0" fmla="*/ 0 h 173940"/>
                <a:gd name="connsiteX1" fmla="*/ 0 w 31640"/>
                <a:gd name="connsiteY1" fmla="*/ 46884 h 173940"/>
                <a:gd name="connsiteX2" fmla="*/ 0 w 31640"/>
                <a:gd name="connsiteY2" fmla="*/ 62004 h 173940"/>
                <a:gd name="connsiteX3" fmla="*/ 0 w 31640"/>
                <a:gd name="connsiteY3" fmla="*/ 173941 h 173940"/>
                <a:gd name="connsiteX4" fmla="*/ 31640 w 31640"/>
                <a:gd name="connsiteY4" fmla="*/ 119433 h 173940"/>
                <a:gd name="connsiteX5" fmla="*/ 31640 w 31640"/>
                <a:gd name="connsiteY5" fmla="*/ 0 h 173940"/>
                <a:gd name="connsiteX6" fmla="*/ 28845 w 31640"/>
                <a:gd name="connsiteY6" fmla="*/ 0 h 17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40" h="173940">
                  <a:moveTo>
                    <a:pt x="28845" y="0"/>
                  </a:moveTo>
                  <a:lnTo>
                    <a:pt x="0" y="46884"/>
                  </a:lnTo>
                  <a:lnTo>
                    <a:pt x="0" y="62004"/>
                  </a:lnTo>
                  <a:lnTo>
                    <a:pt x="0" y="173941"/>
                  </a:lnTo>
                  <a:lnTo>
                    <a:pt x="31640" y="119433"/>
                  </a:lnTo>
                  <a:lnTo>
                    <a:pt x="31640" y="0"/>
                  </a:lnTo>
                  <a:lnTo>
                    <a:pt x="28845" y="0"/>
                  </a:lnTo>
                  <a:close/>
                </a:path>
              </a:pathLst>
            </a:custGeom>
            <a:solidFill>
              <a:srgbClr val="F9AA19"/>
            </a:solidFill>
            <a:ln w="12704"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E0216477-D971-4BD3-850C-44FC91E61BB4}"/>
                </a:ext>
              </a:extLst>
            </p:cNvPr>
            <p:cNvSpPr/>
            <p:nvPr/>
          </p:nvSpPr>
          <p:spPr>
            <a:xfrm>
              <a:off x="9745411" y="2214905"/>
              <a:ext cx="51970" cy="507464"/>
            </a:xfrm>
            <a:custGeom>
              <a:avLst/>
              <a:gdLst>
                <a:gd name="connsiteX0" fmla="*/ 0 w 51970"/>
                <a:gd name="connsiteY0" fmla="*/ 0 h 507464"/>
                <a:gd name="connsiteX1" fmla="*/ 0 w 51970"/>
                <a:gd name="connsiteY1" fmla="*/ 507464 h 507464"/>
                <a:gd name="connsiteX2" fmla="*/ 51971 w 51970"/>
                <a:gd name="connsiteY2" fmla="*/ 507464 h 507464"/>
                <a:gd name="connsiteX3" fmla="*/ 51971 w 51970"/>
                <a:gd name="connsiteY3" fmla="*/ 28461 h 507464"/>
                <a:gd name="connsiteX4" fmla="*/ 47778 w 51970"/>
                <a:gd name="connsiteY4" fmla="*/ 19440 h 507464"/>
                <a:gd name="connsiteX5" fmla="*/ 47778 w 51970"/>
                <a:gd name="connsiteY5" fmla="*/ 254 h 50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70" h="507464">
                  <a:moveTo>
                    <a:pt x="0" y="0"/>
                  </a:moveTo>
                  <a:lnTo>
                    <a:pt x="0" y="507464"/>
                  </a:lnTo>
                  <a:lnTo>
                    <a:pt x="51971" y="507464"/>
                  </a:lnTo>
                  <a:lnTo>
                    <a:pt x="51971" y="28461"/>
                  </a:lnTo>
                  <a:cubicBezTo>
                    <a:pt x="49303" y="26224"/>
                    <a:pt x="47765" y="22921"/>
                    <a:pt x="47778" y="19440"/>
                  </a:cubicBezTo>
                  <a:lnTo>
                    <a:pt x="47778" y="254"/>
                  </a:lnTo>
                  <a:close/>
                </a:path>
              </a:pathLst>
            </a:custGeom>
            <a:solidFill>
              <a:schemeClr val="bg1">
                <a:lumMod val="95000"/>
              </a:schemeClr>
            </a:solidFill>
            <a:ln w="12704"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24C6558A-CC9E-40C9-B5F5-EB820CA4F479}"/>
                </a:ext>
              </a:extLst>
            </p:cNvPr>
            <p:cNvSpPr/>
            <p:nvPr/>
          </p:nvSpPr>
          <p:spPr>
            <a:xfrm>
              <a:off x="10355343" y="2245272"/>
              <a:ext cx="2287" cy="1021408"/>
            </a:xfrm>
            <a:custGeom>
              <a:avLst/>
              <a:gdLst>
                <a:gd name="connsiteX0" fmla="*/ 2287 w 2287"/>
                <a:gd name="connsiteY0" fmla="*/ 0 h 1021408"/>
                <a:gd name="connsiteX1" fmla="*/ 0 w 2287"/>
                <a:gd name="connsiteY1" fmla="*/ 0 h 1021408"/>
                <a:gd name="connsiteX2" fmla="*/ 0 w 2287"/>
                <a:gd name="connsiteY2" fmla="*/ 1021408 h 1021408"/>
                <a:gd name="connsiteX3" fmla="*/ 2287 w 2287"/>
                <a:gd name="connsiteY3" fmla="*/ 1021408 h 1021408"/>
              </a:gdLst>
              <a:ahLst/>
              <a:cxnLst>
                <a:cxn ang="0">
                  <a:pos x="connsiteX0" y="connsiteY0"/>
                </a:cxn>
                <a:cxn ang="0">
                  <a:pos x="connsiteX1" y="connsiteY1"/>
                </a:cxn>
                <a:cxn ang="0">
                  <a:pos x="connsiteX2" y="connsiteY2"/>
                </a:cxn>
                <a:cxn ang="0">
                  <a:pos x="connsiteX3" y="connsiteY3"/>
                </a:cxn>
              </a:cxnLst>
              <a:rect l="l" t="t" r="r" b="b"/>
              <a:pathLst>
                <a:path w="2287" h="1021408">
                  <a:moveTo>
                    <a:pt x="2287" y="0"/>
                  </a:moveTo>
                  <a:lnTo>
                    <a:pt x="0" y="0"/>
                  </a:lnTo>
                  <a:lnTo>
                    <a:pt x="0" y="1021408"/>
                  </a:lnTo>
                  <a:lnTo>
                    <a:pt x="2287" y="1021408"/>
                  </a:lnTo>
                  <a:close/>
                </a:path>
              </a:pathLst>
            </a:custGeom>
            <a:solidFill>
              <a:srgbClr val="F9AA19"/>
            </a:solidFill>
            <a:ln w="12704"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0149D81-FC92-4113-80DC-651F6F693809}"/>
                </a:ext>
              </a:extLst>
            </p:cNvPr>
            <p:cNvSpPr/>
            <p:nvPr/>
          </p:nvSpPr>
          <p:spPr>
            <a:xfrm>
              <a:off x="10361824" y="2188731"/>
              <a:ext cx="316656" cy="1078456"/>
            </a:xfrm>
            <a:custGeom>
              <a:avLst/>
              <a:gdLst>
                <a:gd name="connsiteX0" fmla="*/ 2668 w 316656"/>
                <a:gd name="connsiteY0" fmla="*/ 14103 h 1078456"/>
                <a:gd name="connsiteX1" fmla="*/ 2668 w 316656"/>
                <a:gd name="connsiteY1" fmla="*/ 14103 h 1078456"/>
                <a:gd name="connsiteX2" fmla="*/ 0 w 316656"/>
                <a:gd name="connsiteY2" fmla="*/ 23251 h 1078456"/>
                <a:gd name="connsiteX3" fmla="*/ 0 w 316656"/>
                <a:gd name="connsiteY3" fmla="*/ 37355 h 1078456"/>
                <a:gd name="connsiteX4" fmla="*/ 0 w 316656"/>
                <a:gd name="connsiteY4" fmla="*/ 53491 h 1078456"/>
                <a:gd name="connsiteX5" fmla="*/ 0 w 316656"/>
                <a:gd name="connsiteY5" fmla="*/ 1078457 h 1078456"/>
                <a:gd name="connsiteX6" fmla="*/ 316656 w 316656"/>
                <a:gd name="connsiteY6" fmla="*/ 1078457 h 1078456"/>
                <a:gd name="connsiteX7" fmla="*/ 316656 w 316656"/>
                <a:gd name="connsiteY7" fmla="*/ 0 h 1078456"/>
                <a:gd name="connsiteX8" fmla="*/ 6607 w 316656"/>
                <a:gd name="connsiteY8" fmla="*/ 0 h 10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56" h="1078456">
                  <a:moveTo>
                    <a:pt x="2668" y="14103"/>
                  </a:moveTo>
                  <a:lnTo>
                    <a:pt x="2668" y="14103"/>
                  </a:lnTo>
                  <a:lnTo>
                    <a:pt x="0" y="23251"/>
                  </a:lnTo>
                  <a:lnTo>
                    <a:pt x="0" y="37355"/>
                  </a:lnTo>
                  <a:cubicBezTo>
                    <a:pt x="4244" y="41891"/>
                    <a:pt x="4244" y="48955"/>
                    <a:pt x="0" y="53491"/>
                  </a:cubicBezTo>
                  <a:lnTo>
                    <a:pt x="0" y="1078457"/>
                  </a:lnTo>
                  <a:lnTo>
                    <a:pt x="316656" y="1078457"/>
                  </a:lnTo>
                  <a:lnTo>
                    <a:pt x="316656" y="0"/>
                  </a:lnTo>
                  <a:lnTo>
                    <a:pt x="6607" y="0"/>
                  </a:lnTo>
                  <a:close/>
                </a:path>
              </a:pathLst>
            </a:custGeom>
            <a:solidFill>
              <a:schemeClr val="accent1">
                <a:lumMod val="60000"/>
                <a:lumOff val="40000"/>
              </a:schemeClr>
            </a:solidFill>
            <a:ln w="12704"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751529E-1224-4421-AACA-2CB3448C588D}"/>
                </a:ext>
              </a:extLst>
            </p:cNvPr>
            <p:cNvSpPr/>
            <p:nvPr/>
          </p:nvSpPr>
          <p:spPr>
            <a:xfrm>
              <a:off x="11085101" y="3922038"/>
              <a:ext cx="196957" cy="31383"/>
            </a:xfrm>
            <a:custGeom>
              <a:avLst/>
              <a:gdLst>
                <a:gd name="connsiteX0" fmla="*/ 158074 w 196957"/>
                <a:gd name="connsiteY0" fmla="*/ 8259 h 31383"/>
                <a:gd name="connsiteX1" fmla="*/ 152483 w 196957"/>
                <a:gd name="connsiteY1" fmla="*/ 0 h 31383"/>
                <a:gd name="connsiteX2" fmla="*/ 0 w 196957"/>
                <a:gd name="connsiteY2" fmla="*/ 0 h 31383"/>
                <a:gd name="connsiteX3" fmla="*/ 0 w 196957"/>
                <a:gd name="connsiteY3" fmla="*/ 31383 h 31383"/>
                <a:gd name="connsiteX4" fmla="*/ 196957 w 196957"/>
                <a:gd name="connsiteY4" fmla="*/ 31383 h 31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57" h="31383">
                  <a:moveTo>
                    <a:pt x="158074" y="8259"/>
                  </a:moveTo>
                  <a:cubicBezTo>
                    <a:pt x="155063" y="6492"/>
                    <a:pt x="153004" y="3456"/>
                    <a:pt x="152483" y="0"/>
                  </a:cubicBezTo>
                  <a:lnTo>
                    <a:pt x="0" y="0"/>
                  </a:lnTo>
                  <a:lnTo>
                    <a:pt x="0" y="31383"/>
                  </a:lnTo>
                  <a:lnTo>
                    <a:pt x="196957" y="31383"/>
                  </a:lnTo>
                  <a:close/>
                </a:path>
              </a:pathLst>
            </a:custGeom>
            <a:solidFill>
              <a:srgbClr val="F9C996"/>
            </a:solidFill>
            <a:ln w="12704"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9971EF9-9FB4-4634-9EA6-1C056E0327E8}"/>
                </a:ext>
              </a:extLst>
            </p:cNvPr>
            <p:cNvSpPr/>
            <p:nvPr/>
          </p:nvSpPr>
          <p:spPr>
            <a:xfrm>
              <a:off x="11085229" y="3957741"/>
              <a:ext cx="221862" cy="628294"/>
            </a:xfrm>
            <a:custGeom>
              <a:avLst/>
              <a:gdLst>
                <a:gd name="connsiteX0" fmla="*/ 221862 w 221862"/>
                <a:gd name="connsiteY0" fmla="*/ 325773 h 628294"/>
                <a:gd name="connsiteX1" fmla="*/ 212206 w 221862"/>
                <a:gd name="connsiteY1" fmla="*/ 314084 h 628294"/>
                <a:gd name="connsiteX2" fmla="*/ 212206 w 221862"/>
                <a:gd name="connsiteY2" fmla="*/ 4828 h 628294"/>
                <a:gd name="connsiteX3" fmla="*/ 204073 w 221862"/>
                <a:gd name="connsiteY3" fmla="*/ 0 h 628294"/>
                <a:gd name="connsiteX4" fmla="*/ 0 w 221862"/>
                <a:gd name="connsiteY4" fmla="*/ 0 h 628294"/>
                <a:gd name="connsiteX5" fmla="*/ 0 w 221862"/>
                <a:gd name="connsiteY5" fmla="*/ 628295 h 628294"/>
                <a:gd name="connsiteX6" fmla="*/ 125290 w 221862"/>
                <a:gd name="connsiteY6" fmla="*/ 628295 h 628294"/>
                <a:gd name="connsiteX7" fmla="*/ 136345 w 221862"/>
                <a:gd name="connsiteY7" fmla="*/ 619655 h 628294"/>
                <a:gd name="connsiteX8" fmla="*/ 218813 w 221862"/>
                <a:gd name="connsiteY8" fmla="*/ 619655 h 628294"/>
                <a:gd name="connsiteX9" fmla="*/ 221862 w 221862"/>
                <a:gd name="connsiteY9" fmla="*/ 618766 h 62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862" h="628294">
                  <a:moveTo>
                    <a:pt x="221862" y="325773"/>
                  </a:moveTo>
                  <a:cubicBezTo>
                    <a:pt x="216259" y="324680"/>
                    <a:pt x="212218" y="319789"/>
                    <a:pt x="212206" y="314084"/>
                  </a:cubicBezTo>
                  <a:lnTo>
                    <a:pt x="212206" y="4828"/>
                  </a:lnTo>
                  <a:lnTo>
                    <a:pt x="204073" y="0"/>
                  </a:lnTo>
                  <a:lnTo>
                    <a:pt x="0" y="0"/>
                  </a:lnTo>
                  <a:lnTo>
                    <a:pt x="0" y="628295"/>
                  </a:lnTo>
                  <a:lnTo>
                    <a:pt x="125290" y="628295"/>
                  </a:lnTo>
                  <a:cubicBezTo>
                    <a:pt x="126675" y="623301"/>
                    <a:pt x="131160" y="619795"/>
                    <a:pt x="136345" y="619655"/>
                  </a:cubicBezTo>
                  <a:lnTo>
                    <a:pt x="218813" y="619655"/>
                  </a:lnTo>
                  <a:lnTo>
                    <a:pt x="221862" y="618766"/>
                  </a:lnTo>
                  <a:close/>
                </a:path>
              </a:pathLst>
            </a:custGeom>
            <a:solidFill>
              <a:schemeClr val="accent4"/>
            </a:solidFill>
            <a:ln w="12704"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5B5499D7-7536-4232-A87A-F9D2FA4F76B1}"/>
                </a:ext>
              </a:extLst>
            </p:cNvPr>
            <p:cNvSpPr/>
            <p:nvPr/>
          </p:nvSpPr>
          <p:spPr>
            <a:xfrm>
              <a:off x="8588064" y="5567549"/>
              <a:ext cx="23889" cy="38879"/>
            </a:xfrm>
            <a:custGeom>
              <a:avLst/>
              <a:gdLst>
                <a:gd name="connsiteX0" fmla="*/ 0 w 23889"/>
                <a:gd name="connsiteY0" fmla="*/ 0 h 38879"/>
                <a:gd name="connsiteX1" fmla="*/ 0 w 23889"/>
                <a:gd name="connsiteY1" fmla="*/ 38879 h 38879"/>
                <a:gd name="connsiteX2" fmla="*/ 23889 w 23889"/>
                <a:gd name="connsiteY2" fmla="*/ 0 h 38879"/>
                <a:gd name="connsiteX3" fmla="*/ 0 w 23889"/>
                <a:gd name="connsiteY3" fmla="*/ 0 h 38879"/>
              </a:gdLst>
              <a:ahLst/>
              <a:cxnLst>
                <a:cxn ang="0">
                  <a:pos x="connsiteX0" y="connsiteY0"/>
                </a:cxn>
                <a:cxn ang="0">
                  <a:pos x="connsiteX1" y="connsiteY1"/>
                </a:cxn>
                <a:cxn ang="0">
                  <a:pos x="connsiteX2" y="connsiteY2"/>
                </a:cxn>
                <a:cxn ang="0">
                  <a:pos x="connsiteX3" y="connsiteY3"/>
                </a:cxn>
              </a:cxnLst>
              <a:rect l="l" t="t" r="r" b="b"/>
              <a:pathLst>
                <a:path w="23889" h="38879">
                  <a:moveTo>
                    <a:pt x="0" y="0"/>
                  </a:moveTo>
                  <a:lnTo>
                    <a:pt x="0" y="38879"/>
                  </a:lnTo>
                  <a:lnTo>
                    <a:pt x="23889" y="0"/>
                  </a:lnTo>
                  <a:lnTo>
                    <a:pt x="0" y="0"/>
                  </a:lnTo>
                  <a:close/>
                </a:path>
              </a:pathLst>
            </a:custGeom>
            <a:solidFill>
              <a:srgbClr val="F4F5F3"/>
            </a:solidFill>
            <a:ln w="12704"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A27215FA-DF9E-482A-BADE-D153855C01B8}"/>
                </a:ext>
              </a:extLst>
            </p:cNvPr>
            <p:cNvSpPr/>
            <p:nvPr/>
          </p:nvSpPr>
          <p:spPr>
            <a:xfrm>
              <a:off x="9453660" y="2239808"/>
              <a:ext cx="8387" cy="471126"/>
            </a:xfrm>
            <a:custGeom>
              <a:avLst/>
              <a:gdLst>
                <a:gd name="connsiteX0" fmla="*/ 1271 w 8387"/>
                <a:gd name="connsiteY0" fmla="*/ 462994 h 471126"/>
                <a:gd name="connsiteX1" fmla="*/ 5591 w 8387"/>
                <a:gd name="connsiteY1" fmla="*/ 466552 h 471126"/>
                <a:gd name="connsiteX2" fmla="*/ 5591 w 8387"/>
                <a:gd name="connsiteY2" fmla="*/ 466552 h 471126"/>
                <a:gd name="connsiteX3" fmla="*/ 7243 w 8387"/>
                <a:gd name="connsiteY3" fmla="*/ 468458 h 471126"/>
                <a:gd name="connsiteX4" fmla="*/ 8387 w 8387"/>
                <a:gd name="connsiteY4" fmla="*/ 470237 h 471126"/>
                <a:gd name="connsiteX5" fmla="*/ 8387 w 8387"/>
                <a:gd name="connsiteY5" fmla="*/ 471126 h 471126"/>
                <a:gd name="connsiteX6" fmla="*/ 8387 w 8387"/>
                <a:gd name="connsiteY6" fmla="*/ 6099 h 471126"/>
                <a:gd name="connsiteX7" fmla="*/ 6353 w 8387"/>
                <a:gd name="connsiteY7" fmla="*/ 5463 h 471126"/>
                <a:gd name="connsiteX8" fmla="*/ 5591 w 8387"/>
                <a:gd name="connsiteY8" fmla="*/ 5463 h 471126"/>
                <a:gd name="connsiteX9" fmla="*/ 2287 w 8387"/>
                <a:gd name="connsiteY9" fmla="*/ 3176 h 471126"/>
                <a:gd name="connsiteX10" fmla="*/ 2287 w 8387"/>
                <a:gd name="connsiteY10" fmla="*/ 3176 h 471126"/>
                <a:gd name="connsiteX11" fmla="*/ 890 w 8387"/>
                <a:gd name="connsiteY11" fmla="*/ 1398 h 471126"/>
                <a:gd name="connsiteX12" fmla="*/ 0 w 8387"/>
                <a:gd name="connsiteY12" fmla="*/ 0 h 471126"/>
                <a:gd name="connsiteX13" fmla="*/ 0 w 8387"/>
                <a:gd name="connsiteY13" fmla="*/ 463248 h 47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7" h="471126">
                  <a:moveTo>
                    <a:pt x="1271" y="462994"/>
                  </a:moveTo>
                  <a:lnTo>
                    <a:pt x="5591" y="466552"/>
                  </a:lnTo>
                  <a:cubicBezTo>
                    <a:pt x="5591" y="466552"/>
                    <a:pt x="5591" y="466552"/>
                    <a:pt x="5591" y="466552"/>
                  </a:cubicBezTo>
                  <a:cubicBezTo>
                    <a:pt x="6214" y="467124"/>
                    <a:pt x="6760" y="467772"/>
                    <a:pt x="7243" y="468458"/>
                  </a:cubicBezTo>
                  <a:cubicBezTo>
                    <a:pt x="7675" y="469017"/>
                    <a:pt x="8057" y="469614"/>
                    <a:pt x="8387" y="470237"/>
                  </a:cubicBezTo>
                  <a:lnTo>
                    <a:pt x="8387" y="471126"/>
                  </a:lnTo>
                  <a:lnTo>
                    <a:pt x="8387" y="6099"/>
                  </a:lnTo>
                  <a:lnTo>
                    <a:pt x="6353" y="5463"/>
                  </a:lnTo>
                  <a:lnTo>
                    <a:pt x="5591" y="5463"/>
                  </a:lnTo>
                  <a:cubicBezTo>
                    <a:pt x="4371" y="4892"/>
                    <a:pt x="3253" y="4117"/>
                    <a:pt x="2287" y="3176"/>
                  </a:cubicBezTo>
                  <a:lnTo>
                    <a:pt x="2287" y="3176"/>
                  </a:lnTo>
                  <a:cubicBezTo>
                    <a:pt x="1728" y="2668"/>
                    <a:pt x="1258" y="2071"/>
                    <a:pt x="890" y="1398"/>
                  </a:cubicBezTo>
                  <a:lnTo>
                    <a:pt x="0" y="0"/>
                  </a:lnTo>
                  <a:lnTo>
                    <a:pt x="0" y="463248"/>
                  </a:lnTo>
                  <a:close/>
                </a:path>
              </a:pathLst>
            </a:custGeom>
            <a:solidFill>
              <a:srgbClr val="F39896"/>
            </a:solidFill>
            <a:ln w="12704"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472B3A6-8B5B-4704-997E-1212849C9310}"/>
                </a:ext>
              </a:extLst>
            </p:cNvPr>
            <p:cNvSpPr/>
            <p:nvPr/>
          </p:nvSpPr>
          <p:spPr>
            <a:xfrm>
              <a:off x="9449848" y="2700516"/>
              <a:ext cx="12706" cy="12705"/>
            </a:xfrm>
            <a:custGeom>
              <a:avLst/>
              <a:gdLst>
                <a:gd name="connsiteX0" fmla="*/ 0 w 12706"/>
                <a:gd name="connsiteY0" fmla="*/ 0 h 12705"/>
                <a:gd name="connsiteX1" fmla="*/ 0 w 12706"/>
                <a:gd name="connsiteY1" fmla="*/ 0 h 12705"/>
              </a:gdLst>
              <a:ahLst/>
              <a:cxnLst>
                <a:cxn ang="0">
                  <a:pos x="connsiteX0" y="connsiteY0"/>
                </a:cxn>
                <a:cxn ang="0">
                  <a:pos x="connsiteX1" y="connsiteY1"/>
                </a:cxn>
              </a:cxnLst>
              <a:rect l="l" t="t" r="r" b="b"/>
              <a:pathLst>
                <a:path w="12706" h="12705">
                  <a:moveTo>
                    <a:pt x="0" y="0"/>
                  </a:moveTo>
                  <a:lnTo>
                    <a:pt x="0" y="0"/>
                  </a:lnTo>
                  <a:close/>
                </a:path>
              </a:pathLst>
            </a:custGeom>
            <a:solidFill>
              <a:srgbClr val="F4F5F3"/>
            </a:solidFill>
            <a:ln w="12704"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01DB5068-8A1C-476C-86FB-6F26B43E3839}"/>
                </a:ext>
              </a:extLst>
            </p:cNvPr>
            <p:cNvSpPr/>
            <p:nvPr/>
          </p:nvSpPr>
          <p:spPr>
            <a:xfrm>
              <a:off x="7923874" y="2155697"/>
              <a:ext cx="686173" cy="523600"/>
            </a:xfrm>
            <a:custGeom>
              <a:avLst/>
              <a:gdLst>
                <a:gd name="connsiteX0" fmla="*/ 73319 w 686173"/>
                <a:gd name="connsiteY0" fmla="*/ 520805 h 523600"/>
                <a:gd name="connsiteX1" fmla="*/ 80562 w 686173"/>
                <a:gd name="connsiteY1" fmla="*/ 523601 h 523600"/>
                <a:gd name="connsiteX2" fmla="*/ 145748 w 686173"/>
                <a:gd name="connsiteY2" fmla="*/ 523601 h 523600"/>
                <a:gd name="connsiteX3" fmla="*/ 145748 w 686173"/>
                <a:gd name="connsiteY3" fmla="*/ 332126 h 523600"/>
                <a:gd name="connsiteX4" fmla="*/ 157439 w 686173"/>
                <a:gd name="connsiteY4" fmla="*/ 320056 h 523600"/>
                <a:gd name="connsiteX5" fmla="*/ 686174 w 686173"/>
                <a:gd name="connsiteY5" fmla="*/ 320056 h 523600"/>
                <a:gd name="connsiteX6" fmla="*/ 686174 w 686173"/>
                <a:gd name="connsiteY6" fmla="*/ 0 h 523600"/>
                <a:gd name="connsiteX7" fmla="*/ 0 w 686173"/>
                <a:gd name="connsiteY7" fmla="*/ 0 h 523600"/>
                <a:gd name="connsiteX8" fmla="*/ 0 w 686173"/>
                <a:gd name="connsiteY8" fmla="*/ 515850 h 523600"/>
                <a:gd name="connsiteX9" fmla="*/ 29607 w 686173"/>
                <a:gd name="connsiteY9" fmla="*/ 523219 h 523600"/>
                <a:gd name="connsiteX10" fmla="*/ 66711 w 686173"/>
                <a:gd name="connsiteY10" fmla="*/ 523219 h 523600"/>
                <a:gd name="connsiteX11" fmla="*/ 73319 w 686173"/>
                <a:gd name="connsiteY11" fmla="*/ 520805 h 52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6173" h="523600">
                  <a:moveTo>
                    <a:pt x="73319" y="520805"/>
                  </a:moveTo>
                  <a:cubicBezTo>
                    <a:pt x="75987" y="520869"/>
                    <a:pt x="78541" y="521847"/>
                    <a:pt x="80562" y="523601"/>
                  </a:cubicBezTo>
                  <a:lnTo>
                    <a:pt x="145748" y="523601"/>
                  </a:lnTo>
                  <a:lnTo>
                    <a:pt x="145748" y="332126"/>
                  </a:lnTo>
                  <a:cubicBezTo>
                    <a:pt x="145672" y="325583"/>
                    <a:pt x="150895" y="320196"/>
                    <a:pt x="157439" y="320056"/>
                  </a:cubicBezTo>
                  <a:lnTo>
                    <a:pt x="686174" y="320056"/>
                  </a:lnTo>
                  <a:lnTo>
                    <a:pt x="686174" y="0"/>
                  </a:lnTo>
                  <a:lnTo>
                    <a:pt x="0" y="0"/>
                  </a:lnTo>
                  <a:lnTo>
                    <a:pt x="0" y="515850"/>
                  </a:lnTo>
                  <a:lnTo>
                    <a:pt x="29607" y="523219"/>
                  </a:lnTo>
                  <a:lnTo>
                    <a:pt x="66711" y="523219"/>
                  </a:lnTo>
                  <a:cubicBezTo>
                    <a:pt x="68579" y="521695"/>
                    <a:pt x="70904" y="520856"/>
                    <a:pt x="73319" y="520805"/>
                  </a:cubicBezTo>
                  <a:close/>
                </a:path>
              </a:pathLst>
            </a:custGeom>
            <a:solidFill>
              <a:schemeClr val="accent3"/>
            </a:solidFill>
            <a:ln w="12704"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BE66B71-700B-44AE-A530-424F02363DD9}"/>
                </a:ext>
              </a:extLst>
            </p:cNvPr>
            <p:cNvSpPr/>
            <p:nvPr/>
          </p:nvSpPr>
          <p:spPr>
            <a:xfrm>
              <a:off x="8093130" y="2499766"/>
              <a:ext cx="517552" cy="765643"/>
            </a:xfrm>
            <a:custGeom>
              <a:avLst/>
              <a:gdLst>
                <a:gd name="connsiteX0" fmla="*/ 516917 w 517552"/>
                <a:gd name="connsiteY0" fmla="*/ 445842 h 765643"/>
                <a:gd name="connsiteX1" fmla="*/ 516028 w 517552"/>
                <a:gd name="connsiteY1" fmla="*/ 445842 h 765643"/>
                <a:gd name="connsiteX2" fmla="*/ 514884 w 517552"/>
                <a:gd name="connsiteY2" fmla="*/ 445842 h 765643"/>
                <a:gd name="connsiteX3" fmla="*/ 512724 w 517552"/>
                <a:gd name="connsiteY3" fmla="*/ 444952 h 765643"/>
                <a:gd name="connsiteX4" fmla="*/ 510818 w 517552"/>
                <a:gd name="connsiteY4" fmla="*/ 443682 h 765643"/>
                <a:gd name="connsiteX5" fmla="*/ 509293 w 517552"/>
                <a:gd name="connsiteY5" fmla="*/ 442030 h 765643"/>
                <a:gd name="connsiteX6" fmla="*/ 508022 w 517552"/>
                <a:gd name="connsiteY6" fmla="*/ 440251 h 765643"/>
                <a:gd name="connsiteX7" fmla="*/ 507133 w 517552"/>
                <a:gd name="connsiteY7" fmla="*/ 438091 h 765643"/>
                <a:gd name="connsiteX8" fmla="*/ 507133 w 517552"/>
                <a:gd name="connsiteY8" fmla="*/ 435804 h 765643"/>
                <a:gd name="connsiteX9" fmla="*/ 507133 w 517552"/>
                <a:gd name="connsiteY9" fmla="*/ 434534 h 765643"/>
                <a:gd name="connsiteX10" fmla="*/ 507133 w 517552"/>
                <a:gd name="connsiteY10" fmla="*/ 234292 h 765643"/>
                <a:gd name="connsiteX11" fmla="*/ 517553 w 517552"/>
                <a:gd name="connsiteY11" fmla="*/ 222603 h 765643"/>
                <a:gd name="connsiteX12" fmla="*/ 517553 w 517552"/>
                <a:gd name="connsiteY12" fmla="*/ 0 h 765643"/>
                <a:gd name="connsiteX13" fmla="*/ 0 w 517552"/>
                <a:gd name="connsiteY13" fmla="*/ 0 h 765643"/>
                <a:gd name="connsiteX14" fmla="*/ 0 w 517552"/>
                <a:gd name="connsiteY14" fmla="*/ 765643 h 765643"/>
                <a:gd name="connsiteX15" fmla="*/ 516917 w 517552"/>
                <a:gd name="connsiteY15" fmla="*/ 765643 h 7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7552" h="765643">
                  <a:moveTo>
                    <a:pt x="516917" y="445842"/>
                  </a:moveTo>
                  <a:lnTo>
                    <a:pt x="516028" y="445842"/>
                  </a:lnTo>
                  <a:lnTo>
                    <a:pt x="514884" y="445842"/>
                  </a:lnTo>
                  <a:lnTo>
                    <a:pt x="512724" y="444952"/>
                  </a:lnTo>
                  <a:lnTo>
                    <a:pt x="510818" y="443682"/>
                  </a:lnTo>
                  <a:lnTo>
                    <a:pt x="509293" y="442030"/>
                  </a:lnTo>
                  <a:cubicBezTo>
                    <a:pt x="508798" y="441496"/>
                    <a:pt x="508378" y="440899"/>
                    <a:pt x="508022" y="440251"/>
                  </a:cubicBezTo>
                  <a:cubicBezTo>
                    <a:pt x="507667" y="439552"/>
                    <a:pt x="507374" y="438828"/>
                    <a:pt x="507133" y="438091"/>
                  </a:cubicBezTo>
                  <a:cubicBezTo>
                    <a:pt x="507070" y="437329"/>
                    <a:pt x="507070" y="436567"/>
                    <a:pt x="507133" y="435804"/>
                  </a:cubicBezTo>
                  <a:cubicBezTo>
                    <a:pt x="507082" y="435385"/>
                    <a:pt x="507082" y="434953"/>
                    <a:pt x="507133" y="434534"/>
                  </a:cubicBezTo>
                  <a:lnTo>
                    <a:pt x="507133" y="234292"/>
                  </a:lnTo>
                  <a:cubicBezTo>
                    <a:pt x="507095" y="228308"/>
                    <a:pt x="511593" y="223251"/>
                    <a:pt x="517553" y="222603"/>
                  </a:cubicBezTo>
                  <a:lnTo>
                    <a:pt x="517553" y="0"/>
                  </a:lnTo>
                  <a:lnTo>
                    <a:pt x="0" y="0"/>
                  </a:lnTo>
                  <a:lnTo>
                    <a:pt x="0" y="765643"/>
                  </a:lnTo>
                  <a:lnTo>
                    <a:pt x="516917" y="765643"/>
                  </a:lnTo>
                  <a:close/>
                </a:path>
              </a:pathLst>
            </a:custGeom>
            <a:solidFill>
              <a:schemeClr val="bg1">
                <a:lumMod val="95000"/>
              </a:schemeClr>
            </a:solidFill>
            <a:ln w="12704"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010FFA2A-DC23-4A6A-857A-395F83B60ED9}"/>
                </a:ext>
              </a:extLst>
            </p:cNvPr>
            <p:cNvSpPr/>
            <p:nvPr/>
          </p:nvSpPr>
          <p:spPr>
            <a:xfrm>
              <a:off x="9412235" y="2169927"/>
              <a:ext cx="33292" cy="530207"/>
            </a:xfrm>
            <a:custGeom>
              <a:avLst/>
              <a:gdLst>
                <a:gd name="connsiteX0" fmla="*/ 24016 w 33292"/>
                <a:gd name="connsiteY0" fmla="*/ 530207 h 530207"/>
                <a:gd name="connsiteX1" fmla="*/ 33292 w 33292"/>
                <a:gd name="connsiteY1" fmla="*/ 530207 h 530207"/>
                <a:gd name="connsiteX2" fmla="*/ 33292 w 33292"/>
                <a:gd name="connsiteY2" fmla="*/ 55016 h 530207"/>
                <a:gd name="connsiteX3" fmla="*/ 29735 w 33292"/>
                <a:gd name="connsiteY3" fmla="*/ 49171 h 530207"/>
                <a:gd name="connsiteX4" fmla="*/ 29735 w 33292"/>
                <a:gd name="connsiteY4" fmla="*/ 49171 h 530207"/>
                <a:gd name="connsiteX5" fmla="*/ 25414 w 33292"/>
                <a:gd name="connsiteY5" fmla="*/ 41929 h 530207"/>
                <a:gd name="connsiteX6" fmla="*/ 0 w 33292"/>
                <a:gd name="connsiteY6" fmla="*/ 0 h 530207"/>
                <a:gd name="connsiteX7" fmla="*/ 0 w 33292"/>
                <a:gd name="connsiteY7" fmla="*/ 510514 h 530207"/>
                <a:gd name="connsiteX8" fmla="*/ 24016 w 33292"/>
                <a:gd name="connsiteY8" fmla="*/ 530207 h 53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92" h="530207">
                  <a:moveTo>
                    <a:pt x="24016" y="530207"/>
                  </a:moveTo>
                  <a:lnTo>
                    <a:pt x="33292" y="530207"/>
                  </a:lnTo>
                  <a:lnTo>
                    <a:pt x="33292" y="55016"/>
                  </a:lnTo>
                  <a:lnTo>
                    <a:pt x="29735" y="49171"/>
                  </a:lnTo>
                  <a:lnTo>
                    <a:pt x="29735" y="49171"/>
                  </a:lnTo>
                  <a:lnTo>
                    <a:pt x="25414" y="41929"/>
                  </a:lnTo>
                  <a:lnTo>
                    <a:pt x="0" y="0"/>
                  </a:lnTo>
                  <a:lnTo>
                    <a:pt x="0" y="510514"/>
                  </a:lnTo>
                  <a:lnTo>
                    <a:pt x="24016" y="530207"/>
                  </a:lnTo>
                  <a:close/>
                </a:path>
              </a:pathLst>
            </a:custGeom>
            <a:solidFill>
              <a:srgbClr val="9FD1D0"/>
            </a:solidFill>
            <a:ln w="12704"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CC96B817-720B-438A-93C1-D1EA0FF95050}"/>
                </a:ext>
              </a:extLst>
            </p:cNvPr>
            <p:cNvSpPr/>
            <p:nvPr/>
          </p:nvSpPr>
          <p:spPr>
            <a:xfrm>
              <a:off x="9092529" y="2155697"/>
              <a:ext cx="314750" cy="523727"/>
            </a:xfrm>
            <a:custGeom>
              <a:avLst/>
              <a:gdLst>
                <a:gd name="connsiteX0" fmla="*/ 0 w 314750"/>
                <a:gd name="connsiteY0" fmla="*/ 0 h 523727"/>
                <a:gd name="connsiteX1" fmla="*/ 0 w 314750"/>
                <a:gd name="connsiteY1" fmla="*/ 381170 h 523727"/>
                <a:gd name="connsiteX2" fmla="*/ 16265 w 314750"/>
                <a:gd name="connsiteY2" fmla="*/ 392351 h 523727"/>
                <a:gd name="connsiteX3" fmla="*/ 17027 w 314750"/>
                <a:gd name="connsiteY3" fmla="*/ 393113 h 523727"/>
                <a:gd name="connsiteX4" fmla="*/ 18679 w 314750"/>
                <a:gd name="connsiteY4" fmla="*/ 394892 h 523727"/>
                <a:gd name="connsiteX5" fmla="*/ 19950 w 314750"/>
                <a:gd name="connsiteY5" fmla="*/ 396671 h 523727"/>
                <a:gd name="connsiteX6" fmla="*/ 20712 w 314750"/>
                <a:gd name="connsiteY6" fmla="*/ 398831 h 523727"/>
                <a:gd name="connsiteX7" fmla="*/ 20712 w 314750"/>
                <a:gd name="connsiteY7" fmla="*/ 401245 h 523727"/>
                <a:gd name="connsiteX8" fmla="*/ 20712 w 314750"/>
                <a:gd name="connsiteY8" fmla="*/ 402261 h 523727"/>
                <a:gd name="connsiteX9" fmla="*/ 20712 w 314750"/>
                <a:gd name="connsiteY9" fmla="*/ 523728 h 523727"/>
                <a:gd name="connsiteX10" fmla="*/ 314751 w 314750"/>
                <a:gd name="connsiteY10" fmla="*/ 523728 h 523727"/>
                <a:gd name="connsiteX11" fmla="*/ 314751 w 314750"/>
                <a:gd name="connsiteY11" fmla="*/ 7623 h 523727"/>
                <a:gd name="connsiteX12" fmla="*/ 310303 w 314750"/>
                <a:gd name="connsiteY12" fmla="*/ 254 h 523727"/>
                <a:gd name="connsiteX13" fmla="*/ 0 w 314750"/>
                <a:gd name="connsiteY13" fmla="*/ 254 h 52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4750" h="523727">
                  <a:moveTo>
                    <a:pt x="0" y="0"/>
                  </a:moveTo>
                  <a:lnTo>
                    <a:pt x="0" y="381170"/>
                  </a:lnTo>
                  <a:lnTo>
                    <a:pt x="16265" y="392351"/>
                  </a:lnTo>
                  <a:cubicBezTo>
                    <a:pt x="16265" y="392351"/>
                    <a:pt x="16265" y="392351"/>
                    <a:pt x="17027" y="393113"/>
                  </a:cubicBezTo>
                  <a:cubicBezTo>
                    <a:pt x="17637" y="393647"/>
                    <a:pt x="18196" y="394244"/>
                    <a:pt x="18679" y="394892"/>
                  </a:cubicBezTo>
                  <a:cubicBezTo>
                    <a:pt x="19175" y="395426"/>
                    <a:pt x="19594" y="396023"/>
                    <a:pt x="19950" y="396671"/>
                  </a:cubicBezTo>
                  <a:cubicBezTo>
                    <a:pt x="20318" y="397344"/>
                    <a:pt x="20572" y="398081"/>
                    <a:pt x="20712" y="398831"/>
                  </a:cubicBezTo>
                  <a:cubicBezTo>
                    <a:pt x="20839" y="399631"/>
                    <a:pt x="20839" y="400445"/>
                    <a:pt x="20712" y="401245"/>
                  </a:cubicBezTo>
                  <a:cubicBezTo>
                    <a:pt x="20763" y="401575"/>
                    <a:pt x="20763" y="401931"/>
                    <a:pt x="20712" y="402261"/>
                  </a:cubicBezTo>
                  <a:lnTo>
                    <a:pt x="20712" y="523728"/>
                  </a:lnTo>
                  <a:lnTo>
                    <a:pt x="314751" y="523728"/>
                  </a:lnTo>
                  <a:lnTo>
                    <a:pt x="314751" y="7623"/>
                  </a:lnTo>
                  <a:lnTo>
                    <a:pt x="310303" y="254"/>
                  </a:lnTo>
                  <a:lnTo>
                    <a:pt x="0" y="254"/>
                  </a:lnTo>
                  <a:close/>
                </a:path>
              </a:pathLst>
            </a:custGeom>
            <a:solidFill>
              <a:schemeClr val="accent3"/>
            </a:solidFill>
            <a:ln w="12704"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D9EE6E9F-9665-4369-9467-02B49C0E5DA4}"/>
                </a:ext>
              </a:extLst>
            </p:cNvPr>
            <p:cNvSpPr/>
            <p:nvPr/>
          </p:nvSpPr>
          <p:spPr>
            <a:xfrm>
              <a:off x="9114004" y="2683490"/>
              <a:ext cx="315639" cy="16644"/>
            </a:xfrm>
            <a:custGeom>
              <a:avLst/>
              <a:gdLst>
                <a:gd name="connsiteX0" fmla="*/ 315639 w 315639"/>
                <a:gd name="connsiteY0" fmla="*/ 16644 h 16644"/>
                <a:gd name="connsiteX1" fmla="*/ 295436 w 315639"/>
                <a:gd name="connsiteY1" fmla="*/ 0 h 16644"/>
                <a:gd name="connsiteX2" fmla="*/ 0 w 315639"/>
                <a:gd name="connsiteY2" fmla="*/ 0 h 16644"/>
                <a:gd name="connsiteX3" fmla="*/ 0 w 315639"/>
                <a:gd name="connsiteY3" fmla="*/ 16644 h 16644"/>
                <a:gd name="connsiteX4" fmla="*/ 315639 w 315639"/>
                <a:gd name="connsiteY4" fmla="*/ 16644 h 1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639" h="16644">
                  <a:moveTo>
                    <a:pt x="315639" y="16644"/>
                  </a:moveTo>
                  <a:lnTo>
                    <a:pt x="295436" y="0"/>
                  </a:lnTo>
                  <a:lnTo>
                    <a:pt x="0" y="0"/>
                  </a:lnTo>
                  <a:lnTo>
                    <a:pt x="0" y="16644"/>
                  </a:lnTo>
                  <a:lnTo>
                    <a:pt x="315639" y="16644"/>
                  </a:lnTo>
                  <a:close/>
                </a:path>
              </a:pathLst>
            </a:custGeom>
            <a:solidFill>
              <a:srgbClr val="22B0AE"/>
            </a:solidFill>
            <a:ln w="12704"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22DB2A7-C1F1-4B6D-A6A0-AAD1B2DED377}"/>
                </a:ext>
              </a:extLst>
            </p:cNvPr>
            <p:cNvSpPr/>
            <p:nvPr/>
          </p:nvSpPr>
          <p:spPr>
            <a:xfrm>
              <a:off x="9082872" y="2559102"/>
              <a:ext cx="7624" cy="163013"/>
            </a:xfrm>
            <a:custGeom>
              <a:avLst/>
              <a:gdLst>
                <a:gd name="connsiteX0" fmla="*/ 7624 w 7624"/>
                <a:gd name="connsiteY0" fmla="*/ 163014 h 163013"/>
                <a:gd name="connsiteX1" fmla="*/ 7624 w 7624"/>
                <a:gd name="connsiteY1" fmla="*/ 156661 h 163013"/>
                <a:gd name="connsiteX2" fmla="*/ 7624 w 7624"/>
                <a:gd name="connsiteY2" fmla="*/ 153103 h 163013"/>
                <a:gd name="connsiteX3" fmla="*/ 7624 w 7624"/>
                <a:gd name="connsiteY3" fmla="*/ 122356 h 163013"/>
                <a:gd name="connsiteX4" fmla="*/ 7624 w 7624"/>
                <a:gd name="connsiteY4" fmla="*/ 5209 h 163013"/>
                <a:gd name="connsiteX5" fmla="*/ 0 w 7624"/>
                <a:gd name="connsiteY5" fmla="*/ 0 h 163013"/>
                <a:gd name="connsiteX6" fmla="*/ 0 w 7624"/>
                <a:gd name="connsiteY6" fmla="*/ 163014 h 163013"/>
                <a:gd name="connsiteX7" fmla="*/ 7624 w 7624"/>
                <a:gd name="connsiteY7" fmla="*/ 163014 h 16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4" h="163013">
                  <a:moveTo>
                    <a:pt x="7624" y="163014"/>
                  </a:moveTo>
                  <a:lnTo>
                    <a:pt x="7624" y="156661"/>
                  </a:lnTo>
                  <a:lnTo>
                    <a:pt x="7624" y="153103"/>
                  </a:lnTo>
                  <a:lnTo>
                    <a:pt x="7624" y="122356"/>
                  </a:lnTo>
                  <a:lnTo>
                    <a:pt x="7624" y="5209"/>
                  </a:lnTo>
                  <a:lnTo>
                    <a:pt x="0" y="0"/>
                  </a:lnTo>
                  <a:lnTo>
                    <a:pt x="0" y="163014"/>
                  </a:lnTo>
                  <a:lnTo>
                    <a:pt x="7624" y="163014"/>
                  </a:lnTo>
                  <a:close/>
                </a:path>
              </a:pathLst>
            </a:custGeom>
            <a:solidFill>
              <a:srgbClr val="E8E7E3"/>
            </a:solidFill>
            <a:ln w="12704"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5411D27-FC3B-47BB-BF53-F9B52130CC02}"/>
                </a:ext>
              </a:extLst>
            </p:cNvPr>
            <p:cNvSpPr/>
            <p:nvPr/>
          </p:nvSpPr>
          <p:spPr>
            <a:xfrm>
              <a:off x="5418958" y="4139559"/>
              <a:ext cx="208139" cy="1630390"/>
            </a:xfrm>
            <a:custGeom>
              <a:avLst/>
              <a:gdLst>
                <a:gd name="connsiteX0" fmla="*/ 1525 w 208139"/>
                <a:gd name="connsiteY0" fmla="*/ 1239819 h 1630390"/>
                <a:gd name="connsiteX1" fmla="*/ 1525 w 208139"/>
                <a:gd name="connsiteY1" fmla="*/ 1630391 h 1630390"/>
                <a:gd name="connsiteX2" fmla="*/ 158582 w 208139"/>
                <a:gd name="connsiteY2" fmla="*/ 1543230 h 1630390"/>
                <a:gd name="connsiteX3" fmla="*/ 158582 w 208139"/>
                <a:gd name="connsiteY3" fmla="*/ 569468 h 1630390"/>
                <a:gd name="connsiteX4" fmla="*/ 158582 w 208139"/>
                <a:gd name="connsiteY4" fmla="*/ 567054 h 1630390"/>
                <a:gd name="connsiteX5" fmla="*/ 158582 w 208139"/>
                <a:gd name="connsiteY5" fmla="*/ 564894 h 1630390"/>
                <a:gd name="connsiteX6" fmla="*/ 159853 w 208139"/>
                <a:gd name="connsiteY6" fmla="*/ 563115 h 1630390"/>
                <a:gd name="connsiteX7" fmla="*/ 161124 w 208139"/>
                <a:gd name="connsiteY7" fmla="*/ 561209 h 1630390"/>
                <a:gd name="connsiteX8" fmla="*/ 162903 w 208139"/>
                <a:gd name="connsiteY8" fmla="*/ 560066 h 1630390"/>
                <a:gd name="connsiteX9" fmla="*/ 165063 w 208139"/>
                <a:gd name="connsiteY9" fmla="*/ 558795 h 1630390"/>
                <a:gd name="connsiteX10" fmla="*/ 165063 w 208139"/>
                <a:gd name="connsiteY10" fmla="*/ 558795 h 1630390"/>
                <a:gd name="connsiteX11" fmla="*/ 206614 w 208139"/>
                <a:gd name="connsiteY11" fmla="*/ 544946 h 1630390"/>
                <a:gd name="connsiteX12" fmla="*/ 208139 w 208139"/>
                <a:gd name="connsiteY12" fmla="*/ 544946 h 1630390"/>
                <a:gd name="connsiteX13" fmla="*/ 208139 w 208139"/>
                <a:gd name="connsiteY13" fmla="*/ 0 h 1630390"/>
                <a:gd name="connsiteX14" fmla="*/ 201151 w 208139"/>
                <a:gd name="connsiteY14" fmla="*/ 0 h 1630390"/>
                <a:gd name="connsiteX15" fmla="*/ 0 w 208139"/>
                <a:gd name="connsiteY15" fmla="*/ 41929 h 163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8139" h="1630390">
                  <a:moveTo>
                    <a:pt x="1525" y="1239819"/>
                  </a:moveTo>
                  <a:lnTo>
                    <a:pt x="1525" y="1630391"/>
                  </a:lnTo>
                  <a:lnTo>
                    <a:pt x="158582" y="1543230"/>
                  </a:lnTo>
                  <a:lnTo>
                    <a:pt x="158582" y="569468"/>
                  </a:lnTo>
                  <a:cubicBezTo>
                    <a:pt x="158582" y="568578"/>
                    <a:pt x="158582" y="567816"/>
                    <a:pt x="158582" y="567054"/>
                  </a:cubicBezTo>
                  <a:cubicBezTo>
                    <a:pt x="158506" y="566330"/>
                    <a:pt x="158506" y="565618"/>
                    <a:pt x="158582" y="564894"/>
                  </a:cubicBezTo>
                  <a:cubicBezTo>
                    <a:pt x="158887" y="564220"/>
                    <a:pt x="159319" y="563623"/>
                    <a:pt x="159853" y="563115"/>
                  </a:cubicBezTo>
                  <a:cubicBezTo>
                    <a:pt x="160196" y="562429"/>
                    <a:pt x="160628" y="561794"/>
                    <a:pt x="161124" y="561209"/>
                  </a:cubicBezTo>
                  <a:cubicBezTo>
                    <a:pt x="161670" y="560752"/>
                    <a:pt x="162267" y="560371"/>
                    <a:pt x="162903" y="560066"/>
                  </a:cubicBezTo>
                  <a:cubicBezTo>
                    <a:pt x="163551" y="559519"/>
                    <a:pt x="164275" y="559100"/>
                    <a:pt x="165063" y="558795"/>
                  </a:cubicBezTo>
                  <a:lnTo>
                    <a:pt x="165063" y="558795"/>
                  </a:lnTo>
                  <a:lnTo>
                    <a:pt x="206614" y="544946"/>
                  </a:lnTo>
                  <a:lnTo>
                    <a:pt x="208139" y="544946"/>
                  </a:lnTo>
                  <a:lnTo>
                    <a:pt x="208139" y="0"/>
                  </a:lnTo>
                  <a:lnTo>
                    <a:pt x="201151" y="0"/>
                  </a:lnTo>
                  <a:lnTo>
                    <a:pt x="0" y="41929"/>
                  </a:lnTo>
                  <a:close/>
                </a:path>
              </a:pathLst>
            </a:custGeom>
            <a:solidFill>
              <a:schemeClr val="accent4"/>
            </a:solidFill>
            <a:ln w="12704"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E4F87FF1-7EEC-40D5-9F95-724A29A387FA}"/>
                </a:ext>
              </a:extLst>
            </p:cNvPr>
            <p:cNvSpPr/>
            <p:nvPr/>
          </p:nvSpPr>
          <p:spPr>
            <a:xfrm>
              <a:off x="3375431" y="5382681"/>
              <a:ext cx="2040858" cy="953178"/>
            </a:xfrm>
            <a:custGeom>
              <a:avLst/>
              <a:gdLst>
                <a:gd name="connsiteX0" fmla="*/ 2040859 w 2040858"/>
                <a:gd name="connsiteY0" fmla="*/ 0 h 953178"/>
                <a:gd name="connsiteX1" fmla="*/ 0 w 2040858"/>
                <a:gd name="connsiteY1" fmla="*/ 953179 h 953178"/>
                <a:gd name="connsiteX2" fmla="*/ 1002576 w 2040858"/>
                <a:gd name="connsiteY2" fmla="*/ 953179 h 953178"/>
                <a:gd name="connsiteX3" fmla="*/ 1019985 w 2040858"/>
                <a:gd name="connsiteY3" fmla="*/ 953179 h 953178"/>
                <a:gd name="connsiteX4" fmla="*/ 2040859 w 2040858"/>
                <a:gd name="connsiteY4" fmla="*/ 389556 h 953178"/>
                <a:gd name="connsiteX5" fmla="*/ 2040859 w 2040858"/>
                <a:gd name="connsiteY5" fmla="*/ 0 h 95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0858" h="953178">
                  <a:moveTo>
                    <a:pt x="2040859" y="0"/>
                  </a:moveTo>
                  <a:lnTo>
                    <a:pt x="0" y="953179"/>
                  </a:lnTo>
                  <a:lnTo>
                    <a:pt x="1002576" y="953179"/>
                  </a:lnTo>
                  <a:lnTo>
                    <a:pt x="1019985" y="953179"/>
                  </a:lnTo>
                  <a:lnTo>
                    <a:pt x="2040859" y="389556"/>
                  </a:lnTo>
                  <a:lnTo>
                    <a:pt x="2040859" y="0"/>
                  </a:lnTo>
                  <a:close/>
                </a:path>
              </a:pathLst>
            </a:custGeom>
            <a:solidFill>
              <a:schemeClr val="bg1">
                <a:lumMod val="95000"/>
              </a:schemeClr>
            </a:solidFill>
            <a:ln w="12704"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842099A4-F182-4176-856A-BA04B3C33466}"/>
                </a:ext>
              </a:extLst>
            </p:cNvPr>
            <p:cNvSpPr/>
            <p:nvPr/>
          </p:nvSpPr>
          <p:spPr>
            <a:xfrm>
              <a:off x="5189852" y="4180217"/>
              <a:ext cx="226437" cy="1197000"/>
            </a:xfrm>
            <a:custGeom>
              <a:avLst/>
              <a:gdLst>
                <a:gd name="connsiteX0" fmla="*/ 226437 w 226437"/>
                <a:gd name="connsiteY0" fmla="*/ 1652 h 1197000"/>
                <a:gd name="connsiteX1" fmla="*/ 37231 w 226437"/>
                <a:gd name="connsiteY1" fmla="*/ 0 h 1197000"/>
                <a:gd name="connsiteX2" fmla="*/ 0 w 226437"/>
                <a:gd name="connsiteY2" fmla="*/ 7370 h 1197000"/>
                <a:gd name="connsiteX3" fmla="*/ 0 w 226437"/>
                <a:gd name="connsiteY3" fmla="*/ 1192554 h 1197000"/>
                <a:gd name="connsiteX4" fmla="*/ 226437 w 226437"/>
                <a:gd name="connsiteY4" fmla="*/ 1197001 h 1197000"/>
                <a:gd name="connsiteX5" fmla="*/ 226437 w 226437"/>
                <a:gd name="connsiteY5" fmla="*/ 1652 h 11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437" h="1197000">
                  <a:moveTo>
                    <a:pt x="226437" y="1652"/>
                  </a:moveTo>
                  <a:lnTo>
                    <a:pt x="37231" y="0"/>
                  </a:lnTo>
                  <a:lnTo>
                    <a:pt x="0" y="7370"/>
                  </a:lnTo>
                  <a:lnTo>
                    <a:pt x="0" y="1192554"/>
                  </a:lnTo>
                  <a:lnTo>
                    <a:pt x="226437" y="1197001"/>
                  </a:lnTo>
                  <a:lnTo>
                    <a:pt x="226437" y="1652"/>
                  </a:lnTo>
                  <a:close/>
                </a:path>
              </a:pathLst>
            </a:custGeom>
            <a:solidFill>
              <a:schemeClr val="tx2"/>
            </a:solidFill>
            <a:ln w="12704"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E664847-C592-429F-96A1-C3EADBC296AF}"/>
                </a:ext>
              </a:extLst>
            </p:cNvPr>
            <p:cNvSpPr/>
            <p:nvPr/>
          </p:nvSpPr>
          <p:spPr>
            <a:xfrm>
              <a:off x="5247796" y="4139559"/>
              <a:ext cx="352998" cy="38116"/>
            </a:xfrm>
            <a:custGeom>
              <a:avLst/>
              <a:gdLst>
                <a:gd name="connsiteX0" fmla="*/ 352998 w 352998"/>
                <a:gd name="connsiteY0" fmla="*/ 0 h 38116"/>
                <a:gd name="connsiteX1" fmla="*/ 184886 w 352998"/>
                <a:gd name="connsiteY1" fmla="*/ 0 h 38116"/>
                <a:gd name="connsiteX2" fmla="*/ 0 w 352998"/>
                <a:gd name="connsiteY2" fmla="*/ 36592 h 38116"/>
                <a:gd name="connsiteX3" fmla="*/ 170400 w 352998"/>
                <a:gd name="connsiteY3" fmla="*/ 38117 h 38116"/>
                <a:gd name="connsiteX4" fmla="*/ 352998 w 352998"/>
                <a:gd name="connsiteY4" fmla="*/ 0 h 3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98" h="38116">
                  <a:moveTo>
                    <a:pt x="352998" y="0"/>
                  </a:moveTo>
                  <a:lnTo>
                    <a:pt x="184886" y="0"/>
                  </a:lnTo>
                  <a:lnTo>
                    <a:pt x="0" y="36592"/>
                  </a:lnTo>
                  <a:lnTo>
                    <a:pt x="170400" y="38117"/>
                  </a:lnTo>
                  <a:lnTo>
                    <a:pt x="352998" y="0"/>
                  </a:lnTo>
                  <a:close/>
                </a:path>
              </a:pathLst>
            </a:custGeom>
            <a:solidFill>
              <a:srgbClr val="088A8F"/>
            </a:solidFill>
            <a:ln w="12704"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311B739-5E6C-4FED-9728-540A3CA200D2}"/>
                </a:ext>
              </a:extLst>
            </p:cNvPr>
            <p:cNvSpPr/>
            <p:nvPr/>
          </p:nvSpPr>
          <p:spPr>
            <a:xfrm>
              <a:off x="5632816" y="4139559"/>
              <a:ext cx="336606" cy="542785"/>
            </a:xfrm>
            <a:custGeom>
              <a:avLst/>
              <a:gdLst>
                <a:gd name="connsiteX0" fmla="*/ 320214 w 336606"/>
                <a:gd name="connsiteY0" fmla="*/ 435423 h 542785"/>
                <a:gd name="connsiteX1" fmla="*/ 321993 w 336606"/>
                <a:gd name="connsiteY1" fmla="*/ 435423 h 542785"/>
                <a:gd name="connsiteX2" fmla="*/ 323899 w 336606"/>
                <a:gd name="connsiteY2" fmla="*/ 435423 h 542785"/>
                <a:gd name="connsiteX3" fmla="*/ 336606 w 336606"/>
                <a:gd name="connsiteY3" fmla="*/ 435423 h 542785"/>
                <a:gd name="connsiteX4" fmla="*/ 336606 w 336606"/>
                <a:gd name="connsiteY4" fmla="*/ 0 h 542785"/>
                <a:gd name="connsiteX5" fmla="*/ 0 w 336606"/>
                <a:gd name="connsiteY5" fmla="*/ 0 h 542785"/>
                <a:gd name="connsiteX6" fmla="*/ 0 w 336606"/>
                <a:gd name="connsiteY6" fmla="*/ 542786 h 54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606" h="542785">
                  <a:moveTo>
                    <a:pt x="320214" y="435423"/>
                  </a:moveTo>
                  <a:lnTo>
                    <a:pt x="321993" y="435423"/>
                  </a:lnTo>
                  <a:cubicBezTo>
                    <a:pt x="322629" y="435347"/>
                    <a:pt x="323264" y="435347"/>
                    <a:pt x="323899" y="435423"/>
                  </a:cubicBezTo>
                  <a:lnTo>
                    <a:pt x="336606" y="435423"/>
                  </a:lnTo>
                  <a:lnTo>
                    <a:pt x="336606" y="0"/>
                  </a:lnTo>
                  <a:lnTo>
                    <a:pt x="0" y="0"/>
                  </a:lnTo>
                  <a:lnTo>
                    <a:pt x="0" y="542786"/>
                  </a:lnTo>
                  <a:close/>
                </a:path>
              </a:pathLst>
            </a:custGeom>
            <a:solidFill>
              <a:schemeClr val="accent4"/>
            </a:solidFill>
            <a:ln w="12704"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B8F1547-CE9F-438C-B215-957C5200B88C}"/>
                </a:ext>
              </a:extLst>
            </p:cNvPr>
            <p:cNvSpPr/>
            <p:nvPr/>
          </p:nvSpPr>
          <p:spPr>
            <a:xfrm>
              <a:off x="5633324" y="4598488"/>
              <a:ext cx="336352" cy="108887"/>
            </a:xfrm>
            <a:custGeom>
              <a:avLst/>
              <a:gdLst>
                <a:gd name="connsiteX0" fmla="*/ 336352 w 336352"/>
                <a:gd name="connsiteY0" fmla="*/ 0 h 108887"/>
                <a:gd name="connsiteX1" fmla="*/ 325170 w 336352"/>
                <a:gd name="connsiteY1" fmla="*/ 0 h 108887"/>
                <a:gd name="connsiteX2" fmla="*/ 1017 w 336352"/>
                <a:gd name="connsiteY2" fmla="*/ 108506 h 108887"/>
                <a:gd name="connsiteX3" fmla="*/ 0 w 336352"/>
                <a:gd name="connsiteY3" fmla="*/ 108888 h 108887"/>
                <a:gd name="connsiteX4" fmla="*/ 336352 w 336352"/>
                <a:gd name="connsiteY4" fmla="*/ 108888 h 108887"/>
                <a:gd name="connsiteX5" fmla="*/ 336352 w 336352"/>
                <a:gd name="connsiteY5" fmla="*/ 0 h 10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352" h="108887">
                  <a:moveTo>
                    <a:pt x="336352" y="0"/>
                  </a:moveTo>
                  <a:lnTo>
                    <a:pt x="325170" y="0"/>
                  </a:lnTo>
                  <a:lnTo>
                    <a:pt x="1017" y="108506"/>
                  </a:lnTo>
                  <a:lnTo>
                    <a:pt x="0" y="108888"/>
                  </a:lnTo>
                  <a:lnTo>
                    <a:pt x="336352" y="108888"/>
                  </a:lnTo>
                  <a:lnTo>
                    <a:pt x="336352" y="0"/>
                  </a:lnTo>
                  <a:close/>
                </a:path>
              </a:pathLst>
            </a:custGeom>
            <a:solidFill>
              <a:srgbClr val="F9C996"/>
            </a:solidFill>
            <a:ln w="12704"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75E67896-CF78-4E91-928F-3AC97BBA2732}"/>
                </a:ext>
              </a:extLst>
            </p:cNvPr>
            <p:cNvSpPr/>
            <p:nvPr/>
          </p:nvSpPr>
          <p:spPr>
            <a:xfrm>
              <a:off x="5600921" y="4711949"/>
              <a:ext cx="367484" cy="983545"/>
            </a:xfrm>
            <a:custGeom>
              <a:avLst/>
              <a:gdLst>
                <a:gd name="connsiteX0" fmla="*/ 77385 w 367484"/>
                <a:gd name="connsiteY0" fmla="*/ 219808 h 983545"/>
                <a:gd name="connsiteX1" fmla="*/ 77385 w 367484"/>
                <a:gd name="connsiteY1" fmla="*/ 219808 h 983545"/>
                <a:gd name="connsiteX2" fmla="*/ 77385 w 367484"/>
                <a:gd name="connsiteY2" fmla="*/ 217013 h 983545"/>
                <a:gd name="connsiteX3" fmla="*/ 77385 w 367484"/>
                <a:gd name="connsiteY3" fmla="*/ 215234 h 983545"/>
                <a:gd name="connsiteX4" fmla="*/ 78656 w 367484"/>
                <a:gd name="connsiteY4" fmla="*/ 213328 h 983545"/>
                <a:gd name="connsiteX5" fmla="*/ 79927 w 367484"/>
                <a:gd name="connsiteY5" fmla="*/ 211549 h 983545"/>
                <a:gd name="connsiteX6" fmla="*/ 81451 w 367484"/>
                <a:gd name="connsiteY6" fmla="*/ 210533 h 983545"/>
                <a:gd name="connsiteX7" fmla="*/ 83739 w 367484"/>
                <a:gd name="connsiteY7" fmla="*/ 208881 h 983545"/>
                <a:gd name="connsiteX8" fmla="*/ 83739 w 367484"/>
                <a:gd name="connsiteY8" fmla="*/ 208881 h 983545"/>
                <a:gd name="connsiteX9" fmla="*/ 367484 w 367484"/>
                <a:gd name="connsiteY9" fmla="*/ 97071 h 983545"/>
                <a:gd name="connsiteX10" fmla="*/ 367484 w 367484"/>
                <a:gd name="connsiteY10" fmla="*/ 0 h 983545"/>
                <a:gd name="connsiteX11" fmla="*/ 19696 w 367484"/>
                <a:gd name="connsiteY11" fmla="*/ 0 h 983545"/>
                <a:gd name="connsiteX12" fmla="*/ 0 w 367484"/>
                <a:gd name="connsiteY12" fmla="*/ 6607 h 983545"/>
                <a:gd name="connsiteX13" fmla="*/ 0 w 367484"/>
                <a:gd name="connsiteY13" fmla="*/ 983546 h 983545"/>
                <a:gd name="connsiteX14" fmla="*/ 77385 w 367484"/>
                <a:gd name="connsiteY14" fmla="*/ 940219 h 98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484" h="983545">
                  <a:moveTo>
                    <a:pt x="77385" y="219808"/>
                  </a:moveTo>
                  <a:lnTo>
                    <a:pt x="77385" y="219808"/>
                  </a:lnTo>
                  <a:cubicBezTo>
                    <a:pt x="77258" y="218880"/>
                    <a:pt x="77258" y="217940"/>
                    <a:pt x="77385" y="217013"/>
                  </a:cubicBezTo>
                  <a:cubicBezTo>
                    <a:pt x="77309" y="216428"/>
                    <a:pt x="77309" y="215831"/>
                    <a:pt x="77385" y="215234"/>
                  </a:cubicBezTo>
                  <a:lnTo>
                    <a:pt x="78656" y="213328"/>
                  </a:lnTo>
                  <a:cubicBezTo>
                    <a:pt x="79012" y="212680"/>
                    <a:pt x="79431" y="212083"/>
                    <a:pt x="79927" y="211549"/>
                  </a:cubicBezTo>
                  <a:cubicBezTo>
                    <a:pt x="80346" y="211104"/>
                    <a:pt x="80867" y="210749"/>
                    <a:pt x="81451" y="210533"/>
                  </a:cubicBezTo>
                  <a:cubicBezTo>
                    <a:pt x="82125" y="209872"/>
                    <a:pt x="82900" y="209313"/>
                    <a:pt x="83739" y="208881"/>
                  </a:cubicBezTo>
                  <a:lnTo>
                    <a:pt x="83739" y="208881"/>
                  </a:lnTo>
                  <a:lnTo>
                    <a:pt x="367484" y="97071"/>
                  </a:lnTo>
                  <a:lnTo>
                    <a:pt x="367484" y="0"/>
                  </a:lnTo>
                  <a:lnTo>
                    <a:pt x="19696" y="0"/>
                  </a:lnTo>
                  <a:lnTo>
                    <a:pt x="0" y="6607"/>
                  </a:lnTo>
                  <a:lnTo>
                    <a:pt x="0" y="983546"/>
                  </a:lnTo>
                  <a:lnTo>
                    <a:pt x="77385" y="940219"/>
                  </a:ln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16BFE4E-8839-4168-B520-C994418BB0DC}"/>
                </a:ext>
              </a:extLst>
            </p:cNvPr>
            <p:cNvSpPr/>
            <p:nvPr/>
          </p:nvSpPr>
          <p:spPr>
            <a:xfrm>
              <a:off x="8623135" y="2746129"/>
              <a:ext cx="1185428" cy="531732"/>
            </a:xfrm>
            <a:custGeom>
              <a:avLst/>
              <a:gdLst>
                <a:gd name="connsiteX0" fmla="*/ 762 w 1185428"/>
                <a:gd name="connsiteY0" fmla="*/ 177752 h 531732"/>
                <a:gd name="connsiteX1" fmla="*/ 2033 w 1185428"/>
                <a:gd name="connsiteY1" fmla="*/ 177752 h 531732"/>
                <a:gd name="connsiteX2" fmla="*/ 4193 w 1185428"/>
                <a:gd name="connsiteY2" fmla="*/ 178642 h 531732"/>
                <a:gd name="connsiteX3" fmla="*/ 5972 w 1185428"/>
                <a:gd name="connsiteY3" fmla="*/ 179912 h 531732"/>
                <a:gd name="connsiteX4" fmla="*/ 7497 w 1185428"/>
                <a:gd name="connsiteY4" fmla="*/ 181437 h 531732"/>
                <a:gd name="connsiteX5" fmla="*/ 8768 w 1185428"/>
                <a:gd name="connsiteY5" fmla="*/ 183343 h 531732"/>
                <a:gd name="connsiteX6" fmla="*/ 9530 w 1185428"/>
                <a:gd name="connsiteY6" fmla="*/ 184867 h 531732"/>
                <a:gd name="connsiteX7" fmla="*/ 427842 w 1185428"/>
                <a:gd name="connsiteY7" fmla="*/ 184867 h 531732"/>
                <a:gd name="connsiteX8" fmla="*/ 439151 w 1185428"/>
                <a:gd name="connsiteY8" fmla="*/ 174957 h 531732"/>
                <a:gd name="connsiteX9" fmla="*/ 450969 w 1185428"/>
                <a:gd name="connsiteY9" fmla="*/ 187027 h 531732"/>
                <a:gd name="connsiteX10" fmla="*/ 450969 w 1185428"/>
                <a:gd name="connsiteY10" fmla="*/ 531732 h 531732"/>
                <a:gd name="connsiteX11" fmla="*/ 1185428 w 1185428"/>
                <a:gd name="connsiteY11" fmla="*/ 531732 h 531732"/>
                <a:gd name="connsiteX12" fmla="*/ 1185428 w 1185428"/>
                <a:gd name="connsiteY12" fmla="*/ 0 h 531732"/>
                <a:gd name="connsiteX13" fmla="*/ 0 w 1185428"/>
                <a:gd name="connsiteY13" fmla="*/ 0 h 531732"/>
                <a:gd name="connsiteX14" fmla="*/ 0 w 1185428"/>
                <a:gd name="connsiteY14" fmla="*/ 177879 h 53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5428" h="531732">
                  <a:moveTo>
                    <a:pt x="762" y="177752"/>
                  </a:moveTo>
                  <a:cubicBezTo>
                    <a:pt x="762" y="177752"/>
                    <a:pt x="1525" y="177752"/>
                    <a:pt x="2033" y="177752"/>
                  </a:cubicBezTo>
                  <a:lnTo>
                    <a:pt x="4193" y="178642"/>
                  </a:lnTo>
                  <a:lnTo>
                    <a:pt x="5972" y="179912"/>
                  </a:lnTo>
                  <a:lnTo>
                    <a:pt x="7497" y="181437"/>
                  </a:lnTo>
                  <a:lnTo>
                    <a:pt x="8768" y="183343"/>
                  </a:lnTo>
                  <a:cubicBezTo>
                    <a:pt x="9073" y="183826"/>
                    <a:pt x="9327" y="184334"/>
                    <a:pt x="9530" y="184867"/>
                  </a:cubicBezTo>
                  <a:lnTo>
                    <a:pt x="427842" y="184867"/>
                  </a:lnTo>
                  <a:cubicBezTo>
                    <a:pt x="428706" y="179252"/>
                    <a:pt x="433471" y="175071"/>
                    <a:pt x="439151" y="174957"/>
                  </a:cubicBezTo>
                  <a:cubicBezTo>
                    <a:pt x="445581" y="175402"/>
                    <a:pt x="450664" y="180586"/>
                    <a:pt x="450969" y="187027"/>
                  </a:cubicBezTo>
                  <a:lnTo>
                    <a:pt x="450969" y="531732"/>
                  </a:lnTo>
                  <a:lnTo>
                    <a:pt x="1185428" y="531732"/>
                  </a:lnTo>
                  <a:lnTo>
                    <a:pt x="1185428" y="0"/>
                  </a:lnTo>
                  <a:lnTo>
                    <a:pt x="0" y="0"/>
                  </a:lnTo>
                  <a:lnTo>
                    <a:pt x="0" y="177879"/>
                  </a:lnTo>
                  <a:close/>
                </a:path>
              </a:pathLst>
            </a:custGeom>
            <a:solidFill>
              <a:schemeClr val="accent2"/>
            </a:solidFill>
            <a:ln w="12704"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C458299A-2891-4CEE-9EE7-A051FB993859}"/>
                </a:ext>
              </a:extLst>
            </p:cNvPr>
            <p:cNvSpPr/>
            <p:nvPr/>
          </p:nvSpPr>
          <p:spPr>
            <a:xfrm>
              <a:off x="8633555" y="2937858"/>
              <a:ext cx="417040" cy="330093"/>
            </a:xfrm>
            <a:custGeom>
              <a:avLst/>
              <a:gdLst>
                <a:gd name="connsiteX0" fmla="*/ 0 w 417040"/>
                <a:gd name="connsiteY0" fmla="*/ 0 h 330093"/>
                <a:gd name="connsiteX1" fmla="*/ 0 w 417040"/>
                <a:gd name="connsiteY1" fmla="*/ 330093 h 330093"/>
                <a:gd name="connsiteX2" fmla="*/ 4701 w 417040"/>
                <a:gd name="connsiteY2" fmla="*/ 330093 h 330093"/>
                <a:gd name="connsiteX3" fmla="*/ 417041 w 417040"/>
                <a:gd name="connsiteY3" fmla="*/ 330093 h 330093"/>
                <a:gd name="connsiteX4" fmla="*/ 417041 w 417040"/>
                <a:gd name="connsiteY4" fmla="*/ 0 h 330093"/>
                <a:gd name="connsiteX5" fmla="*/ 0 w 417040"/>
                <a:gd name="connsiteY5" fmla="*/ 0 h 33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040" h="330093">
                  <a:moveTo>
                    <a:pt x="0" y="0"/>
                  </a:moveTo>
                  <a:lnTo>
                    <a:pt x="0" y="330093"/>
                  </a:lnTo>
                  <a:lnTo>
                    <a:pt x="4701" y="330093"/>
                  </a:lnTo>
                  <a:lnTo>
                    <a:pt x="417041" y="330093"/>
                  </a:lnTo>
                  <a:lnTo>
                    <a:pt x="417041" y="0"/>
                  </a:lnTo>
                  <a:lnTo>
                    <a:pt x="0" y="0"/>
                  </a:lnTo>
                  <a:close/>
                </a:path>
              </a:pathLst>
            </a:custGeom>
            <a:solidFill>
              <a:schemeClr val="bg1">
                <a:lumMod val="95000"/>
              </a:schemeClr>
            </a:solidFill>
            <a:ln w="12704"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24A6FA1E-B966-460F-8BE0-127F3169BD37}"/>
                </a:ext>
              </a:extLst>
            </p:cNvPr>
            <p:cNvSpPr/>
            <p:nvPr/>
          </p:nvSpPr>
          <p:spPr>
            <a:xfrm>
              <a:off x="9071817" y="2550589"/>
              <a:ext cx="7115" cy="171780"/>
            </a:xfrm>
            <a:custGeom>
              <a:avLst/>
              <a:gdLst>
                <a:gd name="connsiteX0" fmla="*/ 6862 w 7115"/>
                <a:gd name="connsiteY0" fmla="*/ 5591 h 171780"/>
                <a:gd name="connsiteX1" fmla="*/ 2414 w 7115"/>
                <a:gd name="connsiteY1" fmla="*/ 2541 h 171780"/>
                <a:gd name="connsiteX2" fmla="*/ 1652 w 7115"/>
                <a:gd name="connsiteY2" fmla="*/ 1779 h 171780"/>
                <a:gd name="connsiteX3" fmla="*/ 0 w 7115"/>
                <a:gd name="connsiteY3" fmla="*/ 0 h 171780"/>
                <a:gd name="connsiteX4" fmla="*/ 0 w 7115"/>
                <a:gd name="connsiteY4" fmla="*/ 0 h 171780"/>
                <a:gd name="connsiteX5" fmla="*/ 0 w 7115"/>
                <a:gd name="connsiteY5" fmla="*/ 171781 h 171780"/>
                <a:gd name="connsiteX6" fmla="*/ 7116 w 7115"/>
                <a:gd name="connsiteY6" fmla="*/ 171781 h 1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5" h="171780">
                  <a:moveTo>
                    <a:pt x="6862" y="5591"/>
                  </a:moveTo>
                  <a:lnTo>
                    <a:pt x="2414" y="2541"/>
                  </a:lnTo>
                  <a:lnTo>
                    <a:pt x="1652" y="1779"/>
                  </a:lnTo>
                  <a:cubicBezTo>
                    <a:pt x="1042" y="1245"/>
                    <a:pt x="483" y="648"/>
                    <a:pt x="0" y="0"/>
                  </a:cubicBezTo>
                  <a:lnTo>
                    <a:pt x="0" y="0"/>
                  </a:lnTo>
                  <a:lnTo>
                    <a:pt x="0" y="171781"/>
                  </a:lnTo>
                  <a:lnTo>
                    <a:pt x="7116" y="171781"/>
                  </a:lnTo>
                  <a:close/>
                </a:path>
              </a:pathLst>
            </a:custGeom>
            <a:solidFill>
              <a:srgbClr val="F4F5F3"/>
            </a:solidFill>
            <a:ln w="12704"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2845750F-3D79-4344-B87B-811C897B76AE}"/>
                </a:ext>
              </a:extLst>
            </p:cNvPr>
            <p:cNvSpPr/>
            <p:nvPr/>
          </p:nvSpPr>
          <p:spPr>
            <a:xfrm>
              <a:off x="8633555" y="786153"/>
              <a:ext cx="433814" cy="1935961"/>
            </a:xfrm>
            <a:custGeom>
              <a:avLst/>
              <a:gdLst>
                <a:gd name="connsiteX0" fmla="*/ 0 w 433814"/>
                <a:gd name="connsiteY0" fmla="*/ 1701670 h 1935961"/>
                <a:gd name="connsiteX1" fmla="*/ 0 w 433814"/>
                <a:gd name="connsiteY1" fmla="*/ 1935962 h 1935961"/>
                <a:gd name="connsiteX2" fmla="*/ 433814 w 433814"/>
                <a:gd name="connsiteY2" fmla="*/ 1935962 h 1935961"/>
                <a:gd name="connsiteX3" fmla="*/ 433814 w 433814"/>
                <a:gd name="connsiteY3" fmla="*/ 14230 h 1935961"/>
                <a:gd name="connsiteX4" fmla="*/ 428096 w 433814"/>
                <a:gd name="connsiteY4" fmla="*/ 0 h 1935961"/>
                <a:gd name="connsiteX5" fmla="*/ 277011 w 433814"/>
                <a:gd name="connsiteY5" fmla="*/ 0 h 1935961"/>
                <a:gd name="connsiteX6" fmla="*/ 0 w 433814"/>
                <a:gd name="connsiteY6" fmla="*/ 0 h 1935961"/>
                <a:gd name="connsiteX7" fmla="*/ 0 w 433814"/>
                <a:gd name="connsiteY7" fmla="*/ 1056095 h 1935961"/>
                <a:gd name="connsiteX8" fmla="*/ 0 w 433814"/>
                <a:gd name="connsiteY8" fmla="*/ 1357473 h 1935961"/>
                <a:gd name="connsiteX9" fmla="*/ 0 w 433814"/>
                <a:gd name="connsiteY9" fmla="*/ 1701670 h 19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814" h="1935961">
                  <a:moveTo>
                    <a:pt x="0" y="1701670"/>
                  </a:moveTo>
                  <a:lnTo>
                    <a:pt x="0" y="1935962"/>
                  </a:lnTo>
                  <a:lnTo>
                    <a:pt x="433814" y="1935962"/>
                  </a:lnTo>
                  <a:lnTo>
                    <a:pt x="433814" y="14230"/>
                  </a:lnTo>
                  <a:lnTo>
                    <a:pt x="428096" y="0"/>
                  </a:lnTo>
                  <a:lnTo>
                    <a:pt x="277011" y="0"/>
                  </a:lnTo>
                  <a:lnTo>
                    <a:pt x="0" y="0"/>
                  </a:lnTo>
                  <a:lnTo>
                    <a:pt x="0" y="1056095"/>
                  </a:lnTo>
                  <a:lnTo>
                    <a:pt x="0" y="1357473"/>
                  </a:lnTo>
                  <a:lnTo>
                    <a:pt x="0" y="1701670"/>
                  </a:lnTo>
                  <a:close/>
                </a:path>
              </a:pathLst>
            </a:custGeom>
            <a:solidFill>
              <a:schemeClr val="accent2"/>
            </a:solidFill>
            <a:ln w="12704"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A23A5866-60F7-457A-8F00-7F4DC5FBC5AB}"/>
                </a:ext>
              </a:extLst>
            </p:cNvPr>
            <p:cNvSpPr/>
            <p:nvPr/>
          </p:nvSpPr>
          <p:spPr>
            <a:xfrm>
              <a:off x="9073596" y="3282562"/>
              <a:ext cx="1764483" cy="805285"/>
            </a:xfrm>
            <a:custGeom>
              <a:avLst/>
              <a:gdLst>
                <a:gd name="connsiteX0" fmla="*/ 0 w 1764483"/>
                <a:gd name="connsiteY0" fmla="*/ 0 h 805285"/>
                <a:gd name="connsiteX1" fmla="*/ 0 w 1764483"/>
                <a:gd name="connsiteY1" fmla="*/ 2160 h 805285"/>
                <a:gd name="connsiteX2" fmla="*/ 0 w 1764483"/>
                <a:gd name="connsiteY2" fmla="*/ 2795 h 805285"/>
                <a:gd name="connsiteX3" fmla="*/ 0 w 1764483"/>
                <a:gd name="connsiteY3" fmla="*/ 805285 h 805285"/>
                <a:gd name="connsiteX4" fmla="*/ 1764483 w 1764483"/>
                <a:gd name="connsiteY4" fmla="*/ 805285 h 805285"/>
                <a:gd name="connsiteX5" fmla="*/ 1764483 w 1764483"/>
                <a:gd name="connsiteY5" fmla="*/ 9021 h 805285"/>
                <a:gd name="connsiteX6" fmla="*/ 1760163 w 1764483"/>
                <a:gd name="connsiteY6" fmla="*/ 9021 h 805285"/>
                <a:gd name="connsiteX7" fmla="*/ 750344 w 1764483"/>
                <a:gd name="connsiteY7" fmla="*/ 9021 h 805285"/>
                <a:gd name="connsiteX8" fmla="*/ 746659 w 1764483"/>
                <a:gd name="connsiteY8" fmla="*/ 9783 h 805285"/>
                <a:gd name="connsiteX9" fmla="*/ 736112 w 1764483"/>
                <a:gd name="connsiteY9" fmla="*/ 2033 h 805285"/>
                <a:gd name="connsiteX10" fmla="*/ 736112 w 1764483"/>
                <a:gd name="connsiteY10" fmla="*/ 1143 h 805285"/>
                <a:gd name="connsiteX11" fmla="*/ 736112 w 1764483"/>
                <a:gd name="connsiteY11" fmla="*/ 381 h 80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4483" h="805285">
                  <a:moveTo>
                    <a:pt x="0" y="0"/>
                  </a:moveTo>
                  <a:cubicBezTo>
                    <a:pt x="76" y="724"/>
                    <a:pt x="76" y="1436"/>
                    <a:pt x="0" y="2160"/>
                  </a:cubicBezTo>
                  <a:cubicBezTo>
                    <a:pt x="0" y="2160"/>
                    <a:pt x="0" y="2160"/>
                    <a:pt x="0" y="2795"/>
                  </a:cubicBezTo>
                  <a:lnTo>
                    <a:pt x="0" y="805285"/>
                  </a:lnTo>
                  <a:lnTo>
                    <a:pt x="1764483" y="805285"/>
                  </a:lnTo>
                  <a:lnTo>
                    <a:pt x="1764483" y="9021"/>
                  </a:lnTo>
                  <a:lnTo>
                    <a:pt x="1760163" y="9021"/>
                  </a:lnTo>
                  <a:lnTo>
                    <a:pt x="750344" y="9021"/>
                  </a:lnTo>
                  <a:cubicBezTo>
                    <a:pt x="749162" y="9466"/>
                    <a:pt x="747917" y="9720"/>
                    <a:pt x="746659" y="9783"/>
                  </a:cubicBezTo>
                  <a:cubicBezTo>
                    <a:pt x="741855" y="9707"/>
                    <a:pt x="737625" y="6594"/>
                    <a:pt x="736112" y="2033"/>
                  </a:cubicBezTo>
                  <a:lnTo>
                    <a:pt x="736112" y="1143"/>
                  </a:lnTo>
                  <a:cubicBezTo>
                    <a:pt x="736061" y="889"/>
                    <a:pt x="736061" y="635"/>
                    <a:pt x="736112" y="381"/>
                  </a:cubicBezTo>
                  <a:close/>
                </a:path>
              </a:pathLst>
            </a:custGeom>
            <a:solidFill>
              <a:schemeClr val="tx2"/>
            </a:solidFill>
            <a:ln w="12704"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7A5D65E3-BBB7-4087-A419-8457057A2C44}"/>
                </a:ext>
              </a:extLst>
            </p:cNvPr>
            <p:cNvSpPr/>
            <p:nvPr/>
          </p:nvSpPr>
          <p:spPr>
            <a:xfrm>
              <a:off x="7030704" y="4959456"/>
              <a:ext cx="1521526" cy="578361"/>
            </a:xfrm>
            <a:custGeom>
              <a:avLst/>
              <a:gdLst>
                <a:gd name="connsiteX0" fmla="*/ 8641 w 1521526"/>
                <a:gd name="connsiteY0" fmla="*/ 0 h 578361"/>
                <a:gd name="connsiteX1" fmla="*/ 0 w 1521526"/>
                <a:gd name="connsiteY1" fmla="*/ 4955 h 578361"/>
                <a:gd name="connsiteX2" fmla="*/ 0 w 1521526"/>
                <a:gd name="connsiteY2" fmla="*/ 578362 h 578361"/>
                <a:gd name="connsiteX3" fmla="*/ 1521019 w 1521526"/>
                <a:gd name="connsiteY3" fmla="*/ 578362 h 578361"/>
                <a:gd name="connsiteX4" fmla="*/ 1521527 w 1521526"/>
                <a:gd name="connsiteY4" fmla="*/ 577727 h 578361"/>
                <a:gd name="connsiteX5" fmla="*/ 1521527 w 1521526"/>
                <a:gd name="connsiteY5" fmla="*/ 0 h 578361"/>
                <a:gd name="connsiteX6" fmla="*/ 8641 w 1521526"/>
                <a:gd name="connsiteY6" fmla="*/ 0 h 57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526" h="578361">
                  <a:moveTo>
                    <a:pt x="8641" y="0"/>
                  </a:moveTo>
                  <a:lnTo>
                    <a:pt x="0" y="4955"/>
                  </a:lnTo>
                  <a:lnTo>
                    <a:pt x="0" y="578362"/>
                  </a:lnTo>
                  <a:lnTo>
                    <a:pt x="1521019" y="578362"/>
                  </a:lnTo>
                  <a:lnTo>
                    <a:pt x="1521527" y="577727"/>
                  </a:lnTo>
                  <a:lnTo>
                    <a:pt x="1521527" y="0"/>
                  </a:lnTo>
                  <a:lnTo>
                    <a:pt x="8641" y="0"/>
                  </a:lnTo>
                  <a:close/>
                </a:path>
              </a:pathLst>
            </a:custGeom>
            <a:solidFill>
              <a:schemeClr val="accent3"/>
            </a:solidFill>
            <a:ln w="12704"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2A31D65-D864-4B0C-B05C-34BDEA77296D}"/>
                </a:ext>
              </a:extLst>
            </p:cNvPr>
            <p:cNvSpPr/>
            <p:nvPr/>
          </p:nvSpPr>
          <p:spPr>
            <a:xfrm>
              <a:off x="6961705" y="5537817"/>
              <a:ext cx="1589889" cy="59335"/>
            </a:xfrm>
            <a:custGeom>
              <a:avLst/>
              <a:gdLst>
                <a:gd name="connsiteX0" fmla="*/ 68998 w 1589889"/>
                <a:gd name="connsiteY0" fmla="*/ 0 h 59335"/>
                <a:gd name="connsiteX1" fmla="*/ 68998 w 1589889"/>
                <a:gd name="connsiteY1" fmla="*/ 889 h 59335"/>
                <a:gd name="connsiteX2" fmla="*/ 68998 w 1589889"/>
                <a:gd name="connsiteY2" fmla="*/ 3176 h 59335"/>
                <a:gd name="connsiteX3" fmla="*/ 68363 w 1589889"/>
                <a:gd name="connsiteY3" fmla="*/ 5337 h 59335"/>
                <a:gd name="connsiteX4" fmla="*/ 67093 w 1589889"/>
                <a:gd name="connsiteY4" fmla="*/ 7115 h 59335"/>
                <a:gd name="connsiteX5" fmla="*/ 65568 w 1589889"/>
                <a:gd name="connsiteY5" fmla="*/ 9021 h 59335"/>
                <a:gd name="connsiteX6" fmla="*/ 64932 w 1589889"/>
                <a:gd name="connsiteY6" fmla="*/ 9656 h 59335"/>
                <a:gd name="connsiteX7" fmla="*/ 0 w 1589889"/>
                <a:gd name="connsiteY7" fmla="*/ 59336 h 59335"/>
                <a:gd name="connsiteX8" fmla="*/ 1551769 w 1589889"/>
                <a:gd name="connsiteY8" fmla="*/ 59336 h 59335"/>
                <a:gd name="connsiteX9" fmla="*/ 1589890 w 1589889"/>
                <a:gd name="connsiteY9" fmla="*/ 0 h 5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9889" h="59335">
                  <a:moveTo>
                    <a:pt x="68998" y="0"/>
                  </a:moveTo>
                  <a:cubicBezTo>
                    <a:pt x="68998" y="0"/>
                    <a:pt x="68998" y="0"/>
                    <a:pt x="68998" y="889"/>
                  </a:cubicBezTo>
                  <a:cubicBezTo>
                    <a:pt x="69113" y="1652"/>
                    <a:pt x="69113" y="2414"/>
                    <a:pt x="68998" y="3176"/>
                  </a:cubicBezTo>
                  <a:cubicBezTo>
                    <a:pt x="68859" y="3914"/>
                    <a:pt x="68655" y="4637"/>
                    <a:pt x="68363" y="5337"/>
                  </a:cubicBezTo>
                  <a:cubicBezTo>
                    <a:pt x="68007" y="5984"/>
                    <a:pt x="67588" y="6582"/>
                    <a:pt x="67093" y="7115"/>
                  </a:cubicBezTo>
                  <a:lnTo>
                    <a:pt x="65568" y="9021"/>
                  </a:lnTo>
                  <a:lnTo>
                    <a:pt x="64932" y="9656"/>
                  </a:lnTo>
                  <a:lnTo>
                    <a:pt x="0" y="59336"/>
                  </a:lnTo>
                  <a:lnTo>
                    <a:pt x="1551769" y="59336"/>
                  </a:lnTo>
                  <a:lnTo>
                    <a:pt x="1589890" y="0"/>
                  </a:lnTo>
                  <a:close/>
                </a:path>
              </a:pathLst>
            </a:custGeom>
            <a:solidFill>
              <a:srgbClr val="22B0AE"/>
            </a:solidFill>
            <a:ln w="12704"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29D49CFE-38E8-4DF2-A9E7-B12A3993AD42}"/>
                </a:ext>
              </a:extLst>
            </p:cNvPr>
            <p:cNvSpPr/>
            <p:nvPr/>
          </p:nvSpPr>
          <p:spPr>
            <a:xfrm>
              <a:off x="8555916" y="4948529"/>
              <a:ext cx="8259" cy="581792"/>
            </a:xfrm>
            <a:custGeom>
              <a:avLst/>
              <a:gdLst>
                <a:gd name="connsiteX0" fmla="*/ 381 w 8259"/>
                <a:gd name="connsiteY0" fmla="*/ 581792 h 581792"/>
                <a:gd name="connsiteX1" fmla="*/ 7624 w 8259"/>
                <a:gd name="connsiteY1" fmla="*/ 570739 h 581792"/>
                <a:gd name="connsiteX2" fmla="*/ 7624 w 8259"/>
                <a:gd name="connsiteY2" fmla="*/ 570739 h 581792"/>
                <a:gd name="connsiteX3" fmla="*/ 8259 w 8259"/>
                <a:gd name="connsiteY3" fmla="*/ 570739 h 581792"/>
                <a:gd name="connsiteX4" fmla="*/ 8259 w 8259"/>
                <a:gd name="connsiteY4" fmla="*/ 570739 h 581792"/>
                <a:gd name="connsiteX5" fmla="*/ 8259 w 8259"/>
                <a:gd name="connsiteY5" fmla="*/ 0 h 581792"/>
                <a:gd name="connsiteX6" fmla="*/ 0 w 8259"/>
                <a:gd name="connsiteY6" fmla="*/ 9656 h 58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9" h="581792">
                  <a:moveTo>
                    <a:pt x="381" y="581792"/>
                  </a:moveTo>
                  <a:lnTo>
                    <a:pt x="7624" y="570739"/>
                  </a:lnTo>
                  <a:lnTo>
                    <a:pt x="7624" y="570739"/>
                  </a:lnTo>
                  <a:lnTo>
                    <a:pt x="8259" y="570739"/>
                  </a:lnTo>
                  <a:lnTo>
                    <a:pt x="8259" y="570739"/>
                  </a:lnTo>
                  <a:lnTo>
                    <a:pt x="8259" y="0"/>
                  </a:lnTo>
                  <a:lnTo>
                    <a:pt x="0" y="9656"/>
                  </a:lnTo>
                  <a:close/>
                </a:path>
              </a:pathLst>
            </a:custGeom>
            <a:solidFill>
              <a:srgbClr val="E8E7E3"/>
            </a:solidFill>
            <a:ln w="12704"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822F8412-3424-4B2A-A5E2-DC0578987534}"/>
                </a:ext>
              </a:extLst>
            </p:cNvPr>
            <p:cNvSpPr/>
            <p:nvPr/>
          </p:nvSpPr>
          <p:spPr>
            <a:xfrm>
              <a:off x="8556424" y="5527907"/>
              <a:ext cx="6734" cy="111682"/>
            </a:xfrm>
            <a:custGeom>
              <a:avLst/>
              <a:gdLst>
                <a:gd name="connsiteX0" fmla="*/ 6735 w 6734"/>
                <a:gd name="connsiteY0" fmla="*/ 0 h 111682"/>
                <a:gd name="connsiteX1" fmla="*/ 0 w 6734"/>
                <a:gd name="connsiteY1" fmla="*/ 10546 h 111682"/>
                <a:gd name="connsiteX2" fmla="*/ 0 w 6734"/>
                <a:gd name="connsiteY2" fmla="*/ 111683 h 111682"/>
                <a:gd name="connsiteX3" fmla="*/ 6735 w 6734"/>
                <a:gd name="connsiteY3" fmla="*/ 100629 h 111682"/>
                <a:gd name="connsiteX4" fmla="*/ 6735 w 6734"/>
                <a:gd name="connsiteY4" fmla="*/ 0 h 111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4" h="111682">
                  <a:moveTo>
                    <a:pt x="6735" y="0"/>
                  </a:moveTo>
                  <a:lnTo>
                    <a:pt x="0" y="10546"/>
                  </a:lnTo>
                  <a:lnTo>
                    <a:pt x="0" y="111683"/>
                  </a:lnTo>
                  <a:lnTo>
                    <a:pt x="6735" y="100629"/>
                  </a:lnTo>
                  <a:lnTo>
                    <a:pt x="6735" y="0"/>
                  </a:lnTo>
                  <a:close/>
                </a:path>
              </a:pathLst>
            </a:custGeom>
            <a:solidFill>
              <a:srgbClr val="9FD1D0"/>
            </a:solidFill>
            <a:ln w="12704"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F7BC8C1F-522A-4F51-BEA7-1365285EBC5A}"/>
                </a:ext>
              </a:extLst>
            </p:cNvPr>
            <p:cNvSpPr/>
            <p:nvPr/>
          </p:nvSpPr>
          <p:spPr>
            <a:xfrm>
              <a:off x="9074104" y="4111861"/>
              <a:ext cx="1763085" cy="1507146"/>
            </a:xfrm>
            <a:custGeom>
              <a:avLst/>
              <a:gdLst>
                <a:gd name="connsiteX0" fmla="*/ 0 w 1763085"/>
                <a:gd name="connsiteY0" fmla="*/ 1361158 h 1507146"/>
                <a:gd name="connsiteX1" fmla="*/ 0 w 1763085"/>
                <a:gd name="connsiteY1" fmla="*/ 1373610 h 1507146"/>
                <a:gd name="connsiteX2" fmla="*/ 0 w 1763085"/>
                <a:gd name="connsiteY2" fmla="*/ 1507146 h 1507146"/>
                <a:gd name="connsiteX3" fmla="*/ 1751141 w 1763085"/>
                <a:gd name="connsiteY3" fmla="*/ 1507146 h 1507146"/>
                <a:gd name="connsiteX4" fmla="*/ 1763085 w 1763085"/>
                <a:gd name="connsiteY4" fmla="*/ 1507146 h 1507146"/>
                <a:gd name="connsiteX5" fmla="*/ 1763085 w 1763085"/>
                <a:gd name="connsiteY5" fmla="*/ 767168 h 1507146"/>
                <a:gd name="connsiteX6" fmla="*/ 1763085 w 1763085"/>
                <a:gd name="connsiteY6" fmla="*/ 0 h 1507146"/>
                <a:gd name="connsiteX7" fmla="*/ 0 w 1763085"/>
                <a:gd name="connsiteY7" fmla="*/ 0 h 1507146"/>
                <a:gd name="connsiteX8" fmla="*/ 0 w 1763085"/>
                <a:gd name="connsiteY8" fmla="*/ 748110 h 1507146"/>
                <a:gd name="connsiteX9" fmla="*/ 0 w 1763085"/>
                <a:gd name="connsiteY9" fmla="*/ 1361158 h 15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3085" h="1507146">
                  <a:moveTo>
                    <a:pt x="0" y="1361158"/>
                  </a:moveTo>
                  <a:lnTo>
                    <a:pt x="0" y="1373610"/>
                  </a:lnTo>
                  <a:lnTo>
                    <a:pt x="0" y="1507146"/>
                  </a:lnTo>
                  <a:lnTo>
                    <a:pt x="1751141" y="1507146"/>
                  </a:lnTo>
                  <a:lnTo>
                    <a:pt x="1763085" y="1507146"/>
                  </a:lnTo>
                  <a:lnTo>
                    <a:pt x="1763085" y="767168"/>
                  </a:lnTo>
                  <a:lnTo>
                    <a:pt x="1763085" y="0"/>
                  </a:lnTo>
                  <a:lnTo>
                    <a:pt x="0" y="0"/>
                  </a:lnTo>
                  <a:lnTo>
                    <a:pt x="0" y="748110"/>
                  </a:lnTo>
                  <a:lnTo>
                    <a:pt x="0" y="1361158"/>
                  </a:lnTo>
                  <a:close/>
                </a:path>
              </a:pathLst>
            </a:custGeom>
            <a:solidFill>
              <a:schemeClr val="accent1"/>
            </a:solidFill>
            <a:ln w="12704"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A974D212-E515-4A2B-9710-914DD9211487}"/>
                </a:ext>
              </a:extLst>
            </p:cNvPr>
            <p:cNvSpPr/>
            <p:nvPr/>
          </p:nvSpPr>
          <p:spPr>
            <a:xfrm>
              <a:off x="5955063" y="4574348"/>
              <a:ext cx="14612" cy="24139"/>
            </a:xfrm>
            <a:custGeom>
              <a:avLst/>
              <a:gdLst>
                <a:gd name="connsiteX0" fmla="*/ 12707 w 14612"/>
                <a:gd name="connsiteY0" fmla="*/ 8385 h 24139"/>
                <a:gd name="connsiteX1" fmla="*/ 5210 w 14612"/>
                <a:gd name="connsiteY1" fmla="*/ 23504 h 24139"/>
                <a:gd name="connsiteX2" fmla="*/ 3431 w 14612"/>
                <a:gd name="connsiteY2" fmla="*/ 24140 h 24139"/>
                <a:gd name="connsiteX3" fmla="*/ 14613 w 14612"/>
                <a:gd name="connsiteY3" fmla="*/ 24140 h 24139"/>
                <a:gd name="connsiteX4" fmla="*/ 14613 w 14612"/>
                <a:gd name="connsiteY4" fmla="*/ 126 h 24139"/>
                <a:gd name="connsiteX5" fmla="*/ 1906 w 14612"/>
                <a:gd name="connsiteY5" fmla="*/ 126 h 24139"/>
                <a:gd name="connsiteX6" fmla="*/ 0 w 14612"/>
                <a:gd name="connsiteY6" fmla="*/ 126 h 24139"/>
                <a:gd name="connsiteX7" fmla="*/ 12707 w 14612"/>
                <a:gd name="connsiteY7" fmla="*/ 8385 h 2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12" h="24139">
                  <a:moveTo>
                    <a:pt x="12707" y="8385"/>
                  </a:moveTo>
                  <a:cubicBezTo>
                    <a:pt x="14803" y="14636"/>
                    <a:pt x="11449" y="21395"/>
                    <a:pt x="5210" y="23504"/>
                  </a:cubicBezTo>
                  <a:lnTo>
                    <a:pt x="3431" y="24140"/>
                  </a:lnTo>
                  <a:lnTo>
                    <a:pt x="14613" y="24140"/>
                  </a:lnTo>
                  <a:lnTo>
                    <a:pt x="14613" y="126"/>
                  </a:lnTo>
                  <a:lnTo>
                    <a:pt x="1906" y="126"/>
                  </a:lnTo>
                  <a:cubicBezTo>
                    <a:pt x="1271" y="50"/>
                    <a:pt x="635" y="50"/>
                    <a:pt x="0" y="126"/>
                  </a:cubicBezTo>
                  <a:cubicBezTo>
                    <a:pt x="5718" y="-725"/>
                    <a:pt x="11169" y="2820"/>
                    <a:pt x="12707" y="8385"/>
                  </a:cubicBezTo>
                  <a:close/>
                </a:path>
              </a:pathLst>
            </a:custGeom>
            <a:solidFill>
              <a:srgbClr val="000000"/>
            </a:solidFill>
            <a:ln w="12704"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79DC3A6D-BB8D-4E9C-8B85-093262BFA45F}"/>
                </a:ext>
              </a:extLst>
            </p:cNvPr>
            <p:cNvSpPr/>
            <p:nvPr/>
          </p:nvSpPr>
          <p:spPr>
            <a:xfrm>
              <a:off x="11965945" y="4593151"/>
              <a:ext cx="28463" cy="24141"/>
            </a:xfrm>
            <a:custGeom>
              <a:avLst/>
              <a:gdLst>
                <a:gd name="connsiteX0" fmla="*/ 0 w 28463"/>
                <a:gd name="connsiteY0" fmla="*/ 3558 h 24141"/>
                <a:gd name="connsiteX1" fmla="*/ 28463 w 28463"/>
                <a:gd name="connsiteY1" fmla="*/ 24141 h 24141"/>
                <a:gd name="connsiteX2" fmla="*/ 28463 w 28463"/>
                <a:gd name="connsiteY2" fmla="*/ 18932 h 24141"/>
                <a:gd name="connsiteX3" fmla="*/ 2414 w 28463"/>
                <a:gd name="connsiteY3" fmla="*/ 0 h 24141"/>
                <a:gd name="connsiteX4" fmla="*/ 0 w 28463"/>
                <a:gd name="connsiteY4" fmla="*/ 3558 h 2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3" h="24141">
                  <a:moveTo>
                    <a:pt x="0" y="3558"/>
                  </a:moveTo>
                  <a:lnTo>
                    <a:pt x="28463" y="24141"/>
                  </a:lnTo>
                  <a:lnTo>
                    <a:pt x="28463" y="18932"/>
                  </a:lnTo>
                  <a:lnTo>
                    <a:pt x="2414" y="0"/>
                  </a:lnTo>
                  <a:cubicBezTo>
                    <a:pt x="1842" y="1321"/>
                    <a:pt x="1017" y="2528"/>
                    <a:pt x="0" y="3558"/>
                  </a:cubicBezTo>
                  <a:close/>
                </a:path>
              </a:pathLst>
            </a:custGeom>
            <a:solidFill>
              <a:srgbClr val="000000"/>
            </a:solidFill>
            <a:ln w="12704"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2763619C-C48A-4F49-A937-D5D006B57CE1}"/>
                </a:ext>
              </a:extLst>
            </p:cNvPr>
            <p:cNvSpPr/>
            <p:nvPr/>
          </p:nvSpPr>
          <p:spPr>
            <a:xfrm>
              <a:off x="5439493" y="5791296"/>
              <a:ext cx="23685" cy="544564"/>
            </a:xfrm>
            <a:custGeom>
              <a:avLst/>
              <a:gdLst>
                <a:gd name="connsiteX0" fmla="*/ 17205 w 23685"/>
                <a:gd name="connsiteY0" fmla="*/ 12070 h 544564"/>
                <a:gd name="connsiteX1" fmla="*/ 11614 w 23685"/>
                <a:gd name="connsiteY1" fmla="*/ 13595 h 544564"/>
                <a:gd name="connsiteX2" fmla="*/ 0 w 23685"/>
                <a:gd name="connsiteY2" fmla="*/ 2084 h 544564"/>
                <a:gd name="connsiteX3" fmla="*/ 178 w 23685"/>
                <a:gd name="connsiteY3" fmla="*/ 0 h 544564"/>
                <a:gd name="connsiteX4" fmla="*/ 178 w 23685"/>
                <a:gd name="connsiteY4" fmla="*/ 1525 h 544564"/>
                <a:gd name="connsiteX5" fmla="*/ 178 w 23685"/>
                <a:gd name="connsiteY5" fmla="*/ 544565 h 544564"/>
                <a:gd name="connsiteX6" fmla="*/ 23686 w 23685"/>
                <a:gd name="connsiteY6" fmla="*/ 544565 h 544564"/>
                <a:gd name="connsiteX7" fmla="*/ 23686 w 23685"/>
                <a:gd name="connsiteY7" fmla="*/ 8640 h 54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85" h="544564">
                  <a:moveTo>
                    <a:pt x="17205" y="12070"/>
                  </a:moveTo>
                  <a:cubicBezTo>
                    <a:pt x="15502" y="13061"/>
                    <a:pt x="13584" y="13582"/>
                    <a:pt x="11614" y="13595"/>
                  </a:cubicBezTo>
                  <a:cubicBezTo>
                    <a:pt x="5222" y="13620"/>
                    <a:pt x="25" y="8475"/>
                    <a:pt x="0" y="2084"/>
                  </a:cubicBezTo>
                  <a:cubicBezTo>
                    <a:pt x="0" y="1385"/>
                    <a:pt x="51" y="686"/>
                    <a:pt x="178" y="0"/>
                  </a:cubicBezTo>
                  <a:cubicBezTo>
                    <a:pt x="114" y="508"/>
                    <a:pt x="114" y="1016"/>
                    <a:pt x="178" y="1525"/>
                  </a:cubicBezTo>
                  <a:lnTo>
                    <a:pt x="178" y="544565"/>
                  </a:lnTo>
                  <a:lnTo>
                    <a:pt x="23686" y="544565"/>
                  </a:lnTo>
                  <a:lnTo>
                    <a:pt x="23686" y="8640"/>
                  </a:lnTo>
                  <a:close/>
                </a:path>
              </a:pathLst>
            </a:custGeom>
            <a:solidFill>
              <a:srgbClr val="000000"/>
            </a:solidFill>
            <a:ln w="12704"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ACE528B-276C-410D-97E5-3F747423C600}"/>
                </a:ext>
              </a:extLst>
            </p:cNvPr>
            <p:cNvSpPr/>
            <p:nvPr/>
          </p:nvSpPr>
          <p:spPr>
            <a:xfrm>
              <a:off x="11919437" y="4269030"/>
              <a:ext cx="16392" cy="4192"/>
            </a:xfrm>
            <a:custGeom>
              <a:avLst/>
              <a:gdLst>
                <a:gd name="connsiteX0" fmla="*/ 1652 w 16392"/>
                <a:gd name="connsiteY0" fmla="*/ 1016 h 4192"/>
                <a:gd name="connsiteX1" fmla="*/ 1652 w 16392"/>
                <a:gd name="connsiteY1" fmla="*/ 1016 h 4192"/>
                <a:gd name="connsiteX2" fmla="*/ 1652 w 16392"/>
                <a:gd name="connsiteY2" fmla="*/ 1016 h 4192"/>
                <a:gd name="connsiteX3" fmla="*/ 1652 w 16392"/>
                <a:gd name="connsiteY3" fmla="*/ 1779 h 4192"/>
                <a:gd name="connsiteX4" fmla="*/ 1652 w 16392"/>
                <a:gd name="connsiteY4" fmla="*/ 4193 h 4192"/>
                <a:gd name="connsiteX5" fmla="*/ 16392 w 16392"/>
                <a:gd name="connsiteY5" fmla="*/ 4193 h 4192"/>
                <a:gd name="connsiteX6" fmla="*/ 8768 w 16392"/>
                <a:gd name="connsiteY6" fmla="*/ 0 h 4192"/>
                <a:gd name="connsiteX7" fmla="*/ 0 w 16392"/>
                <a:gd name="connsiteY7"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92" h="4192">
                  <a:moveTo>
                    <a:pt x="1652" y="1016"/>
                  </a:moveTo>
                  <a:lnTo>
                    <a:pt x="1652" y="1016"/>
                  </a:lnTo>
                  <a:lnTo>
                    <a:pt x="1652" y="1016"/>
                  </a:lnTo>
                  <a:lnTo>
                    <a:pt x="1652" y="1779"/>
                  </a:lnTo>
                  <a:lnTo>
                    <a:pt x="1652" y="4193"/>
                  </a:lnTo>
                  <a:lnTo>
                    <a:pt x="16392" y="4193"/>
                  </a:lnTo>
                  <a:lnTo>
                    <a:pt x="8768" y="0"/>
                  </a:lnTo>
                  <a:lnTo>
                    <a:pt x="0" y="0"/>
                  </a:lnTo>
                  <a:close/>
                </a:path>
              </a:pathLst>
            </a:custGeom>
            <a:solidFill>
              <a:srgbClr val="000000"/>
            </a:solidFill>
            <a:ln w="12704"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E25866A7-A05D-4456-8FFA-929ABB79F365}"/>
                </a:ext>
              </a:extLst>
            </p:cNvPr>
            <p:cNvSpPr/>
            <p:nvPr/>
          </p:nvSpPr>
          <p:spPr>
            <a:xfrm>
              <a:off x="11918421" y="4272460"/>
              <a:ext cx="4192" cy="303665"/>
            </a:xfrm>
            <a:custGeom>
              <a:avLst/>
              <a:gdLst>
                <a:gd name="connsiteX0" fmla="*/ 3685 w 4192"/>
                <a:gd name="connsiteY0" fmla="*/ 0 h 303665"/>
                <a:gd name="connsiteX1" fmla="*/ 3685 w 4192"/>
                <a:gd name="connsiteY1" fmla="*/ 0 h 303665"/>
                <a:gd name="connsiteX2" fmla="*/ 3685 w 4192"/>
                <a:gd name="connsiteY2" fmla="*/ 0 h 303665"/>
                <a:gd name="connsiteX3" fmla="*/ 2033 w 4192"/>
                <a:gd name="connsiteY3" fmla="*/ 1016 h 303665"/>
                <a:gd name="connsiteX4" fmla="*/ 0 w 4192"/>
                <a:gd name="connsiteY4" fmla="*/ 1016 h 303665"/>
                <a:gd name="connsiteX5" fmla="*/ 0 w 4192"/>
                <a:gd name="connsiteY5" fmla="*/ 303665 h 303665"/>
                <a:gd name="connsiteX6" fmla="*/ 2033 w 4192"/>
                <a:gd name="connsiteY6" fmla="*/ 303665 h 303665"/>
                <a:gd name="connsiteX7" fmla="*/ 4193 w 4192"/>
                <a:gd name="connsiteY7" fmla="*/ 303665 h 303665"/>
                <a:gd name="connsiteX8" fmla="*/ 4193 w 4192"/>
                <a:gd name="connsiteY8" fmla="*/ 0 h 303665"/>
                <a:gd name="connsiteX9" fmla="*/ 3685 w 4192"/>
                <a:gd name="connsiteY9" fmla="*/ 0 h 3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2" h="303665">
                  <a:moveTo>
                    <a:pt x="3685" y="0"/>
                  </a:moveTo>
                  <a:lnTo>
                    <a:pt x="3685" y="0"/>
                  </a:lnTo>
                  <a:lnTo>
                    <a:pt x="3685" y="0"/>
                  </a:lnTo>
                  <a:cubicBezTo>
                    <a:pt x="3380" y="635"/>
                    <a:pt x="2732" y="1029"/>
                    <a:pt x="2033" y="1016"/>
                  </a:cubicBezTo>
                  <a:lnTo>
                    <a:pt x="0" y="1016"/>
                  </a:lnTo>
                  <a:lnTo>
                    <a:pt x="0" y="303665"/>
                  </a:lnTo>
                  <a:lnTo>
                    <a:pt x="2033" y="303665"/>
                  </a:lnTo>
                  <a:cubicBezTo>
                    <a:pt x="2757" y="303602"/>
                    <a:pt x="3468" y="303602"/>
                    <a:pt x="4193" y="303665"/>
                  </a:cubicBezTo>
                  <a:lnTo>
                    <a:pt x="4193" y="0"/>
                  </a:lnTo>
                  <a:cubicBezTo>
                    <a:pt x="4193" y="0"/>
                    <a:pt x="3685" y="0"/>
                    <a:pt x="3685" y="0"/>
                  </a:cubicBezTo>
                  <a:close/>
                </a:path>
              </a:pathLst>
            </a:custGeom>
            <a:solidFill>
              <a:srgbClr val="000000"/>
            </a:solidFill>
            <a:ln w="12704"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39DC436E-FC15-43E1-A673-88D80554EBDD}"/>
                </a:ext>
              </a:extLst>
            </p:cNvPr>
            <p:cNvSpPr/>
            <p:nvPr/>
          </p:nvSpPr>
          <p:spPr>
            <a:xfrm>
              <a:off x="8588064" y="5477212"/>
              <a:ext cx="21983" cy="4319"/>
            </a:xfrm>
            <a:custGeom>
              <a:avLst/>
              <a:gdLst>
                <a:gd name="connsiteX0" fmla="*/ 0 w 21983"/>
                <a:gd name="connsiteY0" fmla="*/ 4320 h 4319"/>
                <a:gd name="connsiteX1" fmla="*/ 21983 w 21983"/>
                <a:gd name="connsiteY1" fmla="*/ 4320 h 4319"/>
                <a:gd name="connsiteX2" fmla="*/ 21983 w 21983"/>
                <a:gd name="connsiteY2" fmla="*/ 2160 h 4319"/>
                <a:gd name="connsiteX3" fmla="*/ 21983 w 21983"/>
                <a:gd name="connsiteY3" fmla="*/ 0 h 4319"/>
                <a:gd name="connsiteX4" fmla="*/ 0 w 21983"/>
                <a:gd name="connsiteY4" fmla="*/ 0 h 4319"/>
                <a:gd name="connsiteX5" fmla="*/ 0 w 21983"/>
                <a:gd name="connsiteY5" fmla="*/ 2160 h 4319"/>
                <a:gd name="connsiteX6" fmla="*/ 0 w 21983"/>
                <a:gd name="connsiteY6"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3" h="4319">
                  <a:moveTo>
                    <a:pt x="0" y="4320"/>
                  </a:moveTo>
                  <a:lnTo>
                    <a:pt x="21983" y="4320"/>
                  </a:lnTo>
                  <a:lnTo>
                    <a:pt x="21983" y="2160"/>
                  </a:lnTo>
                  <a:lnTo>
                    <a:pt x="21983" y="0"/>
                  </a:lnTo>
                  <a:lnTo>
                    <a:pt x="0" y="0"/>
                  </a:lnTo>
                  <a:lnTo>
                    <a:pt x="0" y="2160"/>
                  </a:lnTo>
                  <a:lnTo>
                    <a:pt x="0" y="4320"/>
                  </a:lnTo>
                  <a:close/>
                </a:path>
              </a:pathLst>
            </a:custGeom>
            <a:solidFill>
              <a:srgbClr val="000000"/>
            </a:solidFill>
            <a:ln w="12704"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BAAFD950-7783-46AD-85BD-7E6DA0DE7EC2}"/>
                </a:ext>
              </a:extLst>
            </p:cNvPr>
            <p:cNvSpPr/>
            <p:nvPr/>
          </p:nvSpPr>
          <p:spPr>
            <a:xfrm>
              <a:off x="8740420" y="5483310"/>
              <a:ext cx="150958" cy="3336"/>
            </a:xfrm>
            <a:custGeom>
              <a:avLst/>
              <a:gdLst>
                <a:gd name="connsiteX0" fmla="*/ 148671 w 150958"/>
                <a:gd name="connsiteY0" fmla="*/ 2160 h 3336"/>
                <a:gd name="connsiteX1" fmla="*/ 148671 w 150958"/>
                <a:gd name="connsiteY1" fmla="*/ 0 h 3336"/>
                <a:gd name="connsiteX2" fmla="*/ 636 w 150958"/>
                <a:gd name="connsiteY2" fmla="*/ 0 h 3336"/>
                <a:gd name="connsiteX3" fmla="*/ 636 w 150958"/>
                <a:gd name="connsiteY3" fmla="*/ 2160 h 3336"/>
                <a:gd name="connsiteX4" fmla="*/ 636 w 150958"/>
                <a:gd name="connsiteY4" fmla="*/ 2160 h 3336"/>
                <a:gd name="connsiteX5" fmla="*/ 636 w 150958"/>
                <a:gd name="connsiteY5" fmla="*/ 2160 h 3336"/>
                <a:gd name="connsiteX6" fmla="*/ 0 w 150958"/>
                <a:gd name="connsiteY6" fmla="*/ 3304 h 3336"/>
                <a:gd name="connsiteX7" fmla="*/ 150958 w 150958"/>
                <a:gd name="connsiteY7" fmla="*/ 3304 h 3336"/>
                <a:gd name="connsiteX8" fmla="*/ 148671 w 150958"/>
                <a:gd name="connsiteY8" fmla="*/ 2160 h 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958" h="3336">
                  <a:moveTo>
                    <a:pt x="148671" y="2160"/>
                  </a:moveTo>
                  <a:lnTo>
                    <a:pt x="148671" y="0"/>
                  </a:lnTo>
                  <a:lnTo>
                    <a:pt x="636" y="0"/>
                  </a:lnTo>
                  <a:lnTo>
                    <a:pt x="636" y="2160"/>
                  </a:lnTo>
                  <a:cubicBezTo>
                    <a:pt x="636" y="2160"/>
                    <a:pt x="636" y="2160"/>
                    <a:pt x="636" y="2160"/>
                  </a:cubicBezTo>
                  <a:cubicBezTo>
                    <a:pt x="636" y="2160"/>
                    <a:pt x="636" y="2160"/>
                    <a:pt x="636" y="2160"/>
                  </a:cubicBezTo>
                  <a:lnTo>
                    <a:pt x="0" y="3304"/>
                  </a:lnTo>
                  <a:lnTo>
                    <a:pt x="150958" y="3304"/>
                  </a:lnTo>
                  <a:cubicBezTo>
                    <a:pt x="150031" y="3469"/>
                    <a:pt x="149103" y="2999"/>
                    <a:pt x="148671" y="2160"/>
                  </a:cubicBezTo>
                  <a:close/>
                </a:path>
              </a:pathLst>
            </a:custGeom>
            <a:solidFill>
              <a:srgbClr val="000000"/>
            </a:solidFill>
            <a:ln w="12704"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9793A87D-298A-4B0C-93C3-40996096A89B}"/>
                </a:ext>
              </a:extLst>
            </p:cNvPr>
            <p:cNvSpPr/>
            <p:nvPr/>
          </p:nvSpPr>
          <p:spPr>
            <a:xfrm>
              <a:off x="11959337" y="4616276"/>
              <a:ext cx="58452" cy="44850"/>
            </a:xfrm>
            <a:custGeom>
              <a:avLst/>
              <a:gdLst>
                <a:gd name="connsiteX0" fmla="*/ 56038 w 58452"/>
                <a:gd name="connsiteY0" fmla="*/ 44851 h 44850"/>
                <a:gd name="connsiteX1" fmla="*/ 56927 w 58452"/>
                <a:gd name="connsiteY1" fmla="*/ 42818 h 44850"/>
                <a:gd name="connsiteX2" fmla="*/ 58452 w 58452"/>
                <a:gd name="connsiteY2" fmla="*/ 41421 h 44850"/>
                <a:gd name="connsiteX3" fmla="*/ 2287 w 58452"/>
                <a:gd name="connsiteY3" fmla="*/ 0 h 44850"/>
                <a:gd name="connsiteX4" fmla="*/ 0 w 58452"/>
                <a:gd name="connsiteY4" fmla="*/ 3430 h 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52" h="44850">
                  <a:moveTo>
                    <a:pt x="56038" y="44851"/>
                  </a:moveTo>
                  <a:cubicBezTo>
                    <a:pt x="56038" y="44851"/>
                    <a:pt x="56038" y="43454"/>
                    <a:pt x="56927" y="42818"/>
                  </a:cubicBezTo>
                  <a:lnTo>
                    <a:pt x="58452" y="41421"/>
                  </a:lnTo>
                  <a:lnTo>
                    <a:pt x="2287" y="0"/>
                  </a:lnTo>
                  <a:cubicBezTo>
                    <a:pt x="1766" y="1283"/>
                    <a:pt x="991" y="2452"/>
                    <a:pt x="0" y="3430"/>
                  </a:cubicBezTo>
                  <a:close/>
                </a:path>
              </a:pathLst>
            </a:custGeom>
            <a:solidFill>
              <a:srgbClr val="000000"/>
            </a:solidFill>
            <a:ln w="12704"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05AA0B29-0524-4EB0-A5C4-383BA37B040D}"/>
                </a:ext>
              </a:extLst>
            </p:cNvPr>
            <p:cNvSpPr/>
            <p:nvPr/>
          </p:nvSpPr>
          <p:spPr>
            <a:xfrm>
              <a:off x="12069506" y="4654393"/>
              <a:ext cx="3558" cy="2668"/>
            </a:xfrm>
            <a:custGeom>
              <a:avLst/>
              <a:gdLst>
                <a:gd name="connsiteX0" fmla="*/ 3558 w 3558"/>
                <a:gd name="connsiteY0" fmla="*/ 2668 h 2668"/>
                <a:gd name="connsiteX1" fmla="*/ 3558 w 3558"/>
                <a:gd name="connsiteY1" fmla="*/ 2668 h 2668"/>
                <a:gd name="connsiteX2" fmla="*/ 0 w 3558"/>
                <a:gd name="connsiteY2" fmla="*/ 0 h 2668"/>
                <a:gd name="connsiteX3" fmla="*/ 0 w 3558"/>
                <a:gd name="connsiteY3" fmla="*/ 1017 h 2668"/>
                <a:gd name="connsiteX4" fmla="*/ 3558 w 3558"/>
                <a:gd name="connsiteY4" fmla="*/ 2668 h 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 h="2668">
                  <a:moveTo>
                    <a:pt x="3558" y="2668"/>
                  </a:moveTo>
                  <a:lnTo>
                    <a:pt x="3558" y="2668"/>
                  </a:lnTo>
                  <a:lnTo>
                    <a:pt x="0" y="0"/>
                  </a:lnTo>
                  <a:lnTo>
                    <a:pt x="0" y="1017"/>
                  </a:lnTo>
                  <a:cubicBezTo>
                    <a:pt x="1258" y="1385"/>
                    <a:pt x="2453" y="1944"/>
                    <a:pt x="3558" y="2668"/>
                  </a:cubicBezTo>
                  <a:close/>
                </a:path>
              </a:pathLst>
            </a:custGeom>
            <a:solidFill>
              <a:srgbClr val="000000"/>
            </a:solidFill>
            <a:ln w="12704"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27E4B212-A9CA-4D56-B281-18A5F7690796}"/>
                </a:ext>
              </a:extLst>
            </p:cNvPr>
            <p:cNvSpPr/>
            <p:nvPr/>
          </p:nvSpPr>
          <p:spPr>
            <a:xfrm>
              <a:off x="12052860" y="4671164"/>
              <a:ext cx="12706" cy="12705"/>
            </a:xfrm>
            <a:custGeom>
              <a:avLst/>
              <a:gdLst>
                <a:gd name="connsiteX0" fmla="*/ 0 w 12706"/>
                <a:gd name="connsiteY0" fmla="*/ 0 h 12705"/>
                <a:gd name="connsiteX1" fmla="*/ 0 w 12706"/>
                <a:gd name="connsiteY1" fmla="*/ 0 h 12705"/>
              </a:gdLst>
              <a:ahLst/>
              <a:cxnLst>
                <a:cxn ang="0">
                  <a:pos x="connsiteX0" y="connsiteY0"/>
                </a:cxn>
                <a:cxn ang="0">
                  <a:pos x="connsiteX1" y="connsiteY1"/>
                </a:cxn>
              </a:cxnLst>
              <a:rect l="l" t="t" r="r" b="b"/>
              <a:pathLst>
                <a:path w="12706" h="12705">
                  <a:moveTo>
                    <a:pt x="0" y="0"/>
                  </a:moveTo>
                  <a:lnTo>
                    <a:pt x="0" y="0"/>
                  </a:lnTo>
                  <a:close/>
                </a:path>
              </a:pathLst>
            </a:custGeom>
            <a:solidFill>
              <a:srgbClr val="000000"/>
            </a:solidFill>
            <a:ln w="12704"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14FBDFE4-A748-4E4A-89EB-E29308062E03}"/>
                </a:ext>
              </a:extLst>
            </p:cNvPr>
            <p:cNvSpPr/>
            <p:nvPr/>
          </p:nvSpPr>
          <p:spPr>
            <a:xfrm>
              <a:off x="8889091" y="4871914"/>
              <a:ext cx="4066" cy="613556"/>
            </a:xfrm>
            <a:custGeom>
              <a:avLst/>
              <a:gdLst>
                <a:gd name="connsiteX0" fmla="*/ 0 w 4066"/>
                <a:gd name="connsiteY0" fmla="*/ 613557 h 613556"/>
                <a:gd name="connsiteX1" fmla="*/ 2033 w 4066"/>
                <a:gd name="connsiteY1" fmla="*/ 611397 h 613556"/>
                <a:gd name="connsiteX2" fmla="*/ 4066 w 4066"/>
                <a:gd name="connsiteY2" fmla="*/ 611397 h 613556"/>
                <a:gd name="connsiteX3" fmla="*/ 4066 w 4066"/>
                <a:gd name="connsiteY3" fmla="*/ 0 h 613556"/>
                <a:gd name="connsiteX4" fmla="*/ 0 w 4066"/>
                <a:gd name="connsiteY4" fmla="*/ 0 h 613556"/>
                <a:gd name="connsiteX5" fmla="*/ 0 w 4066"/>
                <a:gd name="connsiteY5" fmla="*/ 613557 h 61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613556">
                  <a:moveTo>
                    <a:pt x="0" y="613557"/>
                  </a:moveTo>
                  <a:cubicBezTo>
                    <a:pt x="0" y="612413"/>
                    <a:pt x="890" y="611460"/>
                    <a:pt x="2033" y="611397"/>
                  </a:cubicBezTo>
                  <a:lnTo>
                    <a:pt x="4066" y="611397"/>
                  </a:lnTo>
                  <a:lnTo>
                    <a:pt x="4066" y="0"/>
                  </a:lnTo>
                  <a:lnTo>
                    <a:pt x="0" y="0"/>
                  </a:lnTo>
                  <a:lnTo>
                    <a:pt x="0" y="613557"/>
                  </a:lnTo>
                  <a:close/>
                </a:path>
              </a:pathLst>
            </a:custGeom>
            <a:solidFill>
              <a:srgbClr val="000000"/>
            </a:solidFill>
            <a:ln w="12704"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E1677125-534F-4D28-94A9-B5AFEF837ECB}"/>
                </a:ext>
              </a:extLst>
            </p:cNvPr>
            <p:cNvSpPr/>
            <p:nvPr/>
          </p:nvSpPr>
          <p:spPr>
            <a:xfrm>
              <a:off x="8636096" y="3291964"/>
              <a:ext cx="4193" cy="1556443"/>
            </a:xfrm>
            <a:custGeom>
              <a:avLst/>
              <a:gdLst>
                <a:gd name="connsiteX0" fmla="*/ 2160 w 4193"/>
                <a:gd name="connsiteY0" fmla="*/ 0 h 1556443"/>
                <a:gd name="connsiteX1" fmla="*/ 0 w 4193"/>
                <a:gd name="connsiteY1" fmla="*/ 0 h 1556443"/>
                <a:gd name="connsiteX2" fmla="*/ 0 w 4193"/>
                <a:gd name="connsiteY2" fmla="*/ 1556444 h 1556443"/>
                <a:gd name="connsiteX3" fmla="*/ 2160 w 4193"/>
                <a:gd name="connsiteY3" fmla="*/ 1556444 h 1556443"/>
                <a:gd name="connsiteX4" fmla="*/ 4194 w 4193"/>
                <a:gd name="connsiteY4" fmla="*/ 1556444 h 1556443"/>
                <a:gd name="connsiteX5" fmla="*/ 4194 w 4193"/>
                <a:gd name="connsiteY5" fmla="*/ 0 h 1556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556443">
                  <a:moveTo>
                    <a:pt x="2160" y="0"/>
                  </a:moveTo>
                  <a:lnTo>
                    <a:pt x="0" y="0"/>
                  </a:lnTo>
                  <a:lnTo>
                    <a:pt x="0" y="1556444"/>
                  </a:lnTo>
                  <a:cubicBezTo>
                    <a:pt x="724" y="1556381"/>
                    <a:pt x="1436" y="1556381"/>
                    <a:pt x="2160" y="1556444"/>
                  </a:cubicBezTo>
                  <a:lnTo>
                    <a:pt x="4194" y="1556444"/>
                  </a:lnTo>
                  <a:lnTo>
                    <a:pt x="4194" y="0"/>
                  </a:lnTo>
                  <a:close/>
                </a:path>
              </a:pathLst>
            </a:custGeom>
            <a:solidFill>
              <a:srgbClr val="000000"/>
            </a:solidFill>
            <a:ln w="12704"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A259A34E-4AC8-427E-99D8-146B00128A07}"/>
                </a:ext>
              </a:extLst>
            </p:cNvPr>
            <p:cNvSpPr/>
            <p:nvPr/>
          </p:nvSpPr>
          <p:spPr>
            <a:xfrm>
              <a:off x="6621923" y="3296538"/>
              <a:ext cx="4193" cy="1434850"/>
            </a:xfrm>
            <a:custGeom>
              <a:avLst/>
              <a:gdLst>
                <a:gd name="connsiteX0" fmla="*/ 2160 w 4193"/>
                <a:gd name="connsiteY0" fmla="*/ 1434342 h 1434850"/>
                <a:gd name="connsiteX1" fmla="*/ 4193 w 4193"/>
                <a:gd name="connsiteY1" fmla="*/ 1434342 h 1434850"/>
                <a:gd name="connsiteX2" fmla="*/ 4193 w 4193"/>
                <a:gd name="connsiteY2" fmla="*/ 8767 h 1434850"/>
                <a:gd name="connsiteX3" fmla="*/ 0 w 4193"/>
                <a:gd name="connsiteY3" fmla="*/ 0 h 1434850"/>
                <a:gd name="connsiteX4" fmla="*/ 0 w 4193"/>
                <a:gd name="connsiteY4" fmla="*/ 1434851 h 1434850"/>
                <a:gd name="connsiteX5" fmla="*/ 2033 w 4193"/>
                <a:gd name="connsiteY5" fmla="*/ 1434851 h 143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34850">
                  <a:moveTo>
                    <a:pt x="2160" y="1434342"/>
                  </a:moveTo>
                  <a:lnTo>
                    <a:pt x="4193" y="1434342"/>
                  </a:lnTo>
                  <a:lnTo>
                    <a:pt x="4193" y="8767"/>
                  </a:lnTo>
                  <a:cubicBezTo>
                    <a:pt x="1690" y="6518"/>
                    <a:pt x="178" y="3367"/>
                    <a:pt x="0" y="0"/>
                  </a:cubicBezTo>
                  <a:lnTo>
                    <a:pt x="0" y="1434851"/>
                  </a:lnTo>
                  <a:cubicBezTo>
                    <a:pt x="673" y="1434813"/>
                    <a:pt x="1360" y="1434813"/>
                    <a:pt x="2033" y="1434851"/>
                  </a:cubicBezTo>
                  <a:close/>
                </a:path>
              </a:pathLst>
            </a:custGeom>
            <a:solidFill>
              <a:srgbClr val="000000"/>
            </a:solidFill>
            <a:ln w="12704"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320BC17E-1D30-4669-A826-664DE7637E7C}"/>
                </a:ext>
              </a:extLst>
            </p:cNvPr>
            <p:cNvSpPr/>
            <p:nvPr/>
          </p:nvSpPr>
          <p:spPr>
            <a:xfrm>
              <a:off x="5717317" y="4929597"/>
              <a:ext cx="471681" cy="4319"/>
            </a:xfrm>
            <a:custGeom>
              <a:avLst/>
              <a:gdLst>
                <a:gd name="connsiteX0" fmla="*/ 471300 w 471681"/>
                <a:gd name="connsiteY0" fmla="*/ 2160 h 4319"/>
                <a:gd name="connsiteX1" fmla="*/ 471300 w 471681"/>
                <a:gd name="connsiteY1" fmla="*/ 2160 h 4319"/>
                <a:gd name="connsiteX2" fmla="*/ 471300 w 471681"/>
                <a:gd name="connsiteY2" fmla="*/ 889 h 4319"/>
                <a:gd name="connsiteX3" fmla="*/ 471300 w 471681"/>
                <a:gd name="connsiteY3" fmla="*/ 0 h 4319"/>
                <a:gd name="connsiteX4" fmla="*/ 10928 w 471681"/>
                <a:gd name="connsiteY4" fmla="*/ 0 h 4319"/>
                <a:gd name="connsiteX5" fmla="*/ 0 w 471681"/>
                <a:gd name="connsiteY5" fmla="*/ 4320 h 4319"/>
                <a:gd name="connsiteX6" fmla="*/ 471681 w 471681"/>
                <a:gd name="connsiteY6" fmla="*/ 4320 h 4319"/>
                <a:gd name="connsiteX7" fmla="*/ 471300 w 471681"/>
                <a:gd name="connsiteY7"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681" h="4319">
                  <a:moveTo>
                    <a:pt x="471300" y="2160"/>
                  </a:moveTo>
                  <a:lnTo>
                    <a:pt x="471300" y="2160"/>
                  </a:lnTo>
                  <a:cubicBezTo>
                    <a:pt x="471300" y="2160"/>
                    <a:pt x="471300" y="1271"/>
                    <a:pt x="471300" y="889"/>
                  </a:cubicBezTo>
                  <a:cubicBezTo>
                    <a:pt x="471300" y="508"/>
                    <a:pt x="471300" y="254"/>
                    <a:pt x="471300" y="0"/>
                  </a:cubicBezTo>
                  <a:lnTo>
                    <a:pt x="10928" y="0"/>
                  </a:lnTo>
                  <a:lnTo>
                    <a:pt x="0" y="4320"/>
                  </a:lnTo>
                  <a:lnTo>
                    <a:pt x="471681" y="4320"/>
                  </a:lnTo>
                  <a:cubicBezTo>
                    <a:pt x="471681" y="3558"/>
                    <a:pt x="471300" y="3558"/>
                    <a:pt x="471300" y="2160"/>
                  </a:cubicBezTo>
                  <a:close/>
                </a:path>
              </a:pathLst>
            </a:custGeom>
            <a:solidFill>
              <a:srgbClr val="000000"/>
            </a:solidFill>
            <a:ln w="12704"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9CD5E580-302A-4B52-8AF6-BB89C477D7E1}"/>
                </a:ext>
              </a:extLst>
            </p:cNvPr>
            <p:cNvSpPr/>
            <p:nvPr/>
          </p:nvSpPr>
          <p:spPr>
            <a:xfrm>
              <a:off x="6623955" y="4730881"/>
              <a:ext cx="1378319" cy="24013"/>
            </a:xfrm>
            <a:custGeom>
              <a:avLst/>
              <a:gdLst>
                <a:gd name="connsiteX0" fmla="*/ 0 w 1378319"/>
                <a:gd name="connsiteY0" fmla="*/ 0 h 24013"/>
                <a:gd name="connsiteX1" fmla="*/ 10801 w 1378319"/>
                <a:gd name="connsiteY1" fmla="*/ 7242 h 24013"/>
                <a:gd name="connsiteX2" fmla="*/ 4702 w 1378319"/>
                <a:gd name="connsiteY2" fmla="*/ 23124 h 24013"/>
                <a:gd name="connsiteX3" fmla="*/ 2542 w 1378319"/>
                <a:gd name="connsiteY3" fmla="*/ 24014 h 24013"/>
                <a:gd name="connsiteX4" fmla="*/ 1378320 w 1378319"/>
                <a:gd name="connsiteY4" fmla="*/ 24014 h 24013"/>
                <a:gd name="connsiteX5" fmla="*/ 1378320 w 1378319"/>
                <a:gd name="connsiteY5" fmla="*/ 0 h 24013"/>
                <a:gd name="connsiteX6" fmla="*/ 0 w 1378319"/>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319" h="24013">
                  <a:moveTo>
                    <a:pt x="0" y="0"/>
                  </a:moveTo>
                  <a:cubicBezTo>
                    <a:pt x="4740" y="0"/>
                    <a:pt x="8997" y="2859"/>
                    <a:pt x="10801" y="7242"/>
                  </a:cubicBezTo>
                  <a:cubicBezTo>
                    <a:pt x="13139" y="13316"/>
                    <a:pt x="10496" y="20177"/>
                    <a:pt x="4702" y="23124"/>
                  </a:cubicBezTo>
                  <a:lnTo>
                    <a:pt x="2542" y="24014"/>
                  </a:lnTo>
                  <a:lnTo>
                    <a:pt x="1378320" y="24014"/>
                  </a:lnTo>
                  <a:lnTo>
                    <a:pt x="1378320" y="0"/>
                  </a:lnTo>
                  <a:lnTo>
                    <a:pt x="0" y="0"/>
                  </a:lnTo>
                  <a:close/>
                </a:path>
              </a:pathLst>
            </a:custGeom>
            <a:solidFill>
              <a:srgbClr val="000000"/>
            </a:solidFill>
            <a:ln w="12704"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059482BE-061F-4DF5-BEBA-000E60674B9D}"/>
                </a:ext>
              </a:extLst>
            </p:cNvPr>
            <p:cNvSpPr/>
            <p:nvPr/>
          </p:nvSpPr>
          <p:spPr>
            <a:xfrm>
              <a:off x="11646112" y="6210074"/>
              <a:ext cx="23508" cy="125785"/>
            </a:xfrm>
            <a:custGeom>
              <a:avLst/>
              <a:gdLst>
                <a:gd name="connsiteX0" fmla="*/ 17408 w 23508"/>
                <a:gd name="connsiteY0" fmla="*/ 10546 h 125785"/>
                <a:gd name="connsiteX1" fmla="*/ 11690 w 23508"/>
                <a:gd name="connsiteY1" fmla="*/ 12071 h 125785"/>
                <a:gd name="connsiteX2" fmla="*/ 1398 w 23508"/>
                <a:gd name="connsiteY2" fmla="*/ 5844 h 125785"/>
                <a:gd name="connsiteX3" fmla="*/ 0 w 23508"/>
                <a:gd name="connsiteY3" fmla="*/ 3176 h 125785"/>
                <a:gd name="connsiteX4" fmla="*/ 0 w 23508"/>
                <a:gd name="connsiteY4" fmla="*/ 125786 h 125785"/>
                <a:gd name="connsiteX5" fmla="*/ 23507 w 23508"/>
                <a:gd name="connsiteY5" fmla="*/ 125786 h 125785"/>
                <a:gd name="connsiteX6" fmla="*/ 23507 w 23508"/>
                <a:gd name="connsiteY6" fmla="*/ 0 h 125785"/>
                <a:gd name="connsiteX7" fmla="*/ 23507 w 23508"/>
                <a:gd name="connsiteY7" fmla="*/ 0 h 125785"/>
                <a:gd name="connsiteX8" fmla="*/ 17408 w 23508"/>
                <a:gd name="connsiteY8" fmla="*/ 10546 h 12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08" h="125785">
                  <a:moveTo>
                    <a:pt x="17408" y="10546"/>
                  </a:moveTo>
                  <a:cubicBezTo>
                    <a:pt x="15667" y="11537"/>
                    <a:pt x="13697" y="12058"/>
                    <a:pt x="11690" y="12071"/>
                  </a:cubicBezTo>
                  <a:cubicBezTo>
                    <a:pt x="7383" y="11994"/>
                    <a:pt x="3456" y="9618"/>
                    <a:pt x="1398" y="5844"/>
                  </a:cubicBezTo>
                  <a:lnTo>
                    <a:pt x="0" y="3176"/>
                  </a:lnTo>
                  <a:lnTo>
                    <a:pt x="0" y="125786"/>
                  </a:lnTo>
                  <a:lnTo>
                    <a:pt x="23507" y="125786"/>
                  </a:lnTo>
                  <a:lnTo>
                    <a:pt x="23507" y="0"/>
                  </a:lnTo>
                  <a:cubicBezTo>
                    <a:pt x="23507" y="0"/>
                    <a:pt x="23507" y="0"/>
                    <a:pt x="23507" y="0"/>
                  </a:cubicBezTo>
                  <a:cubicBezTo>
                    <a:pt x="23558" y="4371"/>
                    <a:pt x="21220" y="8411"/>
                    <a:pt x="17408" y="10546"/>
                  </a:cubicBezTo>
                  <a:close/>
                </a:path>
              </a:pathLst>
            </a:custGeom>
            <a:solidFill>
              <a:srgbClr val="000000"/>
            </a:solidFill>
            <a:ln w="12704"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E990E7C0-FC09-47FE-B0AA-FAB1CCBC242B}"/>
                </a:ext>
              </a:extLst>
            </p:cNvPr>
            <p:cNvSpPr/>
            <p:nvPr/>
          </p:nvSpPr>
          <p:spPr>
            <a:xfrm>
              <a:off x="6643143" y="3298571"/>
              <a:ext cx="169256" cy="4319"/>
            </a:xfrm>
            <a:custGeom>
              <a:avLst/>
              <a:gdLst>
                <a:gd name="connsiteX0" fmla="*/ 165317 w 169256"/>
                <a:gd name="connsiteY0" fmla="*/ 0 h 4319"/>
                <a:gd name="connsiteX1" fmla="*/ 1779 w 169256"/>
                <a:gd name="connsiteY1" fmla="*/ 0 h 4319"/>
                <a:gd name="connsiteX2" fmla="*/ 0 w 169256"/>
                <a:gd name="connsiteY2" fmla="*/ 4320 h 4319"/>
                <a:gd name="connsiteX3" fmla="*/ 169256 w 169256"/>
                <a:gd name="connsiteY3" fmla="*/ 4320 h 4319"/>
                <a:gd name="connsiteX4" fmla="*/ 165317 w 169256"/>
                <a:gd name="connsiteY4" fmla="*/ 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56" h="4319">
                  <a:moveTo>
                    <a:pt x="165317" y="0"/>
                  </a:moveTo>
                  <a:lnTo>
                    <a:pt x="1779" y="0"/>
                  </a:lnTo>
                  <a:cubicBezTo>
                    <a:pt x="1474" y="1537"/>
                    <a:pt x="877" y="3011"/>
                    <a:pt x="0" y="4320"/>
                  </a:cubicBezTo>
                  <a:lnTo>
                    <a:pt x="169256" y="4320"/>
                  </a:lnTo>
                  <a:cubicBezTo>
                    <a:pt x="167630" y="3202"/>
                    <a:pt x="166283" y="1728"/>
                    <a:pt x="165317" y="0"/>
                  </a:cubicBezTo>
                  <a:close/>
                </a:path>
              </a:pathLst>
            </a:custGeom>
            <a:solidFill>
              <a:srgbClr val="000000"/>
            </a:solidFill>
            <a:ln w="12704"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66765C9-DCAF-443E-8950-BCDA0350EEC4}"/>
                </a:ext>
              </a:extLst>
            </p:cNvPr>
            <p:cNvSpPr/>
            <p:nvPr/>
          </p:nvSpPr>
          <p:spPr>
            <a:xfrm>
              <a:off x="6645430" y="3292854"/>
              <a:ext cx="161886" cy="1270"/>
            </a:xfrm>
            <a:custGeom>
              <a:avLst/>
              <a:gdLst>
                <a:gd name="connsiteX0" fmla="*/ 161886 w 161886"/>
                <a:gd name="connsiteY0" fmla="*/ 1271 h 1270"/>
                <a:gd name="connsiteX1" fmla="*/ 161886 w 161886"/>
                <a:gd name="connsiteY1" fmla="*/ 0 h 1270"/>
                <a:gd name="connsiteX2" fmla="*/ 161886 w 161886"/>
                <a:gd name="connsiteY2" fmla="*/ 0 h 1270"/>
                <a:gd name="connsiteX3" fmla="*/ 17282 w 161886"/>
                <a:gd name="connsiteY3" fmla="*/ 0 h 1270"/>
                <a:gd name="connsiteX4" fmla="*/ 0 w 161886"/>
                <a:gd name="connsiteY4" fmla="*/ 0 h 1270"/>
                <a:gd name="connsiteX5" fmla="*/ 0 w 161886"/>
                <a:gd name="connsiteY5" fmla="*/ 1271 h 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886" h="1270">
                  <a:moveTo>
                    <a:pt x="161886" y="1271"/>
                  </a:moveTo>
                  <a:cubicBezTo>
                    <a:pt x="161823" y="851"/>
                    <a:pt x="161823" y="419"/>
                    <a:pt x="161886" y="0"/>
                  </a:cubicBezTo>
                  <a:lnTo>
                    <a:pt x="161886" y="0"/>
                  </a:lnTo>
                  <a:lnTo>
                    <a:pt x="17282" y="0"/>
                  </a:lnTo>
                  <a:lnTo>
                    <a:pt x="0" y="0"/>
                  </a:lnTo>
                  <a:lnTo>
                    <a:pt x="0" y="1271"/>
                  </a:lnTo>
                  <a:close/>
                </a:path>
              </a:pathLst>
            </a:custGeom>
            <a:solidFill>
              <a:srgbClr val="000000"/>
            </a:solidFill>
            <a:ln w="12704"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3095F09F-0F3B-4BD7-B3F0-3D343C330EA9}"/>
                </a:ext>
              </a:extLst>
            </p:cNvPr>
            <p:cNvSpPr/>
            <p:nvPr/>
          </p:nvSpPr>
          <p:spPr>
            <a:xfrm>
              <a:off x="8081312" y="2475752"/>
              <a:ext cx="528735" cy="24013"/>
            </a:xfrm>
            <a:custGeom>
              <a:avLst/>
              <a:gdLst>
                <a:gd name="connsiteX0" fmla="*/ 11818 w 528735"/>
                <a:gd name="connsiteY0" fmla="*/ 12070 h 24013"/>
                <a:gd name="connsiteX1" fmla="*/ 11818 w 528735"/>
                <a:gd name="connsiteY1" fmla="*/ 24014 h 24013"/>
                <a:gd name="connsiteX2" fmla="*/ 528735 w 528735"/>
                <a:gd name="connsiteY2" fmla="*/ 24014 h 24013"/>
                <a:gd name="connsiteX3" fmla="*/ 528735 w 528735"/>
                <a:gd name="connsiteY3" fmla="*/ 0 h 24013"/>
                <a:gd name="connsiteX4" fmla="*/ 0 w 528735"/>
                <a:gd name="connsiteY4" fmla="*/ 0 h 24013"/>
                <a:gd name="connsiteX5" fmla="*/ 11818 w 528735"/>
                <a:gd name="connsiteY5"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735" h="24013">
                  <a:moveTo>
                    <a:pt x="11818" y="12070"/>
                  </a:moveTo>
                  <a:lnTo>
                    <a:pt x="11818" y="24014"/>
                  </a:lnTo>
                  <a:lnTo>
                    <a:pt x="528735" y="24014"/>
                  </a:lnTo>
                  <a:lnTo>
                    <a:pt x="528735" y="0"/>
                  </a:lnTo>
                  <a:lnTo>
                    <a:pt x="0" y="0"/>
                  </a:lnTo>
                  <a:cubicBezTo>
                    <a:pt x="6430" y="445"/>
                    <a:pt x="11513" y="5629"/>
                    <a:pt x="11818" y="12070"/>
                  </a:cubicBezTo>
                  <a:close/>
                </a:path>
              </a:pathLst>
            </a:custGeom>
            <a:solidFill>
              <a:srgbClr val="000000"/>
            </a:solidFill>
            <a:ln w="12704"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4EDC5572-A776-42FB-A1AC-F5521B320848}"/>
                </a:ext>
              </a:extLst>
            </p:cNvPr>
            <p:cNvSpPr/>
            <p:nvPr/>
          </p:nvSpPr>
          <p:spPr>
            <a:xfrm>
              <a:off x="6499936" y="2340818"/>
              <a:ext cx="4193" cy="2444315"/>
            </a:xfrm>
            <a:custGeom>
              <a:avLst/>
              <a:gdLst>
                <a:gd name="connsiteX0" fmla="*/ 4193 w 4193"/>
                <a:gd name="connsiteY0" fmla="*/ 2442410 h 2444315"/>
                <a:gd name="connsiteX1" fmla="*/ 4193 w 4193"/>
                <a:gd name="connsiteY1" fmla="*/ 889 h 2444315"/>
                <a:gd name="connsiteX2" fmla="*/ 635 w 4193"/>
                <a:gd name="connsiteY2" fmla="*/ 0 h 2444315"/>
                <a:gd name="connsiteX3" fmla="*/ 0 w 4193"/>
                <a:gd name="connsiteY3" fmla="*/ 0 h 2444315"/>
                <a:gd name="connsiteX4" fmla="*/ 0 w 4193"/>
                <a:gd name="connsiteY4" fmla="*/ 2444316 h 2444315"/>
                <a:gd name="connsiteX5" fmla="*/ 4193 w 4193"/>
                <a:gd name="connsiteY5" fmla="*/ 2442410 h 244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2444315">
                  <a:moveTo>
                    <a:pt x="4193" y="2442410"/>
                  </a:moveTo>
                  <a:lnTo>
                    <a:pt x="4193" y="889"/>
                  </a:lnTo>
                  <a:lnTo>
                    <a:pt x="635" y="0"/>
                  </a:lnTo>
                  <a:lnTo>
                    <a:pt x="0" y="0"/>
                  </a:lnTo>
                  <a:lnTo>
                    <a:pt x="0" y="2444316"/>
                  </a:lnTo>
                  <a:lnTo>
                    <a:pt x="4193" y="2442410"/>
                  </a:lnTo>
                  <a:close/>
                </a:path>
              </a:pathLst>
            </a:custGeom>
            <a:solidFill>
              <a:srgbClr val="000000"/>
            </a:solidFill>
            <a:ln w="12704"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1820C1A1-4DCF-4468-A434-71DA49CB5EC6}"/>
                </a:ext>
              </a:extLst>
            </p:cNvPr>
            <p:cNvSpPr/>
            <p:nvPr/>
          </p:nvSpPr>
          <p:spPr>
            <a:xfrm>
              <a:off x="6829045" y="3295649"/>
              <a:ext cx="236221" cy="3303"/>
            </a:xfrm>
            <a:custGeom>
              <a:avLst/>
              <a:gdLst>
                <a:gd name="connsiteX0" fmla="*/ 235586 w 236221"/>
                <a:gd name="connsiteY0" fmla="*/ 0 h 3303"/>
                <a:gd name="connsiteX1" fmla="*/ 235586 w 236221"/>
                <a:gd name="connsiteY1" fmla="*/ 0 h 3303"/>
                <a:gd name="connsiteX2" fmla="*/ 1016 w 236221"/>
                <a:gd name="connsiteY2" fmla="*/ 0 h 3303"/>
                <a:gd name="connsiteX3" fmla="*/ 0 w 236221"/>
                <a:gd name="connsiteY3" fmla="*/ 3304 h 3303"/>
                <a:gd name="connsiteX4" fmla="*/ 236222 w 236221"/>
                <a:gd name="connsiteY4" fmla="*/ 3304 h 3303"/>
                <a:gd name="connsiteX5" fmla="*/ 235586 w 236221"/>
                <a:gd name="connsiteY5" fmla="*/ 0 h 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221" h="3303">
                  <a:moveTo>
                    <a:pt x="235586" y="0"/>
                  </a:moveTo>
                  <a:lnTo>
                    <a:pt x="235586" y="0"/>
                  </a:lnTo>
                  <a:lnTo>
                    <a:pt x="1016" y="0"/>
                  </a:lnTo>
                  <a:cubicBezTo>
                    <a:pt x="877" y="1156"/>
                    <a:pt x="521" y="2274"/>
                    <a:pt x="0" y="3304"/>
                  </a:cubicBezTo>
                  <a:lnTo>
                    <a:pt x="236222" y="3304"/>
                  </a:lnTo>
                  <a:cubicBezTo>
                    <a:pt x="235840" y="2236"/>
                    <a:pt x="235624" y="1131"/>
                    <a:pt x="235586" y="0"/>
                  </a:cubicBezTo>
                  <a:close/>
                </a:path>
              </a:pathLst>
            </a:custGeom>
            <a:solidFill>
              <a:srgbClr val="000000"/>
            </a:solidFill>
            <a:ln w="12704"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C677CD05-F79C-460D-B8F3-EA337C84A1F5}"/>
                </a:ext>
              </a:extLst>
            </p:cNvPr>
            <p:cNvSpPr/>
            <p:nvPr/>
          </p:nvSpPr>
          <p:spPr>
            <a:xfrm>
              <a:off x="7087504" y="3296665"/>
              <a:ext cx="641318" cy="1905"/>
            </a:xfrm>
            <a:custGeom>
              <a:avLst/>
              <a:gdLst>
                <a:gd name="connsiteX0" fmla="*/ 0 w 641318"/>
                <a:gd name="connsiteY0" fmla="*/ 1906 h 1905"/>
                <a:gd name="connsiteX1" fmla="*/ 641318 w 641318"/>
                <a:gd name="connsiteY1" fmla="*/ 1906 h 1905"/>
                <a:gd name="connsiteX2" fmla="*/ 641318 w 641318"/>
                <a:gd name="connsiteY2" fmla="*/ 0 h 1905"/>
                <a:gd name="connsiteX3" fmla="*/ 610441 w 641318"/>
                <a:gd name="connsiteY3" fmla="*/ 1143 h 1905"/>
                <a:gd name="connsiteX4" fmla="*/ 508 w 641318"/>
                <a:gd name="connsiteY4" fmla="*/ 1143 h 1905"/>
                <a:gd name="connsiteX5" fmla="*/ 0 w 641318"/>
                <a:gd name="connsiteY5" fmla="*/ 1906 h 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18" h="1905">
                  <a:moveTo>
                    <a:pt x="0" y="1906"/>
                  </a:moveTo>
                  <a:lnTo>
                    <a:pt x="641318" y="1906"/>
                  </a:lnTo>
                  <a:cubicBezTo>
                    <a:pt x="641242" y="1271"/>
                    <a:pt x="641242" y="635"/>
                    <a:pt x="641318" y="0"/>
                  </a:cubicBezTo>
                  <a:lnTo>
                    <a:pt x="610441" y="1143"/>
                  </a:lnTo>
                  <a:lnTo>
                    <a:pt x="508" y="1143"/>
                  </a:lnTo>
                  <a:cubicBezTo>
                    <a:pt x="508" y="1143"/>
                    <a:pt x="127" y="1652"/>
                    <a:pt x="0" y="1906"/>
                  </a:cubicBezTo>
                  <a:close/>
                </a:path>
              </a:pathLst>
            </a:custGeom>
            <a:solidFill>
              <a:srgbClr val="000000"/>
            </a:solidFill>
            <a:ln w="12704"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358A4E3A-F832-441E-B0F3-ED0A1DF08817}"/>
                </a:ext>
              </a:extLst>
            </p:cNvPr>
            <p:cNvSpPr/>
            <p:nvPr/>
          </p:nvSpPr>
          <p:spPr>
            <a:xfrm>
              <a:off x="6645430" y="3294124"/>
              <a:ext cx="163538" cy="4192"/>
            </a:xfrm>
            <a:custGeom>
              <a:avLst/>
              <a:gdLst>
                <a:gd name="connsiteX0" fmla="*/ 161886 w 163538"/>
                <a:gd name="connsiteY0" fmla="*/ 0 h 4192"/>
                <a:gd name="connsiteX1" fmla="*/ 0 w 163538"/>
                <a:gd name="connsiteY1" fmla="*/ 0 h 4192"/>
                <a:gd name="connsiteX2" fmla="*/ 0 w 163538"/>
                <a:gd name="connsiteY2" fmla="*/ 1906 h 4192"/>
                <a:gd name="connsiteX3" fmla="*/ 0 w 163538"/>
                <a:gd name="connsiteY3" fmla="*/ 4193 h 4192"/>
                <a:gd name="connsiteX4" fmla="*/ 163538 w 163538"/>
                <a:gd name="connsiteY4" fmla="*/ 4193 h 4192"/>
                <a:gd name="connsiteX5" fmla="*/ 161886 w 163538"/>
                <a:gd name="connsiteY5"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38" h="4192">
                  <a:moveTo>
                    <a:pt x="161886" y="0"/>
                  </a:moveTo>
                  <a:lnTo>
                    <a:pt x="0" y="0"/>
                  </a:lnTo>
                  <a:lnTo>
                    <a:pt x="0" y="1906"/>
                  </a:lnTo>
                  <a:cubicBezTo>
                    <a:pt x="64" y="2668"/>
                    <a:pt x="64" y="3431"/>
                    <a:pt x="0" y="4193"/>
                  </a:cubicBezTo>
                  <a:lnTo>
                    <a:pt x="163538" y="4193"/>
                  </a:lnTo>
                  <a:cubicBezTo>
                    <a:pt x="162712" y="2922"/>
                    <a:pt x="162153" y="1499"/>
                    <a:pt x="161886" y="0"/>
                  </a:cubicBezTo>
                  <a:close/>
                </a:path>
              </a:pathLst>
            </a:custGeom>
            <a:solidFill>
              <a:srgbClr val="000000"/>
            </a:solidFill>
            <a:ln w="12704"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F9132992-7EE0-4494-941D-94C5D3DEB414}"/>
                </a:ext>
              </a:extLst>
            </p:cNvPr>
            <p:cNvSpPr/>
            <p:nvPr/>
          </p:nvSpPr>
          <p:spPr>
            <a:xfrm>
              <a:off x="6500571" y="2317313"/>
              <a:ext cx="136726" cy="53363"/>
            </a:xfrm>
            <a:custGeom>
              <a:avLst/>
              <a:gdLst>
                <a:gd name="connsiteX0" fmla="*/ 13215 w 136726"/>
                <a:gd name="connsiteY0" fmla="*/ 11181 h 53363"/>
                <a:gd name="connsiteX1" fmla="*/ 1398 w 136726"/>
                <a:gd name="connsiteY1" fmla="*/ 23251 h 53363"/>
                <a:gd name="connsiteX2" fmla="*/ 1398 w 136726"/>
                <a:gd name="connsiteY2" fmla="*/ 23251 h 53363"/>
                <a:gd name="connsiteX3" fmla="*/ 0 w 136726"/>
                <a:gd name="connsiteY3" fmla="*/ 23251 h 53363"/>
                <a:gd name="connsiteX4" fmla="*/ 3558 w 136726"/>
                <a:gd name="connsiteY4" fmla="*/ 24141 h 53363"/>
                <a:gd name="connsiteX5" fmla="*/ 121351 w 136726"/>
                <a:gd name="connsiteY5" fmla="*/ 53364 h 53363"/>
                <a:gd name="connsiteX6" fmla="*/ 121351 w 136726"/>
                <a:gd name="connsiteY6" fmla="*/ 43962 h 53363"/>
                <a:gd name="connsiteX7" fmla="*/ 131872 w 136726"/>
                <a:gd name="connsiteY7" fmla="*/ 31917 h 53363"/>
                <a:gd name="connsiteX8" fmla="*/ 136727 w 136726"/>
                <a:gd name="connsiteY8" fmla="*/ 32654 h 53363"/>
                <a:gd name="connsiteX9" fmla="*/ 135837 w 136726"/>
                <a:gd name="connsiteY9" fmla="*/ 32654 h 53363"/>
                <a:gd name="connsiteX10" fmla="*/ 4194 w 136726"/>
                <a:gd name="connsiteY10" fmla="*/ 0 h 53363"/>
                <a:gd name="connsiteX11" fmla="*/ 2796 w 136726"/>
                <a:gd name="connsiteY11" fmla="*/ 0 h 53363"/>
                <a:gd name="connsiteX12" fmla="*/ 13215 w 136726"/>
                <a:gd name="connsiteY12" fmla="*/ 11181 h 5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26" h="53363">
                  <a:moveTo>
                    <a:pt x="13215" y="11181"/>
                  </a:moveTo>
                  <a:cubicBezTo>
                    <a:pt x="13291" y="17775"/>
                    <a:pt x="7993" y="23175"/>
                    <a:pt x="1398" y="23251"/>
                  </a:cubicBezTo>
                  <a:cubicBezTo>
                    <a:pt x="1398" y="23251"/>
                    <a:pt x="1398" y="23251"/>
                    <a:pt x="1398" y="23251"/>
                  </a:cubicBezTo>
                  <a:lnTo>
                    <a:pt x="0" y="23251"/>
                  </a:lnTo>
                  <a:lnTo>
                    <a:pt x="3558" y="24141"/>
                  </a:lnTo>
                  <a:lnTo>
                    <a:pt x="121351" y="53364"/>
                  </a:lnTo>
                  <a:lnTo>
                    <a:pt x="121351" y="43962"/>
                  </a:lnTo>
                  <a:cubicBezTo>
                    <a:pt x="120932" y="37736"/>
                    <a:pt x="125633" y="32336"/>
                    <a:pt x="131872" y="31917"/>
                  </a:cubicBezTo>
                  <a:cubicBezTo>
                    <a:pt x="133524" y="31802"/>
                    <a:pt x="135176" y="32057"/>
                    <a:pt x="136727" y="32654"/>
                  </a:cubicBezTo>
                  <a:cubicBezTo>
                    <a:pt x="136434" y="32730"/>
                    <a:pt x="136129" y="32730"/>
                    <a:pt x="135837" y="32654"/>
                  </a:cubicBezTo>
                  <a:lnTo>
                    <a:pt x="4194" y="0"/>
                  </a:lnTo>
                  <a:lnTo>
                    <a:pt x="2796" y="0"/>
                  </a:lnTo>
                  <a:cubicBezTo>
                    <a:pt x="8539" y="674"/>
                    <a:pt x="12949" y="5413"/>
                    <a:pt x="13215" y="11181"/>
                  </a:cubicBezTo>
                  <a:close/>
                </a:path>
              </a:pathLst>
            </a:custGeom>
            <a:solidFill>
              <a:srgbClr val="000000"/>
            </a:solidFill>
            <a:ln w="12704"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FAD7210-17B7-41E9-9F7C-6594094C8E86}"/>
                </a:ext>
              </a:extLst>
            </p:cNvPr>
            <p:cNvSpPr/>
            <p:nvPr/>
          </p:nvSpPr>
          <p:spPr>
            <a:xfrm>
              <a:off x="5980477" y="2317414"/>
              <a:ext cx="532801" cy="23785"/>
            </a:xfrm>
            <a:custGeom>
              <a:avLst/>
              <a:gdLst>
                <a:gd name="connsiteX0" fmla="*/ 12707 w 532801"/>
                <a:gd name="connsiteY0" fmla="*/ 11080 h 23785"/>
                <a:gd name="connsiteX1" fmla="*/ 12707 w 532801"/>
                <a:gd name="connsiteY1" fmla="*/ 23786 h 23785"/>
                <a:gd name="connsiteX2" fmla="*/ 520984 w 532801"/>
                <a:gd name="connsiteY2" fmla="*/ 23786 h 23785"/>
                <a:gd name="connsiteX3" fmla="*/ 532801 w 532801"/>
                <a:gd name="connsiteY3" fmla="*/ 11716 h 23785"/>
                <a:gd name="connsiteX4" fmla="*/ 532801 w 532801"/>
                <a:gd name="connsiteY4" fmla="*/ 11716 h 23785"/>
                <a:gd name="connsiteX5" fmla="*/ 522381 w 532801"/>
                <a:gd name="connsiteY5" fmla="*/ 26 h 23785"/>
                <a:gd name="connsiteX6" fmla="*/ 520984 w 532801"/>
                <a:gd name="connsiteY6" fmla="*/ 26 h 23785"/>
                <a:gd name="connsiteX7" fmla="*/ 0 w 532801"/>
                <a:gd name="connsiteY7" fmla="*/ 26 h 23785"/>
                <a:gd name="connsiteX8" fmla="*/ 12707 w 532801"/>
                <a:gd name="connsiteY8" fmla="*/ 11080 h 2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801" h="23785">
                  <a:moveTo>
                    <a:pt x="12707" y="11080"/>
                  </a:moveTo>
                  <a:lnTo>
                    <a:pt x="12707" y="23786"/>
                  </a:lnTo>
                  <a:lnTo>
                    <a:pt x="520984" y="23786"/>
                  </a:lnTo>
                  <a:cubicBezTo>
                    <a:pt x="527578" y="23722"/>
                    <a:pt x="532865" y="18310"/>
                    <a:pt x="532801" y="11716"/>
                  </a:cubicBezTo>
                  <a:cubicBezTo>
                    <a:pt x="532801" y="11716"/>
                    <a:pt x="532801" y="11716"/>
                    <a:pt x="532801" y="11716"/>
                  </a:cubicBezTo>
                  <a:cubicBezTo>
                    <a:pt x="532776" y="5744"/>
                    <a:pt x="528303" y="738"/>
                    <a:pt x="522381" y="26"/>
                  </a:cubicBezTo>
                  <a:lnTo>
                    <a:pt x="520984" y="26"/>
                  </a:lnTo>
                  <a:lnTo>
                    <a:pt x="0" y="26"/>
                  </a:lnTo>
                  <a:cubicBezTo>
                    <a:pt x="6557" y="-406"/>
                    <a:pt x="12237" y="4524"/>
                    <a:pt x="12707" y="11080"/>
                  </a:cubicBezTo>
                  <a:close/>
                </a:path>
              </a:pathLst>
            </a:custGeom>
            <a:solidFill>
              <a:srgbClr val="000000"/>
            </a:solidFill>
            <a:ln w="12704"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5D93F6F4-1D2C-4E7D-A7F1-894E4432911F}"/>
                </a:ext>
              </a:extLst>
            </p:cNvPr>
            <p:cNvSpPr/>
            <p:nvPr/>
          </p:nvSpPr>
          <p:spPr>
            <a:xfrm>
              <a:off x="12006099" y="3243302"/>
              <a:ext cx="187935" cy="10799"/>
            </a:xfrm>
            <a:custGeom>
              <a:avLst/>
              <a:gdLst>
                <a:gd name="connsiteX0" fmla="*/ 11437 w 187935"/>
                <a:gd name="connsiteY0" fmla="*/ 9910 h 10799"/>
                <a:gd name="connsiteX1" fmla="*/ 51082 w 187935"/>
                <a:gd name="connsiteY1" fmla="*/ 10800 h 10799"/>
                <a:gd name="connsiteX2" fmla="*/ 187936 w 187935"/>
                <a:gd name="connsiteY2" fmla="*/ 10800 h 10799"/>
                <a:gd name="connsiteX3" fmla="*/ 187936 w 187935"/>
                <a:gd name="connsiteY3" fmla="*/ 0 h 10799"/>
                <a:gd name="connsiteX4" fmla="*/ 0 w 187935"/>
                <a:gd name="connsiteY4" fmla="*/ 0 h 10799"/>
                <a:gd name="connsiteX5" fmla="*/ 11437 w 187935"/>
                <a:gd name="connsiteY5" fmla="*/ 9910 h 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935" h="10799">
                  <a:moveTo>
                    <a:pt x="11437" y="9910"/>
                  </a:moveTo>
                  <a:lnTo>
                    <a:pt x="51082" y="10800"/>
                  </a:lnTo>
                  <a:lnTo>
                    <a:pt x="187936" y="10800"/>
                  </a:lnTo>
                  <a:lnTo>
                    <a:pt x="187936" y="0"/>
                  </a:lnTo>
                  <a:lnTo>
                    <a:pt x="0" y="0"/>
                  </a:lnTo>
                  <a:cubicBezTo>
                    <a:pt x="5744" y="0"/>
                    <a:pt x="10611" y="4231"/>
                    <a:pt x="11437" y="9910"/>
                  </a:cubicBezTo>
                  <a:close/>
                </a:path>
              </a:pathLst>
            </a:custGeom>
            <a:solidFill>
              <a:srgbClr val="000000"/>
            </a:solidFill>
            <a:ln w="12704"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480768F7-271E-4220-8B2B-A5D1246E4EBD}"/>
                </a:ext>
              </a:extLst>
            </p:cNvPr>
            <p:cNvSpPr/>
            <p:nvPr/>
          </p:nvSpPr>
          <p:spPr>
            <a:xfrm>
              <a:off x="12017916" y="3257532"/>
              <a:ext cx="37104" cy="9656"/>
            </a:xfrm>
            <a:custGeom>
              <a:avLst/>
              <a:gdLst>
                <a:gd name="connsiteX0" fmla="*/ 37105 w 37104"/>
                <a:gd name="connsiteY0" fmla="*/ 762 h 9656"/>
                <a:gd name="connsiteX1" fmla="*/ 0 w 37104"/>
                <a:gd name="connsiteY1" fmla="*/ 0 h 9656"/>
                <a:gd name="connsiteX2" fmla="*/ 0 w 37104"/>
                <a:gd name="connsiteY2" fmla="*/ 9656 h 9656"/>
                <a:gd name="connsiteX3" fmla="*/ 37105 w 37104"/>
                <a:gd name="connsiteY3" fmla="*/ 9656 h 9656"/>
                <a:gd name="connsiteX4" fmla="*/ 37105 w 37104"/>
                <a:gd name="connsiteY4" fmla="*/ 762 h 9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4" h="9656">
                  <a:moveTo>
                    <a:pt x="37105" y="762"/>
                  </a:moveTo>
                  <a:lnTo>
                    <a:pt x="0" y="0"/>
                  </a:lnTo>
                  <a:lnTo>
                    <a:pt x="0" y="9656"/>
                  </a:lnTo>
                  <a:lnTo>
                    <a:pt x="37105" y="9656"/>
                  </a:lnTo>
                  <a:lnTo>
                    <a:pt x="37105" y="762"/>
                  </a:lnTo>
                  <a:close/>
                </a:path>
              </a:pathLst>
            </a:custGeom>
            <a:solidFill>
              <a:srgbClr val="000000"/>
            </a:solidFill>
            <a:ln w="12704"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2CE0CB85-1622-435C-8B6C-F574537B3DF2}"/>
                </a:ext>
              </a:extLst>
            </p:cNvPr>
            <p:cNvSpPr/>
            <p:nvPr/>
          </p:nvSpPr>
          <p:spPr>
            <a:xfrm>
              <a:off x="12059214" y="3258421"/>
              <a:ext cx="134820" cy="8766"/>
            </a:xfrm>
            <a:custGeom>
              <a:avLst/>
              <a:gdLst>
                <a:gd name="connsiteX0" fmla="*/ 0 w 134820"/>
                <a:gd name="connsiteY0" fmla="*/ 0 h 8766"/>
                <a:gd name="connsiteX1" fmla="*/ 134820 w 134820"/>
                <a:gd name="connsiteY1" fmla="*/ 0 h 8766"/>
                <a:gd name="connsiteX2" fmla="*/ 134820 w 134820"/>
                <a:gd name="connsiteY2" fmla="*/ 8767 h 8766"/>
                <a:gd name="connsiteX3" fmla="*/ 0 w 134820"/>
                <a:gd name="connsiteY3" fmla="*/ 8767 h 8766"/>
              </a:gdLst>
              <a:ahLst/>
              <a:cxnLst>
                <a:cxn ang="0">
                  <a:pos x="connsiteX0" y="connsiteY0"/>
                </a:cxn>
                <a:cxn ang="0">
                  <a:pos x="connsiteX1" y="connsiteY1"/>
                </a:cxn>
                <a:cxn ang="0">
                  <a:pos x="connsiteX2" y="connsiteY2"/>
                </a:cxn>
                <a:cxn ang="0">
                  <a:pos x="connsiteX3" y="connsiteY3"/>
                </a:cxn>
              </a:cxnLst>
              <a:rect l="l" t="t" r="r" b="b"/>
              <a:pathLst>
                <a:path w="134820" h="8766">
                  <a:moveTo>
                    <a:pt x="0" y="0"/>
                  </a:moveTo>
                  <a:lnTo>
                    <a:pt x="134820" y="0"/>
                  </a:lnTo>
                  <a:lnTo>
                    <a:pt x="134820" y="8767"/>
                  </a:lnTo>
                  <a:lnTo>
                    <a:pt x="0" y="8767"/>
                  </a:lnTo>
                  <a:close/>
                </a:path>
              </a:pathLst>
            </a:custGeom>
            <a:solidFill>
              <a:srgbClr val="000000"/>
            </a:solidFill>
            <a:ln w="12704"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DE422624-B8F6-4217-9025-BED8C623A75A}"/>
                </a:ext>
              </a:extLst>
            </p:cNvPr>
            <p:cNvSpPr/>
            <p:nvPr/>
          </p:nvSpPr>
          <p:spPr>
            <a:xfrm>
              <a:off x="12017408" y="3252958"/>
              <a:ext cx="39645" cy="5082"/>
            </a:xfrm>
            <a:custGeom>
              <a:avLst/>
              <a:gdLst>
                <a:gd name="connsiteX0" fmla="*/ 37613 w 39645"/>
                <a:gd name="connsiteY0" fmla="*/ 3049 h 5082"/>
                <a:gd name="connsiteX1" fmla="*/ 39518 w 39645"/>
                <a:gd name="connsiteY1" fmla="*/ 889 h 5082"/>
                <a:gd name="connsiteX2" fmla="*/ 39646 w 39645"/>
                <a:gd name="connsiteY2" fmla="*/ 889 h 5082"/>
                <a:gd name="connsiteX3" fmla="*/ 39646 w 39645"/>
                <a:gd name="connsiteY3" fmla="*/ 889 h 5082"/>
                <a:gd name="connsiteX4" fmla="*/ 0 w 39645"/>
                <a:gd name="connsiteY4" fmla="*/ 0 h 5082"/>
                <a:gd name="connsiteX5" fmla="*/ 0 w 39645"/>
                <a:gd name="connsiteY5" fmla="*/ 1906 h 5082"/>
                <a:gd name="connsiteX6" fmla="*/ 0 w 39645"/>
                <a:gd name="connsiteY6" fmla="*/ 4320 h 5082"/>
                <a:gd name="connsiteX7" fmla="*/ 37104 w 39645"/>
                <a:gd name="connsiteY7" fmla="*/ 5082 h 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45" h="5082">
                  <a:moveTo>
                    <a:pt x="37613" y="3049"/>
                  </a:moveTo>
                  <a:cubicBezTo>
                    <a:pt x="37549" y="1931"/>
                    <a:pt x="38400" y="966"/>
                    <a:pt x="39518" y="889"/>
                  </a:cubicBezTo>
                  <a:cubicBezTo>
                    <a:pt x="39556" y="889"/>
                    <a:pt x="39608" y="889"/>
                    <a:pt x="39646" y="889"/>
                  </a:cubicBezTo>
                  <a:lnTo>
                    <a:pt x="39646" y="889"/>
                  </a:lnTo>
                  <a:lnTo>
                    <a:pt x="0" y="0"/>
                  </a:lnTo>
                  <a:cubicBezTo>
                    <a:pt x="64" y="635"/>
                    <a:pt x="64" y="1271"/>
                    <a:pt x="0" y="1906"/>
                  </a:cubicBezTo>
                  <a:lnTo>
                    <a:pt x="0" y="4320"/>
                  </a:lnTo>
                  <a:lnTo>
                    <a:pt x="37104" y="5082"/>
                  </a:lnTo>
                  <a:close/>
                </a:path>
              </a:pathLst>
            </a:custGeom>
            <a:solidFill>
              <a:srgbClr val="000000"/>
            </a:solidFill>
            <a:ln w="12704"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504C25EA-4030-4EA9-8FA9-340A89054395}"/>
                </a:ext>
              </a:extLst>
            </p:cNvPr>
            <p:cNvSpPr/>
            <p:nvPr/>
          </p:nvSpPr>
          <p:spPr>
            <a:xfrm>
              <a:off x="12057054" y="3254101"/>
              <a:ext cx="136980" cy="4319"/>
            </a:xfrm>
            <a:custGeom>
              <a:avLst/>
              <a:gdLst>
                <a:gd name="connsiteX0" fmla="*/ 0 w 136980"/>
                <a:gd name="connsiteY0" fmla="*/ 0 h 4319"/>
                <a:gd name="connsiteX1" fmla="*/ 2160 w 136980"/>
                <a:gd name="connsiteY1" fmla="*/ 2160 h 4319"/>
                <a:gd name="connsiteX2" fmla="*/ 2160 w 136980"/>
                <a:gd name="connsiteY2" fmla="*/ 4320 h 4319"/>
                <a:gd name="connsiteX3" fmla="*/ 136981 w 136980"/>
                <a:gd name="connsiteY3" fmla="*/ 4320 h 4319"/>
                <a:gd name="connsiteX4" fmla="*/ 136981 w 136980"/>
                <a:gd name="connsiteY4" fmla="*/ 0 h 4319"/>
                <a:gd name="connsiteX5" fmla="*/ 0 w 136980"/>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980" h="4319">
                  <a:moveTo>
                    <a:pt x="0" y="0"/>
                  </a:moveTo>
                  <a:cubicBezTo>
                    <a:pt x="1194" y="0"/>
                    <a:pt x="2160" y="965"/>
                    <a:pt x="2160" y="2160"/>
                  </a:cubicBezTo>
                  <a:lnTo>
                    <a:pt x="2160" y="4320"/>
                  </a:lnTo>
                  <a:lnTo>
                    <a:pt x="136981" y="4320"/>
                  </a:lnTo>
                  <a:lnTo>
                    <a:pt x="136981" y="0"/>
                  </a:lnTo>
                  <a:lnTo>
                    <a:pt x="0" y="0"/>
                  </a:lnTo>
                  <a:close/>
                </a:path>
              </a:pathLst>
            </a:custGeom>
            <a:solidFill>
              <a:schemeClr val="accent5"/>
            </a:solidFill>
            <a:ln w="12704"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9DD9088B-D87D-426F-8136-FD210F150C6C}"/>
                </a:ext>
              </a:extLst>
            </p:cNvPr>
            <p:cNvSpPr/>
            <p:nvPr/>
          </p:nvSpPr>
          <p:spPr>
            <a:xfrm>
              <a:off x="12055021" y="3253847"/>
              <a:ext cx="4192" cy="132138"/>
            </a:xfrm>
            <a:custGeom>
              <a:avLst/>
              <a:gdLst>
                <a:gd name="connsiteX0" fmla="*/ 0 w 4192"/>
                <a:gd name="connsiteY0" fmla="*/ 2160 h 132138"/>
                <a:gd name="connsiteX1" fmla="*/ 0 w 4192"/>
                <a:gd name="connsiteY1" fmla="*/ 132139 h 132138"/>
                <a:gd name="connsiteX2" fmla="*/ 2033 w 4192"/>
                <a:gd name="connsiteY2" fmla="*/ 132139 h 132138"/>
                <a:gd name="connsiteX3" fmla="*/ 4193 w 4192"/>
                <a:gd name="connsiteY3" fmla="*/ 132139 h 132138"/>
                <a:gd name="connsiteX4" fmla="*/ 4193 w 4192"/>
                <a:gd name="connsiteY4" fmla="*/ 2160 h 132138"/>
                <a:gd name="connsiteX5" fmla="*/ 2033 w 4192"/>
                <a:gd name="connsiteY5" fmla="*/ 0 h 132138"/>
                <a:gd name="connsiteX6" fmla="*/ 0 w 4192"/>
                <a:gd name="connsiteY6" fmla="*/ 2033 h 132138"/>
                <a:gd name="connsiteX7" fmla="*/ 0 w 4192"/>
                <a:gd name="connsiteY7" fmla="*/ 2160 h 13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2" h="132138">
                  <a:moveTo>
                    <a:pt x="0" y="2160"/>
                  </a:moveTo>
                  <a:lnTo>
                    <a:pt x="0" y="132139"/>
                  </a:lnTo>
                  <a:cubicBezTo>
                    <a:pt x="673" y="132063"/>
                    <a:pt x="1360" y="132063"/>
                    <a:pt x="2033" y="132139"/>
                  </a:cubicBezTo>
                  <a:lnTo>
                    <a:pt x="4193" y="132139"/>
                  </a:lnTo>
                  <a:lnTo>
                    <a:pt x="4193" y="2160"/>
                  </a:lnTo>
                  <a:cubicBezTo>
                    <a:pt x="4193" y="966"/>
                    <a:pt x="3227" y="0"/>
                    <a:pt x="2033" y="0"/>
                  </a:cubicBezTo>
                  <a:cubicBezTo>
                    <a:pt x="914" y="0"/>
                    <a:pt x="0" y="902"/>
                    <a:pt x="0" y="2033"/>
                  </a:cubicBezTo>
                  <a:cubicBezTo>
                    <a:pt x="0" y="2071"/>
                    <a:pt x="0" y="2122"/>
                    <a:pt x="0" y="2160"/>
                  </a:cubicBezTo>
                  <a:close/>
                </a:path>
              </a:pathLst>
            </a:custGeom>
            <a:solidFill>
              <a:srgbClr val="000000"/>
            </a:solidFill>
            <a:ln w="12704"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508614C2-4DB5-4F70-9885-7CE047952FED}"/>
                </a:ext>
              </a:extLst>
            </p:cNvPr>
            <p:cNvSpPr/>
            <p:nvPr/>
          </p:nvSpPr>
          <p:spPr>
            <a:xfrm>
              <a:off x="11411539" y="4859970"/>
              <a:ext cx="4196" cy="1111999"/>
            </a:xfrm>
            <a:custGeom>
              <a:avLst/>
              <a:gdLst>
                <a:gd name="connsiteX0" fmla="*/ 3 w 4196"/>
                <a:gd name="connsiteY0" fmla="*/ 1109840 h 1111999"/>
                <a:gd name="connsiteX1" fmla="*/ 1909 w 4196"/>
                <a:gd name="connsiteY1" fmla="*/ 1112000 h 1111999"/>
                <a:gd name="connsiteX2" fmla="*/ 2036 w 4196"/>
                <a:gd name="connsiteY2" fmla="*/ 1112000 h 1111999"/>
                <a:gd name="connsiteX3" fmla="*/ 4197 w 4196"/>
                <a:gd name="connsiteY3" fmla="*/ 1109840 h 1111999"/>
                <a:gd name="connsiteX4" fmla="*/ 4197 w 4196"/>
                <a:gd name="connsiteY4" fmla="*/ 2160 h 1111999"/>
                <a:gd name="connsiteX5" fmla="*/ 2290 w 4196"/>
                <a:gd name="connsiteY5" fmla="*/ 2160 h 1111999"/>
                <a:gd name="connsiteX6" fmla="*/ 258 w 4196"/>
                <a:gd name="connsiteY6" fmla="*/ 0 h 1111999"/>
                <a:gd name="connsiteX7" fmla="*/ 258 w 4196"/>
                <a:gd name="connsiteY7" fmla="*/ 1109840 h 111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6" h="1111999">
                  <a:moveTo>
                    <a:pt x="3" y="1109840"/>
                  </a:moveTo>
                  <a:cubicBezTo>
                    <a:pt x="-60" y="1110958"/>
                    <a:pt x="791" y="1111924"/>
                    <a:pt x="1909" y="1112000"/>
                  </a:cubicBezTo>
                  <a:cubicBezTo>
                    <a:pt x="1948" y="1112000"/>
                    <a:pt x="1998" y="1112000"/>
                    <a:pt x="2036" y="1112000"/>
                  </a:cubicBezTo>
                  <a:cubicBezTo>
                    <a:pt x="3230" y="1112000"/>
                    <a:pt x="4197" y="1111034"/>
                    <a:pt x="4197" y="1109840"/>
                  </a:cubicBezTo>
                  <a:lnTo>
                    <a:pt x="4197" y="2160"/>
                  </a:lnTo>
                  <a:lnTo>
                    <a:pt x="2290" y="2160"/>
                  </a:lnTo>
                  <a:cubicBezTo>
                    <a:pt x="1147" y="2097"/>
                    <a:pt x="258" y="1143"/>
                    <a:pt x="258" y="0"/>
                  </a:cubicBezTo>
                  <a:lnTo>
                    <a:pt x="258" y="1109840"/>
                  </a:lnTo>
                  <a:close/>
                </a:path>
              </a:pathLst>
            </a:custGeom>
            <a:solidFill>
              <a:srgbClr val="000000"/>
            </a:solidFill>
            <a:ln w="12704"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816C8921-6C02-4CD1-BA15-2615A71AADCB}"/>
                </a:ext>
              </a:extLst>
            </p:cNvPr>
            <p:cNvSpPr/>
            <p:nvPr/>
          </p:nvSpPr>
          <p:spPr>
            <a:xfrm>
              <a:off x="11411539" y="4831510"/>
              <a:ext cx="4196" cy="28968"/>
            </a:xfrm>
            <a:custGeom>
              <a:avLst/>
              <a:gdLst>
                <a:gd name="connsiteX0" fmla="*/ 3 w 4196"/>
                <a:gd name="connsiteY0" fmla="*/ 0 h 28968"/>
                <a:gd name="connsiteX1" fmla="*/ 3 w 4196"/>
                <a:gd name="connsiteY1" fmla="*/ 28969 h 28968"/>
                <a:gd name="connsiteX2" fmla="*/ 1909 w 4196"/>
                <a:gd name="connsiteY2" fmla="*/ 26809 h 28968"/>
                <a:gd name="connsiteX3" fmla="*/ 2036 w 4196"/>
                <a:gd name="connsiteY3" fmla="*/ 26809 h 28968"/>
                <a:gd name="connsiteX4" fmla="*/ 4197 w 4196"/>
                <a:gd name="connsiteY4" fmla="*/ 26809 h 28968"/>
                <a:gd name="connsiteX5" fmla="*/ 4197 w 4196"/>
                <a:gd name="connsiteY5" fmla="*/ 1397 h 28968"/>
                <a:gd name="connsiteX6" fmla="*/ 2290 w 4196"/>
                <a:gd name="connsiteY6" fmla="*/ 1397 h 28968"/>
                <a:gd name="connsiteX7" fmla="*/ 766 w 4196"/>
                <a:gd name="connsiteY7" fmla="*/ 635 h 28968"/>
                <a:gd name="connsiteX8" fmla="*/ 766 w 4196"/>
                <a:gd name="connsiteY8" fmla="*/ 635 h 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6" h="28968">
                  <a:moveTo>
                    <a:pt x="3" y="0"/>
                  </a:moveTo>
                  <a:lnTo>
                    <a:pt x="3" y="28969"/>
                  </a:lnTo>
                  <a:cubicBezTo>
                    <a:pt x="-60" y="27851"/>
                    <a:pt x="791" y="26885"/>
                    <a:pt x="1909" y="26809"/>
                  </a:cubicBezTo>
                  <a:cubicBezTo>
                    <a:pt x="1948" y="26809"/>
                    <a:pt x="1998" y="26809"/>
                    <a:pt x="2036" y="26809"/>
                  </a:cubicBezTo>
                  <a:lnTo>
                    <a:pt x="4197" y="26809"/>
                  </a:lnTo>
                  <a:lnTo>
                    <a:pt x="4197" y="1397"/>
                  </a:lnTo>
                  <a:lnTo>
                    <a:pt x="2290" y="1397"/>
                  </a:lnTo>
                  <a:cubicBezTo>
                    <a:pt x="1681" y="1423"/>
                    <a:pt x="1109" y="1131"/>
                    <a:pt x="766" y="635"/>
                  </a:cubicBezTo>
                  <a:lnTo>
                    <a:pt x="766" y="635"/>
                  </a:lnTo>
                  <a:close/>
                </a:path>
              </a:pathLst>
            </a:custGeom>
            <a:solidFill>
              <a:srgbClr val="000000"/>
            </a:solidFill>
            <a:ln w="12704"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F1773C67-F40D-448B-8527-858871FB4A57}"/>
                </a:ext>
              </a:extLst>
            </p:cNvPr>
            <p:cNvSpPr/>
            <p:nvPr/>
          </p:nvSpPr>
          <p:spPr>
            <a:xfrm>
              <a:off x="11210519" y="4590102"/>
              <a:ext cx="23507" cy="84619"/>
            </a:xfrm>
            <a:custGeom>
              <a:avLst/>
              <a:gdLst>
                <a:gd name="connsiteX0" fmla="*/ 17154 w 23507"/>
                <a:gd name="connsiteY0" fmla="*/ 11308 h 84619"/>
                <a:gd name="connsiteX1" fmla="*/ 11055 w 23507"/>
                <a:gd name="connsiteY1" fmla="*/ 11308 h 84619"/>
                <a:gd name="connsiteX2" fmla="*/ 0 w 23507"/>
                <a:gd name="connsiteY2" fmla="*/ 0 h 84619"/>
                <a:gd name="connsiteX3" fmla="*/ 0 w 23507"/>
                <a:gd name="connsiteY3" fmla="*/ 0 h 84619"/>
                <a:gd name="connsiteX4" fmla="*/ 0 w 23507"/>
                <a:gd name="connsiteY4" fmla="*/ 55015 h 84619"/>
                <a:gd name="connsiteX5" fmla="*/ 20840 w 23507"/>
                <a:gd name="connsiteY5" fmla="*/ 81316 h 84619"/>
                <a:gd name="connsiteX6" fmla="*/ 20840 w 23507"/>
                <a:gd name="connsiteY6" fmla="*/ 81316 h 84619"/>
                <a:gd name="connsiteX7" fmla="*/ 23507 w 23507"/>
                <a:gd name="connsiteY7" fmla="*/ 84620 h 84619"/>
                <a:gd name="connsiteX8" fmla="*/ 23507 w 23507"/>
                <a:gd name="connsiteY8" fmla="*/ 28334 h 84619"/>
                <a:gd name="connsiteX9" fmla="*/ 18298 w 23507"/>
                <a:gd name="connsiteY9" fmla="*/ 22235 h 84619"/>
                <a:gd name="connsiteX10" fmla="*/ 18298 w 23507"/>
                <a:gd name="connsiteY10" fmla="*/ 21600 h 84619"/>
                <a:gd name="connsiteX11" fmla="*/ 18298 w 23507"/>
                <a:gd name="connsiteY11" fmla="*/ 20837 h 8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7" h="84619">
                  <a:moveTo>
                    <a:pt x="17154" y="11308"/>
                  </a:moveTo>
                  <a:lnTo>
                    <a:pt x="11055" y="11308"/>
                  </a:lnTo>
                  <a:cubicBezTo>
                    <a:pt x="5019" y="10927"/>
                    <a:pt x="254" y="6048"/>
                    <a:pt x="0" y="0"/>
                  </a:cubicBezTo>
                  <a:lnTo>
                    <a:pt x="0" y="0"/>
                  </a:lnTo>
                  <a:lnTo>
                    <a:pt x="0" y="55015"/>
                  </a:lnTo>
                  <a:lnTo>
                    <a:pt x="20840" y="81316"/>
                  </a:lnTo>
                  <a:lnTo>
                    <a:pt x="20840" y="81316"/>
                  </a:lnTo>
                  <a:lnTo>
                    <a:pt x="23507" y="84620"/>
                  </a:lnTo>
                  <a:lnTo>
                    <a:pt x="23507" y="28334"/>
                  </a:lnTo>
                  <a:lnTo>
                    <a:pt x="18298" y="22235"/>
                  </a:lnTo>
                  <a:cubicBezTo>
                    <a:pt x="18298" y="22235"/>
                    <a:pt x="18298" y="22235"/>
                    <a:pt x="18298" y="21600"/>
                  </a:cubicBezTo>
                  <a:cubicBezTo>
                    <a:pt x="18298" y="20964"/>
                    <a:pt x="18298" y="21600"/>
                    <a:pt x="18298" y="20837"/>
                  </a:cubicBezTo>
                  <a:close/>
                </a:path>
              </a:pathLst>
            </a:custGeom>
            <a:solidFill>
              <a:srgbClr val="000000"/>
            </a:solidFill>
            <a:ln w="12704"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6D5E8419-B1A2-4C0E-917B-674AA439FFD7}"/>
                </a:ext>
              </a:extLst>
            </p:cNvPr>
            <p:cNvSpPr/>
            <p:nvPr/>
          </p:nvSpPr>
          <p:spPr>
            <a:xfrm>
              <a:off x="11231866" y="4601410"/>
              <a:ext cx="1524" cy="7496"/>
            </a:xfrm>
            <a:custGeom>
              <a:avLst/>
              <a:gdLst>
                <a:gd name="connsiteX0" fmla="*/ 0 w 1524"/>
                <a:gd name="connsiteY0" fmla="*/ 0 h 7496"/>
                <a:gd name="connsiteX1" fmla="*/ 1525 w 1524"/>
                <a:gd name="connsiteY1" fmla="*/ 0 h 7496"/>
                <a:gd name="connsiteX2" fmla="*/ 1525 w 1524"/>
                <a:gd name="connsiteY2" fmla="*/ 7496 h 7496"/>
                <a:gd name="connsiteX3" fmla="*/ 0 w 1524"/>
                <a:gd name="connsiteY3" fmla="*/ 7496 h 7496"/>
              </a:gdLst>
              <a:ahLst/>
              <a:cxnLst>
                <a:cxn ang="0">
                  <a:pos x="connsiteX0" y="connsiteY0"/>
                </a:cxn>
                <a:cxn ang="0">
                  <a:pos x="connsiteX1" y="connsiteY1"/>
                </a:cxn>
                <a:cxn ang="0">
                  <a:pos x="connsiteX2" y="connsiteY2"/>
                </a:cxn>
                <a:cxn ang="0">
                  <a:pos x="connsiteX3" y="connsiteY3"/>
                </a:cxn>
              </a:cxnLst>
              <a:rect l="l" t="t" r="r" b="b"/>
              <a:pathLst>
                <a:path w="1524" h="7496">
                  <a:moveTo>
                    <a:pt x="0" y="0"/>
                  </a:moveTo>
                  <a:lnTo>
                    <a:pt x="1525" y="0"/>
                  </a:lnTo>
                  <a:lnTo>
                    <a:pt x="1525" y="7496"/>
                  </a:lnTo>
                  <a:lnTo>
                    <a:pt x="0" y="7496"/>
                  </a:lnTo>
                  <a:close/>
                </a:path>
              </a:pathLst>
            </a:custGeom>
            <a:solidFill>
              <a:srgbClr val="000000"/>
            </a:solidFill>
            <a:ln w="12704"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FBD93B5F-BA65-4CBB-89A8-F460948B0E09}"/>
                </a:ext>
              </a:extLst>
            </p:cNvPr>
            <p:cNvSpPr/>
            <p:nvPr/>
          </p:nvSpPr>
          <p:spPr>
            <a:xfrm>
              <a:off x="12043584" y="4664049"/>
              <a:ext cx="5591" cy="4065"/>
            </a:xfrm>
            <a:custGeom>
              <a:avLst/>
              <a:gdLst>
                <a:gd name="connsiteX0" fmla="*/ 5591 w 5591"/>
                <a:gd name="connsiteY0" fmla="*/ 4066 h 4065"/>
                <a:gd name="connsiteX1" fmla="*/ 3177 w 5591"/>
                <a:gd name="connsiteY1" fmla="*/ 0 h 4065"/>
                <a:gd name="connsiteX2" fmla="*/ 0 w 5591"/>
                <a:gd name="connsiteY2" fmla="*/ 0 h 4065"/>
              </a:gdLst>
              <a:ahLst/>
              <a:cxnLst>
                <a:cxn ang="0">
                  <a:pos x="connsiteX0" y="connsiteY0"/>
                </a:cxn>
                <a:cxn ang="0">
                  <a:pos x="connsiteX1" y="connsiteY1"/>
                </a:cxn>
                <a:cxn ang="0">
                  <a:pos x="connsiteX2" y="connsiteY2"/>
                </a:cxn>
              </a:cxnLst>
              <a:rect l="l" t="t" r="r" b="b"/>
              <a:pathLst>
                <a:path w="5591" h="4065">
                  <a:moveTo>
                    <a:pt x="5591" y="4066"/>
                  </a:moveTo>
                  <a:cubicBezTo>
                    <a:pt x="4524" y="2884"/>
                    <a:pt x="3698" y="1499"/>
                    <a:pt x="3177" y="0"/>
                  </a:cubicBezTo>
                  <a:lnTo>
                    <a:pt x="0" y="0"/>
                  </a:lnTo>
                  <a:close/>
                </a:path>
              </a:pathLst>
            </a:custGeom>
            <a:solidFill>
              <a:srgbClr val="000000"/>
            </a:solidFill>
            <a:ln w="12704"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1D80609B-CF77-4CA4-B240-FAA279807A11}"/>
                </a:ext>
              </a:extLst>
            </p:cNvPr>
            <p:cNvSpPr/>
            <p:nvPr/>
          </p:nvSpPr>
          <p:spPr>
            <a:xfrm>
              <a:off x="12070269" y="4661254"/>
              <a:ext cx="123766" cy="24140"/>
            </a:xfrm>
            <a:custGeom>
              <a:avLst/>
              <a:gdLst>
                <a:gd name="connsiteX0" fmla="*/ 7116 w 123766"/>
                <a:gd name="connsiteY0" fmla="*/ 5082 h 24140"/>
                <a:gd name="connsiteX1" fmla="*/ 7116 w 123766"/>
                <a:gd name="connsiteY1" fmla="*/ 12197 h 24140"/>
                <a:gd name="connsiteX2" fmla="*/ 0 w 123766"/>
                <a:gd name="connsiteY2" fmla="*/ 23124 h 24140"/>
                <a:gd name="connsiteX3" fmla="*/ 1526 w 123766"/>
                <a:gd name="connsiteY3" fmla="*/ 24141 h 24140"/>
                <a:gd name="connsiteX4" fmla="*/ 123766 w 123766"/>
                <a:gd name="connsiteY4" fmla="*/ 24141 h 24140"/>
                <a:gd name="connsiteX5" fmla="*/ 123766 w 123766"/>
                <a:gd name="connsiteY5" fmla="*/ 0 h 24140"/>
                <a:gd name="connsiteX6" fmla="*/ 5973 w 123766"/>
                <a:gd name="connsiteY6" fmla="*/ 0 h 24140"/>
                <a:gd name="connsiteX7" fmla="*/ 7116 w 123766"/>
                <a:gd name="connsiteY7" fmla="*/ 5082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766" h="24140">
                  <a:moveTo>
                    <a:pt x="7116" y="5082"/>
                  </a:moveTo>
                  <a:lnTo>
                    <a:pt x="7116" y="12197"/>
                  </a:lnTo>
                  <a:cubicBezTo>
                    <a:pt x="6938" y="16873"/>
                    <a:pt x="4207" y="21066"/>
                    <a:pt x="0" y="23124"/>
                  </a:cubicBezTo>
                  <a:lnTo>
                    <a:pt x="1526" y="24141"/>
                  </a:lnTo>
                  <a:lnTo>
                    <a:pt x="123766" y="24141"/>
                  </a:lnTo>
                  <a:lnTo>
                    <a:pt x="123766" y="0"/>
                  </a:lnTo>
                  <a:lnTo>
                    <a:pt x="5973" y="0"/>
                  </a:lnTo>
                  <a:cubicBezTo>
                    <a:pt x="6697" y="1601"/>
                    <a:pt x="7091" y="3329"/>
                    <a:pt x="7116" y="5082"/>
                  </a:cubicBezTo>
                  <a:close/>
                </a:path>
              </a:pathLst>
            </a:custGeom>
            <a:solidFill>
              <a:srgbClr val="000000"/>
            </a:solidFill>
            <a:ln w="12704"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996347F3-6FF8-4310-8B05-AA22DC1BADB2}"/>
                </a:ext>
              </a:extLst>
            </p:cNvPr>
            <p:cNvSpPr/>
            <p:nvPr/>
          </p:nvSpPr>
          <p:spPr>
            <a:xfrm>
              <a:off x="12052860" y="4671418"/>
              <a:ext cx="1016" cy="635"/>
            </a:xfrm>
            <a:custGeom>
              <a:avLst/>
              <a:gdLst>
                <a:gd name="connsiteX0" fmla="*/ 1017 w 1016"/>
                <a:gd name="connsiteY0" fmla="*/ 636 h 635"/>
                <a:gd name="connsiteX1" fmla="*/ 1017 w 1016"/>
                <a:gd name="connsiteY1" fmla="*/ 0 h 635"/>
                <a:gd name="connsiteX2" fmla="*/ 0 w 1016"/>
                <a:gd name="connsiteY2" fmla="*/ 0 h 635"/>
                <a:gd name="connsiteX3" fmla="*/ 0 w 1016"/>
                <a:gd name="connsiteY3" fmla="*/ 0 h 635"/>
              </a:gdLst>
              <a:ahLst/>
              <a:cxnLst>
                <a:cxn ang="0">
                  <a:pos x="connsiteX0" y="connsiteY0"/>
                </a:cxn>
                <a:cxn ang="0">
                  <a:pos x="connsiteX1" y="connsiteY1"/>
                </a:cxn>
                <a:cxn ang="0">
                  <a:pos x="connsiteX2" y="connsiteY2"/>
                </a:cxn>
                <a:cxn ang="0">
                  <a:pos x="connsiteX3" y="connsiteY3"/>
                </a:cxn>
              </a:cxnLst>
              <a:rect l="l" t="t" r="r" b="b"/>
              <a:pathLst>
                <a:path w="1016" h="635">
                  <a:moveTo>
                    <a:pt x="1017" y="636"/>
                  </a:moveTo>
                  <a:lnTo>
                    <a:pt x="1017" y="0"/>
                  </a:lnTo>
                  <a:lnTo>
                    <a:pt x="0" y="0"/>
                  </a:lnTo>
                  <a:lnTo>
                    <a:pt x="0" y="0"/>
                  </a:lnTo>
                  <a:close/>
                </a:path>
              </a:pathLst>
            </a:custGeom>
            <a:solidFill>
              <a:srgbClr val="000000"/>
            </a:solidFill>
            <a:ln w="12704"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27368356-0562-4F4B-BB9B-535F56C1A670}"/>
                </a:ext>
              </a:extLst>
            </p:cNvPr>
            <p:cNvSpPr/>
            <p:nvPr/>
          </p:nvSpPr>
          <p:spPr>
            <a:xfrm>
              <a:off x="12053877" y="4655409"/>
              <a:ext cx="23507" cy="29350"/>
            </a:xfrm>
            <a:custGeom>
              <a:avLst/>
              <a:gdLst>
                <a:gd name="connsiteX0" fmla="*/ 14994 w 23507"/>
                <a:gd name="connsiteY0" fmla="*/ 4574 h 29350"/>
                <a:gd name="connsiteX1" fmla="*/ 3177 w 23507"/>
                <a:gd name="connsiteY1" fmla="*/ 16644 h 29350"/>
                <a:gd name="connsiteX2" fmla="*/ 0 w 23507"/>
                <a:gd name="connsiteY2" fmla="*/ 16009 h 29350"/>
                <a:gd name="connsiteX3" fmla="*/ 0 w 23507"/>
                <a:gd name="connsiteY3" fmla="*/ 16644 h 29350"/>
                <a:gd name="connsiteX4" fmla="*/ 16392 w 23507"/>
                <a:gd name="connsiteY4" fmla="*/ 29350 h 29350"/>
                <a:gd name="connsiteX5" fmla="*/ 23507 w 23507"/>
                <a:gd name="connsiteY5" fmla="*/ 18423 h 29350"/>
                <a:gd name="connsiteX6" fmla="*/ 23507 w 23507"/>
                <a:gd name="connsiteY6" fmla="*/ 10927 h 29350"/>
                <a:gd name="connsiteX7" fmla="*/ 22364 w 23507"/>
                <a:gd name="connsiteY7" fmla="*/ 5971 h 29350"/>
                <a:gd name="connsiteX8" fmla="*/ 22364 w 23507"/>
                <a:gd name="connsiteY8" fmla="*/ 5971 h 29350"/>
                <a:gd name="connsiteX9" fmla="*/ 21220 w 23507"/>
                <a:gd name="connsiteY9" fmla="*/ 4066 h 29350"/>
                <a:gd name="connsiteX10" fmla="*/ 19568 w 23507"/>
                <a:gd name="connsiteY10" fmla="*/ 2287 h 29350"/>
                <a:gd name="connsiteX11" fmla="*/ 15376 w 23507"/>
                <a:gd name="connsiteY11" fmla="*/ 0 h 2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7" h="29350">
                  <a:moveTo>
                    <a:pt x="14994" y="4574"/>
                  </a:moveTo>
                  <a:cubicBezTo>
                    <a:pt x="14689" y="11015"/>
                    <a:pt x="9606" y="16200"/>
                    <a:pt x="3177" y="16644"/>
                  </a:cubicBezTo>
                  <a:cubicBezTo>
                    <a:pt x="2096" y="16568"/>
                    <a:pt x="1029" y="16352"/>
                    <a:pt x="0" y="16009"/>
                  </a:cubicBezTo>
                  <a:lnTo>
                    <a:pt x="0" y="16644"/>
                  </a:lnTo>
                  <a:lnTo>
                    <a:pt x="16392" y="29350"/>
                  </a:lnTo>
                  <a:cubicBezTo>
                    <a:pt x="20598" y="27292"/>
                    <a:pt x="23330" y="23099"/>
                    <a:pt x="23507" y="18423"/>
                  </a:cubicBezTo>
                  <a:lnTo>
                    <a:pt x="23507" y="10927"/>
                  </a:lnTo>
                  <a:cubicBezTo>
                    <a:pt x="23469" y="9211"/>
                    <a:pt x="23076" y="7534"/>
                    <a:pt x="22364" y="5971"/>
                  </a:cubicBezTo>
                  <a:lnTo>
                    <a:pt x="22364" y="5971"/>
                  </a:lnTo>
                  <a:cubicBezTo>
                    <a:pt x="22034" y="5311"/>
                    <a:pt x="21652" y="4675"/>
                    <a:pt x="21220" y="4066"/>
                  </a:cubicBezTo>
                  <a:cubicBezTo>
                    <a:pt x="20738" y="3418"/>
                    <a:pt x="20179" y="2820"/>
                    <a:pt x="19568" y="2287"/>
                  </a:cubicBezTo>
                  <a:cubicBezTo>
                    <a:pt x="18324" y="1283"/>
                    <a:pt x="16900" y="508"/>
                    <a:pt x="15376" y="0"/>
                  </a:cubicBezTo>
                  <a:close/>
                </a:path>
              </a:pathLst>
            </a:custGeom>
            <a:solidFill>
              <a:srgbClr val="000000"/>
            </a:solidFill>
            <a:ln w="12704"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D40EDA7A-A28C-4DE9-B2FF-4EBEB9384678}"/>
                </a:ext>
              </a:extLst>
            </p:cNvPr>
            <p:cNvSpPr/>
            <p:nvPr/>
          </p:nvSpPr>
          <p:spPr>
            <a:xfrm>
              <a:off x="8888964" y="5483310"/>
              <a:ext cx="45872" cy="4320"/>
            </a:xfrm>
            <a:custGeom>
              <a:avLst/>
              <a:gdLst>
                <a:gd name="connsiteX0" fmla="*/ 45872 w 45872"/>
                <a:gd name="connsiteY0" fmla="*/ 0 h 4320"/>
                <a:gd name="connsiteX1" fmla="*/ 2160 w 45872"/>
                <a:gd name="connsiteY1" fmla="*/ 0 h 4320"/>
                <a:gd name="connsiteX2" fmla="*/ 0 w 45872"/>
                <a:gd name="connsiteY2" fmla="*/ 2160 h 4320"/>
                <a:gd name="connsiteX3" fmla="*/ 2160 w 45872"/>
                <a:gd name="connsiteY3" fmla="*/ 4320 h 4320"/>
                <a:gd name="connsiteX4" fmla="*/ 45872 w 45872"/>
                <a:gd name="connsiteY4" fmla="*/ 4320 h 4320"/>
                <a:gd name="connsiteX5" fmla="*/ 45872 w 45872"/>
                <a:gd name="connsiteY5" fmla="*/ 0 h 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72" h="4320">
                  <a:moveTo>
                    <a:pt x="45872" y="0"/>
                  </a:moveTo>
                  <a:lnTo>
                    <a:pt x="2160" y="0"/>
                  </a:lnTo>
                  <a:cubicBezTo>
                    <a:pt x="966" y="0"/>
                    <a:pt x="0" y="966"/>
                    <a:pt x="0" y="2160"/>
                  </a:cubicBezTo>
                  <a:cubicBezTo>
                    <a:pt x="0" y="3354"/>
                    <a:pt x="966" y="4320"/>
                    <a:pt x="2160" y="4320"/>
                  </a:cubicBezTo>
                  <a:lnTo>
                    <a:pt x="45872" y="4320"/>
                  </a:lnTo>
                  <a:cubicBezTo>
                    <a:pt x="45364" y="2922"/>
                    <a:pt x="45364" y="1398"/>
                    <a:pt x="45872" y="0"/>
                  </a:cubicBezTo>
                  <a:close/>
                </a:path>
              </a:pathLst>
            </a:custGeom>
            <a:solidFill>
              <a:srgbClr val="000000"/>
            </a:solidFill>
            <a:ln w="12704"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E9FE8E53-9879-4F7A-A4C4-6AC43396134C}"/>
                </a:ext>
              </a:extLst>
            </p:cNvPr>
            <p:cNvSpPr/>
            <p:nvPr/>
          </p:nvSpPr>
          <p:spPr>
            <a:xfrm>
              <a:off x="7064250" y="4919052"/>
              <a:ext cx="1512123" cy="24013"/>
            </a:xfrm>
            <a:custGeom>
              <a:avLst/>
              <a:gdLst>
                <a:gd name="connsiteX0" fmla="*/ 3812 w 1512123"/>
                <a:gd name="connsiteY0" fmla="*/ 1397 h 24013"/>
                <a:gd name="connsiteX1" fmla="*/ 5718 w 1512123"/>
                <a:gd name="connsiteY1" fmla="*/ 2287 h 24013"/>
                <a:gd name="connsiteX2" fmla="*/ 7624 w 1512123"/>
                <a:gd name="connsiteY2" fmla="*/ 3684 h 24013"/>
                <a:gd name="connsiteX3" fmla="*/ 9149 w 1512123"/>
                <a:gd name="connsiteY3" fmla="*/ 5463 h 24013"/>
                <a:gd name="connsiteX4" fmla="*/ 10165 w 1512123"/>
                <a:gd name="connsiteY4" fmla="*/ 6734 h 24013"/>
                <a:gd name="connsiteX5" fmla="*/ 10928 w 1512123"/>
                <a:gd name="connsiteY5" fmla="*/ 9021 h 24013"/>
                <a:gd name="connsiteX6" fmla="*/ 10928 w 1512123"/>
                <a:gd name="connsiteY6" fmla="*/ 11435 h 24013"/>
                <a:gd name="connsiteX7" fmla="*/ 10928 w 1512123"/>
                <a:gd name="connsiteY7" fmla="*/ 12070 h 24013"/>
                <a:gd name="connsiteX8" fmla="*/ 10928 w 1512123"/>
                <a:gd name="connsiteY8" fmla="*/ 13595 h 24013"/>
                <a:gd name="connsiteX9" fmla="*/ 10928 w 1512123"/>
                <a:gd name="connsiteY9" fmla="*/ 16009 h 24013"/>
                <a:gd name="connsiteX10" fmla="*/ 10038 w 1512123"/>
                <a:gd name="connsiteY10" fmla="*/ 18042 h 24013"/>
                <a:gd name="connsiteX11" fmla="*/ 8768 w 1512123"/>
                <a:gd name="connsiteY11" fmla="*/ 19948 h 24013"/>
                <a:gd name="connsiteX12" fmla="*/ 6861 w 1512123"/>
                <a:gd name="connsiteY12" fmla="*/ 21472 h 24013"/>
                <a:gd name="connsiteX13" fmla="*/ 5718 w 1512123"/>
                <a:gd name="connsiteY13" fmla="*/ 22489 h 24013"/>
                <a:gd name="connsiteX14" fmla="*/ 3050 w 1512123"/>
                <a:gd name="connsiteY14" fmla="*/ 24014 h 24013"/>
                <a:gd name="connsiteX15" fmla="*/ 1498908 w 1512123"/>
                <a:gd name="connsiteY15" fmla="*/ 24014 h 24013"/>
                <a:gd name="connsiteX16" fmla="*/ 1500306 w 1512123"/>
                <a:gd name="connsiteY16" fmla="*/ 22489 h 24013"/>
                <a:gd name="connsiteX17" fmla="*/ 1500306 w 1512123"/>
                <a:gd name="connsiteY17" fmla="*/ 12070 h 24013"/>
                <a:gd name="connsiteX18" fmla="*/ 1512124 w 1512123"/>
                <a:gd name="connsiteY18" fmla="*/ 0 h 24013"/>
                <a:gd name="connsiteX19" fmla="*/ 0 w 1512123"/>
                <a:gd name="connsiteY19" fmla="*/ 0 h 24013"/>
                <a:gd name="connsiteX20" fmla="*/ 1525 w 1512123"/>
                <a:gd name="connsiteY20" fmla="*/ 0 h 24013"/>
                <a:gd name="connsiteX21" fmla="*/ 3812 w 1512123"/>
                <a:gd name="connsiteY21" fmla="*/ 1397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2123" h="24013">
                  <a:moveTo>
                    <a:pt x="3812" y="1397"/>
                  </a:moveTo>
                  <a:lnTo>
                    <a:pt x="5718" y="2287"/>
                  </a:lnTo>
                  <a:lnTo>
                    <a:pt x="7624" y="3684"/>
                  </a:lnTo>
                  <a:lnTo>
                    <a:pt x="9149" y="5463"/>
                  </a:lnTo>
                  <a:cubicBezTo>
                    <a:pt x="9149" y="5463"/>
                    <a:pt x="9911" y="6226"/>
                    <a:pt x="10165" y="6734"/>
                  </a:cubicBezTo>
                  <a:cubicBezTo>
                    <a:pt x="10470" y="7471"/>
                    <a:pt x="10737" y="8246"/>
                    <a:pt x="10928" y="9021"/>
                  </a:cubicBezTo>
                  <a:cubicBezTo>
                    <a:pt x="10928" y="9910"/>
                    <a:pt x="10928" y="10673"/>
                    <a:pt x="10928" y="11435"/>
                  </a:cubicBezTo>
                  <a:cubicBezTo>
                    <a:pt x="10928" y="12197"/>
                    <a:pt x="10928" y="11435"/>
                    <a:pt x="10928" y="12070"/>
                  </a:cubicBezTo>
                  <a:cubicBezTo>
                    <a:pt x="10991" y="12578"/>
                    <a:pt x="10991" y="13087"/>
                    <a:pt x="10928" y="13595"/>
                  </a:cubicBezTo>
                  <a:cubicBezTo>
                    <a:pt x="11042" y="14395"/>
                    <a:pt x="11042" y="15209"/>
                    <a:pt x="10928" y="16009"/>
                  </a:cubicBezTo>
                  <a:cubicBezTo>
                    <a:pt x="10712" y="16720"/>
                    <a:pt x="10407" y="17394"/>
                    <a:pt x="10038" y="18042"/>
                  </a:cubicBezTo>
                  <a:lnTo>
                    <a:pt x="8768" y="19948"/>
                  </a:lnTo>
                  <a:cubicBezTo>
                    <a:pt x="8221" y="20558"/>
                    <a:pt x="7573" y="21066"/>
                    <a:pt x="6861" y="21472"/>
                  </a:cubicBezTo>
                  <a:cubicBezTo>
                    <a:pt x="6544" y="21879"/>
                    <a:pt x="6163" y="22222"/>
                    <a:pt x="5718" y="22489"/>
                  </a:cubicBezTo>
                  <a:lnTo>
                    <a:pt x="3050" y="24014"/>
                  </a:lnTo>
                  <a:lnTo>
                    <a:pt x="1498908" y="24014"/>
                  </a:lnTo>
                  <a:lnTo>
                    <a:pt x="1500306" y="22489"/>
                  </a:lnTo>
                  <a:lnTo>
                    <a:pt x="1500306" y="12070"/>
                  </a:lnTo>
                  <a:cubicBezTo>
                    <a:pt x="1500611" y="5629"/>
                    <a:pt x="1505694" y="444"/>
                    <a:pt x="1512124" y="0"/>
                  </a:cubicBezTo>
                  <a:lnTo>
                    <a:pt x="0" y="0"/>
                  </a:lnTo>
                  <a:lnTo>
                    <a:pt x="1525" y="0"/>
                  </a:lnTo>
                  <a:cubicBezTo>
                    <a:pt x="2389" y="279"/>
                    <a:pt x="3164" y="762"/>
                    <a:pt x="3812" y="1397"/>
                  </a:cubicBezTo>
                  <a:close/>
                </a:path>
              </a:pathLst>
            </a:custGeom>
            <a:solidFill>
              <a:srgbClr val="000000"/>
            </a:solidFill>
            <a:ln w="12704"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4567E12E-DE8C-439D-901C-D83DE47C8D78}"/>
                </a:ext>
              </a:extLst>
            </p:cNvPr>
            <p:cNvSpPr/>
            <p:nvPr/>
          </p:nvSpPr>
          <p:spPr>
            <a:xfrm>
              <a:off x="11617522" y="6109445"/>
              <a:ext cx="576512" cy="4320"/>
            </a:xfrm>
            <a:custGeom>
              <a:avLst/>
              <a:gdLst>
                <a:gd name="connsiteX0" fmla="*/ 2287 w 576512"/>
                <a:gd name="connsiteY0" fmla="*/ 4320 h 4320"/>
                <a:gd name="connsiteX1" fmla="*/ 576513 w 576512"/>
                <a:gd name="connsiteY1" fmla="*/ 4320 h 4320"/>
                <a:gd name="connsiteX2" fmla="*/ 576513 w 576512"/>
                <a:gd name="connsiteY2" fmla="*/ 0 h 4320"/>
                <a:gd name="connsiteX3" fmla="*/ 0 w 576512"/>
                <a:gd name="connsiteY3" fmla="*/ 0 h 4320"/>
                <a:gd name="connsiteX4" fmla="*/ 2287 w 576512"/>
                <a:gd name="connsiteY4" fmla="*/ 4320 h 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512" h="4320">
                  <a:moveTo>
                    <a:pt x="2287" y="4320"/>
                  </a:moveTo>
                  <a:lnTo>
                    <a:pt x="576513" y="4320"/>
                  </a:lnTo>
                  <a:lnTo>
                    <a:pt x="576513" y="0"/>
                  </a:lnTo>
                  <a:lnTo>
                    <a:pt x="0" y="0"/>
                  </a:lnTo>
                  <a:lnTo>
                    <a:pt x="2287" y="4320"/>
                  </a:lnTo>
                  <a:close/>
                </a:path>
              </a:pathLst>
            </a:custGeom>
            <a:solidFill>
              <a:srgbClr val="000000"/>
            </a:solidFill>
            <a:ln w="12704"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8CEDDB6B-515A-4A04-AA13-115667B349FF}"/>
                </a:ext>
              </a:extLst>
            </p:cNvPr>
            <p:cNvSpPr/>
            <p:nvPr/>
          </p:nvSpPr>
          <p:spPr>
            <a:xfrm>
              <a:off x="8563159" y="5525747"/>
              <a:ext cx="1397" cy="102788"/>
            </a:xfrm>
            <a:custGeom>
              <a:avLst/>
              <a:gdLst>
                <a:gd name="connsiteX0" fmla="*/ 0 w 1397"/>
                <a:gd name="connsiteY0" fmla="*/ 102789 h 102788"/>
                <a:gd name="connsiteX1" fmla="*/ 1398 w 1397"/>
                <a:gd name="connsiteY1" fmla="*/ 100375 h 102788"/>
                <a:gd name="connsiteX2" fmla="*/ 1398 w 1397"/>
                <a:gd name="connsiteY2" fmla="*/ 29731 h 102788"/>
                <a:gd name="connsiteX3" fmla="*/ 1398 w 1397"/>
                <a:gd name="connsiteY3" fmla="*/ 0 h 102788"/>
                <a:gd name="connsiteX4" fmla="*/ 0 w 1397"/>
                <a:gd name="connsiteY4" fmla="*/ 2160 h 102788"/>
                <a:gd name="connsiteX5" fmla="*/ 0 w 1397"/>
                <a:gd name="connsiteY5" fmla="*/ 102789 h 10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7" h="102788">
                  <a:moveTo>
                    <a:pt x="0" y="102789"/>
                  </a:moveTo>
                  <a:lnTo>
                    <a:pt x="1398" y="100375"/>
                  </a:lnTo>
                  <a:lnTo>
                    <a:pt x="1398" y="29731"/>
                  </a:lnTo>
                  <a:lnTo>
                    <a:pt x="1398" y="0"/>
                  </a:lnTo>
                  <a:lnTo>
                    <a:pt x="0" y="2160"/>
                  </a:lnTo>
                  <a:lnTo>
                    <a:pt x="0" y="102789"/>
                  </a:lnTo>
                  <a:close/>
                </a:path>
              </a:pathLst>
            </a:custGeom>
            <a:solidFill>
              <a:srgbClr val="000000"/>
            </a:solidFill>
            <a:ln w="12704"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5E21A2E-2C42-45F6-A320-25523954B150}"/>
                </a:ext>
              </a:extLst>
            </p:cNvPr>
            <p:cNvSpPr/>
            <p:nvPr/>
          </p:nvSpPr>
          <p:spPr>
            <a:xfrm>
              <a:off x="9733721" y="1854938"/>
              <a:ext cx="66964" cy="23902"/>
            </a:xfrm>
            <a:custGeom>
              <a:avLst/>
              <a:gdLst>
                <a:gd name="connsiteX0" fmla="*/ 11690 w 66964"/>
                <a:gd name="connsiteY0" fmla="*/ 11197 h 23902"/>
                <a:gd name="connsiteX1" fmla="*/ 11690 w 66964"/>
                <a:gd name="connsiteY1" fmla="*/ 23903 h 23902"/>
                <a:gd name="connsiteX2" fmla="*/ 56037 w 66964"/>
                <a:gd name="connsiteY2" fmla="*/ 23903 h 23902"/>
                <a:gd name="connsiteX3" fmla="*/ 54258 w 66964"/>
                <a:gd name="connsiteY3" fmla="*/ 14246 h 23902"/>
                <a:gd name="connsiteX4" fmla="*/ 63535 w 66964"/>
                <a:gd name="connsiteY4" fmla="*/ 143 h 23902"/>
                <a:gd name="connsiteX5" fmla="*/ 66965 w 66964"/>
                <a:gd name="connsiteY5" fmla="*/ 143 h 23902"/>
                <a:gd name="connsiteX6" fmla="*/ 65695 w 66964"/>
                <a:gd name="connsiteY6" fmla="*/ 143 h 23902"/>
                <a:gd name="connsiteX7" fmla="*/ 0 w 66964"/>
                <a:gd name="connsiteY7" fmla="*/ 143 h 23902"/>
                <a:gd name="connsiteX8" fmla="*/ 11690 w 66964"/>
                <a:gd name="connsiteY8" fmla="*/ 11197 h 2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64" h="23902">
                  <a:moveTo>
                    <a:pt x="11690" y="11197"/>
                  </a:moveTo>
                  <a:lnTo>
                    <a:pt x="11690" y="23903"/>
                  </a:lnTo>
                  <a:lnTo>
                    <a:pt x="56037" y="23903"/>
                  </a:lnTo>
                  <a:lnTo>
                    <a:pt x="54258" y="14246"/>
                  </a:lnTo>
                  <a:cubicBezTo>
                    <a:pt x="52924" y="7792"/>
                    <a:pt x="57079" y="1477"/>
                    <a:pt x="63535" y="143"/>
                  </a:cubicBezTo>
                  <a:cubicBezTo>
                    <a:pt x="64665" y="-48"/>
                    <a:pt x="65834" y="-48"/>
                    <a:pt x="66965" y="143"/>
                  </a:cubicBezTo>
                  <a:lnTo>
                    <a:pt x="65695" y="143"/>
                  </a:lnTo>
                  <a:lnTo>
                    <a:pt x="0" y="143"/>
                  </a:lnTo>
                  <a:cubicBezTo>
                    <a:pt x="6188" y="194"/>
                    <a:pt x="11296" y="5022"/>
                    <a:pt x="11690" y="11197"/>
                  </a:cubicBezTo>
                  <a:close/>
                </a:path>
              </a:pathLst>
            </a:custGeom>
            <a:solidFill>
              <a:srgbClr val="000000"/>
            </a:solidFill>
            <a:ln w="12704"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6EB30D4F-92E7-4C6E-BF01-7E16E1E0F1E3}"/>
                </a:ext>
              </a:extLst>
            </p:cNvPr>
            <p:cNvSpPr/>
            <p:nvPr/>
          </p:nvSpPr>
          <p:spPr>
            <a:xfrm>
              <a:off x="5620617" y="4707375"/>
              <a:ext cx="349059" cy="4319"/>
            </a:xfrm>
            <a:custGeom>
              <a:avLst/>
              <a:gdLst>
                <a:gd name="connsiteX0" fmla="*/ 349059 w 349059"/>
                <a:gd name="connsiteY0" fmla="*/ 2160 h 4319"/>
                <a:gd name="connsiteX1" fmla="*/ 349059 w 349059"/>
                <a:gd name="connsiteY1" fmla="*/ 0 h 4319"/>
                <a:gd name="connsiteX2" fmla="*/ 12707 w 349059"/>
                <a:gd name="connsiteY2" fmla="*/ 0 h 4319"/>
                <a:gd name="connsiteX3" fmla="*/ 0 w 349059"/>
                <a:gd name="connsiteY3" fmla="*/ 4320 h 4319"/>
                <a:gd name="connsiteX4" fmla="*/ 349059 w 349059"/>
                <a:gd name="connsiteY4" fmla="*/ 4320 h 4319"/>
                <a:gd name="connsiteX5" fmla="*/ 349059 w 349059"/>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059" h="4319">
                  <a:moveTo>
                    <a:pt x="349059" y="2160"/>
                  </a:moveTo>
                  <a:lnTo>
                    <a:pt x="349059" y="0"/>
                  </a:lnTo>
                  <a:lnTo>
                    <a:pt x="12707" y="0"/>
                  </a:lnTo>
                  <a:lnTo>
                    <a:pt x="0" y="4320"/>
                  </a:lnTo>
                  <a:lnTo>
                    <a:pt x="349059" y="4320"/>
                  </a:lnTo>
                  <a:lnTo>
                    <a:pt x="349059" y="2160"/>
                  </a:lnTo>
                  <a:close/>
                </a:path>
              </a:pathLst>
            </a:custGeom>
            <a:solidFill>
              <a:srgbClr val="000000"/>
            </a:solidFill>
            <a:ln w="12704"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B8510C2A-8A30-477E-931E-6D9E115609F2}"/>
                </a:ext>
              </a:extLst>
            </p:cNvPr>
            <p:cNvSpPr/>
            <p:nvPr/>
          </p:nvSpPr>
          <p:spPr>
            <a:xfrm>
              <a:off x="8898749" y="460126"/>
              <a:ext cx="23507" cy="302013"/>
            </a:xfrm>
            <a:custGeom>
              <a:avLst/>
              <a:gdLst>
                <a:gd name="connsiteX0" fmla="*/ 23508 w 23507"/>
                <a:gd name="connsiteY0" fmla="*/ 302014 h 302013"/>
                <a:gd name="connsiteX1" fmla="*/ 23508 w 23507"/>
                <a:gd name="connsiteY1" fmla="*/ 11943 h 302013"/>
                <a:gd name="connsiteX2" fmla="*/ 11817 w 23507"/>
                <a:gd name="connsiteY2" fmla="*/ 11943 h 302013"/>
                <a:gd name="connsiteX3" fmla="*/ 0 w 23507"/>
                <a:gd name="connsiteY3" fmla="*/ 0 h 302013"/>
                <a:gd name="connsiteX4" fmla="*/ 0 w 23507"/>
                <a:gd name="connsiteY4" fmla="*/ 302014 h 302013"/>
                <a:gd name="connsiteX5" fmla="*/ 23508 w 23507"/>
                <a:gd name="connsiteY5" fmla="*/ 302014 h 30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7" h="302013">
                  <a:moveTo>
                    <a:pt x="23508" y="302014"/>
                  </a:moveTo>
                  <a:lnTo>
                    <a:pt x="23508" y="11943"/>
                  </a:lnTo>
                  <a:lnTo>
                    <a:pt x="11817" y="11943"/>
                  </a:lnTo>
                  <a:cubicBezTo>
                    <a:pt x="5273" y="11874"/>
                    <a:pt x="0" y="6547"/>
                    <a:pt x="0" y="0"/>
                  </a:cubicBezTo>
                  <a:lnTo>
                    <a:pt x="0" y="302014"/>
                  </a:lnTo>
                  <a:lnTo>
                    <a:pt x="23508" y="302014"/>
                  </a:lnTo>
                  <a:close/>
                </a:path>
              </a:pathLst>
            </a:custGeom>
            <a:solidFill>
              <a:srgbClr val="000000"/>
            </a:solidFill>
            <a:ln w="12704"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BEC08F42-4C66-4646-9068-D818CBA73BDD}"/>
                </a:ext>
              </a:extLst>
            </p:cNvPr>
            <p:cNvSpPr/>
            <p:nvPr/>
          </p:nvSpPr>
          <p:spPr>
            <a:xfrm>
              <a:off x="6830570" y="3290948"/>
              <a:ext cx="234569" cy="4319"/>
            </a:xfrm>
            <a:custGeom>
              <a:avLst/>
              <a:gdLst>
                <a:gd name="connsiteX0" fmla="*/ 234062 w 234569"/>
                <a:gd name="connsiteY0" fmla="*/ 2160 h 4319"/>
                <a:gd name="connsiteX1" fmla="*/ 234062 w 234569"/>
                <a:gd name="connsiteY1" fmla="*/ 0 h 4319"/>
                <a:gd name="connsiteX2" fmla="*/ 0 w 234569"/>
                <a:gd name="connsiteY2" fmla="*/ 0 h 4319"/>
                <a:gd name="connsiteX3" fmla="*/ 0 w 234569"/>
                <a:gd name="connsiteY3" fmla="*/ 2160 h 4319"/>
                <a:gd name="connsiteX4" fmla="*/ 0 w 234569"/>
                <a:gd name="connsiteY4" fmla="*/ 4320 h 4319"/>
                <a:gd name="connsiteX5" fmla="*/ 234570 w 234569"/>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569" h="4319">
                  <a:moveTo>
                    <a:pt x="234062" y="2160"/>
                  </a:moveTo>
                  <a:lnTo>
                    <a:pt x="234062" y="0"/>
                  </a:lnTo>
                  <a:lnTo>
                    <a:pt x="0" y="0"/>
                  </a:lnTo>
                  <a:lnTo>
                    <a:pt x="0" y="2160"/>
                  </a:lnTo>
                  <a:cubicBezTo>
                    <a:pt x="64" y="2884"/>
                    <a:pt x="64" y="3596"/>
                    <a:pt x="0" y="4320"/>
                  </a:cubicBezTo>
                  <a:lnTo>
                    <a:pt x="234570" y="4320"/>
                  </a:lnTo>
                  <a:close/>
                </a:path>
              </a:pathLst>
            </a:custGeom>
            <a:solidFill>
              <a:srgbClr val="000000"/>
            </a:solidFill>
            <a:ln w="12704"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BDFE4C6C-B773-4304-8A0F-B2A08E458AF2}"/>
                </a:ext>
              </a:extLst>
            </p:cNvPr>
            <p:cNvSpPr/>
            <p:nvPr/>
          </p:nvSpPr>
          <p:spPr>
            <a:xfrm>
              <a:off x="7698453" y="3292472"/>
              <a:ext cx="30369" cy="5336"/>
            </a:xfrm>
            <a:custGeom>
              <a:avLst/>
              <a:gdLst>
                <a:gd name="connsiteX0" fmla="*/ 30370 w 30369"/>
                <a:gd name="connsiteY0" fmla="*/ 4193 h 5336"/>
                <a:gd name="connsiteX1" fmla="*/ 30370 w 30369"/>
                <a:gd name="connsiteY1" fmla="*/ 1652 h 5336"/>
                <a:gd name="connsiteX2" fmla="*/ 30370 w 30369"/>
                <a:gd name="connsiteY2" fmla="*/ 0 h 5336"/>
                <a:gd name="connsiteX3" fmla="*/ 2033 w 30369"/>
                <a:gd name="connsiteY3" fmla="*/ 889 h 5336"/>
                <a:gd name="connsiteX4" fmla="*/ 2033 w 30369"/>
                <a:gd name="connsiteY4" fmla="*/ 3176 h 5336"/>
                <a:gd name="connsiteX5" fmla="*/ 0 w 30369"/>
                <a:gd name="connsiteY5" fmla="*/ 5336 h 5336"/>
                <a:gd name="connsiteX6" fmla="*/ 0 w 30369"/>
                <a:gd name="connsiteY6" fmla="*/ 5336 h 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69" h="5336">
                  <a:moveTo>
                    <a:pt x="30370" y="4193"/>
                  </a:moveTo>
                  <a:cubicBezTo>
                    <a:pt x="30243" y="3354"/>
                    <a:pt x="30243" y="2490"/>
                    <a:pt x="30370" y="1652"/>
                  </a:cubicBezTo>
                  <a:lnTo>
                    <a:pt x="30370" y="0"/>
                  </a:lnTo>
                  <a:lnTo>
                    <a:pt x="2033" y="889"/>
                  </a:lnTo>
                  <a:lnTo>
                    <a:pt x="2033" y="3176"/>
                  </a:lnTo>
                  <a:cubicBezTo>
                    <a:pt x="2033" y="4320"/>
                    <a:pt x="1144" y="5273"/>
                    <a:pt x="0" y="5336"/>
                  </a:cubicBezTo>
                  <a:lnTo>
                    <a:pt x="0" y="5336"/>
                  </a:lnTo>
                  <a:close/>
                </a:path>
              </a:pathLst>
            </a:custGeom>
            <a:solidFill>
              <a:srgbClr val="000000"/>
            </a:solidFill>
            <a:ln w="12704"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4FB40C3F-526E-406C-A46D-F6AAD774C69F}"/>
                </a:ext>
              </a:extLst>
            </p:cNvPr>
            <p:cNvSpPr/>
            <p:nvPr/>
          </p:nvSpPr>
          <p:spPr>
            <a:xfrm>
              <a:off x="7087758" y="3294124"/>
              <a:ext cx="609932" cy="3684"/>
            </a:xfrm>
            <a:custGeom>
              <a:avLst/>
              <a:gdLst>
                <a:gd name="connsiteX0" fmla="*/ 0 w 609932"/>
                <a:gd name="connsiteY0" fmla="*/ 3685 h 3684"/>
                <a:gd name="connsiteX1" fmla="*/ 609932 w 609932"/>
                <a:gd name="connsiteY1" fmla="*/ 3685 h 3684"/>
                <a:gd name="connsiteX2" fmla="*/ 607899 w 609932"/>
                <a:gd name="connsiteY2" fmla="*/ 1525 h 3684"/>
                <a:gd name="connsiteX3" fmla="*/ 607899 w 609932"/>
                <a:gd name="connsiteY3" fmla="*/ 0 h 3684"/>
                <a:gd name="connsiteX4" fmla="*/ 381 w 609932"/>
                <a:gd name="connsiteY4" fmla="*/ 0 h 3684"/>
                <a:gd name="connsiteX5" fmla="*/ 381 w 609932"/>
                <a:gd name="connsiteY5" fmla="*/ 2160 h 3684"/>
                <a:gd name="connsiteX6" fmla="*/ 0 w 609932"/>
                <a:gd name="connsiteY6" fmla="*/ 3685 h 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32" h="3684">
                  <a:moveTo>
                    <a:pt x="0" y="3685"/>
                  </a:moveTo>
                  <a:lnTo>
                    <a:pt x="609932" y="3685"/>
                  </a:lnTo>
                  <a:cubicBezTo>
                    <a:pt x="608789" y="3621"/>
                    <a:pt x="607899" y="2668"/>
                    <a:pt x="607899" y="1525"/>
                  </a:cubicBezTo>
                  <a:lnTo>
                    <a:pt x="607899" y="0"/>
                  </a:lnTo>
                  <a:lnTo>
                    <a:pt x="381" y="0"/>
                  </a:lnTo>
                  <a:lnTo>
                    <a:pt x="381" y="2160"/>
                  </a:lnTo>
                  <a:cubicBezTo>
                    <a:pt x="280" y="2681"/>
                    <a:pt x="153" y="3189"/>
                    <a:pt x="0" y="3685"/>
                  </a:cubicBezTo>
                  <a:close/>
                </a:path>
              </a:pathLst>
            </a:custGeom>
            <a:solidFill>
              <a:srgbClr val="000000"/>
            </a:solidFill>
            <a:ln w="12704"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8F4FDD5B-7361-4A6A-BDC5-07F16C852656}"/>
                </a:ext>
              </a:extLst>
            </p:cNvPr>
            <p:cNvSpPr/>
            <p:nvPr/>
          </p:nvSpPr>
          <p:spPr>
            <a:xfrm>
              <a:off x="8898723" y="447912"/>
              <a:ext cx="442353" cy="24157"/>
            </a:xfrm>
            <a:custGeom>
              <a:avLst/>
              <a:gdLst>
                <a:gd name="connsiteX0" fmla="*/ 11843 w 442353"/>
                <a:gd name="connsiteY0" fmla="*/ 24157 h 24157"/>
                <a:gd name="connsiteX1" fmla="*/ 432569 w 442353"/>
                <a:gd name="connsiteY1" fmla="*/ 24157 h 24157"/>
                <a:gd name="connsiteX2" fmla="*/ 430155 w 442353"/>
                <a:gd name="connsiteY2" fmla="*/ 15263 h 24157"/>
                <a:gd name="connsiteX3" fmla="*/ 438542 w 442353"/>
                <a:gd name="connsiteY3" fmla="*/ 144 h 24157"/>
                <a:gd name="connsiteX4" fmla="*/ 442354 w 442353"/>
                <a:gd name="connsiteY4" fmla="*/ 144 h 24157"/>
                <a:gd name="connsiteX5" fmla="*/ 11843 w 442353"/>
                <a:gd name="connsiteY5" fmla="*/ 144 h 24157"/>
                <a:gd name="connsiteX6" fmla="*/ 0 w 442353"/>
                <a:gd name="connsiteY6" fmla="*/ 12189 h 24157"/>
                <a:gd name="connsiteX7" fmla="*/ 26 w 442353"/>
                <a:gd name="connsiteY7" fmla="*/ 12849 h 24157"/>
                <a:gd name="connsiteX8" fmla="*/ 11843 w 442353"/>
                <a:gd name="connsiteY8" fmla="*/ 24157 h 2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353" h="24157">
                  <a:moveTo>
                    <a:pt x="11843" y="24157"/>
                  </a:moveTo>
                  <a:lnTo>
                    <a:pt x="432569" y="24157"/>
                  </a:lnTo>
                  <a:lnTo>
                    <a:pt x="430155" y="15263"/>
                  </a:lnTo>
                  <a:cubicBezTo>
                    <a:pt x="428567" y="8806"/>
                    <a:pt x="432214" y="2212"/>
                    <a:pt x="438542" y="144"/>
                  </a:cubicBezTo>
                  <a:cubicBezTo>
                    <a:pt x="439800" y="-48"/>
                    <a:pt x="441096" y="-48"/>
                    <a:pt x="442354" y="144"/>
                  </a:cubicBezTo>
                  <a:lnTo>
                    <a:pt x="11843" y="144"/>
                  </a:lnTo>
                  <a:cubicBezTo>
                    <a:pt x="5248" y="200"/>
                    <a:pt x="-50" y="5593"/>
                    <a:pt x="0" y="12189"/>
                  </a:cubicBezTo>
                  <a:cubicBezTo>
                    <a:pt x="0" y="12410"/>
                    <a:pt x="13" y="12630"/>
                    <a:pt x="26" y="12849"/>
                  </a:cubicBezTo>
                  <a:cubicBezTo>
                    <a:pt x="356" y="19147"/>
                    <a:pt x="5541" y="24099"/>
                    <a:pt x="11843" y="24157"/>
                  </a:cubicBezTo>
                  <a:close/>
                </a:path>
              </a:pathLst>
            </a:custGeom>
            <a:solidFill>
              <a:srgbClr val="000000"/>
            </a:solidFill>
            <a:ln w="12704"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1F721645-BB4C-4A95-8175-78CC63CADB1D}"/>
                </a:ext>
              </a:extLst>
            </p:cNvPr>
            <p:cNvSpPr/>
            <p:nvPr/>
          </p:nvSpPr>
          <p:spPr>
            <a:xfrm>
              <a:off x="9328636" y="448547"/>
              <a:ext cx="35360" cy="56302"/>
            </a:xfrm>
            <a:custGeom>
              <a:avLst/>
              <a:gdLst>
                <a:gd name="connsiteX0" fmla="*/ 242 w 35360"/>
                <a:gd name="connsiteY0" fmla="*/ 14628 h 56302"/>
                <a:gd name="connsiteX1" fmla="*/ 2656 w 35360"/>
                <a:gd name="connsiteY1" fmla="*/ 23522 h 56302"/>
                <a:gd name="connsiteX2" fmla="*/ 9518 w 35360"/>
                <a:gd name="connsiteY2" fmla="*/ 50204 h 56302"/>
                <a:gd name="connsiteX3" fmla="*/ 9518 w 35360"/>
                <a:gd name="connsiteY3" fmla="*/ 12214 h 56302"/>
                <a:gd name="connsiteX4" fmla="*/ 11424 w 35360"/>
                <a:gd name="connsiteY4" fmla="*/ 10058 h 56302"/>
                <a:gd name="connsiteX5" fmla="*/ 11551 w 35360"/>
                <a:gd name="connsiteY5" fmla="*/ 10054 h 56302"/>
                <a:gd name="connsiteX6" fmla="*/ 13940 w 35360"/>
                <a:gd name="connsiteY6" fmla="*/ 11662 h 56302"/>
                <a:gd name="connsiteX7" fmla="*/ 13965 w 35360"/>
                <a:gd name="connsiteY7" fmla="*/ 12214 h 56302"/>
                <a:gd name="connsiteX8" fmla="*/ 13965 w 35360"/>
                <a:gd name="connsiteY8" fmla="*/ 51983 h 56302"/>
                <a:gd name="connsiteX9" fmla="*/ 24004 w 35360"/>
                <a:gd name="connsiteY9" fmla="*/ 45884 h 56302"/>
                <a:gd name="connsiteX10" fmla="*/ 35313 w 35360"/>
                <a:gd name="connsiteY10" fmla="*/ 56303 h 56302"/>
                <a:gd name="connsiteX11" fmla="*/ 35313 w 35360"/>
                <a:gd name="connsiteY11" fmla="*/ 54778 h 56302"/>
                <a:gd name="connsiteX12" fmla="*/ 22606 w 35360"/>
                <a:gd name="connsiteY12" fmla="*/ 8402 h 56302"/>
                <a:gd name="connsiteX13" fmla="*/ 22606 w 35360"/>
                <a:gd name="connsiteY13" fmla="*/ 7640 h 56302"/>
                <a:gd name="connsiteX14" fmla="*/ 21462 w 35360"/>
                <a:gd name="connsiteY14" fmla="*/ 5480 h 56302"/>
                <a:gd name="connsiteX15" fmla="*/ 20319 w 35360"/>
                <a:gd name="connsiteY15" fmla="*/ 3701 h 56302"/>
                <a:gd name="connsiteX16" fmla="*/ 18667 w 35360"/>
                <a:gd name="connsiteY16" fmla="*/ 2177 h 56302"/>
                <a:gd name="connsiteX17" fmla="*/ 16761 w 35360"/>
                <a:gd name="connsiteY17" fmla="*/ 906 h 56302"/>
                <a:gd name="connsiteX18" fmla="*/ 14728 w 35360"/>
                <a:gd name="connsiteY18" fmla="*/ 144 h 56302"/>
                <a:gd name="connsiteX19" fmla="*/ 12440 w 35360"/>
                <a:gd name="connsiteY19" fmla="*/ 144 h 56302"/>
                <a:gd name="connsiteX20" fmla="*/ 8628 w 35360"/>
                <a:gd name="connsiteY20" fmla="*/ 144 h 56302"/>
                <a:gd name="connsiteX21" fmla="*/ 242 w 35360"/>
                <a:gd name="connsiteY21" fmla="*/ 14628 h 5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60" h="56302">
                  <a:moveTo>
                    <a:pt x="242" y="14628"/>
                  </a:moveTo>
                  <a:lnTo>
                    <a:pt x="2656" y="23522"/>
                  </a:lnTo>
                  <a:lnTo>
                    <a:pt x="9518" y="50204"/>
                  </a:lnTo>
                  <a:lnTo>
                    <a:pt x="9518" y="12214"/>
                  </a:lnTo>
                  <a:cubicBezTo>
                    <a:pt x="9442" y="11094"/>
                    <a:pt x="10293" y="10128"/>
                    <a:pt x="11424" y="10058"/>
                  </a:cubicBezTo>
                  <a:cubicBezTo>
                    <a:pt x="11462" y="10055"/>
                    <a:pt x="11513" y="10054"/>
                    <a:pt x="11551" y="10054"/>
                  </a:cubicBezTo>
                  <a:cubicBezTo>
                    <a:pt x="12656" y="9840"/>
                    <a:pt x="13724" y="10560"/>
                    <a:pt x="13940" y="11662"/>
                  </a:cubicBezTo>
                  <a:cubicBezTo>
                    <a:pt x="13965" y="11844"/>
                    <a:pt x="13978" y="12030"/>
                    <a:pt x="13965" y="12214"/>
                  </a:cubicBezTo>
                  <a:lnTo>
                    <a:pt x="13965" y="51983"/>
                  </a:lnTo>
                  <a:cubicBezTo>
                    <a:pt x="15948" y="48275"/>
                    <a:pt x="19798" y="45940"/>
                    <a:pt x="24004" y="45884"/>
                  </a:cubicBezTo>
                  <a:cubicBezTo>
                    <a:pt x="29849" y="46040"/>
                    <a:pt x="34678" y="50491"/>
                    <a:pt x="35313" y="56303"/>
                  </a:cubicBezTo>
                  <a:cubicBezTo>
                    <a:pt x="35376" y="55797"/>
                    <a:pt x="35376" y="55284"/>
                    <a:pt x="35313" y="54778"/>
                  </a:cubicBezTo>
                  <a:lnTo>
                    <a:pt x="22606" y="8402"/>
                  </a:lnTo>
                  <a:lnTo>
                    <a:pt x="22606" y="7640"/>
                  </a:lnTo>
                  <a:cubicBezTo>
                    <a:pt x="22352" y="6860"/>
                    <a:pt x="21971" y="6129"/>
                    <a:pt x="21462" y="5480"/>
                  </a:cubicBezTo>
                  <a:cubicBezTo>
                    <a:pt x="21208" y="4817"/>
                    <a:pt x="20814" y="4212"/>
                    <a:pt x="20319" y="3701"/>
                  </a:cubicBezTo>
                  <a:cubicBezTo>
                    <a:pt x="19836" y="3126"/>
                    <a:pt x="19277" y="2614"/>
                    <a:pt x="18667" y="2177"/>
                  </a:cubicBezTo>
                  <a:lnTo>
                    <a:pt x="16761" y="906"/>
                  </a:lnTo>
                  <a:cubicBezTo>
                    <a:pt x="16113" y="576"/>
                    <a:pt x="15426" y="321"/>
                    <a:pt x="14728" y="144"/>
                  </a:cubicBezTo>
                  <a:lnTo>
                    <a:pt x="12440" y="144"/>
                  </a:lnTo>
                  <a:cubicBezTo>
                    <a:pt x="11182" y="-48"/>
                    <a:pt x="9886" y="-48"/>
                    <a:pt x="8628" y="144"/>
                  </a:cubicBezTo>
                  <a:cubicBezTo>
                    <a:pt x="2593" y="2189"/>
                    <a:pt x="-991" y="8381"/>
                    <a:pt x="242" y="14628"/>
                  </a:cubicBezTo>
                  <a:close/>
                </a:path>
              </a:pathLst>
            </a:custGeom>
            <a:solidFill>
              <a:srgbClr val="000000"/>
            </a:solidFill>
            <a:ln w="12704"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32C3D2D2-DBBD-459F-96EB-4AE4B78DEBD7}"/>
                </a:ext>
              </a:extLst>
            </p:cNvPr>
            <p:cNvSpPr/>
            <p:nvPr/>
          </p:nvSpPr>
          <p:spPr>
            <a:xfrm>
              <a:off x="9337773" y="458597"/>
              <a:ext cx="4198" cy="1673086"/>
            </a:xfrm>
            <a:custGeom>
              <a:avLst/>
              <a:gdLst>
                <a:gd name="connsiteX0" fmla="*/ 2414 w 4198"/>
                <a:gd name="connsiteY0" fmla="*/ 1673086 h 1673086"/>
                <a:gd name="connsiteX1" fmla="*/ 2414 w 4198"/>
                <a:gd name="connsiteY1" fmla="*/ 1673086 h 1673086"/>
                <a:gd name="connsiteX2" fmla="*/ 2414 w 4198"/>
                <a:gd name="connsiteY2" fmla="*/ 47778 h 1673086"/>
                <a:gd name="connsiteX3" fmla="*/ 4194 w 4198"/>
                <a:gd name="connsiteY3" fmla="*/ 41933 h 1673086"/>
                <a:gd name="connsiteX4" fmla="*/ 4194 w 4198"/>
                <a:gd name="connsiteY4" fmla="*/ 2164 h 1673086"/>
                <a:gd name="connsiteX5" fmla="*/ 2300 w 4198"/>
                <a:gd name="connsiteY5" fmla="*/ 4 h 1673086"/>
                <a:gd name="connsiteX6" fmla="*/ 2033 w 4198"/>
                <a:gd name="connsiteY6" fmla="*/ 4 h 1673086"/>
                <a:gd name="connsiteX7" fmla="*/ 0 w 4198"/>
                <a:gd name="connsiteY7" fmla="*/ 2033 h 1673086"/>
                <a:gd name="connsiteX8" fmla="*/ 0 w 4198"/>
                <a:gd name="connsiteY8" fmla="*/ 2164 h 1673086"/>
                <a:gd name="connsiteX9" fmla="*/ 0 w 4198"/>
                <a:gd name="connsiteY9" fmla="*/ 1673086 h 167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 h="1673086">
                  <a:moveTo>
                    <a:pt x="2414" y="1673086"/>
                  </a:moveTo>
                  <a:lnTo>
                    <a:pt x="2414" y="1673086"/>
                  </a:lnTo>
                  <a:lnTo>
                    <a:pt x="2414" y="47778"/>
                  </a:lnTo>
                  <a:cubicBezTo>
                    <a:pt x="2478" y="45706"/>
                    <a:pt x="3088" y="43689"/>
                    <a:pt x="4194" y="41933"/>
                  </a:cubicBezTo>
                  <a:lnTo>
                    <a:pt x="4194" y="2164"/>
                  </a:lnTo>
                  <a:cubicBezTo>
                    <a:pt x="4270" y="1044"/>
                    <a:pt x="3418" y="77"/>
                    <a:pt x="2300" y="4"/>
                  </a:cubicBezTo>
                  <a:cubicBezTo>
                    <a:pt x="2211" y="-1"/>
                    <a:pt x="2122" y="-1"/>
                    <a:pt x="2033" y="4"/>
                  </a:cubicBezTo>
                  <a:cubicBezTo>
                    <a:pt x="915" y="2"/>
                    <a:pt x="0" y="910"/>
                    <a:pt x="0" y="2033"/>
                  </a:cubicBezTo>
                  <a:cubicBezTo>
                    <a:pt x="0" y="2077"/>
                    <a:pt x="0" y="2121"/>
                    <a:pt x="0" y="2164"/>
                  </a:cubicBezTo>
                  <a:lnTo>
                    <a:pt x="0" y="1673086"/>
                  </a:lnTo>
                  <a:close/>
                </a:path>
              </a:pathLst>
            </a:custGeom>
            <a:solidFill>
              <a:srgbClr val="000000"/>
            </a:solidFill>
            <a:ln w="12704"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25B03046-3276-4F88-AF53-099E14FD5589}"/>
                </a:ext>
              </a:extLst>
            </p:cNvPr>
            <p:cNvSpPr/>
            <p:nvPr/>
          </p:nvSpPr>
          <p:spPr>
            <a:xfrm>
              <a:off x="9340568" y="494431"/>
              <a:ext cx="23555" cy="1637252"/>
            </a:xfrm>
            <a:custGeom>
              <a:avLst/>
              <a:gdLst>
                <a:gd name="connsiteX0" fmla="*/ 11817 w 23555"/>
                <a:gd name="connsiteY0" fmla="*/ 0 h 1637252"/>
                <a:gd name="connsiteX1" fmla="*/ 1779 w 23555"/>
                <a:gd name="connsiteY1" fmla="*/ 6099 h 1637252"/>
                <a:gd name="connsiteX2" fmla="*/ 0 w 23555"/>
                <a:gd name="connsiteY2" fmla="*/ 11944 h 1637252"/>
                <a:gd name="connsiteX3" fmla="*/ 0 w 23555"/>
                <a:gd name="connsiteY3" fmla="*/ 1637252 h 1637252"/>
                <a:gd name="connsiteX4" fmla="*/ 23508 w 23555"/>
                <a:gd name="connsiteY4" fmla="*/ 1637252 h 1637252"/>
                <a:gd name="connsiteX5" fmla="*/ 23508 w 23555"/>
                <a:gd name="connsiteY5" fmla="*/ 11944 h 1637252"/>
                <a:gd name="connsiteX6" fmla="*/ 23508 w 23555"/>
                <a:gd name="connsiteY6" fmla="*/ 10419 h 1637252"/>
                <a:gd name="connsiteX7" fmla="*/ 11817 w 23555"/>
                <a:gd name="connsiteY7" fmla="*/ 0 h 1637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55" h="1637252">
                  <a:moveTo>
                    <a:pt x="11817" y="0"/>
                  </a:moveTo>
                  <a:cubicBezTo>
                    <a:pt x="7611" y="56"/>
                    <a:pt x="3761" y="2392"/>
                    <a:pt x="1779" y="6099"/>
                  </a:cubicBezTo>
                  <a:cubicBezTo>
                    <a:pt x="674" y="7855"/>
                    <a:pt x="64" y="9872"/>
                    <a:pt x="0" y="11944"/>
                  </a:cubicBezTo>
                  <a:lnTo>
                    <a:pt x="0" y="1637252"/>
                  </a:lnTo>
                  <a:lnTo>
                    <a:pt x="23508" y="1637252"/>
                  </a:lnTo>
                  <a:lnTo>
                    <a:pt x="23508" y="11944"/>
                  </a:lnTo>
                  <a:cubicBezTo>
                    <a:pt x="23571" y="11437"/>
                    <a:pt x="23571" y="10925"/>
                    <a:pt x="23508" y="10419"/>
                  </a:cubicBezTo>
                  <a:cubicBezTo>
                    <a:pt x="22860" y="4464"/>
                    <a:pt x="17802" y="-35"/>
                    <a:pt x="11817" y="0"/>
                  </a:cubicBezTo>
                  <a:close/>
                </a:path>
              </a:pathLst>
            </a:custGeom>
            <a:solidFill>
              <a:srgbClr val="000000"/>
            </a:solidFill>
            <a:ln w="12704"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E6CA88F3-8D22-408D-85C6-853B8560002F}"/>
                </a:ext>
              </a:extLst>
            </p:cNvPr>
            <p:cNvSpPr/>
            <p:nvPr/>
          </p:nvSpPr>
          <p:spPr>
            <a:xfrm>
              <a:off x="7076449" y="1542280"/>
              <a:ext cx="622130" cy="23874"/>
            </a:xfrm>
            <a:custGeom>
              <a:avLst/>
              <a:gdLst>
                <a:gd name="connsiteX0" fmla="*/ 11690 w 622130"/>
                <a:gd name="connsiteY0" fmla="*/ 11169 h 23874"/>
                <a:gd name="connsiteX1" fmla="*/ 11690 w 622130"/>
                <a:gd name="connsiteY1" fmla="*/ 23874 h 23874"/>
                <a:gd name="connsiteX2" fmla="*/ 617302 w 622130"/>
                <a:gd name="connsiteY2" fmla="*/ 23874 h 23874"/>
                <a:gd name="connsiteX3" fmla="*/ 614380 w 622130"/>
                <a:gd name="connsiteY3" fmla="*/ 21714 h 23874"/>
                <a:gd name="connsiteX4" fmla="*/ 611330 w 622130"/>
                <a:gd name="connsiteY4" fmla="*/ 5070 h 23874"/>
                <a:gd name="connsiteX5" fmla="*/ 622131 w 622130"/>
                <a:gd name="connsiteY5" fmla="*/ 115 h 23874"/>
                <a:gd name="connsiteX6" fmla="*/ 620987 w 622130"/>
                <a:gd name="connsiteY6" fmla="*/ 115 h 23874"/>
                <a:gd name="connsiteX7" fmla="*/ 0 w 622130"/>
                <a:gd name="connsiteY7" fmla="*/ 115 h 23874"/>
                <a:gd name="connsiteX8" fmla="*/ 11690 w 622130"/>
                <a:gd name="connsiteY8" fmla="*/ 11169 h 2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0" h="23874">
                  <a:moveTo>
                    <a:pt x="11690" y="11169"/>
                  </a:moveTo>
                  <a:lnTo>
                    <a:pt x="11690" y="23874"/>
                  </a:lnTo>
                  <a:lnTo>
                    <a:pt x="617302" y="23874"/>
                  </a:lnTo>
                  <a:lnTo>
                    <a:pt x="614380" y="21714"/>
                  </a:lnTo>
                  <a:cubicBezTo>
                    <a:pt x="609284" y="17749"/>
                    <a:pt x="607963" y="10587"/>
                    <a:pt x="611330" y="5070"/>
                  </a:cubicBezTo>
                  <a:cubicBezTo>
                    <a:pt x="613643" y="1434"/>
                    <a:pt x="617874" y="-507"/>
                    <a:pt x="622131" y="115"/>
                  </a:cubicBezTo>
                  <a:lnTo>
                    <a:pt x="620987" y="115"/>
                  </a:lnTo>
                  <a:lnTo>
                    <a:pt x="0" y="115"/>
                  </a:lnTo>
                  <a:cubicBezTo>
                    <a:pt x="6188" y="168"/>
                    <a:pt x="11297" y="4991"/>
                    <a:pt x="11690" y="11169"/>
                  </a:cubicBezTo>
                  <a:close/>
                </a:path>
              </a:pathLst>
            </a:custGeom>
            <a:solidFill>
              <a:srgbClr val="000000"/>
            </a:solidFill>
            <a:ln w="12704"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FE88302-A9BD-4802-A79D-8C272EBA2A26}"/>
                </a:ext>
              </a:extLst>
            </p:cNvPr>
            <p:cNvSpPr/>
            <p:nvPr/>
          </p:nvSpPr>
          <p:spPr>
            <a:xfrm>
              <a:off x="7685920" y="1542256"/>
              <a:ext cx="60945" cy="47149"/>
            </a:xfrm>
            <a:custGeom>
              <a:avLst/>
              <a:gdLst>
                <a:gd name="connsiteX0" fmla="*/ 1858 w 60945"/>
                <a:gd name="connsiteY0" fmla="*/ 3950 h 47149"/>
                <a:gd name="connsiteX1" fmla="*/ 4908 w 60945"/>
                <a:gd name="connsiteY1" fmla="*/ 20594 h 47149"/>
                <a:gd name="connsiteX2" fmla="*/ 7831 w 60945"/>
                <a:gd name="connsiteY2" fmla="*/ 22754 h 47149"/>
                <a:gd name="connsiteX3" fmla="*/ 9483 w 60945"/>
                <a:gd name="connsiteY3" fmla="*/ 23898 h 47149"/>
                <a:gd name="connsiteX4" fmla="*/ 9483 w 60945"/>
                <a:gd name="connsiteY4" fmla="*/ 11192 h 47149"/>
                <a:gd name="connsiteX5" fmla="*/ 11516 w 60945"/>
                <a:gd name="connsiteY5" fmla="*/ 9159 h 47149"/>
                <a:gd name="connsiteX6" fmla="*/ 13549 w 60945"/>
                <a:gd name="connsiteY6" fmla="*/ 11192 h 47149"/>
                <a:gd name="connsiteX7" fmla="*/ 13549 w 60945"/>
                <a:gd name="connsiteY7" fmla="*/ 27328 h 47149"/>
                <a:gd name="connsiteX8" fmla="*/ 41885 w 60945"/>
                <a:gd name="connsiteY8" fmla="*/ 47149 h 47149"/>
                <a:gd name="connsiteX9" fmla="*/ 41885 w 60945"/>
                <a:gd name="connsiteY9" fmla="*/ 40796 h 47149"/>
                <a:gd name="connsiteX10" fmla="*/ 53093 w 60945"/>
                <a:gd name="connsiteY10" fmla="*/ 28890 h 47149"/>
                <a:gd name="connsiteX11" fmla="*/ 60946 w 60945"/>
                <a:gd name="connsiteY11" fmla="*/ 31648 h 47149"/>
                <a:gd name="connsiteX12" fmla="*/ 60183 w 60945"/>
                <a:gd name="connsiteY12" fmla="*/ 30886 h 47149"/>
                <a:gd name="connsiteX13" fmla="*/ 18123 w 60945"/>
                <a:gd name="connsiteY13" fmla="*/ 1282 h 47149"/>
                <a:gd name="connsiteX14" fmla="*/ 17107 w 60945"/>
                <a:gd name="connsiteY14" fmla="*/ 1282 h 47149"/>
                <a:gd name="connsiteX15" fmla="*/ 14946 w 60945"/>
                <a:gd name="connsiteY15" fmla="*/ 265 h 47149"/>
                <a:gd name="connsiteX16" fmla="*/ 12659 w 60945"/>
                <a:gd name="connsiteY16" fmla="*/ 265 h 47149"/>
                <a:gd name="connsiteX17" fmla="*/ 1858 w 60945"/>
                <a:gd name="connsiteY17" fmla="*/ 3950 h 4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945" h="47149">
                  <a:moveTo>
                    <a:pt x="1858" y="3950"/>
                  </a:moveTo>
                  <a:cubicBezTo>
                    <a:pt x="-1509" y="9467"/>
                    <a:pt x="-187" y="16629"/>
                    <a:pt x="4908" y="20594"/>
                  </a:cubicBezTo>
                  <a:lnTo>
                    <a:pt x="7831" y="22754"/>
                  </a:lnTo>
                  <a:lnTo>
                    <a:pt x="9483" y="23898"/>
                  </a:lnTo>
                  <a:lnTo>
                    <a:pt x="9483" y="11192"/>
                  </a:lnTo>
                  <a:cubicBezTo>
                    <a:pt x="9483" y="10069"/>
                    <a:pt x="10397" y="9159"/>
                    <a:pt x="11516" y="9159"/>
                  </a:cubicBezTo>
                  <a:cubicBezTo>
                    <a:pt x="12634" y="9159"/>
                    <a:pt x="13549" y="10069"/>
                    <a:pt x="13549" y="11192"/>
                  </a:cubicBezTo>
                  <a:lnTo>
                    <a:pt x="13549" y="27328"/>
                  </a:lnTo>
                  <a:lnTo>
                    <a:pt x="41885" y="47149"/>
                  </a:lnTo>
                  <a:lnTo>
                    <a:pt x="41885" y="40796"/>
                  </a:lnTo>
                  <a:cubicBezTo>
                    <a:pt x="41695" y="34414"/>
                    <a:pt x="46714" y="29083"/>
                    <a:pt x="53093" y="28890"/>
                  </a:cubicBezTo>
                  <a:cubicBezTo>
                    <a:pt x="55965" y="28802"/>
                    <a:pt x="58760" y="29785"/>
                    <a:pt x="60946" y="31648"/>
                  </a:cubicBezTo>
                  <a:cubicBezTo>
                    <a:pt x="60946" y="31648"/>
                    <a:pt x="60946" y="31648"/>
                    <a:pt x="60183" y="30886"/>
                  </a:cubicBezTo>
                  <a:lnTo>
                    <a:pt x="18123" y="1282"/>
                  </a:lnTo>
                  <a:lnTo>
                    <a:pt x="17107" y="1282"/>
                  </a:lnTo>
                  <a:lnTo>
                    <a:pt x="14946" y="265"/>
                  </a:lnTo>
                  <a:cubicBezTo>
                    <a:pt x="14184" y="144"/>
                    <a:pt x="13422" y="144"/>
                    <a:pt x="12659" y="265"/>
                  </a:cubicBezTo>
                  <a:cubicBezTo>
                    <a:pt x="8657" y="-633"/>
                    <a:pt x="4476" y="790"/>
                    <a:pt x="1858" y="3950"/>
                  </a:cubicBezTo>
                  <a:close/>
                </a:path>
              </a:pathLst>
            </a:custGeom>
            <a:solidFill>
              <a:srgbClr val="000000"/>
            </a:solidFill>
            <a:ln w="12704"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4AA08490-8263-4FF5-B365-70F6464C1144}"/>
                </a:ext>
              </a:extLst>
            </p:cNvPr>
            <p:cNvSpPr/>
            <p:nvPr/>
          </p:nvSpPr>
          <p:spPr>
            <a:xfrm>
              <a:off x="7695403" y="1551415"/>
              <a:ext cx="4066" cy="1746266"/>
            </a:xfrm>
            <a:custGeom>
              <a:avLst/>
              <a:gdLst>
                <a:gd name="connsiteX0" fmla="*/ 0 w 4066"/>
                <a:gd name="connsiteY0" fmla="*/ 1744234 h 1746266"/>
                <a:gd name="connsiteX1" fmla="*/ 2033 w 4066"/>
                <a:gd name="connsiteY1" fmla="*/ 1746267 h 1746266"/>
                <a:gd name="connsiteX2" fmla="*/ 4066 w 4066"/>
                <a:gd name="connsiteY2" fmla="*/ 1744234 h 1746266"/>
                <a:gd name="connsiteX3" fmla="*/ 4066 w 4066"/>
                <a:gd name="connsiteY3" fmla="*/ 2033 h 1746266"/>
                <a:gd name="connsiteX4" fmla="*/ 2033 w 4066"/>
                <a:gd name="connsiteY4" fmla="*/ 0 h 1746266"/>
                <a:gd name="connsiteX5" fmla="*/ 0 w 4066"/>
                <a:gd name="connsiteY5" fmla="*/ 2033 h 1746266"/>
                <a:gd name="connsiteX6" fmla="*/ 0 w 4066"/>
                <a:gd name="connsiteY6" fmla="*/ 1744234 h 174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6" h="1746266">
                  <a:moveTo>
                    <a:pt x="0" y="1744234"/>
                  </a:moveTo>
                  <a:cubicBezTo>
                    <a:pt x="0" y="1745352"/>
                    <a:pt x="915" y="1746267"/>
                    <a:pt x="2033" y="1746267"/>
                  </a:cubicBezTo>
                  <a:cubicBezTo>
                    <a:pt x="3152" y="1746267"/>
                    <a:pt x="4066" y="1745352"/>
                    <a:pt x="4066" y="1744234"/>
                  </a:cubicBezTo>
                  <a:lnTo>
                    <a:pt x="4066" y="2033"/>
                  </a:lnTo>
                  <a:cubicBezTo>
                    <a:pt x="4066" y="910"/>
                    <a:pt x="3152" y="0"/>
                    <a:pt x="2033" y="0"/>
                  </a:cubicBezTo>
                  <a:cubicBezTo>
                    <a:pt x="915" y="0"/>
                    <a:pt x="0" y="910"/>
                    <a:pt x="0" y="2033"/>
                  </a:cubicBezTo>
                  <a:lnTo>
                    <a:pt x="0" y="1744234"/>
                  </a:lnTo>
                  <a:close/>
                </a:path>
              </a:pathLst>
            </a:custGeom>
            <a:solidFill>
              <a:srgbClr val="000000"/>
            </a:solidFill>
            <a:ln w="12704"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B93A2792-FA05-40A8-8EB2-05AF2064E18F}"/>
                </a:ext>
              </a:extLst>
            </p:cNvPr>
            <p:cNvSpPr/>
            <p:nvPr/>
          </p:nvSpPr>
          <p:spPr>
            <a:xfrm>
              <a:off x="6818753" y="2046301"/>
              <a:ext cx="245878" cy="24013"/>
            </a:xfrm>
            <a:custGeom>
              <a:avLst/>
              <a:gdLst>
                <a:gd name="connsiteX0" fmla="*/ 11817 w 245878"/>
                <a:gd name="connsiteY0" fmla="*/ 12070 h 24013"/>
                <a:gd name="connsiteX1" fmla="*/ 11817 w 245878"/>
                <a:gd name="connsiteY1" fmla="*/ 24014 h 24013"/>
                <a:gd name="connsiteX2" fmla="*/ 245879 w 245878"/>
                <a:gd name="connsiteY2" fmla="*/ 24014 h 24013"/>
                <a:gd name="connsiteX3" fmla="*/ 245879 w 245878"/>
                <a:gd name="connsiteY3" fmla="*/ 0 h 24013"/>
                <a:gd name="connsiteX4" fmla="*/ 0 w 245878"/>
                <a:gd name="connsiteY4" fmla="*/ 0 h 24013"/>
                <a:gd name="connsiteX5" fmla="*/ 11817 w 245878"/>
                <a:gd name="connsiteY5"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878" h="24013">
                  <a:moveTo>
                    <a:pt x="11817" y="12070"/>
                  </a:moveTo>
                  <a:lnTo>
                    <a:pt x="11817" y="24014"/>
                  </a:lnTo>
                  <a:lnTo>
                    <a:pt x="245879" y="24014"/>
                  </a:lnTo>
                  <a:lnTo>
                    <a:pt x="245879" y="0"/>
                  </a:lnTo>
                  <a:lnTo>
                    <a:pt x="0" y="0"/>
                  </a:lnTo>
                  <a:cubicBezTo>
                    <a:pt x="6429" y="445"/>
                    <a:pt x="11513" y="5629"/>
                    <a:pt x="11817" y="12070"/>
                  </a:cubicBezTo>
                  <a:close/>
                </a:path>
              </a:pathLst>
            </a:custGeom>
            <a:solidFill>
              <a:srgbClr val="000000"/>
            </a:solidFill>
            <a:ln w="12704"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E9145088-9E2D-4AB5-A0AE-FB8A301C9C5C}"/>
                </a:ext>
              </a:extLst>
            </p:cNvPr>
            <p:cNvSpPr/>
            <p:nvPr/>
          </p:nvSpPr>
          <p:spPr>
            <a:xfrm>
              <a:off x="7774313" y="1829924"/>
              <a:ext cx="42441" cy="39768"/>
            </a:xfrm>
            <a:custGeom>
              <a:avLst/>
              <a:gdLst>
                <a:gd name="connsiteX0" fmla="*/ 9657 w 42441"/>
                <a:gd name="connsiteY0" fmla="*/ 10292 h 39768"/>
                <a:gd name="connsiteX1" fmla="*/ 0 w 42441"/>
                <a:gd name="connsiteY1" fmla="*/ 21854 h 39768"/>
                <a:gd name="connsiteX2" fmla="*/ 0 w 42441"/>
                <a:gd name="connsiteY2" fmla="*/ 25538 h 39768"/>
                <a:gd name="connsiteX3" fmla="*/ 23762 w 42441"/>
                <a:gd name="connsiteY3" fmla="*/ 39769 h 39768"/>
                <a:gd name="connsiteX4" fmla="*/ 23762 w 42441"/>
                <a:gd name="connsiteY4" fmla="*/ 32908 h 39768"/>
                <a:gd name="connsiteX5" fmla="*/ 35452 w 42441"/>
                <a:gd name="connsiteY5" fmla="*/ 20837 h 39768"/>
                <a:gd name="connsiteX6" fmla="*/ 42441 w 42441"/>
                <a:gd name="connsiteY6" fmla="*/ 23505 h 39768"/>
                <a:gd name="connsiteX7" fmla="*/ 41425 w 42441"/>
                <a:gd name="connsiteY7" fmla="*/ 22489 h 39768"/>
                <a:gd name="connsiteX8" fmla="*/ 3304 w 42441"/>
                <a:gd name="connsiteY8" fmla="*/ 0 h 39768"/>
                <a:gd name="connsiteX9" fmla="*/ 2669 w 42441"/>
                <a:gd name="connsiteY9" fmla="*/ 0 h 39768"/>
                <a:gd name="connsiteX10" fmla="*/ 9657 w 42441"/>
                <a:gd name="connsiteY10" fmla="*/ 10292 h 3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441" h="39768">
                  <a:moveTo>
                    <a:pt x="9657" y="10292"/>
                  </a:moveTo>
                  <a:cubicBezTo>
                    <a:pt x="9683" y="15984"/>
                    <a:pt x="5604" y="20863"/>
                    <a:pt x="0" y="21854"/>
                  </a:cubicBezTo>
                  <a:lnTo>
                    <a:pt x="0" y="25538"/>
                  </a:lnTo>
                  <a:lnTo>
                    <a:pt x="23762" y="39769"/>
                  </a:lnTo>
                  <a:lnTo>
                    <a:pt x="23762" y="32908"/>
                  </a:lnTo>
                  <a:cubicBezTo>
                    <a:pt x="23686" y="26364"/>
                    <a:pt x="28909" y="20977"/>
                    <a:pt x="35452" y="20837"/>
                  </a:cubicBezTo>
                  <a:cubicBezTo>
                    <a:pt x="38019" y="20913"/>
                    <a:pt x="40484" y="21854"/>
                    <a:pt x="42441" y="23505"/>
                  </a:cubicBezTo>
                  <a:cubicBezTo>
                    <a:pt x="42441" y="23505"/>
                    <a:pt x="41806" y="22743"/>
                    <a:pt x="41425" y="22489"/>
                  </a:cubicBezTo>
                  <a:lnTo>
                    <a:pt x="3304" y="0"/>
                  </a:lnTo>
                  <a:lnTo>
                    <a:pt x="2669" y="0"/>
                  </a:lnTo>
                  <a:cubicBezTo>
                    <a:pt x="6786" y="1804"/>
                    <a:pt x="9492" y="5806"/>
                    <a:pt x="9657" y="10292"/>
                  </a:cubicBezTo>
                  <a:close/>
                </a:path>
              </a:pathLst>
            </a:custGeom>
            <a:solidFill>
              <a:srgbClr val="000000"/>
            </a:solidFill>
            <a:ln w="12704"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D4924F02-8877-4F4D-8F48-B7E4AAC741FC}"/>
                </a:ext>
              </a:extLst>
            </p:cNvPr>
            <p:cNvSpPr/>
            <p:nvPr/>
          </p:nvSpPr>
          <p:spPr>
            <a:xfrm>
              <a:off x="7768976" y="1852285"/>
              <a:ext cx="1143" cy="635"/>
            </a:xfrm>
            <a:custGeom>
              <a:avLst/>
              <a:gdLst>
                <a:gd name="connsiteX0" fmla="*/ 1144 w 1143"/>
                <a:gd name="connsiteY0" fmla="*/ 0 h 635"/>
                <a:gd name="connsiteX1" fmla="*/ 0 w 1143"/>
                <a:gd name="connsiteY1" fmla="*/ 0 h 635"/>
                <a:gd name="connsiteX2" fmla="*/ 1144 w 1143"/>
                <a:gd name="connsiteY2" fmla="*/ 635 h 635"/>
                <a:gd name="connsiteX3" fmla="*/ 1144 w 1143"/>
                <a:gd name="connsiteY3" fmla="*/ 0 h 635"/>
              </a:gdLst>
              <a:ahLst/>
              <a:cxnLst>
                <a:cxn ang="0">
                  <a:pos x="connsiteX0" y="connsiteY0"/>
                </a:cxn>
                <a:cxn ang="0">
                  <a:pos x="connsiteX1" y="connsiteY1"/>
                </a:cxn>
                <a:cxn ang="0">
                  <a:pos x="connsiteX2" y="connsiteY2"/>
                </a:cxn>
                <a:cxn ang="0">
                  <a:pos x="connsiteX3" y="connsiteY3"/>
                </a:cxn>
              </a:cxnLst>
              <a:rect l="l" t="t" r="r" b="b"/>
              <a:pathLst>
                <a:path w="1143" h="635">
                  <a:moveTo>
                    <a:pt x="1144" y="0"/>
                  </a:moveTo>
                  <a:lnTo>
                    <a:pt x="0" y="0"/>
                  </a:lnTo>
                  <a:lnTo>
                    <a:pt x="1144" y="635"/>
                  </a:lnTo>
                  <a:lnTo>
                    <a:pt x="1144" y="0"/>
                  </a:lnTo>
                  <a:close/>
                </a:path>
              </a:pathLst>
            </a:custGeom>
            <a:solidFill>
              <a:srgbClr val="000000"/>
            </a:solidFill>
            <a:ln w="12704"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D4CF8057-1E90-4E1E-ACDC-9C03DF1AC38D}"/>
                </a:ext>
              </a:extLst>
            </p:cNvPr>
            <p:cNvSpPr/>
            <p:nvPr/>
          </p:nvSpPr>
          <p:spPr>
            <a:xfrm>
              <a:off x="7751187" y="1828145"/>
              <a:ext cx="32706" cy="24140"/>
            </a:xfrm>
            <a:custGeom>
              <a:avLst/>
              <a:gdLst>
                <a:gd name="connsiteX0" fmla="*/ 0 w 32706"/>
                <a:gd name="connsiteY0" fmla="*/ 24141 h 24140"/>
                <a:gd name="connsiteX1" fmla="*/ 18933 w 32706"/>
                <a:gd name="connsiteY1" fmla="*/ 24141 h 24140"/>
                <a:gd name="connsiteX2" fmla="*/ 18933 w 32706"/>
                <a:gd name="connsiteY2" fmla="*/ 11435 h 24140"/>
                <a:gd name="connsiteX3" fmla="*/ 20966 w 32706"/>
                <a:gd name="connsiteY3" fmla="*/ 9275 h 24140"/>
                <a:gd name="connsiteX4" fmla="*/ 23126 w 32706"/>
                <a:gd name="connsiteY4" fmla="*/ 11435 h 24140"/>
                <a:gd name="connsiteX5" fmla="*/ 23126 w 32706"/>
                <a:gd name="connsiteY5" fmla="*/ 22997 h 24140"/>
                <a:gd name="connsiteX6" fmla="*/ 32491 w 32706"/>
                <a:gd name="connsiteY6" fmla="*/ 9161 h 24140"/>
                <a:gd name="connsiteX7" fmla="*/ 26303 w 32706"/>
                <a:gd name="connsiteY7" fmla="*/ 889 h 24140"/>
                <a:gd name="connsiteX8" fmla="*/ 24016 w 32706"/>
                <a:gd name="connsiteY8" fmla="*/ 0 h 24140"/>
                <a:gd name="connsiteX9" fmla="*/ 21729 w 32706"/>
                <a:gd name="connsiteY9" fmla="*/ 0 h 24140"/>
                <a:gd name="connsiteX10" fmla="*/ 0 w 32706"/>
                <a:gd name="connsiteY10" fmla="*/ 0 h 24140"/>
                <a:gd name="connsiteX11" fmla="*/ 0 w 32706"/>
                <a:gd name="connsiteY11" fmla="*/ 24014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706" h="24140">
                  <a:moveTo>
                    <a:pt x="0" y="24141"/>
                  </a:moveTo>
                  <a:lnTo>
                    <a:pt x="18933" y="24141"/>
                  </a:lnTo>
                  <a:lnTo>
                    <a:pt x="18933" y="11435"/>
                  </a:lnTo>
                  <a:cubicBezTo>
                    <a:pt x="18933" y="10292"/>
                    <a:pt x="19823" y="9339"/>
                    <a:pt x="20966" y="9275"/>
                  </a:cubicBezTo>
                  <a:cubicBezTo>
                    <a:pt x="22136" y="9339"/>
                    <a:pt x="23063" y="10266"/>
                    <a:pt x="23126" y="11435"/>
                  </a:cubicBezTo>
                  <a:lnTo>
                    <a:pt x="23126" y="22997"/>
                  </a:lnTo>
                  <a:cubicBezTo>
                    <a:pt x="29531" y="21765"/>
                    <a:pt x="33724" y="15564"/>
                    <a:pt x="32491" y="9161"/>
                  </a:cubicBezTo>
                  <a:cubicBezTo>
                    <a:pt x="31805" y="5603"/>
                    <a:pt x="29531" y="2554"/>
                    <a:pt x="26303" y="889"/>
                  </a:cubicBezTo>
                  <a:lnTo>
                    <a:pt x="24016" y="0"/>
                  </a:lnTo>
                  <a:lnTo>
                    <a:pt x="21729" y="0"/>
                  </a:lnTo>
                  <a:lnTo>
                    <a:pt x="0" y="0"/>
                  </a:lnTo>
                  <a:lnTo>
                    <a:pt x="0" y="24014"/>
                  </a:lnTo>
                  <a:close/>
                </a:path>
              </a:pathLst>
            </a:custGeom>
            <a:solidFill>
              <a:srgbClr val="000000"/>
            </a:solidFill>
            <a:ln w="12704"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40EB6875-B721-4722-9194-CD35FCD68276}"/>
                </a:ext>
              </a:extLst>
            </p:cNvPr>
            <p:cNvSpPr/>
            <p:nvPr/>
          </p:nvSpPr>
          <p:spPr>
            <a:xfrm>
              <a:off x="7798075" y="1850750"/>
              <a:ext cx="23564" cy="1428127"/>
            </a:xfrm>
            <a:custGeom>
              <a:avLst/>
              <a:gdLst>
                <a:gd name="connsiteX0" fmla="*/ 0 w 23564"/>
                <a:gd name="connsiteY0" fmla="*/ 12081 h 1428127"/>
                <a:gd name="connsiteX1" fmla="*/ 0 w 23564"/>
                <a:gd name="connsiteY1" fmla="*/ 1428128 h 1428127"/>
                <a:gd name="connsiteX2" fmla="*/ 23507 w 23564"/>
                <a:gd name="connsiteY2" fmla="*/ 1428128 h 1428127"/>
                <a:gd name="connsiteX3" fmla="*/ 23507 w 23564"/>
                <a:gd name="connsiteY3" fmla="*/ 12081 h 1428127"/>
                <a:gd name="connsiteX4" fmla="*/ 23507 w 23564"/>
                <a:gd name="connsiteY4" fmla="*/ 10684 h 1428127"/>
                <a:gd name="connsiteX5" fmla="*/ 23507 w 23564"/>
                <a:gd name="connsiteY5" fmla="*/ 8270 h 1428127"/>
                <a:gd name="connsiteX6" fmla="*/ 22491 w 23564"/>
                <a:gd name="connsiteY6" fmla="*/ 6237 h 1428127"/>
                <a:gd name="connsiteX7" fmla="*/ 21348 w 23564"/>
                <a:gd name="connsiteY7" fmla="*/ 4331 h 1428127"/>
                <a:gd name="connsiteX8" fmla="*/ 19442 w 23564"/>
                <a:gd name="connsiteY8" fmla="*/ 2679 h 1428127"/>
                <a:gd name="connsiteX9" fmla="*/ 12453 w 23564"/>
                <a:gd name="connsiteY9" fmla="*/ 11 h 1428127"/>
                <a:gd name="connsiteX10" fmla="*/ 12 w 23564"/>
                <a:gd name="connsiteY10" fmla="*/ 11433 h 1428127"/>
                <a:gd name="connsiteX11" fmla="*/ 0 w 23564"/>
                <a:gd name="connsiteY11" fmla="*/ 12081 h 142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64" h="1428127">
                  <a:moveTo>
                    <a:pt x="0" y="12081"/>
                  </a:moveTo>
                  <a:lnTo>
                    <a:pt x="0" y="1428128"/>
                  </a:lnTo>
                  <a:lnTo>
                    <a:pt x="23507" y="1428128"/>
                  </a:lnTo>
                  <a:lnTo>
                    <a:pt x="23507" y="12081"/>
                  </a:lnTo>
                  <a:cubicBezTo>
                    <a:pt x="23507" y="12081"/>
                    <a:pt x="23507" y="11192"/>
                    <a:pt x="23507" y="10684"/>
                  </a:cubicBezTo>
                  <a:cubicBezTo>
                    <a:pt x="23584" y="9883"/>
                    <a:pt x="23584" y="9070"/>
                    <a:pt x="23507" y="8270"/>
                  </a:cubicBezTo>
                  <a:cubicBezTo>
                    <a:pt x="23241" y="7558"/>
                    <a:pt x="22910" y="6872"/>
                    <a:pt x="22491" y="6237"/>
                  </a:cubicBezTo>
                  <a:cubicBezTo>
                    <a:pt x="22491" y="6237"/>
                    <a:pt x="21729" y="4839"/>
                    <a:pt x="21348" y="4331"/>
                  </a:cubicBezTo>
                  <a:cubicBezTo>
                    <a:pt x="20776" y="3708"/>
                    <a:pt x="20128" y="3162"/>
                    <a:pt x="19442" y="2679"/>
                  </a:cubicBezTo>
                  <a:cubicBezTo>
                    <a:pt x="17484" y="1027"/>
                    <a:pt x="15019" y="87"/>
                    <a:pt x="12453" y="11"/>
                  </a:cubicBezTo>
                  <a:cubicBezTo>
                    <a:pt x="5858" y="-269"/>
                    <a:pt x="292" y="4839"/>
                    <a:pt x="12" y="11433"/>
                  </a:cubicBezTo>
                  <a:cubicBezTo>
                    <a:pt x="0" y="11649"/>
                    <a:pt x="0" y="11865"/>
                    <a:pt x="0" y="12081"/>
                  </a:cubicBez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418660D1-463E-4860-94D8-D965582825E3}"/>
                </a:ext>
              </a:extLst>
            </p:cNvPr>
            <p:cNvSpPr/>
            <p:nvPr/>
          </p:nvSpPr>
          <p:spPr>
            <a:xfrm>
              <a:off x="7770120" y="1838055"/>
              <a:ext cx="4193" cy="1440822"/>
            </a:xfrm>
            <a:custGeom>
              <a:avLst/>
              <a:gdLst>
                <a:gd name="connsiteX0" fmla="*/ 0 w 4193"/>
                <a:gd name="connsiteY0" fmla="*/ 1440822 h 1440822"/>
                <a:gd name="connsiteX1" fmla="*/ 4193 w 4193"/>
                <a:gd name="connsiteY1" fmla="*/ 1440822 h 1440822"/>
                <a:gd name="connsiteX2" fmla="*/ 4193 w 4193"/>
                <a:gd name="connsiteY2" fmla="*/ 2160 h 1440822"/>
                <a:gd name="connsiteX3" fmla="*/ 2033 w 4193"/>
                <a:gd name="connsiteY3" fmla="*/ 0 h 1440822"/>
                <a:gd name="connsiteX4" fmla="*/ 0 w 4193"/>
                <a:gd name="connsiteY4" fmla="*/ 2160 h 1440822"/>
                <a:gd name="connsiteX5" fmla="*/ 0 w 4193"/>
                <a:gd name="connsiteY5" fmla="*/ 1440822 h 14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40822">
                  <a:moveTo>
                    <a:pt x="0" y="1440822"/>
                  </a:moveTo>
                  <a:lnTo>
                    <a:pt x="4193" y="1440822"/>
                  </a:lnTo>
                  <a:lnTo>
                    <a:pt x="4193" y="2160"/>
                  </a:lnTo>
                  <a:cubicBezTo>
                    <a:pt x="4130" y="991"/>
                    <a:pt x="3202" y="63"/>
                    <a:pt x="2033" y="0"/>
                  </a:cubicBezTo>
                  <a:cubicBezTo>
                    <a:pt x="890" y="63"/>
                    <a:pt x="0" y="1016"/>
                    <a:pt x="0" y="2160"/>
                  </a:cubicBezTo>
                  <a:lnTo>
                    <a:pt x="0" y="1440822"/>
                  </a:lnTo>
                  <a:close/>
                </a:path>
              </a:pathLst>
            </a:custGeom>
            <a:solidFill>
              <a:srgbClr val="000000"/>
            </a:solidFill>
            <a:ln w="12704"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2A6106CC-C465-425F-A489-8C241DAA34C4}"/>
                </a:ext>
              </a:extLst>
            </p:cNvPr>
            <p:cNvSpPr/>
            <p:nvPr/>
          </p:nvSpPr>
          <p:spPr>
            <a:xfrm>
              <a:off x="8013838" y="4847900"/>
              <a:ext cx="596208" cy="24013"/>
            </a:xfrm>
            <a:custGeom>
              <a:avLst/>
              <a:gdLst>
                <a:gd name="connsiteX0" fmla="*/ 596209 w 596208"/>
                <a:gd name="connsiteY0" fmla="*/ 12070 h 24013"/>
                <a:gd name="connsiteX1" fmla="*/ 596209 w 596208"/>
                <a:gd name="connsiteY1" fmla="*/ 0 h 24013"/>
                <a:gd name="connsiteX2" fmla="*/ 11691 w 596208"/>
                <a:gd name="connsiteY2" fmla="*/ 0 h 24013"/>
                <a:gd name="connsiteX3" fmla="*/ 11691 w 596208"/>
                <a:gd name="connsiteY3" fmla="*/ 12070 h 24013"/>
                <a:gd name="connsiteX4" fmla="*/ 0 w 596208"/>
                <a:gd name="connsiteY4" fmla="*/ 24014 h 24013"/>
                <a:gd name="connsiteX5" fmla="*/ 0 w 596208"/>
                <a:gd name="connsiteY5" fmla="*/ 24014 h 24013"/>
                <a:gd name="connsiteX6" fmla="*/ 596082 w 596208"/>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208" h="24013">
                  <a:moveTo>
                    <a:pt x="596209" y="12070"/>
                  </a:moveTo>
                  <a:lnTo>
                    <a:pt x="596209" y="0"/>
                  </a:lnTo>
                  <a:lnTo>
                    <a:pt x="11691" y="0"/>
                  </a:lnTo>
                  <a:lnTo>
                    <a:pt x="11691" y="12070"/>
                  </a:lnTo>
                  <a:cubicBezTo>
                    <a:pt x="11767" y="18601"/>
                    <a:pt x="6531" y="23938"/>
                    <a:pt x="0" y="24014"/>
                  </a:cubicBezTo>
                  <a:cubicBezTo>
                    <a:pt x="0" y="24014"/>
                    <a:pt x="0" y="24014"/>
                    <a:pt x="0" y="24014"/>
                  </a:cubicBezTo>
                  <a:lnTo>
                    <a:pt x="596082" y="24014"/>
                  </a:lnTo>
                  <a:close/>
                </a:path>
              </a:pathLst>
            </a:custGeom>
            <a:solidFill>
              <a:srgbClr val="000000"/>
            </a:solidFill>
            <a:ln w="12704"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D3108A6B-79D6-4E2F-BF02-9C8D6C7BE5A1}"/>
                </a:ext>
              </a:extLst>
            </p:cNvPr>
            <p:cNvSpPr/>
            <p:nvPr/>
          </p:nvSpPr>
          <p:spPr>
            <a:xfrm>
              <a:off x="11943708" y="4579175"/>
              <a:ext cx="2287" cy="1651"/>
            </a:xfrm>
            <a:custGeom>
              <a:avLst/>
              <a:gdLst>
                <a:gd name="connsiteX0" fmla="*/ 0 w 2287"/>
                <a:gd name="connsiteY0" fmla="*/ 0 h 1651"/>
                <a:gd name="connsiteX1" fmla="*/ 2287 w 2287"/>
                <a:gd name="connsiteY1" fmla="*/ 1651 h 1651"/>
                <a:gd name="connsiteX2" fmla="*/ 2287 w 2287"/>
                <a:gd name="connsiteY2" fmla="*/ 1651 h 1651"/>
                <a:gd name="connsiteX3" fmla="*/ 1143 w 2287"/>
                <a:gd name="connsiteY3" fmla="*/ 762 h 1651"/>
              </a:gdLst>
              <a:ahLst/>
              <a:cxnLst>
                <a:cxn ang="0">
                  <a:pos x="connsiteX0" y="connsiteY0"/>
                </a:cxn>
                <a:cxn ang="0">
                  <a:pos x="connsiteX1" y="connsiteY1"/>
                </a:cxn>
                <a:cxn ang="0">
                  <a:pos x="connsiteX2" y="connsiteY2"/>
                </a:cxn>
                <a:cxn ang="0">
                  <a:pos x="connsiteX3" y="connsiteY3"/>
                </a:cxn>
              </a:cxnLst>
              <a:rect l="l" t="t" r="r" b="b"/>
              <a:pathLst>
                <a:path w="2287" h="1651">
                  <a:moveTo>
                    <a:pt x="0" y="0"/>
                  </a:moveTo>
                  <a:cubicBezTo>
                    <a:pt x="838" y="432"/>
                    <a:pt x="1614" y="991"/>
                    <a:pt x="2287" y="1651"/>
                  </a:cubicBezTo>
                  <a:lnTo>
                    <a:pt x="2287" y="1651"/>
                  </a:lnTo>
                  <a:lnTo>
                    <a:pt x="1143" y="762"/>
                  </a:lnTo>
                  <a:close/>
                </a:path>
              </a:pathLst>
            </a:custGeom>
            <a:solidFill>
              <a:srgbClr val="000000"/>
            </a:solidFill>
            <a:ln w="12704"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A1CB9B57-C715-49C8-8BC2-AFAFA51D9AB7}"/>
                </a:ext>
              </a:extLst>
            </p:cNvPr>
            <p:cNvSpPr/>
            <p:nvPr/>
          </p:nvSpPr>
          <p:spPr>
            <a:xfrm>
              <a:off x="11944725" y="4594930"/>
              <a:ext cx="18171" cy="16136"/>
            </a:xfrm>
            <a:custGeom>
              <a:avLst/>
              <a:gdLst>
                <a:gd name="connsiteX0" fmla="*/ 3558 w 18171"/>
                <a:gd name="connsiteY0" fmla="*/ 0 h 16136"/>
                <a:gd name="connsiteX1" fmla="*/ 0 w 18171"/>
                <a:gd name="connsiteY1" fmla="*/ 4193 h 16136"/>
                <a:gd name="connsiteX2" fmla="*/ 6480 w 18171"/>
                <a:gd name="connsiteY2" fmla="*/ 4193 h 16136"/>
                <a:gd name="connsiteX3" fmla="*/ 18171 w 18171"/>
                <a:gd name="connsiteY3" fmla="*/ 16136 h 16136"/>
                <a:gd name="connsiteX4" fmla="*/ 18171 w 18171"/>
                <a:gd name="connsiteY4" fmla="*/ 16136 h 16136"/>
                <a:gd name="connsiteX5" fmla="*/ 18171 w 18171"/>
                <a:gd name="connsiteY5" fmla="*/ 3430 h 16136"/>
                <a:gd name="connsiteX6" fmla="*/ 13088 w 18171"/>
                <a:gd name="connsiteY6" fmla="*/ 4701 h 16136"/>
                <a:gd name="connsiteX7" fmla="*/ 3558 w 18171"/>
                <a:gd name="connsiteY7" fmla="*/ 0 h 1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71" h="16136">
                  <a:moveTo>
                    <a:pt x="3558" y="0"/>
                  </a:moveTo>
                  <a:cubicBezTo>
                    <a:pt x="2656" y="1613"/>
                    <a:pt x="1448" y="3036"/>
                    <a:pt x="0" y="4193"/>
                  </a:cubicBezTo>
                  <a:lnTo>
                    <a:pt x="6480" y="4193"/>
                  </a:lnTo>
                  <a:cubicBezTo>
                    <a:pt x="13012" y="4256"/>
                    <a:pt x="18234" y="9605"/>
                    <a:pt x="18171" y="16136"/>
                  </a:cubicBezTo>
                  <a:cubicBezTo>
                    <a:pt x="18171" y="16136"/>
                    <a:pt x="18171" y="16136"/>
                    <a:pt x="18171" y="16136"/>
                  </a:cubicBezTo>
                  <a:lnTo>
                    <a:pt x="18171" y="3430"/>
                  </a:lnTo>
                  <a:cubicBezTo>
                    <a:pt x="16582" y="4205"/>
                    <a:pt x="14854" y="4637"/>
                    <a:pt x="13088" y="4701"/>
                  </a:cubicBezTo>
                  <a:cubicBezTo>
                    <a:pt x="9339" y="4777"/>
                    <a:pt x="5781" y="3024"/>
                    <a:pt x="3558" y="0"/>
                  </a:cubicBezTo>
                  <a:close/>
                </a:path>
              </a:pathLst>
            </a:custGeom>
            <a:solidFill>
              <a:srgbClr val="000000"/>
            </a:solidFill>
            <a:ln w="12704"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9214C1E6-11BC-4A97-B6D7-D6D9E4A1B3F1}"/>
                </a:ext>
              </a:extLst>
            </p:cNvPr>
            <p:cNvSpPr/>
            <p:nvPr/>
          </p:nvSpPr>
          <p:spPr>
            <a:xfrm>
              <a:off x="11231866" y="4608907"/>
              <a:ext cx="676262" cy="4319"/>
            </a:xfrm>
            <a:custGeom>
              <a:avLst/>
              <a:gdLst>
                <a:gd name="connsiteX0" fmla="*/ 676263 w 676262"/>
                <a:gd name="connsiteY0" fmla="*/ 2160 h 4319"/>
                <a:gd name="connsiteX1" fmla="*/ 676263 w 676262"/>
                <a:gd name="connsiteY1" fmla="*/ 889 h 4319"/>
                <a:gd name="connsiteX2" fmla="*/ 676263 w 676262"/>
                <a:gd name="connsiteY2" fmla="*/ 0 h 4319"/>
                <a:gd name="connsiteX3" fmla="*/ 0 w 676262"/>
                <a:gd name="connsiteY3" fmla="*/ 0 h 4319"/>
                <a:gd name="connsiteX4" fmla="*/ 0 w 676262"/>
                <a:gd name="connsiteY4" fmla="*/ 1397 h 4319"/>
                <a:gd name="connsiteX5" fmla="*/ 2414 w 676262"/>
                <a:gd name="connsiteY5" fmla="*/ 4320 h 4319"/>
                <a:gd name="connsiteX6" fmla="*/ 675881 w 676262"/>
                <a:gd name="connsiteY6" fmla="*/ 4320 h 4319"/>
                <a:gd name="connsiteX7" fmla="*/ 675881 w 676262"/>
                <a:gd name="connsiteY7" fmla="*/ 3049 h 4319"/>
                <a:gd name="connsiteX8" fmla="*/ 676263 w 676262"/>
                <a:gd name="connsiteY8"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262" h="4319">
                  <a:moveTo>
                    <a:pt x="676263" y="2160"/>
                  </a:moveTo>
                  <a:cubicBezTo>
                    <a:pt x="676186" y="1741"/>
                    <a:pt x="676186" y="1309"/>
                    <a:pt x="676263" y="889"/>
                  </a:cubicBezTo>
                  <a:lnTo>
                    <a:pt x="676263" y="0"/>
                  </a:lnTo>
                  <a:lnTo>
                    <a:pt x="0" y="0"/>
                  </a:lnTo>
                  <a:lnTo>
                    <a:pt x="0" y="1397"/>
                  </a:lnTo>
                  <a:lnTo>
                    <a:pt x="2414" y="4320"/>
                  </a:lnTo>
                  <a:lnTo>
                    <a:pt x="675881" y="4320"/>
                  </a:lnTo>
                  <a:cubicBezTo>
                    <a:pt x="675818" y="3900"/>
                    <a:pt x="675818" y="3468"/>
                    <a:pt x="675881" y="3049"/>
                  </a:cubicBezTo>
                  <a:cubicBezTo>
                    <a:pt x="675881" y="3049"/>
                    <a:pt x="676263" y="2541"/>
                    <a:pt x="676263" y="2160"/>
                  </a:cubicBezTo>
                  <a:close/>
                </a:path>
              </a:pathLst>
            </a:custGeom>
            <a:solidFill>
              <a:srgbClr val="000000"/>
            </a:solidFill>
            <a:ln w="12704"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A8F5DD27-0D6C-4EA2-9DD5-7FB4D920B96A}"/>
                </a:ext>
              </a:extLst>
            </p:cNvPr>
            <p:cNvSpPr/>
            <p:nvPr/>
          </p:nvSpPr>
          <p:spPr>
            <a:xfrm>
              <a:off x="11228054" y="4610304"/>
              <a:ext cx="186156" cy="221332"/>
            </a:xfrm>
            <a:custGeom>
              <a:avLst/>
              <a:gdLst>
                <a:gd name="connsiteX0" fmla="*/ 3812 w 186156"/>
                <a:gd name="connsiteY0" fmla="*/ 0 h 221332"/>
                <a:gd name="connsiteX1" fmla="*/ 3812 w 186156"/>
                <a:gd name="connsiteY1" fmla="*/ 762 h 221332"/>
                <a:gd name="connsiteX2" fmla="*/ 1779 w 186156"/>
                <a:gd name="connsiteY2" fmla="*/ 2922 h 221332"/>
                <a:gd name="connsiteX3" fmla="*/ 0 w 186156"/>
                <a:gd name="connsiteY3" fmla="*/ 1525 h 221332"/>
                <a:gd name="connsiteX4" fmla="*/ 0 w 186156"/>
                <a:gd name="connsiteY4" fmla="*/ 2160 h 221332"/>
                <a:gd name="connsiteX5" fmla="*/ 5209 w 186156"/>
                <a:gd name="connsiteY5" fmla="*/ 8259 h 221332"/>
                <a:gd name="connsiteX6" fmla="*/ 183106 w 186156"/>
                <a:gd name="connsiteY6" fmla="*/ 220697 h 221332"/>
                <a:gd name="connsiteX7" fmla="*/ 183106 w 186156"/>
                <a:gd name="connsiteY7" fmla="*/ 221333 h 221332"/>
                <a:gd name="connsiteX8" fmla="*/ 183106 w 186156"/>
                <a:gd name="connsiteY8" fmla="*/ 221333 h 221332"/>
                <a:gd name="connsiteX9" fmla="*/ 183106 w 186156"/>
                <a:gd name="connsiteY9" fmla="*/ 219935 h 221332"/>
                <a:gd name="connsiteX10" fmla="*/ 185140 w 186156"/>
                <a:gd name="connsiteY10" fmla="*/ 217775 h 221332"/>
                <a:gd name="connsiteX11" fmla="*/ 186157 w 186156"/>
                <a:gd name="connsiteY11" fmla="*/ 217775 h 221332"/>
                <a:gd name="connsiteX12" fmla="*/ 5845 w 186156"/>
                <a:gd name="connsiteY12" fmla="*/ 2922 h 22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156" h="221332">
                  <a:moveTo>
                    <a:pt x="3812" y="0"/>
                  </a:moveTo>
                  <a:lnTo>
                    <a:pt x="3812" y="762"/>
                  </a:lnTo>
                  <a:cubicBezTo>
                    <a:pt x="3812" y="1906"/>
                    <a:pt x="2922" y="2859"/>
                    <a:pt x="1779" y="2922"/>
                  </a:cubicBezTo>
                  <a:cubicBezTo>
                    <a:pt x="940" y="2897"/>
                    <a:pt x="229" y="2325"/>
                    <a:pt x="0" y="1525"/>
                  </a:cubicBezTo>
                  <a:cubicBezTo>
                    <a:pt x="0" y="1525"/>
                    <a:pt x="0" y="1525"/>
                    <a:pt x="0" y="2160"/>
                  </a:cubicBezTo>
                  <a:lnTo>
                    <a:pt x="5209" y="8259"/>
                  </a:lnTo>
                  <a:lnTo>
                    <a:pt x="183106" y="220697"/>
                  </a:lnTo>
                  <a:lnTo>
                    <a:pt x="183106" y="221333"/>
                  </a:lnTo>
                  <a:lnTo>
                    <a:pt x="183106" y="221333"/>
                  </a:lnTo>
                  <a:cubicBezTo>
                    <a:pt x="182967" y="220875"/>
                    <a:pt x="182967" y="220393"/>
                    <a:pt x="183106" y="219935"/>
                  </a:cubicBezTo>
                  <a:cubicBezTo>
                    <a:pt x="183106" y="218792"/>
                    <a:pt x="183996" y="217838"/>
                    <a:pt x="185140" y="217775"/>
                  </a:cubicBezTo>
                  <a:lnTo>
                    <a:pt x="186157" y="217775"/>
                  </a:lnTo>
                  <a:lnTo>
                    <a:pt x="5845" y="2922"/>
                  </a:lnTo>
                  <a:close/>
                </a:path>
              </a:pathLst>
            </a:custGeom>
            <a:solidFill>
              <a:srgbClr val="000000"/>
            </a:solidFill>
            <a:ln w="12704"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65F39DCC-674D-4F7B-B740-861EA253A82D}"/>
                </a:ext>
              </a:extLst>
            </p:cNvPr>
            <p:cNvSpPr/>
            <p:nvPr/>
          </p:nvSpPr>
          <p:spPr>
            <a:xfrm>
              <a:off x="11411691" y="4827825"/>
              <a:ext cx="782343" cy="4575"/>
            </a:xfrm>
            <a:custGeom>
              <a:avLst/>
              <a:gdLst>
                <a:gd name="connsiteX0" fmla="*/ 2900 w 782343"/>
                <a:gd name="connsiteY0" fmla="*/ 254 h 4575"/>
                <a:gd name="connsiteX1" fmla="*/ 2138 w 782343"/>
                <a:gd name="connsiteY1" fmla="*/ 254 h 4575"/>
                <a:gd name="connsiteX2" fmla="*/ 105 w 782343"/>
                <a:gd name="connsiteY2" fmla="*/ 2414 h 4575"/>
                <a:gd name="connsiteX3" fmla="*/ 105 w 782343"/>
                <a:gd name="connsiteY3" fmla="*/ 3812 h 4575"/>
                <a:gd name="connsiteX4" fmla="*/ 1630 w 782343"/>
                <a:gd name="connsiteY4" fmla="*/ 4574 h 4575"/>
                <a:gd name="connsiteX5" fmla="*/ 782343 w 782343"/>
                <a:gd name="connsiteY5" fmla="*/ 4574 h 4575"/>
                <a:gd name="connsiteX6" fmla="*/ 782343 w 782343"/>
                <a:gd name="connsiteY6" fmla="*/ 3685 h 4575"/>
                <a:gd name="connsiteX7" fmla="*/ 777387 w 782343"/>
                <a:gd name="connsiteY7" fmla="*/ 0 h 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343" h="4575">
                  <a:moveTo>
                    <a:pt x="2900" y="254"/>
                  </a:moveTo>
                  <a:lnTo>
                    <a:pt x="2138" y="254"/>
                  </a:lnTo>
                  <a:cubicBezTo>
                    <a:pt x="994" y="318"/>
                    <a:pt x="105" y="1271"/>
                    <a:pt x="105" y="2414"/>
                  </a:cubicBezTo>
                  <a:cubicBezTo>
                    <a:pt x="-35" y="2872"/>
                    <a:pt x="-35" y="3354"/>
                    <a:pt x="105" y="3812"/>
                  </a:cubicBezTo>
                  <a:cubicBezTo>
                    <a:pt x="448" y="4307"/>
                    <a:pt x="1020" y="4599"/>
                    <a:pt x="1630" y="4574"/>
                  </a:cubicBezTo>
                  <a:lnTo>
                    <a:pt x="782343" y="4574"/>
                  </a:lnTo>
                  <a:lnTo>
                    <a:pt x="782343" y="3685"/>
                  </a:lnTo>
                  <a:lnTo>
                    <a:pt x="777387" y="0"/>
                  </a:lnTo>
                  <a:close/>
                </a:path>
              </a:pathLst>
            </a:custGeom>
            <a:solidFill>
              <a:srgbClr val="000000"/>
            </a:solidFill>
            <a:ln w="12704"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84E0131-5F95-4675-BAFA-7DDF74BAFCE8}"/>
                </a:ext>
              </a:extLst>
            </p:cNvPr>
            <p:cNvSpPr/>
            <p:nvPr/>
          </p:nvSpPr>
          <p:spPr>
            <a:xfrm>
              <a:off x="11227673" y="4601410"/>
              <a:ext cx="4193" cy="11816"/>
            </a:xfrm>
            <a:custGeom>
              <a:avLst/>
              <a:gdLst>
                <a:gd name="connsiteX0" fmla="*/ 4194 w 4193"/>
                <a:gd name="connsiteY0" fmla="*/ 0 h 11816"/>
                <a:gd name="connsiteX1" fmla="*/ 0 w 4193"/>
                <a:gd name="connsiteY1" fmla="*/ 0 h 11816"/>
                <a:gd name="connsiteX2" fmla="*/ 0 w 4193"/>
                <a:gd name="connsiteY2" fmla="*/ 9656 h 11816"/>
                <a:gd name="connsiteX3" fmla="*/ 0 w 4193"/>
                <a:gd name="connsiteY3" fmla="*/ 10418 h 11816"/>
                <a:gd name="connsiteX4" fmla="*/ 1779 w 4193"/>
                <a:gd name="connsiteY4" fmla="*/ 11816 h 11816"/>
                <a:gd name="connsiteX5" fmla="*/ 3813 w 4193"/>
                <a:gd name="connsiteY5" fmla="*/ 9656 h 11816"/>
                <a:gd name="connsiteX6" fmla="*/ 3813 w 4193"/>
                <a:gd name="connsiteY6" fmla="*/ 0 h 1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11816">
                  <a:moveTo>
                    <a:pt x="4194" y="0"/>
                  </a:moveTo>
                  <a:lnTo>
                    <a:pt x="0" y="0"/>
                  </a:lnTo>
                  <a:lnTo>
                    <a:pt x="0" y="9656"/>
                  </a:lnTo>
                  <a:cubicBezTo>
                    <a:pt x="0" y="9656"/>
                    <a:pt x="0" y="9656"/>
                    <a:pt x="0" y="10418"/>
                  </a:cubicBezTo>
                  <a:cubicBezTo>
                    <a:pt x="216" y="11219"/>
                    <a:pt x="941" y="11791"/>
                    <a:pt x="1779" y="11816"/>
                  </a:cubicBezTo>
                  <a:cubicBezTo>
                    <a:pt x="2923" y="11753"/>
                    <a:pt x="3813" y="10800"/>
                    <a:pt x="3813" y="9656"/>
                  </a:cubicBezTo>
                  <a:lnTo>
                    <a:pt x="3813" y="0"/>
                  </a:lnTo>
                  <a:close/>
                </a:path>
              </a:pathLst>
            </a:custGeom>
            <a:solidFill>
              <a:srgbClr val="000000"/>
            </a:solidFill>
            <a:ln w="12704"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85116A9E-E144-438C-83D4-29B6D578B380}"/>
                </a:ext>
              </a:extLst>
            </p:cNvPr>
            <p:cNvSpPr/>
            <p:nvPr/>
          </p:nvSpPr>
          <p:spPr>
            <a:xfrm>
              <a:off x="7984993" y="1842248"/>
              <a:ext cx="23381" cy="289434"/>
            </a:xfrm>
            <a:custGeom>
              <a:avLst/>
              <a:gdLst>
                <a:gd name="connsiteX0" fmla="*/ 23382 w 23381"/>
                <a:gd name="connsiteY0" fmla="*/ 289435 h 289434"/>
                <a:gd name="connsiteX1" fmla="*/ 23382 w 23381"/>
                <a:gd name="connsiteY1" fmla="*/ 11943 h 289434"/>
                <a:gd name="connsiteX2" fmla="*/ 11691 w 23381"/>
                <a:gd name="connsiteY2" fmla="*/ 11943 h 289434"/>
                <a:gd name="connsiteX3" fmla="*/ 1 w 23381"/>
                <a:gd name="connsiteY3" fmla="*/ 0 h 289434"/>
                <a:gd name="connsiteX4" fmla="*/ 1 w 23381"/>
                <a:gd name="connsiteY4" fmla="*/ 0 h 289434"/>
                <a:gd name="connsiteX5" fmla="*/ 1 w 23381"/>
                <a:gd name="connsiteY5" fmla="*/ 289435 h 289434"/>
                <a:gd name="connsiteX6" fmla="*/ 23382 w 23381"/>
                <a:gd name="connsiteY6" fmla="*/ 289435 h 28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1" h="289434">
                  <a:moveTo>
                    <a:pt x="23382" y="289435"/>
                  </a:moveTo>
                  <a:lnTo>
                    <a:pt x="23382" y="11943"/>
                  </a:lnTo>
                  <a:lnTo>
                    <a:pt x="11691" y="11943"/>
                  </a:lnTo>
                  <a:cubicBezTo>
                    <a:pt x="5160" y="11880"/>
                    <a:pt x="-76" y="6531"/>
                    <a:pt x="1" y="0"/>
                  </a:cubicBezTo>
                  <a:cubicBezTo>
                    <a:pt x="1" y="0"/>
                    <a:pt x="1" y="0"/>
                    <a:pt x="1" y="0"/>
                  </a:cubicBezTo>
                  <a:lnTo>
                    <a:pt x="1" y="289435"/>
                  </a:lnTo>
                  <a:lnTo>
                    <a:pt x="23382" y="289435"/>
                  </a:lnTo>
                  <a:close/>
                </a:path>
              </a:pathLst>
            </a:custGeom>
            <a:solidFill>
              <a:srgbClr val="000000"/>
            </a:solidFill>
            <a:ln w="12704"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0769AD1F-5678-4A3D-B072-DB67803AB7B6}"/>
                </a:ext>
              </a:extLst>
            </p:cNvPr>
            <p:cNvSpPr/>
            <p:nvPr/>
          </p:nvSpPr>
          <p:spPr>
            <a:xfrm>
              <a:off x="8025656" y="3281292"/>
              <a:ext cx="43330" cy="9529"/>
            </a:xfrm>
            <a:custGeom>
              <a:avLst/>
              <a:gdLst>
                <a:gd name="connsiteX0" fmla="*/ 43204 w 43330"/>
                <a:gd name="connsiteY0" fmla="*/ 8132 h 9529"/>
                <a:gd name="connsiteX1" fmla="*/ 32149 w 43330"/>
                <a:gd name="connsiteY1" fmla="*/ 0 h 9529"/>
                <a:gd name="connsiteX2" fmla="*/ 0 w 43330"/>
                <a:gd name="connsiteY2" fmla="*/ 0 h 9529"/>
                <a:gd name="connsiteX3" fmla="*/ 0 w 43330"/>
                <a:gd name="connsiteY3" fmla="*/ 9529 h 9529"/>
                <a:gd name="connsiteX4" fmla="*/ 43331 w 43330"/>
                <a:gd name="connsiteY4" fmla="*/ 8132 h 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9529">
                  <a:moveTo>
                    <a:pt x="43204" y="8132"/>
                  </a:moveTo>
                  <a:cubicBezTo>
                    <a:pt x="38159" y="8055"/>
                    <a:pt x="33724" y="4790"/>
                    <a:pt x="32149" y="0"/>
                  </a:cubicBezTo>
                  <a:lnTo>
                    <a:pt x="0" y="0"/>
                  </a:lnTo>
                  <a:lnTo>
                    <a:pt x="0" y="9529"/>
                  </a:lnTo>
                  <a:lnTo>
                    <a:pt x="43331" y="8132"/>
                  </a:lnTo>
                  <a:close/>
                </a:path>
              </a:pathLst>
            </a:custGeom>
            <a:solidFill>
              <a:srgbClr val="000000"/>
            </a:solidFill>
            <a:ln w="12704"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9E349F01-EEF3-4745-9621-D528437DDC81}"/>
                </a:ext>
              </a:extLst>
            </p:cNvPr>
            <p:cNvSpPr/>
            <p:nvPr/>
          </p:nvSpPr>
          <p:spPr>
            <a:xfrm>
              <a:off x="2862072" y="448056"/>
              <a:ext cx="12706" cy="12705"/>
            </a:xfrm>
            <a:custGeom>
              <a:avLst/>
              <a:gdLst/>
              <a:ahLst/>
              <a:cxnLst/>
              <a:rect l="l" t="t" r="r" b="b"/>
              <a:pathLst>
                <a:path w="12706" h="12705"/>
              </a:pathLst>
            </a:custGeom>
            <a:solidFill>
              <a:srgbClr val="000000"/>
            </a:solidFill>
            <a:ln w="12704"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A04F5212-544F-476E-854C-DF936F3A1BD9}"/>
                </a:ext>
              </a:extLst>
            </p:cNvPr>
            <p:cNvSpPr/>
            <p:nvPr/>
          </p:nvSpPr>
          <p:spPr>
            <a:xfrm>
              <a:off x="8011678" y="3265410"/>
              <a:ext cx="56926" cy="11562"/>
            </a:xfrm>
            <a:custGeom>
              <a:avLst/>
              <a:gdLst>
                <a:gd name="connsiteX0" fmla="*/ 56927 w 56926"/>
                <a:gd name="connsiteY0" fmla="*/ 0 h 11562"/>
                <a:gd name="connsiteX1" fmla="*/ 56927 w 56926"/>
                <a:gd name="connsiteY1" fmla="*/ 0 h 11562"/>
                <a:gd name="connsiteX2" fmla="*/ 2033 w 56926"/>
                <a:gd name="connsiteY2" fmla="*/ 1779 h 11562"/>
                <a:gd name="connsiteX3" fmla="*/ 0 w 56926"/>
                <a:gd name="connsiteY3" fmla="*/ 1779 h 11562"/>
                <a:gd name="connsiteX4" fmla="*/ 2414 w 56926"/>
                <a:gd name="connsiteY4" fmla="*/ 1779 h 11562"/>
                <a:gd name="connsiteX5" fmla="*/ 13723 w 56926"/>
                <a:gd name="connsiteY5" fmla="*/ 11562 h 11562"/>
                <a:gd name="connsiteX6" fmla="*/ 45618 w 56926"/>
                <a:gd name="connsiteY6" fmla="*/ 11562 h 11562"/>
                <a:gd name="connsiteX7" fmla="*/ 56927 w 56926"/>
                <a:gd name="connsiteY7" fmla="*/ 0 h 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26" h="11562">
                  <a:moveTo>
                    <a:pt x="56927" y="0"/>
                  </a:moveTo>
                  <a:lnTo>
                    <a:pt x="56927" y="0"/>
                  </a:lnTo>
                  <a:lnTo>
                    <a:pt x="2033" y="1779"/>
                  </a:lnTo>
                  <a:cubicBezTo>
                    <a:pt x="1360" y="1652"/>
                    <a:pt x="673" y="1652"/>
                    <a:pt x="0" y="1779"/>
                  </a:cubicBezTo>
                  <a:cubicBezTo>
                    <a:pt x="800" y="1652"/>
                    <a:pt x="1614" y="1652"/>
                    <a:pt x="2414" y="1779"/>
                  </a:cubicBezTo>
                  <a:cubicBezTo>
                    <a:pt x="8069" y="1830"/>
                    <a:pt x="12859" y="5972"/>
                    <a:pt x="13723" y="11562"/>
                  </a:cubicBezTo>
                  <a:lnTo>
                    <a:pt x="45618" y="11562"/>
                  </a:lnTo>
                  <a:cubicBezTo>
                    <a:pt x="45681" y="5298"/>
                    <a:pt x="50662" y="203"/>
                    <a:pt x="56927" y="0"/>
                  </a:cubicBezTo>
                  <a:close/>
                </a:path>
              </a:pathLst>
            </a:custGeom>
            <a:solidFill>
              <a:srgbClr val="000000"/>
            </a:solidFill>
            <a:ln w="12704"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893042B6-77B4-486D-AFF4-504554F991F8}"/>
                </a:ext>
              </a:extLst>
            </p:cNvPr>
            <p:cNvSpPr/>
            <p:nvPr/>
          </p:nvSpPr>
          <p:spPr>
            <a:xfrm>
              <a:off x="8025148" y="3277353"/>
              <a:ext cx="32148" cy="4065"/>
            </a:xfrm>
            <a:custGeom>
              <a:avLst/>
              <a:gdLst>
                <a:gd name="connsiteX0" fmla="*/ 31894 w 32148"/>
                <a:gd name="connsiteY0" fmla="*/ 0 h 4065"/>
                <a:gd name="connsiteX1" fmla="*/ 31894 w 32148"/>
                <a:gd name="connsiteY1" fmla="*/ 0 h 4065"/>
                <a:gd name="connsiteX2" fmla="*/ 0 w 32148"/>
                <a:gd name="connsiteY2" fmla="*/ 0 h 4065"/>
                <a:gd name="connsiteX3" fmla="*/ 0 w 32148"/>
                <a:gd name="connsiteY3" fmla="*/ 2160 h 4065"/>
                <a:gd name="connsiteX4" fmla="*/ 0 w 32148"/>
                <a:gd name="connsiteY4" fmla="*/ 4066 h 4065"/>
                <a:gd name="connsiteX5" fmla="*/ 32148 w 32148"/>
                <a:gd name="connsiteY5" fmla="*/ 4066 h 4065"/>
                <a:gd name="connsiteX6" fmla="*/ 31894 w 32148"/>
                <a:gd name="connsiteY6" fmla="*/ 0 h 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8" h="4065">
                  <a:moveTo>
                    <a:pt x="31894" y="0"/>
                  </a:moveTo>
                  <a:cubicBezTo>
                    <a:pt x="31894" y="0"/>
                    <a:pt x="31894" y="0"/>
                    <a:pt x="31894" y="0"/>
                  </a:cubicBezTo>
                  <a:lnTo>
                    <a:pt x="0" y="0"/>
                  </a:lnTo>
                  <a:cubicBezTo>
                    <a:pt x="64" y="724"/>
                    <a:pt x="64" y="1436"/>
                    <a:pt x="0" y="2160"/>
                  </a:cubicBezTo>
                  <a:lnTo>
                    <a:pt x="0" y="4066"/>
                  </a:lnTo>
                  <a:lnTo>
                    <a:pt x="32148" y="4066"/>
                  </a:lnTo>
                  <a:cubicBezTo>
                    <a:pt x="31856" y="2732"/>
                    <a:pt x="31780" y="1360"/>
                    <a:pt x="31894" y="0"/>
                  </a:cubicBezTo>
                  <a:close/>
                </a:path>
              </a:pathLst>
            </a:custGeom>
            <a:solidFill>
              <a:srgbClr val="000000"/>
            </a:solidFill>
            <a:ln w="12704"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4CE674ED-72B7-41F6-9B71-E2BBA3154F10}"/>
                </a:ext>
              </a:extLst>
            </p:cNvPr>
            <p:cNvSpPr/>
            <p:nvPr/>
          </p:nvSpPr>
          <p:spPr>
            <a:xfrm>
              <a:off x="11422216" y="6087973"/>
              <a:ext cx="159218" cy="4278"/>
            </a:xfrm>
            <a:custGeom>
              <a:avLst/>
              <a:gdLst>
                <a:gd name="connsiteX0" fmla="*/ 1906 w 159218"/>
                <a:gd name="connsiteY0" fmla="*/ 1397 h 4278"/>
                <a:gd name="connsiteX1" fmla="*/ 1093 w 159218"/>
                <a:gd name="connsiteY1" fmla="*/ 4155 h 4278"/>
                <a:gd name="connsiteX2" fmla="*/ 1017 w 159218"/>
                <a:gd name="connsiteY2" fmla="*/ 4193 h 4278"/>
                <a:gd name="connsiteX3" fmla="*/ 0 w 159218"/>
                <a:gd name="connsiteY3" fmla="*/ 4193 h 4278"/>
                <a:gd name="connsiteX4" fmla="*/ 159218 w 159218"/>
                <a:gd name="connsiteY4" fmla="*/ 4193 h 4278"/>
                <a:gd name="connsiteX5" fmla="*/ 157058 w 159218"/>
                <a:gd name="connsiteY5" fmla="*/ 0 h 4278"/>
                <a:gd name="connsiteX6" fmla="*/ 1398 w 159218"/>
                <a:gd name="connsiteY6" fmla="*/ 0 h 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218" h="4278">
                  <a:moveTo>
                    <a:pt x="1906" y="1397"/>
                  </a:moveTo>
                  <a:cubicBezTo>
                    <a:pt x="2440" y="2389"/>
                    <a:pt x="2072" y="3621"/>
                    <a:pt x="1093" y="4155"/>
                  </a:cubicBezTo>
                  <a:cubicBezTo>
                    <a:pt x="1068" y="4167"/>
                    <a:pt x="1042" y="4180"/>
                    <a:pt x="1017" y="4193"/>
                  </a:cubicBezTo>
                  <a:cubicBezTo>
                    <a:pt x="686" y="4307"/>
                    <a:pt x="330" y="4307"/>
                    <a:pt x="0" y="4193"/>
                  </a:cubicBezTo>
                  <a:lnTo>
                    <a:pt x="159218" y="4193"/>
                  </a:lnTo>
                  <a:lnTo>
                    <a:pt x="157058" y="0"/>
                  </a:lnTo>
                  <a:lnTo>
                    <a:pt x="1398" y="0"/>
                  </a:lnTo>
                  <a:close/>
                </a:path>
              </a:pathLst>
            </a:custGeom>
            <a:solidFill>
              <a:srgbClr val="000000"/>
            </a:solidFill>
            <a:ln w="12704"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5540C763-C79A-4C7B-A9FD-A98F2D30201E}"/>
                </a:ext>
              </a:extLst>
            </p:cNvPr>
            <p:cNvSpPr/>
            <p:nvPr/>
          </p:nvSpPr>
          <p:spPr>
            <a:xfrm>
              <a:off x="11420691" y="6091149"/>
              <a:ext cx="1524" cy="1016"/>
            </a:xfrm>
            <a:custGeom>
              <a:avLst/>
              <a:gdLst>
                <a:gd name="connsiteX0" fmla="*/ 1525 w 1524"/>
                <a:gd name="connsiteY0" fmla="*/ 1016 h 1016"/>
                <a:gd name="connsiteX1" fmla="*/ 0 w 1524"/>
                <a:gd name="connsiteY1" fmla="*/ 0 h 1016"/>
                <a:gd name="connsiteX2" fmla="*/ 1525 w 1524"/>
                <a:gd name="connsiteY2" fmla="*/ 1016 h 1016"/>
              </a:gdLst>
              <a:ahLst/>
              <a:cxnLst>
                <a:cxn ang="0">
                  <a:pos x="connsiteX0" y="connsiteY0"/>
                </a:cxn>
                <a:cxn ang="0">
                  <a:pos x="connsiteX1" y="connsiteY1"/>
                </a:cxn>
                <a:cxn ang="0">
                  <a:pos x="connsiteX2" y="connsiteY2"/>
                </a:cxn>
              </a:cxnLst>
              <a:rect l="l" t="t" r="r" b="b"/>
              <a:pathLst>
                <a:path w="1524" h="1016">
                  <a:moveTo>
                    <a:pt x="1525" y="1016"/>
                  </a:moveTo>
                  <a:cubicBezTo>
                    <a:pt x="864" y="991"/>
                    <a:pt x="280" y="597"/>
                    <a:pt x="0" y="0"/>
                  </a:cubicBezTo>
                  <a:cubicBezTo>
                    <a:pt x="306" y="572"/>
                    <a:pt x="877" y="965"/>
                    <a:pt x="1525" y="1016"/>
                  </a:cubicBezTo>
                  <a:close/>
                </a:path>
              </a:pathLst>
            </a:custGeom>
            <a:solidFill>
              <a:srgbClr val="000000"/>
            </a:solidFill>
            <a:ln w="12704"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9DA7FCE0-51EF-4FBB-AECD-3E4CB9BAEBFC}"/>
                </a:ext>
              </a:extLst>
            </p:cNvPr>
            <p:cNvSpPr/>
            <p:nvPr/>
          </p:nvSpPr>
          <p:spPr>
            <a:xfrm>
              <a:off x="11383968" y="6011993"/>
              <a:ext cx="40751" cy="80766"/>
            </a:xfrm>
            <a:custGeom>
              <a:avLst/>
              <a:gdLst>
                <a:gd name="connsiteX0" fmla="*/ 40154 w 40751"/>
                <a:gd name="connsiteY0" fmla="*/ 77377 h 80766"/>
                <a:gd name="connsiteX1" fmla="*/ 40154 w 40751"/>
                <a:gd name="connsiteY1" fmla="*/ 76234 h 80766"/>
                <a:gd name="connsiteX2" fmla="*/ 3812 w 40751"/>
                <a:gd name="connsiteY2" fmla="*/ 0 h 80766"/>
                <a:gd name="connsiteX3" fmla="*/ 0 w 40751"/>
                <a:gd name="connsiteY3" fmla="*/ 1779 h 80766"/>
                <a:gd name="connsiteX4" fmla="*/ 36977 w 40751"/>
                <a:gd name="connsiteY4" fmla="*/ 79664 h 80766"/>
                <a:gd name="connsiteX5" fmla="*/ 36977 w 40751"/>
                <a:gd name="connsiteY5" fmla="*/ 79664 h 80766"/>
                <a:gd name="connsiteX6" fmla="*/ 38502 w 40751"/>
                <a:gd name="connsiteY6" fmla="*/ 80681 h 80766"/>
                <a:gd name="connsiteX7" fmla="*/ 39518 w 40751"/>
                <a:gd name="connsiteY7" fmla="*/ 80681 h 80766"/>
                <a:gd name="connsiteX8" fmla="*/ 40586 w 40751"/>
                <a:gd name="connsiteY8" fmla="*/ 78013 h 80766"/>
                <a:gd name="connsiteX9" fmla="*/ 40154 w 40751"/>
                <a:gd name="connsiteY9" fmla="*/ 77377 h 8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51" h="80766">
                  <a:moveTo>
                    <a:pt x="40154" y="77377"/>
                  </a:moveTo>
                  <a:lnTo>
                    <a:pt x="40154" y="76234"/>
                  </a:lnTo>
                  <a:lnTo>
                    <a:pt x="3812" y="0"/>
                  </a:lnTo>
                  <a:cubicBezTo>
                    <a:pt x="2668" y="839"/>
                    <a:pt x="1372" y="1448"/>
                    <a:pt x="0" y="1779"/>
                  </a:cubicBezTo>
                  <a:lnTo>
                    <a:pt x="36977" y="79664"/>
                  </a:lnTo>
                  <a:lnTo>
                    <a:pt x="36977" y="79664"/>
                  </a:lnTo>
                  <a:cubicBezTo>
                    <a:pt x="37256" y="80262"/>
                    <a:pt x="37841" y="80655"/>
                    <a:pt x="38502" y="80681"/>
                  </a:cubicBezTo>
                  <a:cubicBezTo>
                    <a:pt x="38832" y="80795"/>
                    <a:pt x="39188" y="80795"/>
                    <a:pt x="39518" y="80681"/>
                  </a:cubicBezTo>
                  <a:cubicBezTo>
                    <a:pt x="40548" y="80236"/>
                    <a:pt x="41031" y="79042"/>
                    <a:pt x="40586" y="78013"/>
                  </a:cubicBezTo>
                  <a:cubicBezTo>
                    <a:pt x="40484" y="77771"/>
                    <a:pt x="40331" y="77555"/>
                    <a:pt x="40154" y="77377"/>
                  </a:cubicBezTo>
                  <a:close/>
                </a:path>
              </a:pathLst>
            </a:custGeom>
            <a:solidFill>
              <a:srgbClr val="000000"/>
            </a:solidFill>
            <a:ln w="12704"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B4610D28-5751-41AB-837A-CBB76C7B9410}"/>
                </a:ext>
              </a:extLst>
            </p:cNvPr>
            <p:cNvSpPr/>
            <p:nvPr/>
          </p:nvSpPr>
          <p:spPr>
            <a:xfrm>
              <a:off x="10947232" y="5999668"/>
              <a:ext cx="126179" cy="4319"/>
            </a:xfrm>
            <a:custGeom>
              <a:avLst/>
              <a:gdLst>
                <a:gd name="connsiteX0" fmla="*/ 124146 w 126179"/>
                <a:gd name="connsiteY0" fmla="*/ 2160 h 4319"/>
                <a:gd name="connsiteX1" fmla="*/ 124146 w 126179"/>
                <a:gd name="connsiteY1" fmla="*/ 0 h 4319"/>
                <a:gd name="connsiteX2" fmla="*/ 0 w 126179"/>
                <a:gd name="connsiteY2" fmla="*/ 0 h 4319"/>
                <a:gd name="connsiteX3" fmla="*/ 0 w 126179"/>
                <a:gd name="connsiteY3" fmla="*/ 4320 h 4319"/>
                <a:gd name="connsiteX4" fmla="*/ 126180 w 126179"/>
                <a:gd name="connsiteY4" fmla="*/ 4320 h 4319"/>
                <a:gd name="connsiteX5" fmla="*/ 124146 w 126179"/>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179" h="4319">
                  <a:moveTo>
                    <a:pt x="124146" y="2160"/>
                  </a:moveTo>
                  <a:lnTo>
                    <a:pt x="124146" y="0"/>
                  </a:lnTo>
                  <a:lnTo>
                    <a:pt x="0" y="0"/>
                  </a:lnTo>
                  <a:lnTo>
                    <a:pt x="0" y="4320"/>
                  </a:lnTo>
                  <a:lnTo>
                    <a:pt x="126180" y="4320"/>
                  </a:lnTo>
                  <a:cubicBezTo>
                    <a:pt x="125036" y="4256"/>
                    <a:pt x="124146" y="3304"/>
                    <a:pt x="124146" y="2160"/>
                  </a:cubicBezTo>
                  <a:close/>
                </a:path>
              </a:pathLst>
            </a:custGeom>
            <a:solidFill>
              <a:srgbClr val="000000"/>
            </a:solidFill>
            <a:ln w="12704"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CDF0CF38-B013-4FC9-B044-213396F72CE1}"/>
                </a:ext>
              </a:extLst>
            </p:cNvPr>
            <p:cNvSpPr/>
            <p:nvPr/>
          </p:nvSpPr>
          <p:spPr>
            <a:xfrm>
              <a:off x="11085229" y="4876869"/>
              <a:ext cx="282093" cy="4319"/>
            </a:xfrm>
            <a:custGeom>
              <a:avLst/>
              <a:gdLst>
                <a:gd name="connsiteX0" fmla="*/ 0 w 282093"/>
                <a:gd name="connsiteY0" fmla="*/ 2160 h 4319"/>
                <a:gd name="connsiteX1" fmla="*/ 0 w 282093"/>
                <a:gd name="connsiteY1" fmla="*/ 4320 h 4319"/>
                <a:gd name="connsiteX2" fmla="*/ 282094 w 282093"/>
                <a:gd name="connsiteY2" fmla="*/ 4320 h 4319"/>
                <a:gd name="connsiteX3" fmla="*/ 278790 w 282093"/>
                <a:gd name="connsiteY3" fmla="*/ 0 h 4319"/>
                <a:gd name="connsiteX4" fmla="*/ 0 w 282093"/>
                <a:gd name="connsiteY4" fmla="*/ 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093" h="4319">
                  <a:moveTo>
                    <a:pt x="0" y="2160"/>
                  </a:moveTo>
                  <a:cubicBezTo>
                    <a:pt x="64" y="2884"/>
                    <a:pt x="64" y="3596"/>
                    <a:pt x="0" y="4320"/>
                  </a:cubicBezTo>
                  <a:lnTo>
                    <a:pt x="282094" y="4320"/>
                  </a:lnTo>
                  <a:lnTo>
                    <a:pt x="278790" y="0"/>
                  </a:lnTo>
                  <a:lnTo>
                    <a:pt x="0" y="0"/>
                  </a:lnTo>
                  <a:close/>
                </a:path>
              </a:pathLst>
            </a:custGeom>
            <a:solidFill>
              <a:srgbClr val="000000"/>
            </a:solidFill>
            <a:ln w="12704"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478AAB81-2B1F-48C2-BD9A-7BA949902DC3}"/>
                </a:ext>
              </a:extLst>
            </p:cNvPr>
            <p:cNvSpPr/>
            <p:nvPr/>
          </p:nvSpPr>
          <p:spPr>
            <a:xfrm>
              <a:off x="10860697" y="4876869"/>
              <a:ext cx="201405" cy="4319"/>
            </a:xfrm>
            <a:custGeom>
              <a:avLst/>
              <a:gdLst>
                <a:gd name="connsiteX0" fmla="*/ 0 w 201405"/>
                <a:gd name="connsiteY0" fmla="*/ 4320 h 4319"/>
                <a:gd name="connsiteX1" fmla="*/ 201405 w 201405"/>
                <a:gd name="connsiteY1" fmla="*/ 4320 h 4319"/>
                <a:gd name="connsiteX2" fmla="*/ 201405 w 201405"/>
                <a:gd name="connsiteY2" fmla="*/ 2160 h 4319"/>
                <a:gd name="connsiteX3" fmla="*/ 201405 w 201405"/>
                <a:gd name="connsiteY3" fmla="*/ 0 h 4319"/>
                <a:gd name="connsiteX4" fmla="*/ 0 w 201405"/>
                <a:gd name="connsiteY4" fmla="*/ 0 h 4319"/>
                <a:gd name="connsiteX5" fmla="*/ 0 w 201405"/>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405" h="4319">
                  <a:moveTo>
                    <a:pt x="0" y="4320"/>
                  </a:moveTo>
                  <a:lnTo>
                    <a:pt x="201405" y="4320"/>
                  </a:lnTo>
                  <a:cubicBezTo>
                    <a:pt x="201342" y="3596"/>
                    <a:pt x="201342" y="2884"/>
                    <a:pt x="201405" y="2160"/>
                  </a:cubicBezTo>
                  <a:lnTo>
                    <a:pt x="201405" y="0"/>
                  </a:lnTo>
                  <a:lnTo>
                    <a:pt x="0" y="0"/>
                  </a:lnTo>
                  <a:lnTo>
                    <a:pt x="0" y="4320"/>
                  </a:lnTo>
                  <a:close/>
                </a:path>
              </a:pathLst>
            </a:custGeom>
            <a:solidFill>
              <a:srgbClr val="000000"/>
            </a:solidFill>
            <a:ln w="12704"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B164DC98-6192-4663-A8D7-941F1985F538}"/>
                </a:ext>
              </a:extLst>
            </p:cNvPr>
            <p:cNvSpPr/>
            <p:nvPr/>
          </p:nvSpPr>
          <p:spPr>
            <a:xfrm>
              <a:off x="10962098" y="3264266"/>
              <a:ext cx="110550" cy="24649"/>
            </a:xfrm>
            <a:custGeom>
              <a:avLst/>
              <a:gdLst>
                <a:gd name="connsiteX0" fmla="*/ 762 w 110550"/>
                <a:gd name="connsiteY0" fmla="*/ 3685 h 24649"/>
                <a:gd name="connsiteX1" fmla="*/ 7370 w 110550"/>
                <a:gd name="connsiteY1" fmla="*/ 3685 h 24649"/>
                <a:gd name="connsiteX2" fmla="*/ 9149 w 110550"/>
                <a:gd name="connsiteY2" fmla="*/ 3685 h 24649"/>
                <a:gd name="connsiteX3" fmla="*/ 11436 w 110550"/>
                <a:gd name="connsiteY3" fmla="*/ 3685 h 24649"/>
                <a:gd name="connsiteX4" fmla="*/ 13342 w 110550"/>
                <a:gd name="connsiteY4" fmla="*/ 4955 h 24649"/>
                <a:gd name="connsiteX5" fmla="*/ 14994 w 110550"/>
                <a:gd name="connsiteY5" fmla="*/ 6353 h 24649"/>
                <a:gd name="connsiteX6" fmla="*/ 16264 w 110550"/>
                <a:gd name="connsiteY6" fmla="*/ 8259 h 24649"/>
                <a:gd name="connsiteX7" fmla="*/ 17408 w 110550"/>
                <a:gd name="connsiteY7" fmla="*/ 10292 h 24649"/>
                <a:gd name="connsiteX8" fmla="*/ 17408 w 110550"/>
                <a:gd name="connsiteY8" fmla="*/ 12579 h 24649"/>
                <a:gd name="connsiteX9" fmla="*/ 17408 w 110550"/>
                <a:gd name="connsiteY9" fmla="*/ 14484 h 24649"/>
                <a:gd name="connsiteX10" fmla="*/ 17408 w 110550"/>
                <a:gd name="connsiteY10" fmla="*/ 14484 h 24649"/>
                <a:gd name="connsiteX11" fmla="*/ 17408 w 110550"/>
                <a:gd name="connsiteY11" fmla="*/ 14484 h 24649"/>
                <a:gd name="connsiteX12" fmla="*/ 15884 w 110550"/>
                <a:gd name="connsiteY12" fmla="*/ 16645 h 24649"/>
                <a:gd name="connsiteX13" fmla="*/ 14867 w 110550"/>
                <a:gd name="connsiteY13" fmla="*/ 18169 h 24649"/>
                <a:gd name="connsiteX14" fmla="*/ 12453 w 110550"/>
                <a:gd name="connsiteY14" fmla="*/ 19821 h 24649"/>
                <a:gd name="connsiteX15" fmla="*/ 11182 w 110550"/>
                <a:gd name="connsiteY15" fmla="*/ 20583 h 24649"/>
                <a:gd name="connsiteX16" fmla="*/ 8259 w 110550"/>
                <a:gd name="connsiteY16" fmla="*/ 24649 h 24649"/>
                <a:gd name="connsiteX17" fmla="*/ 98859 w 110550"/>
                <a:gd name="connsiteY17" fmla="*/ 24649 h 24649"/>
                <a:gd name="connsiteX18" fmla="*/ 98859 w 110550"/>
                <a:gd name="connsiteY18" fmla="*/ 11943 h 24649"/>
                <a:gd name="connsiteX19" fmla="*/ 110550 w 110550"/>
                <a:gd name="connsiteY19" fmla="*/ 0 h 24649"/>
                <a:gd name="connsiteX20" fmla="*/ 110550 w 110550"/>
                <a:gd name="connsiteY20" fmla="*/ 0 h 24649"/>
                <a:gd name="connsiteX21" fmla="*/ 0 w 110550"/>
                <a:gd name="connsiteY21" fmla="*/ 0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550" h="24649">
                  <a:moveTo>
                    <a:pt x="762" y="3685"/>
                  </a:moveTo>
                  <a:lnTo>
                    <a:pt x="7370" y="3685"/>
                  </a:lnTo>
                  <a:cubicBezTo>
                    <a:pt x="7967" y="3609"/>
                    <a:pt x="8565" y="3609"/>
                    <a:pt x="9149" y="3685"/>
                  </a:cubicBezTo>
                  <a:cubicBezTo>
                    <a:pt x="9911" y="3558"/>
                    <a:pt x="10673" y="3558"/>
                    <a:pt x="11436" y="3685"/>
                  </a:cubicBezTo>
                  <a:cubicBezTo>
                    <a:pt x="12122" y="4015"/>
                    <a:pt x="12771" y="4447"/>
                    <a:pt x="13342" y="4955"/>
                  </a:cubicBezTo>
                  <a:lnTo>
                    <a:pt x="14994" y="6353"/>
                  </a:lnTo>
                  <a:cubicBezTo>
                    <a:pt x="15490" y="6937"/>
                    <a:pt x="15922" y="7573"/>
                    <a:pt x="16264" y="8259"/>
                  </a:cubicBezTo>
                  <a:cubicBezTo>
                    <a:pt x="16722" y="8894"/>
                    <a:pt x="17104" y="9567"/>
                    <a:pt x="17408" y="10292"/>
                  </a:cubicBezTo>
                  <a:cubicBezTo>
                    <a:pt x="17472" y="11054"/>
                    <a:pt x="17472" y="11816"/>
                    <a:pt x="17408" y="12579"/>
                  </a:cubicBezTo>
                  <a:cubicBezTo>
                    <a:pt x="17408" y="12579"/>
                    <a:pt x="17408" y="13849"/>
                    <a:pt x="17408" y="14484"/>
                  </a:cubicBezTo>
                  <a:cubicBezTo>
                    <a:pt x="17408" y="15120"/>
                    <a:pt x="17408" y="14484"/>
                    <a:pt x="17408" y="14484"/>
                  </a:cubicBezTo>
                  <a:lnTo>
                    <a:pt x="17408" y="14484"/>
                  </a:lnTo>
                  <a:cubicBezTo>
                    <a:pt x="17014" y="15285"/>
                    <a:pt x="16506" y="16009"/>
                    <a:pt x="15884" y="16645"/>
                  </a:cubicBezTo>
                  <a:cubicBezTo>
                    <a:pt x="15591" y="17178"/>
                    <a:pt x="15248" y="17686"/>
                    <a:pt x="14867" y="18169"/>
                  </a:cubicBezTo>
                  <a:cubicBezTo>
                    <a:pt x="14130" y="18817"/>
                    <a:pt x="13330" y="19376"/>
                    <a:pt x="12453" y="19821"/>
                  </a:cubicBezTo>
                  <a:cubicBezTo>
                    <a:pt x="12084" y="20151"/>
                    <a:pt x="11652" y="20405"/>
                    <a:pt x="11182" y="20583"/>
                  </a:cubicBezTo>
                  <a:lnTo>
                    <a:pt x="8259" y="24649"/>
                  </a:lnTo>
                  <a:lnTo>
                    <a:pt x="98859" y="24649"/>
                  </a:lnTo>
                  <a:lnTo>
                    <a:pt x="98859" y="11943"/>
                  </a:lnTo>
                  <a:cubicBezTo>
                    <a:pt x="98783" y="5413"/>
                    <a:pt x="104019" y="76"/>
                    <a:pt x="110550" y="0"/>
                  </a:cubicBezTo>
                  <a:cubicBezTo>
                    <a:pt x="110550" y="0"/>
                    <a:pt x="110550" y="0"/>
                    <a:pt x="110550" y="0"/>
                  </a:cubicBezTo>
                  <a:lnTo>
                    <a:pt x="0" y="0"/>
                  </a:lnTo>
                  <a:close/>
                </a:path>
              </a:pathLst>
            </a:custGeom>
            <a:solidFill>
              <a:srgbClr val="000000"/>
            </a:solidFill>
            <a:ln w="12704"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B6C814D5-1407-405B-B8C5-47CB541D8153}"/>
                </a:ext>
              </a:extLst>
            </p:cNvPr>
            <p:cNvSpPr/>
            <p:nvPr/>
          </p:nvSpPr>
          <p:spPr>
            <a:xfrm>
              <a:off x="8736862" y="4871914"/>
              <a:ext cx="4179" cy="614064"/>
            </a:xfrm>
            <a:custGeom>
              <a:avLst/>
              <a:gdLst>
                <a:gd name="connsiteX0" fmla="*/ 381 w 4179"/>
                <a:gd name="connsiteY0" fmla="*/ 612413 h 614064"/>
                <a:gd name="connsiteX1" fmla="*/ 3177 w 4179"/>
                <a:gd name="connsiteY1" fmla="*/ 611651 h 614064"/>
                <a:gd name="connsiteX2" fmla="*/ 4066 w 4179"/>
                <a:gd name="connsiteY2" fmla="*/ 614065 h 614064"/>
                <a:gd name="connsiteX3" fmla="*/ 4066 w 4179"/>
                <a:gd name="connsiteY3" fmla="*/ 614065 h 614064"/>
                <a:gd name="connsiteX4" fmla="*/ 4066 w 4179"/>
                <a:gd name="connsiteY4" fmla="*/ 0 h 614064"/>
                <a:gd name="connsiteX5" fmla="*/ 0 w 4179"/>
                <a:gd name="connsiteY5" fmla="*/ 0 h 614064"/>
                <a:gd name="connsiteX6" fmla="*/ 0 w 4179"/>
                <a:gd name="connsiteY6" fmla="*/ 612922 h 6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9" h="614064">
                  <a:moveTo>
                    <a:pt x="381" y="612413"/>
                  </a:moveTo>
                  <a:cubicBezTo>
                    <a:pt x="979" y="611473"/>
                    <a:pt x="2186" y="611155"/>
                    <a:pt x="3177" y="611651"/>
                  </a:cubicBezTo>
                  <a:cubicBezTo>
                    <a:pt x="4016" y="612146"/>
                    <a:pt x="4384" y="613150"/>
                    <a:pt x="4066" y="614065"/>
                  </a:cubicBezTo>
                  <a:cubicBezTo>
                    <a:pt x="4066" y="614065"/>
                    <a:pt x="4066" y="614065"/>
                    <a:pt x="4066" y="614065"/>
                  </a:cubicBezTo>
                  <a:lnTo>
                    <a:pt x="4066" y="0"/>
                  </a:lnTo>
                  <a:lnTo>
                    <a:pt x="0" y="0"/>
                  </a:lnTo>
                  <a:lnTo>
                    <a:pt x="0" y="612922"/>
                  </a:lnTo>
                  <a:close/>
                </a:path>
              </a:pathLst>
            </a:custGeom>
            <a:solidFill>
              <a:srgbClr val="000000"/>
            </a:solidFill>
            <a:ln w="12704"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C000C52C-3621-48D1-8469-68CA291AC9C8}"/>
                </a:ext>
              </a:extLst>
            </p:cNvPr>
            <p:cNvSpPr/>
            <p:nvPr/>
          </p:nvSpPr>
          <p:spPr>
            <a:xfrm>
              <a:off x="8944112" y="4871914"/>
              <a:ext cx="4574" cy="601994"/>
            </a:xfrm>
            <a:custGeom>
              <a:avLst/>
              <a:gdLst>
                <a:gd name="connsiteX0" fmla="*/ 2033 w 4574"/>
                <a:gd name="connsiteY0" fmla="*/ 0 h 601994"/>
                <a:gd name="connsiteX1" fmla="*/ 0 w 4574"/>
                <a:gd name="connsiteY1" fmla="*/ 0 h 601994"/>
                <a:gd name="connsiteX2" fmla="*/ 0 w 4574"/>
                <a:gd name="connsiteY2" fmla="*/ 601994 h 601994"/>
                <a:gd name="connsiteX3" fmla="*/ 2033 w 4574"/>
                <a:gd name="connsiteY3" fmla="*/ 601994 h 601994"/>
                <a:gd name="connsiteX4" fmla="*/ 4574 w 4574"/>
                <a:gd name="connsiteY4" fmla="*/ 601994 h 601994"/>
                <a:gd name="connsiteX5" fmla="*/ 4574 w 4574"/>
                <a:gd name="connsiteY5" fmla="*/ 0 h 60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4" h="601994">
                  <a:moveTo>
                    <a:pt x="2033" y="0"/>
                  </a:moveTo>
                  <a:lnTo>
                    <a:pt x="0" y="0"/>
                  </a:lnTo>
                  <a:lnTo>
                    <a:pt x="0" y="601994"/>
                  </a:lnTo>
                  <a:cubicBezTo>
                    <a:pt x="673" y="601918"/>
                    <a:pt x="1360" y="601918"/>
                    <a:pt x="2033" y="601994"/>
                  </a:cubicBezTo>
                  <a:lnTo>
                    <a:pt x="4574" y="601994"/>
                  </a:lnTo>
                  <a:lnTo>
                    <a:pt x="4574" y="0"/>
                  </a:lnTo>
                  <a:close/>
                </a:path>
              </a:pathLst>
            </a:custGeom>
            <a:solidFill>
              <a:srgbClr val="000000"/>
            </a:solidFill>
            <a:ln w="12704"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8A731CFA-53E2-4A29-8690-7C62A59EAAA3}"/>
                </a:ext>
              </a:extLst>
            </p:cNvPr>
            <p:cNvSpPr/>
            <p:nvPr/>
          </p:nvSpPr>
          <p:spPr>
            <a:xfrm>
              <a:off x="8441797" y="5977052"/>
              <a:ext cx="24026" cy="351819"/>
            </a:xfrm>
            <a:custGeom>
              <a:avLst/>
              <a:gdLst>
                <a:gd name="connsiteX0" fmla="*/ 21740 w 24026"/>
                <a:gd name="connsiteY0" fmla="*/ 6861 h 351819"/>
                <a:gd name="connsiteX1" fmla="*/ 5779 w 24026"/>
                <a:gd name="connsiteY1" fmla="*/ 11155 h 351819"/>
                <a:gd name="connsiteX2" fmla="*/ 5601 w 24026"/>
                <a:gd name="connsiteY2" fmla="*/ 11054 h 351819"/>
                <a:gd name="connsiteX3" fmla="*/ 10 w 24026"/>
                <a:gd name="connsiteY3" fmla="*/ 0 h 351819"/>
                <a:gd name="connsiteX4" fmla="*/ 10 w 24026"/>
                <a:gd name="connsiteY4" fmla="*/ 762 h 351819"/>
                <a:gd name="connsiteX5" fmla="*/ 10 w 24026"/>
                <a:gd name="connsiteY5" fmla="*/ 351820 h 351819"/>
                <a:gd name="connsiteX6" fmla="*/ 11828 w 24026"/>
                <a:gd name="connsiteY6" fmla="*/ 339114 h 351819"/>
                <a:gd name="connsiteX7" fmla="*/ 24027 w 24026"/>
                <a:gd name="connsiteY7" fmla="*/ 339114 h 351819"/>
                <a:gd name="connsiteX8" fmla="*/ 24027 w 24026"/>
                <a:gd name="connsiteY8" fmla="*/ 4066 h 35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6" h="351819">
                  <a:moveTo>
                    <a:pt x="21740" y="6861"/>
                  </a:moveTo>
                  <a:cubicBezTo>
                    <a:pt x="18512" y="12452"/>
                    <a:pt x="11371" y="14383"/>
                    <a:pt x="5779" y="11155"/>
                  </a:cubicBezTo>
                  <a:cubicBezTo>
                    <a:pt x="5716" y="11117"/>
                    <a:pt x="5665" y="11092"/>
                    <a:pt x="5601" y="11054"/>
                  </a:cubicBezTo>
                  <a:cubicBezTo>
                    <a:pt x="1942" y="8589"/>
                    <a:pt x="-167" y="4409"/>
                    <a:pt x="10" y="0"/>
                  </a:cubicBezTo>
                  <a:cubicBezTo>
                    <a:pt x="10" y="0"/>
                    <a:pt x="10" y="0"/>
                    <a:pt x="10" y="762"/>
                  </a:cubicBezTo>
                  <a:lnTo>
                    <a:pt x="10" y="351820"/>
                  </a:lnTo>
                  <a:cubicBezTo>
                    <a:pt x="-2" y="345137"/>
                    <a:pt x="5157" y="339584"/>
                    <a:pt x="11828" y="339114"/>
                  </a:cubicBezTo>
                  <a:lnTo>
                    <a:pt x="24027" y="339114"/>
                  </a:lnTo>
                  <a:lnTo>
                    <a:pt x="24027" y="4066"/>
                  </a:lnTo>
                  <a:close/>
                </a:path>
              </a:pathLst>
            </a:custGeom>
            <a:solidFill>
              <a:srgbClr val="000000"/>
            </a:solidFill>
            <a:ln w="12704"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5313CD1D-1FF6-4A74-997D-A0669DCBFDC8}"/>
                </a:ext>
              </a:extLst>
            </p:cNvPr>
            <p:cNvSpPr/>
            <p:nvPr/>
          </p:nvSpPr>
          <p:spPr>
            <a:xfrm>
              <a:off x="8441299" y="6316802"/>
              <a:ext cx="2484838" cy="19694"/>
            </a:xfrm>
            <a:custGeom>
              <a:avLst/>
              <a:gdLst>
                <a:gd name="connsiteX0" fmla="*/ 2482424 w 2484838"/>
                <a:gd name="connsiteY0" fmla="*/ 0 h 19694"/>
                <a:gd name="connsiteX1" fmla="*/ 11817 w 2484838"/>
                <a:gd name="connsiteY1" fmla="*/ 0 h 19694"/>
                <a:gd name="connsiteX2" fmla="*/ 0 w 2484838"/>
                <a:gd name="connsiteY2" fmla="*/ 12706 h 19694"/>
                <a:gd name="connsiteX3" fmla="*/ 2414 w 2484838"/>
                <a:gd name="connsiteY3" fmla="*/ 19694 h 19694"/>
                <a:gd name="connsiteX4" fmla="*/ 2484838 w 2484838"/>
                <a:gd name="connsiteY4" fmla="*/ 19694 h 19694"/>
                <a:gd name="connsiteX5" fmla="*/ 2482424 w 2484838"/>
                <a:gd name="connsiteY5" fmla="*/ 12706 h 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4838" h="19694">
                  <a:moveTo>
                    <a:pt x="2482424" y="0"/>
                  </a:moveTo>
                  <a:lnTo>
                    <a:pt x="11817" y="0"/>
                  </a:lnTo>
                  <a:cubicBezTo>
                    <a:pt x="5146" y="470"/>
                    <a:pt x="-13" y="6022"/>
                    <a:pt x="0" y="12706"/>
                  </a:cubicBezTo>
                  <a:cubicBezTo>
                    <a:pt x="89" y="15221"/>
                    <a:pt x="940" y="17661"/>
                    <a:pt x="2414" y="19694"/>
                  </a:cubicBezTo>
                  <a:lnTo>
                    <a:pt x="2484838" y="19694"/>
                  </a:lnTo>
                  <a:cubicBezTo>
                    <a:pt x="2483365" y="17661"/>
                    <a:pt x="2482513" y="15221"/>
                    <a:pt x="2482424" y="12706"/>
                  </a:cubicBezTo>
                  <a:close/>
                </a:path>
              </a:pathLst>
            </a:custGeom>
            <a:solidFill>
              <a:srgbClr val="000000"/>
            </a:solidFill>
            <a:ln w="12704"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1063A6FC-22BC-43FE-80FD-1606B34AAE3E}"/>
                </a:ext>
              </a:extLst>
            </p:cNvPr>
            <p:cNvSpPr/>
            <p:nvPr/>
          </p:nvSpPr>
          <p:spPr>
            <a:xfrm>
              <a:off x="8512966" y="5599948"/>
              <a:ext cx="4193" cy="260720"/>
            </a:xfrm>
            <a:custGeom>
              <a:avLst/>
              <a:gdLst>
                <a:gd name="connsiteX0" fmla="*/ 3685 w 4193"/>
                <a:gd name="connsiteY0" fmla="*/ 0 h 260720"/>
                <a:gd name="connsiteX1" fmla="*/ 3685 w 4193"/>
                <a:gd name="connsiteY1" fmla="*/ 0 h 260720"/>
                <a:gd name="connsiteX2" fmla="*/ 3685 w 4193"/>
                <a:gd name="connsiteY2" fmla="*/ 0 h 260720"/>
                <a:gd name="connsiteX3" fmla="*/ 2033 w 4193"/>
                <a:gd name="connsiteY3" fmla="*/ 762 h 260720"/>
                <a:gd name="connsiteX4" fmla="*/ 0 w 4193"/>
                <a:gd name="connsiteY4" fmla="*/ 762 h 260720"/>
                <a:gd name="connsiteX5" fmla="*/ 0 w 4193"/>
                <a:gd name="connsiteY5" fmla="*/ 260720 h 260720"/>
                <a:gd name="connsiteX6" fmla="*/ 4194 w 4193"/>
                <a:gd name="connsiteY6" fmla="*/ 260720 h 26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260720">
                  <a:moveTo>
                    <a:pt x="3685" y="0"/>
                  </a:moveTo>
                  <a:lnTo>
                    <a:pt x="3685" y="0"/>
                  </a:lnTo>
                  <a:lnTo>
                    <a:pt x="3685" y="0"/>
                  </a:lnTo>
                  <a:cubicBezTo>
                    <a:pt x="3304" y="521"/>
                    <a:pt x="2681" y="800"/>
                    <a:pt x="2033" y="762"/>
                  </a:cubicBezTo>
                  <a:lnTo>
                    <a:pt x="0" y="762"/>
                  </a:lnTo>
                  <a:lnTo>
                    <a:pt x="0" y="260720"/>
                  </a:lnTo>
                  <a:cubicBezTo>
                    <a:pt x="1385" y="260466"/>
                    <a:pt x="2808" y="260466"/>
                    <a:pt x="4194" y="260720"/>
                  </a:cubicBezTo>
                  <a:close/>
                </a:path>
              </a:pathLst>
            </a:custGeom>
            <a:solidFill>
              <a:srgbClr val="000000"/>
            </a:solidFill>
            <a:ln w="12704"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2AADFE79-36E0-4DFD-8134-4D41C9A4CB7A}"/>
                </a:ext>
              </a:extLst>
            </p:cNvPr>
            <p:cNvSpPr/>
            <p:nvPr/>
          </p:nvSpPr>
          <p:spPr>
            <a:xfrm>
              <a:off x="11969503" y="4556559"/>
              <a:ext cx="24905" cy="4320"/>
            </a:xfrm>
            <a:custGeom>
              <a:avLst/>
              <a:gdLst>
                <a:gd name="connsiteX0" fmla="*/ 0 w 24905"/>
                <a:gd name="connsiteY0" fmla="*/ 2160 h 4320"/>
                <a:gd name="connsiteX1" fmla="*/ 0 w 24905"/>
                <a:gd name="connsiteY1" fmla="*/ 4320 h 4320"/>
                <a:gd name="connsiteX2" fmla="*/ 24906 w 24905"/>
                <a:gd name="connsiteY2" fmla="*/ 4320 h 4320"/>
                <a:gd name="connsiteX3" fmla="*/ 24906 w 24905"/>
                <a:gd name="connsiteY3" fmla="*/ 2160 h 4320"/>
                <a:gd name="connsiteX4" fmla="*/ 24906 w 24905"/>
                <a:gd name="connsiteY4" fmla="*/ 0 h 4320"/>
                <a:gd name="connsiteX5" fmla="*/ 0 w 24905"/>
                <a:gd name="connsiteY5" fmla="*/ 0 h 4320"/>
                <a:gd name="connsiteX6" fmla="*/ 0 w 24905"/>
                <a:gd name="connsiteY6" fmla="*/ 2160 h 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05" h="4320">
                  <a:moveTo>
                    <a:pt x="0" y="2160"/>
                  </a:moveTo>
                  <a:lnTo>
                    <a:pt x="0" y="4320"/>
                  </a:lnTo>
                  <a:lnTo>
                    <a:pt x="24906" y="4320"/>
                  </a:lnTo>
                  <a:lnTo>
                    <a:pt x="24906" y="2160"/>
                  </a:lnTo>
                  <a:lnTo>
                    <a:pt x="24906" y="0"/>
                  </a:lnTo>
                  <a:lnTo>
                    <a:pt x="0" y="0"/>
                  </a:lnTo>
                  <a:lnTo>
                    <a:pt x="0" y="2160"/>
                  </a:lnTo>
                  <a:close/>
                </a:path>
              </a:pathLst>
            </a:custGeom>
            <a:solidFill>
              <a:srgbClr val="000000"/>
            </a:solidFill>
            <a:ln w="12704"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59C426D8-3445-4479-A9B9-3636CCA05541}"/>
                </a:ext>
              </a:extLst>
            </p:cNvPr>
            <p:cNvSpPr/>
            <p:nvPr/>
          </p:nvSpPr>
          <p:spPr>
            <a:xfrm>
              <a:off x="9802846" y="2246161"/>
              <a:ext cx="4193" cy="476208"/>
            </a:xfrm>
            <a:custGeom>
              <a:avLst/>
              <a:gdLst>
                <a:gd name="connsiteX0" fmla="*/ 2161 w 4193"/>
                <a:gd name="connsiteY0" fmla="*/ 476208 h 476208"/>
                <a:gd name="connsiteX1" fmla="*/ 4194 w 4193"/>
                <a:gd name="connsiteY1" fmla="*/ 476208 h 476208"/>
                <a:gd name="connsiteX2" fmla="*/ 4194 w 4193"/>
                <a:gd name="connsiteY2" fmla="*/ 0 h 476208"/>
                <a:gd name="connsiteX3" fmla="*/ 2161 w 4193"/>
                <a:gd name="connsiteY3" fmla="*/ 0 h 476208"/>
                <a:gd name="connsiteX4" fmla="*/ 0 w 4193"/>
                <a:gd name="connsiteY4" fmla="*/ 0 h 476208"/>
                <a:gd name="connsiteX5" fmla="*/ 0 w 4193"/>
                <a:gd name="connsiteY5" fmla="*/ 476208 h 47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476208">
                  <a:moveTo>
                    <a:pt x="2161" y="476208"/>
                  </a:moveTo>
                  <a:lnTo>
                    <a:pt x="4194" y="476208"/>
                  </a:lnTo>
                  <a:lnTo>
                    <a:pt x="4194" y="0"/>
                  </a:lnTo>
                  <a:lnTo>
                    <a:pt x="2161" y="0"/>
                  </a:lnTo>
                  <a:cubicBezTo>
                    <a:pt x="1436" y="63"/>
                    <a:pt x="724" y="63"/>
                    <a:pt x="0" y="0"/>
                  </a:cubicBezTo>
                  <a:lnTo>
                    <a:pt x="0" y="476208"/>
                  </a:lnTo>
                  <a:close/>
                </a:path>
              </a:pathLst>
            </a:custGeom>
            <a:solidFill>
              <a:srgbClr val="000000"/>
            </a:solidFill>
            <a:ln w="12704"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9B8A7C37-C017-4D90-97FE-3294AAF04E6B}"/>
                </a:ext>
              </a:extLst>
            </p:cNvPr>
            <p:cNvSpPr/>
            <p:nvPr/>
          </p:nvSpPr>
          <p:spPr>
            <a:xfrm>
              <a:off x="9787915" y="1855446"/>
              <a:ext cx="28526" cy="40801"/>
            </a:xfrm>
            <a:custGeom>
              <a:avLst/>
              <a:gdLst>
                <a:gd name="connsiteX0" fmla="*/ 64 w 28526"/>
                <a:gd name="connsiteY0" fmla="*/ 13103 h 40801"/>
                <a:gd name="connsiteX1" fmla="*/ 1843 w 28526"/>
                <a:gd name="connsiteY1" fmla="*/ 22759 h 40801"/>
                <a:gd name="connsiteX2" fmla="*/ 5274 w 28526"/>
                <a:gd name="connsiteY2" fmla="*/ 40801 h 40801"/>
                <a:gd name="connsiteX3" fmla="*/ 5274 w 28526"/>
                <a:gd name="connsiteY3" fmla="*/ 39530 h 40801"/>
                <a:gd name="connsiteX4" fmla="*/ 9467 w 28526"/>
                <a:gd name="connsiteY4" fmla="*/ 30637 h 40801"/>
                <a:gd name="connsiteX5" fmla="*/ 9467 w 28526"/>
                <a:gd name="connsiteY5" fmla="*/ 10689 h 40801"/>
                <a:gd name="connsiteX6" fmla="*/ 11500 w 28526"/>
                <a:gd name="connsiteY6" fmla="*/ 8656 h 40801"/>
                <a:gd name="connsiteX7" fmla="*/ 13660 w 28526"/>
                <a:gd name="connsiteY7" fmla="*/ 10689 h 40801"/>
                <a:gd name="connsiteX8" fmla="*/ 13660 w 28526"/>
                <a:gd name="connsiteY8" fmla="*/ 28350 h 40801"/>
                <a:gd name="connsiteX9" fmla="*/ 17091 w 28526"/>
                <a:gd name="connsiteY9" fmla="*/ 28350 h 40801"/>
                <a:gd name="connsiteX10" fmla="*/ 28527 w 28526"/>
                <a:gd name="connsiteY10" fmla="*/ 39149 h 40801"/>
                <a:gd name="connsiteX11" fmla="*/ 28527 w 28526"/>
                <a:gd name="connsiteY11" fmla="*/ 38006 h 40801"/>
                <a:gd name="connsiteX12" fmla="*/ 22936 w 28526"/>
                <a:gd name="connsiteY12" fmla="*/ 9164 h 40801"/>
                <a:gd name="connsiteX13" fmla="*/ 22936 w 28526"/>
                <a:gd name="connsiteY13" fmla="*/ 8020 h 40801"/>
                <a:gd name="connsiteX14" fmla="*/ 22047 w 28526"/>
                <a:gd name="connsiteY14" fmla="*/ 5861 h 40801"/>
                <a:gd name="connsiteX15" fmla="*/ 20903 w 28526"/>
                <a:gd name="connsiteY15" fmla="*/ 3955 h 40801"/>
                <a:gd name="connsiteX16" fmla="*/ 19251 w 28526"/>
                <a:gd name="connsiteY16" fmla="*/ 2303 h 40801"/>
                <a:gd name="connsiteX17" fmla="*/ 17472 w 28526"/>
                <a:gd name="connsiteY17" fmla="*/ 1159 h 40801"/>
                <a:gd name="connsiteX18" fmla="*/ 15439 w 28526"/>
                <a:gd name="connsiteY18" fmla="*/ 143 h 40801"/>
                <a:gd name="connsiteX19" fmla="*/ 13152 w 28526"/>
                <a:gd name="connsiteY19" fmla="*/ 143 h 40801"/>
                <a:gd name="connsiteX20" fmla="*/ 9721 w 28526"/>
                <a:gd name="connsiteY20" fmla="*/ 143 h 40801"/>
                <a:gd name="connsiteX21" fmla="*/ 64 w 28526"/>
                <a:gd name="connsiteY21" fmla="*/ 13103 h 4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26" h="40801">
                  <a:moveTo>
                    <a:pt x="64" y="13103"/>
                  </a:moveTo>
                  <a:lnTo>
                    <a:pt x="1843" y="22759"/>
                  </a:lnTo>
                  <a:lnTo>
                    <a:pt x="5274" y="40801"/>
                  </a:lnTo>
                  <a:lnTo>
                    <a:pt x="5274" y="39530"/>
                  </a:lnTo>
                  <a:cubicBezTo>
                    <a:pt x="5299" y="36087"/>
                    <a:pt x="6823" y="32835"/>
                    <a:pt x="9467" y="30637"/>
                  </a:cubicBezTo>
                  <a:lnTo>
                    <a:pt x="9467" y="10689"/>
                  </a:lnTo>
                  <a:cubicBezTo>
                    <a:pt x="9467" y="9571"/>
                    <a:pt x="10382" y="8656"/>
                    <a:pt x="11500" y="8656"/>
                  </a:cubicBezTo>
                  <a:cubicBezTo>
                    <a:pt x="12643" y="8656"/>
                    <a:pt x="13596" y="9545"/>
                    <a:pt x="13660" y="10689"/>
                  </a:cubicBezTo>
                  <a:lnTo>
                    <a:pt x="13660" y="28350"/>
                  </a:lnTo>
                  <a:cubicBezTo>
                    <a:pt x="14804" y="28222"/>
                    <a:pt x="15947" y="28222"/>
                    <a:pt x="17091" y="28350"/>
                  </a:cubicBezTo>
                  <a:cubicBezTo>
                    <a:pt x="23140" y="28400"/>
                    <a:pt x="28133" y="33114"/>
                    <a:pt x="28527" y="39149"/>
                  </a:cubicBezTo>
                  <a:cubicBezTo>
                    <a:pt x="28527" y="39149"/>
                    <a:pt x="28527" y="38387"/>
                    <a:pt x="28527" y="38006"/>
                  </a:cubicBezTo>
                  <a:lnTo>
                    <a:pt x="22936" y="9164"/>
                  </a:lnTo>
                  <a:lnTo>
                    <a:pt x="22936" y="8020"/>
                  </a:lnTo>
                  <a:cubicBezTo>
                    <a:pt x="22771" y="7258"/>
                    <a:pt x="22466" y="6521"/>
                    <a:pt x="22047" y="5861"/>
                  </a:cubicBezTo>
                  <a:cubicBezTo>
                    <a:pt x="21741" y="5187"/>
                    <a:pt x="21361" y="4539"/>
                    <a:pt x="20903" y="3955"/>
                  </a:cubicBezTo>
                  <a:cubicBezTo>
                    <a:pt x="20420" y="3345"/>
                    <a:pt x="19861" y="2786"/>
                    <a:pt x="19251" y="2303"/>
                  </a:cubicBezTo>
                  <a:cubicBezTo>
                    <a:pt x="18705" y="1846"/>
                    <a:pt x="18107" y="1464"/>
                    <a:pt x="17472" y="1159"/>
                  </a:cubicBezTo>
                  <a:lnTo>
                    <a:pt x="15439" y="143"/>
                  </a:lnTo>
                  <a:cubicBezTo>
                    <a:pt x="14677" y="79"/>
                    <a:pt x="13914" y="79"/>
                    <a:pt x="13152" y="143"/>
                  </a:cubicBezTo>
                  <a:cubicBezTo>
                    <a:pt x="12021" y="-48"/>
                    <a:pt x="10852" y="-48"/>
                    <a:pt x="9721" y="143"/>
                  </a:cubicBezTo>
                  <a:cubicBezTo>
                    <a:pt x="3622" y="1299"/>
                    <a:pt x="-572" y="6928"/>
                    <a:pt x="64" y="13103"/>
                  </a:cubicBezTo>
                  <a:close/>
                </a:path>
              </a:pathLst>
            </a:custGeom>
            <a:solidFill>
              <a:srgbClr val="000000"/>
            </a:solidFill>
            <a:ln w="12704"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F7764D6C-107A-425E-A5CB-A2207AB772DA}"/>
                </a:ext>
              </a:extLst>
            </p:cNvPr>
            <p:cNvSpPr/>
            <p:nvPr/>
          </p:nvSpPr>
          <p:spPr>
            <a:xfrm>
              <a:off x="11830871" y="4223162"/>
              <a:ext cx="90473" cy="46629"/>
            </a:xfrm>
            <a:custGeom>
              <a:avLst/>
              <a:gdLst>
                <a:gd name="connsiteX0" fmla="*/ 89203 w 90473"/>
                <a:gd name="connsiteY0" fmla="*/ 46630 h 46629"/>
                <a:gd name="connsiteX1" fmla="*/ 90473 w 90473"/>
                <a:gd name="connsiteY1" fmla="*/ 46630 h 46629"/>
                <a:gd name="connsiteX2" fmla="*/ 90473 w 90473"/>
                <a:gd name="connsiteY2" fmla="*/ 46630 h 46629"/>
                <a:gd name="connsiteX3" fmla="*/ 90473 w 90473"/>
                <a:gd name="connsiteY3" fmla="*/ 46630 h 46629"/>
                <a:gd name="connsiteX4" fmla="*/ 8641 w 90473"/>
                <a:gd name="connsiteY4" fmla="*/ 0 h 46629"/>
                <a:gd name="connsiteX5" fmla="*/ 0 w 90473"/>
                <a:gd name="connsiteY5" fmla="*/ 0 h 46629"/>
                <a:gd name="connsiteX6" fmla="*/ 81960 w 90473"/>
                <a:gd name="connsiteY6" fmla="*/ 46630 h 4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73" h="46629">
                  <a:moveTo>
                    <a:pt x="89203" y="46630"/>
                  </a:moveTo>
                  <a:cubicBezTo>
                    <a:pt x="89609" y="46465"/>
                    <a:pt x="90067" y="46465"/>
                    <a:pt x="90473" y="46630"/>
                  </a:cubicBezTo>
                  <a:lnTo>
                    <a:pt x="90473" y="46630"/>
                  </a:lnTo>
                  <a:lnTo>
                    <a:pt x="90473" y="46630"/>
                  </a:lnTo>
                  <a:lnTo>
                    <a:pt x="8641" y="0"/>
                  </a:lnTo>
                  <a:lnTo>
                    <a:pt x="0" y="0"/>
                  </a:lnTo>
                  <a:lnTo>
                    <a:pt x="81960" y="46630"/>
                  </a:lnTo>
                  <a:close/>
                </a:path>
              </a:pathLst>
            </a:custGeom>
            <a:solidFill>
              <a:srgbClr val="000000"/>
            </a:solidFill>
            <a:ln w="12704"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F2553ED1-42E8-4E94-AACE-DA8D47846B9E}"/>
                </a:ext>
              </a:extLst>
            </p:cNvPr>
            <p:cNvSpPr/>
            <p:nvPr/>
          </p:nvSpPr>
          <p:spPr>
            <a:xfrm>
              <a:off x="11922106" y="4272460"/>
              <a:ext cx="12706" cy="635"/>
            </a:xfrm>
            <a:custGeom>
              <a:avLst/>
              <a:gdLst>
                <a:gd name="connsiteX0" fmla="*/ 0 w 12706"/>
                <a:gd name="connsiteY0" fmla="*/ 0 h 635"/>
                <a:gd name="connsiteX1" fmla="*/ 0 w 12706"/>
                <a:gd name="connsiteY1" fmla="*/ 0 h 635"/>
                <a:gd name="connsiteX2" fmla="*/ 0 w 12706"/>
                <a:gd name="connsiteY2" fmla="*/ 635 h 635"/>
              </a:gdLst>
              <a:ahLst/>
              <a:cxnLst>
                <a:cxn ang="0">
                  <a:pos x="connsiteX0" y="connsiteY0"/>
                </a:cxn>
                <a:cxn ang="0">
                  <a:pos x="connsiteX1" y="connsiteY1"/>
                </a:cxn>
                <a:cxn ang="0">
                  <a:pos x="connsiteX2" y="connsiteY2"/>
                </a:cxn>
              </a:cxnLst>
              <a:rect l="l" t="t" r="r" b="b"/>
              <a:pathLst>
                <a:path w="12706" h="635">
                  <a:moveTo>
                    <a:pt x="0" y="0"/>
                  </a:moveTo>
                  <a:lnTo>
                    <a:pt x="0" y="0"/>
                  </a:lnTo>
                  <a:cubicBezTo>
                    <a:pt x="0" y="0"/>
                    <a:pt x="0" y="0"/>
                    <a:pt x="0" y="635"/>
                  </a:cubicBezTo>
                  <a:close/>
                </a:path>
              </a:pathLst>
            </a:custGeom>
            <a:solidFill>
              <a:srgbClr val="000000"/>
            </a:solidFill>
            <a:ln w="12704"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5176A204-73D2-42BB-AEB5-CC7C7C730482}"/>
                </a:ext>
              </a:extLst>
            </p:cNvPr>
            <p:cNvSpPr/>
            <p:nvPr/>
          </p:nvSpPr>
          <p:spPr>
            <a:xfrm>
              <a:off x="11855140" y="4209637"/>
              <a:ext cx="109407" cy="69938"/>
            </a:xfrm>
            <a:custGeom>
              <a:avLst/>
              <a:gdLst>
                <a:gd name="connsiteX0" fmla="*/ 13469 w 109407"/>
                <a:gd name="connsiteY0" fmla="*/ 12000 h 69938"/>
                <a:gd name="connsiteX1" fmla="*/ 11309 w 109407"/>
                <a:gd name="connsiteY1" fmla="*/ 14160 h 69938"/>
                <a:gd name="connsiteX2" fmla="*/ 0 w 109407"/>
                <a:gd name="connsiteY2" fmla="*/ 14160 h 69938"/>
                <a:gd name="connsiteX3" fmla="*/ 5718 w 109407"/>
                <a:gd name="connsiteY3" fmla="*/ 22546 h 69938"/>
                <a:gd name="connsiteX4" fmla="*/ 74209 w 109407"/>
                <a:gd name="connsiteY4" fmla="*/ 60663 h 69938"/>
                <a:gd name="connsiteX5" fmla="*/ 81833 w 109407"/>
                <a:gd name="connsiteY5" fmla="*/ 64856 h 69938"/>
                <a:gd name="connsiteX6" fmla="*/ 90855 w 109407"/>
                <a:gd name="connsiteY6" fmla="*/ 69938 h 69938"/>
                <a:gd name="connsiteX7" fmla="*/ 90855 w 109407"/>
                <a:gd name="connsiteY7" fmla="*/ 62823 h 69938"/>
                <a:gd name="connsiteX8" fmla="*/ 102672 w 109407"/>
                <a:gd name="connsiteY8" fmla="*/ 50880 h 69938"/>
                <a:gd name="connsiteX9" fmla="*/ 109407 w 109407"/>
                <a:gd name="connsiteY9" fmla="*/ 53294 h 69938"/>
                <a:gd name="connsiteX10" fmla="*/ 108263 w 109407"/>
                <a:gd name="connsiteY10" fmla="*/ 52277 h 69938"/>
                <a:gd name="connsiteX11" fmla="*/ 17028 w 109407"/>
                <a:gd name="connsiteY11" fmla="*/ 1455 h 69938"/>
                <a:gd name="connsiteX12" fmla="*/ 1144 w 109407"/>
                <a:gd name="connsiteY12" fmla="*/ 6041 h 69938"/>
                <a:gd name="connsiteX13" fmla="*/ 1017 w 109407"/>
                <a:gd name="connsiteY13" fmla="*/ 6283 h 69938"/>
                <a:gd name="connsiteX14" fmla="*/ 0 w 109407"/>
                <a:gd name="connsiteY14" fmla="*/ 9840 h 69938"/>
                <a:gd name="connsiteX15" fmla="*/ 11309 w 109407"/>
                <a:gd name="connsiteY15" fmla="*/ 9840 h 69938"/>
                <a:gd name="connsiteX16" fmla="*/ 13469 w 109407"/>
                <a:gd name="connsiteY16" fmla="*/ 12000 h 6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407" h="69938">
                  <a:moveTo>
                    <a:pt x="13469" y="12000"/>
                  </a:moveTo>
                  <a:cubicBezTo>
                    <a:pt x="13406" y="13169"/>
                    <a:pt x="12478" y="14097"/>
                    <a:pt x="11309" y="14160"/>
                  </a:cubicBezTo>
                  <a:lnTo>
                    <a:pt x="0" y="14160"/>
                  </a:lnTo>
                  <a:cubicBezTo>
                    <a:pt x="559" y="17667"/>
                    <a:pt x="2656" y="20742"/>
                    <a:pt x="5718" y="22546"/>
                  </a:cubicBezTo>
                  <a:lnTo>
                    <a:pt x="74209" y="60663"/>
                  </a:lnTo>
                  <a:lnTo>
                    <a:pt x="81833" y="64856"/>
                  </a:lnTo>
                  <a:lnTo>
                    <a:pt x="90855" y="69938"/>
                  </a:lnTo>
                  <a:lnTo>
                    <a:pt x="90855" y="62823"/>
                  </a:lnTo>
                  <a:cubicBezTo>
                    <a:pt x="90855" y="56279"/>
                    <a:pt x="96128" y="50943"/>
                    <a:pt x="102672" y="50880"/>
                  </a:cubicBezTo>
                  <a:cubicBezTo>
                    <a:pt x="105112" y="50943"/>
                    <a:pt x="107475" y="51794"/>
                    <a:pt x="109407" y="53294"/>
                  </a:cubicBezTo>
                  <a:lnTo>
                    <a:pt x="108263" y="52277"/>
                  </a:lnTo>
                  <a:lnTo>
                    <a:pt x="17028" y="1455"/>
                  </a:lnTo>
                  <a:cubicBezTo>
                    <a:pt x="11373" y="-1658"/>
                    <a:pt x="4257" y="387"/>
                    <a:pt x="1144" y="6041"/>
                  </a:cubicBezTo>
                  <a:cubicBezTo>
                    <a:pt x="1106" y="6117"/>
                    <a:pt x="1055" y="6207"/>
                    <a:pt x="1017" y="6283"/>
                  </a:cubicBezTo>
                  <a:cubicBezTo>
                    <a:pt x="445" y="7388"/>
                    <a:pt x="102" y="8595"/>
                    <a:pt x="0" y="9840"/>
                  </a:cubicBezTo>
                  <a:lnTo>
                    <a:pt x="11309" y="9840"/>
                  </a:lnTo>
                  <a:cubicBezTo>
                    <a:pt x="12478" y="9904"/>
                    <a:pt x="13406" y="10831"/>
                    <a:pt x="13469" y="12000"/>
                  </a:cubicBezTo>
                  <a:close/>
                </a:path>
              </a:pathLst>
            </a:custGeom>
            <a:solidFill>
              <a:srgbClr val="000000"/>
            </a:solidFill>
            <a:ln w="12704"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46AAACDA-CA9F-4421-AF72-B32923E45706}"/>
                </a:ext>
              </a:extLst>
            </p:cNvPr>
            <p:cNvSpPr/>
            <p:nvPr/>
          </p:nvSpPr>
          <p:spPr>
            <a:xfrm>
              <a:off x="2861990" y="6394306"/>
              <a:ext cx="81" cy="1397"/>
            </a:xfrm>
            <a:custGeom>
              <a:avLst/>
              <a:gdLst>
                <a:gd name="connsiteX0" fmla="*/ 81 w 81"/>
                <a:gd name="connsiteY0" fmla="*/ 1397 h 1397"/>
                <a:gd name="connsiteX1" fmla="*/ 81 w 81"/>
                <a:gd name="connsiteY1" fmla="*/ 1397 h 1397"/>
                <a:gd name="connsiteX2" fmla="*/ 81 w 81"/>
                <a:gd name="connsiteY2" fmla="*/ 0 h 1397"/>
                <a:gd name="connsiteX3" fmla="*/ 81 w 81"/>
                <a:gd name="connsiteY3" fmla="*/ 1397 h 1397"/>
              </a:gdLst>
              <a:ahLst/>
              <a:cxnLst>
                <a:cxn ang="0">
                  <a:pos x="connsiteX0" y="connsiteY0"/>
                </a:cxn>
                <a:cxn ang="0">
                  <a:pos x="connsiteX1" y="connsiteY1"/>
                </a:cxn>
                <a:cxn ang="0">
                  <a:pos x="connsiteX2" y="connsiteY2"/>
                </a:cxn>
                <a:cxn ang="0">
                  <a:pos x="connsiteX3" y="connsiteY3"/>
                </a:cxn>
              </a:cxnLst>
              <a:rect l="l" t="t" r="r" b="b"/>
              <a:pathLst>
                <a:path w="81" h="1397">
                  <a:moveTo>
                    <a:pt x="81" y="1397"/>
                  </a:moveTo>
                  <a:lnTo>
                    <a:pt x="81" y="1397"/>
                  </a:lnTo>
                  <a:cubicBezTo>
                    <a:pt x="-8" y="940"/>
                    <a:pt x="-8" y="458"/>
                    <a:pt x="81" y="0"/>
                  </a:cubicBezTo>
                  <a:cubicBezTo>
                    <a:pt x="-27" y="458"/>
                    <a:pt x="-27" y="940"/>
                    <a:pt x="81" y="1397"/>
                  </a:cubicBezTo>
                  <a:close/>
                </a:path>
              </a:pathLst>
            </a:custGeom>
            <a:solidFill>
              <a:srgbClr val="000000"/>
            </a:solidFill>
            <a:ln w="12704"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32A4FEEF-5D1B-4AF5-A201-3CCB7F949494}"/>
                </a:ext>
              </a:extLst>
            </p:cNvPr>
            <p:cNvSpPr/>
            <p:nvPr/>
          </p:nvSpPr>
          <p:spPr>
            <a:xfrm>
              <a:off x="2862071" y="6395831"/>
              <a:ext cx="23507" cy="465027"/>
            </a:xfrm>
            <a:custGeom>
              <a:avLst/>
              <a:gdLst>
                <a:gd name="connsiteX0" fmla="*/ 23508 w 23507"/>
                <a:gd name="connsiteY0" fmla="*/ 7751 h 465027"/>
                <a:gd name="connsiteX1" fmla="*/ 16392 w 23507"/>
                <a:gd name="connsiteY1" fmla="*/ 10927 h 465027"/>
                <a:gd name="connsiteX2" fmla="*/ 11690 w 23507"/>
                <a:gd name="connsiteY2" fmla="*/ 11943 h 465027"/>
                <a:gd name="connsiteX3" fmla="*/ 1017 w 23507"/>
                <a:gd name="connsiteY3" fmla="*/ 4701 h 465027"/>
                <a:gd name="connsiteX4" fmla="*/ 0 w 23507"/>
                <a:gd name="connsiteY4" fmla="*/ 0 h 465027"/>
                <a:gd name="connsiteX5" fmla="*/ 0 w 23507"/>
                <a:gd name="connsiteY5" fmla="*/ 465027 h 465027"/>
                <a:gd name="connsiteX6" fmla="*/ 23508 w 23507"/>
                <a:gd name="connsiteY6" fmla="*/ 465027 h 46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07" h="465027">
                  <a:moveTo>
                    <a:pt x="23508" y="7751"/>
                  </a:moveTo>
                  <a:lnTo>
                    <a:pt x="16392" y="10927"/>
                  </a:lnTo>
                  <a:cubicBezTo>
                    <a:pt x="14904" y="11562"/>
                    <a:pt x="13308" y="11905"/>
                    <a:pt x="11690" y="11943"/>
                  </a:cubicBezTo>
                  <a:cubicBezTo>
                    <a:pt x="7012" y="11855"/>
                    <a:pt x="2827" y="9021"/>
                    <a:pt x="1017" y="4701"/>
                  </a:cubicBezTo>
                  <a:cubicBezTo>
                    <a:pt x="381" y="3214"/>
                    <a:pt x="36" y="1614"/>
                    <a:pt x="0" y="0"/>
                  </a:cubicBezTo>
                  <a:lnTo>
                    <a:pt x="0" y="465027"/>
                  </a:lnTo>
                  <a:lnTo>
                    <a:pt x="23508" y="465027"/>
                  </a:lnTo>
                  <a:close/>
                </a:path>
              </a:pathLst>
            </a:custGeom>
            <a:solidFill>
              <a:srgbClr val="000000"/>
            </a:solidFill>
            <a:ln w="12704"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638DC5F2-C326-4927-9E98-A520000DC641}"/>
                </a:ext>
              </a:extLst>
            </p:cNvPr>
            <p:cNvSpPr/>
            <p:nvPr/>
          </p:nvSpPr>
          <p:spPr>
            <a:xfrm>
              <a:off x="2898540" y="6393544"/>
              <a:ext cx="9295494" cy="4319"/>
            </a:xfrm>
            <a:custGeom>
              <a:avLst/>
              <a:gdLst>
                <a:gd name="connsiteX0" fmla="*/ 0 w 9295494"/>
                <a:gd name="connsiteY0" fmla="*/ 4320 h 4319"/>
                <a:gd name="connsiteX1" fmla="*/ 9295494 w 9295494"/>
                <a:gd name="connsiteY1" fmla="*/ 4320 h 4319"/>
                <a:gd name="connsiteX2" fmla="*/ 9295494 w 9295494"/>
                <a:gd name="connsiteY2" fmla="*/ 0 h 4319"/>
                <a:gd name="connsiteX3" fmla="*/ 9657 w 9295494"/>
                <a:gd name="connsiteY3" fmla="*/ 0 h 4319"/>
                <a:gd name="connsiteX4" fmla="*/ 0 w 9295494"/>
                <a:gd name="connsiteY4" fmla="*/ 432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5494" h="4319">
                  <a:moveTo>
                    <a:pt x="0" y="4320"/>
                  </a:moveTo>
                  <a:lnTo>
                    <a:pt x="9295494" y="4320"/>
                  </a:lnTo>
                  <a:lnTo>
                    <a:pt x="9295494" y="0"/>
                  </a:lnTo>
                  <a:lnTo>
                    <a:pt x="9657" y="0"/>
                  </a:lnTo>
                  <a:lnTo>
                    <a:pt x="0" y="4320"/>
                  </a:lnTo>
                  <a:close/>
                </a:path>
              </a:pathLst>
            </a:custGeom>
            <a:solidFill>
              <a:srgbClr val="000000"/>
            </a:solidFill>
            <a:ln w="12704"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863022F0-687E-44B4-A003-743703B11856}"/>
                </a:ext>
              </a:extLst>
            </p:cNvPr>
            <p:cNvSpPr/>
            <p:nvPr/>
          </p:nvSpPr>
          <p:spPr>
            <a:xfrm>
              <a:off x="9797382" y="1864102"/>
              <a:ext cx="4193" cy="21980"/>
            </a:xfrm>
            <a:custGeom>
              <a:avLst/>
              <a:gdLst>
                <a:gd name="connsiteX0" fmla="*/ 4194 w 4193"/>
                <a:gd name="connsiteY0" fmla="*/ 2033 h 21980"/>
                <a:gd name="connsiteX1" fmla="*/ 2034 w 4193"/>
                <a:gd name="connsiteY1" fmla="*/ 0 h 21980"/>
                <a:gd name="connsiteX2" fmla="*/ 0 w 4193"/>
                <a:gd name="connsiteY2" fmla="*/ 2033 h 21980"/>
                <a:gd name="connsiteX3" fmla="*/ 0 w 4193"/>
                <a:gd name="connsiteY3" fmla="*/ 21981 h 21980"/>
                <a:gd name="connsiteX4" fmla="*/ 4194 w 4193"/>
                <a:gd name="connsiteY4" fmla="*/ 19567 h 21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21980">
                  <a:moveTo>
                    <a:pt x="4194" y="2033"/>
                  </a:moveTo>
                  <a:cubicBezTo>
                    <a:pt x="4130" y="889"/>
                    <a:pt x="3177" y="0"/>
                    <a:pt x="2034" y="0"/>
                  </a:cubicBezTo>
                  <a:cubicBezTo>
                    <a:pt x="915" y="0"/>
                    <a:pt x="0" y="915"/>
                    <a:pt x="0" y="2033"/>
                  </a:cubicBezTo>
                  <a:lnTo>
                    <a:pt x="0" y="21981"/>
                  </a:lnTo>
                  <a:cubicBezTo>
                    <a:pt x="1208" y="20888"/>
                    <a:pt x="2643" y="20075"/>
                    <a:pt x="4194" y="19567"/>
                  </a:cubicBezTo>
                  <a:close/>
                </a:path>
              </a:pathLst>
            </a:custGeom>
            <a:solidFill>
              <a:srgbClr val="000000"/>
            </a:solidFill>
            <a:ln w="12704"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2F348E4F-CD4F-4016-988F-114F0F9FFE80}"/>
                </a:ext>
              </a:extLst>
            </p:cNvPr>
            <p:cNvSpPr/>
            <p:nvPr/>
          </p:nvSpPr>
          <p:spPr>
            <a:xfrm>
              <a:off x="10344161" y="1918133"/>
              <a:ext cx="315639" cy="24744"/>
            </a:xfrm>
            <a:custGeom>
              <a:avLst/>
              <a:gdLst>
                <a:gd name="connsiteX0" fmla="*/ 12453 w 315639"/>
                <a:gd name="connsiteY0" fmla="*/ 15469 h 24744"/>
                <a:gd name="connsiteX1" fmla="*/ 10420 w 315639"/>
                <a:gd name="connsiteY1" fmla="*/ 24744 h 24744"/>
                <a:gd name="connsiteX2" fmla="*/ 303949 w 315639"/>
                <a:gd name="connsiteY2" fmla="*/ 24744 h 24744"/>
                <a:gd name="connsiteX3" fmla="*/ 303949 w 315639"/>
                <a:gd name="connsiteY3" fmla="*/ 12039 h 24744"/>
                <a:gd name="connsiteX4" fmla="*/ 315639 w 315639"/>
                <a:gd name="connsiteY4" fmla="*/ 95 h 24744"/>
                <a:gd name="connsiteX5" fmla="*/ 315639 w 315639"/>
                <a:gd name="connsiteY5" fmla="*/ 95 h 24744"/>
                <a:gd name="connsiteX6" fmla="*/ 0 w 315639"/>
                <a:gd name="connsiteY6" fmla="*/ 95 h 24744"/>
                <a:gd name="connsiteX7" fmla="*/ 3685 w 315639"/>
                <a:gd name="connsiteY7" fmla="*/ 95 h 24744"/>
                <a:gd name="connsiteX8" fmla="*/ 12453 w 315639"/>
                <a:gd name="connsiteY8" fmla="*/ 15469 h 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39" h="24744">
                  <a:moveTo>
                    <a:pt x="12453" y="15469"/>
                  </a:moveTo>
                  <a:lnTo>
                    <a:pt x="10420" y="24744"/>
                  </a:lnTo>
                  <a:lnTo>
                    <a:pt x="303949" y="24744"/>
                  </a:lnTo>
                  <a:lnTo>
                    <a:pt x="303949" y="12039"/>
                  </a:lnTo>
                  <a:cubicBezTo>
                    <a:pt x="303873" y="5508"/>
                    <a:pt x="309108" y="172"/>
                    <a:pt x="315639" y="95"/>
                  </a:cubicBezTo>
                  <a:cubicBezTo>
                    <a:pt x="315639" y="95"/>
                    <a:pt x="315639" y="95"/>
                    <a:pt x="315639" y="95"/>
                  </a:cubicBezTo>
                  <a:lnTo>
                    <a:pt x="0" y="95"/>
                  </a:lnTo>
                  <a:cubicBezTo>
                    <a:pt x="1220" y="-32"/>
                    <a:pt x="2465" y="-32"/>
                    <a:pt x="3685" y="95"/>
                  </a:cubicBezTo>
                  <a:cubicBezTo>
                    <a:pt x="10280" y="2001"/>
                    <a:pt x="14168" y="8811"/>
                    <a:pt x="12453" y="15469"/>
                  </a:cubicBezTo>
                  <a:close/>
                </a:path>
              </a:pathLst>
            </a:custGeom>
            <a:solidFill>
              <a:srgbClr val="000000"/>
            </a:solidFill>
            <a:ln w="12704"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6E03C944-E27C-4226-9EE1-F8E5846B0C01}"/>
                </a:ext>
              </a:extLst>
            </p:cNvPr>
            <p:cNvSpPr/>
            <p:nvPr/>
          </p:nvSpPr>
          <p:spPr>
            <a:xfrm>
              <a:off x="11830616" y="4219463"/>
              <a:ext cx="38375" cy="4334"/>
            </a:xfrm>
            <a:custGeom>
              <a:avLst/>
              <a:gdLst>
                <a:gd name="connsiteX0" fmla="*/ 2542 w 38375"/>
                <a:gd name="connsiteY0" fmla="*/ 2174 h 4334"/>
                <a:gd name="connsiteX1" fmla="*/ 382 w 38375"/>
                <a:gd name="connsiteY1" fmla="*/ 4335 h 4334"/>
                <a:gd name="connsiteX2" fmla="*/ 36215 w 38375"/>
                <a:gd name="connsiteY2" fmla="*/ 4335 h 4334"/>
                <a:gd name="connsiteX3" fmla="*/ 38375 w 38375"/>
                <a:gd name="connsiteY3" fmla="*/ 2174 h 4334"/>
                <a:gd name="connsiteX4" fmla="*/ 36215 w 38375"/>
                <a:gd name="connsiteY4" fmla="*/ 14 h 4334"/>
                <a:gd name="connsiteX5" fmla="*/ 0 w 38375"/>
                <a:gd name="connsiteY5" fmla="*/ 14 h 4334"/>
                <a:gd name="connsiteX6" fmla="*/ 2529 w 38375"/>
                <a:gd name="connsiteY6" fmla="*/ 2035 h 4334"/>
                <a:gd name="connsiteX7" fmla="*/ 2542 w 38375"/>
                <a:gd name="connsiteY7" fmla="*/ 2174 h 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75" h="4334">
                  <a:moveTo>
                    <a:pt x="2542" y="2174"/>
                  </a:moveTo>
                  <a:cubicBezTo>
                    <a:pt x="2478" y="3343"/>
                    <a:pt x="1550" y="4271"/>
                    <a:pt x="382" y="4335"/>
                  </a:cubicBezTo>
                  <a:lnTo>
                    <a:pt x="36215" y="4335"/>
                  </a:lnTo>
                  <a:cubicBezTo>
                    <a:pt x="37410" y="4335"/>
                    <a:pt x="38375" y="3369"/>
                    <a:pt x="38375" y="2174"/>
                  </a:cubicBezTo>
                  <a:cubicBezTo>
                    <a:pt x="38375" y="980"/>
                    <a:pt x="37410" y="14"/>
                    <a:pt x="36215" y="14"/>
                  </a:cubicBezTo>
                  <a:lnTo>
                    <a:pt x="0" y="14"/>
                  </a:lnTo>
                  <a:cubicBezTo>
                    <a:pt x="1258" y="-125"/>
                    <a:pt x="2389" y="777"/>
                    <a:pt x="2529" y="2035"/>
                  </a:cubicBezTo>
                  <a:cubicBezTo>
                    <a:pt x="2542" y="2073"/>
                    <a:pt x="2542" y="2124"/>
                    <a:pt x="2542" y="2174"/>
                  </a:cubicBezTo>
                  <a:close/>
                </a:path>
              </a:pathLst>
            </a:custGeom>
            <a:solidFill>
              <a:srgbClr val="000000"/>
            </a:solidFill>
            <a:ln w="12704"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DB24B70B-5409-40C8-9316-F6F44F79C28B}"/>
                </a:ext>
              </a:extLst>
            </p:cNvPr>
            <p:cNvSpPr/>
            <p:nvPr/>
          </p:nvSpPr>
          <p:spPr>
            <a:xfrm>
              <a:off x="10330771" y="1919403"/>
              <a:ext cx="25554" cy="25633"/>
            </a:xfrm>
            <a:custGeom>
              <a:avLst/>
              <a:gdLst>
                <a:gd name="connsiteX0" fmla="*/ 11611 w 25554"/>
                <a:gd name="connsiteY0" fmla="*/ 11785 h 25633"/>
                <a:gd name="connsiteX1" fmla="*/ 12373 w 25554"/>
                <a:gd name="connsiteY1" fmla="*/ 11785 h 25633"/>
                <a:gd name="connsiteX2" fmla="*/ 12373 w 25554"/>
                <a:gd name="connsiteY2" fmla="*/ 11785 h 25633"/>
                <a:gd name="connsiteX3" fmla="*/ 14407 w 25554"/>
                <a:gd name="connsiteY3" fmla="*/ 9752 h 25633"/>
                <a:gd name="connsiteX4" fmla="*/ 16439 w 25554"/>
                <a:gd name="connsiteY4" fmla="*/ 11785 h 25633"/>
                <a:gd name="connsiteX5" fmla="*/ 16439 w 25554"/>
                <a:gd name="connsiteY5" fmla="*/ 13309 h 25633"/>
                <a:gd name="connsiteX6" fmla="*/ 23301 w 25554"/>
                <a:gd name="connsiteY6" fmla="*/ 24236 h 25633"/>
                <a:gd name="connsiteX7" fmla="*/ 23301 w 25554"/>
                <a:gd name="connsiteY7" fmla="*/ 25634 h 25633"/>
                <a:gd name="connsiteX8" fmla="*/ 23301 w 25554"/>
                <a:gd name="connsiteY8" fmla="*/ 23855 h 25633"/>
                <a:gd name="connsiteX9" fmla="*/ 25334 w 25554"/>
                <a:gd name="connsiteY9" fmla="*/ 14580 h 25633"/>
                <a:gd name="connsiteX10" fmla="*/ 16567 w 25554"/>
                <a:gd name="connsiteY10" fmla="*/ 95 h 25633"/>
                <a:gd name="connsiteX11" fmla="*/ 12882 w 25554"/>
                <a:gd name="connsiteY11" fmla="*/ 95 h 25633"/>
                <a:gd name="connsiteX12" fmla="*/ 10594 w 25554"/>
                <a:gd name="connsiteY12" fmla="*/ 95 h 25633"/>
                <a:gd name="connsiteX13" fmla="*/ 8561 w 25554"/>
                <a:gd name="connsiteY13" fmla="*/ 858 h 25633"/>
                <a:gd name="connsiteX14" fmla="*/ 6655 w 25554"/>
                <a:gd name="connsiteY14" fmla="*/ 2255 h 25633"/>
                <a:gd name="connsiteX15" fmla="*/ 5130 w 25554"/>
                <a:gd name="connsiteY15" fmla="*/ 3780 h 25633"/>
                <a:gd name="connsiteX16" fmla="*/ 3860 w 25554"/>
                <a:gd name="connsiteY16" fmla="*/ 5559 h 25633"/>
                <a:gd name="connsiteX17" fmla="*/ 2843 w 25554"/>
                <a:gd name="connsiteY17" fmla="*/ 7846 h 25633"/>
                <a:gd name="connsiteX18" fmla="*/ 2843 w 25554"/>
                <a:gd name="connsiteY18" fmla="*/ 8735 h 25633"/>
                <a:gd name="connsiteX19" fmla="*/ 48 w 25554"/>
                <a:gd name="connsiteY19" fmla="*/ 21441 h 25633"/>
                <a:gd name="connsiteX20" fmla="*/ 48 w 25554"/>
                <a:gd name="connsiteY20" fmla="*/ 22711 h 25633"/>
                <a:gd name="connsiteX21" fmla="*/ 11611 w 25554"/>
                <a:gd name="connsiteY21" fmla="*/ 11785 h 25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554" h="25633">
                  <a:moveTo>
                    <a:pt x="11611" y="11785"/>
                  </a:moveTo>
                  <a:lnTo>
                    <a:pt x="12373" y="11785"/>
                  </a:lnTo>
                  <a:lnTo>
                    <a:pt x="12373" y="11785"/>
                  </a:lnTo>
                  <a:cubicBezTo>
                    <a:pt x="12373" y="10666"/>
                    <a:pt x="13288" y="9752"/>
                    <a:pt x="14407" y="9752"/>
                  </a:cubicBezTo>
                  <a:cubicBezTo>
                    <a:pt x="15524" y="9752"/>
                    <a:pt x="16439" y="10666"/>
                    <a:pt x="16439" y="11785"/>
                  </a:cubicBezTo>
                  <a:lnTo>
                    <a:pt x="16439" y="13309"/>
                  </a:lnTo>
                  <a:cubicBezTo>
                    <a:pt x="20544" y="15431"/>
                    <a:pt x="23174" y="19611"/>
                    <a:pt x="23301" y="24236"/>
                  </a:cubicBezTo>
                  <a:lnTo>
                    <a:pt x="23301" y="25634"/>
                  </a:lnTo>
                  <a:lnTo>
                    <a:pt x="23301" y="23855"/>
                  </a:lnTo>
                  <a:lnTo>
                    <a:pt x="25334" y="14580"/>
                  </a:lnTo>
                  <a:cubicBezTo>
                    <a:pt x="26529" y="8227"/>
                    <a:pt x="22755" y="1988"/>
                    <a:pt x="16567" y="95"/>
                  </a:cubicBezTo>
                  <a:cubicBezTo>
                    <a:pt x="15347" y="-32"/>
                    <a:pt x="14101" y="-32"/>
                    <a:pt x="12882" y="95"/>
                  </a:cubicBezTo>
                  <a:lnTo>
                    <a:pt x="10594" y="95"/>
                  </a:lnTo>
                  <a:lnTo>
                    <a:pt x="8561" y="858"/>
                  </a:lnTo>
                  <a:lnTo>
                    <a:pt x="6655" y="2255"/>
                  </a:lnTo>
                  <a:cubicBezTo>
                    <a:pt x="6058" y="2662"/>
                    <a:pt x="5537" y="3183"/>
                    <a:pt x="5130" y="3780"/>
                  </a:cubicBezTo>
                  <a:cubicBezTo>
                    <a:pt x="4634" y="4314"/>
                    <a:pt x="4216" y="4911"/>
                    <a:pt x="3860" y="5559"/>
                  </a:cubicBezTo>
                  <a:cubicBezTo>
                    <a:pt x="3440" y="6283"/>
                    <a:pt x="3110" y="7058"/>
                    <a:pt x="2843" y="7846"/>
                  </a:cubicBezTo>
                  <a:lnTo>
                    <a:pt x="2843" y="8735"/>
                  </a:lnTo>
                  <a:lnTo>
                    <a:pt x="48" y="21441"/>
                  </a:lnTo>
                  <a:cubicBezTo>
                    <a:pt x="-16" y="21860"/>
                    <a:pt x="-16" y="22292"/>
                    <a:pt x="48" y="22711"/>
                  </a:cubicBezTo>
                  <a:cubicBezTo>
                    <a:pt x="442" y="16600"/>
                    <a:pt x="5486" y="11835"/>
                    <a:pt x="11611" y="11785"/>
                  </a:cubicBezTo>
                  <a:close/>
                </a:path>
              </a:pathLst>
            </a:custGeom>
            <a:solidFill>
              <a:srgbClr val="000000"/>
            </a:solidFill>
            <a:ln w="12704"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F79385C6-CE91-4397-952A-2F4A36CCDE23}"/>
                </a:ext>
              </a:extLst>
            </p:cNvPr>
            <p:cNvSpPr/>
            <p:nvPr/>
          </p:nvSpPr>
          <p:spPr>
            <a:xfrm>
              <a:off x="9464842" y="1883668"/>
              <a:ext cx="257187" cy="24013"/>
            </a:xfrm>
            <a:custGeom>
              <a:avLst/>
              <a:gdLst>
                <a:gd name="connsiteX0" fmla="*/ 11817 w 257187"/>
                <a:gd name="connsiteY0" fmla="*/ 11308 h 24013"/>
                <a:gd name="connsiteX1" fmla="*/ 11817 w 257187"/>
                <a:gd name="connsiteY1" fmla="*/ 24014 h 24013"/>
                <a:gd name="connsiteX2" fmla="*/ 257188 w 257187"/>
                <a:gd name="connsiteY2" fmla="*/ 24014 h 24013"/>
                <a:gd name="connsiteX3" fmla="*/ 257188 w 257187"/>
                <a:gd name="connsiteY3" fmla="*/ 0 h 24013"/>
                <a:gd name="connsiteX4" fmla="*/ 0 w 257187"/>
                <a:gd name="connsiteY4" fmla="*/ 0 h 24013"/>
                <a:gd name="connsiteX5" fmla="*/ 11817 w 257187"/>
                <a:gd name="connsiteY5"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87" h="24013">
                  <a:moveTo>
                    <a:pt x="11817" y="11308"/>
                  </a:moveTo>
                  <a:lnTo>
                    <a:pt x="11817" y="24014"/>
                  </a:lnTo>
                  <a:lnTo>
                    <a:pt x="257188" y="24014"/>
                  </a:lnTo>
                  <a:lnTo>
                    <a:pt x="257188" y="0"/>
                  </a:lnTo>
                  <a:lnTo>
                    <a:pt x="0" y="0"/>
                  </a:lnTo>
                  <a:cubicBezTo>
                    <a:pt x="6303" y="64"/>
                    <a:pt x="11487" y="5006"/>
                    <a:pt x="11817" y="11308"/>
                  </a:cubicBezTo>
                  <a:close/>
                </a:path>
              </a:pathLst>
            </a:custGeom>
            <a:solidFill>
              <a:srgbClr val="000000"/>
            </a:solidFill>
            <a:ln w="12704"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9276743F-FA91-46D4-9AEB-83709BB59967}"/>
                </a:ext>
              </a:extLst>
            </p:cNvPr>
            <p:cNvSpPr/>
            <p:nvPr/>
          </p:nvSpPr>
          <p:spPr>
            <a:xfrm>
              <a:off x="10330898" y="1931442"/>
              <a:ext cx="12245" cy="290959"/>
            </a:xfrm>
            <a:custGeom>
              <a:avLst/>
              <a:gdLst>
                <a:gd name="connsiteX0" fmla="*/ 11103 w 12245"/>
                <a:gd name="connsiteY0" fmla="*/ 264405 h 290959"/>
                <a:gd name="connsiteX1" fmla="*/ 11103 w 12245"/>
                <a:gd name="connsiteY1" fmla="*/ 264405 h 290959"/>
                <a:gd name="connsiteX2" fmla="*/ 12246 w 12245"/>
                <a:gd name="connsiteY2" fmla="*/ 260593 h 290959"/>
                <a:gd name="connsiteX3" fmla="*/ 12246 w 12245"/>
                <a:gd name="connsiteY3" fmla="*/ 0 h 290959"/>
                <a:gd name="connsiteX4" fmla="*/ 11483 w 12245"/>
                <a:gd name="connsiteY4" fmla="*/ 0 h 290959"/>
                <a:gd name="connsiteX5" fmla="*/ 48 w 12245"/>
                <a:gd name="connsiteY5" fmla="*/ 10673 h 290959"/>
                <a:gd name="connsiteX6" fmla="*/ 48 w 12245"/>
                <a:gd name="connsiteY6" fmla="*/ 12070 h 290959"/>
                <a:gd name="connsiteX7" fmla="*/ 48 w 12245"/>
                <a:gd name="connsiteY7" fmla="*/ 290960 h 290959"/>
                <a:gd name="connsiteX8" fmla="*/ 3732 w 12245"/>
                <a:gd name="connsiteY8" fmla="*/ 290960 h 2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290959">
                  <a:moveTo>
                    <a:pt x="11103" y="264405"/>
                  </a:moveTo>
                  <a:lnTo>
                    <a:pt x="11103" y="264405"/>
                  </a:lnTo>
                  <a:lnTo>
                    <a:pt x="12246" y="260593"/>
                  </a:lnTo>
                  <a:lnTo>
                    <a:pt x="12246" y="0"/>
                  </a:lnTo>
                  <a:lnTo>
                    <a:pt x="11483" y="0"/>
                  </a:lnTo>
                  <a:cubicBezTo>
                    <a:pt x="5498" y="102"/>
                    <a:pt x="568" y="4714"/>
                    <a:pt x="48" y="10673"/>
                  </a:cubicBezTo>
                  <a:cubicBezTo>
                    <a:pt x="-16" y="11143"/>
                    <a:pt x="-16" y="11600"/>
                    <a:pt x="48" y="12070"/>
                  </a:cubicBezTo>
                  <a:lnTo>
                    <a:pt x="48" y="290960"/>
                  </a:lnTo>
                  <a:lnTo>
                    <a:pt x="3732" y="290960"/>
                  </a:lnTo>
                  <a:close/>
                </a:path>
              </a:pathLst>
            </a:custGeom>
            <a:solidFill>
              <a:srgbClr val="000000"/>
            </a:solidFill>
            <a:ln w="12704"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E5A195D-A6E3-49DC-93B7-8A9E4483EF57}"/>
                </a:ext>
              </a:extLst>
            </p:cNvPr>
            <p:cNvSpPr/>
            <p:nvPr/>
          </p:nvSpPr>
          <p:spPr>
            <a:xfrm>
              <a:off x="10346956" y="1932331"/>
              <a:ext cx="6862" cy="245473"/>
            </a:xfrm>
            <a:custGeom>
              <a:avLst/>
              <a:gdLst>
                <a:gd name="connsiteX0" fmla="*/ 1525 w 6862"/>
                <a:gd name="connsiteY0" fmla="*/ 241408 h 245473"/>
                <a:gd name="connsiteX1" fmla="*/ 1525 w 6862"/>
                <a:gd name="connsiteY1" fmla="*/ 241408 h 245473"/>
                <a:gd name="connsiteX2" fmla="*/ 2669 w 6862"/>
                <a:gd name="connsiteY2" fmla="*/ 239248 h 245473"/>
                <a:gd name="connsiteX3" fmla="*/ 3813 w 6862"/>
                <a:gd name="connsiteY3" fmla="*/ 237469 h 245473"/>
                <a:gd name="connsiteX4" fmla="*/ 5591 w 6862"/>
                <a:gd name="connsiteY4" fmla="*/ 235944 h 245473"/>
                <a:gd name="connsiteX5" fmla="*/ 6862 w 6862"/>
                <a:gd name="connsiteY5" fmla="*/ 234928 h 245473"/>
                <a:gd name="connsiteX6" fmla="*/ 6862 w 6862"/>
                <a:gd name="connsiteY6" fmla="*/ 10927 h 245473"/>
                <a:gd name="connsiteX7" fmla="*/ 0 w 6862"/>
                <a:gd name="connsiteY7" fmla="*/ 0 h 245473"/>
                <a:gd name="connsiteX8" fmla="*/ 0 w 6862"/>
                <a:gd name="connsiteY8" fmla="*/ 245473 h 24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2" h="245473">
                  <a:moveTo>
                    <a:pt x="1525" y="241408"/>
                  </a:moveTo>
                  <a:cubicBezTo>
                    <a:pt x="1525" y="241408"/>
                    <a:pt x="1525" y="241408"/>
                    <a:pt x="1525" y="241408"/>
                  </a:cubicBezTo>
                  <a:cubicBezTo>
                    <a:pt x="1855" y="240658"/>
                    <a:pt x="2237" y="239947"/>
                    <a:pt x="2669" y="239248"/>
                  </a:cubicBezTo>
                  <a:lnTo>
                    <a:pt x="3813" y="237469"/>
                  </a:lnTo>
                  <a:cubicBezTo>
                    <a:pt x="4346" y="236897"/>
                    <a:pt x="4943" y="236389"/>
                    <a:pt x="5591" y="235944"/>
                  </a:cubicBezTo>
                  <a:cubicBezTo>
                    <a:pt x="5591" y="235944"/>
                    <a:pt x="6353" y="235182"/>
                    <a:pt x="6862" y="234928"/>
                  </a:cubicBezTo>
                  <a:lnTo>
                    <a:pt x="6862" y="10927"/>
                  </a:lnTo>
                  <a:cubicBezTo>
                    <a:pt x="6735" y="6302"/>
                    <a:pt x="4104" y="2122"/>
                    <a:pt x="0" y="0"/>
                  </a:cubicBezTo>
                  <a:lnTo>
                    <a:pt x="0" y="245473"/>
                  </a:lnTo>
                  <a:close/>
                </a:path>
              </a:pathLst>
            </a:custGeom>
            <a:solidFill>
              <a:srgbClr val="000000"/>
            </a:solidFill>
            <a:ln w="12704"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07FC286B-5AB0-4F61-97D6-E567D27917BF}"/>
                </a:ext>
              </a:extLst>
            </p:cNvPr>
            <p:cNvSpPr/>
            <p:nvPr/>
          </p:nvSpPr>
          <p:spPr>
            <a:xfrm>
              <a:off x="9793189" y="2214905"/>
              <a:ext cx="4192" cy="19185"/>
            </a:xfrm>
            <a:custGeom>
              <a:avLst/>
              <a:gdLst>
                <a:gd name="connsiteX0" fmla="*/ 0 w 4192"/>
                <a:gd name="connsiteY0" fmla="*/ 0 h 19185"/>
                <a:gd name="connsiteX1" fmla="*/ 0 w 4192"/>
                <a:gd name="connsiteY1" fmla="*/ 19186 h 19185"/>
                <a:gd name="connsiteX2" fmla="*/ 4193 w 4192"/>
                <a:gd name="connsiteY2" fmla="*/ 10292 h 19185"/>
                <a:gd name="connsiteX3" fmla="*/ 4193 w 4192"/>
                <a:gd name="connsiteY3" fmla="*/ 0 h 19185"/>
              </a:gdLst>
              <a:ahLst/>
              <a:cxnLst>
                <a:cxn ang="0">
                  <a:pos x="connsiteX0" y="connsiteY0"/>
                </a:cxn>
                <a:cxn ang="0">
                  <a:pos x="connsiteX1" y="connsiteY1"/>
                </a:cxn>
                <a:cxn ang="0">
                  <a:pos x="connsiteX2" y="connsiteY2"/>
                </a:cxn>
                <a:cxn ang="0">
                  <a:pos x="connsiteX3" y="connsiteY3"/>
                </a:cxn>
              </a:cxnLst>
              <a:rect l="l" t="t" r="r" b="b"/>
              <a:pathLst>
                <a:path w="4192" h="19185">
                  <a:moveTo>
                    <a:pt x="0" y="0"/>
                  </a:moveTo>
                  <a:lnTo>
                    <a:pt x="0" y="19186"/>
                  </a:lnTo>
                  <a:cubicBezTo>
                    <a:pt x="25" y="15742"/>
                    <a:pt x="1550" y="12490"/>
                    <a:pt x="4193" y="10292"/>
                  </a:cubicBezTo>
                  <a:lnTo>
                    <a:pt x="4193" y="0"/>
                  </a:lnTo>
                  <a:close/>
                </a:path>
              </a:pathLst>
            </a:custGeom>
            <a:solidFill>
              <a:srgbClr val="000000"/>
            </a:solidFill>
            <a:ln w="12704"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A8CCDA8C-4F9D-4B5F-A93A-B797539A1E89}"/>
                </a:ext>
              </a:extLst>
            </p:cNvPr>
            <p:cNvSpPr/>
            <p:nvPr/>
          </p:nvSpPr>
          <p:spPr>
            <a:xfrm>
              <a:off x="9793189" y="1882938"/>
              <a:ext cx="24190" cy="339336"/>
            </a:xfrm>
            <a:custGeom>
              <a:avLst/>
              <a:gdLst>
                <a:gd name="connsiteX0" fmla="*/ 11817 w 24190"/>
                <a:gd name="connsiteY0" fmla="*/ 95 h 339336"/>
                <a:gd name="connsiteX1" fmla="*/ 8386 w 24190"/>
                <a:gd name="connsiteY1" fmla="*/ 95 h 339336"/>
                <a:gd name="connsiteX2" fmla="*/ 0 w 24190"/>
                <a:gd name="connsiteY2" fmla="*/ 11403 h 339336"/>
                <a:gd name="connsiteX3" fmla="*/ 0 w 24190"/>
                <a:gd name="connsiteY3" fmla="*/ 327012 h 339336"/>
                <a:gd name="connsiteX4" fmla="*/ 6861 w 24190"/>
                <a:gd name="connsiteY4" fmla="*/ 327012 h 339336"/>
                <a:gd name="connsiteX5" fmla="*/ 9021 w 24190"/>
                <a:gd name="connsiteY5" fmla="*/ 329172 h 339336"/>
                <a:gd name="connsiteX6" fmla="*/ 9021 w 24190"/>
                <a:gd name="connsiteY6" fmla="*/ 339337 h 339336"/>
                <a:gd name="connsiteX7" fmla="*/ 12453 w 24190"/>
                <a:gd name="connsiteY7" fmla="*/ 338574 h 339336"/>
                <a:gd name="connsiteX8" fmla="*/ 24143 w 24190"/>
                <a:gd name="connsiteY8" fmla="*/ 338574 h 339336"/>
                <a:gd name="connsiteX9" fmla="*/ 24143 w 24190"/>
                <a:gd name="connsiteY9" fmla="*/ 12039 h 339336"/>
                <a:gd name="connsiteX10" fmla="*/ 24143 w 24190"/>
                <a:gd name="connsiteY10" fmla="*/ 10895 h 339336"/>
                <a:gd name="connsiteX11" fmla="*/ 11868 w 24190"/>
                <a:gd name="connsiteY11" fmla="*/ 95 h 339336"/>
                <a:gd name="connsiteX12" fmla="*/ 11817 w 24190"/>
                <a:gd name="connsiteY12" fmla="*/ 95 h 33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90" h="339336">
                  <a:moveTo>
                    <a:pt x="11817" y="95"/>
                  </a:moveTo>
                  <a:cubicBezTo>
                    <a:pt x="10673" y="-32"/>
                    <a:pt x="9530" y="-32"/>
                    <a:pt x="8386" y="95"/>
                  </a:cubicBezTo>
                  <a:cubicBezTo>
                    <a:pt x="3571" y="1836"/>
                    <a:pt x="267" y="6283"/>
                    <a:pt x="0" y="11403"/>
                  </a:cubicBezTo>
                  <a:lnTo>
                    <a:pt x="0" y="327012"/>
                  </a:lnTo>
                  <a:lnTo>
                    <a:pt x="6861" y="327012"/>
                  </a:lnTo>
                  <a:cubicBezTo>
                    <a:pt x="8030" y="327076"/>
                    <a:pt x="8958" y="328003"/>
                    <a:pt x="9021" y="329172"/>
                  </a:cubicBezTo>
                  <a:lnTo>
                    <a:pt x="9021" y="339337"/>
                  </a:lnTo>
                  <a:cubicBezTo>
                    <a:pt x="10114" y="338892"/>
                    <a:pt x="11271" y="338638"/>
                    <a:pt x="12453" y="338574"/>
                  </a:cubicBezTo>
                  <a:lnTo>
                    <a:pt x="24143" y="338574"/>
                  </a:lnTo>
                  <a:lnTo>
                    <a:pt x="24143" y="12039"/>
                  </a:lnTo>
                  <a:cubicBezTo>
                    <a:pt x="24206" y="11657"/>
                    <a:pt x="24206" y="11276"/>
                    <a:pt x="24143" y="10895"/>
                  </a:cubicBezTo>
                  <a:cubicBezTo>
                    <a:pt x="23736" y="4517"/>
                    <a:pt x="18247" y="-311"/>
                    <a:pt x="11868" y="95"/>
                  </a:cubicBezTo>
                  <a:cubicBezTo>
                    <a:pt x="11855" y="95"/>
                    <a:pt x="11830" y="95"/>
                    <a:pt x="11817" y="95"/>
                  </a:cubicBezTo>
                  <a:close/>
                </a:path>
              </a:pathLst>
            </a:custGeom>
            <a:solidFill>
              <a:srgbClr val="000000"/>
            </a:solidFill>
            <a:ln w="12704"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F4650C25-C9E6-469C-AC4B-7A45BC7E5278}"/>
                </a:ext>
              </a:extLst>
            </p:cNvPr>
            <p:cNvSpPr/>
            <p:nvPr/>
          </p:nvSpPr>
          <p:spPr>
            <a:xfrm>
              <a:off x="10355343" y="2210331"/>
              <a:ext cx="2287" cy="12705"/>
            </a:xfrm>
            <a:custGeom>
              <a:avLst/>
              <a:gdLst>
                <a:gd name="connsiteX0" fmla="*/ 2287 w 2287"/>
                <a:gd name="connsiteY0" fmla="*/ 12706 h 12705"/>
                <a:gd name="connsiteX1" fmla="*/ 2287 w 2287"/>
                <a:gd name="connsiteY1" fmla="*/ 0 h 12705"/>
                <a:gd name="connsiteX2" fmla="*/ 0 w 2287"/>
                <a:gd name="connsiteY2" fmla="*/ 635 h 12705"/>
                <a:gd name="connsiteX3" fmla="*/ 0 w 2287"/>
                <a:gd name="connsiteY3" fmla="*/ 12198 h 12705"/>
              </a:gdLst>
              <a:ahLst/>
              <a:cxnLst>
                <a:cxn ang="0">
                  <a:pos x="connsiteX0" y="connsiteY0"/>
                </a:cxn>
                <a:cxn ang="0">
                  <a:pos x="connsiteX1" y="connsiteY1"/>
                </a:cxn>
                <a:cxn ang="0">
                  <a:pos x="connsiteX2" y="connsiteY2"/>
                </a:cxn>
                <a:cxn ang="0">
                  <a:pos x="connsiteX3" y="connsiteY3"/>
                </a:cxn>
              </a:cxnLst>
              <a:rect l="l" t="t" r="r" b="b"/>
              <a:pathLst>
                <a:path w="2287" h="12705">
                  <a:moveTo>
                    <a:pt x="2287" y="12706"/>
                  </a:moveTo>
                  <a:lnTo>
                    <a:pt x="2287" y="0"/>
                  </a:lnTo>
                  <a:cubicBezTo>
                    <a:pt x="1563" y="330"/>
                    <a:pt x="788" y="546"/>
                    <a:pt x="0" y="635"/>
                  </a:cubicBezTo>
                  <a:lnTo>
                    <a:pt x="0" y="12198"/>
                  </a:lnTo>
                  <a:close/>
                </a:path>
              </a:pathLst>
            </a:custGeom>
            <a:solidFill>
              <a:srgbClr val="000000"/>
            </a:solidFill>
            <a:ln w="12704"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B5579DE3-2DAE-4D43-B7B7-1DAAD8BAF78D}"/>
                </a:ext>
              </a:extLst>
            </p:cNvPr>
            <p:cNvSpPr/>
            <p:nvPr/>
          </p:nvSpPr>
          <p:spPr>
            <a:xfrm>
              <a:off x="10361824" y="2202835"/>
              <a:ext cx="2667" cy="9148"/>
            </a:xfrm>
            <a:custGeom>
              <a:avLst/>
              <a:gdLst>
                <a:gd name="connsiteX0" fmla="*/ 2668 w 2667"/>
                <a:gd name="connsiteY0" fmla="*/ 0 h 9148"/>
                <a:gd name="connsiteX1" fmla="*/ 0 w 2667"/>
                <a:gd name="connsiteY1" fmla="*/ 4574 h 9148"/>
                <a:gd name="connsiteX2" fmla="*/ 0 w 2667"/>
                <a:gd name="connsiteY2" fmla="*/ 9148 h 9148"/>
              </a:gdLst>
              <a:ahLst/>
              <a:cxnLst>
                <a:cxn ang="0">
                  <a:pos x="connsiteX0" y="connsiteY0"/>
                </a:cxn>
                <a:cxn ang="0">
                  <a:pos x="connsiteX1" y="connsiteY1"/>
                </a:cxn>
                <a:cxn ang="0">
                  <a:pos x="connsiteX2" y="connsiteY2"/>
                </a:cxn>
              </a:cxnLst>
              <a:rect l="l" t="t" r="r" b="b"/>
              <a:pathLst>
                <a:path w="2667" h="9148">
                  <a:moveTo>
                    <a:pt x="2668" y="0"/>
                  </a:moveTo>
                  <a:cubicBezTo>
                    <a:pt x="2109" y="1690"/>
                    <a:pt x="1207" y="3253"/>
                    <a:pt x="0" y="4574"/>
                  </a:cubicBezTo>
                  <a:lnTo>
                    <a:pt x="0" y="9148"/>
                  </a:lnTo>
                  <a:close/>
                </a:path>
              </a:pathLst>
            </a:custGeom>
            <a:solidFill>
              <a:srgbClr val="000000"/>
            </a:solidFill>
            <a:ln w="12704"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02F8238B-2206-4C52-9BB1-8264CACAE952}"/>
                </a:ext>
              </a:extLst>
            </p:cNvPr>
            <p:cNvSpPr/>
            <p:nvPr/>
          </p:nvSpPr>
          <p:spPr>
            <a:xfrm>
              <a:off x="10334376" y="2195847"/>
              <a:ext cx="8767" cy="26300"/>
            </a:xfrm>
            <a:custGeom>
              <a:avLst/>
              <a:gdLst>
                <a:gd name="connsiteX0" fmla="*/ 8768 w 8767"/>
                <a:gd name="connsiteY0" fmla="*/ 26301 h 26300"/>
                <a:gd name="connsiteX1" fmla="*/ 8768 w 8767"/>
                <a:gd name="connsiteY1" fmla="*/ 9402 h 26300"/>
                <a:gd name="connsiteX2" fmla="*/ 7625 w 8767"/>
                <a:gd name="connsiteY2" fmla="*/ 0 h 26300"/>
                <a:gd name="connsiteX3" fmla="*/ 0 w 8767"/>
                <a:gd name="connsiteY3" fmla="*/ 26301 h 26300"/>
                <a:gd name="connsiteX4" fmla="*/ 8768 w 8767"/>
                <a:gd name="connsiteY4" fmla="*/ 26301 h 26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7" h="26300">
                  <a:moveTo>
                    <a:pt x="8768" y="26301"/>
                  </a:moveTo>
                  <a:lnTo>
                    <a:pt x="8768" y="9402"/>
                  </a:lnTo>
                  <a:cubicBezTo>
                    <a:pt x="7040" y="6582"/>
                    <a:pt x="6633" y="3151"/>
                    <a:pt x="7625" y="0"/>
                  </a:cubicBezTo>
                  <a:lnTo>
                    <a:pt x="0" y="26301"/>
                  </a:lnTo>
                  <a:lnTo>
                    <a:pt x="8768" y="26301"/>
                  </a:lnTo>
                  <a:close/>
                </a:path>
              </a:pathLst>
            </a:custGeom>
            <a:solidFill>
              <a:srgbClr val="000000"/>
            </a:solidFill>
            <a:ln w="12704"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D3E9B2DE-D5D1-40D3-BB7A-A697795ABE36}"/>
                </a:ext>
              </a:extLst>
            </p:cNvPr>
            <p:cNvSpPr/>
            <p:nvPr/>
          </p:nvSpPr>
          <p:spPr>
            <a:xfrm>
              <a:off x="10347210" y="2209696"/>
              <a:ext cx="3939" cy="12705"/>
            </a:xfrm>
            <a:custGeom>
              <a:avLst/>
              <a:gdLst>
                <a:gd name="connsiteX0" fmla="*/ 3939 w 3939"/>
                <a:gd name="connsiteY0" fmla="*/ 12452 h 12705"/>
                <a:gd name="connsiteX1" fmla="*/ 3939 w 3939"/>
                <a:gd name="connsiteY1" fmla="*/ 1398 h 12705"/>
                <a:gd name="connsiteX2" fmla="*/ 2669 w 3939"/>
                <a:gd name="connsiteY2" fmla="*/ 1398 h 12705"/>
                <a:gd name="connsiteX3" fmla="*/ 0 w 3939"/>
                <a:gd name="connsiteY3" fmla="*/ 0 h 12705"/>
                <a:gd name="connsiteX4" fmla="*/ 0 w 3939"/>
                <a:gd name="connsiteY4" fmla="*/ 12706 h 12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9" h="12705">
                  <a:moveTo>
                    <a:pt x="3939" y="12452"/>
                  </a:moveTo>
                  <a:lnTo>
                    <a:pt x="3939" y="1398"/>
                  </a:lnTo>
                  <a:lnTo>
                    <a:pt x="2669" y="1398"/>
                  </a:lnTo>
                  <a:cubicBezTo>
                    <a:pt x="1716" y="1055"/>
                    <a:pt x="814" y="585"/>
                    <a:pt x="0" y="0"/>
                  </a:cubicBezTo>
                  <a:lnTo>
                    <a:pt x="0" y="12706"/>
                  </a:lnTo>
                  <a:close/>
                </a:path>
              </a:pathLst>
            </a:custGeom>
            <a:solidFill>
              <a:srgbClr val="000000"/>
            </a:solidFill>
            <a:ln w="12704"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CBE33911-BDEB-4187-AF81-8A5C679053E9}"/>
                </a:ext>
              </a:extLst>
            </p:cNvPr>
            <p:cNvSpPr/>
            <p:nvPr/>
          </p:nvSpPr>
          <p:spPr>
            <a:xfrm>
              <a:off x="8165051" y="1771821"/>
              <a:ext cx="272817" cy="23289"/>
            </a:xfrm>
            <a:custGeom>
              <a:avLst/>
              <a:gdLst>
                <a:gd name="connsiteX0" fmla="*/ 11691 w 272817"/>
                <a:gd name="connsiteY0" fmla="*/ 11219 h 23289"/>
                <a:gd name="connsiteX1" fmla="*/ 11691 w 272817"/>
                <a:gd name="connsiteY1" fmla="*/ 17445 h 23289"/>
                <a:gd name="connsiteX2" fmla="*/ 19442 w 272817"/>
                <a:gd name="connsiteY2" fmla="*/ 23289 h 23289"/>
                <a:gd name="connsiteX3" fmla="*/ 262652 w 272817"/>
                <a:gd name="connsiteY3" fmla="*/ 23289 h 23289"/>
                <a:gd name="connsiteX4" fmla="*/ 262652 w 272817"/>
                <a:gd name="connsiteY4" fmla="*/ 10584 h 23289"/>
                <a:gd name="connsiteX5" fmla="*/ 262652 w 272817"/>
                <a:gd name="connsiteY5" fmla="*/ 8932 h 23289"/>
                <a:gd name="connsiteX6" fmla="*/ 262652 w 272817"/>
                <a:gd name="connsiteY6" fmla="*/ 6391 h 23289"/>
                <a:gd name="connsiteX7" fmla="*/ 263923 w 272817"/>
                <a:gd name="connsiteY7" fmla="*/ 4231 h 23289"/>
                <a:gd name="connsiteX8" fmla="*/ 264685 w 272817"/>
                <a:gd name="connsiteY8" fmla="*/ 2706 h 23289"/>
                <a:gd name="connsiteX9" fmla="*/ 264685 w 272817"/>
                <a:gd name="connsiteY9" fmla="*/ 2706 h 23289"/>
                <a:gd name="connsiteX10" fmla="*/ 266719 w 272817"/>
                <a:gd name="connsiteY10" fmla="*/ 1182 h 23289"/>
                <a:gd name="connsiteX11" fmla="*/ 268371 w 272817"/>
                <a:gd name="connsiteY11" fmla="*/ 38 h 23289"/>
                <a:gd name="connsiteX12" fmla="*/ 270276 w 272817"/>
                <a:gd name="connsiteY12" fmla="*/ 38 h 23289"/>
                <a:gd name="connsiteX13" fmla="*/ 272818 w 272817"/>
                <a:gd name="connsiteY13" fmla="*/ 38 h 23289"/>
                <a:gd name="connsiteX14" fmla="*/ 0 w 272817"/>
                <a:gd name="connsiteY14" fmla="*/ 38 h 23289"/>
                <a:gd name="connsiteX15" fmla="*/ 11691 w 272817"/>
                <a:gd name="connsiteY15" fmla="*/ 11219 h 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817" h="23289">
                  <a:moveTo>
                    <a:pt x="11691" y="11219"/>
                  </a:moveTo>
                  <a:lnTo>
                    <a:pt x="11691" y="17445"/>
                  </a:lnTo>
                  <a:lnTo>
                    <a:pt x="19442" y="23289"/>
                  </a:lnTo>
                  <a:lnTo>
                    <a:pt x="262652" y="23289"/>
                  </a:lnTo>
                  <a:lnTo>
                    <a:pt x="262652" y="10584"/>
                  </a:lnTo>
                  <a:cubicBezTo>
                    <a:pt x="262652" y="10584"/>
                    <a:pt x="262652" y="9567"/>
                    <a:pt x="262652" y="8932"/>
                  </a:cubicBezTo>
                  <a:cubicBezTo>
                    <a:pt x="262589" y="8081"/>
                    <a:pt x="262589" y="7242"/>
                    <a:pt x="262652" y="6391"/>
                  </a:cubicBezTo>
                  <a:lnTo>
                    <a:pt x="263923" y="4231"/>
                  </a:lnTo>
                  <a:cubicBezTo>
                    <a:pt x="264126" y="3697"/>
                    <a:pt x="264380" y="3189"/>
                    <a:pt x="264685" y="2706"/>
                  </a:cubicBezTo>
                  <a:lnTo>
                    <a:pt x="264685" y="2706"/>
                  </a:lnTo>
                  <a:cubicBezTo>
                    <a:pt x="265283" y="2096"/>
                    <a:pt x="265969" y="1588"/>
                    <a:pt x="266719" y="1182"/>
                  </a:cubicBezTo>
                  <a:cubicBezTo>
                    <a:pt x="267214" y="724"/>
                    <a:pt x="267773" y="343"/>
                    <a:pt x="268371" y="38"/>
                  </a:cubicBezTo>
                  <a:cubicBezTo>
                    <a:pt x="269006" y="-13"/>
                    <a:pt x="269641" y="-13"/>
                    <a:pt x="270276" y="38"/>
                  </a:cubicBezTo>
                  <a:lnTo>
                    <a:pt x="272818" y="38"/>
                  </a:lnTo>
                  <a:lnTo>
                    <a:pt x="0" y="38"/>
                  </a:lnTo>
                  <a:cubicBezTo>
                    <a:pt x="6239" y="102"/>
                    <a:pt x="11360" y="4993"/>
                    <a:pt x="11691" y="11219"/>
                  </a:cubicBezTo>
                  <a:close/>
                </a:path>
              </a:pathLst>
            </a:custGeom>
            <a:solidFill>
              <a:srgbClr val="000000"/>
            </a:solidFill>
            <a:ln w="12704"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6BC547E7-0AA3-445B-9FEF-926494031635}"/>
                </a:ext>
              </a:extLst>
            </p:cNvPr>
            <p:cNvSpPr/>
            <p:nvPr/>
          </p:nvSpPr>
          <p:spPr>
            <a:xfrm>
              <a:off x="8176741" y="1794602"/>
              <a:ext cx="762" cy="508"/>
            </a:xfrm>
            <a:custGeom>
              <a:avLst/>
              <a:gdLst>
                <a:gd name="connsiteX0" fmla="*/ 0 w 762"/>
                <a:gd name="connsiteY0" fmla="*/ 0 h 508"/>
                <a:gd name="connsiteX1" fmla="*/ 0 w 762"/>
                <a:gd name="connsiteY1" fmla="*/ 508 h 508"/>
                <a:gd name="connsiteX2" fmla="*/ 762 w 762"/>
                <a:gd name="connsiteY2" fmla="*/ 508 h 508"/>
                <a:gd name="connsiteX3" fmla="*/ 0 w 762"/>
                <a:gd name="connsiteY3" fmla="*/ 0 h 508"/>
              </a:gdLst>
              <a:ahLst/>
              <a:cxnLst>
                <a:cxn ang="0">
                  <a:pos x="connsiteX0" y="connsiteY0"/>
                </a:cxn>
                <a:cxn ang="0">
                  <a:pos x="connsiteX1" y="connsiteY1"/>
                </a:cxn>
                <a:cxn ang="0">
                  <a:pos x="connsiteX2" y="connsiteY2"/>
                </a:cxn>
                <a:cxn ang="0">
                  <a:pos x="connsiteX3" y="connsiteY3"/>
                </a:cxn>
              </a:cxnLst>
              <a:rect l="l" t="t" r="r" b="b"/>
              <a:pathLst>
                <a:path w="762" h="508">
                  <a:moveTo>
                    <a:pt x="0" y="0"/>
                  </a:moveTo>
                  <a:lnTo>
                    <a:pt x="0" y="508"/>
                  </a:lnTo>
                  <a:lnTo>
                    <a:pt x="762" y="508"/>
                  </a:lnTo>
                  <a:lnTo>
                    <a:pt x="0" y="0"/>
                  </a:lnTo>
                  <a:close/>
                </a:path>
              </a:pathLst>
            </a:custGeom>
            <a:solidFill>
              <a:srgbClr val="000000"/>
            </a:solidFill>
            <a:ln w="12704"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9C9B4547-2EB0-439C-8268-76C459CF7928}"/>
                </a:ext>
              </a:extLst>
            </p:cNvPr>
            <p:cNvSpPr/>
            <p:nvPr/>
          </p:nvSpPr>
          <p:spPr>
            <a:xfrm>
              <a:off x="8176741" y="1789265"/>
              <a:ext cx="54131" cy="40912"/>
            </a:xfrm>
            <a:custGeom>
              <a:avLst/>
              <a:gdLst>
                <a:gd name="connsiteX0" fmla="*/ 47143 w 54131"/>
                <a:gd name="connsiteY0" fmla="*/ 40912 h 40912"/>
                <a:gd name="connsiteX1" fmla="*/ 54132 w 54131"/>
                <a:gd name="connsiteY1" fmla="*/ 40912 h 40912"/>
                <a:gd name="connsiteX2" fmla="*/ 7751 w 54131"/>
                <a:gd name="connsiteY2" fmla="*/ 5845 h 40912"/>
                <a:gd name="connsiteX3" fmla="*/ 0 w 54131"/>
                <a:gd name="connsiteY3" fmla="*/ 0 h 40912"/>
                <a:gd name="connsiteX4" fmla="*/ 0 w 54131"/>
                <a:gd name="connsiteY4" fmla="*/ 5336 h 40912"/>
                <a:gd name="connsiteX5" fmla="*/ 762 w 54131"/>
                <a:gd name="connsiteY5" fmla="*/ 5845 h 40912"/>
                <a:gd name="connsiteX6" fmla="*/ 47143 w 54131"/>
                <a:gd name="connsiteY6" fmla="*/ 40912 h 4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31" h="40912">
                  <a:moveTo>
                    <a:pt x="47143" y="40912"/>
                  </a:moveTo>
                  <a:lnTo>
                    <a:pt x="54132" y="40912"/>
                  </a:lnTo>
                  <a:lnTo>
                    <a:pt x="7751" y="5845"/>
                  </a:lnTo>
                  <a:lnTo>
                    <a:pt x="0" y="0"/>
                  </a:lnTo>
                  <a:lnTo>
                    <a:pt x="0" y="5336"/>
                  </a:lnTo>
                  <a:lnTo>
                    <a:pt x="762" y="5845"/>
                  </a:lnTo>
                  <a:lnTo>
                    <a:pt x="47143" y="40912"/>
                  </a:lnTo>
                  <a:close/>
                </a:path>
              </a:pathLst>
            </a:custGeom>
            <a:solidFill>
              <a:srgbClr val="000000"/>
            </a:solidFill>
            <a:ln w="12704"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3DB92CEB-C340-4B61-9934-1DF0F4CCC621}"/>
                </a:ext>
              </a:extLst>
            </p:cNvPr>
            <p:cNvSpPr/>
            <p:nvPr/>
          </p:nvSpPr>
          <p:spPr>
            <a:xfrm>
              <a:off x="8153361" y="1771350"/>
              <a:ext cx="23380" cy="58827"/>
            </a:xfrm>
            <a:custGeom>
              <a:avLst/>
              <a:gdLst>
                <a:gd name="connsiteX0" fmla="*/ 23381 w 23380"/>
                <a:gd name="connsiteY0" fmla="*/ 58827 h 58827"/>
                <a:gd name="connsiteX1" fmla="*/ 23381 w 23380"/>
                <a:gd name="connsiteY1" fmla="*/ 11689 h 58827"/>
                <a:gd name="connsiteX2" fmla="*/ 11690 w 23380"/>
                <a:gd name="connsiteY2" fmla="*/ 0 h 58827"/>
                <a:gd name="connsiteX3" fmla="*/ 0 w 23380"/>
                <a:gd name="connsiteY3" fmla="*/ 11689 h 58827"/>
                <a:gd name="connsiteX4" fmla="*/ 0 w 23380"/>
                <a:gd name="connsiteY4" fmla="*/ 58827 h 58827"/>
                <a:gd name="connsiteX5" fmla="*/ 23381 w 23380"/>
                <a:gd name="connsiteY5" fmla="*/ 58827 h 5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0" h="58827">
                  <a:moveTo>
                    <a:pt x="23381" y="58827"/>
                  </a:moveTo>
                  <a:lnTo>
                    <a:pt x="23381" y="11689"/>
                  </a:lnTo>
                  <a:cubicBezTo>
                    <a:pt x="23381" y="5235"/>
                    <a:pt x="18146" y="0"/>
                    <a:pt x="11690" y="0"/>
                  </a:cubicBezTo>
                  <a:cubicBezTo>
                    <a:pt x="5235" y="0"/>
                    <a:pt x="0" y="5235"/>
                    <a:pt x="0" y="11689"/>
                  </a:cubicBezTo>
                  <a:lnTo>
                    <a:pt x="0" y="58827"/>
                  </a:lnTo>
                  <a:lnTo>
                    <a:pt x="23381" y="58827"/>
                  </a:lnTo>
                  <a:close/>
                </a:path>
              </a:pathLst>
            </a:custGeom>
            <a:solidFill>
              <a:srgbClr val="000000"/>
            </a:solidFill>
            <a:ln w="12704"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BBAD2144-86A7-4BDF-8369-72B71C60B5FD}"/>
                </a:ext>
              </a:extLst>
            </p:cNvPr>
            <p:cNvSpPr/>
            <p:nvPr/>
          </p:nvSpPr>
          <p:spPr>
            <a:xfrm>
              <a:off x="11085229" y="3392593"/>
              <a:ext cx="152483" cy="4319"/>
            </a:xfrm>
            <a:custGeom>
              <a:avLst/>
              <a:gdLst>
                <a:gd name="connsiteX0" fmla="*/ 0 w 152483"/>
                <a:gd name="connsiteY0" fmla="*/ 4193 h 4319"/>
                <a:gd name="connsiteX1" fmla="*/ 152483 w 152483"/>
                <a:gd name="connsiteY1" fmla="*/ 4193 h 4319"/>
                <a:gd name="connsiteX2" fmla="*/ 152483 w 152483"/>
                <a:gd name="connsiteY2" fmla="*/ 2033 h 4319"/>
                <a:gd name="connsiteX3" fmla="*/ 152483 w 152483"/>
                <a:gd name="connsiteY3" fmla="*/ 0 h 4319"/>
                <a:gd name="connsiteX4" fmla="*/ 0 w 152483"/>
                <a:gd name="connsiteY4" fmla="*/ 0 h 4319"/>
                <a:gd name="connsiteX5" fmla="*/ 0 w 152483"/>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83" h="4319">
                  <a:moveTo>
                    <a:pt x="0" y="4193"/>
                  </a:moveTo>
                  <a:lnTo>
                    <a:pt x="152483" y="4193"/>
                  </a:lnTo>
                  <a:cubicBezTo>
                    <a:pt x="152419" y="3469"/>
                    <a:pt x="152419" y="2757"/>
                    <a:pt x="152483" y="2033"/>
                  </a:cubicBezTo>
                  <a:lnTo>
                    <a:pt x="152483" y="0"/>
                  </a:lnTo>
                  <a:lnTo>
                    <a:pt x="0" y="0"/>
                  </a:lnTo>
                  <a:lnTo>
                    <a:pt x="0" y="4320"/>
                  </a:lnTo>
                  <a:close/>
                </a:path>
              </a:pathLst>
            </a:custGeom>
            <a:solidFill>
              <a:srgbClr val="000000"/>
            </a:solidFill>
            <a:ln w="12704"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2D55046D-6337-4AB6-922B-66DE6FD51337}"/>
                </a:ext>
              </a:extLst>
            </p:cNvPr>
            <p:cNvSpPr/>
            <p:nvPr/>
          </p:nvSpPr>
          <p:spPr>
            <a:xfrm>
              <a:off x="11969503" y="4519967"/>
              <a:ext cx="24905" cy="4319"/>
            </a:xfrm>
            <a:custGeom>
              <a:avLst/>
              <a:gdLst>
                <a:gd name="connsiteX0" fmla="*/ 0 w 24905"/>
                <a:gd name="connsiteY0" fmla="*/ 2160 h 4319"/>
                <a:gd name="connsiteX1" fmla="*/ 0 w 24905"/>
                <a:gd name="connsiteY1" fmla="*/ 4320 h 4319"/>
                <a:gd name="connsiteX2" fmla="*/ 24906 w 24905"/>
                <a:gd name="connsiteY2" fmla="*/ 4320 h 4319"/>
                <a:gd name="connsiteX3" fmla="*/ 24906 w 24905"/>
                <a:gd name="connsiteY3" fmla="*/ 2160 h 4319"/>
                <a:gd name="connsiteX4" fmla="*/ 24906 w 24905"/>
                <a:gd name="connsiteY4" fmla="*/ 0 h 4319"/>
                <a:gd name="connsiteX5" fmla="*/ 0 w 24905"/>
                <a:gd name="connsiteY5" fmla="*/ 0 h 4319"/>
                <a:gd name="connsiteX6" fmla="*/ 0 w 24905"/>
                <a:gd name="connsiteY6"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05" h="4319">
                  <a:moveTo>
                    <a:pt x="0" y="2160"/>
                  </a:moveTo>
                  <a:lnTo>
                    <a:pt x="0" y="4320"/>
                  </a:lnTo>
                  <a:lnTo>
                    <a:pt x="24906" y="4320"/>
                  </a:lnTo>
                  <a:lnTo>
                    <a:pt x="24906" y="2160"/>
                  </a:lnTo>
                  <a:lnTo>
                    <a:pt x="24906" y="0"/>
                  </a:lnTo>
                  <a:lnTo>
                    <a:pt x="0" y="0"/>
                  </a:lnTo>
                  <a:lnTo>
                    <a:pt x="0" y="2160"/>
                  </a:lnTo>
                  <a:close/>
                </a:path>
              </a:pathLst>
            </a:custGeom>
            <a:solidFill>
              <a:srgbClr val="000000"/>
            </a:solidFill>
            <a:ln w="12704"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09718D8B-4A17-4967-A98E-B29AA58C1B02}"/>
                </a:ext>
              </a:extLst>
            </p:cNvPr>
            <p:cNvSpPr/>
            <p:nvPr/>
          </p:nvSpPr>
          <p:spPr>
            <a:xfrm>
              <a:off x="8446001" y="1773129"/>
              <a:ext cx="65059" cy="57048"/>
            </a:xfrm>
            <a:custGeom>
              <a:avLst/>
              <a:gdLst>
                <a:gd name="connsiteX0" fmla="*/ 5591 w 65059"/>
                <a:gd name="connsiteY0" fmla="*/ 9910 h 57048"/>
                <a:gd name="connsiteX1" fmla="*/ 5591 w 65059"/>
                <a:gd name="connsiteY1" fmla="*/ 36211 h 57048"/>
                <a:gd name="connsiteX2" fmla="*/ 29099 w 65059"/>
                <a:gd name="connsiteY2" fmla="*/ 57048 h 57048"/>
                <a:gd name="connsiteX3" fmla="*/ 65059 w 65059"/>
                <a:gd name="connsiteY3" fmla="*/ 57048 h 57048"/>
                <a:gd name="connsiteX4" fmla="*/ 1525 w 65059"/>
                <a:gd name="connsiteY4" fmla="*/ 889 h 57048"/>
                <a:gd name="connsiteX5" fmla="*/ 0 w 65059"/>
                <a:gd name="connsiteY5" fmla="*/ 0 h 57048"/>
                <a:gd name="connsiteX6" fmla="*/ 5591 w 65059"/>
                <a:gd name="connsiteY6" fmla="*/ 9910 h 5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9" h="57048">
                  <a:moveTo>
                    <a:pt x="5591" y="9910"/>
                  </a:moveTo>
                  <a:lnTo>
                    <a:pt x="5591" y="36211"/>
                  </a:lnTo>
                  <a:lnTo>
                    <a:pt x="29099" y="57048"/>
                  </a:lnTo>
                  <a:lnTo>
                    <a:pt x="65059" y="57048"/>
                  </a:lnTo>
                  <a:lnTo>
                    <a:pt x="1525" y="889"/>
                  </a:lnTo>
                  <a:lnTo>
                    <a:pt x="0" y="0"/>
                  </a:lnTo>
                  <a:cubicBezTo>
                    <a:pt x="3431" y="2135"/>
                    <a:pt x="5540" y="5870"/>
                    <a:pt x="5591" y="9910"/>
                  </a:cubicBezTo>
                  <a:close/>
                </a:path>
              </a:pathLst>
            </a:custGeom>
            <a:solidFill>
              <a:srgbClr val="000000"/>
            </a:solidFill>
            <a:ln w="12704"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9186C5CC-5103-43C9-8C12-F11960C3BF62}"/>
                </a:ext>
              </a:extLst>
            </p:cNvPr>
            <p:cNvSpPr/>
            <p:nvPr/>
          </p:nvSpPr>
          <p:spPr>
            <a:xfrm>
              <a:off x="8430117" y="1774908"/>
              <a:ext cx="1143" cy="1778"/>
            </a:xfrm>
            <a:custGeom>
              <a:avLst/>
              <a:gdLst>
                <a:gd name="connsiteX0" fmla="*/ 762 w 1143"/>
                <a:gd name="connsiteY0" fmla="*/ 254 h 1778"/>
                <a:gd name="connsiteX1" fmla="*/ 0 w 1143"/>
                <a:gd name="connsiteY1" fmla="*/ 1779 h 1778"/>
                <a:gd name="connsiteX2" fmla="*/ 1144 w 1143"/>
                <a:gd name="connsiteY2" fmla="*/ 0 h 1778"/>
              </a:gdLst>
              <a:ahLst/>
              <a:cxnLst>
                <a:cxn ang="0">
                  <a:pos x="connsiteX0" y="connsiteY0"/>
                </a:cxn>
                <a:cxn ang="0">
                  <a:pos x="connsiteX1" y="connsiteY1"/>
                </a:cxn>
                <a:cxn ang="0">
                  <a:pos x="connsiteX2" y="connsiteY2"/>
                </a:cxn>
              </a:cxnLst>
              <a:rect l="l" t="t" r="r" b="b"/>
              <a:pathLst>
                <a:path w="1143" h="1778">
                  <a:moveTo>
                    <a:pt x="762" y="254"/>
                  </a:moveTo>
                  <a:cubicBezTo>
                    <a:pt x="458" y="737"/>
                    <a:pt x="203" y="1245"/>
                    <a:pt x="0" y="1779"/>
                  </a:cubicBezTo>
                  <a:cubicBezTo>
                    <a:pt x="305" y="1143"/>
                    <a:pt x="686" y="546"/>
                    <a:pt x="1144" y="0"/>
                  </a:cubicBezTo>
                  <a:close/>
                </a:path>
              </a:pathLst>
            </a:custGeom>
            <a:solidFill>
              <a:srgbClr val="000000"/>
            </a:solidFill>
            <a:ln w="12704"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534E80A5-16E7-4CB0-8244-9914C5953785}"/>
                </a:ext>
              </a:extLst>
            </p:cNvPr>
            <p:cNvSpPr/>
            <p:nvPr/>
          </p:nvSpPr>
          <p:spPr>
            <a:xfrm>
              <a:off x="9452576" y="1881938"/>
              <a:ext cx="23658" cy="353550"/>
            </a:xfrm>
            <a:custGeom>
              <a:avLst/>
              <a:gdLst>
                <a:gd name="connsiteX0" fmla="*/ 5022 w 23658"/>
                <a:gd name="connsiteY0" fmla="*/ 317339 h 353550"/>
                <a:gd name="connsiteX1" fmla="*/ 9343 w 23658"/>
                <a:gd name="connsiteY1" fmla="*/ 324454 h 353550"/>
                <a:gd name="connsiteX2" fmla="*/ 9343 w 23658"/>
                <a:gd name="connsiteY2" fmla="*/ 324454 h 353550"/>
                <a:gd name="connsiteX3" fmla="*/ 22050 w 23658"/>
                <a:gd name="connsiteY3" fmla="*/ 345927 h 353550"/>
                <a:gd name="connsiteX4" fmla="*/ 23575 w 23658"/>
                <a:gd name="connsiteY4" fmla="*/ 353550 h 353550"/>
                <a:gd name="connsiteX5" fmla="*/ 23575 w 23658"/>
                <a:gd name="connsiteY5" fmla="*/ 352153 h 353550"/>
                <a:gd name="connsiteX6" fmla="*/ 23575 w 23658"/>
                <a:gd name="connsiteY6" fmla="*/ 13039 h 353550"/>
                <a:gd name="connsiteX7" fmla="*/ 13041 w 23658"/>
                <a:gd name="connsiteY7" fmla="*/ 66 h 353550"/>
                <a:gd name="connsiteX8" fmla="*/ 66 w 23658"/>
                <a:gd name="connsiteY8" fmla="*/ 10586 h 353550"/>
                <a:gd name="connsiteX9" fmla="*/ 66 w 23658"/>
                <a:gd name="connsiteY9" fmla="*/ 13039 h 353550"/>
                <a:gd name="connsiteX10" fmla="*/ 66 w 23658"/>
                <a:gd name="connsiteY10" fmla="*/ 309970 h 353550"/>
                <a:gd name="connsiteX11" fmla="*/ 4514 w 23658"/>
                <a:gd name="connsiteY11" fmla="*/ 317339 h 35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58" h="353550">
                  <a:moveTo>
                    <a:pt x="5022" y="317339"/>
                  </a:moveTo>
                  <a:lnTo>
                    <a:pt x="9343" y="324454"/>
                  </a:lnTo>
                  <a:lnTo>
                    <a:pt x="9343" y="324454"/>
                  </a:lnTo>
                  <a:lnTo>
                    <a:pt x="22050" y="345927"/>
                  </a:lnTo>
                  <a:cubicBezTo>
                    <a:pt x="23346" y="348252"/>
                    <a:pt x="23879" y="350908"/>
                    <a:pt x="23575" y="353550"/>
                  </a:cubicBezTo>
                  <a:cubicBezTo>
                    <a:pt x="23575" y="353550"/>
                    <a:pt x="23575" y="352661"/>
                    <a:pt x="23575" y="352153"/>
                  </a:cubicBezTo>
                  <a:lnTo>
                    <a:pt x="23575" y="13039"/>
                  </a:lnTo>
                  <a:cubicBezTo>
                    <a:pt x="24248" y="6546"/>
                    <a:pt x="19534" y="740"/>
                    <a:pt x="13041" y="66"/>
                  </a:cubicBezTo>
                  <a:cubicBezTo>
                    <a:pt x="6547" y="-620"/>
                    <a:pt x="740" y="4107"/>
                    <a:pt x="66" y="10586"/>
                  </a:cubicBezTo>
                  <a:cubicBezTo>
                    <a:pt x="-22" y="11400"/>
                    <a:pt x="-22" y="12226"/>
                    <a:pt x="66" y="13039"/>
                  </a:cubicBezTo>
                  <a:lnTo>
                    <a:pt x="66" y="309970"/>
                  </a:lnTo>
                  <a:lnTo>
                    <a:pt x="4514" y="317339"/>
                  </a:lnTo>
                  <a:close/>
                </a:path>
              </a:pathLst>
            </a:custGeom>
            <a:solidFill>
              <a:srgbClr val="000000"/>
            </a:solidFill>
            <a:ln w="12704"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404056D4-AD35-4050-A276-932BB772EBB1}"/>
                </a:ext>
              </a:extLst>
            </p:cNvPr>
            <p:cNvSpPr/>
            <p:nvPr/>
          </p:nvSpPr>
          <p:spPr>
            <a:xfrm>
              <a:off x="10343144" y="1928774"/>
              <a:ext cx="4066" cy="263261"/>
            </a:xfrm>
            <a:custGeom>
              <a:avLst/>
              <a:gdLst>
                <a:gd name="connsiteX0" fmla="*/ 4066 w 4066"/>
                <a:gd name="connsiteY0" fmla="*/ 3558 h 263261"/>
                <a:gd name="connsiteX1" fmla="*/ 4066 w 4066"/>
                <a:gd name="connsiteY1" fmla="*/ 2033 h 263261"/>
                <a:gd name="connsiteX2" fmla="*/ 2034 w 4066"/>
                <a:gd name="connsiteY2" fmla="*/ 0 h 263261"/>
                <a:gd name="connsiteX3" fmla="*/ 0 w 4066"/>
                <a:gd name="connsiteY3" fmla="*/ 2033 h 263261"/>
                <a:gd name="connsiteX4" fmla="*/ 0 w 4066"/>
                <a:gd name="connsiteY4" fmla="*/ 263261 h 263261"/>
                <a:gd name="connsiteX5" fmla="*/ 4066 w 4066"/>
                <a:gd name="connsiteY5" fmla="*/ 249031 h 26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263261">
                  <a:moveTo>
                    <a:pt x="4066" y="3558"/>
                  </a:moveTo>
                  <a:lnTo>
                    <a:pt x="4066" y="2033"/>
                  </a:lnTo>
                  <a:cubicBezTo>
                    <a:pt x="4066" y="915"/>
                    <a:pt x="3151" y="0"/>
                    <a:pt x="2034" y="0"/>
                  </a:cubicBezTo>
                  <a:cubicBezTo>
                    <a:pt x="915" y="0"/>
                    <a:pt x="0" y="915"/>
                    <a:pt x="0" y="2033"/>
                  </a:cubicBezTo>
                  <a:lnTo>
                    <a:pt x="0" y="263261"/>
                  </a:lnTo>
                  <a:lnTo>
                    <a:pt x="4066" y="249031"/>
                  </a:lnTo>
                  <a:close/>
                </a:path>
              </a:pathLst>
            </a:custGeom>
            <a:solidFill>
              <a:srgbClr val="000000"/>
            </a:solidFill>
            <a:ln w="12704"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64389CF7-33C6-419C-B782-73D2A97286B6}"/>
                </a:ext>
              </a:extLst>
            </p:cNvPr>
            <p:cNvSpPr/>
            <p:nvPr/>
          </p:nvSpPr>
          <p:spPr>
            <a:xfrm>
              <a:off x="10343144" y="2205249"/>
              <a:ext cx="4066" cy="16898"/>
            </a:xfrm>
            <a:custGeom>
              <a:avLst/>
              <a:gdLst>
                <a:gd name="connsiteX0" fmla="*/ 4066 w 4066"/>
                <a:gd name="connsiteY0" fmla="*/ 16899 h 16898"/>
                <a:gd name="connsiteX1" fmla="*/ 4066 w 4066"/>
                <a:gd name="connsiteY1" fmla="*/ 4193 h 16898"/>
                <a:gd name="connsiteX2" fmla="*/ 0 w 4066"/>
                <a:gd name="connsiteY2" fmla="*/ 0 h 16898"/>
                <a:gd name="connsiteX3" fmla="*/ 0 w 4066"/>
                <a:gd name="connsiteY3" fmla="*/ 16899 h 16898"/>
                <a:gd name="connsiteX4" fmla="*/ 4066 w 4066"/>
                <a:gd name="connsiteY4" fmla="*/ 16899 h 1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6898">
                  <a:moveTo>
                    <a:pt x="4066" y="16899"/>
                  </a:moveTo>
                  <a:lnTo>
                    <a:pt x="4066" y="4193"/>
                  </a:lnTo>
                  <a:cubicBezTo>
                    <a:pt x="2351" y="3189"/>
                    <a:pt x="941" y="1741"/>
                    <a:pt x="0" y="0"/>
                  </a:cubicBezTo>
                  <a:lnTo>
                    <a:pt x="0" y="16899"/>
                  </a:lnTo>
                  <a:lnTo>
                    <a:pt x="4066" y="16899"/>
                  </a:lnTo>
                  <a:close/>
                </a:path>
              </a:pathLst>
            </a:custGeom>
            <a:solidFill>
              <a:srgbClr val="000000"/>
            </a:solidFill>
            <a:ln w="12704"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4D817A84-30F2-4120-949B-2F6B5171FE67}"/>
                </a:ext>
              </a:extLst>
            </p:cNvPr>
            <p:cNvSpPr/>
            <p:nvPr/>
          </p:nvSpPr>
          <p:spPr>
            <a:xfrm>
              <a:off x="11320942" y="4270939"/>
              <a:ext cx="601164" cy="3681"/>
            </a:xfrm>
            <a:custGeom>
              <a:avLst/>
              <a:gdLst>
                <a:gd name="connsiteX0" fmla="*/ 599132 w 601164"/>
                <a:gd name="connsiteY0" fmla="*/ 3046 h 3681"/>
                <a:gd name="connsiteX1" fmla="*/ 601164 w 601164"/>
                <a:gd name="connsiteY1" fmla="*/ 1559 h 3681"/>
                <a:gd name="connsiteX2" fmla="*/ 601164 w 601164"/>
                <a:gd name="connsiteY2" fmla="*/ 1521 h 3681"/>
                <a:gd name="connsiteX3" fmla="*/ 601164 w 601164"/>
                <a:gd name="connsiteY3" fmla="*/ 886 h 3681"/>
                <a:gd name="connsiteX4" fmla="*/ 601164 w 601164"/>
                <a:gd name="connsiteY4" fmla="*/ 886 h 3681"/>
                <a:gd name="connsiteX5" fmla="*/ 601164 w 601164"/>
                <a:gd name="connsiteY5" fmla="*/ 886 h 3681"/>
                <a:gd name="connsiteX6" fmla="*/ 601164 w 601164"/>
                <a:gd name="connsiteY6" fmla="*/ 124 h 3681"/>
                <a:gd name="connsiteX7" fmla="*/ 601164 w 601164"/>
                <a:gd name="connsiteY7" fmla="*/ 124 h 3681"/>
                <a:gd name="connsiteX8" fmla="*/ 599894 w 601164"/>
                <a:gd name="connsiteY8" fmla="*/ 124 h 3681"/>
                <a:gd name="connsiteX9" fmla="*/ 0 w 601164"/>
                <a:gd name="connsiteY9" fmla="*/ 124 h 3681"/>
                <a:gd name="connsiteX10" fmla="*/ 0 w 601164"/>
                <a:gd name="connsiteY10" fmla="*/ 1521 h 3681"/>
                <a:gd name="connsiteX11" fmla="*/ 0 w 601164"/>
                <a:gd name="connsiteY11" fmla="*/ 3681 h 3681"/>
                <a:gd name="connsiteX12" fmla="*/ 599640 w 601164"/>
                <a:gd name="connsiteY12" fmla="*/ 3681 h 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164" h="3681">
                  <a:moveTo>
                    <a:pt x="599132" y="3046"/>
                  </a:moveTo>
                  <a:cubicBezTo>
                    <a:pt x="600097" y="3198"/>
                    <a:pt x="601012" y="2525"/>
                    <a:pt x="601164" y="1559"/>
                  </a:cubicBezTo>
                  <a:cubicBezTo>
                    <a:pt x="601164" y="1547"/>
                    <a:pt x="601164" y="1534"/>
                    <a:pt x="601164" y="1521"/>
                  </a:cubicBezTo>
                  <a:cubicBezTo>
                    <a:pt x="601164" y="1521"/>
                    <a:pt x="601164" y="1521"/>
                    <a:pt x="601164" y="886"/>
                  </a:cubicBezTo>
                  <a:cubicBezTo>
                    <a:pt x="601164" y="251"/>
                    <a:pt x="601164" y="886"/>
                    <a:pt x="601164" y="886"/>
                  </a:cubicBezTo>
                  <a:lnTo>
                    <a:pt x="601164" y="886"/>
                  </a:lnTo>
                  <a:lnTo>
                    <a:pt x="601164" y="124"/>
                  </a:lnTo>
                  <a:lnTo>
                    <a:pt x="601164" y="124"/>
                  </a:lnTo>
                  <a:cubicBezTo>
                    <a:pt x="600758" y="-41"/>
                    <a:pt x="600300" y="-41"/>
                    <a:pt x="599894" y="124"/>
                  </a:cubicBezTo>
                  <a:lnTo>
                    <a:pt x="0" y="124"/>
                  </a:lnTo>
                  <a:lnTo>
                    <a:pt x="0" y="1521"/>
                  </a:lnTo>
                  <a:cubicBezTo>
                    <a:pt x="64" y="2246"/>
                    <a:pt x="64" y="2957"/>
                    <a:pt x="0" y="3681"/>
                  </a:cubicBezTo>
                  <a:lnTo>
                    <a:pt x="599640" y="3681"/>
                  </a:lnTo>
                  <a:close/>
                </a:path>
              </a:pathLst>
            </a:custGeom>
            <a:solidFill>
              <a:srgbClr val="000000"/>
            </a:solidFill>
            <a:ln w="12704"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F272A2BD-593C-46EA-ABDC-614686C840C6}"/>
                </a:ext>
              </a:extLst>
            </p:cNvPr>
            <p:cNvSpPr/>
            <p:nvPr/>
          </p:nvSpPr>
          <p:spPr>
            <a:xfrm>
              <a:off x="11320942" y="4218842"/>
              <a:ext cx="511834" cy="4319"/>
            </a:xfrm>
            <a:custGeom>
              <a:avLst/>
              <a:gdLst>
                <a:gd name="connsiteX0" fmla="*/ 0 w 511834"/>
                <a:gd name="connsiteY0" fmla="*/ 4320 h 4319"/>
                <a:gd name="connsiteX1" fmla="*/ 509674 w 511834"/>
                <a:gd name="connsiteY1" fmla="*/ 4320 h 4319"/>
                <a:gd name="connsiteX2" fmla="*/ 511834 w 511834"/>
                <a:gd name="connsiteY2" fmla="*/ 2160 h 4319"/>
                <a:gd name="connsiteX3" fmla="*/ 509674 w 511834"/>
                <a:gd name="connsiteY3" fmla="*/ 0 h 4319"/>
                <a:gd name="connsiteX4" fmla="*/ 0 w 511834"/>
                <a:gd name="connsiteY4" fmla="*/ 0 h 4319"/>
                <a:gd name="connsiteX5" fmla="*/ 0 w 511834"/>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834" h="4319">
                  <a:moveTo>
                    <a:pt x="0" y="4320"/>
                  </a:moveTo>
                  <a:lnTo>
                    <a:pt x="509674" y="4320"/>
                  </a:lnTo>
                  <a:cubicBezTo>
                    <a:pt x="510869" y="4320"/>
                    <a:pt x="511834" y="3354"/>
                    <a:pt x="511834" y="2160"/>
                  </a:cubicBezTo>
                  <a:cubicBezTo>
                    <a:pt x="511834" y="965"/>
                    <a:pt x="510869" y="0"/>
                    <a:pt x="509674" y="0"/>
                  </a:cubicBezTo>
                  <a:lnTo>
                    <a:pt x="0" y="0"/>
                  </a:lnTo>
                  <a:lnTo>
                    <a:pt x="0" y="4320"/>
                  </a:lnTo>
                  <a:close/>
                </a:path>
              </a:pathLst>
            </a:custGeom>
            <a:solidFill>
              <a:srgbClr val="000000"/>
            </a:solidFill>
            <a:ln w="12704"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5F615FF6-7033-4158-8D8E-A01E47D61985}"/>
                </a:ext>
              </a:extLst>
            </p:cNvPr>
            <p:cNvSpPr/>
            <p:nvPr/>
          </p:nvSpPr>
          <p:spPr>
            <a:xfrm>
              <a:off x="11311284" y="4576078"/>
              <a:ext cx="613871" cy="937"/>
            </a:xfrm>
            <a:custGeom>
              <a:avLst/>
              <a:gdLst>
                <a:gd name="connsiteX0" fmla="*/ 608789 w 613871"/>
                <a:gd name="connsiteY0" fmla="*/ 48 h 937"/>
                <a:gd name="connsiteX1" fmla="*/ 0 w 613871"/>
                <a:gd name="connsiteY1" fmla="*/ 48 h 937"/>
                <a:gd name="connsiteX2" fmla="*/ 0 w 613871"/>
                <a:gd name="connsiteY2" fmla="*/ 48 h 937"/>
                <a:gd name="connsiteX3" fmla="*/ 2922 w 613871"/>
                <a:gd name="connsiteY3" fmla="*/ 937 h 937"/>
                <a:gd name="connsiteX4" fmla="*/ 613871 w 613871"/>
                <a:gd name="connsiteY4" fmla="*/ 937 h 937"/>
                <a:gd name="connsiteX5" fmla="*/ 610949 w 613871"/>
                <a:gd name="connsiteY5" fmla="*/ 48 h 937"/>
                <a:gd name="connsiteX6" fmla="*/ 608789 w 613871"/>
                <a:gd name="connsiteY6" fmla="*/ 48 h 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71" h="937">
                  <a:moveTo>
                    <a:pt x="608789" y="48"/>
                  </a:moveTo>
                  <a:lnTo>
                    <a:pt x="0" y="48"/>
                  </a:lnTo>
                  <a:lnTo>
                    <a:pt x="0" y="48"/>
                  </a:lnTo>
                  <a:lnTo>
                    <a:pt x="2922" y="937"/>
                  </a:lnTo>
                  <a:lnTo>
                    <a:pt x="613871" y="937"/>
                  </a:lnTo>
                  <a:lnTo>
                    <a:pt x="610949" y="48"/>
                  </a:lnTo>
                  <a:cubicBezTo>
                    <a:pt x="610225" y="-16"/>
                    <a:pt x="609513" y="-16"/>
                    <a:pt x="608789" y="48"/>
                  </a:cubicBezTo>
                  <a:close/>
                </a:path>
              </a:pathLst>
            </a:custGeom>
            <a:solidFill>
              <a:srgbClr val="000000"/>
            </a:solidFill>
            <a:ln w="12704"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B536DF46-9A6F-46A9-9C28-1CB7031C8791}"/>
                </a:ext>
              </a:extLst>
            </p:cNvPr>
            <p:cNvSpPr/>
            <p:nvPr/>
          </p:nvSpPr>
          <p:spPr>
            <a:xfrm>
              <a:off x="11085229" y="4611193"/>
              <a:ext cx="72810" cy="4319"/>
            </a:xfrm>
            <a:custGeom>
              <a:avLst/>
              <a:gdLst>
                <a:gd name="connsiteX0" fmla="*/ 0 w 72810"/>
                <a:gd name="connsiteY0" fmla="*/ 4320 h 4319"/>
                <a:gd name="connsiteX1" fmla="*/ 72810 w 72810"/>
                <a:gd name="connsiteY1" fmla="*/ 4320 h 4319"/>
                <a:gd name="connsiteX2" fmla="*/ 72810 w 72810"/>
                <a:gd name="connsiteY2" fmla="*/ 0 h 4319"/>
                <a:gd name="connsiteX3" fmla="*/ 0 w 72810"/>
                <a:gd name="connsiteY3" fmla="*/ 0 h 4319"/>
                <a:gd name="connsiteX4" fmla="*/ 0 w 72810"/>
                <a:gd name="connsiteY4" fmla="*/ 432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10" h="4319">
                  <a:moveTo>
                    <a:pt x="0" y="4320"/>
                  </a:moveTo>
                  <a:lnTo>
                    <a:pt x="72810" y="4320"/>
                  </a:lnTo>
                  <a:cubicBezTo>
                    <a:pt x="72569" y="2897"/>
                    <a:pt x="72569" y="1423"/>
                    <a:pt x="72810" y="0"/>
                  </a:cubicBezTo>
                  <a:lnTo>
                    <a:pt x="0" y="0"/>
                  </a:lnTo>
                  <a:lnTo>
                    <a:pt x="0" y="4320"/>
                  </a:lnTo>
                  <a:close/>
                </a:path>
              </a:pathLst>
            </a:custGeom>
            <a:solidFill>
              <a:srgbClr val="000000"/>
            </a:solidFill>
            <a:ln w="12704"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4FA6E7E1-A63F-46A0-B47C-3A599294133F}"/>
                </a:ext>
              </a:extLst>
            </p:cNvPr>
            <p:cNvSpPr/>
            <p:nvPr/>
          </p:nvSpPr>
          <p:spPr>
            <a:xfrm>
              <a:off x="11311284" y="4576507"/>
              <a:ext cx="2922" cy="889"/>
            </a:xfrm>
            <a:custGeom>
              <a:avLst/>
              <a:gdLst>
                <a:gd name="connsiteX0" fmla="*/ 0 w 2922"/>
                <a:gd name="connsiteY0" fmla="*/ 889 h 889"/>
                <a:gd name="connsiteX1" fmla="*/ 2922 w 2922"/>
                <a:gd name="connsiteY1" fmla="*/ 889 h 889"/>
                <a:gd name="connsiteX2" fmla="*/ 0 w 2922"/>
                <a:gd name="connsiteY2" fmla="*/ 0 h 889"/>
              </a:gdLst>
              <a:ahLst/>
              <a:cxnLst>
                <a:cxn ang="0">
                  <a:pos x="connsiteX0" y="connsiteY0"/>
                </a:cxn>
                <a:cxn ang="0">
                  <a:pos x="connsiteX1" y="connsiteY1"/>
                </a:cxn>
                <a:cxn ang="0">
                  <a:pos x="connsiteX2" y="connsiteY2"/>
                </a:cxn>
              </a:cxnLst>
              <a:rect l="l" t="t" r="r" b="b"/>
              <a:pathLst>
                <a:path w="2922" h="889">
                  <a:moveTo>
                    <a:pt x="0" y="889"/>
                  </a:moveTo>
                  <a:lnTo>
                    <a:pt x="2922" y="889"/>
                  </a:lnTo>
                  <a:lnTo>
                    <a:pt x="0" y="0"/>
                  </a:lnTo>
                  <a:close/>
                </a:path>
              </a:pathLst>
            </a:custGeom>
            <a:solidFill>
              <a:srgbClr val="000000"/>
            </a:solidFill>
            <a:ln w="12704"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2AF894E6-7A2A-4927-A707-E2A8427816BB}"/>
                </a:ext>
              </a:extLst>
            </p:cNvPr>
            <p:cNvSpPr/>
            <p:nvPr/>
          </p:nvSpPr>
          <p:spPr>
            <a:xfrm>
              <a:off x="11304041" y="4576507"/>
              <a:ext cx="3049" cy="889"/>
            </a:xfrm>
            <a:custGeom>
              <a:avLst/>
              <a:gdLst>
                <a:gd name="connsiteX0" fmla="*/ 0 w 3049"/>
                <a:gd name="connsiteY0" fmla="*/ 889 h 889"/>
                <a:gd name="connsiteX1" fmla="*/ 3050 w 3049"/>
                <a:gd name="connsiteY1" fmla="*/ 889 h 889"/>
                <a:gd name="connsiteX2" fmla="*/ 3050 w 3049"/>
                <a:gd name="connsiteY2" fmla="*/ 0 h 889"/>
              </a:gdLst>
              <a:ahLst/>
              <a:cxnLst>
                <a:cxn ang="0">
                  <a:pos x="connsiteX0" y="connsiteY0"/>
                </a:cxn>
                <a:cxn ang="0">
                  <a:pos x="connsiteX1" y="connsiteY1"/>
                </a:cxn>
                <a:cxn ang="0">
                  <a:pos x="connsiteX2" y="connsiteY2"/>
                </a:cxn>
              </a:cxnLst>
              <a:rect l="l" t="t" r="r" b="b"/>
              <a:pathLst>
                <a:path w="3049" h="889">
                  <a:moveTo>
                    <a:pt x="0" y="889"/>
                  </a:moveTo>
                  <a:lnTo>
                    <a:pt x="3050" y="889"/>
                  </a:lnTo>
                  <a:lnTo>
                    <a:pt x="3050" y="0"/>
                  </a:lnTo>
                  <a:close/>
                </a:path>
              </a:pathLst>
            </a:custGeom>
            <a:solidFill>
              <a:srgbClr val="000000"/>
            </a:solidFill>
            <a:ln w="12704"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B41F3B96-6C37-42D4-834D-FCEB0BA12BA2}"/>
                </a:ext>
              </a:extLst>
            </p:cNvPr>
            <p:cNvSpPr/>
            <p:nvPr/>
          </p:nvSpPr>
          <p:spPr>
            <a:xfrm>
              <a:off x="10947104" y="6208041"/>
              <a:ext cx="698499" cy="4193"/>
            </a:xfrm>
            <a:custGeom>
              <a:avLst/>
              <a:gdLst>
                <a:gd name="connsiteX0" fmla="*/ 0 w 698499"/>
                <a:gd name="connsiteY0" fmla="*/ 4193 h 4193"/>
                <a:gd name="connsiteX1" fmla="*/ 698499 w 698499"/>
                <a:gd name="connsiteY1" fmla="*/ 4193 h 4193"/>
                <a:gd name="connsiteX2" fmla="*/ 696212 w 698499"/>
                <a:gd name="connsiteY2" fmla="*/ 0 h 4193"/>
                <a:gd name="connsiteX3" fmla="*/ 0 w 698499"/>
                <a:gd name="connsiteY3" fmla="*/ 0 h 4193"/>
                <a:gd name="connsiteX4" fmla="*/ 0 w 698499"/>
                <a:gd name="connsiteY4" fmla="*/ 2033 h 4193"/>
                <a:gd name="connsiteX5" fmla="*/ 0 w 698499"/>
                <a:gd name="connsiteY5" fmla="*/ 4193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499" h="4193">
                  <a:moveTo>
                    <a:pt x="0" y="4193"/>
                  </a:moveTo>
                  <a:lnTo>
                    <a:pt x="698499" y="4193"/>
                  </a:lnTo>
                  <a:lnTo>
                    <a:pt x="696212" y="0"/>
                  </a:lnTo>
                  <a:lnTo>
                    <a:pt x="0" y="0"/>
                  </a:lnTo>
                  <a:lnTo>
                    <a:pt x="0" y="2033"/>
                  </a:lnTo>
                  <a:lnTo>
                    <a:pt x="0" y="4193"/>
                  </a:lnTo>
                  <a:close/>
                </a:path>
              </a:pathLst>
            </a:custGeom>
            <a:solidFill>
              <a:srgbClr val="000000"/>
            </a:solidFill>
            <a:ln w="12704"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E1EE303C-C3FA-45B6-BD33-FBEB03FC3A24}"/>
                </a:ext>
              </a:extLst>
            </p:cNvPr>
            <p:cNvSpPr/>
            <p:nvPr/>
          </p:nvSpPr>
          <p:spPr>
            <a:xfrm>
              <a:off x="11071378" y="4890591"/>
              <a:ext cx="4193" cy="1111745"/>
            </a:xfrm>
            <a:custGeom>
              <a:avLst/>
              <a:gdLst>
                <a:gd name="connsiteX0" fmla="*/ 2034 w 4193"/>
                <a:gd name="connsiteY0" fmla="*/ 508 h 1111745"/>
                <a:gd name="connsiteX1" fmla="*/ 0 w 4193"/>
                <a:gd name="connsiteY1" fmla="*/ 508 h 1111745"/>
                <a:gd name="connsiteX2" fmla="*/ 0 w 4193"/>
                <a:gd name="connsiteY2" fmla="*/ 1111746 h 1111745"/>
                <a:gd name="connsiteX3" fmla="*/ 2034 w 4193"/>
                <a:gd name="connsiteY3" fmla="*/ 1109586 h 1111745"/>
                <a:gd name="connsiteX4" fmla="*/ 4194 w 4193"/>
                <a:gd name="connsiteY4" fmla="*/ 1109586 h 1111745"/>
                <a:gd name="connsiteX5" fmla="*/ 4194 w 4193"/>
                <a:gd name="connsiteY5" fmla="*/ 0 h 1111745"/>
                <a:gd name="connsiteX6" fmla="*/ 2034 w 4193"/>
                <a:gd name="connsiteY6" fmla="*/ 508 h 11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1111745">
                  <a:moveTo>
                    <a:pt x="2034" y="508"/>
                  </a:moveTo>
                  <a:cubicBezTo>
                    <a:pt x="1360" y="546"/>
                    <a:pt x="674" y="546"/>
                    <a:pt x="0" y="508"/>
                  </a:cubicBezTo>
                  <a:lnTo>
                    <a:pt x="0" y="1111746"/>
                  </a:lnTo>
                  <a:cubicBezTo>
                    <a:pt x="0" y="1110602"/>
                    <a:pt x="890" y="1109649"/>
                    <a:pt x="2034" y="1109586"/>
                  </a:cubicBezTo>
                  <a:lnTo>
                    <a:pt x="4194" y="1109586"/>
                  </a:lnTo>
                  <a:lnTo>
                    <a:pt x="4194" y="0"/>
                  </a:lnTo>
                  <a:cubicBezTo>
                    <a:pt x="3495" y="229"/>
                    <a:pt x="2770" y="407"/>
                    <a:pt x="2034" y="508"/>
                  </a:cubicBezTo>
                  <a:close/>
                </a:path>
              </a:pathLst>
            </a:custGeom>
            <a:solidFill>
              <a:srgbClr val="000000"/>
            </a:solidFill>
            <a:ln w="12704"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9037863A-9E47-4FDD-85D9-DDE3F6C5543A}"/>
                </a:ext>
              </a:extLst>
            </p:cNvPr>
            <p:cNvSpPr/>
            <p:nvPr/>
          </p:nvSpPr>
          <p:spPr>
            <a:xfrm>
              <a:off x="11071250" y="5999668"/>
              <a:ext cx="297850" cy="4319"/>
            </a:xfrm>
            <a:custGeom>
              <a:avLst/>
              <a:gdLst>
                <a:gd name="connsiteX0" fmla="*/ 297469 w 297850"/>
                <a:gd name="connsiteY0" fmla="*/ 0 h 4319"/>
                <a:gd name="connsiteX1" fmla="*/ 2161 w 297850"/>
                <a:gd name="connsiteY1" fmla="*/ 0 h 4319"/>
                <a:gd name="connsiteX2" fmla="*/ 0 w 297850"/>
                <a:gd name="connsiteY2" fmla="*/ 2160 h 4319"/>
                <a:gd name="connsiteX3" fmla="*/ 2161 w 297850"/>
                <a:gd name="connsiteY3" fmla="*/ 4320 h 4319"/>
                <a:gd name="connsiteX4" fmla="*/ 297850 w 297850"/>
                <a:gd name="connsiteY4" fmla="*/ 4320 h 4319"/>
                <a:gd name="connsiteX5" fmla="*/ 297850 w 297850"/>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50" h="4319">
                  <a:moveTo>
                    <a:pt x="297469" y="0"/>
                  </a:moveTo>
                  <a:lnTo>
                    <a:pt x="2161" y="0"/>
                  </a:lnTo>
                  <a:cubicBezTo>
                    <a:pt x="966" y="0"/>
                    <a:pt x="0" y="965"/>
                    <a:pt x="0" y="2160"/>
                  </a:cubicBezTo>
                  <a:cubicBezTo>
                    <a:pt x="0" y="3354"/>
                    <a:pt x="966" y="4320"/>
                    <a:pt x="2161" y="4320"/>
                  </a:cubicBezTo>
                  <a:lnTo>
                    <a:pt x="297850" y="4320"/>
                  </a:lnTo>
                  <a:cubicBezTo>
                    <a:pt x="297787" y="3596"/>
                    <a:pt x="297787" y="2884"/>
                    <a:pt x="297850" y="2160"/>
                  </a:cubicBezTo>
                  <a:close/>
                </a:path>
              </a:pathLst>
            </a:custGeom>
            <a:solidFill>
              <a:srgbClr val="000000"/>
            </a:solidFill>
            <a:ln w="12704"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877E2838-9784-4B0F-9107-AD55F4EF652C}"/>
                </a:ext>
              </a:extLst>
            </p:cNvPr>
            <p:cNvSpPr/>
            <p:nvPr/>
          </p:nvSpPr>
          <p:spPr>
            <a:xfrm>
              <a:off x="11598461" y="6102076"/>
              <a:ext cx="12706" cy="12705"/>
            </a:xfrm>
            <a:custGeom>
              <a:avLst/>
              <a:gdLst>
                <a:gd name="connsiteX0" fmla="*/ 0 w 12706"/>
                <a:gd name="connsiteY0" fmla="*/ 0 h 12705"/>
                <a:gd name="connsiteX1" fmla="*/ 0 w 12706"/>
                <a:gd name="connsiteY1" fmla="*/ 0 h 12705"/>
                <a:gd name="connsiteX2" fmla="*/ 0 w 12706"/>
                <a:gd name="connsiteY2" fmla="*/ 0 h 12705"/>
              </a:gdLst>
              <a:ahLst/>
              <a:cxnLst>
                <a:cxn ang="0">
                  <a:pos x="connsiteX0" y="connsiteY0"/>
                </a:cxn>
                <a:cxn ang="0">
                  <a:pos x="connsiteX1" y="connsiteY1"/>
                </a:cxn>
                <a:cxn ang="0">
                  <a:pos x="connsiteX2" y="connsiteY2"/>
                </a:cxn>
              </a:cxnLst>
              <a:rect l="l" t="t" r="r" b="b"/>
              <a:pathLst>
                <a:path w="12706" h="12705">
                  <a:moveTo>
                    <a:pt x="0" y="0"/>
                  </a:moveTo>
                  <a:lnTo>
                    <a:pt x="0" y="0"/>
                  </a:lnTo>
                  <a:lnTo>
                    <a:pt x="0" y="0"/>
                  </a:lnTo>
                  <a:close/>
                </a:path>
              </a:pathLst>
            </a:custGeom>
            <a:solidFill>
              <a:srgbClr val="000000"/>
            </a:solidFill>
            <a:ln w="12704"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4E5E8BAA-A557-495D-BD15-785D8D069F03}"/>
                </a:ext>
              </a:extLst>
            </p:cNvPr>
            <p:cNvSpPr/>
            <p:nvPr/>
          </p:nvSpPr>
          <p:spPr>
            <a:xfrm>
              <a:off x="11593954" y="6102584"/>
              <a:ext cx="75116" cy="119560"/>
            </a:xfrm>
            <a:custGeom>
              <a:avLst/>
              <a:gdLst>
                <a:gd name="connsiteX0" fmla="*/ 949 w 75116"/>
                <a:gd name="connsiteY0" fmla="*/ 14739 h 119560"/>
                <a:gd name="connsiteX1" fmla="*/ 49363 w 75116"/>
                <a:gd name="connsiteY1" fmla="*/ 105457 h 119560"/>
                <a:gd name="connsiteX2" fmla="*/ 51650 w 75116"/>
                <a:gd name="connsiteY2" fmla="*/ 109650 h 119560"/>
                <a:gd name="connsiteX3" fmla="*/ 51650 w 75116"/>
                <a:gd name="connsiteY3" fmla="*/ 110666 h 119560"/>
                <a:gd name="connsiteX4" fmla="*/ 53047 w 75116"/>
                <a:gd name="connsiteY4" fmla="*/ 113334 h 119560"/>
                <a:gd name="connsiteX5" fmla="*/ 63340 w 75116"/>
                <a:gd name="connsiteY5" fmla="*/ 119560 h 119560"/>
                <a:gd name="connsiteX6" fmla="*/ 69058 w 75116"/>
                <a:gd name="connsiteY6" fmla="*/ 118035 h 119560"/>
                <a:gd name="connsiteX7" fmla="*/ 75031 w 75116"/>
                <a:gd name="connsiteY7" fmla="*/ 106981 h 119560"/>
                <a:gd name="connsiteX8" fmla="*/ 75031 w 75116"/>
                <a:gd name="connsiteY8" fmla="*/ 104695 h 119560"/>
                <a:gd name="connsiteX9" fmla="*/ 74396 w 75116"/>
                <a:gd name="connsiteY9" fmla="*/ 102280 h 119560"/>
                <a:gd name="connsiteX10" fmla="*/ 74396 w 75116"/>
                <a:gd name="connsiteY10" fmla="*/ 102280 h 119560"/>
                <a:gd name="connsiteX11" fmla="*/ 26109 w 75116"/>
                <a:gd name="connsiteY11" fmla="*/ 11689 h 119560"/>
                <a:gd name="connsiteX12" fmla="*/ 23822 w 75116"/>
                <a:gd name="connsiteY12" fmla="*/ 7369 h 119560"/>
                <a:gd name="connsiteX13" fmla="*/ 21789 w 75116"/>
                <a:gd name="connsiteY13" fmla="*/ 3812 h 119560"/>
                <a:gd name="connsiteX14" fmla="*/ 18612 w 75116"/>
                <a:gd name="connsiteY14" fmla="*/ 0 h 119560"/>
                <a:gd name="connsiteX15" fmla="*/ 4761 w 75116"/>
                <a:gd name="connsiteY15" fmla="*/ 0 h 119560"/>
                <a:gd name="connsiteX16" fmla="*/ 4761 w 75116"/>
                <a:gd name="connsiteY16" fmla="*/ 0 h 119560"/>
                <a:gd name="connsiteX17" fmla="*/ 949 w 75116"/>
                <a:gd name="connsiteY17" fmla="*/ 14739 h 11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116" h="119560">
                  <a:moveTo>
                    <a:pt x="949" y="14739"/>
                  </a:moveTo>
                  <a:lnTo>
                    <a:pt x="49363" y="105457"/>
                  </a:lnTo>
                  <a:lnTo>
                    <a:pt x="51650" y="109650"/>
                  </a:lnTo>
                  <a:lnTo>
                    <a:pt x="51650" y="110666"/>
                  </a:lnTo>
                  <a:lnTo>
                    <a:pt x="53047" y="113334"/>
                  </a:lnTo>
                  <a:cubicBezTo>
                    <a:pt x="55106" y="117108"/>
                    <a:pt x="59032" y="119484"/>
                    <a:pt x="63340" y="119560"/>
                  </a:cubicBezTo>
                  <a:cubicBezTo>
                    <a:pt x="65348" y="119548"/>
                    <a:pt x="67318" y="119026"/>
                    <a:pt x="69058" y="118035"/>
                  </a:cubicBezTo>
                  <a:cubicBezTo>
                    <a:pt x="72985" y="115774"/>
                    <a:pt x="75298" y="111505"/>
                    <a:pt x="75031" y="106981"/>
                  </a:cubicBezTo>
                  <a:cubicBezTo>
                    <a:pt x="75145" y="106219"/>
                    <a:pt x="75145" y="105457"/>
                    <a:pt x="75031" y="104695"/>
                  </a:cubicBezTo>
                  <a:cubicBezTo>
                    <a:pt x="74890" y="103869"/>
                    <a:pt x="74687" y="103068"/>
                    <a:pt x="74396" y="102280"/>
                  </a:cubicBezTo>
                  <a:lnTo>
                    <a:pt x="74396" y="102280"/>
                  </a:lnTo>
                  <a:lnTo>
                    <a:pt x="26109" y="11689"/>
                  </a:lnTo>
                  <a:lnTo>
                    <a:pt x="23822" y="7369"/>
                  </a:lnTo>
                  <a:lnTo>
                    <a:pt x="21789" y="3812"/>
                  </a:lnTo>
                  <a:cubicBezTo>
                    <a:pt x="21013" y="2325"/>
                    <a:pt x="19934" y="1029"/>
                    <a:pt x="18612" y="0"/>
                  </a:cubicBezTo>
                  <a:lnTo>
                    <a:pt x="4761" y="0"/>
                  </a:lnTo>
                  <a:lnTo>
                    <a:pt x="4761" y="0"/>
                  </a:lnTo>
                  <a:cubicBezTo>
                    <a:pt x="364" y="3519"/>
                    <a:pt x="-1186" y="9529"/>
                    <a:pt x="949" y="14739"/>
                  </a:cubicBezTo>
                  <a:close/>
                </a:path>
              </a:pathLst>
            </a:custGeom>
            <a:solidFill>
              <a:srgbClr val="000000"/>
            </a:solidFill>
            <a:ln w="12704"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D03A4EBC-2596-4444-AF1E-62881050E01D}"/>
                </a:ext>
              </a:extLst>
            </p:cNvPr>
            <p:cNvSpPr/>
            <p:nvPr/>
          </p:nvSpPr>
          <p:spPr>
            <a:xfrm>
              <a:off x="10826897" y="5643020"/>
              <a:ext cx="14231" cy="34178"/>
            </a:xfrm>
            <a:custGeom>
              <a:avLst/>
              <a:gdLst>
                <a:gd name="connsiteX0" fmla="*/ 0 w 14231"/>
                <a:gd name="connsiteY0" fmla="*/ 0 h 34178"/>
                <a:gd name="connsiteX1" fmla="*/ 10928 w 14231"/>
                <a:gd name="connsiteY1" fmla="*/ 34178 h 34178"/>
                <a:gd name="connsiteX2" fmla="*/ 12707 w 14231"/>
                <a:gd name="connsiteY2" fmla="*/ 33162 h 34178"/>
                <a:gd name="connsiteX3" fmla="*/ 14232 w 14231"/>
                <a:gd name="connsiteY3" fmla="*/ 33162 h 34178"/>
                <a:gd name="connsiteX4" fmla="*/ 14232 w 14231"/>
                <a:gd name="connsiteY4" fmla="*/ 31383 h 34178"/>
                <a:gd name="connsiteX5" fmla="*/ 4447 w 14231"/>
                <a:gd name="connsiteY5" fmla="*/ 254 h 3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1" h="34178">
                  <a:moveTo>
                    <a:pt x="0" y="0"/>
                  </a:moveTo>
                  <a:lnTo>
                    <a:pt x="10928" y="34178"/>
                  </a:lnTo>
                  <a:lnTo>
                    <a:pt x="12707" y="33162"/>
                  </a:lnTo>
                  <a:lnTo>
                    <a:pt x="14232" y="33162"/>
                  </a:lnTo>
                  <a:lnTo>
                    <a:pt x="14232" y="31383"/>
                  </a:lnTo>
                  <a:lnTo>
                    <a:pt x="4447" y="254"/>
                  </a:lnTo>
                  <a:close/>
                </a:path>
              </a:pathLst>
            </a:custGeom>
            <a:solidFill>
              <a:srgbClr val="000000"/>
            </a:solidFill>
            <a:ln w="12704"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C52FB181-1C17-4F85-9DF8-52913706CF81}"/>
                </a:ext>
              </a:extLst>
            </p:cNvPr>
            <p:cNvSpPr/>
            <p:nvPr/>
          </p:nvSpPr>
          <p:spPr>
            <a:xfrm>
              <a:off x="8640544" y="5483332"/>
              <a:ext cx="100765" cy="175443"/>
            </a:xfrm>
            <a:custGeom>
              <a:avLst/>
              <a:gdLst>
                <a:gd name="connsiteX0" fmla="*/ 100385 w 100765"/>
                <a:gd name="connsiteY0" fmla="*/ 2646 h 175443"/>
                <a:gd name="connsiteX1" fmla="*/ 99495 w 100765"/>
                <a:gd name="connsiteY1" fmla="*/ 232 h 175443"/>
                <a:gd name="connsiteX2" fmla="*/ 96699 w 100765"/>
                <a:gd name="connsiteY2" fmla="*/ 995 h 175443"/>
                <a:gd name="connsiteX3" fmla="*/ 96699 w 100765"/>
                <a:gd name="connsiteY3" fmla="*/ 995 h 175443"/>
                <a:gd name="connsiteX4" fmla="*/ 0 w 100765"/>
                <a:gd name="connsiteY4" fmla="*/ 167693 h 175443"/>
                <a:gd name="connsiteX5" fmla="*/ 0 w 100765"/>
                <a:gd name="connsiteY5" fmla="*/ 175443 h 175443"/>
                <a:gd name="connsiteX6" fmla="*/ 0 w 100765"/>
                <a:gd name="connsiteY6" fmla="*/ 175443 h 175443"/>
                <a:gd name="connsiteX7" fmla="*/ 0 w 100765"/>
                <a:gd name="connsiteY7" fmla="*/ 175443 h 175443"/>
                <a:gd name="connsiteX8" fmla="*/ 100131 w 100765"/>
                <a:gd name="connsiteY8" fmla="*/ 2773 h 175443"/>
                <a:gd name="connsiteX9" fmla="*/ 100766 w 100765"/>
                <a:gd name="connsiteY9" fmla="*/ 1630 h 175443"/>
                <a:gd name="connsiteX10" fmla="*/ 100385 w 100765"/>
                <a:gd name="connsiteY10" fmla="*/ 2646 h 17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65" h="175443">
                  <a:moveTo>
                    <a:pt x="100385" y="2646"/>
                  </a:moveTo>
                  <a:cubicBezTo>
                    <a:pt x="100702" y="1731"/>
                    <a:pt x="100334" y="728"/>
                    <a:pt x="99495" y="232"/>
                  </a:cubicBezTo>
                  <a:cubicBezTo>
                    <a:pt x="98504" y="-263"/>
                    <a:pt x="97297" y="54"/>
                    <a:pt x="96699" y="995"/>
                  </a:cubicBezTo>
                  <a:lnTo>
                    <a:pt x="96699" y="995"/>
                  </a:lnTo>
                  <a:lnTo>
                    <a:pt x="0" y="167693"/>
                  </a:lnTo>
                  <a:lnTo>
                    <a:pt x="0" y="175443"/>
                  </a:lnTo>
                  <a:cubicBezTo>
                    <a:pt x="0" y="175443"/>
                    <a:pt x="0" y="175443"/>
                    <a:pt x="0" y="175443"/>
                  </a:cubicBezTo>
                  <a:cubicBezTo>
                    <a:pt x="0" y="175443"/>
                    <a:pt x="0" y="175443"/>
                    <a:pt x="0" y="175443"/>
                  </a:cubicBezTo>
                  <a:lnTo>
                    <a:pt x="100131" y="2773"/>
                  </a:lnTo>
                  <a:lnTo>
                    <a:pt x="100766" y="1630"/>
                  </a:lnTo>
                  <a:cubicBezTo>
                    <a:pt x="100766" y="1630"/>
                    <a:pt x="100258" y="2900"/>
                    <a:pt x="100385" y="2646"/>
                  </a:cubicBezTo>
                  <a:close/>
                </a:path>
              </a:pathLst>
            </a:custGeom>
            <a:solidFill>
              <a:srgbClr val="000000"/>
            </a:solidFill>
            <a:ln w="12704"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BDAC4FFD-8F5B-4D92-A735-3D77881543BA}"/>
                </a:ext>
              </a:extLst>
            </p:cNvPr>
            <p:cNvSpPr/>
            <p:nvPr/>
          </p:nvSpPr>
          <p:spPr>
            <a:xfrm>
              <a:off x="8623389" y="5659284"/>
              <a:ext cx="16519" cy="28968"/>
            </a:xfrm>
            <a:custGeom>
              <a:avLst/>
              <a:gdLst>
                <a:gd name="connsiteX0" fmla="*/ 14867 w 16519"/>
                <a:gd name="connsiteY0" fmla="*/ 2033 h 28968"/>
                <a:gd name="connsiteX1" fmla="*/ 12707 w 16519"/>
                <a:gd name="connsiteY1" fmla="*/ 0 h 28968"/>
                <a:gd name="connsiteX2" fmla="*/ 12707 w 16519"/>
                <a:gd name="connsiteY2" fmla="*/ 0 h 28968"/>
                <a:gd name="connsiteX3" fmla="*/ 0 w 16519"/>
                <a:gd name="connsiteY3" fmla="*/ 21219 h 28968"/>
                <a:gd name="connsiteX4" fmla="*/ 0 w 16519"/>
                <a:gd name="connsiteY4" fmla="*/ 28969 h 28968"/>
                <a:gd name="connsiteX5" fmla="*/ 0 w 16519"/>
                <a:gd name="connsiteY5" fmla="*/ 28969 h 28968"/>
                <a:gd name="connsiteX6" fmla="*/ 16519 w 16519"/>
                <a:gd name="connsiteY6" fmla="*/ 636 h 28968"/>
                <a:gd name="connsiteX7" fmla="*/ 16519 w 16519"/>
                <a:gd name="connsiteY7" fmla="*/ 636 h 28968"/>
                <a:gd name="connsiteX8" fmla="*/ 14867 w 16519"/>
                <a:gd name="connsiteY8" fmla="*/ 2033 h 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9" h="28968">
                  <a:moveTo>
                    <a:pt x="14867" y="2033"/>
                  </a:moveTo>
                  <a:cubicBezTo>
                    <a:pt x="13724" y="2033"/>
                    <a:pt x="12771" y="1143"/>
                    <a:pt x="12707" y="0"/>
                  </a:cubicBezTo>
                  <a:lnTo>
                    <a:pt x="12707" y="0"/>
                  </a:lnTo>
                  <a:lnTo>
                    <a:pt x="0" y="21219"/>
                  </a:lnTo>
                  <a:lnTo>
                    <a:pt x="0" y="28969"/>
                  </a:lnTo>
                  <a:cubicBezTo>
                    <a:pt x="0" y="28969"/>
                    <a:pt x="0" y="28969"/>
                    <a:pt x="0" y="28969"/>
                  </a:cubicBezTo>
                  <a:lnTo>
                    <a:pt x="16519" y="636"/>
                  </a:lnTo>
                  <a:cubicBezTo>
                    <a:pt x="16519" y="636"/>
                    <a:pt x="16519" y="636"/>
                    <a:pt x="16519" y="636"/>
                  </a:cubicBezTo>
                  <a:cubicBezTo>
                    <a:pt x="16316" y="1398"/>
                    <a:pt x="15655" y="1957"/>
                    <a:pt x="14867" y="2033"/>
                  </a:cubicBezTo>
                  <a:close/>
                </a:path>
              </a:pathLst>
            </a:custGeom>
            <a:solidFill>
              <a:srgbClr val="000000"/>
            </a:solidFill>
            <a:ln w="12704"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516C02CD-732E-44BC-BB62-3A6E0FAC4A5E}"/>
                </a:ext>
              </a:extLst>
            </p:cNvPr>
            <p:cNvSpPr/>
            <p:nvPr/>
          </p:nvSpPr>
          <p:spPr>
            <a:xfrm>
              <a:off x="8588064" y="5686982"/>
              <a:ext cx="35452" cy="62893"/>
            </a:xfrm>
            <a:custGeom>
              <a:avLst/>
              <a:gdLst>
                <a:gd name="connsiteX0" fmla="*/ 33673 w 35452"/>
                <a:gd name="connsiteY0" fmla="*/ 2795 h 62893"/>
                <a:gd name="connsiteX1" fmla="*/ 31640 w 35452"/>
                <a:gd name="connsiteY1" fmla="*/ 636 h 62893"/>
                <a:gd name="connsiteX2" fmla="*/ 31640 w 35452"/>
                <a:gd name="connsiteY2" fmla="*/ 0 h 62893"/>
                <a:gd name="connsiteX3" fmla="*/ 0 w 35452"/>
                <a:gd name="connsiteY3" fmla="*/ 54507 h 62893"/>
                <a:gd name="connsiteX4" fmla="*/ 0 w 35452"/>
                <a:gd name="connsiteY4" fmla="*/ 62893 h 62893"/>
                <a:gd name="connsiteX5" fmla="*/ 35452 w 35452"/>
                <a:gd name="connsiteY5" fmla="*/ 1652 h 62893"/>
                <a:gd name="connsiteX6" fmla="*/ 33673 w 35452"/>
                <a:gd name="connsiteY6" fmla="*/ 2795 h 6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2" h="62893">
                  <a:moveTo>
                    <a:pt x="33673" y="2795"/>
                  </a:moveTo>
                  <a:cubicBezTo>
                    <a:pt x="32530" y="2732"/>
                    <a:pt x="31640" y="1779"/>
                    <a:pt x="31640" y="636"/>
                  </a:cubicBezTo>
                  <a:lnTo>
                    <a:pt x="31640" y="0"/>
                  </a:lnTo>
                  <a:lnTo>
                    <a:pt x="0" y="54507"/>
                  </a:lnTo>
                  <a:lnTo>
                    <a:pt x="0" y="62893"/>
                  </a:lnTo>
                  <a:lnTo>
                    <a:pt x="35452" y="1652"/>
                  </a:lnTo>
                  <a:cubicBezTo>
                    <a:pt x="35122" y="2338"/>
                    <a:pt x="34436" y="2783"/>
                    <a:pt x="33673" y="2795"/>
                  </a:cubicBezTo>
                  <a:close/>
                </a:path>
              </a:pathLst>
            </a:custGeom>
            <a:solidFill>
              <a:srgbClr val="000000"/>
            </a:solidFill>
            <a:ln w="12704"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79BCF1BD-77D5-4FBD-84FA-2E16C562560F}"/>
                </a:ext>
              </a:extLst>
            </p:cNvPr>
            <p:cNvSpPr/>
            <p:nvPr/>
          </p:nvSpPr>
          <p:spPr>
            <a:xfrm>
              <a:off x="8561253" y="5796251"/>
              <a:ext cx="8005" cy="762"/>
            </a:xfrm>
            <a:custGeom>
              <a:avLst/>
              <a:gdLst>
                <a:gd name="connsiteX0" fmla="*/ 0 w 8005"/>
                <a:gd name="connsiteY0" fmla="*/ 0 h 762"/>
                <a:gd name="connsiteX1" fmla="*/ 3939 w 8005"/>
                <a:gd name="connsiteY1" fmla="*/ 762 h 762"/>
                <a:gd name="connsiteX2" fmla="*/ 8005 w 8005"/>
                <a:gd name="connsiteY2" fmla="*/ 0 h 762"/>
                <a:gd name="connsiteX3" fmla="*/ 0 w 8005"/>
                <a:gd name="connsiteY3" fmla="*/ 0 h 762"/>
              </a:gdLst>
              <a:ahLst/>
              <a:cxnLst>
                <a:cxn ang="0">
                  <a:pos x="connsiteX0" y="connsiteY0"/>
                </a:cxn>
                <a:cxn ang="0">
                  <a:pos x="connsiteX1" y="connsiteY1"/>
                </a:cxn>
                <a:cxn ang="0">
                  <a:pos x="connsiteX2" y="connsiteY2"/>
                </a:cxn>
                <a:cxn ang="0">
                  <a:pos x="connsiteX3" y="connsiteY3"/>
                </a:cxn>
              </a:cxnLst>
              <a:rect l="l" t="t" r="r" b="b"/>
              <a:pathLst>
                <a:path w="8005" h="762">
                  <a:moveTo>
                    <a:pt x="0" y="0"/>
                  </a:moveTo>
                  <a:cubicBezTo>
                    <a:pt x="1258" y="496"/>
                    <a:pt x="2592" y="762"/>
                    <a:pt x="3939" y="762"/>
                  </a:cubicBezTo>
                  <a:cubicBezTo>
                    <a:pt x="5337" y="762"/>
                    <a:pt x="6709" y="508"/>
                    <a:pt x="8005" y="0"/>
                  </a:cubicBezTo>
                  <a:cubicBezTo>
                    <a:pt x="5438" y="1017"/>
                    <a:pt x="2567" y="1017"/>
                    <a:pt x="0" y="0"/>
                  </a:cubicBezTo>
                  <a:close/>
                </a:path>
              </a:pathLst>
            </a:custGeom>
            <a:solidFill>
              <a:srgbClr val="000000"/>
            </a:solidFill>
            <a:ln w="12704"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83D12351-16A1-41CE-A3FF-E101DE707B8D}"/>
                </a:ext>
              </a:extLst>
            </p:cNvPr>
            <p:cNvSpPr/>
            <p:nvPr/>
          </p:nvSpPr>
          <p:spPr>
            <a:xfrm>
              <a:off x="8573705" y="5771220"/>
              <a:ext cx="12706" cy="22108"/>
            </a:xfrm>
            <a:custGeom>
              <a:avLst/>
              <a:gdLst>
                <a:gd name="connsiteX0" fmla="*/ 3304 w 12706"/>
                <a:gd name="connsiteY0" fmla="*/ 6607 h 22108"/>
                <a:gd name="connsiteX1" fmla="*/ 3304 w 12706"/>
                <a:gd name="connsiteY1" fmla="*/ 13849 h 22108"/>
                <a:gd name="connsiteX2" fmla="*/ 0 w 12706"/>
                <a:gd name="connsiteY2" fmla="*/ 22108 h 22108"/>
                <a:gd name="connsiteX3" fmla="*/ 1652 w 12706"/>
                <a:gd name="connsiteY3" fmla="*/ 19948 h 22108"/>
                <a:gd name="connsiteX4" fmla="*/ 12707 w 12706"/>
                <a:gd name="connsiteY4" fmla="*/ 762 h 22108"/>
                <a:gd name="connsiteX5" fmla="*/ 12707 w 12706"/>
                <a:gd name="connsiteY5" fmla="*/ 0 h 22108"/>
                <a:gd name="connsiteX6" fmla="*/ 3304 w 12706"/>
                <a:gd name="connsiteY6" fmla="*/ 6607 h 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6" h="22108">
                  <a:moveTo>
                    <a:pt x="3304" y="6607"/>
                  </a:moveTo>
                  <a:lnTo>
                    <a:pt x="3304" y="13849"/>
                  </a:lnTo>
                  <a:cubicBezTo>
                    <a:pt x="3228" y="16911"/>
                    <a:pt x="2059" y="19846"/>
                    <a:pt x="0" y="22108"/>
                  </a:cubicBezTo>
                  <a:cubicBezTo>
                    <a:pt x="623" y="21447"/>
                    <a:pt x="1169" y="20723"/>
                    <a:pt x="1652" y="19948"/>
                  </a:cubicBezTo>
                  <a:lnTo>
                    <a:pt x="12707" y="762"/>
                  </a:lnTo>
                  <a:lnTo>
                    <a:pt x="12707" y="0"/>
                  </a:lnTo>
                  <a:cubicBezTo>
                    <a:pt x="10992" y="3736"/>
                    <a:pt x="7395" y="6251"/>
                    <a:pt x="3304" y="6607"/>
                  </a:cubicBezTo>
                  <a:close/>
                </a:path>
              </a:pathLst>
            </a:custGeom>
            <a:solidFill>
              <a:srgbClr val="000000"/>
            </a:solidFill>
            <a:ln w="12704"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5F922DFF-0CE1-470D-9877-AB2983068633}"/>
                </a:ext>
              </a:extLst>
            </p:cNvPr>
            <p:cNvSpPr/>
            <p:nvPr/>
          </p:nvSpPr>
          <p:spPr>
            <a:xfrm>
              <a:off x="8518557" y="5793964"/>
              <a:ext cx="42695" cy="69627"/>
            </a:xfrm>
            <a:custGeom>
              <a:avLst/>
              <a:gdLst>
                <a:gd name="connsiteX0" fmla="*/ 39138 w 42695"/>
                <a:gd name="connsiteY0" fmla="*/ 0 h 69627"/>
                <a:gd name="connsiteX1" fmla="*/ 0 w 42695"/>
                <a:gd name="connsiteY1" fmla="*/ 67467 h 69627"/>
                <a:gd name="connsiteX2" fmla="*/ 2033 w 42695"/>
                <a:gd name="connsiteY2" fmla="*/ 68102 h 69627"/>
                <a:gd name="connsiteX3" fmla="*/ 3558 w 42695"/>
                <a:gd name="connsiteY3" fmla="*/ 69627 h 69627"/>
                <a:gd name="connsiteX4" fmla="*/ 42695 w 42695"/>
                <a:gd name="connsiteY4" fmla="*/ 2287 h 69627"/>
                <a:gd name="connsiteX5" fmla="*/ 39138 w 42695"/>
                <a:gd name="connsiteY5" fmla="*/ 0 h 6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95" h="69627">
                  <a:moveTo>
                    <a:pt x="39138" y="0"/>
                  </a:moveTo>
                  <a:lnTo>
                    <a:pt x="0" y="67467"/>
                  </a:lnTo>
                  <a:cubicBezTo>
                    <a:pt x="699" y="67619"/>
                    <a:pt x="1372" y="67835"/>
                    <a:pt x="2033" y="68102"/>
                  </a:cubicBezTo>
                  <a:cubicBezTo>
                    <a:pt x="2605" y="68547"/>
                    <a:pt x="3113" y="69055"/>
                    <a:pt x="3558" y="69627"/>
                  </a:cubicBezTo>
                  <a:lnTo>
                    <a:pt x="42695" y="2287"/>
                  </a:lnTo>
                  <a:cubicBezTo>
                    <a:pt x="41348" y="1804"/>
                    <a:pt x="40141" y="1016"/>
                    <a:pt x="39138" y="0"/>
                  </a:cubicBezTo>
                  <a:close/>
                </a:path>
              </a:pathLst>
            </a:custGeom>
            <a:solidFill>
              <a:srgbClr val="000000"/>
            </a:solidFill>
            <a:ln w="12704"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D43D0958-89B9-45A7-8D6D-D29DA6D21525}"/>
                </a:ext>
              </a:extLst>
            </p:cNvPr>
            <p:cNvSpPr/>
            <p:nvPr/>
          </p:nvSpPr>
          <p:spPr>
            <a:xfrm>
              <a:off x="8442513" y="5860478"/>
              <a:ext cx="83357" cy="128908"/>
            </a:xfrm>
            <a:custGeom>
              <a:avLst/>
              <a:gdLst>
                <a:gd name="connsiteX0" fmla="*/ 4886 w 83357"/>
                <a:gd name="connsiteY0" fmla="*/ 127247 h 128908"/>
                <a:gd name="connsiteX1" fmla="*/ 20922 w 83357"/>
                <a:gd name="connsiteY1" fmla="*/ 123232 h 128908"/>
                <a:gd name="connsiteX2" fmla="*/ 21024 w 83357"/>
                <a:gd name="connsiteY2" fmla="*/ 123054 h 128908"/>
                <a:gd name="connsiteX3" fmla="*/ 22676 w 83357"/>
                <a:gd name="connsiteY3" fmla="*/ 120259 h 128908"/>
                <a:gd name="connsiteX4" fmla="*/ 23311 w 83357"/>
                <a:gd name="connsiteY4" fmla="*/ 118989 h 128908"/>
                <a:gd name="connsiteX5" fmla="*/ 10604 w 83357"/>
                <a:gd name="connsiteY5" fmla="*/ 118989 h 128908"/>
                <a:gd name="connsiteX6" fmla="*/ 8444 w 83357"/>
                <a:gd name="connsiteY6" fmla="*/ 116956 h 128908"/>
                <a:gd name="connsiteX7" fmla="*/ 10604 w 83357"/>
                <a:gd name="connsiteY7" fmla="*/ 114795 h 128908"/>
                <a:gd name="connsiteX8" fmla="*/ 25471 w 83357"/>
                <a:gd name="connsiteY8" fmla="*/ 114795 h 128908"/>
                <a:gd name="connsiteX9" fmla="*/ 81763 w 83357"/>
                <a:gd name="connsiteY9" fmla="*/ 17724 h 128908"/>
                <a:gd name="connsiteX10" fmla="*/ 79221 w 83357"/>
                <a:gd name="connsiteY10" fmla="*/ 2732 h 128908"/>
                <a:gd name="connsiteX11" fmla="*/ 77696 w 83357"/>
                <a:gd name="connsiteY11" fmla="*/ 1207 h 128908"/>
                <a:gd name="connsiteX12" fmla="*/ 75663 w 83357"/>
                <a:gd name="connsiteY12" fmla="*/ 572 h 128908"/>
                <a:gd name="connsiteX13" fmla="*/ 74138 w 83357"/>
                <a:gd name="connsiteY13" fmla="*/ 190 h 128908"/>
                <a:gd name="connsiteX14" fmla="*/ 69945 w 83357"/>
                <a:gd name="connsiteY14" fmla="*/ 190 h 128908"/>
                <a:gd name="connsiteX15" fmla="*/ 61940 w 83357"/>
                <a:gd name="connsiteY15" fmla="*/ 5654 h 128908"/>
                <a:gd name="connsiteX16" fmla="*/ 820 w 83357"/>
                <a:gd name="connsiteY16" fmla="*/ 110984 h 128908"/>
                <a:gd name="connsiteX17" fmla="*/ 820 w 83357"/>
                <a:gd name="connsiteY17" fmla="*/ 111746 h 128908"/>
                <a:gd name="connsiteX18" fmla="*/ 57 w 83357"/>
                <a:gd name="connsiteY18" fmla="*/ 114033 h 128908"/>
                <a:gd name="connsiteX19" fmla="*/ 57 w 83357"/>
                <a:gd name="connsiteY19" fmla="*/ 116447 h 128908"/>
                <a:gd name="connsiteX20" fmla="*/ 4886 w 83357"/>
                <a:gd name="connsiteY20" fmla="*/ 127247 h 12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357" h="128908">
                  <a:moveTo>
                    <a:pt x="4886" y="127247"/>
                  </a:moveTo>
                  <a:cubicBezTo>
                    <a:pt x="10426" y="130563"/>
                    <a:pt x="17605" y="128759"/>
                    <a:pt x="20922" y="123232"/>
                  </a:cubicBezTo>
                  <a:cubicBezTo>
                    <a:pt x="20960" y="123168"/>
                    <a:pt x="20985" y="123118"/>
                    <a:pt x="21024" y="123054"/>
                  </a:cubicBezTo>
                  <a:lnTo>
                    <a:pt x="22676" y="120259"/>
                  </a:lnTo>
                  <a:lnTo>
                    <a:pt x="23311" y="118989"/>
                  </a:lnTo>
                  <a:lnTo>
                    <a:pt x="10604" y="118989"/>
                  </a:lnTo>
                  <a:cubicBezTo>
                    <a:pt x="9460" y="118989"/>
                    <a:pt x="8507" y="118099"/>
                    <a:pt x="8444" y="116956"/>
                  </a:cubicBezTo>
                  <a:cubicBezTo>
                    <a:pt x="8444" y="115761"/>
                    <a:pt x="9409" y="114795"/>
                    <a:pt x="10604" y="114795"/>
                  </a:cubicBezTo>
                  <a:lnTo>
                    <a:pt x="25471" y="114795"/>
                  </a:lnTo>
                  <a:lnTo>
                    <a:pt x="81763" y="17724"/>
                  </a:lnTo>
                  <a:cubicBezTo>
                    <a:pt x="84622" y="12769"/>
                    <a:pt x="83554" y="6480"/>
                    <a:pt x="79221" y="2732"/>
                  </a:cubicBezTo>
                  <a:cubicBezTo>
                    <a:pt x="78776" y="2160"/>
                    <a:pt x="78268" y="1652"/>
                    <a:pt x="77696" y="1207"/>
                  </a:cubicBezTo>
                  <a:cubicBezTo>
                    <a:pt x="77036" y="940"/>
                    <a:pt x="76362" y="724"/>
                    <a:pt x="75663" y="572"/>
                  </a:cubicBezTo>
                  <a:lnTo>
                    <a:pt x="74138" y="190"/>
                  </a:lnTo>
                  <a:cubicBezTo>
                    <a:pt x="72753" y="-63"/>
                    <a:pt x="71330" y="-63"/>
                    <a:pt x="69945" y="190"/>
                  </a:cubicBezTo>
                  <a:cubicBezTo>
                    <a:pt x="66603" y="737"/>
                    <a:pt x="63668" y="2732"/>
                    <a:pt x="61940" y="5654"/>
                  </a:cubicBezTo>
                  <a:lnTo>
                    <a:pt x="820" y="110984"/>
                  </a:lnTo>
                  <a:cubicBezTo>
                    <a:pt x="820" y="110984"/>
                    <a:pt x="820" y="110984"/>
                    <a:pt x="820" y="111746"/>
                  </a:cubicBezTo>
                  <a:cubicBezTo>
                    <a:pt x="514" y="112483"/>
                    <a:pt x="248" y="113258"/>
                    <a:pt x="57" y="114033"/>
                  </a:cubicBezTo>
                  <a:cubicBezTo>
                    <a:pt x="-19" y="114834"/>
                    <a:pt x="-19" y="115647"/>
                    <a:pt x="57" y="116447"/>
                  </a:cubicBezTo>
                  <a:cubicBezTo>
                    <a:pt x="-210" y="120628"/>
                    <a:pt x="1594" y="124668"/>
                    <a:pt x="4886" y="127247"/>
                  </a:cubicBezTo>
                  <a:close/>
                </a:path>
              </a:pathLst>
            </a:custGeom>
            <a:solidFill>
              <a:srgbClr val="000000"/>
            </a:solidFill>
            <a:ln w="12704"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B97203DD-22C9-498E-A52A-F44A769B0C61}"/>
                </a:ext>
              </a:extLst>
            </p:cNvPr>
            <p:cNvSpPr/>
            <p:nvPr/>
          </p:nvSpPr>
          <p:spPr>
            <a:xfrm>
              <a:off x="8450956" y="5975655"/>
              <a:ext cx="2472386" cy="4193"/>
            </a:xfrm>
            <a:custGeom>
              <a:avLst/>
              <a:gdLst>
                <a:gd name="connsiteX0" fmla="*/ 17409 w 2472386"/>
                <a:gd name="connsiteY0" fmla="*/ 0 h 4193"/>
                <a:gd name="connsiteX1" fmla="*/ 2160 w 2472386"/>
                <a:gd name="connsiteY1" fmla="*/ 0 h 4193"/>
                <a:gd name="connsiteX2" fmla="*/ 0 w 2472386"/>
                <a:gd name="connsiteY2" fmla="*/ 2160 h 4193"/>
                <a:gd name="connsiteX3" fmla="*/ 2160 w 2472386"/>
                <a:gd name="connsiteY3" fmla="*/ 4193 h 4193"/>
                <a:gd name="connsiteX4" fmla="*/ 2472386 w 2472386"/>
                <a:gd name="connsiteY4" fmla="*/ 4193 h 4193"/>
                <a:gd name="connsiteX5" fmla="*/ 2471115 w 2472386"/>
                <a:gd name="connsiteY5" fmla="*/ 127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386" h="4193">
                  <a:moveTo>
                    <a:pt x="17409" y="0"/>
                  </a:moveTo>
                  <a:lnTo>
                    <a:pt x="2160" y="0"/>
                  </a:lnTo>
                  <a:cubicBezTo>
                    <a:pt x="966" y="0"/>
                    <a:pt x="0" y="966"/>
                    <a:pt x="0" y="2160"/>
                  </a:cubicBezTo>
                  <a:cubicBezTo>
                    <a:pt x="64" y="3304"/>
                    <a:pt x="1017" y="4193"/>
                    <a:pt x="2160" y="4193"/>
                  </a:cubicBezTo>
                  <a:lnTo>
                    <a:pt x="2472386" y="4193"/>
                  </a:lnTo>
                  <a:lnTo>
                    <a:pt x="2471115" y="127"/>
                  </a:lnTo>
                  <a:close/>
                </a:path>
              </a:pathLst>
            </a:custGeom>
            <a:solidFill>
              <a:srgbClr val="000000"/>
            </a:solidFill>
            <a:ln w="12704"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5C10B6B7-E078-4849-8886-A54553341885}"/>
                </a:ext>
              </a:extLst>
            </p:cNvPr>
            <p:cNvSpPr/>
            <p:nvPr/>
          </p:nvSpPr>
          <p:spPr>
            <a:xfrm>
              <a:off x="8635842" y="4872041"/>
              <a:ext cx="4193" cy="789275"/>
            </a:xfrm>
            <a:custGeom>
              <a:avLst/>
              <a:gdLst>
                <a:gd name="connsiteX0" fmla="*/ 254 w 4193"/>
                <a:gd name="connsiteY0" fmla="*/ 787243 h 789275"/>
                <a:gd name="connsiteX1" fmla="*/ 2414 w 4193"/>
                <a:gd name="connsiteY1" fmla="*/ 789276 h 789275"/>
                <a:gd name="connsiteX2" fmla="*/ 4193 w 4193"/>
                <a:gd name="connsiteY2" fmla="*/ 787751 h 789275"/>
                <a:gd name="connsiteX3" fmla="*/ 4193 w 4193"/>
                <a:gd name="connsiteY3" fmla="*/ 787751 h 789275"/>
                <a:gd name="connsiteX4" fmla="*/ 4193 w 4193"/>
                <a:gd name="connsiteY4" fmla="*/ 0 h 789275"/>
                <a:gd name="connsiteX5" fmla="*/ 2160 w 4193"/>
                <a:gd name="connsiteY5" fmla="*/ 0 h 789275"/>
                <a:gd name="connsiteX6" fmla="*/ 0 w 4193"/>
                <a:gd name="connsiteY6" fmla="*/ 0 h 789275"/>
                <a:gd name="connsiteX7" fmla="*/ 0 w 4193"/>
                <a:gd name="connsiteY7" fmla="*/ 787751 h 78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3" h="789275">
                  <a:moveTo>
                    <a:pt x="254" y="787243"/>
                  </a:moveTo>
                  <a:cubicBezTo>
                    <a:pt x="318" y="788386"/>
                    <a:pt x="1271" y="789276"/>
                    <a:pt x="2414" y="789276"/>
                  </a:cubicBezTo>
                  <a:cubicBezTo>
                    <a:pt x="3291" y="789238"/>
                    <a:pt x="4016" y="788602"/>
                    <a:pt x="4193" y="787751"/>
                  </a:cubicBezTo>
                  <a:cubicBezTo>
                    <a:pt x="4193" y="787751"/>
                    <a:pt x="4193" y="787751"/>
                    <a:pt x="4193" y="787751"/>
                  </a:cubicBezTo>
                  <a:lnTo>
                    <a:pt x="4193" y="0"/>
                  </a:lnTo>
                  <a:lnTo>
                    <a:pt x="2160" y="0"/>
                  </a:lnTo>
                  <a:cubicBezTo>
                    <a:pt x="1436" y="64"/>
                    <a:pt x="724" y="64"/>
                    <a:pt x="0" y="0"/>
                  </a:cubicBezTo>
                  <a:lnTo>
                    <a:pt x="0" y="787751"/>
                  </a:lnTo>
                  <a:close/>
                </a:path>
              </a:pathLst>
            </a:custGeom>
            <a:solidFill>
              <a:srgbClr val="000000"/>
            </a:solidFill>
            <a:ln w="12704"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E59846F4-EE14-43D7-B2D0-3F36A4527CCD}"/>
                </a:ext>
              </a:extLst>
            </p:cNvPr>
            <p:cNvSpPr/>
            <p:nvPr/>
          </p:nvSpPr>
          <p:spPr>
            <a:xfrm>
              <a:off x="6497522" y="4730852"/>
              <a:ext cx="138084" cy="77533"/>
            </a:xfrm>
            <a:custGeom>
              <a:avLst/>
              <a:gdLst>
                <a:gd name="connsiteX0" fmla="*/ 15248 w 138084"/>
                <a:gd name="connsiteY0" fmla="*/ 61651 h 77533"/>
                <a:gd name="connsiteX1" fmla="*/ 9149 w 138084"/>
                <a:gd name="connsiteY1" fmla="*/ 77533 h 77533"/>
                <a:gd name="connsiteX2" fmla="*/ 128975 w 138084"/>
                <a:gd name="connsiteY2" fmla="*/ 24042 h 77533"/>
                <a:gd name="connsiteX3" fmla="*/ 131136 w 138084"/>
                <a:gd name="connsiteY3" fmla="*/ 23153 h 77533"/>
                <a:gd name="connsiteX4" fmla="*/ 137235 w 138084"/>
                <a:gd name="connsiteY4" fmla="*/ 7271 h 77533"/>
                <a:gd name="connsiteX5" fmla="*/ 126434 w 138084"/>
                <a:gd name="connsiteY5" fmla="*/ 28 h 77533"/>
                <a:gd name="connsiteX6" fmla="*/ 124401 w 138084"/>
                <a:gd name="connsiteY6" fmla="*/ 28 h 77533"/>
                <a:gd name="connsiteX7" fmla="*/ 124401 w 138084"/>
                <a:gd name="connsiteY7" fmla="*/ 28 h 77533"/>
                <a:gd name="connsiteX8" fmla="*/ 122113 w 138084"/>
                <a:gd name="connsiteY8" fmla="*/ 28 h 77533"/>
                <a:gd name="connsiteX9" fmla="*/ 122113 w 138084"/>
                <a:gd name="connsiteY9" fmla="*/ 28 h 77533"/>
                <a:gd name="connsiteX10" fmla="*/ 6862 w 138084"/>
                <a:gd name="connsiteY10" fmla="*/ 50851 h 77533"/>
                <a:gd name="connsiteX11" fmla="*/ 2668 w 138084"/>
                <a:gd name="connsiteY11" fmla="*/ 52757 h 77533"/>
                <a:gd name="connsiteX12" fmla="*/ 0 w 138084"/>
                <a:gd name="connsiteY12" fmla="*/ 53901 h 77533"/>
                <a:gd name="connsiteX13" fmla="*/ 14994 w 138084"/>
                <a:gd name="connsiteY13" fmla="*/ 60864 h 77533"/>
                <a:gd name="connsiteX14" fmla="*/ 15248 w 138084"/>
                <a:gd name="connsiteY14" fmla="*/ 61651 h 7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084" h="77533">
                  <a:moveTo>
                    <a:pt x="15248" y="61651"/>
                  </a:moveTo>
                  <a:cubicBezTo>
                    <a:pt x="17586" y="67724"/>
                    <a:pt x="14943" y="74585"/>
                    <a:pt x="9149" y="77533"/>
                  </a:cubicBezTo>
                  <a:lnTo>
                    <a:pt x="128975" y="24042"/>
                  </a:lnTo>
                  <a:lnTo>
                    <a:pt x="131136" y="23153"/>
                  </a:lnTo>
                  <a:cubicBezTo>
                    <a:pt x="136943" y="20205"/>
                    <a:pt x="139573" y="13344"/>
                    <a:pt x="137235" y="7271"/>
                  </a:cubicBezTo>
                  <a:cubicBezTo>
                    <a:pt x="135430" y="2887"/>
                    <a:pt x="131174" y="28"/>
                    <a:pt x="126434" y="28"/>
                  </a:cubicBezTo>
                  <a:cubicBezTo>
                    <a:pt x="125760" y="-9"/>
                    <a:pt x="125074" y="-9"/>
                    <a:pt x="124401" y="28"/>
                  </a:cubicBezTo>
                  <a:lnTo>
                    <a:pt x="124401" y="28"/>
                  </a:lnTo>
                  <a:lnTo>
                    <a:pt x="122113" y="28"/>
                  </a:lnTo>
                  <a:lnTo>
                    <a:pt x="122113" y="28"/>
                  </a:lnTo>
                  <a:lnTo>
                    <a:pt x="6862" y="50851"/>
                  </a:lnTo>
                  <a:lnTo>
                    <a:pt x="2668" y="52757"/>
                  </a:lnTo>
                  <a:lnTo>
                    <a:pt x="0" y="53901"/>
                  </a:lnTo>
                  <a:cubicBezTo>
                    <a:pt x="6061" y="51690"/>
                    <a:pt x="12771" y="54803"/>
                    <a:pt x="14994" y="60864"/>
                  </a:cubicBezTo>
                  <a:cubicBezTo>
                    <a:pt x="15083" y="61130"/>
                    <a:pt x="15172" y="61384"/>
                    <a:pt x="15248" y="61651"/>
                  </a:cubicBezTo>
                  <a:close/>
                </a:path>
              </a:pathLst>
            </a:custGeom>
            <a:solidFill>
              <a:srgbClr val="000000"/>
            </a:solidFill>
            <a:ln w="12704"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C37512D3-C895-41E3-B76A-EC894E178348}"/>
                </a:ext>
              </a:extLst>
            </p:cNvPr>
            <p:cNvSpPr/>
            <p:nvPr/>
          </p:nvSpPr>
          <p:spPr>
            <a:xfrm>
              <a:off x="6042995" y="4795172"/>
              <a:ext cx="434449" cy="4319"/>
            </a:xfrm>
            <a:custGeom>
              <a:avLst/>
              <a:gdLst>
                <a:gd name="connsiteX0" fmla="*/ 424792 w 434449"/>
                <a:gd name="connsiteY0" fmla="*/ 4320 h 4319"/>
                <a:gd name="connsiteX1" fmla="*/ 434449 w 434449"/>
                <a:gd name="connsiteY1" fmla="*/ 0 h 4319"/>
                <a:gd name="connsiteX2" fmla="*/ 0 w 434449"/>
                <a:gd name="connsiteY2" fmla="*/ 0 h 4319"/>
                <a:gd name="connsiteX3" fmla="*/ 0 w 434449"/>
                <a:gd name="connsiteY3" fmla="*/ 4320 h 4319"/>
              </a:gdLst>
              <a:ahLst/>
              <a:cxnLst>
                <a:cxn ang="0">
                  <a:pos x="connsiteX0" y="connsiteY0"/>
                </a:cxn>
                <a:cxn ang="0">
                  <a:pos x="connsiteX1" y="connsiteY1"/>
                </a:cxn>
                <a:cxn ang="0">
                  <a:pos x="connsiteX2" y="connsiteY2"/>
                </a:cxn>
                <a:cxn ang="0">
                  <a:pos x="connsiteX3" y="connsiteY3"/>
                </a:cxn>
              </a:cxnLst>
              <a:rect l="l" t="t" r="r" b="b"/>
              <a:pathLst>
                <a:path w="434449" h="4319">
                  <a:moveTo>
                    <a:pt x="424792" y="4320"/>
                  </a:moveTo>
                  <a:lnTo>
                    <a:pt x="434449" y="0"/>
                  </a:lnTo>
                  <a:lnTo>
                    <a:pt x="0" y="0"/>
                  </a:lnTo>
                  <a:cubicBezTo>
                    <a:pt x="241" y="1435"/>
                    <a:pt x="241" y="2897"/>
                    <a:pt x="0" y="4320"/>
                  </a:cubicBezTo>
                  <a:close/>
                </a:path>
              </a:pathLst>
            </a:custGeom>
            <a:solidFill>
              <a:srgbClr val="000000"/>
            </a:solidFill>
            <a:ln w="12704"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CB2D4B36-B862-4F82-9F2E-E07D09DB5043}"/>
                </a:ext>
              </a:extLst>
            </p:cNvPr>
            <p:cNvSpPr/>
            <p:nvPr/>
          </p:nvSpPr>
          <p:spPr>
            <a:xfrm>
              <a:off x="5701814" y="5687363"/>
              <a:ext cx="499000" cy="4334"/>
            </a:xfrm>
            <a:custGeom>
              <a:avLst/>
              <a:gdLst>
                <a:gd name="connsiteX0" fmla="*/ 496459 w 499000"/>
                <a:gd name="connsiteY0" fmla="*/ 2160 h 4334"/>
                <a:gd name="connsiteX1" fmla="*/ 496459 w 499000"/>
                <a:gd name="connsiteY1" fmla="*/ 0 h 4334"/>
                <a:gd name="connsiteX2" fmla="*/ 0 w 499000"/>
                <a:gd name="connsiteY2" fmla="*/ 0 h 4334"/>
                <a:gd name="connsiteX3" fmla="*/ 0 w 499000"/>
                <a:gd name="connsiteY3" fmla="*/ 2160 h 4334"/>
                <a:gd name="connsiteX4" fmla="*/ 0 w 499000"/>
                <a:gd name="connsiteY4" fmla="*/ 4320 h 4334"/>
                <a:gd name="connsiteX5" fmla="*/ 499001 w 499000"/>
                <a:gd name="connsiteY5" fmla="*/ 4320 h 4334"/>
                <a:gd name="connsiteX6" fmla="*/ 496472 w 499000"/>
                <a:gd name="connsiteY6" fmla="*/ 2300 h 4334"/>
                <a:gd name="connsiteX7" fmla="*/ 496459 w 499000"/>
                <a:gd name="connsiteY7" fmla="*/ 2160 h 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000" h="4334">
                  <a:moveTo>
                    <a:pt x="496459" y="2160"/>
                  </a:moveTo>
                  <a:lnTo>
                    <a:pt x="496459" y="0"/>
                  </a:lnTo>
                  <a:lnTo>
                    <a:pt x="0" y="0"/>
                  </a:lnTo>
                  <a:lnTo>
                    <a:pt x="0" y="2160"/>
                  </a:lnTo>
                  <a:cubicBezTo>
                    <a:pt x="64" y="2884"/>
                    <a:pt x="64" y="3596"/>
                    <a:pt x="0" y="4320"/>
                  </a:cubicBezTo>
                  <a:lnTo>
                    <a:pt x="499001" y="4320"/>
                  </a:lnTo>
                  <a:cubicBezTo>
                    <a:pt x="497743" y="4460"/>
                    <a:pt x="496612" y="3558"/>
                    <a:pt x="496472" y="2300"/>
                  </a:cubicBezTo>
                  <a:cubicBezTo>
                    <a:pt x="496472" y="2262"/>
                    <a:pt x="496459" y="2211"/>
                    <a:pt x="496459" y="2160"/>
                  </a:cubicBezTo>
                  <a:close/>
                </a:path>
              </a:pathLst>
            </a:custGeom>
            <a:solidFill>
              <a:srgbClr val="000000"/>
            </a:solidFill>
            <a:ln w="12704"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292F5004-E3B3-4476-BB6D-567507A12E28}"/>
                </a:ext>
              </a:extLst>
            </p:cNvPr>
            <p:cNvSpPr/>
            <p:nvPr/>
          </p:nvSpPr>
          <p:spPr>
            <a:xfrm>
              <a:off x="6200434" y="5687363"/>
              <a:ext cx="726581" cy="4320"/>
            </a:xfrm>
            <a:custGeom>
              <a:avLst/>
              <a:gdLst>
                <a:gd name="connsiteX0" fmla="*/ 2033 w 726581"/>
                <a:gd name="connsiteY0" fmla="*/ 2160 h 4320"/>
                <a:gd name="connsiteX1" fmla="*/ 0 w 726581"/>
                <a:gd name="connsiteY1" fmla="*/ 4320 h 4320"/>
                <a:gd name="connsiteX2" fmla="*/ 726582 w 726581"/>
                <a:gd name="connsiteY2" fmla="*/ 4320 h 4320"/>
                <a:gd name="connsiteX3" fmla="*/ 726582 w 726581"/>
                <a:gd name="connsiteY3" fmla="*/ 0 h 4320"/>
                <a:gd name="connsiteX4" fmla="*/ 2287 w 726581"/>
                <a:gd name="connsiteY4" fmla="*/ 0 h 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581" h="4320">
                  <a:moveTo>
                    <a:pt x="2033" y="2160"/>
                  </a:moveTo>
                  <a:cubicBezTo>
                    <a:pt x="2033" y="3304"/>
                    <a:pt x="1144" y="4257"/>
                    <a:pt x="0" y="4320"/>
                  </a:cubicBezTo>
                  <a:lnTo>
                    <a:pt x="726582" y="4320"/>
                  </a:lnTo>
                  <a:lnTo>
                    <a:pt x="726582" y="0"/>
                  </a:lnTo>
                  <a:lnTo>
                    <a:pt x="2287" y="0"/>
                  </a:lnTo>
                  <a:close/>
                </a:path>
              </a:pathLst>
            </a:custGeom>
            <a:solidFill>
              <a:srgbClr val="000000"/>
            </a:solidFill>
            <a:ln w="12704"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CE36DB91-4B76-4B26-AF82-37003B05ED03}"/>
                </a:ext>
              </a:extLst>
            </p:cNvPr>
            <p:cNvSpPr/>
            <p:nvPr/>
          </p:nvSpPr>
          <p:spPr>
            <a:xfrm>
              <a:off x="5472073" y="5790787"/>
              <a:ext cx="1455323" cy="4192"/>
            </a:xfrm>
            <a:custGeom>
              <a:avLst/>
              <a:gdLst>
                <a:gd name="connsiteX0" fmla="*/ 1454943 w 1455323"/>
                <a:gd name="connsiteY0" fmla="*/ 0 h 4192"/>
                <a:gd name="connsiteX1" fmla="*/ 7624 w 1455323"/>
                <a:gd name="connsiteY1" fmla="*/ 0 h 4192"/>
                <a:gd name="connsiteX2" fmla="*/ 0 w 1455323"/>
                <a:gd name="connsiteY2" fmla="*/ 4193 h 4192"/>
                <a:gd name="connsiteX3" fmla="*/ 1455324 w 1455323"/>
                <a:gd name="connsiteY3" fmla="*/ 4193 h 4192"/>
                <a:gd name="connsiteX4" fmla="*/ 1455324 w 1455323"/>
                <a:gd name="connsiteY4" fmla="*/ 2033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3" h="4192">
                  <a:moveTo>
                    <a:pt x="1454943" y="0"/>
                  </a:moveTo>
                  <a:lnTo>
                    <a:pt x="7624" y="0"/>
                  </a:lnTo>
                  <a:lnTo>
                    <a:pt x="0" y="4193"/>
                  </a:lnTo>
                  <a:lnTo>
                    <a:pt x="1455324" y="4193"/>
                  </a:lnTo>
                  <a:cubicBezTo>
                    <a:pt x="1455260" y="3469"/>
                    <a:pt x="1455260" y="2757"/>
                    <a:pt x="1455324" y="2033"/>
                  </a:cubicBezTo>
                  <a:close/>
                </a:path>
              </a:pathLst>
            </a:custGeom>
            <a:solidFill>
              <a:srgbClr val="000000"/>
            </a:solidFill>
            <a:ln w="12704"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A640572D-BDB5-4AE8-86A9-1E6D7B7FB076}"/>
                </a:ext>
              </a:extLst>
            </p:cNvPr>
            <p:cNvSpPr/>
            <p:nvPr/>
          </p:nvSpPr>
          <p:spPr>
            <a:xfrm>
              <a:off x="6198273" y="4943700"/>
              <a:ext cx="4193" cy="747982"/>
            </a:xfrm>
            <a:custGeom>
              <a:avLst/>
              <a:gdLst>
                <a:gd name="connsiteX0" fmla="*/ 0 w 4193"/>
                <a:gd name="connsiteY0" fmla="*/ 745823 h 747982"/>
                <a:gd name="connsiteX1" fmla="*/ 2160 w 4193"/>
                <a:gd name="connsiteY1" fmla="*/ 747983 h 747982"/>
                <a:gd name="connsiteX2" fmla="*/ 4194 w 4193"/>
                <a:gd name="connsiteY2" fmla="*/ 745823 h 747982"/>
                <a:gd name="connsiteX3" fmla="*/ 4194 w 4193"/>
                <a:gd name="connsiteY3" fmla="*/ 0 h 747982"/>
                <a:gd name="connsiteX4" fmla="*/ 2160 w 4193"/>
                <a:gd name="connsiteY4" fmla="*/ 0 h 747982"/>
                <a:gd name="connsiteX5" fmla="*/ 0 w 4193"/>
                <a:gd name="connsiteY5" fmla="*/ 0 h 747982"/>
                <a:gd name="connsiteX6" fmla="*/ 0 w 4193"/>
                <a:gd name="connsiteY6" fmla="*/ 746077 h 74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747982">
                  <a:moveTo>
                    <a:pt x="0" y="745823"/>
                  </a:moveTo>
                  <a:cubicBezTo>
                    <a:pt x="64" y="746992"/>
                    <a:pt x="991" y="747919"/>
                    <a:pt x="2160" y="747983"/>
                  </a:cubicBezTo>
                  <a:cubicBezTo>
                    <a:pt x="3304" y="747919"/>
                    <a:pt x="4194" y="746966"/>
                    <a:pt x="4194" y="745823"/>
                  </a:cubicBezTo>
                  <a:lnTo>
                    <a:pt x="4194" y="0"/>
                  </a:lnTo>
                  <a:lnTo>
                    <a:pt x="2160" y="0"/>
                  </a:lnTo>
                  <a:lnTo>
                    <a:pt x="0" y="0"/>
                  </a:lnTo>
                  <a:lnTo>
                    <a:pt x="0" y="746077"/>
                  </a:lnTo>
                  <a:close/>
                </a:path>
              </a:pathLst>
            </a:custGeom>
            <a:solidFill>
              <a:srgbClr val="000000"/>
            </a:solidFill>
            <a:ln w="12704"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11B9B1DC-7726-4D09-A37D-9EBBF7E46ADB}"/>
                </a:ext>
              </a:extLst>
            </p:cNvPr>
            <p:cNvSpPr/>
            <p:nvPr/>
          </p:nvSpPr>
          <p:spPr>
            <a:xfrm>
              <a:off x="9745411" y="2210585"/>
              <a:ext cx="54004" cy="4319"/>
            </a:xfrm>
            <a:custGeom>
              <a:avLst/>
              <a:gdLst>
                <a:gd name="connsiteX0" fmla="*/ 0 w 54004"/>
                <a:gd name="connsiteY0" fmla="*/ 2160 h 4319"/>
                <a:gd name="connsiteX1" fmla="*/ 0 w 54004"/>
                <a:gd name="connsiteY1" fmla="*/ 4320 h 4319"/>
                <a:gd name="connsiteX2" fmla="*/ 51971 w 54004"/>
                <a:gd name="connsiteY2" fmla="*/ 4320 h 4319"/>
                <a:gd name="connsiteX3" fmla="*/ 51971 w 54004"/>
                <a:gd name="connsiteY3" fmla="*/ 2160 h 4319"/>
                <a:gd name="connsiteX4" fmla="*/ 54004 w 54004"/>
                <a:gd name="connsiteY4" fmla="*/ 0 h 4319"/>
                <a:gd name="connsiteX5" fmla="*/ 0 w 54004"/>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4" h="4319">
                  <a:moveTo>
                    <a:pt x="0" y="2160"/>
                  </a:moveTo>
                  <a:lnTo>
                    <a:pt x="0" y="4320"/>
                  </a:lnTo>
                  <a:lnTo>
                    <a:pt x="51971" y="4320"/>
                  </a:lnTo>
                  <a:lnTo>
                    <a:pt x="51971" y="2160"/>
                  </a:lnTo>
                  <a:cubicBezTo>
                    <a:pt x="51971" y="1016"/>
                    <a:pt x="52860" y="64"/>
                    <a:pt x="54004" y="0"/>
                  </a:cubicBezTo>
                  <a:lnTo>
                    <a:pt x="0" y="0"/>
                  </a:lnTo>
                  <a:close/>
                </a:path>
              </a:pathLst>
            </a:custGeom>
            <a:solidFill>
              <a:srgbClr val="000000"/>
            </a:solidFill>
            <a:ln w="12704"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DB2462B5-F98B-424B-B4A7-A769E5CC0783}"/>
                </a:ext>
              </a:extLst>
            </p:cNvPr>
            <p:cNvSpPr/>
            <p:nvPr/>
          </p:nvSpPr>
          <p:spPr>
            <a:xfrm>
              <a:off x="9722030" y="2212745"/>
              <a:ext cx="23381" cy="509624"/>
            </a:xfrm>
            <a:custGeom>
              <a:avLst/>
              <a:gdLst>
                <a:gd name="connsiteX0" fmla="*/ 23381 w 23381"/>
                <a:gd name="connsiteY0" fmla="*/ 509624 h 509624"/>
                <a:gd name="connsiteX1" fmla="*/ 23381 w 23381"/>
                <a:gd name="connsiteY1" fmla="*/ 0 h 509624"/>
                <a:gd name="connsiteX2" fmla="*/ 11691 w 23381"/>
                <a:gd name="connsiteY2" fmla="*/ 11689 h 509624"/>
                <a:gd name="connsiteX3" fmla="*/ 0 w 23381"/>
                <a:gd name="connsiteY3" fmla="*/ 0 h 509624"/>
                <a:gd name="connsiteX4" fmla="*/ 0 w 23381"/>
                <a:gd name="connsiteY4" fmla="*/ 509624 h 509624"/>
                <a:gd name="connsiteX5" fmla="*/ 23381 w 23381"/>
                <a:gd name="connsiteY5" fmla="*/ 509624 h 50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509624">
                  <a:moveTo>
                    <a:pt x="23381" y="509624"/>
                  </a:moveTo>
                  <a:lnTo>
                    <a:pt x="23381" y="0"/>
                  </a:lnTo>
                  <a:cubicBezTo>
                    <a:pt x="23381" y="6454"/>
                    <a:pt x="18146" y="11689"/>
                    <a:pt x="11691" y="11689"/>
                  </a:cubicBezTo>
                  <a:cubicBezTo>
                    <a:pt x="5235" y="11689"/>
                    <a:pt x="0" y="6454"/>
                    <a:pt x="0" y="0"/>
                  </a:cubicBezTo>
                  <a:lnTo>
                    <a:pt x="0" y="509624"/>
                  </a:lnTo>
                  <a:lnTo>
                    <a:pt x="23381" y="509624"/>
                  </a:lnTo>
                  <a:close/>
                </a:path>
              </a:pathLst>
            </a:custGeom>
            <a:solidFill>
              <a:srgbClr val="000000"/>
            </a:solidFill>
            <a:ln w="12704"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EE8E94F1-B389-490F-95EE-787676A74DC7}"/>
                </a:ext>
              </a:extLst>
            </p:cNvPr>
            <p:cNvSpPr/>
            <p:nvPr/>
          </p:nvSpPr>
          <p:spPr>
            <a:xfrm>
              <a:off x="10357630" y="2242222"/>
              <a:ext cx="4193" cy="1024965"/>
            </a:xfrm>
            <a:custGeom>
              <a:avLst/>
              <a:gdLst>
                <a:gd name="connsiteX0" fmla="*/ 0 w 4193"/>
                <a:gd name="connsiteY0" fmla="*/ 1024966 h 1024965"/>
                <a:gd name="connsiteX1" fmla="*/ 4194 w 4193"/>
                <a:gd name="connsiteY1" fmla="*/ 1024966 h 1024965"/>
                <a:gd name="connsiteX2" fmla="*/ 4194 w 4193"/>
                <a:gd name="connsiteY2" fmla="*/ 0 h 1024965"/>
                <a:gd name="connsiteX3" fmla="*/ 0 w 4193"/>
                <a:gd name="connsiteY3" fmla="*/ 3049 h 1024965"/>
              </a:gdLst>
              <a:ahLst/>
              <a:cxnLst>
                <a:cxn ang="0">
                  <a:pos x="connsiteX0" y="connsiteY0"/>
                </a:cxn>
                <a:cxn ang="0">
                  <a:pos x="connsiteX1" y="connsiteY1"/>
                </a:cxn>
                <a:cxn ang="0">
                  <a:pos x="connsiteX2" y="connsiteY2"/>
                </a:cxn>
                <a:cxn ang="0">
                  <a:pos x="connsiteX3" y="connsiteY3"/>
                </a:cxn>
              </a:cxnLst>
              <a:rect l="l" t="t" r="r" b="b"/>
              <a:pathLst>
                <a:path w="4193" h="1024965">
                  <a:moveTo>
                    <a:pt x="0" y="1024966"/>
                  </a:moveTo>
                  <a:lnTo>
                    <a:pt x="4194" y="1024966"/>
                  </a:lnTo>
                  <a:lnTo>
                    <a:pt x="4194" y="0"/>
                  </a:lnTo>
                  <a:cubicBezTo>
                    <a:pt x="3024" y="1296"/>
                    <a:pt x="1588" y="2338"/>
                    <a:pt x="0" y="3049"/>
                  </a:cubicBezTo>
                  <a:close/>
                </a:path>
              </a:pathLst>
            </a:custGeom>
            <a:solidFill>
              <a:srgbClr val="000000"/>
            </a:solidFill>
            <a:ln w="12704"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10706C62-347D-4C0E-8CBC-352D70FF65C9}"/>
                </a:ext>
              </a:extLst>
            </p:cNvPr>
            <p:cNvSpPr/>
            <p:nvPr/>
          </p:nvSpPr>
          <p:spPr>
            <a:xfrm>
              <a:off x="10357630" y="2207409"/>
              <a:ext cx="4193" cy="18677"/>
            </a:xfrm>
            <a:custGeom>
              <a:avLst/>
              <a:gdLst>
                <a:gd name="connsiteX0" fmla="*/ 4194 w 4193"/>
                <a:gd name="connsiteY0" fmla="*/ 18677 h 18677"/>
                <a:gd name="connsiteX1" fmla="*/ 4194 w 4193"/>
                <a:gd name="connsiteY1" fmla="*/ 0 h 18677"/>
                <a:gd name="connsiteX2" fmla="*/ 0 w 4193"/>
                <a:gd name="connsiteY2" fmla="*/ 2922 h 18677"/>
                <a:gd name="connsiteX3" fmla="*/ 0 w 4193"/>
                <a:gd name="connsiteY3" fmla="*/ 15628 h 18677"/>
                <a:gd name="connsiteX4" fmla="*/ 4194 w 4193"/>
                <a:gd name="connsiteY4" fmla="*/ 18677 h 1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18677">
                  <a:moveTo>
                    <a:pt x="4194" y="18677"/>
                  </a:moveTo>
                  <a:lnTo>
                    <a:pt x="4194" y="0"/>
                  </a:lnTo>
                  <a:cubicBezTo>
                    <a:pt x="3012" y="1245"/>
                    <a:pt x="1576" y="2236"/>
                    <a:pt x="0" y="2922"/>
                  </a:cubicBezTo>
                  <a:lnTo>
                    <a:pt x="0" y="15628"/>
                  </a:lnTo>
                  <a:cubicBezTo>
                    <a:pt x="1588" y="16339"/>
                    <a:pt x="3024" y="17381"/>
                    <a:pt x="4194" y="18677"/>
                  </a:cubicBezTo>
                  <a:close/>
                </a:path>
              </a:pathLst>
            </a:custGeom>
            <a:solidFill>
              <a:srgbClr val="000000"/>
            </a:solidFill>
            <a:ln w="12704"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AC622665-2D2C-4674-8CFA-F9135ED2D8C4}"/>
                </a:ext>
              </a:extLst>
            </p:cNvPr>
            <p:cNvSpPr/>
            <p:nvPr/>
          </p:nvSpPr>
          <p:spPr>
            <a:xfrm>
              <a:off x="10351149" y="2210585"/>
              <a:ext cx="4193" cy="11562"/>
            </a:xfrm>
            <a:custGeom>
              <a:avLst/>
              <a:gdLst>
                <a:gd name="connsiteX0" fmla="*/ 2034 w 4193"/>
                <a:gd name="connsiteY0" fmla="*/ 11562 h 11562"/>
                <a:gd name="connsiteX1" fmla="*/ 4194 w 4193"/>
                <a:gd name="connsiteY1" fmla="*/ 11562 h 11562"/>
                <a:gd name="connsiteX2" fmla="*/ 4194 w 4193"/>
                <a:gd name="connsiteY2" fmla="*/ 0 h 11562"/>
                <a:gd name="connsiteX3" fmla="*/ 2034 w 4193"/>
                <a:gd name="connsiteY3" fmla="*/ 0 h 11562"/>
                <a:gd name="connsiteX4" fmla="*/ 0 w 4193"/>
                <a:gd name="connsiteY4" fmla="*/ 0 h 11562"/>
                <a:gd name="connsiteX5" fmla="*/ 0 w 4193"/>
                <a:gd name="connsiteY5" fmla="*/ 11054 h 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1562">
                  <a:moveTo>
                    <a:pt x="2034" y="11562"/>
                  </a:moveTo>
                  <a:cubicBezTo>
                    <a:pt x="2757" y="11499"/>
                    <a:pt x="3469" y="11499"/>
                    <a:pt x="4194" y="11562"/>
                  </a:cubicBezTo>
                  <a:lnTo>
                    <a:pt x="4194" y="0"/>
                  </a:lnTo>
                  <a:cubicBezTo>
                    <a:pt x="3469" y="64"/>
                    <a:pt x="2757" y="64"/>
                    <a:pt x="2034" y="0"/>
                  </a:cubicBezTo>
                  <a:lnTo>
                    <a:pt x="0" y="0"/>
                  </a:lnTo>
                  <a:lnTo>
                    <a:pt x="0" y="11054"/>
                  </a:lnTo>
                  <a:close/>
                </a:path>
              </a:pathLst>
            </a:custGeom>
            <a:solidFill>
              <a:srgbClr val="000000"/>
            </a:solidFill>
            <a:ln w="12704"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B4186E1D-FBD5-43FF-94B5-75677DB5FDDF}"/>
                </a:ext>
              </a:extLst>
            </p:cNvPr>
            <p:cNvSpPr/>
            <p:nvPr/>
          </p:nvSpPr>
          <p:spPr>
            <a:xfrm>
              <a:off x="10352801" y="2166370"/>
              <a:ext cx="1906" cy="1270"/>
            </a:xfrm>
            <a:custGeom>
              <a:avLst/>
              <a:gdLst>
                <a:gd name="connsiteX0" fmla="*/ 1270 w 1906"/>
                <a:gd name="connsiteY0" fmla="*/ 254 h 1270"/>
                <a:gd name="connsiteX1" fmla="*/ 0 w 1906"/>
                <a:gd name="connsiteY1" fmla="*/ 1270 h 1270"/>
                <a:gd name="connsiteX2" fmla="*/ 1906 w 1906"/>
                <a:gd name="connsiteY2" fmla="*/ 0 h 1270"/>
              </a:gdLst>
              <a:ahLst/>
              <a:cxnLst>
                <a:cxn ang="0">
                  <a:pos x="connsiteX0" y="connsiteY0"/>
                </a:cxn>
                <a:cxn ang="0">
                  <a:pos x="connsiteX1" y="connsiteY1"/>
                </a:cxn>
                <a:cxn ang="0">
                  <a:pos x="connsiteX2" y="connsiteY2"/>
                </a:cxn>
              </a:cxnLst>
              <a:rect l="l" t="t" r="r" b="b"/>
              <a:pathLst>
                <a:path w="1906" h="1270">
                  <a:moveTo>
                    <a:pt x="1270" y="254"/>
                  </a:moveTo>
                  <a:cubicBezTo>
                    <a:pt x="1270" y="254"/>
                    <a:pt x="508" y="1016"/>
                    <a:pt x="0" y="1270"/>
                  </a:cubicBezTo>
                  <a:lnTo>
                    <a:pt x="1906" y="0"/>
                  </a:lnTo>
                  <a:close/>
                </a:path>
              </a:pathLst>
            </a:custGeom>
            <a:solidFill>
              <a:srgbClr val="000000"/>
            </a:solidFill>
            <a:ln w="12704"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F170A342-612E-4AFE-BACE-F89CBD2322B8}"/>
                </a:ext>
              </a:extLst>
            </p:cNvPr>
            <p:cNvSpPr/>
            <p:nvPr/>
          </p:nvSpPr>
          <p:spPr>
            <a:xfrm>
              <a:off x="10341133" y="2172976"/>
              <a:ext cx="27297" cy="37910"/>
            </a:xfrm>
            <a:custGeom>
              <a:avLst/>
              <a:gdLst>
                <a:gd name="connsiteX0" fmla="*/ 2011 w 27297"/>
                <a:gd name="connsiteY0" fmla="*/ 32272 h 37910"/>
                <a:gd name="connsiteX1" fmla="*/ 8746 w 27297"/>
                <a:gd name="connsiteY1" fmla="*/ 37863 h 37910"/>
                <a:gd name="connsiteX2" fmla="*/ 10016 w 27297"/>
                <a:gd name="connsiteY2" fmla="*/ 37863 h 37910"/>
                <a:gd name="connsiteX3" fmla="*/ 12050 w 27297"/>
                <a:gd name="connsiteY3" fmla="*/ 37863 h 37910"/>
                <a:gd name="connsiteX4" fmla="*/ 14210 w 27297"/>
                <a:gd name="connsiteY4" fmla="*/ 37863 h 37910"/>
                <a:gd name="connsiteX5" fmla="*/ 16497 w 27297"/>
                <a:gd name="connsiteY5" fmla="*/ 37228 h 37910"/>
                <a:gd name="connsiteX6" fmla="*/ 20691 w 27297"/>
                <a:gd name="connsiteY6" fmla="*/ 34305 h 37910"/>
                <a:gd name="connsiteX7" fmla="*/ 23359 w 27297"/>
                <a:gd name="connsiteY7" fmla="*/ 29731 h 37910"/>
                <a:gd name="connsiteX8" fmla="*/ 23359 w 27297"/>
                <a:gd name="connsiteY8" fmla="*/ 29731 h 37910"/>
                <a:gd name="connsiteX9" fmla="*/ 27298 w 27297"/>
                <a:gd name="connsiteY9" fmla="*/ 16136 h 37910"/>
                <a:gd name="connsiteX10" fmla="*/ 18022 w 27297"/>
                <a:gd name="connsiteY10" fmla="*/ 16136 h 37910"/>
                <a:gd name="connsiteX11" fmla="*/ 6332 w 27297"/>
                <a:gd name="connsiteY11" fmla="*/ 4066 h 37910"/>
                <a:gd name="connsiteX12" fmla="*/ 7094 w 27297"/>
                <a:gd name="connsiteY12" fmla="*/ 0 h 37910"/>
                <a:gd name="connsiteX13" fmla="*/ 7094 w 27297"/>
                <a:gd name="connsiteY13" fmla="*/ 0 h 37910"/>
                <a:gd name="connsiteX14" fmla="*/ 5823 w 27297"/>
                <a:gd name="connsiteY14" fmla="*/ 4066 h 37910"/>
                <a:gd name="connsiteX15" fmla="*/ 1757 w 27297"/>
                <a:gd name="connsiteY15" fmla="*/ 18296 h 37910"/>
                <a:gd name="connsiteX16" fmla="*/ 613 w 27297"/>
                <a:gd name="connsiteY16" fmla="*/ 22108 h 37910"/>
                <a:gd name="connsiteX17" fmla="*/ 613 w 27297"/>
                <a:gd name="connsiteY17" fmla="*/ 22108 h 37910"/>
                <a:gd name="connsiteX18" fmla="*/ 2011 w 27297"/>
                <a:gd name="connsiteY18" fmla="*/ 32272 h 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297" h="37910">
                  <a:moveTo>
                    <a:pt x="2011" y="32272"/>
                  </a:moveTo>
                  <a:cubicBezTo>
                    <a:pt x="3599" y="34814"/>
                    <a:pt x="5963" y="36770"/>
                    <a:pt x="8746" y="37863"/>
                  </a:cubicBezTo>
                  <a:lnTo>
                    <a:pt x="10016" y="37863"/>
                  </a:lnTo>
                  <a:lnTo>
                    <a:pt x="12050" y="37863"/>
                  </a:lnTo>
                  <a:cubicBezTo>
                    <a:pt x="12774" y="37926"/>
                    <a:pt x="13486" y="37926"/>
                    <a:pt x="14210" y="37863"/>
                  </a:cubicBezTo>
                  <a:cubicBezTo>
                    <a:pt x="14998" y="37774"/>
                    <a:pt x="15773" y="37558"/>
                    <a:pt x="16497" y="37228"/>
                  </a:cubicBezTo>
                  <a:cubicBezTo>
                    <a:pt x="18073" y="36542"/>
                    <a:pt x="19509" y="35551"/>
                    <a:pt x="20691" y="34305"/>
                  </a:cubicBezTo>
                  <a:cubicBezTo>
                    <a:pt x="21897" y="32984"/>
                    <a:pt x="22799" y="31421"/>
                    <a:pt x="23359" y="29731"/>
                  </a:cubicBezTo>
                  <a:lnTo>
                    <a:pt x="23359" y="29731"/>
                  </a:lnTo>
                  <a:lnTo>
                    <a:pt x="27298" y="16136"/>
                  </a:lnTo>
                  <a:lnTo>
                    <a:pt x="18022" y="16136"/>
                  </a:lnTo>
                  <a:cubicBezTo>
                    <a:pt x="11478" y="15996"/>
                    <a:pt x="6255" y="10609"/>
                    <a:pt x="6332" y="4066"/>
                  </a:cubicBezTo>
                  <a:cubicBezTo>
                    <a:pt x="6382" y="2681"/>
                    <a:pt x="6649" y="1309"/>
                    <a:pt x="7094" y="0"/>
                  </a:cubicBezTo>
                  <a:cubicBezTo>
                    <a:pt x="7094" y="0"/>
                    <a:pt x="7094" y="0"/>
                    <a:pt x="7094" y="0"/>
                  </a:cubicBezTo>
                  <a:lnTo>
                    <a:pt x="5823" y="4066"/>
                  </a:lnTo>
                  <a:lnTo>
                    <a:pt x="1757" y="18296"/>
                  </a:lnTo>
                  <a:lnTo>
                    <a:pt x="613" y="22108"/>
                  </a:lnTo>
                  <a:lnTo>
                    <a:pt x="613" y="22108"/>
                  </a:lnTo>
                  <a:cubicBezTo>
                    <a:pt x="-555" y="25526"/>
                    <a:pt x="-35" y="29299"/>
                    <a:pt x="2011" y="32272"/>
                  </a:cubicBezTo>
                  <a:close/>
                </a:path>
              </a:pathLst>
            </a:custGeom>
            <a:solidFill>
              <a:srgbClr val="000000"/>
            </a:solidFill>
            <a:ln w="12704"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932534A5-3B20-4F6C-BDA2-938D5955F251}"/>
                </a:ext>
              </a:extLst>
            </p:cNvPr>
            <p:cNvSpPr/>
            <p:nvPr/>
          </p:nvSpPr>
          <p:spPr>
            <a:xfrm>
              <a:off x="11085229" y="3953421"/>
              <a:ext cx="204073" cy="4319"/>
            </a:xfrm>
            <a:custGeom>
              <a:avLst/>
              <a:gdLst>
                <a:gd name="connsiteX0" fmla="*/ 196957 w 204073"/>
                <a:gd name="connsiteY0" fmla="*/ 0 h 4319"/>
                <a:gd name="connsiteX1" fmla="*/ 0 w 204073"/>
                <a:gd name="connsiteY1" fmla="*/ 0 h 4319"/>
                <a:gd name="connsiteX2" fmla="*/ 0 w 204073"/>
                <a:gd name="connsiteY2" fmla="*/ 2160 h 4319"/>
                <a:gd name="connsiteX3" fmla="*/ 0 w 204073"/>
                <a:gd name="connsiteY3" fmla="*/ 4320 h 4319"/>
                <a:gd name="connsiteX4" fmla="*/ 204073 w 204073"/>
                <a:gd name="connsiteY4" fmla="*/ 4320 h 4319"/>
                <a:gd name="connsiteX5" fmla="*/ 196957 w 204073"/>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073" h="4319">
                  <a:moveTo>
                    <a:pt x="196957" y="0"/>
                  </a:moveTo>
                  <a:lnTo>
                    <a:pt x="0" y="0"/>
                  </a:lnTo>
                  <a:lnTo>
                    <a:pt x="0" y="2160"/>
                  </a:lnTo>
                  <a:lnTo>
                    <a:pt x="0" y="4320"/>
                  </a:lnTo>
                  <a:lnTo>
                    <a:pt x="204073" y="4320"/>
                  </a:lnTo>
                  <a:lnTo>
                    <a:pt x="196957" y="0"/>
                  </a:lnTo>
                  <a:close/>
                </a:path>
              </a:pathLst>
            </a:custGeom>
            <a:solidFill>
              <a:srgbClr val="000000"/>
            </a:solidFill>
            <a:ln w="12704"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411C1F5E-1FC5-43B4-8D34-512C27CDDA29}"/>
                </a:ext>
              </a:extLst>
            </p:cNvPr>
            <p:cNvSpPr/>
            <p:nvPr/>
          </p:nvSpPr>
          <p:spPr>
            <a:xfrm>
              <a:off x="11085101" y="3917845"/>
              <a:ext cx="152483" cy="4193"/>
            </a:xfrm>
            <a:custGeom>
              <a:avLst/>
              <a:gdLst>
                <a:gd name="connsiteX0" fmla="*/ 152483 w 152483"/>
                <a:gd name="connsiteY0" fmla="*/ 4193 h 4193"/>
                <a:gd name="connsiteX1" fmla="*/ 152483 w 152483"/>
                <a:gd name="connsiteY1" fmla="*/ 0 h 4193"/>
                <a:gd name="connsiteX2" fmla="*/ 0 w 152483"/>
                <a:gd name="connsiteY2" fmla="*/ 0 h 4193"/>
                <a:gd name="connsiteX3" fmla="*/ 0 w 152483"/>
                <a:gd name="connsiteY3" fmla="*/ 4193 h 4193"/>
              </a:gdLst>
              <a:ahLst/>
              <a:cxnLst>
                <a:cxn ang="0">
                  <a:pos x="connsiteX0" y="connsiteY0"/>
                </a:cxn>
                <a:cxn ang="0">
                  <a:pos x="connsiteX1" y="connsiteY1"/>
                </a:cxn>
                <a:cxn ang="0">
                  <a:pos x="connsiteX2" y="connsiteY2"/>
                </a:cxn>
                <a:cxn ang="0">
                  <a:pos x="connsiteX3" y="connsiteY3"/>
                </a:cxn>
              </a:cxnLst>
              <a:rect l="l" t="t" r="r" b="b"/>
              <a:pathLst>
                <a:path w="152483" h="4193">
                  <a:moveTo>
                    <a:pt x="152483" y="4193"/>
                  </a:moveTo>
                  <a:cubicBezTo>
                    <a:pt x="152229" y="2808"/>
                    <a:pt x="152229" y="1385"/>
                    <a:pt x="152483" y="0"/>
                  </a:cubicBezTo>
                  <a:lnTo>
                    <a:pt x="0" y="0"/>
                  </a:lnTo>
                  <a:lnTo>
                    <a:pt x="0" y="4193"/>
                  </a:lnTo>
                  <a:close/>
                </a:path>
              </a:pathLst>
            </a:custGeom>
            <a:solidFill>
              <a:srgbClr val="000000"/>
            </a:solidFill>
            <a:ln w="12704"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CF7A6007-22E6-440C-BCE6-5CAFD1F570AE}"/>
                </a:ext>
              </a:extLst>
            </p:cNvPr>
            <p:cNvSpPr/>
            <p:nvPr/>
          </p:nvSpPr>
          <p:spPr>
            <a:xfrm>
              <a:off x="11237394" y="3908189"/>
              <a:ext cx="78719" cy="54380"/>
            </a:xfrm>
            <a:custGeom>
              <a:avLst/>
              <a:gdLst>
                <a:gd name="connsiteX0" fmla="*/ 5782 w 78719"/>
                <a:gd name="connsiteY0" fmla="*/ 22108 h 54380"/>
                <a:gd name="connsiteX1" fmla="*/ 44792 w 78719"/>
                <a:gd name="connsiteY1" fmla="*/ 45233 h 54380"/>
                <a:gd name="connsiteX2" fmla="*/ 51908 w 78719"/>
                <a:gd name="connsiteY2" fmla="*/ 49552 h 54380"/>
                <a:gd name="connsiteX3" fmla="*/ 60041 w 78719"/>
                <a:gd name="connsiteY3" fmla="*/ 54380 h 54380"/>
                <a:gd name="connsiteX4" fmla="*/ 60041 w 78719"/>
                <a:gd name="connsiteY4" fmla="*/ 47392 h 54380"/>
                <a:gd name="connsiteX5" fmla="*/ 71731 w 78719"/>
                <a:gd name="connsiteY5" fmla="*/ 35449 h 54380"/>
                <a:gd name="connsiteX6" fmla="*/ 71731 w 78719"/>
                <a:gd name="connsiteY6" fmla="*/ 35449 h 54380"/>
                <a:gd name="connsiteX7" fmla="*/ 78719 w 78719"/>
                <a:gd name="connsiteY7" fmla="*/ 37990 h 54380"/>
                <a:gd name="connsiteX8" fmla="*/ 77576 w 78719"/>
                <a:gd name="connsiteY8" fmla="*/ 36974 h 54380"/>
                <a:gd name="connsiteX9" fmla="*/ 17472 w 78719"/>
                <a:gd name="connsiteY9" fmla="*/ 1398 h 54380"/>
                <a:gd name="connsiteX10" fmla="*/ 13660 w 78719"/>
                <a:gd name="connsiteY10" fmla="*/ 0 h 54380"/>
                <a:gd name="connsiteX11" fmla="*/ 13660 w 78719"/>
                <a:gd name="connsiteY11" fmla="*/ 11689 h 54380"/>
                <a:gd name="connsiteX12" fmla="*/ 11627 w 78719"/>
                <a:gd name="connsiteY12" fmla="*/ 13722 h 54380"/>
                <a:gd name="connsiteX13" fmla="*/ 9594 w 78719"/>
                <a:gd name="connsiteY13" fmla="*/ 11689 h 54380"/>
                <a:gd name="connsiteX14" fmla="*/ 9594 w 78719"/>
                <a:gd name="connsiteY14" fmla="*/ 127 h 54380"/>
                <a:gd name="connsiteX15" fmla="*/ 1461 w 78719"/>
                <a:gd name="connsiteY15" fmla="*/ 5718 h 54380"/>
                <a:gd name="connsiteX16" fmla="*/ 191 w 78719"/>
                <a:gd name="connsiteY16" fmla="*/ 9656 h 54380"/>
                <a:gd name="connsiteX17" fmla="*/ 191 w 78719"/>
                <a:gd name="connsiteY17" fmla="*/ 13850 h 54380"/>
                <a:gd name="connsiteX18" fmla="*/ 5782 w 78719"/>
                <a:gd name="connsiteY18" fmla="*/ 2210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719" h="54380">
                  <a:moveTo>
                    <a:pt x="5782" y="22108"/>
                  </a:moveTo>
                  <a:lnTo>
                    <a:pt x="44792" y="45233"/>
                  </a:lnTo>
                  <a:lnTo>
                    <a:pt x="51908" y="49552"/>
                  </a:lnTo>
                  <a:lnTo>
                    <a:pt x="60041" y="54380"/>
                  </a:lnTo>
                  <a:lnTo>
                    <a:pt x="60041" y="47392"/>
                  </a:lnTo>
                  <a:cubicBezTo>
                    <a:pt x="59964" y="40861"/>
                    <a:pt x="65199" y="35525"/>
                    <a:pt x="71731" y="35449"/>
                  </a:cubicBezTo>
                  <a:cubicBezTo>
                    <a:pt x="71731" y="35449"/>
                    <a:pt x="71731" y="35449"/>
                    <a:pt x="71731" y="35449"/>
                  </a:cubicBezTo>
                  <a:cubicBezTo>
                    <a:pt x="74285" y="35500"/>
                    <a:pt x="76737" y="36389"/>
                    <a:pt x="78719" y="37990"/>
                  </a:cubicBezTo>
                  <a:cubicBezTo>
                    <a:pt x="78719" y="37990"/>
                    <a:pt x="78719" y="37228"/>
                    <a:pt x="77576" y="36974"/>
                  </a:cubicBezTo>
                  <a:lnTo>
                    <a:pt x="17472" y="1398"/>
                  </a:lnTo>
                  <a:cubicBezTo>
                    <a:pt x="16316" y="674"/>
                    <a:pt x="15020" y="191"/>
                    <a:pt x="13660" y="0"/>
                  </a:cubicBezTo>
                  <a:lnTo>
                    <a:pt x="13660" y="11689"/>
                  </a:lnTo>
                  <a:cubicBezTo>
                    <a:pt x="13660" y="12808"/>
                    <a:pt x="12745" y="13722"/>
                    <a:pt x="11627" y="13722"/>
                  </a:cubicBezTo>
                  <a:cubicBezTo>
                    <a:pt x="10509" y="13722"/>
                    <a:pt x="9594" y="12808"/>
                    <a:pt x="9594" y="11689"/>
                  </a:cubicBezTo>
                  <a:lnTo>
                    <a:pt x="9594" y="127"/>
                  </a:lnTo>
                  <a:cubicBezTo>
                    <a:pt x="6163" y="623"/>
                    <a:pt x="3164" y="2694"/>
                    <a:pt x="1461" y="5718"/>
                  </a:cubicBezTo>
                  <a:cubicBezTo>
                    <a:pt x="852" y="6963"/>
                    <a:pt x="420" y="8284"/>
                    <a:pt x="191" y="9656"/>
                  </a:cubicBezTo>
                  <a:cubicBezTo>
                    <a:pt x="-64" y="11041"/>
                    <a:pt x="-64" y="12464"/>
                    <a:pt x="191" y="13850"/>
                  </a:cubicBezTo>
                  <a:cubicBezTo>
                    <a:pt x="712" y="17305"/>
                    <a:pt x="2770" y="20342"/>
                    <a:pt x="5782" y="22108"/>
                  </a:cubicBezTo>
                  <a:close/>
                </a:path>
              </a:pathLst>
            </a:custGeom>
            <a:solidFill>
              <a:srgbClr val="000000"/>
            </a:solidFill>
            <a:ln w="12704"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1923197F-BDEB-46F7-880C-51A4DD8A267C}"/>
                </a:ext>
              </a:extLst>
            </p:cNvPr>
            <p:cNvSpPr/>
            <p:nvPr/>
          </p:nvSpPr>
          <p:spPr>
            <a:xfrm>
              <a:off x="11246987" y="3406188"/>
              <a:ext cx="4066" cy="515722"/>
            </a:xfrm>
            <a:custGeom>
              <a:avLst/>
              <a:gdLst>
                <a:gd name="connsiteX0" fmla="*/ 0 w 4066"/>
                <a:gd name="connsiteY0" fmla="*/ 513690 h 515722"/>
                <a:gd name="connsiteX1" fmla="*/ 2034 w 4066"/>
                <a:gd name="connsiteY1" fmla="*/ 515723 h 515722"/>
                <a:gd name="connsiteX2" fmla="*/ 4066 w 4066"/>
                <a:gd name="connsiteY2" fmla="*/ 513690 h 515722"/>
                <a:gd name="connsiteX3" fmla="*/ 4066 w 4066"/>
                <a:gd name="connsiteY3" fmla="*/ 0 h 515722"/>
                <a:gd name="connsiteX4" fmla="*/ 0 w 4066"/>
                <a:gd name="connsiteY4" fmla="*/ 0 h 515722"/>
                <a:gd name="connsiteX5" fmla="*/ 0 w 4066"/>
                <a:gd name="connsiteY5" fmla="*/ 513690 h 51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515722">
                  <a:moveTo>
                    <a:pt x="0" y="513690"/>
                  </a:moveTo>
                  <a:cubicBezTo>
                    <a:pt x="0" y="514808"/>
                    <a:pt x="915" y="515723"/>
                    <a:pt x="2034" y="515723"/>
                  </a:cubicBezTo>
                  <a:cubicBezTo>
                    <a:pt x="3151" y="515723"/>
                    <a:pt x="4066" y="514808"/>
                    <a:pt x="4066" y="513690"/>
                  </a:cubicBezTo>
                  <a:lnTo>
                    <a:pt x="4066" y="0"/>
                  </a:lnTo>
                  <a:cubicBezTo>
                    <a:pt x="2796" y="673"/>
                    <a:pt x="1270" y="673"/>
                    <a:pt x="0" y="0"/>
                  </a:cubicBezTo>
                  <a:lnTo>
                    <a:pt x="0" y="513690"/>
                  </a:lnTo>
                  <a:close/>
                </a:path>
              </a:pathLst>
            </a:custGeom>
            <a:solidFill>
              <a:srgbClr val="000000"/>
            </a:solidFill>
            <a:ln w="12704"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569FD736-146C-4DF3-9E3F-57063E98B900}"/>
                </a:ext>
              </a:extLst>
            </p:cNvPr>
            <p:cNvSpPr/>
            <p:nvPr/>
          </p:nvSpPr>
          <p:spPr>
            <a:xfrm>
              <a:off x="8633555" y="2935825"/>
              <a:ext cx="417041" cy="2032"/>
            </a:xfrm>
            <a:custGeom>
              <a:avLst/>
              <a:gdLst>
                <a:gd name="connsiteX0" fmla="*/ 0 w 417041"/>
                <a:gd name="connsiteY0" fmla="*/ 0 h 2032"/>
                <a:gd name="connsiteX1" fmla="*/ 417041 w 417041"/>
                <a:gd name="connsiteY1" fmla="*/ 0 h 2032"/>
                <a:gd name="connsiteX2" fmla="*/ 417041 w 417041"/>
                <a:gd name="connsiteY2" fmla="*/ 2033 h 2032"/>
                <a:gd name="connsiteX3" fmla="*/ 0 w 417041"/>
                <a:gd name="connsiteY3" fmla="*/ 2033 h 2032"/>
              </a:gdLst>
              <a:ahLst/>
              <a:cxnLst>
                <a:cxn ang="0">
                  <a:pos x="connsiteX0" y="connsiteY0"/>
                </a:cxn>
                <a:cxn ang="0">
                  <a:pos x="connsiteX1" y="connsiteY1"/>
                </a:cxn>
                <a:cxn ang="0">
                  <a:pos x="connsiteX2" y="connsiteY2"/>
                </a:cxn>
                <a:cxn ang="0">
                  <a:pos x="connsiteX3" y="connsiteY3"/>
                </a:cxn>
              </a:cxnLst>
              <a:rect l="l" t="t" r="r" b="b"/>
              <a:pathLst>
                <a:path w="417041" h="2032">
                  <a:moveTo>
                    <a:pt x="0" y="0"/>
                  </a:moveTo>
                  <a:lnTo>
                    <a:pt x="417041" y="0"/>
                  </a:lnTo>
                  <a:lnTo>
                    <a:pt x="417041" y="2033"/>
                  </a:lnTo>
                  <a:lnTo>
                    <a:pt x="0" y="2033"/>
                  </a:lnTo>
                  <a:close/>
                </a:path>
              </a:pathLst>
            </a:custGeom>
            <a:solidFill>
              <a:srgbClr val="000000"/>
            </a:solidFill>
            <a:ln w="12704"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3CF8BED1-7279-4211-87F1-F561374D701B}"/>
                </a:ext>
              </a:extLst>
            </p:cNvPr>
            <p:cNvSpPr/>
            <p:nvPr/>
          </p:nvSpPr>
          <p:spPr>
            <a:xfrm>
              <a:off x="8588064" y="5567549"/>
              <a:ext cx="28844" cy="46883"/>
            </a:xfrm>
            <a:custGeom>
              <a:avLst/>
              <a:gdLst>
                <a:gd name="connsiteX0" fmla="*/ 23889 w 28844"/>
                <a:gd name="connsiteY0" fmla="*/ 0 h 46883"/>
                <a:gd name="connsiteX1" fmla="*/ 0 w 28844"/>
                <a:gd name="connsiteY1" fmla="*/ 38879 h 46883"/>
                <a:gd name="connsiteX2" fmla="*/ 0 w 28844"/>
                <a:gd name="connsiteY2" fmla="*/ 46884 h 46883"/>
                <a:gd name="connsiteX3" fmla="*/ 28845 w 28844"/>
                <a:gd name="connsiteY3" fmla="*/ 0 h 46883"/>
                <a:gd name="connsiteX4" fmla="*/ 23889 w 28844"/>
                <a:gd name="connsiteY4" fmla="*/ 0 h 46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44" h="46883">
                  <a:moveTo>
                    <a:pt x="23889" y="0"/>
                  </a:moveTo>
                  <a:lnTo>
                    <a:pt x="0" y="38879"/>
                  </a:lnTo>
                  <a:lnTo>
                    <a:pt x="0" y="46884"/>
                  </a:lnTo>
                  <a:lnTo>
                    <a:pt x="28845" y="0"/>
                  </a:lnTo>
                  <a:lnTo>
                    <a:pt x="23889" y="0"/>
                  </a:lnTo>
                  <a:close/>
                </a:path>
              </a:pathLst>
            </a:custGeom>
            <a:solidFill>
              <a:srgbClr val="000000"/>
            </a:solidFill>
            <a:ln w="12704"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E02A6280-CDF7-4E6E-8A2F-F1503A548075}"/>
                </a:ext>
              </a:extLst>
            </p:cNvPr>
            <p:cNvSpPr/>
            <p:nvPr/>
          </p:nvSpPr>
          <p:spPr>
            <a:xfrm>
              <a:off x="8588064" y="5543027"/>
              <a:ext cx="31640" cy="24521"/>
            </a:xfrm>
            <a:custGeom>
              <a:avLst/>
              <a:gdLst>
                <a:gd name="connsiteX0" fmla="*/ 23889 w 31640"/>
                <a:gd name="connsiteY0" fmla="*/ 24522 h 24521"/>
                <a:gd name="connsiteX1" fmla="*/ 31640 w 31640"/>
                <a:gd name="connsiteY1" fmla="*/ 24522 h 24521"/>
                <a:gd name="connsiteX2" fmla="*/ 31640 w 31640"/>
                <a:gd name="connsiteY2" fmla="*/ 24522 h 24521"/>
                <a:gd name="connsiteX3" fmla="*/ 21983 w 31640"/>
                <a:gd name="connsiteY3" fmla="*/ 12960 h 24521"/>
                <a:gd name="connsiteX4" fmla="*/ 21983 w 31640"/>
                <a:gd name="connsiteY4" fmla="*/ 0 h 24521"/>
                <a:gd name="connsiteX5" fmla="*/ 0 w 31640"/>
                <a:gd name="connsiteY5" fmla="*/ 0 h 24521"/>
                <a:gd name="connsiteX6" fmla="*/ 0 w 31640"/>
                <a:gd name="connsiteY6" fmla="*/ 24014 h 2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40" h="24521">
                  <a:moveTo>
                    <a:pt x="23889" y="24522"/>
                  </a:moveTo>
                  <a:lnTo>
                    <a:pt x="31640" y="24522"/>
                  </a:lnTo>
                  <a:lnTo>
                    <a:pt x="31640" y="24522"/>
                  </a:lnTo>
                  <a:cubicBezTo>
                    <a:pt x="26037" y="23531"/>
                    <a:pt x="21958" y="18652"/>
                    <a:pt x="21983" y="12960"/>
                  </a:cubicBezTo>
                  <a:lnTo>
                    <a:pt x="21983" y="0"/>
                  </a:lnTo>
                  <a:lnTo>
                    <a:pt x="0" y="0"/>
                  </a:lnTo>
                  <a:lnTo>
                    <a:pt x="0" y="24014"/>
                  </a:lnTo>
                  <a:close/>
                </a:path>
              </a:pathLst>
            </a:custGeom>
            <a:solidFill>
              <a:srgbClr val="000000"/>
            </a:solidFill>
            <a:ln w="12704"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4F9C797A-8996-4C87-9F31-5DE361458F57}"/>
                </a:ext>
              </a:extLst>
            </p:cNvPr>
            <p:cNvSpPr/>
            <p:nvPr/>
          </p:nvSpPr>
          <p:spPr>
            <a:xfrm>
              <a:off x="8578026" y="5629552"/>
              <a:ext cx="10495" cy="148656"/>
            </a:xfrm>
            <a:custGeom>
              <a:avLst/>
              <a:gdLst>
                <a:gd name="connsiteX0" fmla="*/ 10039 w 10495"/>
                <a:gd name="connsiteY0" fmla="*/ 0 h 148656"/>
                <a:gd name="connsiteX1" fmla="*/ 10039 w 10495"/>
                <a:gd name="connsiteY1" fmla="*/ 1017 h 148656"/>
                <a:gd name="connsiteX2" fmla="*/ 10039 w 10495"/>
                <a:gd name="connsiteY2" fmla="*/ 3304 h 148656"/>
                <a:gd name="connsiteX3" fmla="*/ 9276 w 10495"/>
                <a:gd name="connsiteY3" fmla="*/ 5591 h 148656"/>
                <a:gd name="connsiteX4" fmla="*/ 9276 w 10495"/>
                <a:gd name="connsiteY4" fmla="*/ 6480 h 148656"/>
                <a:gd name="connsiteX5" fmla="*/ 0 w 10495"/>
                <a:gd name="connsiteY5" fmla="*/ 21600 h 148656"/>
                <a:gd name="connsiteX6" fmla="*/ 0 w 10495"/>
                <a:gd name="connsiteY6" fmla="*/ 148656 h 148656"/>
                <a:gd name="connsiteX7" fmla="*/ 9657 w 10495"/>
                <a:gd name="connsiteY7" fmla="*/ 142049 h 148656"/>
                <a:gd name="connsiteX8" fmla="*/ 10420 w 10495"/>
                <a:gd name="connsiteY8" fmla="*/ 139889 h 148656"/>
                <a:gd name="connsiteX9" fmla="*/ 10420 w 10495"/>
                <a:gd name="connsiteY9" fmla="*/ 137475 h 148656"/>
                <a:gd name="connsiteX10" fmla="*/ 10420 w 10495"/>
                <a:gd name="connsiteY10" fmla="*/ 136713 h 148656"/>
                <a:gd name="connsiteX11" fmla="*/ 10420 w 10495"/>
                <a:gd name="connsiteY11" fmla="*/ 0 h 1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95" h="148656">
                  <a:moveTo>
                    <a:pt x="10039" y="0"/>
                  </a:moveTo>
                  <a:cubicBezTo>
                    <a:pt x="10039" y="0"/>
                    <a:pt x="10039" y="635"/>
                    <a:pt x="10039" y="1017"/>
                  </a:cubicBezTo>
                  <a:cubicBezTo>
                    <a:pt x="10102" y="1779"/>
                    <a:pt x="10102" y="2541"/>
                    <a:pt x="10039" y="3304"/>
                  </a:cubicBezTo>
                  <a:cubicBezTo>
                    <a:pt x="9848" y="4079"/>
                    <a:pt x="9581" y="4853"/>
                    <a:pt x="9276" y="5591"/>
                  </a:cubicBezTo>
                  <a:lnTo>
                    <a:pt x="9276" y="6480"/>
                  </a:lnTo>
                  <a:lnTo>
                    <a:pt x="0" y="21600"/>
                  </a:lnTo>
                  <a:lnTo>
                    <a:pt x="0" y="148656"/>
                  </a:lnTo>
                  <a:cubicBezTo>
                    <a:pt x="4194" y="148390"/>
                    <a:pt x="7891" y="145861"/>
                    <a:pt x="9657" y="142049"/>
                  </a:cubicBezTo>
                  <a:cubicBezTo>
                    <a:pt x="10039" y="141389"/>
                    <a:pt x="10305" y="140652"/>
                    <a:pt x="10420" y="139889"/>
                  </a:cubicBezTo>
                  <a:cubicBezTo>
                    <a:pt x="10521" y="139089"/>
                    <a:pt x="10521" y="138276"/>
                    <a:pt x="10420" y="137475"/>
                  </a:cubicBezTo>
                  <a:cubicBezTo>
                    <a:pt x="10420" y="137475"/>
                    <a:pt x="10420" y="137475"/>
                    <a:pt x="10420" y="136713"/>
                  </a:cubicBezTo>
                  <a:lnTo>
                    <a:pt x="10420" y="0"/>
                  </a:lnTo>
                  <a:close/>
                </a:path>
              </a:pathLst>
            </a:custGeom>
            <a:solidFill>
              <a:srgbClr val="000000"/>
            </a:solidFill>
            <a:ln w="12704"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1FAB6FA6-50CC-45BA-A2FB-90BE63861947}"/>
                </a:ext>
              </a:extLst>
            </p:cNvPr>
            <p:cNvSpPr/>
            <p:nvPr/>
          </p:nvSpPr>
          <p:spPr>
            <a:xfrm>
              <a:off x="8619450" y="5567549"/>
              <a:ext cx="4193" cy="122228"/>
            </a:xfrm>
            <a:custGeom>
              <a:avLst/>
              <a:gdLst>
                <a:gd name="connsiteX0" fmla="*/ 254 w 4193"/>
                <a:gd name="connsiteY0" fmla="*/ 119433 h 122228"/>
                <a:gd name="connsiteX1" fmla="*/ 254 w 4193"/>
                <a:gd name="connsiteY1" fmla="*/ 120069 h 122228"/>
                <a:gd name="connsiteX2" fmla="*/ 2287 w 4193"/>
                <a:gd name="connsiteY2" fmla="*/ 122228 h 122228"/>
                <a:gd name="connsiteX3" fmla="*/ 4194 w 4193"/>
                <a:gd name="connsiteY3" fmla="*/ 120577 h 122228"/>
                <a:gd name="connsiteX4" fmla="*/ 4194 w 4193"/>
                <a:gd name="connsiteY4" fmla="*/ 120577 h 122228"/>
                <a:gd name="connsiteX5" fmla="*/ 4194 w 4193"/>
                <a:gd name="connsiteY5" fmla="*/ 0 h 122228"/>
                <a:gd name="connsiteX6" fmla="*/ 2033 w 4193"/>
                <a:gd name="connsiteY6" fmla="*/ 0 h 122228"/>
                <a:gd name="connsiteX7" fmla="*/ 0 w 4193"/>
                <a:gd name="connsiteY7" fmla="*/ 0 h 122228"/>
                <a:gd name="connsiteX8" fmla="*/ 0 w 4193"/>
                <a:gd name="connsiteY8" fmla="*/ 119942 h 12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3" h="122228">
                  <a:moveTo>
                    <a:pt x="254" y="119433"/>
                  </a:moveTo>
                  <a:lnTo>
                    <a:pt x="254" y="120069"/>
                  </a:lnTo>
                  <a:cubicBezTo>
                    <a:pt x="254" y="121212"/>
                    <a:pt x="1144" y="122165"/>
                    <a:pt x="2287" y="122228"/>
                  </a:cubicBezTo>
                  <a:cubicBezTo>
                    <a:pt x="3228" y="122190"/>
                    <a:pt x="4016" y="121505"/>
                    <a:pt x="4194" y="120577"/>
                  </a:cubicBezTo>
                  <a:cubicBezTo>
                    <a:pt x="4194" y="120577"/>
                    <a:pt x="4194" y="120577"/>
                    <a:pt x="4194" y="120577"/>
                  </a:cubicBezTo>
                  <a:lnTo>
                    <a:pt x="4194" y="0"/>
                  </a:lnTo>
                  <a:cubicBezTo>
                    <a:pt x="3469" y="64"/>
                    <a:pt x="2758" y="64"/>
                    <a:pt x="2033" y="0"/>
                  </a:cubicBezTo>
                  <a:cubicBezTo>
                    <a:pt x="1360" y="76"/>
                    <a:pt x="674" y="76"/>
                    <a:pt x="0" y="0"/>
                  </a:cubicBezTo>
                  <a:lnTo>
                    <a:pt x="0" y="119942"/>
                  </a:lnTo>
                  <a:close/>
                </a:path>
              </a:pathLst>
            </a:custGeom>
            <a:solidFill>
              <a:srgbClr val="000000"/>
            </a:solidFill>
            <a:ln w="12704"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79FE0FA4-387C-4AA9-924C-B145789D7BCA}"/>
                </a:ext>
              </a:extLst>
            </p:cNvPr>
            <p:cNvSpPr/>
            <p:nvPr/>
          </p:nvSpPr>
          <p:spPr>
            <a:xfrm>
              <a:off x="9798018" y="2243112"/>
              <a:ext cx="4192" cy="479257"/>
            </a:xfrm>
            <a:custGeom>
              <a:avLst/>
              <a:gdLst>
                <a:gd name="connsiteX0" fmla="*/ 2033 w 4192"/>
                <a:gd name="connsiteY0" fmla="*/ 479258 h 479257"/>
                <a:gd name="connsiteX1" fmla="*/ 4193 w 4192"/>
                <a:gd name="connsiteY1" fmla="*/ 479258 h 479257"/>
                <a:gd name="connsiteX2" fmla="*/ 4193 w 4192"/>
                <a:gd name="connsiteY2" fmla="*/ 2287 h 479257"/>
                <a:gd name="connsiteX3" fmla="*/ 0 w 4192"/>
                <a:gd name="connsiteY3" fmla="*/ 0 h 479257"/>
                <a:gd name="connsiteX4" fmla="*/ 0 w 4192"/>
                <a:gd name="connsiteY4" fmla="*/ 479258 h 479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 h="479257">
                  <a:moveTo>
                    <a:pt x="2033" y="479258"/>
                  </a:moveTo>
                  <a:lnTo>
                    <a:pt x="4193" y="479258"/>
                  </a:lnTo>
                  <a:lnTo>
                    <a:pt x="4193" y="2287"/>
                  </a:lnTo>
                  <a:cubicBezTo>
                    <a:pt x="2630" y="1880"/>
                    <a:pt x="1181" y="1093"/>
                    <a:pt x="0" y="0"/>
                  </a:cubicBezTo>
                  <a:lnTo>
                    <a:pt x="0" y="479258"/>
                  </a:lnTo>
                  <a:close/>
                </a:path>
              </a:pathLst>
            </a:custGeom>
            <a:solidFill>
              <a:srgbClr val="000000"/>
            </a:solidFill>
            <a:ln w="12704"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C832A57A-EEA9-4121-A77B-848A519A8EC7}"/>
                </a:ext>
              </a:extLst>
            </p:cNvPr>
            <p:cNvSpPr/>
            <p:nvPr/>
          </p:nvSpPr>
          <p:spPr>
            <a:xfrm>
              <a:off x="9797382" y="2210839"/>
              <a:ext cx="4193" cy="14611"/>
            </a:xfrm>
            <a:custGeom>
              <a:avLst/>
              <a:gdLst>
                <a:gd name="connsiteX0" fmla="*/ 0 w 4193"/>
                <a:gd name="connsiteY0" fmla="*/ 1906 h 14611"/>
                <a:gd name="connsiteX1" fmla="*/ 0 w 4193"/>
                <a:gd name="connsiteY1" fmla="*/ 14611 h 14611"/>
                <a:gd name="connsiteX2" fmla="*/ 4194 w 4193"/>
                <a:gd name="connsiteY2" fmla="*/ 12325 h 14611"/>
                <a:gd name="connsiteX3" fmla="*/ 4194 w 4193"/>
                <a:gd name="connsiteY3" fmla="*/ 2160 h 14611"/>
                <a:gd name="connsiteX4" fmla="*/ 2034 w 4193"/>
                <a:gd name="connsiteY4" fmla="*/ 0 h 14611"/>
                <a:gd name="connsiteX5" fmla="*/ 0 w 4193"/>
                <a:gd name="connsiteY5" fmla="*/ 1906 h 1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611">
                  <a:moveTo>
                    <a:pt x="0" y="1906"/>
                  </a:moveTo>
                  <a:lnTo>
                    <a:pt x="0" y="14611"/>
                  </a:lnTo>
                  <a:cubicBezTo>
                    <a:pt x="1182" y="13519"/>
                    <a:pt x="2631" y="12731"/>
                    <a:pt x="4194" y="12325"/>
                  </a:cubicBezTo>
                  <a:lnTo>
                    <a:pt x="4194" y="2160"/>
                  </a:lnTo>
                  <a:cubicBezTo>
                    <a:pt x="4130" y="991"/>
                    <a:pt x="3202" y="63"/>
                    <a:pt x="2034" y="0"/>
                  </a:cubicBezTo>
                  <a:cubicBezTo>
                    <a:pt x="979" y="51"/>
                    <a:pt x="127" y="864"/>
                    <a:pt x="0" y="1906"/>
                  </a:cubicBezTo>
                  <a:close/>
                </a:path>
              </a:pathLst>
            </a:custGeom>
            <a:solidFill>
              <a:srgbClr val="000000"/>
            </a:solidFill>
            <a:ln w="12704"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45C761F5-6B4F-452E-BA31-D3CA46F584FB}"/>
                </a:ext>
              </a:extLst>
            </p:cNvPr>
            <p:cNvSpPr/>
            <p:nvPr/>
          </p:nvSpPr>
          <p:spPr>
            <a:xfrm>
              <a:off x="10351149" y="2245780"/>
              <a:ext cx="4193" cy="1021408"/>
            </a:xfrm>
            <a:custGeom>
              <a:avLst/>
              <a:gdLst>
                <a:gd name="connsiteX0" fmla="*/ 4194 w 4193"/>
                <a:gd name="connsiteY0" fmla="*/ 1021408 h 1021408"/>
                <a:gd name="connsiteX1" fmla="*/ 4194 w 4193"/>
                <a:gd name="connsiteY1" fmla="*/ 0 h 1021408"/>
                <a:gd name="connsiteX2" fmla="*/ 2034 w 4193"/>
                <a:gd name="connsiteY2" fmla="*/ 0 h 1021408"/>
                <a:gd name="connsiteX3" fmla="*/ 0 w 4193"/>
                <a:gd name="connsiteY3" fmla="*/ 0 h 1021408"/>
                <a:gd name="connsiteX4" fmla="*/ 0 w 4193"/>
                <a:gd name="connsiteY4" fmla="*/ 1021027 h 1021408"/>
                <a:gd name="connsiteX5" fmla="*/ 4194 w 4193"/>
                <a:gd name="connsiteY5" fmla="*/ 1021027 h 102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021408">
                  <a:moveTo>
                    <a:pt x="4194" y="1021408"/>
                  </a:moveTo>
                  <a:lnTo>
                    <a:pt x="4194" y="0"/>
                  </a:lnTo>
                  <a:cubicBezTo>
                    <a:pt x="3469" y="63"/>
                    <a:pt x="2757" y="63"/>
                    <a:pt x="2034" y="0"/>
                  </a:cubicBezTo>
                  <a:lnTo>
                    <a:pt x="0" y="0"/>
                  </a:lnTo>
                  <a:lnTo>
                    <a:pt x="0" y="1021027"/>
                  </a:lnTo>
                  <a:lnTo>
                    <a:pt x="4194" y="1021027"/>
                  </a:lnTo>
                  <a:close/>
                </a:path>
              </a:pathLst>
            </a:custGeom>
            <a:solidFill>
              <a:srgbClr val="000000"/>
            </a:solidFill>
            <a:ln w="12704"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85E24E88-7FF6-4210-AF2D-744E1E1FB28A}"/>
                </a:ext>
              </a:extLst>
            </p:cNvPr>
            <p:cNvSpPr/>
            <p:nvPr/>
          </p:nvSpPr>
          <p:spPr>
            <a:xfrm>
              <a:off x="11307091" y="4283895"/>
              <a:ext cx="4193" cy="293500"/>
            </a:xfrm>
            <a:custGeom>
              <a:avLst/>
              <a:gdLst>
                <a:gd name="connsiteX0" fmla="*/ 4194 w 4193"/>
                <a:gd name="connsiteY0" fmla="*/ 292230 h 293500"/>
                <a:gd name="connsiteX1" fmla="*/ 4194 w 4193"/>
                <a:gd name="connsiteY1" fmla="*/ 0 h 293500"/>
                <a:gd name="connsiteX2" fmla="*/ 2034 w 4193"/>
                <a:gd name="connsiteY2" fmla="*/ 0 h 293500"/>
                <a:gd name="connsiteX3" fmla="*/ 0 w 4193"/>
                <a:gd name="connsiteY3" fmla="*/ 0 h 293500"/>
                <a:gd name="connsiteX4" fmla="*/ 0 w 4193"/>
                <a:gd name="connsiteY4" fmla="*/ 293501 h 293500"/>
                <a:gd name="connsiteX5" fmla="*/ 4194 w 4193"/>
                <a:gd name="connsiteY5" fmla="*/ 293501 h 293500"/>
                <a:gd name="connsiteX6" fmla="*/ 4194 w 4193"/>
                <a:gd name="connsiteY6" fmla="*/ 292230 h 2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293500">
                  <a:moveTo>
                    <a:pt x="4194" y="292230"/>
                  </a:moveTo>
                  <a:lnTo>
                    <a:pt x="4194" y="0"/>
                  </a:lnTo>
                  <a:cubicBezTo>
                    <a:pt x="3469" y="64"/>
                    <a:pt x="2758" y="64"/>
                    <a:pt x="2034" y="0"/>
                  </a:cubicBezTo>
                  <a:cubicBezTo>
                    <a:pt x="1360" y="76"/>
                    <a:pt x="674" y="76"/>
                    <a:pt x="0" y="0"/>
                  </a:cubicBezTo>
                  <a:lnTo>
                    <a:pt x="0" y="293501"/>
                  </a:lnTo>
                  <a:lnTo>
                    <a:pt x="4194" y="293501"/>
                  </a:lnTo>
                  <a:lnTo>
                    <a:pt x="4194" y="292230"/>
                  </a:lnTo>
                  <a:close/>
                </a:path>
              </a:pathLst>
            </a:custGeom>
            <a:solidFill>
              <a:srgbClr val="000000"/>
            </a:solidFill>
            <a:ln w="12704"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3F3A2F19-333E-4D34-8308-D3F8C0A310CB}"/>
                </a:ext>
              </a:extLst>
            </p:cNvPr>
            <p:cNvSpPr/>
            <p:nvPr/>
          </p:nvSpPr>
          <p:spPr>
            <a:xfrm>
              <a:off x="11085229" y="4586036"/>
              <a:ext cx="125290" cy="4065"/>
            </a:xfrm>
            <a:custGeom>
              <a:avLst/>
              <a:gdLst>
                <a:gd name="connsiteX0" fmla="*/ 125290 w 125290"/>
                <a:gd name="connsiteY0" fmla="*/ 0 h 4065"/>
                <a:gd name="connsiteX1" fmla="*/ 0 w 125290"/>
                <a:gd name="connsiteY1" fmla="*/ 0 h 4065"/>
                <a:gd name="connsiteX2" fmla="*/ 0 w 125290"/>
                <a:gd name="connsiteY2" fmla="*/ 4066 h 4065"/>
                <a:gd name="connsiteX3" fmla="*/ 125290 w 125290"/>
                <a:gd name="connsiteY3" fmla="*/ 4066 h 4065"/>
                <a:gd name="connsiteX4" fmla="*/ 125290 w 125290"/>
                <a:gd name="connsiteY4" fmla="*/ 3304 h 4065"/>
                <a:gd name="connsiteX5" fmla="*/ 125290 w 125290"/>
                <a:gd name="connsiteY5" fmla="*/ 0 h 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90" h="4065">
                  <a:moveTo>
                    <a:pt x="125290" y="0"/>
                  </a:moveTo>
                  <a:lnTo>
                    <a:pt x="0" y="0"/>
                  </a:lnTo>
                  <a:lnTo>
                    <a:pt x="0" y="4066"/>
                  </a:lnTo>
                  <a:lnTo>
                    <a:pt x="125290" y="4066"/>
                  </a:lnTo>
                  <a:cubicBezTo>
                    <a:pt x="125290" y="4066"/>
                    <a:pt x="125290" y="4066"/>
                    <a:pt x="125290" y="3304"/>
                  </a:cubicBezTo>
                  <a:cubicBezTo>
                    <a:pt x="125163" y="2211"/>
                    <a:pt x="125163" y="1093"/>
                    <a:pt x="125290" y="0"/>
                  </a:cubicBezTo>
                  <a:close/>
                </a:path>
              </a:pathLst>
            </a:custGeom>
            <a:solidFill>
              <a:srgbClr val="000000"/>
            </a:solidFill>
            <a:ln w="12704"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77C787E1-EA1D-44B1-9787-ADD5F4192358}"/>
                </a:ext>
              </a:extLst>
            </p:cNvPr>
            <p:cNvSpPr/>
            <p:nvPr/>
          </p:nvSpPr>
          <p:spPr>
            <a:xfrm>
              <a:off x="12014359" y="4628219"/>
              <a:ext cx="31004" cy="25411"/>
            </a:xfrm>
            <a:custGeom>
              <a:avLst/>
              <a:gdLst>
                <a:gd name="connsiteX0" fmla="*/ 31005 w 31004"/>
                <a:gd name="connsiteY0" fmla="*/ 25411 h 25411"/>
                <a:gd name="connsiteX1" fmla="*/ 31005 w 31004"/>
                <a:gd name="connsiteY1" fmla="*/ 20202 h 25411"/>
                <a:gd name="connsiteX2" fmla="*/ 2414 w 31004"/>
                <a:gd name="connsiteY2" fmla="*/ 0 h 25411"/>
                <a:gd name="connsiteX3" fmla="*/ 0 w 31004"/>
                <a:gd name="connsiteY3" fmla="*/ 3558 h 25411"/>
              </a:gdLst>
              <a:ahLst/>
              <a:cxnLst>
                <a:cxn ang="0">
                  <a:pos x="connsiteX0" y="connsiteY0"/>
                </a:cxn>
                <a:cxn ang="0">
                  <a:pos x="connsiteX1" y="connsiteY1"/>
                </a:cxn>
                <a:cxn ang="0">
                  <a:pos x="connsiteX2" y="connsiteY2"/>
                </a:cxn>
                <a:cxn ang="0">
                  <a:pos x="connsiteX3" y="connsiteY3"/>
                </a:cxn>
              </a:cxnLst>
              <a:rect l="l" t="t" r="r" b="b"/>
              <a:pathLst>
                <a:path w="31004" h="25411">
                  <a:moveTo>
                    <a:pt x="31005" y="25411"/>
                  </a:moveTo>
                  <a:lnTo>
                    <a:pt x="31005" y="20202"/>
                  </a:lnTo>
                  <a:lnTo>
                    <a:pt x="2414" y="0"/>
                  </a:lnTo>
                  <a:cubicBezTo>
                    <a:pt x="1804" y="1309"/>
                    <a:pt x="991" y="2503"/>
                    <a:pt x="0" y="3558"/>
                  </a:cubicBezTo>
                  <a:close/>
                </a:path>
              </a:pathLst>
            </a:custGeom>
            <a:solidFill>
              <a:srgbClr val="000000"/>
            </a:solidFill>
            <a:ln w="12704"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37D062F8-8279-4ACC-967D-8815ECFE1005}"/>
                </a:ext>
              </a:extLst>
            </p:cNvPr>
            <p:cNvSpPr/>
            <p:nvPr/>
          </p:nvSpPr>
          <p:spPr>
            <a:xfrm>
              <a:off x="10648110" y="1919117"/>
              <a:ext cx="23381" cy="245981"/>
            </a:xfrm>
            <a:custGeom>
              <a:avLst/>
              <a:gdLst>
                <a:gd name="connsiteX0" fmla="*/ 0 w 23381"/>
                <a:gd name="connsiteY0" fmla="*/ 11689 h 245981"/>
                <a:gd name="connsiteX1" fmla="*/ 0 w 23381"/>
                <a:gd name="connsiteY1" fmla="*/ 245982 h 245981"/>
                <a:gd name="connsiteX2" fmla="*/ 23381 w 23381"/>
                <a:gd name="connsiteY2" fmla="*/ 245982 h 245981"/>
                <a:gd name="connsiteX3" fmla="*/ 23381 w 23381"/>
                <a:gd name="connsiteY3" fmla="*/ 11689 h 245981"/>
                <a:gd name="connsiteX4" fmla="*/ 11690 w 23381"/>
                <a:gd name="connsiteY4" fmla="*/ 0 h 245981"/>
                <a:gd name="connsiteX5" fmla="*/ 0 w 23381"/>
                <a:gd name="connsiteY5" fmla="*/ 11689 h 2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245981">
                  <a:moveTo>
                    <a:pt x="0" y="11689"/>
                  </a:moveTo>
                  <a:lnTo>
                    <a:pt x="0" y="245982"/>
                  </a:lnTo>
                  <a:lnTo>
                    <a:pt x="23381" y="245982"/>
                  </a:lnTo>
                  <a:lnTo>
                    <a:pt x="23381" y="11689"/>
                  </a:lnTo>
                  <a:cubicBezTo>
                    <a:pt x="23381" y="5235"/>
                    <a:pt x="18146" y="0"/>
                    <a:pt x="11690" y="0"/>
                  </a:cubicBezTo>
                  <a:cubicBezTo>
                    <a:pt x="5235" y="0"/>
                    <a:pt x="0" y="5235"/>
                    <a:pt x="0" y="11689"/>
                  </a:cubicBezTo>
                  <a:close/>
                </a:path>
              </a:pathLst>
            </a:custGeom>
            <a:solidFill>
              <a:srgbClr val="000000"/>
            </a:solidFill>
            <a:ln w="12704"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F03EC778-1641-4555-8A86-046B6F3ED3B4}"/>
                </a:ext>
              </a:extLst>
            </p:cNvPr>
            <p:cNvSpPr/>
            <p:nvPr/>
          </p:nvSpPr>
          <p:spPr>
            <a:xfrm>
              <a:off x="6645430" y="3269094"/>
              <a:ext cx="17281" cy="24013"/>
            </a:xfrm>
            <a:custGeom>
              <a:avLst/>
              <a:gdLst>
                <a:gd name="connsiteX0" fmla="*/ 0 w 17281"/>
                <a:gd name="connsiteY0" fmla="*/ 13722 h 24013"/>
                <a:gd name="connsiteX1" fmla="*/ 0 w 17281"/>
                <a:gd name="connsiteY1" fmla="*/ 24014 h 24013"/>
                <a:gd name="connsiteX2" fmla="*/ 17282 w 17281"/>
                <a:gd name="connsiteY2" fmla="*/ 24014 h 24013"/>
                <a:gd name="connsiteX3" fmla="*/ 17282 w 17281"/>
                <a:gd name="connsiteY3" fmla="*/ 24014 h 24013"/>
                <a:gd name="connsiteX4" fmla="*/ 6506 w 17281"/>
                <a:gd name="connsiteY4" fmla="*/ 10774 h 24013"/>
                <a:gd name="connsiteX5" fmla="*/ 17282 w 17281"/>
                <a:gd name="connsiteY5" fmla="*/ 0 h 24013"/>
                <a:gd name="connsiteX6" fmla="*/ 17282 w 17281"/>
                <a:gd name="connsiteY6" fmla="*/ 0 h 24013"/>
                <a:gd name="connsiteX7" fmla="*/ 381 w 17281"/>
                <a:gd name="connsiteY7" fmla="*/ 0 h 24013"/>
                <a:gd name="connsiteX8" fmla="*/ 381 w 17281"/>
                <a:gd name="connsiteY8" fmla="*/ 13722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1" h="24013">
                  <a:moveTo>
                    <a:pt x="0" y="13722"/>
                  </a:moveTo>
                  <a:lnTo>
                    <a:pt x="0" y="24014"/>
                  </a:lnTo>
                  <a:lnTo>
                    <a:pt x="17282" y="24014"/>
                  </a:lnTo>
                  <a:lnTo>
                    <a:pt x="17282" y="24014"/>
                  </a:lnTo>
                  <a:cubicBezTo>
                    <a:pt x="10649" y="23328"/>
                    <a:pt x="5833" y="17407"/>
                    <a:pt x="6506" y="10774"/>
                  </a:cubicBezTo>
                  <a:cubicBezTo>
                    <a:pt x="7091" y="5082"/>
                    <a:pt x="11589" y="585"/>
                    <a:pt x="17282" y="0"/>
                  </a:cubicBezTo>
                  <a:lnTo>
                    <a:pt x="17282" y="0"/>
                  </a:lnTo>
                  <a:lnTo>
                    <a:pt x="381" y="0"/>
                  </a:lnTo>
                  <a:lnTo>
                    <a:pt x="381" y="13722"/>
                  </a:lnTo>
                  <a:close/>
                </a:path>
              </a:pathLst>
            </a:custGeom>
            <a:solidFill>
              <a:srgbClr val="000000"/>
            </a:solidFill>
            <a:ln w="12704"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B477DC5F-9064-45EE-84D2-6865E2B71D14}"/>
                </a:ext>
              </a:extLst>
            </p:cNvPr>
            <p:cNvSpPr/>
            <p:nvPr/>
          </p:nvSpPr>
          <p:spPr>
            <a:xfrm>
              <a:off x="6650739" y="3268713"/>
              <a:ext cx="156322" cy="24649"/>
            </a:xfrm>
            <a:custGeom>
              <a:avLst/>
              <a:gdLst>
                <a:gd name="connsiteX0" fmla="*/ 28 w 156322"/>
                <a:gd name="connsiteY0" fmla="*/ 12706 h 24649"/>
                <a:gd name="connsiteX1" fmla="*/ 11845 w 156322"/>
                <a:gd name="connsiteY1" fmla="*/ 24649 h 24649"/>
                <a:gd name="connsiteX2" fmla="*/ 156323 w 156322"/>
                <a:gd name="connsiteY2" fmla="*/ 24649 h 24649"/>
                <a:gd name="connsiteX3" fmla="*/ 156323 w 156322"/>
                <a:gd name="connsiteY3" fmla="*/ 0 h 24649"/>
                <a:gd name="connsiteX4" fmla="*/ 11718 w 156322"/>
                <a:gd name="connsiteY4" fmla="*/ 0 h 24649"/>
                <a:gd name="connsiteX5" fmla="*/ 2 w 156322"/>
                <a:gd name="connsiteY5" fmla="*/ 12172 h 24649"/>
                <a:gd name="connsiteX6" fmla="*/ 28 w 156322"/>
                <a:gd name="connsiteY6" fmla="*/ 12706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322" h="24649">
                  <a:moveTo>
                    <a:pt x="28" y="12706"/>
                  </a:moveTo>
                  <a:cubicBezTo>
                    <a:pt x="28" y="19249"/>
                    <a:pt x="5301" y="24585"/>
                    <a:pt x="11845" y="24649"/>
                  </a:cubicBezTo>
                  <a:lnTo>
                    <a:pt x="156323" y="24649"/>
                  </a:lnTo>
                  <a:lnTo>
                    <a:pt x="156323" y="0"/>
                  </a:lnTo>
                  <a:lnTo>
                    <a:pt x="11718" y="0"/>
                  </a:lnTo>
                  <a:cubicBezTo>
                    <a:pt x="5123" y="127"/>
                    <a:pt x="-125" y="5578"/>
                    <a:pt x="2" y="12172"/>
                  </a:cubicBezTo>
                  <a:cubicBezTo>
                    <a:pt x="15" y="12350"/>
                    <a:pt x="15" y="12528"/>
                    <a:pt x="28" y="12706"/>
                  </a:cubicBezTo>
                  <a:close/>
                </a:path>
              </a:pathLst>
            </a:custGeom>
            <a:solidFill>
              <a:srgbClr val="000000"/>
            </a:solidFill>
            <a:ln w="12704"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09F55068-12B1-42F8-AB98-762734105DF9}"/>
                </a:ext>
              </a:extLst>
            </p:cNvPr>
            <p:cNvSpPr/>
            <p:nvPr/>
          </p:nvSpPr>
          <p:spPr>
            <a:xfrm>
              <a:off x="9462173" y="2245907"/>
              <a:ext cx="4193" cy="475572"/>
            </a:xfrm>
            <a:custGeom>
              <a:avLst/>
              <a:gdLst>
                <a:gd name="connsiteX0" fmla="*/ 890 w 4193"/>
                <a:gd name="connsiteY0" fmla="*/ 466806 h 475572"/>
                <a:gd name="connsiteX1" fmla="*/ 890 w 4193"/>
                <a:gd name="connsiteY1" fmla="*/ 469220 h 475572"/>
                <a:gd name="connsiteX2" fmla="*/ 890 w 4193"/>
                <a:gd name="connsiteY2" fmla="*/ 469220 h 475572"/>
                <a:gd name="connsiteX3" fmla="*/ 890 w 4193"/>
                <a:gd name="connsiteY3" fmla="*/ 475573 h 475572"/>
                <a:gd name="connsiteX4" fmla="*/ 4194 w 4193"/>
                <a:gd name="connsiteY4" fmla="*/ 475573 h 475572"/>
                <a:gd name="connsiteX5" fmla="*/ 4194 w 4193"/>
                <a:gd name="connsiteY5" fmla="*/ 0 h 475572"/>
                <a:gd name="connsiteX6" fmla="*/ 2034 w 4193"/>
                <a:gd name="connsiteY6" fmla="*/ 0 h 475572"/>
                <a:gd name="connsiteX7" fmla="*/ 0 w 4193"/>
                <a:gd name="connsiteY7" fmla="*/ 0 h 475572"/>
                <a:gd name="connsiteX8" fmla="*/ 0 w 4193"/>
                <a:gd name="connsiteY8" fmla="*/ 465536 h 475572"/>
                <a:gd name="connsiteX9" fmla="*/ 890 w 4193"/>
                <a:gd name="connsiteY9" fmla="*/ 466806 h 47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3" h="475572">
                  <a:moveTo>
                    <a:pt x="890" y="466806"/>
                  </a:moveTo>
                  <a:cubicBezTo>
                    <a:pt x="966" y="467606"/>
                    <a:pt x="966" y="468420"/>
                    <a:pt x="890" y="469220"/>
                  </a:cubicBezTo>
                  <a:cubicBezTo>
                    <a:pt x="890" y="469220"/>
                    <a:pt x="890" y="469220"/>
                    <a:pt x="890" y="469220"/>
                  </a:cubicBezTo>
                  <a:lnTo>
                    <a:pt x="890" y="475573"/>
                  </a:lnTo>
                  <a:lnTo>
                    <a:pt x="4194" y="475573"/>
                  </a:lnTo>
                  <a:lnTo>
                    <a:pt x="4194" y="0"/>
                  </a:lnTo>
                  <a:lnTo>
                    <a:pt x="2034" y="0"/>
                  </a:lnTo>
                  <a:lnTo>
                    <a:pt x="0" y="0"/>
                  </a:lnTo>
                  <a:lnTo>
                    <a:pt x="0" y="465536"/>
                  </a:lnTo>
                  <a:cubicBezTo>
                    <a:pt x="0" y="465536"/>
                    <a:pt x="762" y="466298"/>
                    <a:pt x="890" y="466806"/>
                  </a:cubicBezTo>
                  <a:close/>
                </a:path>
              </a:pathLst>
            </a:custGeom>
            <a:solidFill>
              <a:srgbClr val="000000"/>
            </a:solidFill>
            <a:ln w="12704"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CD823BF8-1404-4121-9E1F-4F9153675B74}"/>
                </a:ext>
              </a:extLst>
            </p:cNvPr>
            <p:cNvSpPr/>
            <p:nvPr/>
          </p:nvSpPr>
          <p:spPr>
            <a:xfrm>
              <a:off x="9449340" y="2232566"/>
              <a:ext cx="4192" cy="469474"/>
            </a:xfrm>
            <a:custGeom>
              <a:avLst/>
              <a:gdLst>
                <a:gd name="connsiteX0" fmla="*/ 2160 w 4192"/>
                <a:gd name="connsiteY0" fmla="*/ 468458 h 469474"/>
                <a:gd name="connsiteX1" fmla="*/ 4193 w 4192"/>
                <a:gd name="connsiteY1" fmla="*/ 469474 h 469474"/>
                <a:gd name="connsiteX2" fmla="*/ 4193 w 4192"/>
                <a:gd name="connsiteY2" fmla="*/ 469474 h 469474"/>
                <a:gd name="connsiteX3" fmla="*/ 4193 w 4192"/>
                <a:gd name="connsiteY3" fmla="*/ 6988 h 469474"/>
                <a:gd name="connsiteX4" fmla="*/ 0 w 4192"/>
                <a:gd name="connsiteY4" fmla="*/ 0 h 469474"/>
                <a:gd name="connsiteX5" fmla="*/ 0 w 4192"/>
                <a:gd name="connsiteY5" fmla="*/ 468458 h 46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2" h="469474">
                  <a:moveTo>
                    <a:pt x="2160" y="468458"/>
                  </a:moveTo>
                  <a:lnTo>
                    <a:pt x="4193" y="469474"/>
                  </a:lnTo>
                  <a:lnTo>
                    <a:pt x="4193" y="469474"/>
                  </a:lnTo>
                  <a:lnTo>
                    <a:pt x="4193" y="6988"/>
                  </a:lnTo>
                  <a:lnTo>
                    <a:pt x="0" y="0"/>
                  </a:lnTo>
                  <a:lnTo>
                    <a:pt x="0" y="468458"/>
                  </a:lnTo>
                  <a:close/>
                </a:path>
              </a:pathLst>
            </a:custGeom>
            <a:solidFill>
              <a:srgbClr val="000000"/>
            </a:solidFill>
            <a:ln w="12704"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042CD700-F0AE-495E-BE45-75ADCFE34510}"/>
                </a:ext>
              </a:extLst>
            </p:cNvPr>
            <p:cNvSpPr/>
            <p:nvPr/>
          </p:nvSpPr>
          <p:spPr>
            <a:xfrm>
              <a:off x="9407406" y="2163066"/>
              <a:ext cx="4193" cy="516231"/>
            </a:xfrm>
            <a:custGeom>
              <a:avLst/>
              <a:gdLst>
                <a:gd name="connsiteX0" fmla="*/ 2669 w 4193"/>
                <a:gd name="connsiteY0" fmla="*/ 516231 h 516231"/>
                <a:gd name="connsiteX1" fmla="*/ 3431 w 4193"/>
                <a:gd name="connsiteY1" fmla="*/ 516231 h 516231"/>
                <a:gd name="connsiteX2" fmla="*/ 3431 w 4193"/>
                <a:gd name="connsiteY2" fmla="*/ 516231 h 516231"/>
                <a:gd name="connsiteX3" fmla="*/ 4194 w 4193"/>
                <a:gd name="connsiteY3" fmla="*/ 516231 h 516231"/>
                <a:gd name="connsiteX4" fmla="*/ 4194 w 4193"/>
                <a:gd name="connsiteY4" fmla="*/ 6861 h 516231"/>
                <a:gd name="connsiteX5" fmla="*/ 0 w 4193"/>
                <a:gd name="connsiteY5" fmla="*/ 0 h 516231"/>
                <a:gd name="connsiteX6" fmla="*/ 0 w 4193"/>
                <a:gd name="connsiteY6" fmla="*/ 516231 h 51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516231">
                  <a:moveTo>
                    <a:pt x="2669" y="516231"/>
                  </a:moveTo>
                  <a:lnTo>
                    <a:pt x="3431" y="516231"/>
                  </a:lnTo>
                  <a:cubicBezTo>
                    <a:pt x="3431" y="516231"/>
                    <a:pt x="3431" y="516231"/>
                    <a:pt x="3431" y="516231"/>
                  </a:cubicBezTo>
                  <a:lnTo>
                    <a:pt x="4194" y="516231"/>
                  </a:lnTo>
                  <a:lnTo>
                    <a:pt x="4194" y="6861"/>
                  </a:lnTo>
                  <a:lnTo>
                    <a:pt x="0" y="0"/>
                  </a:lnTo>
                  <a:lnTo>
                    <a:pt x="0" y="516231"/>
                  </a:lnTo>
                  <a:close/>
                </a:path>
              </a:pathLst>
            </a:custGeom>
            <a:solidFill>
              <a:srgbClr val="000000"/>
            </a:solidFill>
            <a:ln w="12704"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886422A9-9CEE-4571-8F1B-2E8EA8EDBD08}"/>
                </a:ext>
              </a:extLst>
            </p:cNvPr>
            <p:cNvSpPr/>
            <p:nvPr/>
          </p:nvSpPr>
          <p:spPr>
            <a:xfrm>
              <a:off x="7952973" y="2679297"/>
              <a:ext cx="37103" cy="4192"/>
            </a:xfrm>
            <a:custGeom>
              <a:avLst/>
              <a:gdLst>
                <a:gd name="connsiteX0" fmla="*/ 37104 w 37103"/>
                <a:gd name="connsiteY0" fmla="*/ 0 h 4192"/>
                <a:gd name="connsiteX1" fmla="*/ 0 w 37103"/>
                <a:gd name="connsiteY1" fmla="*/ 0 h 4192"/>
                <a:gd name="connsiteX2" fmla="*/ 17154 w 37103"/>
                <a:gd name="connsiteY2" fmla="*/ 4193 h 4192"/>
                <a:gd name="connsiteX3" fmla="*/ 33673 w 37103"/>
                <a:gd name="connsiteY3" fmla="*/ 4193 h 4192"/>
                <a:gd name="connsiteX4" fmla="*/ 37104 w 37103"/>
                <a:gd name="connsiteY4" fmla="*/ 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3" h="4192">
                  <a:moveTo>
                    <a:pt x="37104" y="0"/>
                  </a:moveTo>
                  <a:lnTo>
                    <a:pt x="0" y="0"/>
                  </a:lnTo>
                  <a:lnTo>
                    <a:pt x="17154" y="4193"/>
                  </a:lnTo>
                  <a:lnTo>
                    <a:pt x="33673" y="4193"/>
                  </a:lnTo>
                  <a:cubicBezTo>
                    <a:pt x="34448" y="2528"/>
                    <a:pt x="35630" y="1093"/>
                    <a:pt x="37104" y="0"/>
                  </a:cubicBezTo>
                  <a:close/>
                </a:path>
              </a:pathLst>
            </a:custGeom>
            <a:solidFill>
              <a:srgbClr val="000000"/>
            </a:solidFill>
            <a:ln w="12704"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CF995536-4620-4259-A487-12BBC0681936}"/>
                </a:ext>
              </a:extLst>
            </p:cNvPr>
            <p:cNvSpPr/>
            <p:nvPr/>
          </p:nvSpPr>
          <p:spPr>
            <a:xfrm>
              <a:off x="8004435" y="2679297"/>
              <a:ext cx="65186" cy="4192"/>
            </a:xfrm>
            <a:custGeom>
              <a:avLst/>
              <a:gdLst>
                <a:gd name="connsiteX0" fmla="*/ 65187 w 65186"/>
                <a:gd name="connsiteY0" fmla="*/ 0 h 4192"/>
                <a:gd name="connsiteX1" fmla="*/ 0 w 65186"/>
                <a:gd name="connsiteY1" fmla="*/ 0 h 4192"/>
                <a:gd name="connsiteX2" fmla="*/ 3431 w 65186"/>
                <a:gd name="connsiteY2" fmla="*/ 4193 h 4192"/>
                <a:gd name="connsiteX3" fmla="*/ 65187 w 65186"/>
                <a:gd name="connsiteY3" fmla="*/ 4193 h 4192"/>
                <a:gd name="connsiteX4" fmla="*/ 65187 w 65186"/>
                <a:gd name="connsiteY4" fmla="*/ 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4192">
                  <a:moveTo>
                    <a:pt x="65187" y="0"/>
                  </a:moveTo>
                  <a:lnTo>
                    <a:pt x="0" y="0"/>
                  </a:lnTo>
                  <a:cubicBezTo>
                    <a:pt x="1410" y="1156"/>
                    <a:pt x="2580" y="2579"/>
                    <a:pt x="3431" y="4193"/>
                  </a:cubicBezTo>
                  <a:lnTo>
                    <a:pt x="65187" y="4193"/>
                  </a:lnTo>
                  <a:lnTo>
                    <a:pt x="65187" y="0"/>
                  </a:lnTo>
                  <a:close/>
                </a:path>
              </a:pathLst>
            </a:custGeom>
            <a:solidFill>
              <a:srgbClr val="000000"/>
            </a:solidFill>
            <a:ln w="12704"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2E2F7DA4-22EE-43E4-A77F-EF6F78476763}"/>
                </a:ext>
              </a:extLst>
            </p:cNvPr>
            <p:cNvSpPr/>
            <p:nvPr/>
          </p:nvSpPr>
          <p:spPr>
            <a:xfrm>
              <a:off x="9113877" y="2680117"/>
              <a:ext cx="297723" cy="4516"/>
            </a:xfrm>
            <a:custGeom>
              <a:avLst/>
              <a:gdLst>
                <a:gd name="connsiteX0" fmla="*/ 0 w 297723"/>
                <a:gd name="connsiteY0" fmla="*/ 3373 h 4516"/>
                <a:gd name="connsiteX1" fmla="*/ 295436 w 297723"/>
                <a:gd name="connsiteY1" fmla="*/ 3373 h 4516"/>
                <a:gd name="connsiteX2" fmla="*/ 295436 w 297723"/>
                <a:gd name="connsiteY2" fmla="*/ 3373 h 4516"/>
                <a:gd name="connsiteX3" fmla="*/ 295436 w 297723"/>
                <a:gd name="connsiteY3" fmla="*/ 324 h 4516"/>
                <a:gd name="connsiteX4" fmla="*/ 297723 w 297723"/>
                <a:gd name="connsiteY4" fmla="*/ 324 h 4516"/>
                <a:gd name="connsiteX5" fmla="*/ 296961 w 297723"/>
                <a:gd name="connsiteY5" fmla="*/ 324 h 4516"/>
                <a:gd name="connsiteX6" fmla="*/ 0 w 297723"/>
                <a:gd name="connsiteY6" fmla="*/ 324 h 4516"/>
                <a:gd name="connsiteX7" fmla="*/ 0 w 297723"/>
                <a:gd name="connsiteY7" fmla="*/ 4517 h 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723" h="4516">
                  <a:moveTo>
                    <a:pt x="0" y="3373"/>
                  </a:moveTo>
                  <a:lnTo>
                    <a:pt x="295436" y="3373"/>
                  </a:lnTo>
                  <a:lnTo>
                    <a:pt x="295436" y="3373"/>
                  </a:lnTo>
                  <a:cubicBezTo>
                    <a:pt x="294598" y="2535"/>
                    <a:pt x="294598" y="1163"/>
                    <a:pt x="295436" y="324"/>
                  </a:cubicBezTo>
                  <a:cubicBezTo>
                    <a:pt x="296135" y="-108"/>
                    <a:pt x="297024" y="-108"/>
                    <a:pt x="297723" y="324"/>
                  </a:cubicBezTo>
                  <a:lnTo>
                    <a:pt x="296961" y="324"/>
                  </a:lnTo>
                  <a:lnTo>
                    <a:pt x="0" y="324"/>
                  </a:lnTo>
                  <a:lnTo>
                    <a:pt x="0" y="4517"/>
                  </a:lnTo>
                  <a:close/>
                </a:path>
              </a:pathLst>
            </a:custGeom>
            <a:solidFill>
              <a:srgbClr val="000000"/>
            </a:solidFill>
            <a:ln w="12704"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FE3D7617-2BE3-495B-B421-813FDE270C13}"/>
                </a:ext>
              </a:extLst>
            </p:cNvPr>
            <p:cNvSpPr/>
            <p:nvPr/>
          </p:nvSpPr>
          <p:spPr>
            <a:xfrm>
              <a:off x="7899667" y="2142991"/>
              <a:ext cx="23698" cy="538720"/>
            </a:xfrm>
            <a:custGeom>
              <a:avLst/>
              <a:gdLst>
                <a:gd name="connsiteX0" fmla="*/ 14677 w 23698"/>
                <a:gd name="connsiteY0" fmla="*/ 526777 h 538720"/>
                <a:gd name="connsiteX1" fmla="*/ 23698 w 23698"/>
                <a:gd name="connsiteY1" fmla="*/ 528937 h 538720"/>
                <a:gd name="connsiteX2" fmla="*/ 23698 w 23698"/>
                <a:gd name="connsiteY2" fmla="*/ 12706 h 538720"/>
                <a:gd name="connsiteX3" fmla="*/ 11881 w 23698"/>
                <a:gd name="connsiteY3" fmla="*/ 12706 h 538720"/>
                <a:gd name="connsiteX4" fmla="*/ 152 w 23698"/>
                <a:gd name="connsiteY4" fmla="*/ 801 h 538720"/>
                <a:gd name="connsiteX5" fmla="*/ 190 w 23698"/>
                <a:gd name="connsiteY5" fmla="*/ 0 h 538720"/>
                <a:gd name="connsiteX6" fmla="*/ 190 w 23698"/>
                <a:gd name="connsiteY6" fmla="*/ 537831 h 538720"/>
                <a:gd name="connsiteX7" fmla="*/ 190 w 23698"/>
                <a:gd name="connsiteY7" fmla="*/ 538720 h 538720"/>
                <a:gd name="connsiteX8" fmla="*/ 190 w 23698"/>
                <a:gd name="connsiteY8" fmla="*/ 534909 h 538720"/>
                <a:gd name="connsiteX9" fmla="*/ 14562 w 23698"/>
                <a:gd name="connsiteY9" fmla="*/ 526752 h 538720"/>
                <a:gd name="connsiteX10" fmla="*/ 14677 w 23698"/>
                <a:gd name="connsiteY10" fmla="*/ 526777 h 53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98" h="538720">
                  <a:moveTo>
                    <a:pt x="14677" y="526777"/>
                  </a:moveTo>
                  <a:lnTo>
                    <a:pt x="23698" y="528937"/>
                  </a:lnTo>
                  <a:lnTo>
                    <a:pt x="23698" y="12706"/>
                  </a:lnTo>
                  <a:lnTo>
                    <a:pt x="11881" y="12706"/>
                  </a:lnTo>
                  <a:cubicBezTo>
                    <a:pt x="5350" y="12655"/>
                    <a:pt x="102" y="7319"/>
                    <a:pt x="152" y="801"/>
                  </a:cubicBezTo>
                  <a:cubicBezTo>
                    <a:pt x="165" y="534"/>
                    <a:pt x="165" y="267"/>
                    <a:pt x="190" y="0"/>
                  </a:cubicBezTo>
                  <a:lnTo>
                    <a:pt x="190" y="537831"/>
                  </a:lnTo>
                  <a:cubicBezTo>
                    <a:pt x="140" y="538123"/>
                    <a:pt x="140" y="538428"/>
                    <a:pt x="190" y="538720"/>
                  </a:cubicBezTo>
                  <a:cubicBezTo>
                    <a:pt x="-63" y="537462"/>
                    <a:pt x="-63" y="536166"/>
                    <a:pt x="190" y="534909"/>
                  </a:cubicBezTo>
                  <a:cubicBezTo>
                    <a:pt x="1906" y="528683"/>
                    <a:pt x="8348" y="525036"/>
                    <a:pt x="14562" y="526752"/>
                  </a:cubicBezTo>
                  <a:cubicBezTo>
                    <a:pt x="14600" y="526752"/>
                    <a:pt x="14638" y="526764"/>
                    <a:pt x="14677" y="526777"/>
                  </a:cubicBezTo>
                  <a:close/>
                </a:path>
              </a:pathLst>
            </a:custGeom>
            <a:solidFill>
              <a:srgbClr val="000000"/>
            </a:solidFill>
            <a:ln w="12704"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40E2E3F3-E3BE-4E4A-9EB8-D9EECD62A8D5}"/>
                </a:ext>
              </a:extLst>
            </p:cNvPr>
            <p:cNvSpPr/>
            <p:nvPr/>
          </p:nvSpPr>
          <p:spPr>
            <a:xfrm>
              <a:off x="9436251" y="2700516"/>
              <a:ext cx="9275" cy="3176"/>
            </a:xfrm>
            <a:custGeom>
              <a:avLst/>
              <a:gdLst>
                <a:gd name="connsiteX0" fmla="*/ 9276 w 9275"/>
                <a:gd name="connsiteY0" fmla="*/ 0 h 3176"/>
                <a:gd name="connsiteX1" fmla="*/ 9276 w 9275"/>
                <a:gd name="connsiteY1" fmla="*/ 0 h 3176"/>
                <a:gd name="connsiteX2" fmla="*/ 0 w 9275"/>
                <a:gd name="connsiteY2" fmla="*/ 0 h 3176"/>
                <a:gd name="connsiteX3" fmla="*/ 3812 w 9275"/>
                <a:gd name="connsiteY3" fmla="*/ 3176 h 3176"/>
                <a:gd name="connsiteX4" fmla="*/ 9276 w 9275"/>
                <a:gd name="connsiteY4" fmla="*/ 0 h 3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 h="3176">
                  <a:moveTo>
                    <a:pt x="9276" y="0"/>
                  </a:moveTo>
                  <a:lnTo>
                    <a:pt x="9276" y="0"/>
                  </a:lnTo>
                  <a:lnTo>
                    <a:pt x="0" y="0"/>
                  </a:lnTo>
                  <a:lnTo>
                    <a:pt x="3812" y="3176"/>
                  </a:lnTo>
                  <a:cubicBezTo>
                    <a:pt x="5312" y="1639"/>
                    <a:pt x="7205" y="546"/>
                    <a:pt x="9276" y="0"/>
                  </a:cubicBezTo>
                  <a:close/>
                </a:path>
              </a:pathLst>
            </a:custGeom>
            <a:solidFill>
              <a:srgbClr val="000000"/>
            </a:solidFill>
            <a:ln w="12704"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5F978A32-1852-4D39-BC33-B5E5FB976838}"/>
                </a:ext>
              </a:extLst>
            </p:cNvPr>
            <p:cNvSpPr/>
            <p:nvPr/>
          </p:nvSpPr>
          <p:spPr>
            <a:xfrm>
              <a:off x="9113877" y="2700134"/>
              <a:ext cx="323518" cy="14230"/>
            </a:xfrm>
            <a:custGeom>
              <a:avLst/>
              <a:gdLst>
                <a:gd name="connsiteX0" fmla="*/ 0 w 323518"/>
                <a:gd name="connsiteY0" fmla="*/ 12070 h 14230"/>
                <a:gd name="connsiteX1" fmla="*/ 0 w 323518"/>
                <a:gd name="connsiteY1" fmla="*/ 14230 h 14230"/>
                <a:gd name="connsiteX2" fmla="*/ 322247 w 323518"/>
                <a:gd name="connsiteY2" fmla="*/ 14230 h 14230"/>
                <a:gd name="connsiteX3" fmla="*/ 323519 w 323518"/>
                <a:gd name="connsiteY3" fmla="*/ 6480 h 14230"/>
                <a:gd name="connsiteX4" fmla="*/ 315640 w 323518"/>
                <a:gd name="connsiteY4" fmla="*/ 0 h 14230"/>
                <a:gd name="connsiteX5" fmla="*/ 0 w 323518"/>
                <a:gd name="connsiteY5" fmla="*/ 0 h 1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18" h="14230">
                  <a:moveTo>
                    <a:pt x="0" y="12070"/>
                  </a:moveTo>
                  <a:lnTo>
                    <a:pt x="0" y="14230"/>
                  </a:lnTo>
                  <a:lnTo>
                    <a:pt x="322247" y="14230"/>
                  </a:lnTo>
                  <a:cubicBezTo>
                    <a:pt x="321714" y="11575"/>
                    <a:pt x="322159" y="8818"/>
                    <a:pt x="323519" y="6480"/>
                  </a:cubicBezTo>
                  <a:lnTo>
                    <a:pt x="315640" y="0"/>
                  </a:lnTo>
                  <a:lnTo>
                    <a:pt x="0" y="0"/>
                  </a:lnTo>
                  <a:close/>
                </a:path>
              </a:pathLst>
            </a:custGeom>
            <a:solidFill>
              <a:srgbClr val="000000"/>
            </a:solidFill>
            <a:ln w="12704"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41E4B0FE-A18C-4DDE-BFC8-32BA009AD52F}"/>
                </a:ext>
              </a:extLst>
            </p:cNvPr>
            <p:cNvSpPr/>
            <p:nvPr/>
          </p:nvSpPr>
          <p:spPr>
            <a:xfrm>
              <a:off x="9445527" y="2224943"/>
              <a:ext cx="4193" cy="475572"/>
            </a:xfrm>
            <a:custGeom>
              <a:avLst/>
              <a:gdLst>
                <a:gd name="connsiteX0" fmla="*/ 4194 w 4193"/>
                <a:gd name="connsiteY0" fmla="*/ 475573 h 475572"/>
                <a:gd name="connsiteX1" fmla="*/ 4194 w 4193"/>
                <a:gd name="connsiteY1" fmla="*/ 6861 h 475572"/>
                <a:gd name="connsiteX2" fmla="*/ 0 w 4193"/>
                <a:gd name="connsiteY2" fmla="*/ 0 h 475572"/>
                <a:gd name="connsiteX3" fmla="*/ 0 w 4193"/>
                <a:gd name="connsiteY3" fmla="*/ 475573 h 475572"/>
                <a:gd name="connsiteX4" fmla="*/ 4194 w 4193"/>
                <a:gd name="connsiteY4" fmla="*/ 475573 h 475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475572">
                  <a:moveTo>
                    <a:pt x="4194" y="475573"/>
                  </a:moveTo>
                  <a:lnTo>
                    <a:pt x="4194" y="6861"/>
                  </a:lnTo>
                  <a:lnTo>
                    <a:pt x="0" y="0"/>
                  </a:lnTo>
                  <a:lnTo>
                    <a:pt x="0" y="475573"/>
                  </a:lnTo>
                  <a:cubicBezTo>
                    <a:pt x="1385" y="475319"/>
                    <a:pt x="2808" y="475319"/>
                    <a:pt x="4194" y="475573"/>
                  </a:cubicBezTo>
                  <a:close/>
                </a:path>
              </a:pathLst>
            </a:custGeom>
            <a:solidFill>
              <a:schemeClr val="accent1">
                <a:lumMod val="40000"/>
                <a:lumOff val="60000"/>
              </a:schemeClr>
            </a:solidFill>
            <a:ln w="12704"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30DDE042-A8D0-4453-B246-BB638E5223EC}"/>
                </a:ext>
              </a:extLst>
            </p:cNvPr>
            <p:cNvSpPr/>
            <p:nvPr/>
          </p:nvSpPr>
          <p:spPr>
            <a:xfrm>
              <a:off x="9441969" y="2206265"/>
              <a:ext cx="33502" cy="38625"/>
            </a:xfrm>
            <a:custGeom>
              <a:avLst/>
              <a:gdLst>
                <a:gd name="connsiteX0" fmla="*/ 16138 w 33502"/>
                <a:gd name="connsiteY0" fmla="*/ 16644 h 38625"/>
                <a:gd name="connsiteX1" fmla="*/ 9911 w 33502"/>
                <a:gd name="connsiteY1" fmla="*/ 18550 h 38625"/>
                <a:gd name="connsiteX2" fmla="*/ 0 w 33502"/>
                <a:gd name="connsiteY2" fmla="*/ 12833 h 38625"/>
                <a:gd name="connsiteX3" fmla="*/ 3558 w 33502"/>
                <a:gd name="connsiteY3" fmla="*/ 18677 h 38625"/>
                <a:gd name="connsiteX4" fmla="*/ 7751 w 33502"/>
                <a:gd name="connsiteY4" fmla="*/ 25538 h 38625"/>
                <a:gd name="connsiteX5" fmla="*/ 7751 w 33502"/>
                <a:gd name="connsiteY5" fmla="*/ 25538 h 38625"/>
                <a:gd name="connsiteX6" fmla="*/ 11945 w 33502"/>
                <a:gd name="connsiteY6" fmla="*/ 32526 h 38625"/>
                <a:gd name="connsiteX7" fmla="*/ 12834 w 33502"/>
                <a:gd name="connsiteY7" fmla="*/ 33924 h 38625"/>
                <a:gd name="connsiteX8" fmla="*/ 14232 w 33502"/>
                <a:gd name="connsiteY8" fmla="*/ 35703 h 38625"/>
                <a:gd name="connsiteX9" fmla="*/ 14232 w 33502"/>
                <a:gd name="connsiteY9" fmla="*/ 35703 h 38625"/>
                <a:gd name="connsiteX10" fmla="*/ 17536 w 33502"/>
                <a:gd name="connsiteY10" fmla="*/ 37990 h 38625"/>
                <a:gd name="connsiteX11" fmla="*/ 18298 w 33502"/>
                <a:gd name="connsiteY11" fmla="*/ 37990 h 38625"/>
                <a:gd name="connsiteX12" fmla="*/ 20331 w 33502"/>
                <a:gd name="connsiteY12" fmla="*/ 38625 h 38625"/>
                <a:gd name="connsiteX13" fmla="*/ 22364 w 33502"/>
                <a:gd name="connsiteY13" fmla="*/ 38625 h 38625"/>
                <a:gd name="connsiteX14" fmla="*/ 24524 w 33502"/>
                <a:gd name="connsiteY14" fmla="*/ 38625 h 38625"/>
                <a:gd name="connsiteX15" fmla="*/ 26431 w 33502"/>
                <a:gd name="connsiteY15" fmla="*/ 37990 h 38625"/>
                <a:gd name="connsiteX16" fmla="*/ 27574 w 33502"/>
                <a:gd name="connsiteY16" fmla="*/ 37990 h 38625"/>
                <a:gd name="connsiteX17" fmla="*/ 28591 w 33502"/>
                <a:gd name="connsiteY17" fmla="*/ 37990 h 38625"/>
                <a:gd name="connsiteX18" fmla="*/ 29607 w 33502"/>
                <a:gd name="connsiteY18" fmla="*/ 37101 h 38625"/>
                <a:gd name="connsiteX19" fmla="*/ 31259 w 33502"/>
                <a:gd name="connsiteY19" fmla="*/ 35449 h 38625"/>
                <a:gd name="connsiteX20" fmla="*/ 32530 w 33502"/>
                <a:gd name="connsiteY20" fmla="*/ 33543 h 38625"/>
                <a:gd name="connsiteX21" fmla="*/ 33419 w 33502"/>
                <a:gd name="connsiteY21" fmla="*/ 31510 h 38625"/>
                <a:gd name="connsiteX22" fmla="*/ 33419 w 33502"/>
                <a:gd name="connsiteY22" fmla="*/ 29096 h 38625"/>
                <a:gd name="connsiteX23" fmla="*/ 31894 w 33502"/>
                <a:gd name="connsiteY23" fmla="*/ 21473 h 38625"/>
                <a:gd name="connsiteX24" fmla="*/ 19188 w 33502"/>
                <a:gd name="connsiteY24" fmla="*/ 0 h 38625"/>
                <a:gd name="connsiteX25" fmla="*/ 16138 w 33502"/>
                <a:gd name="connsiteY25" fmla="*/ 16644 h 3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502" h="38625">
                  <a:moveTo>
                    <a:pt x="16138" y="16644"/>
                  </a:moveTo>
                  <a:cubicBezTo>
                    <a:pt x="14295" y="17889"/>
                    <a:pt x="12135" y="18550"/>
                    <a:pt x="9911" y="18550"/>
                  </a:cubicBezTo>
                  <a:cubicBezTo>
                    <a:pt x="5832" y="18525"/>
                    <a:pt x="2058" y="16352"/>
                    <a:pt x="0" y="12833"/>
                  </a:cubicBezTo>
                  <a:lnTo>
                    <a:pt x="3558" y="18677"/>
                  </a:lnTo>
                  <a:lnTo>
                    <a:pt x="7751" y="25538"/>
                  </a:lnTo>
                  <a:lnTo>
                    <a:pt x="7751" y="25538"/>
                  </a:lnTo>
                  <a:lnTo>
                    <a:pt x="11945" y="32526"/>
                  </a:lnTo>
                  <a:lnTo>
                    <a:pt x="12834" y="33924"/>
                  </a:lnTo>
                  <a:cubicBezTo>
                    <a:pt x="13203" y="34597"/>
                    <a:pt x="13673" y="35195"/>
                    <a:pt x="14232" y="35703"/>
                  </a:cubicBezTo>
                  <a:lnTo>
                    <a:pt x="14232" y="35703"/>
                  </a:lnTo>
                  <a:cubicBezTo>
                    <a:pt x="15197" y="36643"/>
                    <a:pt x="16316" y="37418"/>
                    <a:pt x="17536" y="37990"/>
                  </a:cubicBezTo>
                  <a:lnTo>
                    <a:pt x="18298" y="37990"/>
                  </a:lnTo>
                  <a:lnTo>
                    <a:pt x="20331" y="38625"/>
                  </a:lnTo>
                  <a:lnTo>
                    <a:pt x="22364" y="38625"/>
                  </a:lnTo>
                  <a:lnTo>
                    <a:pt x="24524" y="38625"/>
                  </a:lnTo>
                  <a:lnTo>
                    <a:pt x="26431" y="37990"/>
                  </a:lnTo>
                  <a:lnTo>
                    <a:pt x="27574" y="37990"/>
                  </a:lnTo>
                  <a:lnTo>
                    <a:pt x="28591" y="37990"/>
                  </a:lnTo>
                  <a:lnTo>
                    <a:pt x="29607" y="37101"/>
                  </a:lnTo>
                  <a:lnTo>
                    <a:pt x="31259" y="35449"/>
                  </a:lnTo>
                  <a:lnTo>
                    <a:pt x="32530" y="33543"/>
                  </a:lnTo>
                  <a:cubicBezTo>
                    <a:pt x="32886" y="32895"/>
                    <a:pt x="33178" y="32209"/>
                    <a:pt x="33419" y="31510"/>
                  </a:cubicBezTo>
                  <a:cubicBezTo>
                    <a:pt x="33470" y="30709"/>
                    <a:pt x="33470" y="29896"/>
                    <a:pt x="33419" y="29096"/>
                  </a:cubicBezTo>
                  <a:cubicBezTo>
                    <a:pt x="33724" y="26453"/>
                    <a:pt x="33190" y="23798"/>
                    <a:pt x="31894" y="21473"/>
                  </a:cubicBezTo>
                  <a:lnTo>
                    <a:pt x="19188" y="0"/>
                  </a:lnTo>
                  <a:cubicBezTo>
                    <a:pt x="22554" y="5514"/>
                    <a:pt x="21234" y="12680"/>
                    <a:pt x="16138" y="16644"/>
                  </a:cubicBezTo>
                  <a:close/>
                </a:path>
              </a:pathLst>
            </a:custGeom>
            <a:solidFill>
              <a:srgbClr val="000000"/>
            </a:solidFill>
            <a:ln w="12704"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236B3810-CFD7-4EE9-83D3-CB8474935A85}"/>
                </a:ext>
              </a:extLst>
            </p:cNvPr>
            <p:cNvSpPr/>
            <p:nvPr/>
          </p:nvSpPr>
          <p:spPr>
            <a:xfrm>
              <a:off x="7899921" y="2669446"/>
              <a:ext cx="85581" cy="42123"/>
            </a:xfrm>
            <a:custGeom>
              <a:avLst/>
              <a:gdLst>
                <a:gd name="connsiteX0" fmla="*/ 85581 w 85581"/>
                <a:gd name="connsiteY0" fmla="*/ 19126 h 42123"/>
                <a:gd name="connsiteX1" fmla="*/ 85581 w 85581"/>
                <a:gd name="connsiteY1" fmla="*/ 17982 h 42123"/>
                <a:gd name="connsiteX2" fmla="*/ 70079 w 85581"/>
                <a:gd name="connsiteY2" fmla="*/ 14044 h 42123"/>
                <a:gd name="connsiteX3" fmla="*/ 52924 w 85581"/>
                <a:gd name="connsiteY3" fmla="*/ 9851 h 42123"/>
                <a:gd name="connsiteX4" fmla="*/ 23317 w 85581"/>
                <a:gd name="connsiteY4" fmla="*/ 2481 h 42123"/>
                <a:gd name="connsiteX5" fmla="*/ 14295 w 85581"/>
                <a:gd name="connsiteY5" fmla="*/ 322 h 42123"/>
                <a:gd name="connsiteX6" fmla="*/ 216 w 85581"/>
                <a:gd name="connsiteY6" fmla="*/ 8987 h 42123"/>
                <a:gd name="connsiteX7" fmla="*/ 191 w 85581"/>
                <a:gd name="connsiteY7" fmla="*/ 9088 h 42123"/>
                <a:gd name="connsiteX8" fmla="*/ 191 w 85581"/>
                <a:gd name="connsiteY8" fmla="*/ 12900 h 42123"/>
                <a:gd name="connsiteX9" fmla="*/ 191 w 85581"/>
                <a:gd name="connsiteY9" fmla="*/ 15314 h 42123"/>
                <a:gd name="connsiteX10" fmla="*/ 953 w 85581"/>
                <a:gd name="connsiteY10" fmla="*/ 17347 h 42123"/>
                <a:gd name="connsiteX11" fmla="*/ 2224 w 85581"/>
                <a:gd name="connsiteY11" fmla="*/ 19253 h 42123"/>
                <a:gd name="connsiteX12" fmla="*/ 3749 w 85581"/>
                <a:gd name="connsiteY12" fmla="*/ 21032 h 42123"/>
                <a:gd name="connsiteX13" fmla="*/ 5527 w 85581"/>
                <a:gd name="connsiteY13" fmla="*/ 22175 h 42123"/>
                <a:gd name="connsiteX14" fmla="*/ 7688 w 85581"/>
                <a:gd name="connsiteY14" fmla="*/ 23192 h 42123"/>
                <a:gd name="connsiteX15" fmla="*/ 8577 w 85581"/>
                <a:gd name="connsiteY15" fmla="*/ 23192 h 42123"/>
                <a:gd name="connsiteX16" fmla="*/ 84819 w 85581"/>
                <a:gd name="connsiteY16" fmla="*/ 42123 h 42123"/>
                <a:gd name="connsiteX17" fmla="*/ 84819 w 85581"/>
                <a:gd name="connsiteY17" fmla="*/ 18618 h 4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581" h="42123">
                  <a:moveTo>
                    <a:pt x="85581" y="19126"/>
                  </a:moveTo>
                  <a:cubicBezTo>
                    <a:pt x="85581" y="19126"/>
                    <a:pt x="85581" y="18364"/>
                    <a:pt x="85581" y="17982"/>
                  </a:cubicBezTo>
                  <a:lnTo>
                    <a:pt x="70079" y="14044"/>
                  </a:lnTo>
                  <a:lnTo>
                    <a:pt x="52924" y="9851"/>
                  </a:lnTo>
                  <a:lnTo>
                    <a:pt x="23317" y="2481"/>
                  </a:lnTo>
                  <a:lnTo>
                    <a:pt x="14295" y="322"/>
                  </a:lnTo>
                  <a:cubicBezTo>
                    <a:pt x="8018" y="-1178"/>
                    <a:pt x="1716" y="2710"/>
                    <a:pt x="216" y="8987"/>
                  </a:cubicBezTo>
                  <a:cubicBezTo>
                    <a:pt x="203" y="9025"/>
                    <a:pt x="203" y="9050"/>
                    <a:pt x="191" y="9088"/>
                  </a:cubicBezTo>
                  <a:cubicBezTo>
                    <a:pt x="-64" y="10346"/>
                    <a:pt x="-64" y="11642"/>
                    <a:pt x="191" y="12900"/>
                  </a:cubicBezTo>
                  <a:cubicBezTo>
                    <a:pt x="64" y="13700"/>
                    <a:pt x="64" y="14514"/>
                    <a:pt x="191" y="15314"/>
                  </a:cubicBezTo>
                  <a:lnTo>
                    <a:pt x="953" y="17347"/>
                  </a:lnTo>
                  <a:cubicBezTo>
                    <a:pt x="1296" y="18033"/>
                    <a:pt x="1728" y="18668"/>
                    <a:pt x="2224" y="19253"/>
                  </a:cubicBezTo>
                  <a:cubicBezTo>
                    <a:pt x="2668" y="19901"/>
                    <a:pt x="3177" y="20498"/>
                    <a:pt x="3749" y="21032"/>
                  </a:cubicBezTo>
                  <a:lnTo>
                    <a:pt x="5527" y="22175"/>
                  </a:lnTo>
                  <a:lnTo>
                    <a:pt x="7688" y="23192"/>
                  </a:lnTo>
                  <a:lnTo>
                    <a:pt x="8577" y="23192"/>
                  </a:lnTo>
                  <a:lnTo>
                    <a:pt x="84819" y="42123"/>
                  </a:lnTo>
                  <a:lnTo>
                    <a:pt x="84819" y="18618"/>
                  </a:lnTo>
                  <a:close/>
                </a:path>
              </a:pathLst>
            </a:custGeom>
            <a:solidFill>
              <a:srgbClr val="000000"/>
            </a:solidFill>
            <a:ln w="12704"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3A6EB00D-774C-4010-AB99-6A976470A981}"/>
                </a:ext>
              </a:extLst>
            </p:cNvPr>
            <p:cNvSpPr/>
            <p:nvPr/>
          </p:nvSpPr>
          <p:spPr>
            <a:xfrm>
              <a:off x="9436032" y="2706614"/>
              <a:ext cx="5683" cy="7750"/>
            </a:xfrm>
            <a:custGeom>
              <a:avLst/>
              <a:gdLst>
                <a:gd name="connsiteX0" fmla="*/ 220 w 5683"/>
                <a:gd name="connsiteY0" fmla="*/ 7750 h 7750"/>
                <a:gd name="connsiteX1" fmla="*/ 4413 w 5683"/>
                <a:gd name="connsiteY1" fmla="*/ 7750 h 7750"/>
                <a:gd name="connsiteX2" fmla="*/ 5684 w 5683"/>
                <a:gd name="connsiteY2" fmla="*/ 3558 h 7750"/>
                <a:gd name="connsiteX3" fmla="*/ 1490 w 5683"/>
                <a:gd name="connsiteY3" fmla="*/ 0 h 7750"/>
                <a:gd name="connsiteX4" fmla="*/ 220 w 5683"/>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 h="7750">
                  <a:moveTo>
                    <a:pt x="220" y="7750"/>
                  </a:moveTo>
                  <a:lnTo>
                    <a:pt x="4413" y="7750"/>
                  </a:lnTo>
                  <a:cubicBezTo>
                    <a:pt x="4629" y="6302"/>
                    <a:pt x="5048" y="4879"/>
                    <a:pt x="5684" y="3558"/>
                  </a:cubicBezTo>
                  <a:lnTo>
                    <a:pt x="1490" y="0"/>
                  </a:lnTo>
                  <a:cubicBezTo>
                    <a:pt x="130" y="2338"/>
                    <a:pt x="-314" y="5095"/>
                    <a:pt x="220" y="7750"/>
                  </a:cubicBezTo>
                  <a:close/>
                </a:path>
              </a:pathLst>
            </a:custGeom>
            <a:solidFill>
              <a:srgbClr val="000000"/>
            </a:solidFill>
            <a:ln w="12704"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BF3CBC17-7AC6-41DD-9C6B-21048D46445E}"/>
                </a:ext>
              </a:extLst>
            </p:cNvPr>
            <p:cNvSpPr/>
            <p:nvPr/>
          </p:nvSpPr>
          <p:spPr>
            <a:xfrm>
              <a:off x="9441080" y="2702104"/>
              <a:ext cx="19568" cy="6416"/>
            </a:xfrm>
            <a:custGeom>
              <a:avLst/>
              <a:gdLst>
                <a:gd name="connsiteX0" fmla="*/ 18552 w 19568"/>
                <a:gd name="connsiteY0" fmla="*/ 4765 h 6416"/>
                <a:gd name="connsiteX1" fmla="*/ 18552 w 19568"/>
                <a:gd name="connsiteY1" fmla="*/ 4765 h 6416"/>
                <a:gd name="connsiteX2" fmla="*/ 14232 w 19568"/>
                <a:gd name="connsiteY2" fmla="*/ 1207 h 6416"/>
                <a:gd name="connsiteX3" fmla="*/ 13342 w 19568"/>
                <a:gd name="connsiteY3" fmla="*/ 1207 h 6416"/>
                <a:gd name="connsiteX4" fmla="*/ 13342 w 19568"/>
                <a:gd name="connsiteY4" fmla="*/ 1207 h 6416"/>
                <a:gd name="connsiteX5" fmla="*/ 11309 w 19568"/>
                <a:gd name="connsiteY5" fmla="*/ 191 h 6416"/>
                <a:gd name="connsiteX6" fmla="*/ 9657 w 19568"/>
                <a:gd name="connsiteY6" fmla="*/ 191 h 6416"/>
                <a:gd name="connsiteX7" fmla="*/ 9657 w 19568"/>
                <a:gd name="connsiteY7" fmla="*/ 191 h 6416"/>
                <a:gd name="connsiteX8" fmla="*/ 5464 w 19568"/>
                <a:gd name="connsiteY8" fmla="*/ 191 h 6416"/>
                <a:gd name="connsiteX9" fmla="*/ 0 w 19568"/>
                <a:gd name="connsiteY9" fmla="*/ 2986 h 6416"/>
                <a:gd name="connsiteX10" fmla="*/ 4321 w 19568"/>
                <a:gd name="connsiteY10" fmla="*/ 6416 h 6416"/>
                <a:gd name="connsiteX11" fmla="*/ 19568 w 19568"/>
                <a:gd name="connsiteY11" fmla="*/ 6416 h 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68" h="6416">
                  <a:moveTo>
                    <a:pt x="18552" y="4765"/>
                  </a:moveTo>
                  <a:cubicBezTo>
                    <a:pt x="18552" y="4765"/>
                    <a:pt x="18552" y="4765"/>
                    <a:pt x="18552" y="4765"/>
                  </a:cubicBezTo>
                  <a:lnTo>
                    <a:pt x="14232" y="1207"/>
                  </a:lnTo>
                  <a:lnTo>
                    <a:pt x="13342" y="1207"/>
                  </a:lnTo>
                  <a:lnTo>
                    <a:pt x="13342" y="1207"/>
                  </a:lnTo>
                  <a:lnTo>
                    <a:pt x="11309" y="191"/>
                  </a:lnTo>
                  <a:lnTo>
                    <a:pt x="9657" y="191"/>
                  </a:lnTo>
                  <a:lnTo>
                    <a:pt x="9657" y="191"/>
                  </a:lnTo>
                  <a:cubicBezTo>
                    <a:pt x="8272" y="-64"/>
                    <a:pt x="6849" y="-64"/>
                    <a:pt x="5464" y="191"/>
                  </a:cubicBezTo>
                  <a:cubicBezTo>
                    <a:pt x="3431" y="623"/>
                    <a:pt x="1537" y="1588"/>
                    <a:pt x="0" y="2986"/>
                  </a:cubicBezTo>
                  <a:lnTo>
                    <a:pt x="4321" y="6416"/>
                  </a:lnTo>
                  <a:cubicBezTo>
                    <a:pt x="8565" y="2287"/>
                    <a:pt x="15324" y="2287"/>
                    <a:pt x="19568" y="6416"/>
                  </a:cubicBezTo>
                  <a:close/>
                </a:path>
              </a:pathLst>
            </a:custGeom>
            <a:solidFill>
              <a:srgbClr val="000000"/>
            </a:solidFill>
            <a:ln w="12704"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564AC021-8D4C-45DE-8BB8-315CD48B4DE1}"/>
                </a:ext>
              </a:extLst>
            </p:cNvPr>
            <p:cNvSpPr/>
            <p:nvPr/>
          </p:nvSpPr>
          <p:spPr>
            <a:xfrm>
              <a:off x="9407921" y="2679802"/>
              <a:ext cx="35572" cy="29988"/>
            </a:xfrm>
            <a:custGeom>
              <a:avLst/>
              <a:gdLst>
                <a:gd name="connsiteX0" fmla="*/ 629 w 35572"/>
                <a:gd name="connsiteY0" fmla="*/ 257 h 29988"/>
                <a:gd name="connsiteX1" fmla="*/ 629 w 35572"/>
                <a:gd name="connsiteY1" fmla="*/ 3307 h 29988"/>
                <a:gd name="connsiteX2" fmla="*/ 629 w 35572"/>
                <a:gd name="connsiteY2" fmla="*/ 3307 h 29988"/>
                <a:gd name="connsiteX3" fmla="*/ 20833 w 35572"/>
                <a:gd name="connsiteY3" fmla="*/ 19951 h 29988"/>
                <a:gd name="connsiteX4" fmla="*/ 28711 w 35572"/>
                <a:gd name="connsiteY4" fmla="*/ 26431 h 29988"/>
                <a:gd name="connsiteX5" fmla="*/ 32904 w 35572"/>
                <a:gd name="connsiteY5" fmla="*/ 29988 h 29988"/>
                <a:gd name="connsiteX6" fmla="*/ 35573 w 35572"/>
                <a:gd name="connsiteY6" fmla="*/ 26558 h 29988"/>
                <a:gd name="connsiteX7" fmla="*/ 31252 w 35572"/>
                <a:gd name="connsiteY7" fmla="*/ 23127 h 29988"/>
                <a:gd name="connsiteX8" fmla="*/ 27440 w 35572"/>
                <a:gd name="connsiteY8" fmla="*/ 19951 h 29988"/>
                <a:gd name="connsiteX9" fmla="*/ 3424 w 35572"/>
                <a:gd name="connsiteY9" fmla="*/ 257 h 29988"/>
                <a:gd name="connsiteX10" fmla="*/ 2662 w 35572"/>
                <a:gd name="connsiteY10" fmla="*/ 257 h 29988"/>
                <a:gd name="connsiteX11" fmla="*/ 2662 w 35572"/>
                <a:gd name="connsiteY11" fmla="*/ 257 h 29988"/>
                <a:gd name="connsiteX12" fmla="*/ 629 w 35572"/>
                <a:gd name="connsiteY12" fmla="*/ 257 h 2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72" h="29988">
                  <a:moveTo>
                    <a:pt x="629" y="257"/>
                  </a:moveTo>
                  <a:cubicBezTo>
                    <a:pt x="-210" y="1096"/>
                    <a:pt x="-210" y="2468"/>
                    <a:pt x="629" y="3307"/>
                  </a:cubicBezTo>
                  <a:lnTo>
                    <a:pt x="629" y="3307"/>
                  </a:lnTo>
                  <a:lnTo>
                    <a:pt x="20833" y="19951"/>
                  </a:lnTo>
                  <a:lnTo>
                    <a:pt x="28711" y="26431"/>
                  </a:lnTo>
                  <a:lnTo>
                    <a:pt x="32904" y="29988"/>
                  </a:lnTo>
                  <a:cubicBezTo>
                    <a:pt x="33578" y="28693"/>
                    <a:pt x="34480" y="27524"/>
                    <a:pt x="35573" y="26558"/>
                  </a:cubicBezTo>
                  <a:lnTo>
                    <a:pt x="31252" y="23127"/>
                  </a:lnTo>
                  <a:lnTo>
                    <a:pt x="27440" y="19951"/>
                  </a:lnTo>
                  <a:lnTo>
                    <a:pt x="3424" y="257"/>
                  </a:lnTo>
                  <a:lnTo>
                    <a:pt x="2662" y="257"/>
                  </a:lnTo>
                  <a:cubicBezTo>
                    <a:pt x="2662" y="257"/>
                    <a:pt x="2662" y="257"/>
                    <a:pt x="2662" y="257"/>
                  </a:cubicBezTo>
                  <a:cubicBezTo>
                    <a:pt x="2026" y="-86"/>
                    <a:pt x="1264" y="-86"/>
                    <a:pt x="629" y="257"/>
                  </a:cubicBezTo>
                  <a:close/>
                </a:path>
              </a:pathLst>
            </a:custGeom>
            <a:solidFill>
              <a:srgbClr val="000000"/>
            </a:solidFill>
            <a:ln w="12704"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6B23E1E1-409E-4CBA-B1C5-8277E6725DE2}"/>
                </a:ext>
              </a:extLst>
            </p:cNvPr>
            <p:cNvSpPr/>
            <p:nvPr/>
          </p:nvSpPr>
          <p:spPr>
            <a:xfrm>
              <a:off x="9403594" y="2136892"/>
              <a:ext cx="54004" cy="74963"/>
            </a:xfrm>
            <a:custGeom>
              <a:avLst/>
              <a:gdLst>
                <a:gd name="connsiteX0" fmla="*/ 6481 w 54004"/>
                <a:gd name="connsiteY0" fmla="*/ 18804 h 74963"/>
                <a:gd name="connsiteX1" fmla="*/ 0 w 54004"/>
                <a:gd name="connsiteY1" fmla="*/ 18804 h 74963"/>
                <a:gd name="connsiteX2" fmla="*/ 4448 w 54004"/>
                <a:gd name="connsiteY2" fmla="*/ 26174 h 74963"/>
                <a:gd name="connsiteX3" fmla="*/ 8641 w 54004"/>
                <a:gd name="connsiteY3" fmla="*/ 33035 h 74963"/>
                <a:gd name="connsiteX4" fmla="*/ 34054 w 54004"/>
                <a:gd name="connsiteY4" fmla="*/ 74964 h 74963"/>
                <a:gd name="connsiteX5" fmla="*/ 34054 w 54004"/>
                <a:gd name="connsiteY5" fmla="*/ 74964 h 74963"/>
                <a:gd name="connsiteX6" fmla="*/ 37867 w 54004"/>
                <a:gd name="connsiteY6" fmla="*/ 58446 h 74963"/>
                <a:gd name="connsiteX7" fmla="*/ 53814 w 54004"/>
                <a:gd name="connsiteY7" fmla="*/ 62067 h 74963"/>
                <a:gd name="connsiteX8" fmla="*/ 54004 w 54004"/>
                <a:gd name="connsiteY8" fmla="*/ 62385 h 74963"/>
                <a:gd name="connsiteX9" fmla="*/ 54004 w 54004"/>
                <a:gd name="connsiteY9" fmla="*/ 62385 h 74963"/>
                <a:gd name="connsiteX10" fmla="*/ 49557 w 54004"/>
                <a:gd name="connsiteY10" fmla="*/ 55016 h 74963"/>
                <a:gd name="connsiteX11" fmla="*/ 16519 w 54004"/>
                <a:gd name="connsiteY11" fmla="*/ 1016 h 74963"/>
                <a:gd name="connsiteX12" fmla="*/ 15630 w 54004"/>
                <a:gd name="connsiteY12" fmla="*/ 0 h 74963"/>
                <a:gd name="connsiteX13" fmla="*/ 13990 w 54004"/>
                <a:gd name="connsiteY13" fmla="*/ 16632 h 74963"/>
                <a:gd name="connsiteX14" fmla="*/ 6481 w 54004"/>
                <a:gd name="connsiteY14" fmla="*/ 19313 h 7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004" h="74963">
                  <a:moveTo>
                    <a:pt x="6481" y="18804"/>
                  </a:moveTo>
                  <a:lnTo>
                    <a:pt x="0" y="18804"/>
                  </a:lnTo>
                  <a:lnTo>
                    <a:pt x="4448" y="26174"/>
                  </a:lnTo>
                  <a:lnTo>
                    <a:pt x="8641" y="33035"/>
                  </a:lnTo>
                  <a:lnTo>
                    <a:pt x="34054" y="74964"/>
                  </a:lnTo>
                  <a:lnTo>
                    <a:pt x="34054" y="74964"/>
                  </a:lnTo>
                  <a:cubicBezTo>
                    <a:pt x="30929" y="69297"/>
                    <a:pt x="32568" y="62181"/>
                    <a:pt x="37867" y="58446"/>
                  </a:cubicBezTo>
                  <a:cubicBezTo>
                    <a:pt x="43267" y="55041"/>
                    <a:pt x="50409" y="56667"/>
                    <a:pt x="53814" y="62067"/>
                  </a:cubicBezTo>
                  <a:cubicBezTo>
                    <a:pt x="53877" y="62169"/>
                    <a:pt x="53941" y="62283"/>
                    <a:pt x="54004" y="62385"/>
                  </a:cubicBezTo>
                  <a:lnTo>
                    <a:pt x="54004" y="62385"/>
                  </a:lnTo>
                  <a:lnTo>
                    <a:pt x="49557" y="55016"/>
                  </a:lnTo>
                  <a:lnTo>
                    <a:pt x="16519" y="1016"/>
                  </a:lnTo>
                  <a:lnTo>
                    <a:pt x="15630" y="0"/>
                  </a:lnTo>
                  <a:cubicBezTo>
                    <a:pt x="19772" y="5044"/>
                    <a:pt x="19035" y="12490"/>
                    <a:pt x="13990" y="16632"/>
                  </a:cubicBezTo>
                  <a:cubicBezTo>
                    <a:pt x="11869" y="18372"/>
                    <a:pt x="9225" y="19313"/>
                    <a:pt x="6481" y="19313"/>
                  </a:cubicBezTo>
                  <a:close/>
                </a:path>
              </a:pathLst>
            </a:custGeom>
            <a:solidFill>
              <a:srgbClr val="000000"/>
            </a:solidFill>
            <a:ln w="12704"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F37CE1A9-7BF1-4D75-8BDF-7764FCEFED46}"/>
                </a:ext>
              </a:extLst>
            </p:cNvPr>
            <p:cNvSpPr/>
            <p:nvPr/>
          </p:nvSpPr>
          <p:spPr>
            <a:xfrm>
              <a:off x="9436070" y="2193559"/>
              <a:ext cx="27429" cy="31256"/>
            </a:xfrm>
            <a:custGeom>
              <a:avLst/>
              <a:gdLst>
                <a:gd name="connsiteX0" fmla="*/ 5900 w 27429"/>
                <a:gd name="connsiteY0" fmla="*/ 25539 h 31256"/>
                <a:gd name="connsiteX1" fmla="*/ 15811 w 27429"/>
                <a:gd name="connsiteY1" fmla="*/ 31257 h 31256"/>
                <a:gd name="connsiteX2" fmla="*/ 22038 w 27429"/>
                <a:gd name="connsiteY2" fmla="*/ 29351 h 31256"/>
                <a:gd name="connsiteX3" fmla="*/ 25850 w 27429"/>
                <a:gd name="connsiteY3" fmla="*/ 12834 h 31256"/>
                <a:gd name="connsiteX4" fmla="*/ 25850 w 27429"/>
                <a:gd name="connsiteY4" fmla="*/ 12834 h 31256"/>
                <a:gd name="connsiteX5" fmla="*/ 21529 w 27429"/>
                <a:gd name="connsiteY5" fmla="*/ 5718 h 31256"/>
                <a:gd name="connsiteX6" fmla="*/ 5709 w 27429"/>
                <a:gd name="connsiteY6" fmla="*/ 1589 h 31256"/>
                <a:gd name="connsiteX7" fmla="*/ 5392 w 27429"/>
                <a:gd name="connsiteY7" fmla="*/ 1780 h 31256"/>
                <a:gd name="connsiteX8" fmla="*/ 1579 w 27429"/>
                <a:gd name="connsiteY8" fmla="*/ 18297 h 31256"/>
                <a:gd name="connsiteX9" fmla="*/ 1579 w 27429"/>
                <a:gd name="connsiteY9" fmla="*/ 18297 h 31256"/>
                <a:gd name="connsiteX10" fmla="*/ 5900 w 27429"/>
                <a:gd name="connsiteY10" fmla="*/ 25539 h 3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29" h="31256">
                  <a:moveTo>
                    <a:pt x="5900" y="25539"/>
                  </a:moveTo>
                  <a:cubicBezTo>
                    <a:pt x="7958" y="29059"/>
                    <a:pt x="11732" y="31231"/>
                    <a:pt x="15811" y="31257"/>
                  </a:cubicBezTo>
                  <a:cubicBezTo>
                    <a:pt x="18035" y="31257"/>
                    <a:pt x="20195" y="30596"/>
                    <a:pt x="22038" y="29351"/>
                  </a:cubicBezTo>
                  <a:cubicBezTo>
                    <a:pt x="27337" y="25615"/>
                    <a:pt x="28975" y="18500"/>
                    <a:pt x="25850" y="12834"/>
                  </a:cubicBezTo>
                  <a:lnTo>
                    <a:pt x="25850" y="12834"/>
                  </a:lnTo>
                  <a:lnTo>
                    <a:pt x="21529" y="5718"/>
                  </a:lnTo>
                  <a:cubicBezTo>
                    <a:pt x="18302" y="204"/>
                    <a:pt x="11211" y="-1638"/>
                    <a:pt x="5709" y="1589"/>
                  </a:cubicBezTo>
                  <a:cubicBezTo>
                    <a:pt x="5595" y="1653"/>
                    <a:pt x="5493" y="1716"/>
                    <a:pt x="5392" y="1780"/>
                  </a:cubicBezTo>
                  <a:cubicBezTo>
                    <a:pt x="92" y="5515"/>
                    <a:pt x="-1546" y="12630"/>
                    <a:pt x="1579" y="18297"/>
                  </a:cubicBezTo>
                  <a:lnTo>
                    <a:pt x="1579" y="18297"/>
                  </a:lnTo>
                  <a:lnTo>
                    <a:pt x="5900" y="25539"/>
                  </a:lnTo>
                  <a:close/>
                </a:path>
              </a:pathLst>
            </a:custGeom>
            <a:solidFill>
              <a:srgbClr val="000000"/>
            </a:solidFill>
            <a:ln w="12704"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A7D76C03-2D54-4175-8456-163127E7D833}"/>
                </a:ext>
              </a:extLst>
            </p:cNvPr>
            <p:cNvSpPr/>
            <p:nvPr/>
          </p:nvSpPr>
          <p:spPr>
            <a:xfrm>
              <a:off x="10702242" y="2248702"/>
              <a:ext cx="547159" cy="24013"/>
            </a:xfrm>
            <a:custGeom>
              <a:avLst/>
              <a:gdLst>
                <a:gd name="connsiteX0" fmla="*/ 0 w 547159"/>
                <a:gd name="connsiteY0" fmla="*/ 24014 h 24013"/>
                <a:gd name="connsiteX1" fmla="*/ 535470 w 547159"/>
                <a:gd name="connsiteY1" fmla="*/ 24014 h 24013"/>
                <a:gd name="connsiteX2" fmla="*/ 535470 w 547159"/>
                <a:gd name="connsiteY2" fmla="*/ 12070 h 24013"/>
                <a:gd name="connsiteX3" fmla="*/ 547160 w 547159"/>
                <a:gd name="connsiteY3" fmla="*/ 0 h 24013"/>
                <a:gd name="connsiteX4" fmla="*/ 0 w 547159"/>
                <a:gd name="connsiteY4" fmla="*/ 0 h 24013"/>
                <a:gd name="connsiteX5" fmla="*/ 0 w 547159"/>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159" h="24013">
                  <a:moveTo>
                    <a:pt x="0" y="24014"/>
                  </a:moveTo>
                  <a:lnTo>
                    <a:pt x="535470" y="24014"/>
                  </a:lnTo>
                  <a:lnTo>
                    <a:pt x="535470" y="12070"/>
                  </a:lnTo>
                  <a:cubicBezTo>
                    <a:pt x="535393" y="5527"/>
                    <a:pt x="540616" y="140"/>
                    <a:pt x="547160" y="0"/>
                  </a:cubicBezTo>
                  <a:lnTo>
                    <a:pt x="0" y="0"/>
                  </a:lnTo>
                  <a:lnTo>
                    <a:pt x="0" y="24014"/>
                  </a:lnTo>
                  <a:close/>
                </a:path>
              </a:pathLst>
            </a:custGeom>
            <a:solidFill>
              <a:srgbClr val="000000"/>
            </a:solidFill>
            <a:ln w="12704"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D1BC63BD-A10A-4BA9-BCB8-02760CC41E17}"/>
                </a:ext>
              </a:extLst>
            </p:cNvPr>
            <p:cNvSpPr/>
            <p:nvPr/>
          </p:nvSpPr>
          <p:spPr>
            <a:xfrm>
              <a:off x="11260711" y="3377728"/>
              <a:ext cx="733697" cy="11562"/>
            </a:xfrm>
            <a:custGeom>
              <a:avLst/>
              <a:gdLst>
                <a:gd name="connsiteX0" fmla="*/ 0 w 733697"/>
                <a:gd name="connsiteY0" fmla="*/ 0 h 11562"/>
                <a:gd name="connsiteX1" fmla="*/ 733698 w 733697"/>
                <a:gd name="connsiteY1" fmla="*/ 0 h 11562"/>
                <a:gd name="connsiteX2" fmla="*/ 733698 w 733697"/>
                <a:gd name="connsiteY2" fmla="*/ 11562 h 11562"/>
                <a:gd name="connsiteX3" fmla="*/ 0 w 733697"/>
                <a:gd name="connsiteY3" fmla="*/ 11562 h 11562"/>
              </a:gdLst>
              <a:ahLst/>
              <a:cxnLst>
                <a:cxn ang="0">
                  <a:pos x="connsiteX0" y="connsiteY0"/>
                </a:cxn>
                <a:cxn ang="0">
                  <a:pos x="connsiteX1" y="connsiteY1"/>
                </a:cxn>
                <a:cxn ang="0">
                  <a:pos x="connsiteX2" y="connsiteY2"/>
                </a:cxn>
                <a:cxn ang="0">
                  <a:pos x="connsiteX3" y="connsiteY3"/>
                </a:cxn>
              </a:cxnLst>
              <a:rect l="l" t="t" r="r" b="b"/>
              <a:pathLst>
                <a:path w="733697" h="11562">
                  <a:moveTo>
                    <a:pt x="0" y="0"/>
                  </a:moveTo>
                  <a:lnTo>
                    <a:pt x="733698" y="0"/>
                  </a:lnTo>
                  <a:lnTo>
                    <a:pt x="733698" y="11562"/>
                  </a:lnTo>
                  <a:lnTo>
                    <a:pt x="0" y="11562"/>
                  </a:lnTo>
                  <a:close/>
                </a:path>
              </a:pathLst>
            </a:custGeom>
            <a:solidFill>
              <a:srgbClr val="000000"/>
            </a:solidFill>
            <a:ln w="12704"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F566F1E8-3A42-49E7-A7C2-8AC0CA8C50AA}"/>
                </a:ext>
              </a:extLst>
            </p:cNvPr>
            <p:cNvSpPr/>
            <p:nvPr/>
          </p:nvSpPr>
          <p:spPr>
            <a:xfrm>
              <a:off x="11258170" y="3393610"/>
              <a:ext cx="736239" cy="8131"/>
            </a:xfrm>
            <a:custGeom>
              <a:avLst/>
              <a:gdLst>
                <a:gd name="connsiteX0" fmla="*/ 0 w 736239"/>
                <a:gd name="connsiteY0" fmla="*/ 8132 h 8131"/>
                <a:gd name="connsiteX1" fmla="*/ 736239 w 736239"/>
                <a:gd name="connsiteY1" fmla="*/ 8132 h 8131"/>
                <a:gd name="connsiteX2" fmla="*/ 736239 w 736239"/>
                <a:gd name="connsiteY2" fmla="*/ 0 h 8131"/>
                <a:gd name="connsiteX3" fmla="*/ 3177 w 736239"/>
                <a:gd name="connsiteY3" fmla="*/ 0 h 8131"/>
                <a:gd name="connsiteX4" fmla="*/ 3177 w 736239"/>
                <a:gd name="connsiteY4" fmla="*/ 1016 h 8131"/>
                <a:gd name="connsiteX5" fmla="*/ 0 w 736239"/>
                <a:gd name="connsiteY5" fmla="*/ 8132 h 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39" h="8131">
                  <a:moveTo>
                    <a:pt x="0" y="8132"/>
                  </a:moveTo>
                  <a:lnTo>
                    <a:pt x="736239" y="8132"/>
                  </a:lnTo>
                  <a:lnTo>
                    <a:pt x="736239" y="0"/>
                  </a:lnTo>
                  <a:lnTo>
                    <a:pt x="3177" y="0"/>
                  </a:lnTo>
                  <a:lnTo>
                    <a:pt x="3177" y="1016"/>
                  </a:lnTo>
                  <a:cubicBezTo>
                    <a:pt x="2974" y="3685"/>
                    <a:pt x="1855" y="6200"/>
                    <a:pt x="0" y="8132"/>
                  </a:cubicBezTo>
                  <a:close/>
                </a:path>
              </a:pathLst>
            </a:custGeom>
            <a:solidFill>
              <a:srgbClr val="000000"/>
            </a:solidFill>
            <a:ln w="12704"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E8ED4282-E423-4260-AFFA-96C2525A35B8}"/>
                </a:ext>
              </a:extLst>
            </p:cNvPr>
            <p:cNvSpPr/>
            <p:nvPr/>
          </p:nvSpPr>
          <p:spPr>
            <a:xfrm>
              <a:off x="11260838" y="3389290"/>
              <a:ext cx="733570" cy="4319"/>
            </a:xfrm>
            <a:custGeom>
              <a:avLst/>
              <a:gdLst>
                <a:gd name="connsiteX0" fmla="*/ 0 w 733570"/>
                <a:gd name="connsiteY0" fmla="*/ 3303 h 4319"/>
                <a:gd name="connsiteX1" fmla="*/ 0 w 733570"/>
                <a:gd name="connsiteY1" fmla="*/ 4320 h 4319"/>
                <a:gd name="connsiteX2" fmla="*/ 733570 w 733570"/>
                <a:gd name="connsiteY2" fmla="*/ 4320 h 4319"/>
                <a:gd name="connsiteX3" fmla="*/ 733570 w 733570"/>
                <a:gd name="connsiteY3" fmla="*/ 3303 h 4319"/>
                <a:gd name="connsiteX4" fmla="*/ 733570 w 733570"/>
                <a:gd name="connsiteY4" fmla="*/ 2160 h 4319"/>
                <a:gd name="connsiteX5" fmla="*/ 733570 w 733570"/>
                <a:gd name="connsiteY5" fmla="*/ 508 h 4319"/>
                <a:gd name="connsiteX6" fmla="*/ 733570 w 733570"/>
                <a:gd name="connsiteY6" fmla="*/ 0 h 4319"/>
                <a:gd name="connsiteX7" fmla="*/ 0 w 733570"/>
                <a:gd name="connsiteY7" fmla="*/ 0 h 4319"/>
                <a:gd name="connsiteX8" fmla="*/ 0 w 733570"/>
                <a:gd name="connsiteY8" fmla="*/ 508 h 4319"/>
                <a:gd name="connsiteX9" fmla="*/ 0 w 733570"/>
                <a:gd name="connsiteY9" fmla="*/ 2160 h 4319"/>
                <a:gd name="connsiteX10" fmla="*/ 0 w 733570"/>
                <a:gd name="connsiteY10" fmla="*/ 3303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3570" h="4319">
                  <a:moveTo>
                    <a:pt x="0" y="3303"/>
                  </a:moveTo>
                  <a:lnTo>
                    <a:pt x="0" y="4320"/>
                  </a:lnTo>
                  <a:lnTo>
                    <a:pt x="733570" y="4320"/>
                  </a:lnTo>
                  <a:lnTo>
                    <a:pt x="733570" y="3303"/>
                  </a:lnTo>
                  <a:lnTo>
                    <a:pt x="733570" y="2160"/>
                  </a:lnTo>
                  <a:lnTo>
                    <a:pt x="733570" y="508"/>
                  </a:lnTo>
                  <a:lnTo>
                    <a:pt x="733570" y="0"/>
                  </a:lnTo>
                  <a:lnTo>
                    <a:pt x="0" y="0"/>
                  </a:lnTo>
                  <a:lnTo>
                    <a:pt x="0" y="508"/>
                  </a:lnTo>
                  <a:lnTo>
                    <a:pt x="0" y="2160"/>
                  </a:lnTo>
                  <a:lnTo>
                    <a:pt x="0" y="3303"/>
                  </a:lnTo>
                  <a:close/>
                </a:path>
              </a:pathLst>
            </a:custGeom>
            <a:solidFill>
              <a:srgbClr val="000000"/>
            </a:solidFill>
            <a:ln w="12704"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6BD6DD4A-C2A8-4C9E-B974-9684641504D5}"/>
                </a:ext>
              </a:extLst>
            </p:cNvPr>
            <p:cNvSpPr/>
            <p:nvPr/>
          </p:nvSpPr>
          <p:spPr>
            <a:xfrm>
              <a:off x="9082872" y="2536740"/>
              <a:ext cx="26684" cy="27571"/>
            </a:xfrm>
            <a:custGeom>
              <a:avLst/>
              <a:gdLst>
                <a:gd name="connsiteX0" fmla="*/ 0 w 26684"/>
                <a:gd name="connsiteY0" fmla="*/ 18042 h 27571"/>
                <a:gd name="connsiteX1" fmla="*/ 0 w 26684"/>
                <a:gd name="connsiteY1" fmla="*/ 22362 h 27571"/>
                <a:gd name="connsiteX2" fmla="*/ 7624 w 26684"/>
                <a:gd name="connsiteY2" fmla="*/ 27571 h 27571"/>
                <a:gd name="connsiteX3" fmla="*/ 7624 w 26684"/>
                <a:gd name="connsiteY3" fmla="*/ 21091 h 27571"/>
                <a:gd name="connsiteX4" fmla="*/ 19442 w 26684"/>
                <a:gd name="connsiteY4" fmla="*/ 9148 h 27571"/>
                <a:gd name="connsiteX5" fmla="*/ 26685 w 26684"/>
                <a:gd name="connsiteY5" fmla="*/ 11943 h 27571"/>
                <a:gd name="connsiteX6" fmla="*/ 25922 w 26684"/>
                <a:gd name="connsiteY6" fmla="*/ 11181 h 27571"/>
                <a:gd name="connsiteX7" fmla="*/ 9657 w 26684"/>
                <a:gd name="connsiteY7" fmla="*/ 0 h 27571"/>
                <a:gd name="connsiteX8" fmla="*/ 9657 w 26684"/>
                <a:gd name="connsiteY8" fmla="*/ 6353 h 27571"/>
                <a:gd name="connsiteX9" fmla="*/ 0 w 26684"/>
                <a:gd name="connsiteY9" fmla="*/ 18042 h 2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84" h="27571">
                  <a:moveTo>
                    <a:pt x="0" y="18042"/>
                  </a:moveTo>
                  <a:lnTo>
                    <a:pt x="0" y="22362"/>
                  </a:lnTo>
                  <a:lnTo>
                    <a:pt x="7624" y="27571"/>
                  </a:lnTo>
                  <a:lnTo>
                    <a:pt x="7624" y="21091"/>
                  </a:lnTo>
                  <a:cubicBezTo>
                    <a:pt x="7624" y="14548"/>
                    <a:pt x="12898" y="9212"/>
                    <a:pt x="19442" y="9148"/>
                  </a:cubicBezTo>
                  <a:cubicBezTo>
                    <a:pt x="22110" y="9212"/>
                    <a:pt x="24664" y="10190"/>
                    <a:pt x="26685" y="11943"/>
                  </a:cubicBezTo>
                  <a:cubicBezTo>
                    <a:pt x="26685" y="11943"/>
                    <a:pt x="26685" y="11308"/>
                    <a:pt x="25922" y="11181"/>
                  </a:cubicBezTo>
                  <a:lnTo>
                    <a:pt x="9657" y="0"/>
                  </a:lnTo>
                  <a:lnTo>
                    <a:pt x="9657" y="6353"/>
                  </a:lnTo>
                  <a:cubicBezTo>
                    <a:pt x="9645" y="12058"/>
                    <a:pt x="5591" y="16949"/>
                    <a:pt x="0" y="18042"/>
                  </a:cubicBezTo>
                  <a:close/>
                </a:path>
              </a:pathLst>
            </a:custGeom>
            <a:solidFill>
              <a:srgbClr val="000000"/>
            </a:solidFill>
            <a:ln w="12704"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212B7F29-4810-490F-9868-B1C10BD97E6A}"/>
                </a:ext>
              </a:extLst>
            </p:cNvPr>
            <p:cNvSpPr/>
            <p:nvPr/>
          </p:nvSpPr>
          <p:spPr>
            <a:xfrm>
              <a:off x="9073469" y="2552368"/>
              <a:ext cx="5209" cy="3811"/>
            </a:xfrm>
            <a:custGeom>
              <a:avLst/>
              <a:gdLst>
                <a:gd name="connsiteX0" fmla="*/ 5210 w 5209"/>
                <a:gd name="connsiteY0" fmla="*/ 3812 h 3811"/>
                <a:gd name="connsiteX1" fmla="*/ 5210 w 5209"/>
                <a:gd name="connsiteY1" fmla="*/ 2414 h 3811"/>
                <a:gd name="connsiteX2" fmla="*/ 0 w 5209"/>
                <a:gd name="connsiteY2" fmla="*/ 0 h 3811"/>
                <a:gd name="connsiteX3" fmla="*/ 762 w 5209"/>
                <a:gd name="connsiteY3" fmla="*/ 762 h 3811"/>
              </a:gdLst>
              <a:ahLst/>
              <a:cxnLst>
                <a:cxn ang="0">
                  <a:pos x="connsiteX0" y="connsiteY0"/>
                </a:cxn>
                <a:cxn ang="0">
                  <a:pos x="connsiteX1" y="connsiteY1"/>
                </a:cxn>
                <a:cxn ang="0">
                  <a:pos x="connsiteX2" y="connsiteY2"/>
                </a:cxn>
                <a:cxn ang="0">
                  <a:pos x="connsiteX3" y="connsiteY3"/>
                </a:cxn>
              </a:cxnLst>
              <a:rect l="l" t="t" r="r" b="b"/>
              <a:pathLst>
                <a:path w="5209" h="3811">
                  <a:moveTo>
                    <a:pt x="5210" y="3812"/>
                  </a:moveTo>
                  <a:lnTo>
                    <a:pt x="5210" y="2414"/>
                  </a:lnTo>
                  <a:cubicBezTo>
                    <a:pt x="3316" y="2020"/>
                    <a:pt x="1525" y="1194"/>
                    <a:pt x="0" y="0"/>
                  </a:cubicBezTo>
                  <a:lnTo>
                    <a:pt x="762" y="762"/>
                  </a:lnTo>
                  <a:close/>
                </a:path>
              </a:pathLst>
            </a:custGeom>
            <a:solidFill>
              <a:srgbClr val="000000"/>
            </a:solidFill>
            <a:ln w="12704"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5E27E405-0543-4FDD-BE16-0BE88D7D035B}"/>
                </a:ext>
              </a:extLst>
            </p:cNvPr>
            <p:cNvSpPr/>
            <p:nvPr/>
          </p:nvSpPr>
          <p:spPr>
            <a:xfrm>
              <a:off x="9071563" y="2550208"/>
              <a:ext cx="12706" cy="12705"/>
            </a:xfrm>
            <a:custGeom>
              <a:avLst/>
              <a:gdLst>
                <a:gd name="connsiteX0" fmla="*/ 0 w 12706"/>
                <a:gd name="connsiteY0" fmla="*/ 0 h 12705"/>
                <a:gd name="connsiteX1" fmla="*/ 0 w 12706"/>
                <a:gd name="connsiteY1" fmla="*/ 0 h 12705"/>
                <a:gd name="connsiteX2" fmla="*/ 0 w 12706"/>
                <a:gd name="connsiteY2" fmla="*/ 0 h 12705"/>
              </a:gdLst>
              <a:ahLst/>
              <a:cxnLst>
                <a:cxn ang="0">
                  <a:pos x="connsiteX0" y="connsiteY0"/>
                </a:cxn>
                <a:cxn ang="0">
                  <a:pos x="connsiteX1" y="connsiteY1"/>
                </a:cxn>
                <a:cxn ang="0">
                  <a:pos x="connsiteX2" y="connsiteY2"/>
                </a:cxn>
              </a:cxnLst>
              <a:rect l="l" t="t" r="r" b="b"/>
              <a:pathLst>
                <a:path w="12706" h="12705">
                  <a:moveTo>
                    <a:pt x="0" y="0"/>
                  </a:moveTo>
                  <a:lnTo>
                    <a:pt x="0" y="0"/>
                  </a:lnTo>
                  <a:lnTo>
                    <a:pt x="0" y="0"/>
                  </a:lnTo>
                  <a:close/>
                </a:path>
              </a:pathLst>
            </a:custGeom>
            <a:solidFill>
              <a:srgbClr val="000000"/>
            </a:solidFill>
            <a:ln w="12704"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09AC66BB-02B7-42C2-86BB-CAB28FB54998}"/>
                </a:ext>
              </a:extLst>
            </p:cNvPr>
            <p:cNvSpPr/>
            <p:nvPr/>
          </p:nvSpPr>
          <p:spPr>
            <a:xfrm>
              <a:off x="5420356" y="5682789"/>
              <a:ext cx="158074" cy="91734"/>
            </a:xfrm>
            <a:custGeom>
              <a:avLst/>
              <a:gdLst>
                <a:gd name="connsiteX0" fmla="*/ 0 w 158074"/>
                <a:gd name="connsiteY0" fmla="*/ 90973 h 91734"/>
                <a:gd name="connsiteX1" fmla="*/ 0 w 158074"/>
                <a:gd name="connsiteY1" fmla="*/ 91735 h 91734"/>
                <a:gd name="connsiteX2" fmla="*/ 0 w 158074"/>
                <a:gd name="connsiteY2" fmla="*/ 91735 h 91734"/>
                <a:gd name="connsiteX3" fmla="*/ 158074 w 158074"/>
                <a:gd name="connsiteY3" fmla="*/ 4447 h 91734"/>
                <a:gd name="connsiteX4" fmla="*/ 158074 w 158074"/>
                <a:gd name="connsiteY4" fmla="*/ 0 h 91734"/>
                <a:gd name="connsiteX5" fmla="*/ 1017 w 158074"/>
                <a:gd name="connsiteY5" fmla="*/ 86653 h 91734"/>
                <a:gd name="connsiteX6" fmla="*/ 1017 w 158074"/>
                <a:gd name="connsiteY6" fmla="*/ 90464 h 9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74" h="91734">
                  <a:moveTo>
                    <a:pt x="0" y="90973"/>
                  </a:moveTo>
                  <a:cubicBezTo>
                    <a:pt x="76" y="91227"/>
                    <a:pt x="76" y="91481"/>
                    <a:pt x="0" y="91735"/>
                  </a:cubicBezTo>
                  <a:lnTo>
                    <a:pt x="0" y="91735"/>
                  </a:lnTo>
                  <a:lnTo>
                    <a:pt x="158074" y="4447"/>
                  </a:lnTo>
                  <a:lnTo>
                    <a:pt x="158074" y="0"/>
                  </a:lnTo>
                  <a:lnTo>
                    <a:pt x="1017" y="86653"/>
                  </a:lnTo>
                  <a:lnTo>
                    <a:pt x="1017" y="90464"/>
                  </a:lnTo>
                  <a:close/>
                </a:path>
              </a:pathLst>
            </a:custGeom>
            <a:solidFill>
              <a:srgbClr val="000000"/>
            </a:solidFill>
            <a:ln w="12704"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B06DA6DD-B47D-4BFB-99D1-798E508E79EC}"/>
                </a:ext>
              </a:extLst>
            </p:cNvPr>
            <p:cNvSpPr/>
            <p:nvPr/>
          </p:nvSpPr>
          <p:spPr>
            <a:xfrm>
              <a:off x="5182737" y="5384968"/>
              <a:ext cx="1143" cy="762"/>
            </a:xfrm>
            <a:custGeom>
              <a:avLst/>
              <a:gdLst>
                <a:gd name="connsiteX0" fmla="*/ 1144 w 1143"/>
                <a:gd name="connsiteY0" fmla="*/ 0 h 762"/>
                <a:gd name="connsiteX1" fmla="*/ 0 w 1143"/>
                <a:gd name="connsiteY1" fmla="*/ 762 h 762"/>
                <a:gd name="connsiteX2" fmla="*/ 0 w 1143"/>
                <a:gd name="connsiteY2" fmla="*/ 762 h 762"/>
                <a:gd name="connsiteX3" fmla="*/ 1144 w 1143"/>
                <a:gd name="connsiteY3" fmla="*/ 0 h 762"/>
              </a:gdLst>
              <a:ahLst/>
              <a:cxnLst>
                <a:cxn ang="0">
                  <a:pos x="connsiteX0" y="connsiteY0"/>
                </a:cxn>
                <a:cxn ang="0">
                  <a:pos x="connsiteX1" y="connsiteY1"/>
                </a:cxn>
                <a:cxn ang="0">
                  <a:pos x="connsiteX2" y="connsiteY2"/>
                </a:cxn>
                <a:cxn ang="0">
                  <a:pos x="connsiteX3" y="connsiteY3"/>
                </a:cxn>
              </a:cxnLst>
              <a:rect l="l" t="t" r="r" b="b"/>
              <a:pathLst>
                <a:path w="1143" h="762">
                  <a:moveTo>
                    <a:pt x="1144" y="0"/>
                  </a:moveTo>
                  <a:lnTo>
                    <a:pt x="0" y="762"/>
                  </a:lnTo>
                  <a:lnTo>
                    <a:pt x="0" y="762"/>
                  </a:lnTo>
                  <a:cubicBezTo>
                    <a:pt x="0" y="762"/>
                    <a:pt x="762" y="254"/>
                    <a:pt x="1144" y="0"/>
                  </a:cubicBezTo>
                  <a:close/>
                </a:path>
              </a:pathLst>
            </a:custGeom>
            <a:solidFill>
              <a:srgbClr val="000000"/>
            </a:solidFill>
            <a:ln w="12704"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CA3DFD61-AC66-46C7-B934-808A5E49422A}"/>
                </a:ext>
              </a:extLst>
            </p:cNvPr>
            <p:cNvSpPr/>
            <p:nvPr/>
          </p:nvSpPr>
          <p:spPr>
            <a:xfrm>
              <a:off x="5189471" y="5377091"/>
              <a:ext cx="47" cy="2159"/>
            </a:xfrm>
            <a:custGeom>
              <a:avLst/>
              <a:gdLst>
                <a:gd name="connsiteX0" fmla="*/ 0 w 47"/>
                <a:gd name="connsiteY0" fmla="*/ 0 h 2159"/>
                <a:gd name="connsiteX1" fmla="*/ 0 w 47"/>
                <a:gd name="connsiteY1" fmla="*/ 2160 h 2159"/>
                <a:gd name="connsiteX2" fmla="*/ 0 w 47"/>
                <a:gd name="connsiteY2" fmla="*/ 0 h 2159"/>
              </a:gdLst>
              <a:ahLst/>
              <a:cxnLst>
                <a:cxn ang="0">
                  <a:pos x="connsiteX0" y="connsiteY0"/>
                </a:cxn>
                <a:cxn ang="0">
                  <a:pos x="connsiteX1" y="connsiteY1"/>
                </a:cxn>
                <a:cxn ang="0">
                  <a:pos x="connsiteX2" y="connsiteY2"/>
                </a:cxn>
              </a:cxnLst>
              <a:rect l="l" t="t" r="r" b="b"/>
              <a:pathLst>
                <a:path w="47" h="2159">
                  <a:moveTo>
                    <a:pt x="0" y="0"/>
                  </a:moveTo>
                  <a:cubicBezTo>
                    <a:pt x="63" y="724"/>
                    <a:pt x="63" y="1436"/>
                    <a:pt x="0" y="2160"/>
                  </a:cubicBezTo>
                  <a:cubicBezTo>
                    <a:pt x="51" y="1436"/>
                    <a:pt x="51" y="724"/>
                    <a:pt x="0" y="0"/>
                  </a:cubicBezTo>
                  <a:close/>
                </a:path>
              </a:pathLst>
            </a:custGeom>
            <a:solidFill>
              <a:srgbClr val="000000"/>
            </a:solidFill>
            <a:ln w="12704"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7AAC4D76-CE0A-432C-A218-D09499676BF1}"/>
                </a:ext>
              </a:extLst>
            </p:cNvPr>
            <p:cNvSpPr/>
            <p:nvPr/>
          </p:nvSpPr>
          <p:spPr>
            <a:xfrm>
              <a:off x="2862027" y="5366799"/>
              <a:ext cx="2320455" cy="1040974"/>
            </a:xfrm>
            <a:custGeom>
              <a:avLst/>
              <a:gdLst>
                <a:gd name="connsiteX0" fmla="*/ 11735 w 2320455"/>
                <a:gd name="connsiteY0" fmla="*/ 1040975 h 1040974"/>
                <a:gd name="connsiteX1" fmla="*/ 16437 w 2320455"/>
                <a:gd name="connsiteY1" fmla="*/ 1039959 h 1040974"/>
                <a:gd name="connsiteX2" fmla="*/ 23552 w 2320455"/>
                <a:gd name="connsiteY2" fmla="*/ 1036782 h 1040974"/>
                <a:gd name="connsiteX3" fmla="*/ 36259 w 2320455"/>
                <a:gd name="connsiteY3" fmla="*/ 1031065 h 1040974"/>
                <a:gd name="connsiteX4" fmla="*/ 45917 w 2320455"/>
                <a:gd name="connsiteY4" fmla="*/ 1026745 h 1040974"/>
                <a:gd name="connsiteX5" fmla="*/ 2320456 w 2320455"/>
                <a:gd name="connsiteY5" fmla="*/ 18931 h 1040974"/>
                <a:gd name="connsiteX6" fmla="*/ 2315881 w 2320455"/>
                <a:gd name="connsiteY6" fmla="*/ 19948 h 1040974"/>
                <a:gd name="connsiteX7" fmla="*/ 2304191 w 2320455"/>
                <a:gd name="connsiteY7" fmla="*/ 7877 h 1040974"/>
                <a:gd name="connsiteX8" fmla="*/ 2304191 w 2320455"/>
                <a:gd name="connsiteY8" fmla="*/ 0 h 1040974"/>
                <a:gd name="connsiteX9" fmla="*/ 7161 w 2320455"/>
                <a:gd name="connsiteY9" fmla="*/ 1017851 h 1040974"/>
                <a:gd name="connsiteX10" fmla="*/ 7161 w 2320455"/>
                <a:gd name="connsiteY10" fmla="*/ 1017851 h 1040974"/>
                <a:gd name="connsiteX11" fmla="*/ 6017 w 2320455"/>
                <a:gd name="connsiteY11" fmla="*/ 1018613 h 1040974"/>
                <a:gd name="connsiteX12" fmla="*/ 3348 w 2320455"/>
                <a:gd name="connsiteY12" fmla="*/ 1020519 h 1040974"/>
                <a:gd name="connsiteX13" fmla="*/ 2078 w 2320455"/>
                <a:gd name="connsiteY13" fmla="*/ 1022425 h 1040974"/>
                <a:gd name="connsiteX14" fmla="*/ 934 w 2320455"/>
                <a:gd name="connsiteY14" fmla="*/ 1024331 h 1040974"/>
                <a:gd name="connsiteX15" fmla="*/ 45 w 2320455"/>
                <a:gd name="connsiteY15" fmla="*/ 1027507 h 1040974"/>
                <a:gd name="connsiteX16" fmla="*/ 45 w 2320455"/>
                <a:gd name="connsiteY16" fmla="*/ 1028650 h 1040974"/>
                <a:gd name="connsiteX17" fmla="*/ 45 w 2320455"/>
                <a:gd name="connsiteY17" fmla="*/ 1028650 h 1040974"/>
                <a:gd name="connsiteX18" fmla="*/ 1061 w 2320455"/>
                <a:gd name="connsiteY18" fmla="*/ 1033352 h 1040974"/>
                <a:gd name="connsiteX19" fmla="*/ 11735 w 2320455"/>
                <a:gd name="connsiteY19" fmla="*/ 1040975 h 104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20455" h="1040974">
                  <a:moveTo>
                    <a:pt x="11735" y="1040975"/>
                  </a:moveTo>
                  <a:cubicBezTo>
                    <a:pt x="13353" y="1040937"/>
                    <a:pt x="14948" y="1040594"/>
                    <a:pt x="16437" y="1039959"/>
                  </a:cubicBezTo>
                  <a:lnTo>
                    <a:pt x="23552" y="1036782"/>
                  </a:lnTo>
                  <a:lnTo>
                    <a:pt x="36259" y="1031065"/>
                  </a:lnTo>
                  <a:lnTo>
                    <a:pt x="45917" y="1026745"/>
                  </a:lnTo>
                  <a:lnTo>
                    <a:pt x="2320456" y="18931"/>
                  </a:lnTo>
                  <a:cubicBezTo>
                    <a:pt x="2319020" y="19592"/>
                    <a:pt x="2317457" y="19948"/>
                    <a:pt x="2315881" y="19948"/>
                  </a:cubicBezTo>
                  <a:cubicBezTo>
                    <a:pt x="2309337" y="19808"/>
                    <a:pt x="2304115" y="14421"/>
                    <a:pt x="2304191" y="7877"/>
                  </a:cubicBezTo>
                  <a:lnTo>
                    <a:pt x="2304191" y="0"/>
                  </a:lnTo>
                  <a:lnTo>
                    <a:pt x="7161" y="1017851"/>
                  </a:lnTo>
                  <a:lnTo>
                    <a:pt x="7161" y="1017851"/>
                  </a:lnTo>
                  <a:lnTo>
                    <a:pt x="6017" y="1018613"/>
                  </a:lnTo>
                  <a:cubicBezTo>
                    <a:pt x="5077" y="1019172"/>
                    <a:pt x="4185" y="1019808"/>
                    <a:pt x="3348" y="1020519"/>
                  </a:cubicBezTo>
                  <a:lnTo>
                    <a:pt x="2078" y="1022425"/>
                  </a:lnTo>
                  <a:cubicBezTo>
                    <a:pt x="1650" y="1023035"/>
                    <a:pt x="1268" y="1023670"/>
                    <a:pt x="934" y="1024331"/>
                  </a:cubicBezTo>
                  <a:cubicBezTo>
                    <a:pt x="529" y="1025360"/>
                    <a:pt x="231" y="1026414"/>
                    <a:pt x="45" y="1027507"/>
                  </a:cubicBezTo>
                  <a:cubicBezTo>
                    <a:pt x="-15" y="1027888"/>
                    <a:pt x="-15" y="1028269"/>
                    <a:pt x="45" y="1028650"/>
                  </a:cubicBezTo>
                  <a:lnTo>
                    <a:pt x="45" y="1028650"/>
                  </a:lnTo>
                  <a:cubicBezTo>
                    <a:pt x="81" y="1030264"/>
                    <a:pt x="426" y="1031865"/>
                    <a:pt x="1061" y="1033352"/>
                  </a:cubicBezTo>
                  <a:cubicBezTo>
                    <a:pt x="2753" y="1037811"/>
                    <a:pt x="6964" y="1040823"/>
                    <a:pt x="11735" y="1040975"/>
                  </a:cubicBezTo>
                  <a:close/>
                </a:path>
              </a:pathLst>
            </a:custGeom>
            <a:solidFill>
              <a:srgbClr val="000000"/>
            </a:solidFill>
            <a:ln w="12704"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FAAF5F9A-0CBF-4C8F-90BD-8E419AE3B9ED}"/>
                </a:ext>
              </a:extLst>
            </p:cNvPr>
            <p:cNvSpPr/>
            <p:nvPr/>
          </p:nvSpPr>
          <p:spPr>
            <a:xfrm>
              <a:off x="3365393" y="5381284"/>
              <a:ext cx="2050896" cy="954576"/>
            </a:xfrm>
            <a:custGeom>
              <a:avLst/>
              <a:gdLst>
                <a:gd name="connsiteX0" fmla="*/ 2050897 w 2050896"/>
                <a:gd name="connsiteY0" fmla="*/ 1398 h 954576"/>
                <a:gd name="connsiteX1" fmla="*/ 2050897 w 2050896"/>
                <a:gd name="connsiteY1" fmla="*/ 127 h 954576"/>
                <a:gd name="connsiteX2" fmla="*/ 2043781 w 2050896"/>
                <a:gd name="connsiteY2" fmla="*/ 0 h 954576"/>
                <a:gd name="connsiteX3" fmla="*/ 0 w 2050896"/>
                <a:gd name="connsiteY3" fmla="*/ 954577 h 954576"/>
                <a:gd name="connsiteX4" fmla="*/ 10038 w 2050896"/>
                <a:gd name="connsiteY4" fmla="*/ 954577 h 954576"/>
                <a:gd name="connsiteX5" fmla="*/ 2050897 w 2050896"/>
                <a:gd name="connsiteY5" fmla="*/ 1398 h 95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0896" h="954576">
                  <a:moveTo>
                    <a:pt x="2050897" y="1398"/>
                  </a:moveTo>
                  <a:lnTo>
                    <a:pt x="2050897" y="127"/>
                  </a:lnTo>
                  <a:lnTo>
                    <a:pt x="2043781" y="0"/>
                  </a:lnTo>
                  <a:lnTo>
                    <a:pt x="0" y="954577"/>
                  </a:lnTo>
                  <a:lnTo>
                    <a:pt x="10038" y="954577"/>
                  </a:lnTo>
                  <a:lnTo>
                    <a:pt x="2050897" y="1398"/>
                  </a:lnTo>
                  <a:close/>
                </a:path>
              </a:pathLst>
            </a:custGeom>
            <a:solidFill>
              <a:srgbClr val="000000"/>
            </a:solidFill>
            <a:ln w="12704"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8426C203-52B7-4CC5-A054-98D754811C83}"/>
                </a:ext>
              </a:extLst>
            </p:cNvPr>
            <p:cNvSpPr/>
            <p:nvPr/>
          </p:nvSpPr>
          <p:spPr>
            <a:xfrm>
              <a:off x="5189725" y="5373406"/>
              <a:ext cx="226437" cy="7877"/>
            </a:xfrm>
            <a:custGeom>
              <a:avLst/>
              <a:gdLst>
                <a:gd name="connsiteX0" fmla="*/ 219449 w 226437"/>
                <a:gd name="connsiteY0" fmla="*/ 7877 h 7877"/>
                <a:gd name="connsiteX1" fmla="*/ 226437 w 226437"/>
                <a:gd name="connsiteY1" fmla="*/ 7877 h 7877"/>
                <a:gd name="connsiteX2" fmla="*/ 226437 w 226437"/>
                <a:gd name="connsiteY2" fmla="*/ 4447 h 7877"/>
                <a:gd name="connsiteX3" fmla="*/ 0 w 226437"/>
                <a:gd name="connsiteY3" fmla="*/ 0 h 7877"/>
                <a:gd name="connsiteX4" fmla="*/ 0 w 226437"/>
                <a:gd name="connsiteY4" fmla="*/ 1906 h 7877"/>
                <a:gd name="connsiteX5" fmla="*/ 0 w 226437"/>
                <a:gd name="connsiteY5" fmla="*/ 4320 h 7877"/>
                <a:gd name="connsiteX6" fmla="*/ 0 w 226437"/>
                <a:gd name="connsiteY6" fmla="*/ 4320 h 7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37" h="7877">
                  <a:moveTo>
                    <a:pt x="219449" y="7877"/>
                  </a:moveTo>
                  <a:lnTo>
                    <a:pt x="226437" y="7877"/>
                  </a:lnTo>
                  <a:lnTo>
                    <a:pt x="226437" y="4447"/>
                  </a:lnTo>
                  <a:lnTo>
                    <a:pt x="0" y="0"/>
                  </a:lnTo>
                  <a:lnTo>
                    <a:pt x="0" y="1906"/>
                  </a:lnTo>
                  <a:cubicBezTo>
                    <a:pt x="64" y="2706"/>
                    <a:pt x="64" y="3520"/>
                    <a:pt x="0" y="4320"/>
                  </a:cubicBezTo>
                  <a:lnTo>
                    <a:pt x="0" y="4320"/>
                  </a:lnTo>
                  <a:close/>
                </a:path>
              </a:pathLst>
            </a:custGeom>
            <a:solidFill>
              <a:srgbClr val="000000"/>
            </a:solidFill>
            <a:ln w="12704"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5CB5D2D3-8B89-45AA-A3F9-79FB53D6572B}"/>
                </a:ext>
              </a:extLst>
            </p:cNvPr>
            <p:cNvSpPr/>
            <p:nvPr/>
          </p:nvSpPr>
          <p:spPr>
            <a:xfrm>
              <a:off x="5415908" y="5379378"/>
              <a:ext cx="4336" cy="393875"/>
            </a:xfrm>
            <a:custGeom>
              <a:avLst/>
              <a:gdLst>
                <a:gd name="connsiteX0" fmla="*/ 254 w 4336"/>
                <a:gd name="connsiteY0" fmla="*/ 392351 h 393875"/>
                <a:gd name="connsiteX1" fmla="*/ 1398 w 4336"/>
                <a:gd name="connsiteY1" fmla="*/ 391716 h 393875"/>
                <a:gd name="connsiteX2" fmla="*/ 4155 w 4336"/>
                <a:gd name="connsiteY2" fmla="*/ 392529 h 393875"/>
                <a:gd name="connsiteX3" fmla="*/ 4193 w 4336"/>
                <a:gd name="connsiteY3" fmla="*/ 392605 h 393875"/>
                <a:gd name="connsiteX4" fmla="*/ 4193 w 4336"/>
                <a:gd name="connsiteY4" fmla="*/ 393876 h 393875"/>
                <a:gd name="connsiteX5" fmla="*/ 4193 w 4336"/>
                <a:gd name="connsiteY5" fmla="*/ 0 h 393875"/>
                <a:gd name="connsiteX6" fmla="*/ 2160 w 4336"/>
                <a:gd name="connsiteY6" fmla="*/ 2160 h 393875"/>
                <a:gd name="connsiteX7" fmla="*/ 0 w 4336"/>
                <a:gd name="connsiteY7" fmla="*/ 0 h 393875"/>
                <a:gd name="connsiteX8" fmla="*/ 0 w 4336"/>
                <a:gd name="connsiteY8" fmla="*/ 392351 h 39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 h="393875">
                  <a:moveTo>
                    <a:pt x="254" y="392351"/>
                  </a:moveTo>
                  <a:lnTo>
                    <a:pt x="1398" y="391716"/>
                  </a:lnTo>
                  <a:cubicBezTo>
                    <a:pt x="2389" y="391182"/>
                    <a:pt x="3622" y="391551"/>
                    <a:pt x="4155" y="392529"/>
                  </a:cubicBezTo>
                  <a:cubicBezTo>
                    <a:pt x="4168" y="392554"/>
                    <a:pt x="4181" y="392580"/>
                    <a:pt x="4193" y="392605"/>
                  </a:cubicBezTo>
                  <a:cubicBezTo>
                    <a:pt x="4384" y="393012"/>
                    <a:pt x="4384" y="393469"/>
                    <a:pt x="4193" y="393876"/>
                  </a:cubicBezTo>
                  <a:lnTo>
                    <a:pt x="4193" y="0"/>
                  </a:lnTo>
                  <a:cubicBezTo>
                    <a:pt x="4193" y="1143"/>
                    <a:pt x="3304" y="2097"/>
                    <a:pt x="2160" y="2160"/>
                  </a:cubicBezTo>
                  <a:cubicBezTo>
                    <a:pt x="991" y="2097"/>
                    <a:pt x="64" y="1169"/>
                    <a:pt x="0" y="0"/>
                  </a:cubicBezTo>
                  <a:lnTo>
                    <a:pt x="0" y="392351"/>
                  </a:lnTo>
                  <a:close/>
                </a:path>
              </a:pathLst>
            </a:custGeom>
            <a:solidFill>
              <a:srgbClr val="000000"/>
            </a:solidFill>
            <a:ln w="12704"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6A74E2F4-8F37-4344-87B3-0B077429131E}"/>
                </a:ext>
              </a:extLst>
            </p:cNvPr>
            <p:cNvSpPr/>
            <p:nvPr/>
          </p:nvSpPr>
          <p:spPr>
            <a:xfrm>
              <a:off x="4395416" y="5771729"/>
              <a:ext cx="1024320" cy="564131"/>
            </a:xfrm>
            <a:custGeom>
              <a:avLst/>
              <a:gdLst>
                <a:gd name="connsiteX0" fmla="*/ 1024178 w 1024320"/>
                <a:gd name="connsiteY0" fmla="*/ 3430 h 564131"/>
                <a:gd name="connsiteX1" fmla="*/ 1024178 w 1024320"/>
                <a:gd name="connsiteY1" fmla="*/ 2668 h 564131"/>
                <a:gd name="connsiteX2" fmla="*/ 1024178 w 1024320"/>
                <a:gd name="connsiteY2" fmla="*/ 1397 h 564131"/>
                <a:gd name="connsiteX3" fmla="*/ 1021459 w 1024320"/>
                <a:gd name="connsiteY3" fmla="*/ 470 h 564131"/>
                <a:gd name="connsiteX4" fmla="*/ 1021382 w 1024320"/>
                <a:gd name="connsiteY4" fmla="*/ 508 h 564131"/>
                <a:gd name="connsiteX5" fmla="*/ 1020747 w 1024320"/>
                <a:gd name="connsiteY5" fmla="*/ 0 h 564131"/>
                <a:gd name="connsiteX6" fmla="*/ 0 w 1024320"/>
                <a:gd name="connsiteY6" fmla="*/ 564131 h 564131"/>
                <a:gd name="connsiteX7" fmla="*/ 8768 w 1024320"/>
                <a:gd name="connsiteY7" fmla="*/ 564131 h 564131"/>
                <a:gd name="connsiteX8" fmla="*/ 1024051 w 1024320"/>
                <a:gd name="connsiteY8" fmla="*/ 3685 h 564131"/>
                <a:gd name="connsiteX9" fmla="*/ 1024178 w 1024320"/>
                <a:gd name="connsiteY9" fmla="*/ 3430 h 56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4320" h="564131">
                  <a:moveTo>
                    <a:pt x="1024178" y="3430"/>
                  </a:moveTo>
                  <a:cubicBezTo>
                    <a:pt x="1024254" y="3176"/>
                    <a:pt x="1024254" y="2922"/>
                    <a:pt x="1024178" y="2668"/>
                  </a:cubicBezTo>
                  <a:cubicBezTo>
                    <a:pt x="1024369" y="2262"/>
                    <a:pt x="1024369" y="1804"/>
                    <a:pt x="1024178" y="1397"/>
                  </a:cubicBezTo>
                  <a:cubicBezTo>
                    <a:pt x="1023682" y="394"/>
                    <a:pt x="1022462" y="-26"/>
                    <a:pt x="1021459" y="470"/>
                  </a:cubicBezTo>
                  <a:cubicBezTo>
                    <a:pt x="1021433" y="483"/>
                    <a:pt x="1021408" y="496"/>
                    <a:pt x="1021382" y="508"/>
                  </a:cubicBezTo>
                  <a:lnTo>
                    <a:pt x="1020747" y="0"/>
                  </a:lnTo>
                  <a:lnTo>
                    <a:pt x="0" y="564131"/>
                  </a:lnTo>
                  <a:lnTo>
                    <a:pt x="8768" y="564131"/>
                  </a:lnTo>
                  <a:lnTo>
                    <a:pt x="1024051" y="3685"/>
                  </a:lnTo>
                  <a:lnTo>
                    <a:pt x="1024178" y="3430"/>
                  </a:lnTo>
                  <a:close/>
                </a:path>
              </a:pathLst>
            </a:custGeom>
            <a:solidFill>
              <a:srgbClr val="000000"/>
            </a:solidFill>
            <a:ln w="12704"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C8CE2DBB-ECAF-43F0-AB5A-0A24BD867A46}"/>
                </a:ext>
              </a:extLst>
            </p:cNvPr>
            <p:cNvSpPr/>
            <p:nvPr/>
          </p:nvSpPr>
          <p:spPr>
            <a:xfrm>
              <a:off x="5165614" y="4176278"/>
              <a:ext cx="23396" cy="1210478"/>
            </a:xfrm>
            <a:custGeom>
              <a:avLst/>
              <a:gdLst>
                <a:gd name="connsiteX0" fmla="*/ 12548 w 23396"/>
                <a:gd name="connsiteY0" fmla="*/ 1210469 h 1210478"/>
                <a:gd name="connsiteX1" fmla="*/ 17123 w 23396"/>
                <a:gd name="connsiteY1" fmla="*/ 1209452 h 1210478"/>
                <a:gd name="connsiteX2" fmla="*/ 17123 w 23396"/>
                <a:gd name="connsiteY2" fmla="*/ 1209452 h 1210478"/>
                <a:gd name="connsiteX3" fmla="*/ 18266 w 23396"/>
                <a:gd name="connsiteY3" fmla="*/ 1208690 h 1210478"/>
                <a:gd name="connsiteX4" fmla="*/ 20935 w 23396"/>
                <a:gd name="connsiteY4" fmla="*/ 1206784 h 1210478"/>
                <a:gd name="connsiteX5" fmla="*/ 22205 w 23396"/>
                <a:gd name="connsiteY5" fmla="*/ 1204878 h 1210478"/>
                <a:gd name="connsiteX6" fmla="*/ 23349 w 23396"/>
                <a:gd name="connsiteY6" fmla="*/ 1202972 h 1210478"/>
                <a:gd name="connsiteX7" fmla="*/ 23349 w 23396"/>
                <a:gd name="connsiteY7" fmla="*/ 1200812 h 1210478"/>
                <a:gd name="connsiteX8" fmla="*/ 23349 w 23396"/>
                <a:gd name="connsiteY8" fmla="*/ 1198398 h 1210478"/>
                <a:gd name="connsiteX9" fmla="*/ 23349 w 23396"/>
                <a:gd name="connsiteY9" fmla="*/ 11308 h 1210478"/>
                <a:gd name="connsiteX10" fmla="*/ 13819 w 23396"/>
                <a:gd name="connsiteY10" fmla="*/ 13214 h 1210478"/>
                <a:gd name="connsiteX11" fmla="*/ 11659 w 23396"/>
                <a:gd name="connsiteY11" fmla="*/ 13214 h 1210478"/>
                <a:gd name="connsiteX12" fmla="*/ 95 w 23396"/>
                <a:gd name="connsiteY12" fmla="*/ 3431 h 1210478"/>
                <a:gd name="connsiteX13" fmla="*/ 95 w 23396"/>
                <a:gd name="connsiteY13" fmla="*/ 0 h 1210478"/>
                <a:gd name="connsiteX14" fmla="*/ 95 w 23396"/>
                <a:gd name="connsiteY14" fmla="*/ 1143 h 1210478"/>
                <a:gd name="connsiteX15" fmla="*/ 95 w 23396"/>
                <a:gd name="connsiteY15" fmla="*/ 1198144 h 1210478"/>
                <a:gd name="connsiteX16" fmla="*/ 11646 w 23396"/>
                <a:gd name="connsiteY16" fmla="*/ 1210469 h 1210478"/>
                <a:gd name="connsiteX17" fmla="*/ 12548 w 23396"/>
                <a:gd name="connsiteY17" fmla="*/ 1210469 h 121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96" h="1210478">
                  <a:moveTo>
                    <a:pt x="12548" y="1210469"/>
                  </a:moveTo>
                  <a:cubicBezTo>
                    <a:pt x="14124" y="1210469"/>
                    <a:pt x="15687" y="1210113"/>
                    <a:pt x="17123" y="1209452"/>
                  </a:cubicBezTo>
                  <a:lnTo>
                    <a:pt x="17123" y="1209452"/>
                  </a:lnTo>
                  <a:lnTo>
                    <a:pt x="18266" y="1208690"/>
                  </a:lnTo>
                  <a:cubicBezTo>
                    <a:pt x="19257" y="1208220"/>
                    <a:pt x="20160" y="1207572"/>
                    <a:pt x="20935" y="1206784"/>
                  </a:cubicBezTo>
                  <a:cubicBezTo>
                    <a:pt x="21430" y="1206200"/>
                    <a:pt x="21862" y="1205564"/>
                    <a:pt x="22205" y="1204878"/>
                  </a:cubicBezTo>
                  <a:cubicBezTo>
                    <a:pt x="22663" y="1204294"/>
                    <a:pt x="23044" y="1203646"/>
                    <a:pt x="23349" y="1202972"/>
                  </a:cubicBezTo>
                  <a:cubicBezTo>
                    <a:pt x="23413" y="1202248"/>
                    <a:pt x="23413" y="1201537"/>
                    <a:pt x="23349" y="1200812"/>
                  </a:cubicBezTo>
                  <a:cubicBezTo>
                    <a:pt x="23413" y="1200012"/>
                    <a:pt x="23413" y="1199199"/>
                    <a:pt x="23349" y="1198398"/>
                  </a:cubicBezTo>
                  <a:lnTo>
                    <a:pt x="23349" y="11308"/>
                  </a:lnTo>
                  <a:lnTo>
                    <a:pt x="13819" y="13214"/>
                  </a:lnTo>
                  <a:lnTo>
                    <a:pt x="11659" y="13214"/>
                  </a:lnTo>
                  <a:cubicBezTo>
                    <a:pt x="5966" y="13125"/>
                    <a:pt x="1125" y="9034"/>
                    <a:pt x="95" y="3431"/>
                  </a:cubicBezTo>
                  <a:cubicBezTo>
                    <a:pt x="-32" y="2287"/>
                    <a:pt x="-32" y="1143"/>
                    <a:pt x="95" y="0"/>
                  </a:cubicBezTo>
                  <a:cubicBezTo>
                    <a:pt x="95" y="0"/>
                    <a:pt x="95" y="762"/>
                    <a:pt x="95" y="1143"/>
                  </a:cubicBezTo>
                  <a:lnTo>
                    <a:pt x="95" y="1198144"/>
                  </a:lnTo>
                  <a:cubicBezTo>
                    <a:pt x="-121" y="1204738"/>
                    <a:pt x="5051" y="1210253"/>
                    <a:pt x="11646" y="1210469"/>
                  </a:cubicBezTo>
                  <a:cubicBezTo>
                    <a:pt x="11938" y="1210481"/>
                    <a:pt x="12243" y="1210481"/>
                    <a:pt x="12548" y="1210469"/>
                  </a:cubicBezTo>
                  <a:close/>
                </a:path>
              </a:pathLst>
            </a:custGeom>
            <a:solidFill>
              <a:srgbClr val="000000"/>
            </a:solidFill>
            <a:ln w="12704"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E8ABB4A2-3DDB-4812-A56D-D1C03C80072B}"/>
                </a:ext>
              </a:extLst>
            </p:cNvPr>
            <p:cNvSpPr/>
            <p:nvPr/>
          </p:nvSpPr>
          <p:spPr>
            <a:xfrm>
              <a:off x="5166503" y="4116435"/>
              <a:ext cx="266178" cy="73311"/>
            </a:xfrm>
            <a:custGeom>
              <a:avLst/>
              <a:gdLst>
                <a:gd name="connsiteX0" fmla="*/ 11659 w 266178"/>
                <a:gd name="connsiteY0" fmla="*/ 73312 h 73311"/>
                <a:gd name="connsiteX1" fmla="*/ 13819 w 266178"/>
                <a:gd name="connsiteY1" fmla="*/ 73312 h 73311"/>
                <a:gd name="connsiteX2" fmla="*/ 23349 w 266178"/>
                <a:gd name="connsiteY2" fmla="*/ 71406 h 73311"/>
                <a:gd name="connsiteX3" fmla="*/ 60580 w 266178"/>
                <a:gd name="connsiteY3" fmla="*/ 64037 h 73311"/>
                <a:gd name="connsiteX4" fmla="*/ 11659 w 266178"/>
                <a:gd name="connsiteY4" fmla="*/ 64037 h 73311"/>
                <a:gd name="connsiteX5" fmla="*/ 9625 w 266178"/>
                <a:gd name="connsiteY5" fmla="*/ 62004 h 73311"/>
                <a:gd name="connsiteX6" fmla="*/ 9625 w 266178"/>
                <a:gd name="connsiteY6" fmla="*/ 61877 h 73311"/>
                <a:gd name="connsiteX7" fmla="*/ 11659 w 266178"/>
                <a:gd name="connsiteY7" fmla="*/ 59717 h 73311"/>
                <a:gd name="connsiteX8" fmla="*/ 11659 w 266178"/>
                <a:gd name="connsiteY8" fmla="*/ 59717 h 73311"/>
                <a:gd name="connsiteX9" fmla="*/ 81292 w 266178"/>
                <a:gd name="connsiteY9" fmla="*/ 60352 h 73311"/>
                <a:gd name="connsiteX10" fmla="*/ 266178 w 266178"/>
                <a:gd name="connsiteY10" fmla="*/ 23760 h 73311"/>
                <a:gd name="connsiteX11" fmla="*/ 265035 w 266178"/>
                <a:gd name="connsiteY11" fmla="*/ 23760 h 73311"/>
                <a:gd name="connsiteX12" fmla="*/ 253713 w 266178"/>
                <a:gd name="connsiteY12" fmla="*/ 11219 h 73311"/>
                <a:gd name="connsiteX13" fmla="*/ 264018 w 266178"/>
                <a:gd name="connsiteY13" fmla="*/ 0 h 73311"/>
                <a:gd name="connsiteX14" fmla="*/ 262366 w 266178"/>
                <a:gd name="connsiteY14" fmla="*/ 0 h 73311"/>
                <a:gd name="connsiteX15" fmla="*/ 8863 w 266178"/>
                <a:gd name="connsiteY15" fmla="*/ 50060 h 73311"/>
                <a:gd name="connsiteX16" fmla="*/ 7719 w 266178"/>
                <a:gd name="connsiteY16" fmla="*/ 50060 h 73311"/>
                <a:gd name="connsiteX17" fmla="*/ 5559 w 266178"/>
                <a:gd name="connsiteY17" fmla="*/ 50950 h 73311"/>
                <a:gd name="connsiteX18" fmla="*/ 3780 w 266178"/>
                <a:gd name="connsiteY18" fmla="*/ 52220 h 73311"/>
                <a:gd name="connsiteX19" fmla="*/ 2255 w 266178"/>
                <a:gd name="connsiteY19" fmla="*/ 53872 h 73311"/>
                <a:gd name="connsiteX20" fmla="*/ 985 w 266178"/>
                <a:gd name="connsiteY20" fmla="*/ 55778 h 73311"/>
                <a:gd name="connsiteX21" fmla="*/ 95 w 266178"/>
                <a:gd name="connsiteY21" fmla="*/ 57811 h 73311"/>
                <a:gd name="connsiteX22" fmla="*/ 95 w 266178"/>
                <a:gd name="connsiteY22" fmla="*/ 60225 h 73311"/>
                <a:gd name="connsiteX23" fmla="*/ 95 w 266178"/>
                <a:gd name="connsiteY23" fmla="*/ 63656 h 73311"/>
                <a:gd name="connsiteX24" fmla="*/ 11659 w 266178"/>
                <a:gd name="connsiteY24" fmla="*/ 73312 h 7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178" h="73311">
                  <a:moveTo>
                    <a:pt x="11659" y="73312"/>
                  </a:moveTo>
                  <a:lnTo>
                    <a:pt x="13819" y="73312"/>
                  </a:lnTo>
                  <a:lnTo>
                    <a:pt x="23349" y="71406"/>
                  </a:lnTo>
                  <a:lnTo>
                    <a:pt x="60580" y="64037"/>
                  </a:lnTo>
                  <a:lnTo>
                    <a:pt x="11659" y="64037"/>
                  </a:lnTo>
                  <a:cubicBezTo>
                    <a:pt x="10540" y="64037"/>
                    <a:pt x="9625" y="63134"/>
                    <a:pt x="9625" y="62004"/>
                  </a:cubicBezTo>
                  <a:cubicBezTo>
                    <a:pt x="9625" y="61965"/>
                    <a:pt x="9625" y="61915"/>
                    <a:pt x="9625" y="61877"/>
                  </a:cubicBezTo>
                  <a:cubicBezTo>
                    <a:pt x="9625" y="60733"/>
                    <a:pt x="10515" y="59780"/>
                    <a:pt x="11659" y="59717"/>
                  </a:cubicBezTo>
                  <a:lnTo>
                    <a:pt x="11659" y="59717"/>
                  </a:lnTo>
                  <a:lnTo>
                    <a:pt x="81292" y="60352"/>
                  </a:lnTo>
                  <a:lnTo>
                    <a:pt x="266178" y="23760"/>
                  </a:lnTo>
                  <a:lnTo>
                    <a:pt x="265035" y="23760"/>
                  </a:lnTo>
                  <a:cubicBezTo>
                    <a:pt x="258452" y="23416"/>
                    <a:pt x="253382" y="17813"/>
                    <a:pt x="253713" y="11219"/>
                  </a:cubicBezTo>
                  <a:cubicBezTo>
                    <a:pt x="254005" y="5489"/>
                    <a:pt x="258338" y="775"/>
                    <a:pt x="264018" y="0"/>
                  </a:cubicBezTo>
                  <a:lnTo>
                    <a:pt x="262366" y="0"/>
                  </a:lnTo>
                  <a:lnTo>
                    <a:pt x="8863" y="50060"/>
                  </a:lnTo>
                  <a:lnTo>
                    <a:pt x="7719" y="50060"/>
                  </a:lnTo>
                  <a:lnTo>
                    <a:pt x="5559" y="50950"/>
                  </a:lnTo>
                  <a:lnTo>
                    <a:pt x="3780" y="52220"/>
                  </a:lnTo>
                  <a:cubicBezTo>
                    <a:pt x="3208" y="52703"/>
                    <a:pt x="2700" y="53262"/>
                    <a:pt x="2255" y="53872"/>
                  </a:cubicBezTo>
                  <a:cubicBezTo>
                    <a:pt x="1760" y="54457"/>
                    <a:pt x="1328" y="55092"/>
                    <a:pt x="985" y="55778"/>
                  </a:cubicBezTo>
                  <a:cubicBezTo>
                    <a:pt x="616" y="56413"/>
                    <a:pt x="311" y="57099"/>
                    <a:pt x="95" y="57811"/>
                  </a:cubicBezTo>
                  <a:cubicBezTo>
                    <a:pt x="19" y="58611"/>
                    <a:pt x="19" y="59424"/>
                    <a:pt x="95" y="60225"/>
                  </a:cubicBezTo>
                  <a:cubicBezTo>
                    <a:pt x="-32" y="61368"/>
                    <a:pt x="-32" y="62512"/>
                    <a:pt x="95" y="63656"/>
                  </a:cubicBezTo>
                  <a:cubicBezTo>
                    <a:pt x="1175" y="69208"/>
                    <a:pt x="6004" y="73236"/>
                    <a:pt x="11659" y="73312"/>
                  </a:cubicBezTo>
                  <a:close/>
                </a:path>
              </a:pathLst>
            </a:custGeom>
            <a:solidFill>
              <a:srgbClr val="000000"/>
            </a:solidFill>
            <a:ln w="12704"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E693101B-EB6C-4B13-A30B-6EFEA2E3D8BB}"/>
                </a:ext>
              </a:extLst>
            </p:cNvPr>
            <p:cNvSpPr/>
            <p:nvPr/>
          </p:nvSpPr>
          <p:spPr>
            <a:xfrm>
              <a:off x="5174726" y="4176914"/>
              <a:ext cx="242071" cy="5971"/>
            </a:xfrm>
            <a:custGeom>
              <a:avLst/>
              <a:gdLst>
                <a:gd name="connsiteX0" fmla="*/ 241436 w 242071"/>
                <a:gd name="connsiteY0" fmla="*/ 2922 h 5971"/>
                <a:gd name="connsiteX1" fmla="*/ 241436 w 242071"/>
                <a:gd name="connsiteY1" fmla="*/ 2922 h 5971"/>
                <a:gd name="connsiteX2" fmla="*/ 241436 w 242071"/>
                <a:gd name="connsiteY2" fmla="*/ 2160 h 5971"/>
                <a:gd name="connsiteX3" fmla="*/ 242072 w 242071"/>
                <a:gd name="connsiteY3" fmla="*/ 2160 h 5971"/>
                <a:gd name="connsiteX4" fmla="*/ 242072 w 242071"/>
                <a:gd name="connsiteY4" fmla="*/ 2160 h 5971"/>
                <a:gd name="connsiteX5" fmla="*/ 242072 w 242071"/>
                <a:gd name="connsiteY5" fmla="*/ 2160 h 5971"/>
                <a:gd name="connsiteX6" fmla="*/ 71672 w 242071"/>
                <a:gd name="connsiteY6" fmla="*/ 635 h 5971"/>
                <a:gd name="connsiteX7" fmla="*/ 2038 w 242071"/>
                <a:gd name="connsiteY7" fmla="*/ 0 h 5971"/>
                <a:gd name="connsiteX8" fmla="*/ 2038 w 242071"/>
                <a:gd name="connsiteY8" fmla="*/ 0 h 5971"/>
                <a:gd name="connsiteX9" fmla="*/ 5 w 242071"/>
                <a:gd name="connsiteY9" fmla="*/ 2160 h 5971"/>
                <a:gd name="connsiteX10" fmla="*/ 1911 w 242071"/>
                <a:gd name="connsiteY10" fmla="*/ 4320 h 5971"/>
                <a:gd name="connsiteX11" fmla="*/ 2038 w 242071"/>
                <a:gd name="connsiteY11" fmla="*/ 4320 h 5971"/>
                <a:gd name="connsiteX12" fmla="*/ 50959 w 242071"/>
                <a:gd name="connsiteY12" fmla="*/ 4320 h 5971"/>
                <a:gd name="connsiteX13" fmla="*/ 240165 w 242071"/>
                <a:gd name="connsiteY13" fmla="*/ 5972 h 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071" h="5971">
                  <a:moveTo>
                    <a:pt x="241436" y="2922"/>
                  </a:moveTo>
                  <a:cubicBezTo>
                    <a:pt x="241436" y="2922"/>
                    <a:pt x="241436" y="2922"/>
                    <a:pt x="241436" y="2922"/>
                  </a:cubicBezTo>
                  <a:cubicBezTo>
                    <a:pt x="241436" y="2922"/>
                    <a:pt x="241436" y="2922"/>
                    <a:pt x="241436" y="2160"/>
                  </a:cubicBezTo>
                  <a:lnTo>
                    <a:pt x="242072" y="2160"/>
                  </a:lnTo>
                  <a:lnTo>
                    <a:pt x="242072" y="2160"/>
                  </a:lnTo>
                  <a:lnTo>
                    <a:pt x="242072" y="2160"/>
                  </a:lnTo>
                  <a:lnTo>
                    <a:pt x="71672" y="635"/>
                  </a:lnTo>
                  <a:lnTo>
                    <a:pt x="2038" y="0"/>
                  </a:lnTo>
                  <a:lnTo>
                    <a:pt x="2038" y="0"/>
                  </a:lnTo>
                  <a:cubicBezTo>
                    <a:pt x="894" y="63"/>
                    <a:pt x="5" y="1016"/>
                    <a:pt x="5" y="2160"/>
                  </a:cubicBezTo>
                  <a:cubicBezTo>
                    <a:pt x="-71" y="3278"/>
                    <a:pt x="780" y="4243"/>
                    <a:pt x="1911" y="4320"/>
                  </a:cubicBezTo>
                  <a:cubicBezTo>
                    <a:pt x="1949" y="4320"/>
                    <a:pt x="2000" y="4320"/>
                    <a:pt x="2038" y="4320"/>
                  </a:cubicBezTo>
                  <a:lnTo>
                    <a:pt x="50959" y="4320"/>
                  </a:lnTo>
                  <a:lnTo>
                    <a:pt x="240165" y="5972"/>
                  </a:lnTo>
                  <a:close/>
                </a:path>
              </a:pathLst>
            </a:custGeom>
            <a:solidFill>
              <a:srgbClr val="000000"/>
            </a:solidFill>
            <a:ln w="12704"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850EA25C-2BE9-4001-A710-88E72483121F}"/>
                </a:ext>
              </a:extLst>
            </p:cNvPr>
            <p:cNvSpPr/>
            <p:nvPr/>
          </p:nvSpPr>
          <p:spPr>
            <a:xfrm>
              <a:off x="5417942" y="4139559"/>
              <a:ext cx="204073" cy="41928"/>
            </a:xfrm>
            <a:custGeom>
              <a:avLst/>
              <a:gdLst>
                <a:gd name="connsiteX0" fmla="*/ 0 w 204073"/>
                <a:gd name="connsiteY0" fmla="*/ 38117 h 41928"/>
                <a:gd name="connsiteX1" fmla="*/ 0 w 204073"/>
                <a:gd name="connsiteY1" fmla="*/ 38117 h 41928"/>
                <a:gd name="connsiteX2" fmla="*/ 890 w 204073"/>
                <a:gd name="connsiteY2" fmla="*/ 38117 h 41928"/>
                <a:gd name="connsiteX3" fmla="*/ 2923 w 204073"/>
                <a:gd name="connsiteY3" fmla="*/ 40150 h 41928"/>
                <a:gd name="connsiteX4" fmla="*/ 2923 w 204073"/>
                <a:gd name="connsiteY4" fmla="*/ 40277 h 41928"/>
                <a:gd name="connsiteX5" fmla="*/ 2923 w 204073"/>
                <a:gd name="connsiteY5" fmla="*/ 41929 h 41928"/>
                <a:gd name="connsiteX6" fmla="*/ 204073 w 204073"/>
                <a:gd name="connsiteY6" fmla="*/ 0 h 41928"/>
                <a:gd name="connsiteX7" fmla="*/ 183234 w 204073"/>
                <a:gd name="connsiteY7" fmla="*/ 0 h 41928"/>
                <a:gd name="connsiteX8" fmla="*/ 635 w 204073"/>
                <a:gd name="connsiteY8" fmla="*/ 38117 h 4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073" h="41928">
                  <a:moveTo>
                    <a:pt x="0" y="38117"/>
                  </a:moveTo>
                  <a:lnTo>
                    <a:pt x="0" y="38117"/>
                  </a:lnTo>
                  <a:cubicBezTo>
                    <a:pt x="292" y="38041"/>
                    <a:pt x="597" y="38041"/>
                    <a:pt x="890" y="38117"/>
                  </a:cubicBezTo>
                  <a:cubicBezTo>
                    <a:pt x="2008" y="38117"/>
                    <a:pt x="2923" y="39019"/>
                    <a:pt x="2923" y="40150"/>
                  </a:cubicBezTo>
                  <a:cubicBezTo>
                    <a:pt x="2923" y="40188"/>
                    <a:pt x="2923" y="40239"/>
                    <a:pt x="2923" y="40277"/>
                  </a:cubicBezTo>
                  <a:lnTo>
                    <a:pt x="2923" y="41929"/>
                  </a:lnTo>
                  <a:lnTo>
                    <a:pt x="204073" y="0"/>
                  </a:lnTo>
                  <a:lnTo>
                    <a:pt x="183234" y="0"/>
                  </a:lnTo>
                  <a:lnTo>
                    <a:pt x="635" y="38117"/>
                  </a:lnTo>
                  <a:close/>
                </a:path>
              </a:pathLst>
            </a:custGeom>
            <a:solidFill>
              <a:srgbClr val="000000"/>
            </a:solidFill>
            <a:ln w="12704"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CF8458B6-91E6-49F3-9933-A82B7ADBF0E6}"/>
                </a:ext>
              </a:extLst>
            </p:cNvPr>
            <p:cNvSpPr/>
            <p:nvPr/>
          </p:nvSpPr>
          <p:spPr>
            <a:xfrm>
              <a:off x="5419843" y="4115545"/>
              <a:ext cx="549832" cy="24013"/>
            </a:xfrm>
            <a:custGeom>
              <a:avLst/>
              <a:gdLst>
                <a:gd name="connsiteX0" fmla="*/ 4 w 549832"/>
                <a:gd name="connsiteY0" fmla="*/ 12071 h 24013"/>
                <a:gd name="connsiteX1" fmla="*/ 11695 w 549832"/>
                <a:gd name="connsiteY1" fmla="*/ 24014 h 24013"/>
                <a:gd name="connsiteX2" fmla="*/ 11695 w 549832"/>
                <a:gd name="connsiteY2" fmla="*/ 24014 h 24013"/>
                <a:gd name="connsiteX3" fmla="*/ 208779 w 549832"/>
                <a:gd name="connsiteY3" fmla="*/ 24014 h 24013"/>
                <a:gd name="connsiteX4" fmla="*/ 208779 w 549832"/>
                <a:gd name="connsiteY4" fmla="*/ 19948 h 24013"/>
                <a:gd name="connsiteX5" fmla="*/ 210812 w 549832"/>
                <a:gd name="connsiteY5" fmla="*/ 17915 h 24013"/>
                <a:gd name="connsiteX6" fmla="*/ 212972 w 549832"/>
                <a:gd name="connsiteY6" fmla="*/ 19948 h 24013"/>
                <a:gd name="connsiteX7" fmla="*/ 212972 w 549832"/>
                <a:gd name="connsiteY7" fmla="*/ 24014 h 24013"/>
                <a:gd name="connsiteX8" fmla="*/ 549833 w 549832"/>
                <a:gd name="connsiteY8" fmla="*/ 24014 h 24013"/>
                <a:gd name="connsiteX9" fmla="*/ 549833 w 549832"/>
                <a:gd name="connsiteY9" fmla="*/ 0 h 24013"/>
                <a:gd name="connsiteX10" fmla="*/ 11695 w 549832"/>
                <a:gd name="connsiteY10" fmla="*/ 0 h 24013"/>
                <a:gd name="connsiteX11" fmla="*/ 10678 w 549832"/>
                <a:gd name="connsiteY11" fmla="*/ 0 h 24013"/>
                <a:gd name="connsiteX12" fmla="*/ 4 w 549832"/>
                <a:gd name="connsiteY12" fmla="*/ 12071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9832" h="24013">
                  <a:moveTo>
                    <a:pt x="4" y="12071"/>
                  </a:moveTo>
                  <a:cubicBezTo>
                    <a:pt x="-72" y="18601"/>
                    <a:pt x="5163" y="23938"/>
                    <a:pt x="11695" y="24014"/>
                  </a:cubicBezTo>
                  <a:cubicBezTo>
                    <a:pt x="11695" y="24014"/>
                    <a:pt x="11695" y="24014"/>
                    <a:pt x="11695" y="24014"/>
                  </a:cubicBezTo>
                  <a:lnTo>
                    <a:pt x="208779" y="24014"/>
                  </a:lnTo>
                  <a:lnTo>
                    <a:pt x="208779" y="19948"/>
                  </a:lnTo>
                  <a:cubicBezTo>
                    <a:pt x="208779" y="18830"/>
                    <a:pt x="209694" y="17915"/>
                    <a:pt x="210812" y="17915"/>
                  </a:cubicBezTo>
                  <a:cubicBezTo>
                    <a:pt x="211956" y="17915"/>
                    <a:pt x="212909" y="18805"/>
                    <a:pt x="212972" y="19948"/>
                  </a:cubicBezTo>
                  <a:lnTo>
                    <a:pt x="212972" y="24014"/>
                  </a:lnTo>
                  <a:lnTo>
                    <a:pt x="549833" y="24014"/>
                  </a:lnTo>
                  <a:lnTo>
                    <a:pt x="549833" y="0"/>
                  </a:lnTo>
                  <a:lnTo>
                    <a:pt x="11695" y="0"/>
                  </a:lnTo>
                  <a:lnTo>
                    <a:pt x="10678" y="0"/>
                  </a:lnTo>
                  <a:cubicBezTo>
                    <a:pt x="4503" y="597"/>
                    <a:pt x="-161" y="5870"/>
                    <a:pt x="4" y="12071"/>
                  </a:cubicBezTo>
                  <a:close/>
                </a:path>
              </a:pathLst>
            </a:custGeom>
            <a:solidFill>
              <a:srgbClr val="000000"/>
            </a:solidFill>
            <a:ln w="12704"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777F0452-6053-4A7A-9F57-FC7AA0E0A49E}"/>
                </a:ext>
              </a:extLst>
            </p:cNvPr>
            <p:cNvSpPr/>
            <p:nvPr/>
          </p:nvSpPr>
          <p:spPr>
            <a:xfrm>
              <a:off x="5628622" y="4133969"/>
              <a:ext cx="4193" cy="550282"/>
            </a:xfrm>
            <a:custGeom>
              <a:avLst/>
              <a:gdLst>
                <a:gd name="connsiteX0" fmla="*/ 4193 w 4193"/>
                <a:gd name="connsiteY0" fmla="*/ 548377 h 550282"/>
                <a:gd name="connsiteX1" fmla="*/ 4193 w 4193"/>
                <a:gd name="connsiteY1" fmla="*/ 2033 h 550282"/>
                <a:gd name="connsiteX2" fmla="*/ 2033 w 4193"/>
                <a:gd name="connsiteY2" fmla="*/ 0 h 550282"/>
                <a:gd name="connsiteX3" fmla="*/ 0 w 4193"/>
                <a:gd name="connsiteY3" fmla="*/ 2033 h 550282"/>
                <a:gd name="connsiteX4" fmla="*/ 0 w 4193"/>
                <a:gd name="connsiteY4" fmla="*/ 550282 h 550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550282">
                  <a:moveTo>
                    <a:pt x="4193" y="548377"/>
                  </a:moveTo>
                  <a:lnTo>
                    <a:pt x="4193" y="2033"/>
                  </a:lnTo>
                  <a:cubicBezTo>
                    <a:pt x="4130" y="889"/>
                    <a:pt x="3177" y="0"/>
                    <a:pt x="2033" y="0"/>
                  </a:cubicBezTo>
                  <a:cubicBezTo>
                    <a:pt x="915" y="0"/>
                    <a:pt x="0" y="915"/>
                    <a:pt x="0" y="2033"/>
                  </a:cubicBezTo>
                  <a:lnTo>
                    <a:pt x="0" y="550282"/>
                  </a:lnTo>
                  <a:close/>
                </a:path>
              </a:pathLst>
            </a:custGeom>
            <a:solidFill>
              <a:srgbClr val="000000"/>
            </a:solidFill>
            <a:ln w="12704"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2BB2FE80-E81B-4248-B42E-35999BC44C2C}"/>
                </a:ext>
              </a:extLst>
            </p:cNvPr>
            <p:cNvSpPr/>
            <p:nvPr/>
          </p:nvSpPr>
          <p:spPr>
            <a:xfrm>
              <a:off x="5416522" y="4177619"/>
              <a:ext cx="3965" cy="1203918"/>
            </a:xfrm>
            <a:custGeom>
              <a:avLst/>
              <a:gdLst>
                <a:gd name="connsiteX0" fmla="*/ 1927 w 3965"/>
                <a:gd name="connsiteY0" fmla="*/ 1203919 h 1203918"/>
                <a:gd name="connsiteX1" fmla="*/ 3961 w 3965"/>
                <a:gd name="connsiteY1" fmla="*/ 1201759 h 1203918"/>
                <a:gd name="connsiteX2" fmla="*/ 3961 w 3965"/>
                <a:gd name="connsiteY2" fmla="*/ 2217 h 1203918"/>
                <a:gd name="connsiteX3" fmla="*/ 2055 w 3965"/>
                <a:gd name="connsiteY3" fmla="*/ 57 h 1203918"/>
                <a:gd name="connsiteX4" fmla="*/ 1927 w 3965"/>
                <a:gd name="connsiteY4" fmla="*/ 57 h 1203918"/>
                <a:gd name="connsiteX5" fmla="*/ 1038 w 3965"/>
                <a:gd name="connsiteY5" fmla="*/ 57 h 1203918"/>
                <a:gd name="connsiteX6" fmla="*/ 403 w 3965"/>
                <a:gd name="connsiteY6" fmla="*/ 57 h 1203918"/>
                <a:gd name="connsiteX7" fmla="*/ 403 w 3965"/>
                <a:gd name="connsiteY7" fmla="*/ 820 h 1203918"/>
                <a:gd name="connsiteX8" fmla="*/ 403 w 3965"/>
                <a:gd name="connsiteY8" fmla="*/ 820 h 1203918"/>
                <a:gd name="connsiteX9" fmla="*/ 403 w 3965"/>
                <a:gd name="connsiteY9" fmla="*/ 1200361 h 1203918"/>
                <a:gd name="connsiteX10" fmla="*/ 987 w 3965"/>
                <a:gd name="connsiteY10" fmla="*/ 1203538 h 1203918"/>
                <a:gd name="connsiteX11" fmla="*/ 1927 w 3965"/>
                <a:gd name="connsiteY11" fmla="*/ 1203919 h 120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5" h="1203918">
                  <a:moveTo>
                    <a:pt x="1927" y="1203919"/>
                  </a:moveTo>
                  <a:cubicBezTo>
                    <a:pt x="3071" y="1203855"/>
                    <a:pt x="3961" y="1202902"/>
                    <a:pt x="3961" y="1201759"/>
                  </a:cubicBezTo>
                  <a:lnTo>
                    <a:pt x="3961" y="2217"/>
                  </a:lnTo>
                  <a:cubicBezTo>
                    <a:pt x="4037" y="1099"/>
                    <a:pt x="3186" y="133"/>
                    <a:pt x="2055" y="57"/>
                  </a:cubicBezTo>
                  <a:cubicBezTo>
                    <a:pt x="2016" y="57"/>
                    <a:pt x="1966" y="57"/>
                    <a:pt x="1927" y="57"/>
                  </a:cubicBezTo>
                  <a:cubicBezTo>
                    <a:pt x="1635" y="-19"/>
                    <a:pt x="1330" y="-19"/>
                    <a:pt x="1038" y="57"/>
                  </a:cubicBezTo>
                  <a:lnTo>
                    <a:pt x="403" y="57"/>
                  </a:lnTo>
                  <a:cubicBezTo>
                    <a:pt x="403" y="57"/>
                    <a:pt x="403" y="57"/>
                    <a:pt x="403" y="820"/>
                  </a:cubicBezTo>
                  <a:cubicBezTo>
                    <a:pt x="403" y="1582"/>
                    <a:pt x="403" y="820"/>
                    <a:pt x="403" y="820"/>
                  </a:cubicBezTo>
                  <a:lnTo>
                    <a:pt x="403" y="1200361"/>
                  </a:lnTo>
                  <a:cubicBezTo>
                    <a:pt x="-309" y="1201403"/>
                    <a:pt x="-55" y="1202826"/>
                    <a:pt x="987" y="1203538"/>
                  </a:cubicBezTo>
                  <a:cubicBezTo>
                    <a:pt x="1267" y="1203741"/>
                    <a:pt x="1584" y="1203868"/>
                    <a:pt x="1927" y="1203919"/>
                  </a:cubicBezTo>
                  <a:close/>
                </a:path>
              </a:pathLst>
            </a:custGeom>
            <a:solidFill>
              <a:srgbClr val="000000"/>
            </a:solidFill>
            <a:ln w="12704"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4C82DD9E-A215-439E-A1E0-A004685A3691}"/>
                </a:ext>
              </a:extLst>
            </p:cNvPr>
            <p:cNvSpPr/>
            <p:nvPr/>
          </p:nvSpPr>
          <p:spPr>
            <a:xfrm>
              <a:off x="10844305" y="3268675"/>
              <a:ext cx="118174" cy="38"/>
            </a:xfrm>
            <a:custGeom>
              <a:avLst/>
              <a:gdLst>
                <a:gd name="connsiteX0" fmla="*/ 2796 w 118174"/>
                <a:gd name="connsiteY0" fmla="*/ 38 h 38"/>
                <a:gd name="connsiteX1" fmla="*/ 2796 w 118174"/>
                <a:gd name="connsiteY1" fmla="*/ 38 h 38"/>
                <a:gd name="connsiteX2" fmla="*/ 4701 w 118174"/>
                <a:gd name="connsiteY2" fmla="*/ 38 h 38"/>
                <a:gd name="connsiteX3" fmla="*/ 115125 w 118174"/>
                <a:gd name="connsiteY3" fmla="*/ 38 h 38"/>
                <a:gd name="connsiteX4" fmla="*/ 118174 w 118174"/>
                <a:gd name="connsiteY4" fmla="*/ 38 h 38"/>
                <a:gd name="connsiteX5" fmla="*/ 0 w 118174"/>
                <a:gd name="connsiteY5" fmla="*/ 38 h 38"/>
                <a:gd name="connsiteX6" fmla="*/ 2796 w 118174"/>
                <a:gd name="connsiteY6" fmla="*/ 38 h 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74" h="38">
                  <a:moveTo>
                    <a:pt x="2796" y="38"/>
                  </a:moveTo>
                  <a:lnTo>
                    <a:pt x="2796" y="38"/>
                  </a:lnTo>
                  <a:cubicBezTo>
                    <a:pt x="3431" y="38"/>
                    <a:pt x="4066" y="38"/>
                    <a:pt x="4701" y="38"/>
                  </a:cubicBezTo>
                  <a:lnTo>
                    <a:pt x="115125" y="38"/>
                  </a:lnTo>
                  <a:lnTo>
                    <a:pt x="118174" y="38"/>
                  </a:lnTo>
                  <a:lnTo>
                    <a:pt x="0" y="38"/>
                  </a:lnTo>
                  <a:cubicBezTo>
                    <a:pt x="928" y="-13"/>
                    <a:pt x="1868" y="-13"/>
                    <a:pt x="2796" y="38"/>
                  </a:cubicBezTo>
                  <a:close/>
                </a:path>
              </a:pathLst>
            </a:custGeom>
            <a:solidFill>
              <a:srgbClr val="000000"/>
            </a:solidFill>
            <a:ln w="12704"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4F7B5D03-A967-473F-8C02-817D579C7126}"/>
                </a:ext>
              </a:extLst>
            </p:cNvPr>
            <p:cNvSpPr/>
            <p:nvPr/>
          </p:nvSpPr>
          <p:spPr>
            <a:xfrm>
              <a:off x="8599532" y="2734059"/>
              <a:ext cx="23476" cy="200876"/>
            </a:xfrm>
            <a:custGeom>
              <a:avLst/>
              <a:gdLst>
                <a:gd name="connsiteX0" fmla="*/ 95 w 23476"/>
                <a:gd name="connsiteY0" fmla="*/ 0 h 200876"/>
                <a:gd name="connsiteX1" fmla="*/ 95 w 23476"/>
                <a:gd name="connsiteY1" fmla="*/ 199606 h 200876"/>
                <a:gd name="connsiteX2" fmla="*/ 95 w 23476"/>
                <a:gd name="connsiteY2" fmla="*/ 200877 h 200876"/>
                <a:gd name="connsiteX3" fmla="*/ 95 w 23476"/>
                <a:gd name="connsiteY3" fmla="*/ 197319 h 200876"/>
                <a:gd name="connsiteX4" fmla="*/ 13819 w 23476"/>
                <a:gd name="connsiteY4" fmla="*/ 187790 h 200876"/>
                <a:gd name="connsiteX5" fmla="*/ 23476 w 23476"/>
                <a:gd name="connsiteY5" fmla="*/ 189696 h 200876"/>
                <a:gd name="connsiteX6" fmla="*/ 23476 w 23476"/>
                <a:gd name="connsiteY6" fmla="*/ 11816 h 200876"/>
                <a:gd name="connsiteX7" fmla="*/ 11659 w 23476"/>
                <a:gd name="connsiteY7" fmla="*/ 11816 h 200876"/>
                <a:gd name="connsiteX8" fmla="*/ 95 w 23476"/>
                <a:gd name="connsiteY8" fmla="*/ 0 h 20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76" h="200876">
                  <a:moveTo>
                    <a:pt x="95" y="0"/>
                  </a:moveTo>
                  <a:lnTo>
                    <a:pt x="95" y="199606"/>
                  </a:lnTo>
                  <a:cubicBezTo>
                    <a:pt x="45" y="200025"/>
                    <a:pt x="45" y="200457"/>
                    <a:pt x="95" y="200877"/>
                  </a:cubicBezTo>
                  <a:cubicBezTo>
                    <a:pt x="-32" y="199695"/>
                    <a:pt x="-32" y="198501"/>
                    <a:pt x="95" y="197319"/>
                  </a:cubicBezTo>
                  <a:cubicBezTo>
                    <a:pt x="1252" y="190903"/>
                    <a:pt x="7402" y="186633"/>
                    <a:pt x="13819" y="187790"/>
                  </a:cubicBezTo>
                  <a:lnTo>
                    <a:pt x="23476" y="189696"/>
                  </a:lnTo>
                  <a:lnTo>
                    <a:pt x="23476" y="11816"/>
                  </a:lnTo>
                  <a:lnTo>
                    <a:pt x="11659" y="11816"/>
                  </a:lnTo>
                  <a:cubicBezTo>
                    <a:pt x="5254" y="11613"/>
                    <a:pt x="159" y="6404"/>
                    <a:pt x="95" y="0"/>
                  </a:cubicBezTo>
                  <a:close/>
                </a:path>
              </a:pathLst>
            </a:custGeom>
            <a:solidFill>
              <a:srgbClr val="000000"/>
            </a:solidFill>
            <a:ln w="12704"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23161D3C-85D3-4D84-9F72-FE8F52F21866}"/>
                </a:ext>
              </a:extLst>
            </p:cNvPr>
            <p:cNvSpPr/>
            <p:nvPr/>
          </p:nvSpPr>
          <p:spPr>
            <a:xfrm>
              <a:off x="8632666" y="2931505"/>
              <a:ext cx="417676" cy="4192"/>
            </a:xfrm>
            <a:custGeom>
              <a:avLst/>
              <a:gdLst>
                <a:gd name="connsiteX0" fmla="*/ 635 w 417676"/>
                <a:gd name="connsiteY0" fmla="*/ 2922 h 4192"/>
                <a:gd name="connsiteX1" fmla="*/ 635 w 417676"/>
                <a:gd name="connsiteY1" fmla="*/ 4193 h 4192"/>
                <a:gd name="connsiteX2" fmla="*/ 417676 w 417676"/>
                <a:gd name="connsiteY2" fmla="*/ 4193 h 4192"/>
                <a:gd name="connsiteX3" fmla="*/ 417676 w 417676"/>
                <a:gd name="connsiteY3" fmla="*/ 2160 h 4192"/>
                <a:gd name="connsiteX4" fmla="*/ 417676 w 417676"/>
                <a:gd name="connsiteY4" fmla="*/ 0 h 4192"/>
                <a:gd name="connsiteX5" fmla="*/ 0 w 417676"/>
                <a:gd name="connsiteY5" fmla="*/ 0 h 4192"/>
                <a:gd name="connsiteX6" fmla="*/ 635 w 417676"/>
                <a:gd name="connsiteY6" fmla="*/ 2922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676" h="4192">
                  <a:moveTo>
                    <a:pt x="635" y="2922"/>
                  </a:moveTo>
                  <a:cubicBezTo>
                    <a:pt x="635" y="2922"/>
                    <a:pt x="635" y="3685"/>
                    <a:pt x="635" y="4193"/>
                  </a:cubicBezTo>
                  <a:lnTo>
                    <a:pt x="417676" y="4193"/>
                  </a:lnTo>
                  <a:lnTo>
                    <a:pt x="417676" y="2160"/>
                  </a:lnTo>
                  <a:cubicBezTo>
                    <a:pt x="417613" y="1436"/>
                    <a:pt x="417613" y="724"/>
                    <a:pt x="417676" y="0"/>
                  </a:cubicBezTo>
                  <a:lnTo>
                    <a:pt x="0" y="0"/>
                  </a:lnTo>
                  <a:cubicBezTo>
                    <a:pt x="318" y="953"/>
                    <a:pt x="534" y="1931"/>
                    <a:pt x="635" y="2922"/>
                  </a:cubicBezTo>
                  <a:close/>
                </a:path>
              </a:pathLst>
            </a:custGeom>
            <a:solidFill>
              <a:srgbClr val="000000"/>
            </a:solidFill>
            <a:ln w="12704"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D9FC00D5-3320-42BA-8D7B-F1EE1E174351}"/>
                </a:ext>
              </a:extLst>
            </p:cNvPr>
            <p:cNvSpPr/>
            <p:nvPr/>
          </p:nvSpPr>
          <p:spPr>
            <a:xfrm>
              <a:off x="8599659" y="2922295"/>
              <a:ext cx="25509" cy="23313"/>
            </a:xfrm>
            <a:custGeom>
              <a:avLst/>
              <a:gdLst>
                <a:gd name="connsiteX0" fmla="*/ 22078 w 25509"/>
                <a:gd name="connsiteY0" fmla="*/ 1332 h 23313"/>
                <a:gd name="connsiteX1" fmla="*/ 25509 w 25509"/>
                <a:gd name="connsiteY1" fmla="*/ 2095 h 23313"/>
                <a:gd name="connsiteX2" fmla="*/ 24238 w 25509"/>
                <a:gd name="connsiteY2" fmla="*/ 2095 h 23313"/>
                <a:gd name="connsiteX3" fmla="*/ 23476 w 25509"/>
                <a:gd name="connsiteY3" fmla="*/ 2095 h 23313"/>
                <a:gd name="connsiteX4" fmla="*/ 13819 w 25509"/>
                <a:gd name="connsiteY4" fmla="*/ 189 h 23313"/>
                <a:gd name="connsiteX5" fmla="*/ 95 w 25509"/>
                <a:gd name="connsiteY5" fmla="*/ 9718 h 23313"/>
                <a:gd name="connsiteX6" fmla="*/ 95 w 25509"/>
                <a:gd name="connsiteY6" fmla="*/ 13276 h 23313"/>
                <a:gd name="connsiteX7" fmla="*/ 95 w 25509"/>
                <a:gd name="connsiteY7" fmla="*/ 15563 h 23313"/>
                <a:gd name="connsiteX8" fmla="*/ 985 w 25509"/>
                <a:gd name="connsiteY8" fmla="*/ 17723 h 23313"/>
                <a:gd name="connsiteX9" fmla="*/ 2255 w 25509"/>
                <a:gd name="connsiteY9" fmla="*/ 19502 h 23313"/>
                <a:gd name="connsiteX10" fmla="*/ 3780 w 25509"/>
                <a:gd name="connsiteY10" fmla="*/ 21153 h 23313"/>
                <a:gd name="connsiteX11" fmla="*/ 5686 w 25509"/>
                <a:gd name="connsiteY11" fmla="*/ 22424 h 23313"/>
                <a:gd name="connsiteX12" fmla="*/ 7846 w 25509"/>
                <a:gd name="connsiteY12" fmla="*/ 23313 h 23313"/>
                <a:gd name="connsiteX13" fmla="*/ 8990 w 25509"/>
                <a:gd name="connsiteY13" fmla="*/ 23313 h 23313"/>
                <a:gd name="connsiteX14" fmla="*/ 9880 w 25509"/>
                <a:gd name="connsiteY14" fmla="*/ 23313 h 23313"/>
                <a:gd name="connsiteX15" fmla="*/ 9880 w 25509"/>
                <a:gd name="connsiteY15" fmla="*/ 13403 h 23313"/>
                <a:gd name="connsiteX16" fmla="*/ 21697 w 25509"/>
                <a:gd name="connsiteY16" fmla="*/ 1332 h 23313"/>
                <a:gd name="connsiteX17" fmla="*/ 22078 w 25509"/>
                <a:gd name="connsiteY17" fmla="*/ 1332 h 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09" h="23313">
                  <a:moveTo>
                    <a:pt x="22078" y="1332"/>
                  </a:moveTo>
                  <a:cubicBezTo>
                    <a:pt x="23260" y="1396"/>
                    <a:pt x="24416" y="1650"/>
                    <a:pt x="25509" y="2095"/>
                  </a:cubicBezTo>
                  <a:cubicBezTo>
                    <a:pt x="25509" y="2095"/>
                    <a:pt x="24747" y="2095"/>
                    <a:pt x="24238" y="2095"/>
                  </a:cubicBezTo>
                  <a:lnTo>
                    <a:pt x="23476" y="2095"/>
                  </a:lnTo>
                  <a:lnTo>
                    <a:pt x="13819" y="189"/>
                  </a:lnTo>
                  <a:cubicBezTo>
                    <a:pt x="7402" y="-967"/>
                    <a:pt x="1252" y="3302"/>
                    <a:pt x="95" y="9718"/>
                  </a:cubicBezTo>
                  <a:cubicBezTo>
                    <a:pt x="-32" y="10900"/>
                    <a:pt x="-32" y="12094"/>
                    <a:pt x="95" y="13276"/>
                  </a:cubicBezTo>
                  <a:cubicBezTo>
                    <a:pt x="32" y="14038"/>
                    <a:pt x="32" y="14800"/>
                    <a:pt x="95" y="15563"/>
                  </a:cubicBezTo>
                  <a:cubicBezTo>
                    <a:pt x="337" y="16300"/>
                    <a:pt x="629" y="17024"/>
                    <a:pt x="985" y="17723"/>
                  </a:cubicBezTo>
                  <a:cubicBezTo>
                    <a:pt x="1341" y="18371"/>
                    <a:pt x="1760" y="18968"/>
                    <a:pt x="2255" y="19502"/>
                  </a:cubicBezTo>
                  <a:lnTo>
                    <a:pt x="3780" y="21153"/>
                  </a:lnTo>
                  <a:lnTo>
                    <a:pt x="5686" y="22424"/>
                  </a:lnTo>
                  <a:lnTo>
                    <a:pt x="7846" y="23313"/>
                  </a:lnTo>
                  <a:lnTo>
                    <a:pt x="8990" y="23313"/>
                  </a:lnTo>
                  <a:lnTo>
                    <a:pt x="9880" y="23313"/>
                  </a:lnTo>
                  <a:lnTo>
                    <a:pt x="9880" y="13403"/>
                  </a:lnTo>
                  <a:cubicBezTo>
                    <a:pt x="9803" y="6809"/>
                    <a:pt x="15102" y="1396"/>
                    <a:pt x="21697" y="1332"/>
                  </a:cubicBezTo>
                  <a:cubicBezTo>
                    <a:pt x="21824" y="1332"/>
                    <a:pt x="21951" y="1332"/>
                    <a:pt x="22078" y="1332"/>
                  </a:cubicBezTo>
                  <a:close/>
                </a:path>
              </a:pathLst>
            </a:custGeom>
            <a:solidFill>
              <a:srgbClr val="000000"/>
            </a:solidFill>
            <a:ln w="12704"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E18BC8EA-43FD-4D01-87F7-96DE95890774}"/>
                </a:ext>
              </a:extLst>
            </p:cNvPr>
            <p:cNvSpPr/>
            <p:nvPr/>
          </p:nvSpPr>
          <p:spPr>
            <a:xfrm>
              <a:off x="9828133" y="2727833"/>
              <a:ext cx="2667" cy="4701"/>
            </a:xfrm>
            <a:custGeom>
              <a:avLst/>
              <a:gdLst>
                <a:gd name="connsiteX0" fmla="*/ 2668 w 2667"/>
                <a:gd name="connsiteY0" fmla="*/ 4701 h 4701"/>
                <a:gd name="connsiteX1" fmla="*/ 1016 w 2667"/>
                <a:gd name="connsiteY1" fmla="*/ 1271 h 4701"/>
                <a:gd name="connsiteX2" fmla="*/ 0 w 2667"/>
                <a:gd name="connsiteY2" fmla="*/ 0 h 4701"/>
                <a:gd name="connsiteX3" fmla="*/ 1525 w 2667"/>
                <a:gd name="connsiteY3" fmla="*/ 3304 h 4701"/>
                <a:gd name="connsiteX4" fmla="*/ 2668 w 2667"/>
                <a:gd name="connsiteY4" fmla="*/ 4701 h 4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 h="4701">
                  <a:moveTo>
                    <a:pt x="2668" y="4701"/>
                  </a:moveTo>
                  <a:lnTo>
                    <a:pt x="1016" y="1271"/>
                  </a:lnTo>
                  <a:cubicBezTo>
                    <a:pt x="711" y="826"/>
                    <a:pt x="368" y="394"/>
                    <a:pt x="0" y="0"/>
                  </a:cubicBezTo>
                  <a:cubicBezTo>
                    <a:pt x="661" y="1016"/>
                    <a:pt x="1181" y="2135"/>
                    <a:pt x="1525" y="3304"/>
                  </a:cubicBezTo>
                  <a:cubicBezTo>
                    <a:pt x="1969" y="3710"/>
                    <a:pt x="2351" y="4180"/>
                    <a:pt x="2668" y="4701"/>
                  </a:cubicBezTo>
                  <a:close/>
                </a:path>
              </a:pathLst>
            </a:custGeom>
            <a:solidFill>
              <a:srgbClr val="000000"/>
            </a:solidFill>
            <a:ln w="12704"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93B8153F-A4A9-434E-B97D-A92AB0E310FB}"/>
                </a:ext>
              </a:extLst>
            </p:cNvPr>
            <p:cNvSpPr/>
            <p:nvPr/>
          </p:nvSpPr>
          <p:spPr>
            <a:xfrm>
              <a:off x="10841128" y="5643020"/>
              <a:ext cx="4193" cy="32907"/>
            </a:xfrm>
            <a:custGeom>
              <a:avLst/>
              <a:gdLst>
                <a:gd name="connsiteX0" fmla="*/ 0 w 4193"/>
                <a:gd name="connsiteY0" fmla="*/ 0 h 32907"/>
                <a:gd name="connsiteX1" fmla="*/ 0 w 4193"/>
                <a:gd name="connsiteY1" fmla="*/ 32908 h 32907"/>
                <a:gd name="connsiteX2" fmla="*/ 4194 w 4193"/>
                <a:gd name="connsiteY2" fmla="*/ 32908 h 32907"/>
                <a:gd name="connsiteX3" fmla="*/ 4194 w 4193"/>
                <a:gd name="connsiteY3" fmla="*/ 0 h 32907"/>
                <a:gd name="connsiteX4" fmla="*/ 0 w 4193"/>
                <a:gd name="connsiteY4" fmla="*/ 0 h 3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32907">
                  <a:moveTo>
                    <a:pt x="0" y="0"/>
                  </a:moveTo>
                  <a:lnTo>
                    <a:pt x="0" y="32908"/>
                  </a:lnTo>
                  <a:cubicBezTo>
                    <a:pt x="1385" y="32654"/>
                    <a:pt x="2808" y="32654"/>
                    <a:pt x="4194" y="32908"/>
                  </a:cubicBezTo>
                  <a:lnTo>
                    <a:pt x="4194" y="0"/>
                  </a:lnTo>
                  <a:lnTo>
                    <a:pt x="0" y="0"/>
                  </a:lnTo>
                  <a:close/>
                </a:path>
              </a:pathLst>
            </a:custGeom>
            <a:solidFill>
              <a:srgbClr val="000000"/>
            </a:solidFill>
            <a:ln w="12704"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1572333E-79AC-4634-B32C-A8CF98D48ECB}"/>
                </a:ext>
              </a:extLst>
            </p:cNvPr>
            <p:cNvSpPr/>
            <p:nvPr/>
          </p:nvSpPr>
          <p:spPr>
            <a:xfrm>
              <a:off x="9091640" y="797461"/>
              <a:ext cx="47" cy="2032"/>
            </a:xfrm>
            <a:custGeom>
              <a:avLst/>
              <a:gdLst>
                <a:gd name="connsiteX0" fmla="*/ 0 w 47"/>
                <a:gd name="connsiteY0" fmla="*/ 0 h 2032"/>
                <a:gd name="connsiteX1" fmla="*/ 0 w 47"/>
                <a:gd name="connsiteY1" fmla="*/ 0 h 2032"/>
                <a:gd name="connsiteX2" fmla="*/ 0 w 47"/>
                <a:gd name="connsiteY2" fmla="*/ 2033 h 2032"/>
                <a:gd name="connsiteX3" fmla="*/ 0 w 47"/>
                <a:gd name="connsiteY3" fmla="*/ 0 h 2032"/>
              </a:gdLst>
              <a:ahLst/>
              <a:cxnLst>
                <a:cxn ang="0">
                  <a:pos x="connsiteX0" y="connsiteY0"/>
                </a:cxn>
                <a:cxn ang="0">
                  <a:pos x="connsiteX1" y="connsiteY1"/>
                </a:cxn>
                <a:cxn ang="0">
                  <a:pos x="connsiteX2" y="connsiteY2"/>
                </a:cxn>
                <a:cxn ang="0">
                  <a:pos x="connsiteX3" y="connsiteY3"/>
                </a:cxn>
              </a:cxnLst>
              <a:rect l="l" t="t" r="r" b="b"/>
              <a:pathLst>
                <a:path w="47" h="2032">
                  <a:moveTo>
                    <a:pt x="0" y="0"/>
                  </a:moveTo>
                  <a:lnTo>
                    <a:pt x="0" y="0"/>
                  </a:lnTo>
                  <a:cubicBezTo>
                    <a:pt x="64" y="676"/>
                    <a:pt x="64" y="1357"/>
                    <a:pt x="0" y="2033"/>
                  </a:cubicBezTo>
                  <a:cubicBezTo>
                    <a:pt x="64" y="1357"/>
                    <a:pt x="64" y="676"/>
                    <a:pt x="0" y="0"/>
                  </a:cubicBezTo>
                  <a:close/>
                </a:path>
              </a:pathLst>
            </a:custGeom>
            <a:solidFill>
              <a:srgbClr val="000000"/>
            </a:solidFill>
            <a:ln w="12704"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735B87D5-F1BF-4E28-B37F-C3A4B57D6BD9}"/>
                </a:ext>
              </a:extLst>
            </p:cNvPr>
            <p:cNvSpPr/>
            <p:nvPr/>
          </p:nvSpPr>
          <p:spPr>
            <a:xfrm>
              <a:off x="9071563" y="769509"/>
              <a:ext cx="20076" cy="27952"/>
            </a:xfrm>
            <a:custGeom>
              <a:avLst/>
              <a:gdLst>
                <a:gd name="connsiteX0" fmla="*/ 9276 w 20076"/>
                <a:gd name="connsiteY0" fmla="*/ 20583 h 27952"/>
                <a:gd name="connsiteX1" fmla="*/ 20077 w 20076"/>
                <a:gd name="connsiteY1" fmla="*/ 27952 h 27952"/>
                <a:gd name="connsiteX2" fmla="*/ 8767 w 20076"/>
                <a:gd name="connsiteY2" fmla="*/ 0 h 27952"/>
                <a:gd name="connsiteX3" fmla="*/ 8767 w 20076"/>
                <a:gd name="connsiteY3" fmla="*/ 0 h 27952"/>
                <a:gd name="connsiteX4" fmla="*/ 9657 w 20076"/>
                <a:gd name="connsiteY4" fmla="*/ 4701 h 27952"/>
                <a:gd name="connsiteX5" fmla="*/ 0 w 20076"/>
                <a:gd name="connsiteY5" fmla="*/ 16263 h 27952"/>
                <a:gd name="connsiteX6" fmla="*/ 0 w 20076"/>
                <a:gd name="connsiteY6" fmla="*/ 25538 h 27952"/>
                <a:gd name="connsiteX7" fmla="*/ 9276 w 20076"/>
                <a:gd name="connsiteY7" fmla="*/ 20583 h 2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76" h="27952">
                  <a:moveTo>
                    <a:pt x="9276" y="20583"/>
                  </a:moveTo>
                  <a:cubicBezTo>
                    <a:pt x="14028" y="20643"/>
                    <a:pt x="18285" y="23546"/>
                    <a:pt x="20077" y="27952"/>
                  </a:cubicBezTo>
                  <a:lnTo>
                    <a:pt x="8767" y="0"/>
                  </a:lnTo>
                  <a:lnTo>
                    <a:pt x="8767" y="0"/>
                  </a:lnTo>
                  <a:cubicBezTo>
                    <a:pt x="9327" y="1504"/>
                    <a:pt x="9632" y="3095"/>
                    <a:pt x="9657" y="4701"/>
                  </a:cubicBezTo>
                  <a:cubicBezTo>
                    <a:pt x="9683" y="10392"/>
                    <a:pt x="5603" y="15273"/>
                    <a:pt x="0" y="16263"/>
                  </a:cubicBezTo>
                  <a:lnTo>
                    <a:pt x="0" y="25538"/>
                  </a:lnTo>
                  <a:cubicBezTo>
                    <a:pt x="2109" y="22479"/>
                    <a:pt x="5565" y="20631"/>
                    <a:pt x="9276" y="20583"/>
                  </a:cubicBezTo>
                  <a:close/>
                </a:path>
              </a:pathLst>
            </a:custGeom>
            <a:solidFill>
              <a:srgbClr val="000000"/>
            </a:solidFill>
            <a:ln w="12704"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409F17AE-7C19-404A-9FCA-DEED173DD413}"/>
                </a:ext>
              </a:extLst>
            </p:cNvPr>
            <p:cNvSpPr/>
            <p:nvPr/>
          </p:nvSpPr>
          <p:spPr>
            <a:xfrm>
              <a:off x="9061651" y="786153"/>
              <a:ext cx="5717" cy="14230"/>
            </a:xfrm>
            <a:custGeom>
              <a:avLst/>
              <a:gdLst>
                <a:gd name="connsiteX0" fmla="*/ 0 w 5717"/>
                <a:gd name="connsiteY0" fmla="*/ 0 h 14230"/>
                <a:gd name="connsiteX1" fmla="*/ 5718 w 5717"/>
                <a:gd name="connsiteY1" fmla="*/ 14230 h 14230"/>
                <a:gd name="connsiteX2" fmla="*/ 5718 w 5717"/>
                <a:gd name="connsiteY2" fmla="*/ 0 h 14230"/>
                <a:gd name="connsiteX3" fmla="*/ 0 w 5717"/>
                <a:gd name="connsiteY3" fmla="*/ 0 h 14230"/>
              </a:gdLst>
              <a:ahLst/>
              <a:cxnLst>
                <a:cxn ang="0">
                  <a:pos x="connsiteX0" y="connsiteY0"/>
                </a:cxn>
                <a:cxn ang="0">
                  <a:pos x="connsiteX1" y="connsiteY1"/>
                </a:cxn>
                <a:cxn ang="0">
                  <a:pos x="connsiteX2" y="connsiteY2"/>
                </a:cxn>
                <a:cxn ang="0">
                  <a:pos x="connsiteX3" y="connsiteY3"/>
                </a:cxn>
              </a:cxnLst>
              <a:rect l="l" t="t" r="r" b="b"/>
              <a:pathLst>
                <a:path w="5717" h="14230">
                  <a:moveTo>
                    <a:pt x="0" y="0"/>
                  </a:moveTo>
                  <a:lnTo>
                    <a:pt x="5718" y="14230"/>
                  </a:lnTo>
                  <a:lnTo>
                    <a:pt x="5718" y="0"/>
                  </a:lnTo>
                  <a:lnTo>
                    <a:pt x="0" y="0"/>
                  </a:lnTo>
                  <a:close/>
                </a:path>
              </a:pathLst>
            </a:custGeom>
            <a:solidFill>
              <a:srgbClr val="000000"/>
            </a:solidFill>
            <a:ln w="12704"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86D4F838-9B66-450E-B07D-3FE8F61A7F68}"/>
                </a:ext>
              </a:extLst>
            </p:cNvPr>
            <p:cNvSpPr/>
            <p:nvPr/>
          </p:nvSpPr>
          <p:spPr>
            <a:xfrm>
              <a:off x="9067369" y="786153"/>
              <a:ext cx="4193" cy="1936216"/>
            </a:xfrm>
            <a:custGeom>
              <a:avLst/>
              <a:gdLst>
                <a:gd name="connsiteX0" fmla="*/ 4194 w 4193"/>
                <a:gd name="connsiteY0" fmla="*/ 1936216 h 1936216"/>
                <a:gd name="connsiteX1" fmla="*/ 4194 w 4193"/>
                <a:gd name="connsiteY1" fmla="*/ 1764182 h 1936216"/>
                <a:gd name="connsiteX2" fmla="*/ 4194 w 4193"/>
                <a:gd name="connsiteY2" fmla="*/ 1764182 h 1936216"/>
                <a:gd name="connsiteX3" fmla="*/ 1652 w 4193"/>
                <a:gd name="connsiteY3" fmla="*/ 1757066 h 1936216"/>
                <a:gd name="connsiteX4" fmla="*/ 1652 w 4193"/>
                <a:gd name="connsiteY4" fmla="*/ 16390 h 1936216"/>
                <a:gd name="connsiteX5" fmla="*/ 4194 w 4193"/>
                <a:gd name="connsiteY5" fmla="*/ 9275 h 1936216"/>
                <a:gd name="connsiteX6" fmla="*/ 4194 w 4193"/>
                <a:gd name="connsiteY6" fmla="*/ 0 h 1936216"/>
                <a:gd name="connsiteX7" fmla="*/ 2160 w 4193"/>
                <a:gd name="connsiteY7" fmla="*/ 0 h 1936216"/>
                <a:gd name="connsiteX8" fmla="*/ 0 w 4193"/>
                <a:gd name="connsiteY8" fmla="*/ 0 h 1936216"/>
                <a:gd name="connsiteX9" fmla="*/ 0 w 4193"/>
                <a:gd name="connsiteY9" fmla="*/ 1936216 h 1936216"/>
                <a:gd name="connsiteX10" fmla="*/ 4194 w 4193"/>
                <a:gd name="connsiteY10" fmla="*/ 1936216 h 193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3" h="1936216">
                  <a:moveTo>
                    <a:pt x="4194" y="1936216"/>
                  </a:moveTo>
                  <a:lnTo>
                    <a:pt x="4194" y="1764182"/>
                  </a:lnTo>
                  <a:lnTo>
                    <a:pt x="4194" y="1764182"/>
                  </a:lnTo>
                  <a:cubicBezTo>
                    <a:pt x="2580" y="1762161"/>
                    <a:pt x="1677" y="1759658"/>
                    <a:pt x="1652" y="1757066"/>
                  </a:cubicBezTo>
                  <a:lnTo>
                    <a:pt x="1652" y="16390"/>
                  </a:lnTo>
                  <a:cubicBezTo>
                    <a:pt x="1677" y="13801"/>
                    <a:pt x="2580" y="11295"/>
                    <a:pt x="4194" y="9275"/>
                  </a:cubicBezTo>
                  <a:lnTo>
                    <a:pt x="4194" y="0"/>
                  </a:lnTo>
                  <a:lnTo>
                    <a:pt x="2160" y="0"/>
                  </a:lnTo>
                  <a:lnTo>
                    <a:pt x="0" y="0"/>
                  </a:lnTo>
                  <a:lnTo>
                    <a:pt x="0" y="1936216"/>
                  </a:lnTo>
                  <a:lnTo>
                    <a:pt x="4194" y="1936216"/>
                  </a:lnTo>
                  <a:close/>
                </a:path>
              </a:pathLst>
            </a:custGeom>
            <a:solidFill>
              <a:srgbClr val="000000"/>
            </a:solidFill>
            <a:ln w="12704"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197204CF-09AA-493F-8E4A-4DA8EE39FDB3}"/>
                </a:ext>
              </a:extLst>
            </p:cNvPr>
            <p:cNvSpPr/>
            <p:nvPr/>
          </p:nvSpPr>
          <p:spPr>
            <a:xfrm>
              <a:off x="9078679" y="2554782"/>
              <a:ext cx="4193" cy="167587"/>
            </a:xfrm>
            <a:custGeom>
              <a:avLst/>
              <a:gdLst>
                <a:gd name="connsiteX0" fmla="*/ 0 w 4193"/>
                <a:gd name="connsiteY0" fmla="*/ 167588 h 167587"/>
                <a:gd name="connsiteX1" fmla="*/ 4193 w 4193"/>
                <a:gd name="connsiteY1" fmla="*/ 167588 h 167587"/>
                <a:gd name="connsiteX2" fmla="*/ 4193 w 4193"/>
                <a:gd name="connsiteY2" fmla="*/ 0 h 167587"/>
                <a:gd name="connsiteX3" fmla="*/ 2160 w 4193"/>
                <a:gd name="connsiteY3" fmla="*/ 0 h 167587"/>
                <a:gd name="connsiteX4" fmla="*/ 0 w 4193"/>
                <a:gd name="connsiteY4" fmla="*/ 0 h 167587"/>
                <a:gd name="connsiteX5" fmla="*/ 0 w 4193"/>
                <a:gd name="connsiteY5" fmla="*/ 167588 h 16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67587">
                  <a:moveTo>
                    <a:pt x="0" y="167588"/>
                  </a:moveTo>
                  <a:lnTo>
                    <a:pt x="4193" y="167588"/>
                  </a:lnTo>
                  <a:lnTo>
                    <a:pt x="4193" y="0"/>
                  </a:lnTo>
                  <a:cubicBezTo>
                    <a:pt x="3520" y="76"/>
                    <a:pt x="2834" y="76"/>
                    <a:pt x="2160" y="0"/>
                  </a:cubicBezTo>
                  <a:cubicBezTo>
                    <a:pt x="1436" y="64"/>
                    <a:pt x="724" y="64"/>
                    <a:pt x="0" y="0"/>
                  </a:cubicBezTo>
                  <a:lnTo>
                    <a:pt x="0" y="167588"/>
                  </a:lnTo>
                  <a:close/>
                </a:path>
              </a:pathLst>
            </a:custGeom>
            <a:solidFill>
              <a:srgbClr val="000000"/>
            </a:solidFill>
            <a:ln w="12704"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F3A8D1D5-3CA0-422A-91BC-5CD32814CB8D}"/>
                </a:ext>
              </a:extLst>
            </p:cNvPr>
            <p:cNvSpPr/>
            <p:nvPr/>
          </p:nvSpPr>
          <p:spPr>
            <a:xfrm>
              <a:off x="10969087" y="3292472"/>
              <a:ext cx="4447" cy="1016"/>
            </a:xfrm>
            <a:custGeom>
              <a:avLst/>
              <a:gdLst>
                <a:gd name="connsiteX0" fmla="*/ 0 w 4447"/>
                <a:gd name="connsiteY0" fmla="*/ 0 h 1016"/>
                <a:gd name="connsiteX1" fmla="*/ 0 w 4447"/>
                <a:gd name="connsiteY1" fmla="*/ 0 h 1016"/>
                <a:gd name="connsiteX2" fmla="*/ 2542 w 4447"/>
                <a:gd name="connsiteY2" fmla="*/ 0 h 1016"/>
                <a:gd name="connsiteX3" fmla="*/ 4447 w 4447"/>
                <a:gd name="connsiteY3" fmla="*/ 0 h 1016"/>
                <a:gd name="connsiteX4" fmla="*/ 0 w 4447"/>
                <a:gd name="connsiteY4" fmla="*/ 1016 h 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7" h="1016">
                  <a:moveTo>
                    <a:pt x="0" y="0"/>
                  </a:moveTo>
                  <a:lnTo>
                    <a:pt x="0" y="0"/>
                  </a:lnTo>
                  <a:cubicBezTo>
                    <a:pt x="852" y="76"/>
                    <a:pt x="1690" y="76"/>
                    <a:pt x="2542" y="0"/>
                  </a:cubicBezTo>
                  <a:lnTo>
                    <a:pt x="4447" y="0"/>
                  </a:lnTo>
                  <a:cubicBezTo>
                    <a:pt x="3063" y="661"/>
                    <a:pt x="1537" y="1016"/>
                    <a:pt x="0" y="1016"/>
                  </a:cubicBezTo>
                  <a:close/>
                </a:path>
              </a:pathLst>
            </a:custGeom>
            <a:solidFill>
              <a:srgbClr val="000000"/>
            </a:solidFill>
            <a:ln w="12704"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E607AD6A-1185-4767-8633-9375C8863158}"/>
                </a:ext>
              </a:extLst>
            </p:cNvPr>
            <p:cNvSpPr/>
            <p:nvPr/>
          </p:nvSpPr>
          <p:spPr>
            <a:xfrm>
              <a:off x="10980269" y="3281419"/>
              <a:ext cx="95" cy="2541"/>
            </a:xfrm>
            <a:custGeom>
              <a:avLst/>
              <a:gdLst>
                <a:gd name="connsiteX0" fmla="*/ 0 w 95"/>
                <a:gd name="connsiteY0" fmla="*/ 0 h 2541"/>
                <a:gd name="connsiteX1" fmla="*/ 0 w 95"/>
                <a:gd name="connsiteY1" fmla="*/ 0 h 2541"/>
                <a:gd name="connsiteX2" fmla="*/ 0 w 95"/>
                <a:gd name="connsiteY2" fmla="*/ 2541 h 2541"/>
                <a:gd name="connsiteX3" fmla="*/ 0 w 95"/>
                <a:gd name="connsiteY3" fmla="*/ 0 h 2541"/>
              </a:gdLst>
              <a:ahLst/>
              <a:cxnLst>
                <a:cxn ang="0">
                  <a:pos x="connsiteX0" y="connsiteY0"/>
                </a:cxn>
                <a:cxn ang="0">
                  <a:pos x="connsiteX1" y="connsiteY1"/>
                </a:cxn>
                <a:cxn ang="0">
                  <a:pos x="connsiteX2" y="connsiteY2"/>
                </a:cxn>
                <a:cxn ang="0">
                  <a:pos x="connsiteX3" y="connsiteY3"/>
                </a:cxn>
              </a:cxnLst>
              <a:rect l="l" t="t" r="r" b="b"/>
              <a:pathLst>
                <a:path w="95" h="2541">
                  <a:moveTo>
                    <a:pt x="0" y="0"/>
                  </a:moveTo>
                  <a:lnTo>
                    <a:pt x="0" y="0"/>
                  </a:lnTo>
                  <a:cubicBezTo>
                    <a:pt x="127" y="839"/>
                    <a:pt x="127" y="1703"/>
                    <a:pt x="0" y="2541"/>
                  </a:cubicBezTo>
                  <a:cubicBezTo>
                    <a:pt x="114" y="1703"/>
                    <a:pt x="114" y="839"/>
                    <a:pt x="0" y="0"/>
                  </a:cubicBezTo>
                  <a:close/>
                </a:path>
              </a:pathLst>
            </a:custGeom>
            <a:solidFill>
              <a:srgbClr val="000000"/>
            </a:solidFill>
            <a:ln w="12704"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963E8C31-99BD-4E4A-A09F-BBB4319B1792}"/>
                </a:ext>
              </a:extLst>
            </p:cNvPr>
            <p:cNvSpPr/>
            <p:nvPr/>
          </p:nvSpPr>
          <p:spPr>
            <a:xfrm>
              <a:off x="10959811" y="3268646"/>
              <a:ext cx="11435" cy="66"/>
            </a:xfrm>
            <a:custGeom>
              <a:avLst/>
              <a:gdLst>
                <a:gd name="connsiteX0" fmla="*/ 11436 w 11435"/>
                <a:gd name="connsiteY0" fmla="*/ 67 h 66"/>
                <a:gd name="connsiteX1" fmla="*/ 9657 w 11435"/>
                <a:gd name="connsiteY1" fmla="*/ 67 h 66"/>
                <a:gd name="connsiteX2" fmla="*/ 3050 w 11435"/>
                <a:gd name="connsiteY2" fmla="*/ 67 h 66"/>
                <a:gd name="connsiteX3" fmla="*/ 3050 w 11435"/>
                <a:gd name="connsiteY3" fmla="*/ 67 h 66"/>
                <a:gd name="connsiteX4" fmla="*/ 0 w 11435"/>
                <a:gd name="connsiteY4" fmla="*/ 67 h 66"/>
                <a:gd name="connsiteX5" fmla="*/ 9276 w 11435"/>
                <a:gd name="connsiteY5" fmla="*/ 67 h 66"/>
                <a:gd name="connsiteX6" fmla="*/ 11436 w 11435"/>
                <a:gd name="connsiteY6" fmla="*/ 67 h 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5" h="66">
                  <a:moveTo>
                    <a:pt x="11436" y="67"/>
                  </a:moveTo>
                  <a:cubicBezTo>
                    <a:pt x="10839" y="-9"/>
                    <a:pt x="10241" y="-9"/>
                    <a:pt x="9657" y="67"/>
                  </a:cubicBezTo>
                  <a:lnTo>
                    <a:pt x="3050" y="67"/>
                  </a:lnTo>
                  <a:lnTo>
                    <a:pt x="3050" y="67"/>
                  </a:lnTo>
                  <a:lnTo>
                    <a:pt x="0" y="67"/>
                  </a:lnTo>
                  <a:lnTo>
                    <a:pt x="9276" y="67"/>
                  </a:lnTo>
                  <a:cubicBezTo>
                    <a:pt x="9988" y="-22"/>
                    <a:pt x="10725" y="-22"/>
                    <a:pt x="11436" y="67"/>
                  </a:cubicBezTo>
                  <a:close/>
                </a:path>
              </a:pathLst>
            </a:custGeom>
            <a:solidFill>
              <a:srgbClr val="000000"/>
            </a:solidFill>
            <a:ln w="12704"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389B5909-F2CE-444F-A390-DF04328801EE}"/>
                </a:ext>
              </a:extLst>
            </p:cNvPr>
            <p:cNvSpPr/>
            <p:nvPr/>
          </p:nvSpPr>
          <p:spPr>
            <a:xfrm>
              <a:off x="10847609" y="3268627"/>
              <a:ext cx="132247" cy="23591"/>
            </a:xfrm>
            <a:custGeom>
              <a:avLst/>
              <a:gdLst>
                <a:gd name="connsiteX0" fmla="*/ 3177 w 132247"/>
                <a:gd name="connsiteY0" fmla="*/ 86 h 23591"/>
                <a:gd name="connsiteX1" fmla="*/ 4956 w 132247"/>
                <a:gd name="connsiteY1" fmla="*/ 86 h 23591"/>
                <a:gd name="connsiteX2" fmla="*/ 7243 w 132247"/>
                <a:gd name="connsiteY2" fmla="*/ 848 h 23591"/>
                <a:gd name="connsiteX3" fmla="*/ 9022 w 132247"/>
                <a:gd name="connsiteY3" fmla="*/ 2119 h 23591"/>
                <a:gd name="connsiteX4" fmla="*/ 10801 w 132247"/>
                <a:gd name="connsiteY4" fmla="*/ 3516 h 23591"/>
                <a:gd name="connsiteX5" fmla="*/ 12072 w 132247"/>
                <a:gd name="connsiteY5" fmla="*/ 5422 h 23591"/>
                <a:gd name="connsiteX6" fmla="*/ 13088 w 132247"/>
                <a:gd name="connsiteY6" fmla="*/ 7455 h 23591"/>
                <a:gd name="connsiteX7" fmla="*/ 13088 w 132247"/>
                <a:gd name="connsiteY7" fmla="*/ 9742 h 23591"/>
                <a:gd name="connsiteX8" fmla="*/ 13088 w 132247"/>
                <a:gd name="connsiteY8" fmla="*/ 11648 h 23591"/>
                <a:gd name="connsiteX9" fmla="*/ 13088 w 132247"/>
                <a:gd name="connsiteY9" fmla="*/ 23591 h 23591"/>
                <a:gd name="connsiteX10" fmla="*/ 121478 w 132247"/>
                <a:gd name="connsiteY10" fmla="*/ 23591 h 23591"/>
                <a:gd name="connsiteX11" fmla="*/ 125925 w 132247"/>
                <a:gd name="connsiteY11" fmla="*/ 22575 h 23591"/>
                <a:gd name="connsiteX12" fmla="*/ 127196 w 132247"/>
                <a:gd name="connsiteY12" fmla="*/ 21813 h 23591"/>
                <a:gd name="connsiteX13" fmla="*/ 129611 w 132247"/>
                <a:gd name="connsiteY13" fmla="*/ 20161 h 23591"/>
                <a:gd name="connsiteX14" fmla="*/ 130627 w 132247"/>
                <a:gd name="connsiteY14" fmla="*/ 18636 h 23591"/>
                <a:gd name="connsiteX15" fmla="*/ 132152 w 132247"/>
                <a:gd name="connsiteY15" fmla="*/ 16476 h 23591"/>
                <a:gd name="connsiteX16" fmla="*/ 132152 w 132247"/>
                <a:gd name="connsiteY16" fmla="*/ 14443 h 23591"/>
                <a:gd name="connsiteX17" fmla="*/ 132152 w 132247"/>
                <a:gd name="connsiteY17" fmla="*/ 11902 h 23591"/>
                <a:gd name="connsiteX18" fmla="*/ 132152 w 132247"/>
                <a:gd name="connsiteY18" fmla="*/ 11902 h 23591"/>
                <a:gd name="connsiteX19" fmla="*/ 132152 w 132247"/>
                <a:gd name="connsiteY19" fmla="*/ 9996 h 23591"/>
                <a:gd name="connsiteX20" fmla="*/ 132152 w 132247"/>
                <a:gd name="connsiteY20" fmla="*/ 7709 h 23591"/>
                <a:gd name="connsiteX21" fmla="*/ 131008 w 132247"/>
                <a:gd name="connsiteY21" fmla="*/ 5676 h 23591"/>
                <a:gd name="connsiteX22" fmla="*/ 129738 w 132247"/>
                <a:gd name="connsiteY22" fmla="*/ 3770 h 23591"/>
                <a:gd name="connsiteX23" fmla="*/ 128086 w 132247"/>
                <a:gd name="connsiteY23" fmla="*/ 2373 h 23591"/>
                <a:gd name="connsiteX24" fmla="*/ 126180 w 132247"/>
                <a:gd name="connsiteY24" fmla="*/ 1102 h 23591"/>
                <a:gd name="connsiteX25" fmla="*/ 123892 w 132247"/>
                <a:gd name="connsiteY25" fmla="*/ 1102 h 23591"/>
                <a:gd name="connsiteX26" fmla="*/ 121478 w 132247"/>
                <a:gd name="connsiteY26" fmla="*/ 86 h 23591"/>
                <a:gd name="connsiteX27" fmla="*/ 1906 w 132247"/>
                <a:gd name="connsiteY27" fmla="*/ 86 h 23591"/>
                <a:gd name="connsiteX28" fmla="*/ 0 w 132247"/>
                <a:gd name="connsiteY28" fmla="*/ 86 h 23591"/>
                <a:gd name="connsiteX29" fmla="*/ 2795 w 132247"/>
                <a:gd name="connsiteY29" fmla="*/ 86 h 2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2247" h="23591">
                  <a:moveTo>
                    <a:pt x="3177" y="86"/>
                  </a:moveTo>
                  <a:lnTo>
                    <a:pt x="4956" y="86"/>
                  </a:lnTo>
                  <a:cubicBezTo>
                    <a:pt x="5731" y="276"/>
                    <a:pt x="6506" y="543"/>
                    <a:pt x="7243" y="848"/>
                  </a:cubicBezTo>
                  <a:cubicBezTo>
                    <a:pt x="7916" y="1153"/>
                    <a:pt x="8513" y="1585"/>
                    <a:pt x="9022" y="2119"/>
                  </a:cubicBezTo>
                  <a:cubicBezTo>
                    <a:pt x="9695" y="2474"/>
                    <a:pt x="10293" y="2945"/>
                    <a:pt x="10801" y="3516"/>
                  </a:cubicBezTo>
                  <a:cubicBezTo>
                    <a:pt x="11296" y="4101"/>
                    <a:pt x="11728" y="4736"/>
                    <a:pt x="12072" y="5422"/>
                  </a:cubicBezTo>
                  <a:cubicBezTo>
                    <a:pt x="12491" y="6057"/>
                    <a:pt x="12821" y="6744"/>
                    <a:pt x="13088" y="7455"/>
                  </a:cubicBezTo>
                  <a:cubicBezTo>
                    <a:pt x="13215" y="8217"/>
                    <a:pt x="13215" y="8980"/>
                    <a:pt x="13088" y="9742"/>
                  </a:cubicBezTo>
                  <a:cubicBezTo>
                    <a:pt x="13165" y="10377"/>
                    <a:pt x="13165" y="11013"/>
                    <a:pt x="13088" y="11648"/>
                  </a:cubicBezTo>
                  <a:lnTo>
                    <a:pt x="13088" y="23591"/>
                  </a:lnTo>
                  <a:lnTo>
                    <a:pt x="121478" y="23591"/>
                  </a:lnTo>
                  <a:cubicBezTo>
                    <a:pt x="123015" y="23591"/>
                    <a:pt x="124541" y="23236"/>
                    <a:pt x="125925" y="22575"/>
                  </a:cubicBezTo>
                  <a:cubicBezTo>
                    <a:pt x="126396" y="22397"/>
                    <a:pt x="126815" y="22143"/>
                    <a:pt x="127196" y="21813"/>
                  </a:cubicBezTo>
                  <a:cubicBezTo>
                    <a:pt x="128073" y="21368"/>
                    <a:pt x="128873" y="20809"/>
                    <a:pt x="129611" y="20161"/>
                  </a:cubicBezTo>
                  <a:cubicBezTo>
                    <a:pt x="129992" y="19678"/>
                    <a:pt x="130335" y="19170"/>
                    <a:pt x="130627" y="18636"/>
                  </a:cubicBezTo>
                  <a:cubicBezTo>
                    <a:pt x="131250" y="18001"/>
                    <a:pt x="131758" y="17277"/>
                    <a:pt x="132152" y="16476"/>
                  </a:cubicBezTo>
                  <a:cubicBezTo>
                    <a:pt x="132228" y="15803"/>
                    <a:pt x="132228" y="15117"/>
                    <a:pt x="132152" y="14443"/>
                  </a:cubicBezTo>
                  <a:cubicBezTo>
                    <a:pt x="132279" y="13605"/>
                    <a:pt x="132279" y="12741"/>
                    <a:pt x="132152" y="11902"/>
                  </a:cubicBezTo>
                  <a:cubicBezTo>
                    <a:pt x="132152" y="11902"/>
                    <a:pt x="132152" y="11902"/>
                    <a:pt x="132152" y="11902"/>
                  </a:cubicBezTo>
                  <a:cubicBezTo>
                    <a:pt x="132152" y="11902"/>
                    <a:pt x="132152" y="10632"/>
                    <a:pt x="132152" y="9996"/>
                  </a:cubicBezTo>
                  <a:cubicBezTo>
                    <a:pt x="132215" y="9234"/>
                    <a:pt x="132215" y="8472"/>
                    <a:pt x="132152" y="7709"/>
                  </a:cubicBezTo>
                  <a:cubicBezTo>
                    <a:pt x="131847" y="6998"/>
                    <a:pt x="131466" y="6312"/>
                    <a:pt x="131008" y="5676"/>
                  </a:cubicBezTo>
                  <a:cubicBezTo>
                    <a:pt x="130666" y="4990"/>
                    <a:pt x="130234" y="4355"/>
                    <a:pt x="129738" y="3770"/>
                  </a:cubicBezTo>
                  <a:lnTo>
                    <a:pt x="128086" y="2373"/>
                  </a:lnTo>
                  <a:cubicBezTo>
                    <a:pt x="127514" y="1865"/>
                    <a:pt x="126866" y="1433"/>
                    <a:pt x="126180" y="1102"/>
                  </a:cubicBezTo>
                  <a:cubicBezTo>
                    <a:pt x="125417" y="975"/>
                    <a:pt x="124655" y="975"/>
                    <a:pt x="123892" y="1102"/>
                  </a:cubicBezTo>
                  <a:cubicBezTo>
                    <a:pt x="123143" y="645"/>
                    <a:pt x="122330" y="302"/>
                    <a:pt x="121478" y="86"/>
                  </a:cubicBezTo>
                  <a:lnTo>
                    <a:pt x="1906" y="86"/>
                  </a:lnTo>
                  <a:cubicBezTo>
                    <a:pt x="1906" y="86"/>
                    <a:pt x="635" y="86"/>
                    <a:pt x="0" y="86"/>
                  </a:cubicBezTo>
                  <a:cubicBezTo>
                    <a:pt x="928" y="-29"/>
                    <a:pt x="1868" y="-29"/>
                    <a:pt x="2795" y="86"/>
                  </a:cubicBezTo>
                  <a:close/>
                </a:path>
              </a:pathLst>
            </a:custGeom>
            <a:solidFill>
              <a:srgbClr val="000000"/>
            </a:solidFill>
            <a:ln w="12704"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984DEDCA-9A93-4409-950A-1CA7B610A4B9}"/>
                </a:ext>
              </a:extLst>
            </p:cNvPr>
            <p:cNvSpPr/>
            <p:nvPr/>
          </p:nvSpPr>
          <p:spPr>
            <a:xfrm>
              <a:off x="10837824" y="3278623"/>
              <a:ext cx="23819" cy="821167"/>
            </a:xfrm>
            <a:custGeom>
              <a:avLst/>
              <a:gdLst>
                <a:gd name="connsiteX0" fmla="*/ 12072 w 23819"/>
                <a:gd name="connsiteY0" fmla="*/ 809224 h 821167"/>
                <a:gd name="connsiteX1" fmla="*/ 23762 w 23819"/>
                <a:gd name="connsiteY1" fmla="*/ 821167 h 821167"/>
                <a:gd name="connsiteX2" fmla="*/ 23762 w 23819"/>
                <a:gd name="connsiteY2" fmla="*/ 821167 h 821167"/>
                <a:gd name="connsiteX3" fmla="*/ 23762 w 23819"/>
                <a:gd name="connsiteY3" fmla="*/ 1906 h 821167"/>
                <a:gd name="connsiteX4" fmla="*/ 23762 w 23819"/>
                <a:gd name="connsiteY4" fmla="*/ 0 h 821167"/>
                <a:gd name="connsiteX5" fmla="*/ 23762 w 23819"/>
                <a:gd name="connsiteY5" fmla="*/ 2795 h 821167"/>
                <a:gd name="connsiteX6" fmla="*/ 12072 w 23819"/>
                <a:gd name="connsiteY6" fmla="*/ 13849 h 821167"/>
                <a:gd name="connsiteX7" fmla="*/ 10165 w 23819"/>
                <a:gd name="connsiteY7" fmla="*/ 13849 h 821167"/>
                <a:gd name="connsiteX8" fmla="*/ 7370 w 23819"/>
                <a:gd name="connsiteY8" fmla="*/ 13087 h 821167"/>
                <a:gd name="connsiteX9" fmla="*/ 5464 w 23819"/>
                <a:gd name="connsiteY9" fmla="*/ 13087 h 821167"/>
                <a:gd name="connsiteX10" fmla="*/ 4194 w 23819"/>
                <a:gd name="connsiteY10" fmla="*/ 13087 h 821167"/>
                <a:gd name="connsiteX11" fmla="*/ 0 w 23819"/>
                <a:gd name="connsiteY11" fmla="*/ 13087 h 821167"/>
                <a:gd name="connsiteX12" fmla="*/ 0 w 23819"/>
                <a:gd name="connsiteY12" fmla="*/ 809351 h 821167"/>
                <a:gd name="connsiteX13" fmla="*/ 11817 w 23819"/>
                <a:gd name="connsiteY13" fmla="*/ 809351 h 82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9" h="821167">
                  <a:moveTo>
                    <a:pt x="12072" y="809224"/>
                  </a:moveTo>
                  <a:cubicBezTo>
                    <a:pt x="18603" y="809287"/>
                    <a:pt x="23825" y="814636"/>
                    <a:pt x="23762" y="821167"/>
                  </a:cubicBezTo>
                  <a:cubicBezTo>
                    <a:pt x="23762" y="821167"/>
                    <a:pt x="23762" y="821167"/>
                    <a:pt x="23762" y="821167"/>
                  </a:cubicBezTo>
                  <a:lnTo>
                    <a:pt x="23762" y="1906"/>
                  </a:lnTo>
                  <a:cubicBezTo>
                    <a:pt x="23839" y="1271"/>
                    <a:pt x="23839" y="635"/>
                    <a:pt x="23762" y="0"/>
                  </a:cubicBezTo>
                  <a:cubicBezTo>
                    <a:pt x="23839" y="927"/>
                    <a:pt x="23839" y="1868"/>
                    <a:pt x="23762" y="2795"/>
                  </a:cubicBezTo>
                  <a:cubicBezTo>
                    <a:pt x="23368" y="8970"/>
                    <a:pt x="18260" y="13798"/>
                    <a:pt x="12072" y="13849"/>
                  </a:cubicBezTo>
                  <a:lnTo>
                    <a:pt x="10165" y="13849"/>
                  </a:lnTo>
                  <a:cubicBezTo>
                    <a:pt x="9200" y="13735"/>
                    <a:pt x="8260" y="13481"/>
                    <a:pt x="7370" y="13087"/>
                  </a:cubicBezTo>
                  <a:lnTo>
                    <a:pt x="5464" y="13087"/>
                  </a:lnTo>
                  <a:lnTo>
                    <a:pt x="4194" y="13087"/>
                  </a:lnTo>
                  <a:lnTo>
                    <a:pt x="0" y="13087"/>
                  </a:lnTo>
                  <a:lnTo>
                    <a:pt x="0" y="809351"/>
                  </a:lnTo>
                  <a:lnTo>
                    <a:pt x="11817" y="809351"/>
                  </a:lnTo>
                  <a:close/>
                </a:path>
              </a:pathLst>
            </a:custGeom>
            <a:solidFill>
              <a:srgbClr val="000000"/>
            </a:solidFill>
            <a:ln w="12704"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B9C5B94A-EF3B-4528-B8EC-B9B8907E6185}"/>
                </a:ext>
              </a:extLst>
            </p:cNvPr>
            <p:cNvSpPr/>
            <p:nvPr/>
          </p:nvSpPr>
          <p:spPr>
            <a:xfrm>
              <a:off x="9074104" y="3277607"/>
              <a:ext cx="735476" cy="4192"/>
            </a:xfrm>
            <a:custGeom>
              <a:avLst/>
              <a:gdLst>
                <a:gd name="connsiteX0" fmla="*/ 0 w 735476"/>
                <a:gd name="connsiteY0" fmla="*/ 2287 h 4192"/>
                <a:gd name="connsiteX1" fmla="*/ 0 w 735476"/>
                <a:gd name="connsiteY1" fmla="*/ 2287 h 4192"/>
                <a:gd name="connsiteX2" fmla="*/ 0 w 735476"/>
                <a:gd name="connsiteY2" fmla="*/ 4193 h 4192"/>
                <a:gd name="connsiteX3" fmla="*/ 0 w 735476"/>
                <a:gd name="connsiteY3" fmla="*/ 4193 h 4192"/>
                <a:gd name="connsiteX4" fmla="*/ 735477 w 735476"/>
                <a:gd name="connsiteY4" fmla="*/ 4193 h 4192"/>
                <a:gd name="connsiteX5" fmla="*/ 735477 w 735476"/>
                <a:gd name="connsiteY5" fmla="*/ 1525 h 4192"/>
                <a:gd name="connsiteX6" fmla="*/ 735477 w 735476"/>
                <a:gd name="connsiteY6" fmla="*/ 0 h 4192"/>
                <a:gd name="connsiteX7" fmla="*/ 1017 w 735476"/>
                <a:gd name="connsiteY7"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76" h="4192">
                  <a:moveTo>
                    <a:pt x="0" y="2287"/>
                  </a:moveTo>
                  <a:lnTo>
                    <a:pt x="0" y="2287"/>
                  </a:lnTo>
                  <a:cubicBezTo>
                    <a:pt x="0" y="2922"/>
                    <a:pt x="0" y="3558"/>
                    <a:pt x="0" y="4193"/>
                  </a:cubicBezTo>
                  <a:lnTo>
                    <a:pt x="0" y="4193"/>
                  </a:lnTo>
                  <a:lnTo>
                    <a:pt x="735477" y="4193"/>
                  </a:lnTo>
                  <a:cubicBezTo>
                    <a:pt x="735349" y="3304"/>
                    <a:pt x="735349" y="2414"/>
                    <a:pt x="735477" y="1525"/>
                  </a:cubicBezTo>
                  <a:lnTo>
                    <a:pt x="735477" y="0"/>
                  </a:lnTo>
                  <a:lnTo>
                    <a:pt x="1017" y="0"/>
                  </a:lnTo>
                  <a:close/>
                </a:path>
              </a:pathLst>
            </a:custGeom>
            <a:solidFill>
              <a:srgbClr val="000000"/>
            </a:solidFill>
            <a:ln w="12704"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B7B477BD-A2A7-4435-B44C-D408529D6F03}"/>
                </a:ext>
              </a:extLst>
            </p:cNvPr>
            <p:cNvSpPr/>
            <p:nvPr/>
          </p:nvSpPr>
          <p:spPr>
            <a:xfrm>
              <a:off x="9049452" y="3285357"/>
              <a:ext cx="23507" cy="813670"/>
            </a:xfrm>
            <a:custGeom>
              <a:avLst/>
              <a:gdLst>
                <a:gd name="connsiteX0" fmla="*/ 21348 w 23507"/>
                <a:gd name="connsiteY0" fmla="*/ 3176 h 813670"/>
                <a:gd name="connsiteX1" fmla="*/ 19569 w 23507"/>
                <a:gd name="connsiteY1" fmla="*/ 4574 h 813670"/>
                <a:gd name="connsiteX2" fmla="*/ 17790 w 23507"/>
                <a:gd name="connsiteY2" fmla="*/ 5845 h 813670"/>
                <a:gd name="connsiteX3" fmla="*/ 15502 w 23507"/>
                <a:gd name="connsiteY3" fmla="*/ 5845 h 813670"/>
                <a:gd name="connsiteX4" fmla="*/ 13596 w 23507"/>
                <a:gd name="connsiteY4" fmla="*/ 5845 h 813670"/>
                <a:gd name="connsiteX5" fmla="*/ 11817 w 23507"/>
                <a:gd name="connsiteY5" fmla="*/ 5845 h 813670"/>
                <a:gd name="connsiteX6" fmla="*/ 8895 w 23507"/>
                <a:gd name="connsiteY6" fmla="*/ 5845 h 813670"/>
                <a:gd name="connsiteX7" fmla="*/ 0 w 23507"/>
                <a:gd name="connsiteY7" fmla="*/ 5845 h 813670"/>
                <a:gd name="connsiteX8" fmla="*/ 0 w 23507"/>
                <a:gd name="connsiteY8" fmla="*/ 813671 h 813670"/>
                <a:gd name="connsiteX9" fmla="*/ 11817 w 23507"/>
                <a:gd name="connsiteY9" fmla="*/ 801728 h 813670"/>
                <a:gd name="connsiteX10" fmla="*/ 23508 w 23507"/>
                <a:gd name="connsiteY10" fmla="*/ 801728 h 813670"/>
                <a:gd name="connsiteX11" fmla="*/ 23508 w 23507"/>
                <a:gd name="connsiteY11" fmla="*/ 0 h 813670"/>
                <a:gd name="connsiteX12" fmla="*/ 22618 w 23507"/>
                <a:gd name="connsiteY12" fmla="*/ 1271 h 813670"/>
                <a:gd name="connsiteX13" fmla="*/ 21348 w 23507"/>
                <a:gd name="connsiteY13" fmla="*/ 3176 h 81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07" h="813670">
                  <a:moveTo>
                    <a:pt x="21348" y="3176"/>
                  </a:moveTo>
                  <a:cubicBezTo>
                    <a:pt x="20840" y="3748"/>
                    <a:pt x="20242" y="4218"/>
                    <a:pt x="19569" y="4574"/>
                  </a:cubicBezTo>
                  <a:cubicBezTo>
                    <a:pt x="19060" y="5108"/>
                    <a:pt x="18463" y="5540"/>
                    <a:pt x="17790" y="5845"/>
                  </a:cubicBezTo>
                  <a:cubicBezTo>
                    <a:pt x="17027" y="5959"/>
                    <a:pt x="16265" y="5959"/>
                    <a:pt x="15502" y="5845"/>
                  </a:cubicBezTo>
                  <a:cubicBezTo>
                    <a:pt x="14867" y="5921"/>
                    <a:pt x="14232" y="5921"/>
                    <a:pt x="13596" y="5845"/>
                  </a:cubicBezTo>
                  <a:lnTo>
                    <a:pt x="11817" y="5845"/>
                  </a:lnTo>
                  <a:cubicBezTo>
                    <a:pt x="10852" y="5972"/>
                    <a:pt x="9861" y="5972"/>
                    <a:pt x="8895" y="5845"/>
                  </a:cubicBezTo>
                  <a:lnTo>
                    <a:pt x="0" y="5845"/>
                  </a:lnTo>
                  <a:lnTo>
                    <a:pt x="0" y="813671"/>
                  </a:lnTo>
                  <a:cubicBezTo>
                    <a:pt x="0" y="807127"/>
                    <a:pt x="5273" y="801791"/>
                    <a:pt x="11817" y="801728"/>
                  </a:cubicBezTo>
                  <a:lnTo>
                    <a:pt x="23508" y="801728"/>
                  </a:lnTo>
                  <a:lnTo>
                    <a:pt x="23508" y="0"/>
                  </a:lnTo>
                  <a:cubicBezTo>
                    <a:pt x="23241" y="445"/>
                    <a:pt x="22949" y="864"/>
                    <a:pt x="22618" y="1271"/>
                  </a:cubicBezTo>
                  <a:cubicBezTo>
                    <a:pt x="22276" y="1957"/>
                    <a:pt x="21843" y="2592"/>
                    <a:pt x="21348" y="3176"/>
                  </a:cubicBezTo>
                  <a:close/>
                </a:path>
              </a:pathLst>
            </a:custGeom>
            <a:solidFill>
              <a:srgbClr val="000000"/>
            </a:solidFill>
            <a:ln w="12704"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5BDC6B3B-E78E-428B-ADCC-825E3EF246E5}"/>
                </a:ext>
              </a:extLst>
            </p:cNvPr>
            <p:cNvSpPr/>
            <p:nvPr/>
          </p:nvSpPr>
          <p:spPr>
            <a:xfrm>
              <a:off x="10835792" y="3267188"/>
              <a:ext cx="11309" cy="3430"/>
            </a:xfrm>
            <a:custGeom>
              <a:avLst/>
              <a:gdLst>
                <a:gd name="connsiteX0" fmla="*/ 11309 w 11309"/>
                <a:gd name="connsiteY0" fmla="*/ 1525 h 3430"/>
                <a:gd name="connsiteX1" fmla="*/ 8513 w 11309"/>
                <a:gd name="connsiteY1" fmla="*/ 762 h 3430"/>
                <a:gd name="connsiteX2" fmla="*/ 8513 w 11309"/>
                <a:gd name="connsiteY2" fmla="*/ 762 h 3430"/>
                <a:gd name="connsiteX3" fmla="*/ 0 w 11309"/>
                <a:gd name="connsiteY3" fmla="*/ 0 h 3430"/>
                <a:gd name="connsiteX4" fmla="*/ 0 w 11309"/>
                <a:gd name="connsiteY4" fmla="*/ 0 h 3430"/>
                <a:gd name="connsiteX5" fmla="*/ 7751 w 11309"/>
                <a:gd name="connsiteY5" fmla="*/ 3430 h 3430"/>
                <a:gd name="connsiteX6" fmla="*/ 11309 w 11309"/>
                <a:gd name="connsiteY6" fmla="*/ 1525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9" h="3430">
                  <a:moveTo>
                    <a:pt x="11309" y="1525"/>
                  </a:moveTo>
                  <a:cubicBezTo>
                    <a:pt x="10394" y="1207"/>
                    <a:pt x="9467" y="953"/>
                    <a:pt x="8513" y="762"/>
                  </a:cubicBezTo>
                  <a:lnTo>
                    <a:pt x="8513" y="762"/>
                  </a:lnTo>
                  <a:lnTo>
                    <a:pt x="0" y="0"/>
                  </a:lnTo>
                  <a:lnTo>
                    <a:pt x="0" y="0"/>
                  </a:lnTo>
                  <a:cubicBezTo>
                    <a:pt x="2922" y="140"/>
                    <a:pt x="5679" y="1372"/>
                    <a:pt x="7751" y="3430"/>
                  </a:cubicBezTo>
                  <a:cubicBezTo>
                    <a:pt x="8831" y="2605"/>
                    <a:pt x="10026" y="1969"/>
                    <a:pt x="11309" y="1525"/>
                  </a:cubicBezTo>
                  <a:close/>
                </a:path>
              </a:pathLst>
            </a:custGeom>
            <a:solidFill>
              <a:srgbClr val="000000"/>
            </a:solidFill>
            <a:ln w="12704"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4CBA1B32-DD10-4FEB-88C3-7993E95C4C27}"/>
                </a:ext>
              </a:extLst>
            </p:cNvPr>
            <p:cNvSpPr/>
            <p:nvPr/>
          </p:nvSpPr>
          <p:spPr>
            <a:xfrm>
              <a:off x="10834012" y="3289127"/>
              <a:ext cx="10927" cy="2709"/>
            </a:xfrm>
            <a:custGeom>
              <a:avLst/>
              <a:gdLst>
                <a:gd name="connsiteX0" fmla="*/ 8005 w 10927"/>
                <a:gd name="connsiteY0" fmla="*/ 2710 h 2709"/>
                <a:gd name="connsiteX1" fmla="*/ 9022 w 10927"/>
                <a:gd name="connsiteY1" fmla="*/ 2710 h 2709"/>
                <a:gd name="connsiteX2" fmla="*/ 10928 w 10927"/>
                <a:gd name="connsiteY2" fmla="*/ 2710 h 2709"/>
                <a:gd name="connsiteX3" fmla="*/ 1309 w 10927"/>
                <a:gd name="connsiteY3" fmla="*/ 1401 h 2709"/>
                <a:gd name="connsiteX4" fmla="*/ 0 w 10927"/>
                <a:gd name="connsiteY4" fmla="*/ 2710 h 2709"/>
                <a:gd name="connsiteX5" fmla="*/ 0 w 10927"/>
                <a:gd name="connsiteY5" fmla="*/ 2710 h 2709"/>
                <a:gd name="connsiteX6" fmla="*/ 4321 w 10927"/>
                <a:gd name="connsiteY6" fmla="*/ 2710 h 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7" h="2709">
                  <a:moveTo>
                    <a:pt x="8005" y="2710"/>
                  </a:moveTo>
                  <a:lnTo>
                    <a:pt x="9022" y="2710"/>
                  </a:lnTo>
                  <a:lnTo>
                    <a:pt x="10928" y="2710"/>
                  </a:lnTo>
                  <a:cubicBezTo>
                    <a:pt x="8641" y="-302"/>
                    <a:pt x="4333" y="-899"/>
                    <a:pt x="1309" y="1401"/>
                  </a:cubicBezTo>
                  <a:cubicBezTo>
                    <a:pt x="814" y="1770"/>
                    <a:pt x="382" y="2214"/>
                    <a:pt x="0" y="2710"/>
                  </a:cubicBezTo>
                  <a:lnTo>
                    <a:pt x="0" y="2710"/>
                  </a:lnTo>
                  <a:lnTo>
                    <a:pt x="4321" y="2710"/>
                  </a:lnTo>
                  <a:close/>
                </a:path>
              </a:pathLst>
            </a:custGeom>
            <a:solidFill>
              <a:srgbClr val="000000"/>
            </a:solidFill>
            <a:ln w="12704"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E4199C8C-6CAF-4CF4-951B-639D01C4CEB5}"/>
                </a:ext>
              </a:extLst>
            </p:cNvPr>
            <p:cNvSpPr/>
            <p:nvPr/>
          </p:nvSpPr>
          <p:spPr>
            <a:xfrm>
              <a:off x="10841763" y="3268754"/>
              <a:ext cx="19918" cy="23591"/>
            </a:xfrm>
            <a:custGeom>
              <a:avLst/>
              <a:gdLst>
                <a:gd name="connsiteX0" fmla="*/ 6226 w 19918"/>
                <a:gd name="connsiteY0" fmla="*/ 23591 h 23591"/>
                <a:gd name="connsiteX1" fmla="*/ 8133 w 19918"/>
                <a:gd name="connsiteY1" fmla="*/ 23591 h 23591"/>
                <a:gd name="connsiteX2" fmla="*/ 19823 w 19918"/>
                <a:gd name="connsiteY2" fmla="*/ 12537 h 23591"/>
                <a:gd name="connsiteX3" fmla="*/ 19823 w 19918"/>
                <a:gd name="connsiteY3" fmla="*/ 9742 h 23591"/>
                <a:gd name="connsiteX4" fmla="*/ 19823 w 19918"/>
                <a:gd name="connsiteY4" fmla="*/ 7455 h 23591"/>
                <a:gd name="connsiteX5" fmla="*/ 18807 w 19918"/>
                <a:gd name="connsiteY5" fmla="*/ 5422 h 23591"/>
                <a:gd name="connsiteX6" fmla="*/ 17536 w 19918"/>
                <a:gd name="connsiteY6" fmla="*/ 3516 h 23591"/>
                <a:gd name="connsiteX7" fmla="*/ 15756 w 19918"/>
                <a:gd name="connsiteY7" fmla="*/ 2119 h 23591"/>
                <a:gd name="connsiteX8" fmla="*/ 13978 w 19918"/>
                <a:gd name="connsiteY8" fmla="*/ 848 h 23591"/>
                <a:gd name="connsiteX9" fmla="*/ 11691 w 19918"/>
                <a:gd name="connsiteY9" fmla="*/ 86 h 23591"/>
                <a:gd name="connsiteX10" fmla="*/ 9912 w 19918"/>
                <a:gd name="connsiteY10" fmla="*/ 86 h 23591"/>
                <a:gd name="connsiteX11" fmla="*/ 9022 w 19918"/>
                <a:gd name="connsiteY11" fmla="*/ 86 h 23591"/>
                <a:gd name="connsiteX12" fmla="*/ 6226 w 19918"/>
                <a:gd name="connsiteY12" fmla="*/ 86 h 23591"/>
                <a:gd name="connsiteX13" fmla="*/ 6226 w 19918"/>
                <a:gd name="connsiteY13" fmla="*/ 86 h 23591"/>
                <a:gd name="connsiteX14" fmla="*/ 1652 w 19918"/>
                <a:gd name="connsiteY14" fmla="*/ 1992 h 23591"/>
                <a:gd name="connsiteX15" fmla="*/ 5083 w 19918"/>
                <a:gd name="connsiteY15" fmla="*/ 10504 h 23591"/>
                <a:gd name="connsiteX16" fmla="*/ 0 w 19918"/>
                <a:gd name="connsiteY16" fmla="*/ 20161 h 23591"/>
                <a:gd name="connsiteX17" fmla="*/ 4321 w 19918"/>
                <a:gd name="connsiteY17" fmla="*/ 22956 h 23591"/>
                <a:gd name="connsiteX18" fmla="*/ 6226 w 19918"/>
                <a:gd name="connsiteY18" fmla="*/ 23591 h 2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18" h="23591">
                  <a:moveTo>
                    <a:pt x="6226" y="23591"/>
                  </a:moveTo>
                  <a:lnTo>
                    <a:pt x="8133" y="23591"/>
                  </a:lnTo>
                  <a:cubicBezTo>
                    <a:pt x="14321" y="23540"/>
                    <a:pt x="19429" y="18712"/>
                    <a:pt x="19823" y="12537"/>
                  </a:cubicBezTo>
                  <a:cubicBezTo>
                    <a:pt x="19900" y="11610"/>
                    <a:pt x="19900" y="10670"/>
                    <a:pt x="19823" y="9742"/>
                  </a:cubicBezTo>
                  <a:cubicBezTo>
                    <a:pt x="19950" y="8980"/>
                    <a:pt x="19950" y="8217"/>
                    <a:pt x="19823" y="7455"/>
                  </a:cubicBezTo>
                  <a:cubicBezTo>
                    <a:pt x="19556" y="6743"/>
                    <a:pt x="19226" y="6057"/>
                    <a:pt x="18807" y="5422"/>
                  </a:cubicBezTo>
                  <a:cubicBezTo>
                    <a:pt x="18463" y="4736"/>
                    <a:pt x="18031" y="4101"/>
                    <a:pt x="17536" y="3516"/>
                  </a:cubicBezTo>
                  <a:cubicBezTo>
                    <a:pt x="17028" y="2944"/>
                    <a:pt x="16430" y="2474"/>
                    <a:pt x="15756" y="2119"/>
                  </a:cubicBezTo>
                  <a:cubicBezTo>
                    <a:pt x="15248" y="1585"/>
                    <a:pt x="14651" y="1153"/>
                    <a:pt x="13978" y="848"/>
                  </a:cubicBezTo>
                  <a:cubicBezTo>
                    <a:pt x="13241" y="543"/>
                    <a:pt x="12466" y="276"/>
                    <a:pt x="11691" y="86"/>
                  </a:cubicBezTo>
                  <a:lnTo>
                    <a:pt x="9912" y="86"/>
                  </a:lnTo>
                  <a:lnTo>
                    <a:pt x="9022" y="86"/>
                  </a:lnTo>
                  <a:cubicBezTo>
                    <a:pt x="8095" y="-29"/>
                    <a:pt x="7155" y="-29"/>
                    <a:pt x="6226" y="86"/>
                  </a:cubicBezTo>
                  <a:lnTo>
                    <a:pt x="6226" y="86"/>
                  </a:lnTo>
                  <a:cubicBezTo>
                    <a:pt x="4587" y="416"/>
                    <a:pt x="3037" y="1064"/>
                    <a:pt x="1652" y="1992"/>
                  </a:cubicBezTo>
                  <a:cubicBezTo>
                    <a:pt x="3889" y="4253"/>
                    <a:pt x="5121" y="7328"/>
                    <a:pt x="5083" y="10504"/>
                  </a:cubicBezTo>
                  <a:cubicBezTo>
                    <a:pt x="5083" y="14367"/>
                    <a:pt x="3190" y="17975"/>
                    <a:pt x="0" y="20161"/>
                  </a:cubicBezTo>
                  <a:cubicBezTo>
                    <a:pt x="1194" y="21418"/>
                    <a:pt x="2681" y="22372"/>
                    <a:pt x="4321" y="22956"/>
                  </a:cubicBezTo>
                  <a:cubicBezTo>
                    <a:pt x="4930" y="23235"/>
                    <a:pt x="5566" y="23439"/>
                    <a:pt x="6226" y="23591"/>
                  </a:cubicBezTo>
                  <a:close/>
                </a:path>
              </a:pathLst>
            </a:custGeom>
            <a:solidFill>
              <a:srgbClr val="000000"/>
            </a:solidFill>
            <a:ln w="12704"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74BB2CD9-1915-489D-B39D-4CC278A163B9}"/>
                </a:ext>
              </a:extLst>
            </p:cNvPr>
            <p:cNvSpPr/>
            <p:nvPr/>
          </p:nvSpPr>
          <p:spPr>
            <a:xfrm>
              <a:off x="9073596" y="3282562"/>
              <a:ext cx="66" cy="2414"/>
            </a:xfrm>
            <a:custGeom>
              <a:avLst/>
              <a:gdLst>
                <a:gd name="connsiteX0" fmla="*/ 0 w 66"/>
                <a:gd name="connsiteY0" fmla="*/ 0 h 2414"/>
                <a:gd name="connsiteX1" fmla="*/ 0 w 66"/>
                <a:gd name="connsiteY1" fmla="*/ 0 h 2414"/>
                <a:gd name="connsiteX2" fmla="*/ 0 w 66"/>
                <a:gd name="connsiteY2" fmla="*/ 2414 h 2414"/>
                <a:gd name="connsiteX3" fmla="*/ 0 w 66"/>
                <a:gd name="connsiteY3" fmla="*/ 0 h 2414"/>
              </a:gdLst>
              <a:ahLst/>
              <a:cxnLst>
                <a:cxn ang="0">
                  <a:pos x="connsiteX0" y="connsiteY0"/>
                </a:cxn>
                <a:cxn ang="0">
                  <a:pos x="connsiteX1" y="connsiteY1"/>
                </a:cxn>
                <a:cxn ang="0">
                  <a:pos x="connsiteX2" y="connsiteY2"/>
                </a:cxn>
                <a:cxn ang="0">
                  <a:pos x="connsiteX3" y="connsiteY3"/>
                </a:cxn>
              </a:cxnLst>
              <a:rect l="l" t="t" r="r" b="b"/>
              <a:pathLst>
                <a:path w="66" h="2414">
                  <a:moveTo>
                    <a:pt x="0" y="0"/>
                  </a:moveTo>
                  <a:lnTo>
                    <a:pt x="0" y="0"/>
                  </a:lnTo>
                  <a:cubicBezTo>
                    <a:pt x="64" y="801"/>
                    <a:pt x="64" y="1614"/>
                    <a:pt x="0" y="2414"/>
                  </a:cubicBezTo>
                  <a:cubicBezTo>
                    <a:pt x="89" y="1614"/>
                    <a:pt x="89" y="801"/>
                    <a:pt x="0" y="0"/>
                  </a:cubicBezTo>
                  <a:close/>
                </a:path>
              </a:pathLst>
            </a:custGeom>
            <a:solidFill>
              <a:srgbClr val="000000"/>
            </a:solidFill>
            <a:ln w="12704"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EF704D33-6A00-4B78-A87D-AB6863EA0F64}"/>
                </a:ext>
              </a:extLst>
            </p:cNvPr>
            <p:cNvSpPr/>
            <p:nvPr/>
          </p:nvSpPr>
          <p:spPr>
            <a:xfrm>
              <a:off x="9058347" y="3292472"/>
              <a:ext cx="6607" cy="730"/>
            </a:xfrm>
            <a:custGeom>
              <a:avLst/>
              <a:gdLst>
                <a:gd name="connsiteX0" fmla="*/ 3685 w 6607"/>
                <a:gd name="connsiteY0" fmla="*/ 0 h 730"/>
                <a:gd name="connsiteX1" fmla="*/ 4701 w 6607"/>
                <a:gd name="connsiteY1" fmla="*/ 0 h 730"/>
                <a:gd name="connsiteX2" fmla="*/ 6607 w 6607"/>
                <a:gd name="connsiteY2" fmla="*/ 0 h 730"/>
                <a:gd name="connsiteX3" fmla="*/ 3939 w 6607"/>
                <a:gd name="connsiteY3" fmla="*/ 635 h 730"/>
                <a:gd name="connsiteX4" fmla="*/ 1652 w 6607"/>
                <a:gd name="connsiteY4" fmla="*/ 635 h 730"/>
                <a:gd name="connsiteX5" fmla="*/ 0 w 6607"/>
                <a:gd name="connsiteY5" fmla="*/ 635 h 730"/>
                <a:gd name="connsiteX6" fmla="*/ 2922 w 6607"/>
                <a:gd name="connsiteY6" fmla="*/ 635 h 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 h="730">
                  <a:moveTo>
                    <a:pt x="3685" y="0"/>
                  </a:moveTo>
                  <a:lnTo>
                    <a:pt x="4701" y="0"/>
                  </a:lnTo>
                  <a:cubicBezTo>
                    <a:pt x="5337" y="76"/>
                    <a:pt x="5972" y="76"/>
                    <a:pt x="6607" y="0"/>
                  </a:cubicBezTo>
                  <a:cubicBezTo>
                    <a:pt x="5756" y="343"/>
                    <a:pt x="4854" y="559"/>
                    <a:pt x="3939" y="635"/>
                  </a:cubicBezTo>
                  <a:cubicBezTo>
                    <a:pt x="3177" y="699"/>
                    <a:pt x="2414" y="699"/>
                    <a:pt x="1652" y="635"/>
                  </a:cubicBezTo>
                  <a:lnTo>
                    <a:pt x="0" y="635"/>
                  </a:lnTo>
                  <a:cubicBezTo>
                    <a:pt x="966" y="762"/>
                    <a:pt x="1957" y="762"/>
                    <a:pt x="2922" y="635"/>
                  </a:cubicBezTo>
                  <a:close/>
                </a:path>
              </a:pathLst>
            </a:custGeom>
            <a:solidFill>
              <a:srgbClr val="000000"/>
            </a:solidFill>
            <a:ln w="12704"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07D8AF0A-8AA4-4445-9E38-AA3178C9C58F}"/>
                </a:ext>
              </a:extLst>
            </p:cNvPr>
            <p:cNvSpPr/>
            <p:nvPr/>
          </p:nvSpPr>
          <p:spPr>
            <a:xfrm>
              <a:off x="7039345" y="4955263"/>
              <a:ext cx="1513521" cy="4193"/>
            </a:xfrm>
            <a:custGeom>
              <a:avLst/>
              <a:gdLst>
                <a:gd name="connsiteX0" fmla="*/ 1512886 w 1513521"/>
                <a:gd name="connsiteY0" fmla="*/ 2160 h 4193"/>
                <a:gd name="connsiteX1" fmla="*/ 1512886 w 1513521"/>
                <a:gd name="connsiteY1" fmla="*/ 1398 h 4193"/>
                <a:gd name="connsiteX2" fmla="*/ 1512886 w 1513521"/>
                <a:gd name="connsiteY2" fmla="*/ 636 h 4193"/>
                <a:gd name="connsiteX3" fmla="*/ 1513522 w 1513521"/>
                <a:gd name="connsiteY3" fmla="*/ 0 h 4193"/>
                <a:gd name="connsiteX4" fmla="*/ 7370 w 1513521"/>
                <a:gd name="connsiteY4" fmla="*/ 0 h 4193"/>
                <a:gd name="connsiteX5" fmla="*/ 0 w 1513521"/>
                <a:gd name="connsiteY5" fmla="*/ 4193 h 4193"/>
                <a:gd name="connsiteX6" fmla="*/ 1512886 w 1513521"/>
                <a:gd name="connsiteY6" fmla="*/ 4193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3521" h="4193">
                  <a:moveTo>
                    <a:pt x="1512886" y="2160"/>
                  </a:moveTo>
                  <a:cubicBezTo>
                    <a:pt x="1512810" y="1906"/>
                    <a:pt x="1512810" y="1652"/>
                    <a:pt x="1512886" y="1398"/>
                  </a:cubicBezTo>
                  <a:cubicBezTo>
                    <a:pt x="1512886" y="1398"/>
                    <a:pt x="1512886" y="1398"/>
                    <a:pt x="1512886" y="636"/>
                  </a:cubicBezTo>
                  <a:lnTo>
                    <a:pt x="1513522" y="0"/>
                  </a:lnTo>
                  <a:lnTo>
                    <a:pt x="7370" y="0"/>
                  </a:lnTo>
                  <a:lnTo>
                    <a:pt x="0" y="4193"/>
                  </a:lnTo>
                  <a:lnTo>
                    <a:pt x="1512886" y="4193"/>
                  </a:lnTo>
                  <a:close/>
                </a:path>
              </a:pathLst>
            </a:custGeom>
            <a:solidFill>
              <a:srgbClr val="000000"/>
            </a:solidFill>
            <a:ln w="12704"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D5D8EE64-2B79-48FC-8572-C46F278CB233}"/>
                </a:ext>
              </a:extLst>
            </p:cNvPr>
            <p:cNvSpPr/>
            <p:nvPr/>
          </p:nvSpPr>
          <p:spPr>
            <a:xfrm>
              <a:off x="8553050" y="4956914"/>
              <a:ext cx="4136" cy="580521"/>
            </a:xfrm>
            <a:custGeom>
              <a:avLst/>
              <a:gdLst>
                <a:gd name="connsiteX0" fmla="*/ 3247 w 4136"/>
                <a:gd name="connsiteY0" fmla="*/ 1652 h 580521"/>
                <a:gd name="connsiteX1" fmla="*/ 3247 w 4136"/>
                <a:gd name="connsiteY1" fmla="*/ 1652 h 580521"/>
                <a:gd name="connsiteX2" fmla="*/ 1722 w 4136"/>
                <a:gd name="connsiteY2" fmla="*/ 2287 h 580521"/>
                <a:gd name="connsiteX3" fmla="*/ 324 w 4136"/>
                <a:gd name="connsiteY3" fmla="*/ 2287 h 580521"/>
                <a:gd name="connsiteX4" fmla="*/ 324 w 4136"/>
                <a:gd name="connsiteY4" fmla="*/ 0 h 580521"/>
                <a:gd name="connsiteX5" fmla="*/ 324 w 4136"/>
                <a:gd name="connsiteY5" fmla="*/ 762 h 580521"/>
                <a:gd name="connsiteX6" fmla="*/ 324 w 4136"/>
                <a:gd name="connsiteY6" fmla="*/ 580522 h 580521"/>
                <a:gd name="connsiteX7" fmla="*/ 324 w 4136"/>
                <a:gd name="connsiteY7" fmla="*/ 580522 h 580521"/>
                <a:gd name="connsiteX8" fmla="*/ 4136 w 4136"/>
                <a:gd name="connsiteY8" fmla="*/ 574550 h 5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36" h="580521">
                  <a:moveTo>
                    <a:pt x="3247" y="1652"/>
                  </a:moveTo>
                  <a:lnTo>
                    <a:pt x="3247" y="1652"/>
                  </a:lnTo>
                  <a:cubicBezTo>
                    <a:pt x="2840" y="2059"/>
                    <a:pt x="2294" y="2287"/>
                    <a:pt x="1722" y="2287"/>
                  </a:cubicBezTo>
                  <a:cubicBezTo>
                    <a:pt x="1277" y="2465"/>
                    <a:pt x="769" y="2465"/>
                    <a:pt x="324" y="2287"/>
                  </a:cubicBezTo>
                  <a:cubicBezTo>
                    <a:pt x="-108" y="1588"/>
                    <a:pt x="-108" y="699"/>
                    <a:pt x="324" y="0"/>
                  </a:cubicBezTo>
                  <a:cubicBezTo>
                    <a:pt x="248" y="254"/>
                    <a:pt x="248" y="508"/>
                    <a:pt x="324" y="762"/>
                  </a:cubicBezTo>
                  <a:lnTo>
                    <a:pt x="324" y="580522"/>
                  </a:lnTo>
                  <a:lnTo>
                    <a:pt x="324" y="580522"/>
                  </a:lnTo>
                  <a:lnTo>
                    <a:pt x="4136" y="574550"/>
                  </a:lnTo>
                  <a:close/>
                </a:path>
              </a:pathLst>
            </a:custGeom>
            <a:solidFill>
              <a:srgbClr val="000000"/>
            </a:solidFill>
            <a:ln w="12704"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795CE327-3560-44D3-A422-CC5966321B0A}"/>
                </a:ext>
              </a:extLst>
            </p:cNvPr>
            <p:cNvSpPr/>
            <p:nvPr/>
          </p:nvSpPr>
          <p:spPr>
            <a:xfrm>
              <a:off x="7007416" y="4955898"/>
              <a:ext cx="23479" cy="582808"/>
            </a:xfrm>
            <a:custGeom>
              <a:avLst/>
              <a:gdLst>
                <a:gd name="connsiteX0" fmla="*/ 23288 w 23479"/>
                <a:gd name="connsiteY0" fmla="*/ 8513 h 582808"/>
                <a:gd name="connsiteX1" fmla="*/ 17315 w 23479"/>
                <a:gd name="connsiteY1" fmla="*/ 11943 h 582808"/>
                <a:gd name="connsiteX2" fmla="*/ 1533 w 23479"/>
                <a:gd name="connsiteY2" fmla="*/ 7661 h 582808"/>
                <a:gd name="connsiteX3" fmla="*/ 161 w 23479"/>
                <a:gd name="connsiteY3" fmla="*/ 0 h 582808"/>
                <a:gd name="connsiteX4" fmla="*/ 161 w 23479"/>
                <a:gd name="connsiteY4" fmla="*/ 1525 h 582808"/>
                <a:gd name="connsiteX5" fmla="*/ 161 w 23479"/>
                <a:gd name="connsiteY5" fmla="*/ 575948 h 582808"/>
                <a:gd name="connsiteX6" fmla="*/ 4862 w 23479"/>
                <a:gd name="connsiteY6" fmla="*/ 572263 h 582808"/>
                <a:gd name="connsiteX7" fmla="*/ 21229 w 23479"/>
                <a:gd name="connsiteY7" fmla="*/ 574639 h 582808"/>
                <a:gd name="connsiteX8" fmla="*/ 21255 w 23479"/>
                <a:gd name="connsiteY8" fmla="*/ 574677 h 582808"/>
                <a:gd name="connsiteX9" fmla="*/ 23415 w 23479"/>
                <a:gd name="connsiteY9" fmla="*/ 582809 h 582808"/>
                <a:gd name="connsiteX10" fmla="*/ 23415 w 23479"/>
                <a:gd name="connsiteY10" fmla="*/ 581919 h 58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79" h="582808">
                  <a:moveTo>
                    <a:pt x="23288" y="8513"/>
                  </a:moveTo>
                  <a:lnTo>
                    <a:pt x="17315" y="11943"/>
                  </a:lnTo>
                  <a:cubicBezTo>
                    <a:pt x="11775" y="15120"/>
                    <a:pt x="4710" y="13201"/>
                    <a:pt x="1533" y="7661"/>
                  </a:cubicBezTo>
                  <a:cubicBezTo>
                    <a:pt x="199" y="5349"/>
                    <a:pt x="-284" y="2630"/>
                    <a:pt x="161" y="0"/>
                  </a:cubicBezTo>
                  <a:cubicBezTo>
                    <a:pt x="85" y="508"/>
                    <a:pt x="85" y="1016"/>
                    <a:pt x="161" y="1525"/>
                  </a:cubicBezTo>
                  <a:lnTo>
                    <a:pt x="161" y="575948"/>
                  </a:lnTo>
                  <a:lnTo>
                    <a:pt x="4862" y="572263"/>
                  </a:lnTo>
                  <a:cubicBezTo>
                    <a:pt x="10034" y="568401"/>
                    <a:pt x="17366" y="569468"/>
                    <a:pt x="21229" y="574639"/>
                  </a:cubicBezTo>
                  <a:cubicBezTo>
                    <a:pt x="21229" y="574652"/>
                    <a:pt x="21242" y="574665"/>
                    <a:pt x="21255" y="574677"/>
                  </a:cubicBezTo>
                  <a:cubicBezTo>
                    <a:pt x="22944" y="577027"/>
                    <a:pt x="23720" y="579925"/>
                    <a:pt x="23415" y="582809"/>
                  </a:cubicBezTo>
                  <a:cubicBezTo>
                    <a:pt x="23415" y="582809"/>
                    <a:pt x="23415" y="582173"/>
                    <a:pt x="23415" y="581919"/>
                  </a:cubicBezTo>
                  <a:close/>
                </a:path>
              </a:pathLst>
            </a:custGeom>
            <a:solidFill>
              <a:srgbClr val="000000"/>
            </a:solidFill>
            <a:ln w="12704"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CC6F38B0-4312-413D-A420-90508972A7A3}"/>
                </a:ext>
              </a:extLst>
            </p:cNvPr>
            <p:cNvSpPr/>
            <p:nvPr/>
          </p:nvSpPr>
          <p:spPr>
            <a:xfrm>
              <a:off x="8552415" y="4942303"/>
              <a:ext cx="11506" cy="16777"/>
            </a:xfrm>
            <a:custGeom>
              <a:avLst/>
              <a:gdLst>
                <a:gd name="connsiteX0" fmla="*/ 324 w 11506"/>
                <a:gd name="connsiteY0" fmla="*/ 13595 h 16777"/>
                <a:gd name="connsiteX1" fmla="*/ 324 w 11506"/>
                <a:gd name="connsiteY1" fmla="*/ 14357 h 16777"/>
                <a:gd name="connsiteX2" fmla="*/ 324 w 11506"/>
                <a:gd name="connsiteY2" fmla="*/ 16644 h 16777"/>
                <a:gd name="connsiteX3" fmla="*/ 1722 w 11506"/>
                <a:gd name="connsiteY3" fmla="*/ 16644 h 16777"/>
                <a:gd name="connsiteX4" fmla="*/ 3247 w 11506"/>
                <a:gd name="connsiteY4" fmla="*/ 16009 h 16777"/>
                <a:gd name="connsiteX5" fmla="*/ 3247 w 11506"/>
                <a:gd name="connsiteY5" fmla="*/ 16009 h 16777"/>
                <a:gd name="connsiteX6" fmla="*/ 11506 w 11506"/>
                <a:gd name="connsiteY6" fmla="*/ 6353 h 16777"/>
                <a:gd name="connsiteX7" fmla="*/ 11506 w 11506"/>
                <a:gd name="connsiteY7" fmla="*/ 0 h 16777"/>
                <a:gd name="connsiteX8" fmla="*/ 10108 w 11506"/>
                <a:gd name="connsiteY8" fmla="*/ 1525 h 16777"/>
                <a:gd name="connsiteX9" fmla="*/ 324 w 11506"/>
                <a:gd name="connsiteY9" fmla="*/ 13087 h 1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06" h="16777">
                  <a:moveTo>
                    <a:pt x="324" y="13595"/>
                  </a:moveTo>
                  <a:cubicBezTo>
                    <a:pt x="324" y="13595"/>
                    <a:pt x="324" y="13595"/>
                    <a:pt x="324" y="14357"/>
                  </a:cubicBezTo>
                  <a:cubicBezTo>
                    <a:pt x="-108" y="15056"/>
                    <a:pt x="-108" y="15946"/>
                    <a:pt x="324" y="16644"/>
                  </a:cubicBezTo>
                  <a:cubicBezTo>
                    <a:pt x="769" y="16822"/>
                    <a:pt x="1277" y="16822"/>
                    <a:pt x="1722" y="16644"/>
                  </a:cubicBezTo>
                  <a:cubicBezTo>
                    <a:pt x="2294" y="16644"/>
                    <a:pt x="2840" y="16416"/>
                    <a:pt x="3247" y="16009"/>
                  </a:cubicBezTo>
                  <a:lnTo>
                    <a:pt x="3247" y="16009"/>
                  </a:lnTo>
                  <a:lnTo>
                    <a:pt x="11506" y="6353"/>
                  </a:lnTo>
                  <a:lnTo>
                    <a:pt x="11506" y="0"/>
                  </a:lnTo>
                  <a:lnTo>
                    <a:pt x="10108" y="1525"/>
                  </a:lnTo>
                  <a:lnTo>
                    <a:pt x="324" y="13087"/>
                  </a:lnTo>
                  <a:close/>
                </a:path>
              </a:pathLst>
            </a:custGeom>
            <a:solidFill>
              <a:srgbClr val="000000"/>
            </a:solidFill>
            <a:ln w="12704"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50CAEB78-2C68-4DA4-AAB1-BD149F42FDC7}"/>
                </a:ext>
              </a:extLst>
            </p:cNvPr>
            <p:cNvSpPr/>
            <p:nvPr/>
          </p:nvSpPr>
          <p:spPr>
            <a:xfrm>
              <a:off x="7007925" y="4941160"/>
              <a:ext cx="63060" cy="28215"/>
            </a:xfrm>
            <a:custGeom>
              <a:avLst/>
              <a:gdLst>
                <a:gd name="connsiteX0" fmla="*/ 4227 w 63060"/>
                <a:gd name="connsiteY0" fmla="*/ 6734 h 28215"/>
                <a:gd name="connsiteX1" fmla="*/ 2321 w 63060"/>
                <a:gd name="connsiteY1" fmla="*/ 8386 h 28215"/>
                <a:gd name="connsiteX2" fmla="*/ 1177 w 63060"/>
                <a:gd name="connsiteY2" fmla="*/ 10164 h 28215"/>
                <a:gd name="connsiteX3" fmla="*/ 161 w 63060"/>
                <a:gd name="connsiteY3" fmla="*/ 12325 h 28215"/>
                <a:gd name="connsiteX4" fmla="*/ 161 w 63060"/>
                <a:gd name="connsiteY4" fmla="*/ 14739 h 28215"/>
                <a:gd name="connsiteX5" fmla="*/ 9653 w 63060"/>
                <a:gd name="connsiteY5" fmla="*/ 28054 h 28215"/>
                <a:gd name="connsiteX6" fmla="*/ 17315 w 63060"/>
                <a:gd name="connsiteY6" fmla="*/ 26682 h 28215"/>
                <a:gd name="connsiteX7" fmla="*/ 23288 w 63060"/>
                <a:gd name="connsiteY7" fmla="*/ 23251 h 28215"/>
                <a:gd name="connsiteX8" fmla="*/ 31928 w 63060"/>
                <a:gd name="connsiteY8" fmla="*/ 18296 h 28215"/>
                <a:gd name="connsiteX9" fmla="*/ 39298 w 63060"/>
                <a:gd name="connsiteY9" fmla="*/ 14103 h 28215"/>
                <a:gd name="connsiteX10" fmla="*/ 59248 w 63060"/>
                <a:gd name="connsiteY10" fmla="*/ 2541 h 28215"/>
                <a:gd name="connsiteX11" fmla="*/ 61917 w 63060"/>
                <a:gd name="connsiteY11" fmla="*/ 1016 h 28215"/>
                <a:gd name="connsiteX12" fmla="*/ 63060 w 63060"/>
                <a:gd name="connsiteY12" fmla="*/ 0 h 28215"/>
                <a:gd name="connsiteX13" fmla="*/ 56198 w 63060"/>
                <a:gd name="connsiteY13" fmla="*/ 2541 h 28215"/>
                <a:gd name="connsiteX14" fmla="*/ 11343 w 63060"/>
                <a:gd name="connsiteY14" fmla="*/ 2541 h 28215"/>
                <a:gd name="connsiteX15" fmla="*/ 5879 w 63060"/>
                <a:gd name="connsiteY15" fmla="*/ 5717 h 28215"/>
                <a:gd name="connsiteX16" fmla="*/ 4227 w 63060"/>
                <a:gd name="connsiteY16" fmla="*/ 6734 h 2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060" h="28215">
                  <a:moveTo>
                    <a:pt x="4227" y="6734"/>
                  </a:moveTo>
                  <a:lnTo>
                    <a:pt x="2321" y="8386"/>
                  </a:lnTo>
                  <a:cubicBezTo>
                    <a:pt x="1864" y="8932"/>
                    <a:pt x="1482" y="9529"/>
                    <a:pt x="1177" y="10164"/>
                  </a:cubicBezTo>
                  <a:cubicBezTo>
                    <a:pt x="784" y="10863"/>
                    <a:pt x="453" y="11587"/>
                    <a:pt x="161" y="12325"/>
                  </a:cubicBezTo>
                  <a:cubicBezTo>
                    <a:pt x="84" y="13125"/>
                    <a:pt x="84" y="13938"/>
                    <a:pt x="161" y="14739"/>
                  </a:cubicBezTo>
                  <a:cubicBezTo>
                    <a:pt x="-894" y="21041"/>
                    <a:pt x="3350" y="27000"/>
                    <a:pt x="9653" y="28054"/>
                  </a:cubicBezTo>
                  <a:cubicBezTo>
                    <a:pt x="12283" y="28499"/>
                    <a:pt x="15002" y="28016"/>
                    <a:pt x="17315" y="26682"/>
                  </a:cubicBezTo>
                  <a:lnTo>
                    <a:pt x="23288" y="23251"/>
                  </a:lnTo>
                  <a:lnTo>
                    <a:pt x="31928" y="18296"/>
                  </a:lnTo>
                  <a:lnTo>
                    <a:pt x="39298" y="14103"/>
                  </a:lnTo>
                  <a:lnTo>
                    <a:pt x="59248" y="2541"/>
                  </a:lnTo>
                  <a:lnTo>
                    <a:pt x="61917" y="1016"/>
                  </a:lnTo>
                  <a:cubicBezTo>
                    <a:pt x="62361" y="750"/>
                    <a:pt x="62742" y="406"/>
                    <a:pt x="63060" y="0"/>
                  </a:cubicBezTo>
                  <a:cubicBezTo>
                    <a:pt x="61141" y="1613"/>
                    <a:pt x="58714" y="2516"/>
                    <a:pt x="56198" y="2541"/>
                  </a:cubicBezTo>
                  <a:lnTo>
                    <a:pt x="11343" y="2541"/>
                  </a:lnTo>
                  <a:lnTo>
                    <a:pt x="5879" y="5717"/>
                  </a:lnTo>
                  <a:cubicBezTo>
                    <a:pt x="5879" y="5717"/>
                    <a:pt x="4608" y="6480"/>
                    <a:pt x="4227" y="6734"/>
                  </a:cubicBezTo>
                  <a:close/>
                </a:path>
              </a:pathLst>
            </a:custGeom>
            <a:solidFill>
              <a:srgbClr val="000000"/>
            </a:solidFill>
            <a:ln w="12704"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88A89C0A-0AEC-4177-995D-5F5E4DE5DC31}"/>
                </a:ext>
              </a:extLst>
            </p:cNvPr>
            <p:cNvSpPr/>
            <p:nvPr/>
          </p:nvSpPr>
          <p:spPr>
            <a:xfrm>
              <a:off x="7072891" y="4924642"/>
              <a:ext cx="1143" cy="1778"/>
            </a:xfrm>
            <a:custGeom>
              <a:avLst/>
              <a:gdLst>
                <a:gd name="connsiteX0" fmla="*/ 0 w 1143"/>
                <a:gd name="connsiteY0" fmla="*/ 0 h 1778"/>
                <a:gd name="connsiteX1" fmla="*/ 1144 w 1143"/>
                <a:gd name="connsiteY1" fmla="*/ 1779 h 1778"/>
                <a:gd name="connsiteX2" fmla="*/ 0 w 1143"/>
                <a:gd name="connsiteY2" fmla="*/ 0 h 1778"/>
              </a:gdLst>
              <a:ahLst/>
              <a:cxnLst>
                <a:cxn ang="0">
                  <a:pos x="connsiteX0" y="connsiteY0"/>
                </a:cxn>
                <a:cxn ang="0">
                  <a:pos x="connsiteX1" y="connsiteY1"/>
                </a:cxn>
                <a:cxn ang="0">
                  <a:pos x="connsiteX2" y="connsiteY2"/>
                </a:cxn>
              </a:cxnLst>
              <a:rect l="l" t="t" r="r" b="b"/>
              <a:pathLst>
                <a:path w="1143" h="1778">
                  <a:moveTo>
                    <a:pt x="0" y="0"/>
                  </a:moveTo>
                  <a:cubicBezTo>
                    <a:pt x="419" y="559"/>
                    <a:pt x="813" y="1156"/>
                    <a:pt x="1144" y="1779"/>
                  </a:cubicBezTo>
                  <a:cubicBezTo>
                    <a:pt x="1144" y="1779"/>
                    <a:pt x="254" y="508"/>
                    <a:pt x="0" y="0"/>
                  </a:cubicBezTo>
                  <a:close/>
                </a:path>
              </a:pathLst>
            </a:custGeom>
            <a:solidFill>
              <a:srgbClr val="000000"/>
            </a:solidFill>
            <a:ln w="12704"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CFE374DF-19CE-4D6D-87D5-E008CD39531A}"/>
                </a:ext>
              </a:extLst>
            </p:cNvPr>
            <p:cNvSpPr/>
            <p:nvPr/>
          </p:nvSpPr>
          <p:spPr>
            <a:xfrm>
              <a:off x="8574976" y="5635397"/>
              <a:ext cx="11309" cy="16009"/>
            </a:xfrm>
            <a:custGeom>
              <a:avLst/>
              <a:gdLst>
                <a:gd name="connsiteX0" fmla="*/ 1398 w 11309"/>
                <a:gd name="connsiteY0" fmla="*/ 6226 h 16009"/>
                <a:gd name="connsiteX1" fmla="*/ 0 w 11309"/>
                <a:gd name="connsiteY1" fmla="*/ 6226 h 16009"/>
                <a:gd name="connsiteX2" fmla="*/ 2033 w 11309"/>
                <a:gd name="connsiteY2" fmla="*/ 12579 h 16009"/>
                <a:gd name="connsiteX3" fmla="*/ 2033 w 11309"/>
                <a:gd name="connsiteY3" fmla="*/ 16009 h 16009"/>
                <a:gd name="connsiteX4" fmla="*/ 11309 w 11309"/>
                <a:gd name="connsiteY4" fmla="*/ 889 h 16009"/>
                <a:gd name="connsiteX5" fmla="*/ 11309 w 11309"/>
                <a:gd name="connsiteY5" fmla="*/ 0 h 16009"/>
                <a:gd name="connsiteX6" fmla="*/ 1398 w 11309"/>
                <a:gd name="connsiteY6" fmla="*/ 6226 h 1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9" h="16009">
                  <a:moveTo>
                    <a:pt x="1398" y="6226"/>
                  </a:moveTo>
                  <a:lnTo>
                    <a:pt x="0" y="6226"/>
                  </a:lnTo>
                  <a:cubicBezTo>
                    <a:pt x="1233" y="8119"/>
                    <a:pt x="1932" y="10317"/>
                    <a:pt x="2033" y="12579"/>
                  </a:cubicBezTo>
                  <a:lnTo>
                    <a:pt x="2033" y="16009"/>
                  </a:lnTo>
                  <a:lnTo>
                    <a:pt x="11309" y="889"/>
                  </a:lnTo>
                  <a:lnTo>
                    <a:pt x="11309" y="0"/>
                  </a:lnTo>
                  <a:cubicBezTo>
                    <a:pt x="9340" y="3685"/>
                    <a:pt x="5566" y="6048"/>
                    <a:pt x="1398" y="6226"/>
                  </a:cubicBezTo>
                  <a:close/>
                </a:path>
              </a:pathLst>
            </a:custGeom>
            <a:solidFill>
              <a:srgbClr val="000000"/>
            </a:solidFill>
            <a:ln w="12704"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C5129170-7B25-4440-99F7-FF526BC5E3B3}"/>
                </a:ext>
              </a:extLst>
            </p:cNvPr>
            <p:cNvSpPr/>
            <p:nvPr/>
          </p:nvSpPr>
          <p:spPr>
            <a:xfrm>
              <a:off x="8556297" y="5626122"/>
              <a:ext cx="10419" cy="13467"/>
            </a:xfrm>
            <a:custGeom>
              <a:avLst/>
              <a:gdLst>
                <a:gd name="connsiteX0" fmla="*/ 8259 w 10419"/>
                <a:gd name="connsiteY0" fmla="*/ 0 h 13467"/>
                <a:gd name="connsiteX1" fmla="*/ 6862 w 10419"/>
                <a:gd name="connsiteY1" fmla="*/ 2414 h 13467"/>
                <a:gd name="connsiteX2" fmla="*/ 0 w 10419"/>
                <a:gd name="connsiteY2" fmla="*/ 13468 h 13467"/>
                <a:gd name="connsiteX3" fmla="*/ 0 w 10419"/>
                <a:gd name="connsiteY3" fmla="*/ 13468 h 13467"/>
                <a:gd name="connsiteX4" fmla="*/ 9022 w 10419"/>
                <a:gd name="connsiteY4" fmla="*/ 9148 h 13467"/>
                <a:gd name="connsiteX5" fmla="*/ 10420 w 10419"/>
                <a:gd name="connsiteY5" fmla="*/ 9148 h 13467"/>
                <a:gd name="connsiteX6" fmla="*/ 8259 w 10419"/>
                <a:gd name="connsiteY6" fmla="*/ 26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9" h="13467">
                  <a:moveTo>
                    <a:pt x="8259" y="0"/>
                  </a:moveTo>
                  <a:lnTo>
                    <a:pt x="6862" y="2414"/>
                  </a:lnTo>
                  <a:lnTo>
                    <a:pt x="0" y="13468"/>
                  </a:lnTo>
                  <a:lnTo>
                    <a:pt x="0" y="13468"/>
                  </a:lnTo>
                  <a:cubicBezTo>
                    <a:pt x="2224" y="10762"/>
                    <a:pt x="5527" y="9186"/>
                    <a:pt x="9022" y="9148"/>
                  </a:cubicBezTo>
                  <a:lnTo>
                    <a:pt x="10420" y="9148"/>
                  </a:lnTo>
                  <a:cubicBezTo>
                    <a:pt x="9073" y="7255"/>
                    <a:pt x="8323" y="4993"/>
                    <a:pt x="8259" y="2668"/>
                  </a:cubicBezTo>
                  <a:close/>
                </a:path>
              </a:pathLst>
            </a:custGeom>
            <a:solidFill>
              <a:srgbClr val="000000"/>
            </a:solidFill>
            <a:ln w="12704"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0743367D-70E4-4F83-B55D-B0325D6E4572}"/>
                </a:ext>
              </a:extLst>
            </p:cNvPr>
            <p:cNvSpPr/>
            <p:nvPr/>
          </p:nvSpPr>
          <p:spPr>
            <a:xfrm>
              <a:off x="8552866" y="5518886"/>
              <a:ext cx="11690" cy="19566"/>
            </a:xfrm>
            <a:custGeom>
              <a:avLst/>
              <a:gdLst>
                <a:gd name="connsiteX0" fmla="*/ 3431 w 11690"/>
                <a:gd name="connsiteY0" fmla="*/ 19567 h 19566"/>
                <a:gd name="connsiteX1" fmla="*/ 10293 w 11690"/>
                <a:gd name="connsiteY1" fmla="*/ 9021 h 19566"/>
                <a:gd name="connsiteX2" fmla="*/ 11690 w 11690"/>
                <a:gd name="connsiteY2" fmla="*/ 6861 h 19566"/>
                <a:gd name="connsiteX3" fmla="*/ 11690 w 11690"/>
                <a:gd name="connsiteY3" fmla="*/ 0 h 19566"/>
                <a:gd name="connsiteX4" fmla="*/ 11690 w 11690"/>
                <a:gd name="connsiteY4" fmla="*/ 0 h 19566"/>
                <a:gd name="connsiteX5" fmla="*/ 11055 w 11690"/>
                <a:gd name="connsiteY5" fmla="*/ 0 h 19566"/>
                <a:gd name="connsiteX6" fmla="*/ 11055 w 11690"/>
                <a:gd name="connsiteY6" fmla="*/ 0 h 19566"/>
                <a:gd name="connsiteX7" fmla="*/ 3812 w 11690"/>
                <a:gd name="connsiteY7" fmla="*/ 11054 h 19566"/>
                <a:gd name="connsiteX8" fmla="*/ 0 w 11690"/>
                <a:gd name="connsiteY8" fmla="*/ 17026 h 19566"/>
                <a:gd name="connsiteX9" fmla="*/ 0 w 11690"/>
                <a:gd name="connsiteY9" fmla="*/ 17026 h 19566"/>
                <a:gd name="connsiteX10" fmla="*/ 635 w 11690"/>
                <a:gd name="connsiteY10" fmla="*/ 17026 h 19566"/>
                <a:gd name="connsiteX11" fmla="*/ 1271 w 11690"/>
                <a:gd name="connsiteY11" fmla="*/ 17026 h 19566"/>
                <a:gd name="connsiteX12" fmla="*/ 1271 w 11690"/>
                <a:gd name="connsiteY12" fmla="*/ 17026 h 19566"/>
                <a:gd name="connsiteX13" fmla="*/ 1271 w 11690"/>
                <a:gd name="connsiteY13" fmla="*/ 17026 h 19566"/>
                <a:gd name="connsiteX14" fmla="*/ 2033 w 11690"/>
                <a:gd name="connsiteY14" fmla="*/ 17026 h 19566"/>
                <a:gd name="connsiteX15" fmla="*/ 2033 w 11690"/>
                <a:gd name="connsiteY15" fmla="*/ 17788 h 19566"/>
                <a:gd name="connsiteX16" fmla="*/ 2033 w 11690"/>
                <a:gd name="connsiteY16" fmla="*/ 18423 h 19566"/>
                <a:gd name="connsiteX17" fmla="*/ 2033 w 11690"/>
                <a:gd name="connsiteY17" fmla="*/ 19312 h 1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90" h="19566">
                  <a:moveTo>
                    <a:pt x="3431" y="19567"/>
                  </a:moveTo>
                  <a:lnTo>
                    <a:pt x="10293" y="9021"/>
                  </a:lnTo>
                  <a:lnTo>
                    <a:pt x="11690" y="6861"/>
                  </a:lnTo>
                  <a:lnTo>
                    <a:pt x="11690" y="0"/>
                  </a:lnTo>
                  <a:lnTo>
                    <a:pt x="11690" y="0"/>
                  </a:lnTo>
                  <a:lnTo>
                    <a:pt x="11055" y="0"/>
                  </a:lnTo>
                  <a:lnTo>
                    <a:pt x="11055" y="0"/>
                  </a:lnTo>
                  <a:lnTo>
                    <a:pt x="3812" y="11054"/>
                  </a:lnTo>
                  <a:lnTo>
                    <a:pt x="0" y="17026"/>
                  </a:lnTo>
                  <a:lnTo>
                    <a:pt x="0" y="17026"/>
                  </a:lnTo>
                  <a:cubicBezTo>
                    <a:pt x="203" y="16975"/>
                    <a:pt x="432" y="16975"/>
                    <a:pt x="635" y="17026"/>
                  </a:cubicBezTo>
                  <a:lnTo>
                    <a:pt x="1271" y="17026"/>
                  </a:lnTo>
                  <a:lnTo>
                    <a:pt x="1271" y="17026"/>
                  </a:lnTo>
                  <a:lnTo>
                    <a:pt x="1271" y="17026"/>
                  </a:lnTo>
                  <a:lnTo>
                    <a:pt x="2033" y="17026"/>
                  </a:lnTo>
                  <a:cubicBezTo>
                    <a:pt x="2033" y="17026"/>
                    <a:pt x="2033" y="17026"/>
                    <a:pt x="2033" y="17788"/>
                  </a:cubicBezTo>
                  <a:cubicBezTo>
                    <a:pt x="2033" y="18550"/>
                    <a:pt x="2033" y="17788"/>
                    <a:pt x="2033" y="18423"/>
                  </a:cubicBezTo>
                  <a:lnTo>
                    <a:pt x="2033" y="19312"/>
                  </a:lnTo>
                  <a:close/>
                </a:path>
              </a:pathLst>
            </a:custGeom>
            <a:solidFill>
              <a:srgbClr val="000000"/>
            </a:solidFill>
            <a:ln w="12704"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981E1D87-EB37-4C6A-9A79-E14D8E28F7FE}"/>
                </a:ext>
              </a:extLst>
            </p:cNvPr>
            <p:cNvSpPr/>
            <p:nvPr/>
          </p:nvSpPr>
          <p:spPr>
            <a:xfrm>
              <a:off x="6955479" y="5597153"/>
              <a:ext cx="1559011" cy="4201"/>
            </a:xfrm>
            <a:custGeom>
              <a:avLst/>
              <a:gdLst>
                <a:gd name="connsiteX0" fmla="*/ 1557868 w 1559011"/>
                <a:gd name="connsiteY0" fmla="*/ 3939 h 4201"/>
                <a:gd name="connsiteX1" fmla="*/ 1557868 w 1559011"/>
                <a:gd name="connsiteY1" fmla="*/ 889 h 4201"/>
                <a:gd name="connsiteX2" fmla="*/ 1558504 w 1559011"/>
                <a:gd name="connsiteY2" fmla="*/ 0 h 4201"/>
                <a:gd name="connsiteX3" fmla="*/ 5591 w 1559011"/>
                <a:gd name="connsiteY3" fmla="*/ 0 h 4201"/>
                <a:gd name="connsiteX4" fmla="*/ 0 w 1559011"/>
                <a:gd name="connsiteY4" fmla="*/ 4193 h 4201"/>
                <a:gd name="connsiteX5" fmla="*/ 1559012 w 1559011"/>
                <a:gd name="connsiteY5" fmla="*/ 4193 h 4201"/>
                <a:gd name="connsiteX6" fmla="*/ 1557868 w 1559011"/>
                <a:gd name="connsiteY6" fmla="*/ 3939 h 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011" h="4201">
                  <a:moveTo>
                    <a:pt x="1557868" y="3939"/>
                  </a:moveTo>
                  <a:cubicBezTo>
                    <a:pt x="1557093" y="3075"/>
                    <a:pt x="1557093" y="1753"/>
                    <a:pt x="1557868" y="889"/>
                  </a:cubicBezTo>
                  <a:lnTo>
                    <a:pt x="1558504" y="0"/>
                  </a:lnTo>
                  <a:lnTo>
                    <a:pt x="5591" y="0"/>
                  </a:lnTo>
                  <a:lnTo>
                    <a:pt x="0" y="4193"/>
                  </a:lnTo>
                  <a:lnTo>
                    <a:pt x="1559012" y="4193"/>
                  </a:lnTo>
                  <a:cubicBezTo>
                    <a:pt x="1558618" y="4231"/>
                    <a:pt x="1558211" y="4142"/>
                    <a:pt x="1557868" y="3939"/>
                  </a:cubicBezTo>
                  <a:close/>
                </a:path>
              </a:pathLst>
            </a:custGeom>
            <a:solidFill>
              <a:srgbClr val="000000"/>
            </a:solidFill>
            <a:ln w="12704"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B0AB1789-3B19-4481-A51E-E9294F8A2C8C}"/>
                </a:ext>
              </a:extLst>
            </p:cNvPr>
            <p:cNvSpPr/>
            <p:nvPr/>
          </p:nvSpPr>
          <p:spPr>
            <a:xfrm>
              <a:off x="8552955" y="5636032"/>
              <a:ext cx="24054" cy="161997"/>
            </a:xfrm>
            <a:custGeom>
              <a:avLst/>
              <a:gdLst>
                <a:gd name="connsiteX0" fmla="*/ 24054 w 24054"/>
                <a:gd name="connsiteY0" fmla="*/ 141795 h 161997"/>
                <a:gd name="connsiteX1" fmla="*/ 24054 w 24054"/>
                <a:gd name="connsiteY1" fmla="*/ 11689 h 161997"/>
                <a:gd name="connsiteX2" fmla="*/ 22021 w 24054"/>
                <a:gd name="connsiteY2" fmla="*/ 5336 h 161997"/>
                <a:gd name="connsiteX3" fmla="*/ 13762 w 24054"/>
                <a:gd name="connsiteY3" fmla="*/ 0 h 161997"/>
                <a:gd name="connsiteX4" fmla="*/ 12364 w 24054"/>
                <a:gd name="connsiteY4" fmla="*/ 0 h 161997"/>
                <a:gd name="connsiteX5" fmla="*/ 3342 w 24054"/>
                <a:gd name="connsiteY5" fmla="*/ 4320 h 161997"/>
                <a:gd name="connsiteX6" fmla="*/ 3342 w 24054"/>
                <a:gd name="connsiteY6" fmla="*/ 22489 h 161997"/>
                <a:gd name="connsiteX7" fmla="*/ 10585 w 24054"/>
                <a:gd name="connsiteY7" fmla="*/ 10800 h 161997"/>
                <a:gd name="connsiteX8" fmla="*/ 13279 w 24054"/>
                <a:gd name="connsiteY8" fmla="*/ 10698 h 161997"/>
                <a:gd name="connsiteX9" fmla="*/ 13381 w 24054"/>
                <a:gd name="connsiteY9" fmla="*/ 10800 h 161997"/>
                <a:gd name="connsiteX10" fmla="*/ 13431 w 24054"/>
                <a:gd name="connsiteY10" fmla="*/ 13671 h 161997"/>
                <a:gd name="connsiteX11" fmla="*/ 13381 w 24054"/>
                <a:gd name="connsiteY11" fmla="*/ 13722 h 161997"/>
                <a:gd name="connsiteX12" fmla="*/ 2452 w 24054"/>
                <a:gd name="connsiteY12" fmla="*/ 31637 h 161997"/>
                <a:gd name="connsiteX13" fmla="*/ 2452 w 24054"/>
                <a:gd name="connsiteY13" fmla="*/ 31637 h 161997"/>
                <a:gd name="connsiteX14" fmla="*/ 801 w 24054"/>
                <a:gd name="connsiteY14" fmla="*/ 32526 h 161997"/>
                <a:gd name="connsiteX15" fmla="*/ 801 w 24054"/>
                <a:gd name="connsiteY15" fmla="*/ 32526 h 161997"/>
                <a:gd name="connsiteX16" fmla="*/ 38 w 24054"/>
                <a:gd name="connsiteY16" fmla="*/ 32526 h 161997"/>
                <a:gd name="connsiteX17" fmla="*/ 38 w 24054"/>
                <a:gd name="connsiteY17" fmla="*/ 150054 h 161997"/>
                <a:gd name="connsiteX18" fmla="*/ 38 w 24054"/>
                <a:gd name="connsiteY18" fmla="*/ 151451 h 161997"/>
                <a:gd name="connsiteX19" fmla="*/ 38 w 24054"/>
                <a:gd name="connsiteY19" fmla="*/ 153865 h 161997"/>
                <a:gd name="connsiteX20" fmla="*/ 928 w 24054"/>
                <a:gd name="connsiteY20" fmla="*/ 155898 h 161997"/>
                <a:gd name="connsiteX21" fmla="*/ 2198 w 24054"/>
                <a:gd name="connsiteY21" fmla="*/ 157677 h 161997"/>
                <a:gd name="connsiteX22" fmla="*/ 3469 w 24054"/>
                <a:gd name="connsiteY22" fmla="*/ 158948 h 161997"/>
                <a:gd name="connsiteX23" fmla="*/ 7027 w 24054"/>
                <a:gd name="connsiteY23" fmla="*/ 161235 h 161997"/>
                <a:gd name="connsiteX24" fmla="*/ 7027 w 24054"/>
                <a:gd name="connsiteY24" fmla="*/ 161235 h 161997"/>
                <a:gd name="connsiteX25" fmla="*/ 15033 w 24054"/>
                <a:gd name="connsiteY25" fmla="*/ 161235 h 161997"/>
                <a:gd name="connsiteX26" fmla="*/ 15922 w 24054"/>
                <a:gd name="connsiteY26" fmla="*/ 161235 h 161997"/>
                <a:gd name="connsiteX27" fmla="*/ 19226 w 24054"/>
                <a:gd name="connsiteY27" fmla="*/ 158948 h 161997"/>
                <a:gd name="connsiteX28" fmla="*/ 19226 w 24054"/>
                <a:gd name="connsiteY28" fmla="*/ 158948 h 161997"/>
                <a:gd name="connsiteX29" fmla="*/ 22530 w 24054"/>
                <a:gd name="connsiteY29" fmla="*/ 150689 h 16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054" h="161997">
                  <a:moveTo>
                    <a:pt x="24054" y="141795"/>
                  </a:moveTo>
                  <a:lnTo>
                    <a:pt x="24054" y="11689"/>
                  </a:lnTo>
                  <a:cubicBezTo>
                    <a:pt x="23953" y="9428"/>
                    <a:pt x="23254" y="7230"/>
                    <a:pt x="22021" y="5336"/>
                  </a:cubicBezTo>
                  <a:cubicBezTo>
                    <a:pt x="18603" y="4904"/>
                    <a:pt x="15553" y="2948"/>
                    <a:pt x="13762" y="0"/>
                  </a:cubicBezTo>
                  <a:lnTo>
                    <a:pt x="12364" y="0"/>
                  </a:lnTo>
                  <a:cubicBezTo>
                    <a:pt x="8870" y="38"/>
                    <a:pt x="5566" y="1613"/>
                    <a:pt x="3342" y="4320"/>
                  </a:cubicBezTo>
                  <a:lnTo>
                    <a:pt x="3342" y="22489"/>
                  </a:lnTo>
                  <a:lnTo>
                    <a:pt x="10585" y="10800"/>
                  </a:lnTo>
                  <a:cubicBezTo>
                    <a:pt x="11297" y="10025"/>
                    <a:pt x="12504" y="9986"/>
                    <a:pt x="13279" y="10698"/>
                  </a:cubicBezTo>
                  <a:cubicBezTo>
                    <a:pt x="13317" y="10736"/>
                    <a:pt x="13343" y="10762"/>
                    <a:pt x="13381" y="10800"/>
                  </a:cubicBezTo>
                  <a:cubicBezTo>
                    <a:pt x="14194" y="11575"/>
                    <a:pt x="14207" y="12871"/>
                    <a:pt x="13431" y="13671"/>
                  </a:cubicBezTo>
                  <a:cubicBezTo>
                    <a:pt x="13419" y="13697"/>
                    <a:pt x="13393" y="13709"/>
                    <a:pt x="13381" y="13722"/>
                  </a:cubicBezTo>
                  <a:lnTo>
                    <a:pt x="2452" y="31637"/>
                  </a:lnTo>
                  <a:lnTo>
                    <a:pt x="2452" y="31637"/>
                  </a:lnTo>
                  <a:cubicBezTo>
                    <a:pt x="2071" y="32171"/>
                    <a:pt x="1461" y="32501"/>
                    <a:pt x="801" y="32526"/>
                  </a:cubicBezTo>
                  <a:lnTo>
                    <a:pt x="801" y="32526"/>
                  </a:lnTo>
                  <a:lnTo>
                    <a:pt x="38" y="32526"/>
                  </a:lnTo>
                  <a:lnTo>
                    <a:pt x="38" y="150054"/>
                  </a:lnTo>
                  <a:cubicBezTo>
                    <a:pt x="38" y="150054"/>
                    <a:pt x="38" y="150943"/>
                    <a:pt x="38" y="151451"/>
                  </a:cubicBezTo>
                  <a:cubicBezTo>
                    <a:pt x="-13" y="152252"/>
                    <a:pt x="-13" y="153065"/>
                    <a:pt x="38" y="153865"/>
                  </a:cubicBezTo>
                  <a:cubicBezTo>
                    <a:pt x="38" y="153865"/>
                    <a:pt x="674" y="155136"/>
                    <a:pt x="928" y="155898"/>
                  </a:cubicBezTo>
                  <a:cubicBezTo>
                    <a:pt x="1284" y="156546"/>
                    <a:pt x="1703" y="157143"/>
                    <a:pt x="2198" y="157677"/>
                  </a:cubicBezTo>
                  <a:cubicBezTo>
                    <a:pt x="2554" y="158160"/>
                    <a:pt x="2986" y="158592"/>
                    <a:pt x="3469" y="158948"/>
                  </a:cubicBezTo>
                  <a:cubicBezTo>
                    <a:pt x="4473" y="159964"/>
                    <a:pt x="5680" y="160752"/>
                    <a:pt x="7027" y="161235"/>
                  </a:cubicBezTo>
                  <a:lnTo>
                    <a:pt x="7027" y="161235"/>
                  </a:lnTo>
                  <a:cubicBezTo>
                    <a:pt x="9594" y="162251"/>
                    <a:pt x="12466" y="162251"/>
                    <a:pt x="15033" y="161235"/>
                  </a:cubicBezTo>
                  <a:lnTo>
                    <a:pt x="15922" y="161235"/>
                  </a:lnTo>
                  <a:cubicBezTo>
                    <a:pt x="17167" y="160701"/>
                    <a:pt x="18285" y="159913"/>
                    <a:pt x="19226" y="158948"/>
                  </a:cubicBezTo>
                  <a:cubicBezTo>
                    <a:pt x="19226" y="158948"/>
                    <a:pt x="19226" y="158948"/>
                    <a:pt x="19226" y="158948"/>
                  </a:cubicBezTo>
                  <a:cubicBezTo>
                    <a:pt x="21284" y="156686"/>
                    <a:pt x="22453" y="153751"/>
                    <a:pt x="22530" y="150689"/>
                  </a:cubicBezTo>
                  <a:close/>
                </a:path>
              </a:pathLst>
            </a:custGeom>
            <a:solidFill>
              <a:srgbClr val="000000"/>
            </a:solidFill>
            <a:ln w="12704"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35EC1F42-BDDE-4F6B-9241-7C84BCB8D5B0}"/>
                </a:ext>
              </a:extLst>
            </p:cNvPr>
            <p:cNvSpPr/>
            <p:nvPr/>
          </p:nvSpPr>
          <p:spPr>
            <a:xfrm>
              <a:off x="8552399" y="5537563"/>
              <a:ext cx="3993" cy="128327"/>
            </a:xfrm>
            <a:custGeom>
              <a:avLst/>
              <a:gdLst>
                <a:gd name="connsiteX0" fmla="*/ 3898 w 3993"/>
                <a:gd name="connsiteY0" fmla="*/ 120704 h 128327"/>
                <a:gd name="connsiteX1" fmla="*/ 3898 w 3993"/>
                <a:gd name="connsiteY1" fmla="*/ 0 h 128327"/>
                <a:gd name="connsiteX2" fmla="*/ 3898 w 3993"/>
                <a:gd name="connsiteY2" fmla="*/ 1397 h 128327"/>
                <a:gd name="connsiteX3" fmla="*/ 86 w 3993"/>
                <a:gd name="connsiteY3" fmla="*/ 7369 h 128327"/>
                <a:gd name="connsiteX4" fmla="*/ 86 w 3993"/>
                <a:gd name="connsiteY4" fmla="*/ 128327 h 128327"/>
                <a:gd name="connsiteX5" fmla="*/ 86 w 3993"/>
                <a:gd name="connsiteY5" fmla="*/ 126929 h 12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3" h="128327">
                  <a:moveTo>
                    <a:pt x="3898" y="120704"/>
                  </a:moveTo>
                  <a:lnTo>
                    <a:pt x="3898" y="0"/>
                  </a:lnTo>
                  <a:cubicBezTo>
                    <a:pt x="4025" y="457"/>
                    <a:pt x="4025" y="940"/>
                    <a:pt x="3898" y="1397"/>
                  </a:cubicBezTo>
                  <a:lnTo>
                    <a:pt x="86" y="7369"/>
                  </a:lnTo>
                  <a:lnTo>
                    <a:pt x="86" y="128327"/>
                  </a:lnTo>
                  <a:cubicBezTo>
                    <a:pt x="-29" y="127870"/>
                    <a:pt x="-29" y="127387"/>
                    <a:pt x="86" y="126929"/>
                  </a:cubicBezTo>
                  <a:close/>
                </a:path>
              </a:pathLst>
            </a:custGeom>
            <a:solidFill>
              <a:srgbClr val="000000"/>
            </a:solidFill>
            <a:ln w="12704"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F47E047D-7F40-472D-82B8-D029174D2430}"/>
                </a:ext>
              </a:extLst>
            </p:cNvPr>
            <p:cNvSpPr/>
            <p:nvPr/>
          </p:nvSpPr>
          <p:spPr>
            <a:xfrm>
              <a:off x="8554010" y="5535784"/>
              <a:ext cx="762" cy="12705"/>
            </a:xfrm>
            <a:custGeom>
              <a:avLst/>
              <a:gdLst>
                <a:gd name="connsiteX0" fmla="*/ 0 w 762"/>
                <a:gd name="connsiteY0" fmla="*/ 0 h 12705"/>
                <a:gd name="connsiteX1" fmla="*/ 762 w 762"/>
                <a:gd name="connsiteY1" fmla="*/ 0 h 12705"/>
                <a:gd name="connsiteX2" fmla="*/ 762 w 762"/>
                <a:gd name="connsiteY2" fmla="*/ 0 h 12705"/>
              </a:gdLst>
              <a:ahLst/>
              <a:cxnLst>
                <a:cxn ang="0">
                  <a:pos x="connsiteX0" y="connsiteY0"/>
                </a:cxn>
                <a:cxn ang="0">
                  <a:pos x="connsiteX1" y="connsiteY1"/>
                </a:cxn>
                <a:cxn ang="0">
                  <a:pos x="connsiteX2" y="connsiteY2"/>
                </a:cxn>
              </a:cxnLst>
              <a:rect l="l" t="t" r="r" b="b"/>
              <a:pathLst>
                <a:path w="762" h="12705">
                  <a:moveTo>
                    <a:pt x="0" y="0"/>
                  </a:moveTo>
                  <a:lnTo>
                    <a:pt x="762" y="0"/>
                  </a:lnTo>
                  <a:lnTo>
                    <a:pt x="762" y="0"/>
                  </a:lnTo>
                  <a:close/>
                </a:path>
              </a:pathLst>
            </a:custGeom>
            <a:solidFill>
              <a:srgbClr val="000000"/>
            </a:solidFill>
            <a:ln w="12704"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B2389DE2-CB3F-4205-838F-AC209A16BE3E}"/>
                </a:ext>
              </a:extLst>
            </p:cNvPr>
            <p:cNvSpPr/>
            <p:nvPr/>
          </p:nvSpPr>
          <p:spPr>
            <a:xfrm>
              <a:off x="8554772" y="5666907"/>
              <a:ext cx="1651" cy="889"/>
            </a:xfrm>
            <a:custGeom>
              <a:avLst/>
              <a:gdLst>
                <a:gd name="connsiteX0" fmla="*/ 0 w 1651"/>
                <a:gd name="connsiteY0" fmla="*/ 889 h 889"/>
                <a:gd name="connsiteX1" fmla="*/ 1652 w 1651"/>
                <a:gd name="connsiteY1" fmla="*/ 0 h 889"/>
                <a:gd name="connsiteX2" fmla="*/ 0 w 1651"/>
                <a:gd name="connsiteY2" fmla="*/ 889 h 889"/>
              </a:gdLst>
              <a:ahLst/>
              <a:cxnLst>
                <a:cxn ang="0">
                  <a:pos x="connsiteX0" y="connsiteY0"/>
                </a:cxn>
                <a:cxn ang="0">
                  <a:pos x="connsiteX1" y="connsiteY1"/>
                </a:cxn>
                <a:cxn ang="0">
                  <a:pos x="connsiteX2" y="connsiteY2"/>
                </a:cxn>
              </a:cxnLst>
              <a:rect l="l" t="t" r="r" b="b"/>
              <a:pathLst>
                <a:path w="1651" h="889">
                  <a:moveTo>
                    <a:pt x="0" y="889"/>
                  </a:moveTo>
                  <a:cubicBezTo>
                    <a:pt x="661" y="864"/>
                    <a:pt x="1271" y="534"/>
                    <a:pt x="1652" y="0"/>
                  </a:cubicBezTo>
                  <a:cubicBezTo>
                    <a:pt x="1245" y="508"/>
                    <a:pt x="648" y="826"/>
                    <a:pt x="0" y="889"/>
                  </a:cubicBezTo>
                  <a:close/>
                </a:path>
              </a:pathLst>
            </a:custGeom>
            <a:solidFill>
              <a:srgbClr val="000000"/>
            </a:solidFill>
            <a:ln w="12704"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822279A5-D09D-4112-810C-B85A14E3DA1C}"/>
                </a:ext>
              </a:extLst>
            </p:cNvPr>
            <p:cNvSpPr/>
            <p:nvPr/>
          </p:nvSpPr>
          <p:spPr>
            <a:xfrm>
              <a:off x="8552907" y="5645460"/>
              <a:ext cx="14557" cy="21476"/>
            </a:xfrm>
            <a:custGeom>
              <a:avLst/>
              <a:gdLst>
                <a:gd name="connsiteX0" fmla="*/ 3008 w 14557"/>
                <a:gd name="connsiteY0" fmla="*/ 21447 h 21476"/>
                <a:gd name="connsiteX1" fmla="*/ 3008 w 14557"/>
                <a:gd name="connsiteY1" fmla="*/ 21447 h 21476"/>
                <a:gd name="connsiteX2" fmla="*/ 13936 w 14557"/>
                <a:gd name="connsiteY2" fmla="*/ 3532 h 21476"/>
                <a:gd name="connsiteX3" fmla="*/ 13987 w 14557"/>
                <a:gd name="connsiteY3" fmla="*/ 661 h 21476"/>
                <a:gd name="connsiteX4" fmla="*/ 13936 w 14557"/>
                <a:gd name="connsiteY4" fmla="*/ 609 h 21476"/>
                <a:gd name="connsiteX5" fmla="*/ 11242 w 14557"/>
                <a:gd name="connsiteY5" fmla="*/ 508 h 21476"/>
                <a:gd name="connsiteX6" fmla="*/ 11141 w 14557"/>
                <a:gd name="connsiteY6" fmla="*/ 609 h 21476"/>
                <a:gd name="connsiteX7" fmla="*/ 3898 w 14557"/>
                <a:gd name="connsiteY7" fmla="*/ 12299 h 21476"/>
                <a:gd name="connsiteX8" fmla="*/ 86 w 14557"/>
                <a:gd name="connsiteY8" fmla="*/ 18524 h 21476"/>
                <a:gd name="connsiteX9" fmla="*/ 86 w 14557"/>
                <a:gd name="connsiteY9" fmla="*/ 19922 h 21476"/>
                <a:gd name="connsiteX10" fmla="*/ 86 w 14557"/>
                <a:gd name="connsiteY10" fmla="*/ 20685 h 21476"/>
                <a:gd name="connsiteX11" fmla="*/ 86 w 14557"/>
                <a:gd name="connsiteY11" fmla="*/ 20685 h 21476"/>
                <a:gd name="connsiteX12" fmla="*/ 86 w 14557"/>
                <a:gd name="connsiteY12" fmla="*/ 20685 h 21476"/>
                <a:gd name="connsiteX13" fmla="*/ 86 w 14557"/>
                <a:gd name="connsiteY13" fmla="*/ 20685 h 21476"/>
                <a:gd name="connsiteX14" fmla="*/ 848 w 14557"/>
                <a:gd name="connsiteY14" fmla="*/ 20685 h 21476"/>
                <a:gd name="connsiteX15" fmla="*/ 3008 w 14557"/>
                <a:gd name="connsiteY15" fmla="*/ 2144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57" h="21476">
                  <a:moveTo>
                    <a:pt x="3008" y="21447"/>
                  </a:moveTo>
                  <a:lnTo>
                    <a:pt x="3008" y="21447"/>
                  </a:lnTo>
                  <a:lnTo>
                    <a:pt x="13936" y="3532"/>
                  </a:lnTo>
                  <a:cubicBezTo>
                    <a:pt x="14750" y="2757"/>
                    <a:pt x="14762" y="1461"/>
                    <a:pt x="13987" y="661"/>
                  </a:cubicBezTo>
                  <a:cubicBezTo>
                    <a:pt x="13974" y="635"/>
                    <a:pt x="13949" y="622"/>
                    <a:pt x="13936" y="609"/>
                  </a:cubicBezTo>
                  <a:cubicBezTo>
                    <a:pt x="13225" y="-165"/>
                    <a:pt x="12018" y="-204"/>
                    <a:pt x="11242" y="508"/>
                  </a:cubicBezTo>
                  <a:cubicBezTo>
                    <a:pt x="11204" y="546"/>
                    <a:pt x="11179" y="571"/>
                    <a:pt x="11141" y="609"/>
                  </a:cubicBezTo>
                  <a:lnTo>
                    <a:pt x="3898" y="12299"/>
                  </a:lnTo>
                  <a:lnTo>
                    <a:pt x="86" y="18524"/>
                  </a:lnTo>
                  <a:cubicBezTo>
                    <a:pt x="-29" y="18982"/>
                    <a:pt x="-29" y="19465"/>
                    <a:pt x="86" y="19922"/>
                  </a:cubicBezTo>
                  <a:lnTo>
                    <a:pt x="86" y="20685"/>
                  </a:lnTo>
                  <a:lnTo>
                    <a:pt x="86" y="20685"/>
                  </a:lnTo>
                  <a:lnTo>
                    <a:pt x="86" y="20685"/>
                  </a:lnTo>
                  <a:lnTo>
                    <a:pt x="86" y="20685"/>
                  </a:lnTo>
                  <a:lnTo>
                    <a:pt x="848" y="20685"/>
                  </a:lnTo>
                  <a:cubicBezTo>
                    <a:pt x="1395" y="21282"/>
                    <a:pt x="2208" y="21574"/>
                    <a:pt x="3008" y="21447"/>
                  </a:cubicBezTo>
                  <a:close/>
                </a:path>
              </a:pathLst>
            </a:custGeom>
            <a:solidFill>
              <a:srgbClr val="000000"/>
            </a:solidFill>
            <a:ln w="12704"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622B90A8-C0A5-4362-A890-4EC251A903D5}"/>
                </a:ext>
              </a:extLst>
            </p:cNvPr>
            <p:cNvSpPr/>
            <p:nvPr/>
          </p:nvSpPr>
          <p:spPr>
            <a:xfrm>
              <a:off x="8513910" y="5536128"/>
              <a:ext cx="42228" cy="63788"/>
            </a:xfrm>
            <a:custGeom>
              <a:avLst/>
              <a:gdLst>
                <a:gd name="connsiteX0" fmla="*/ 42133 w 42228"/>
                <a:gd name="connsiteY0" fmla="*/ 2833 h 63788"/>
                <a:gd name="connsiteX1" fmla="*/ 42133 w 42228"/>
                <a:gd name="connsiteY1" fmla="*/ 1436 h 63788"/>
                <a:gd name="connsiteX2" fmla="*/ 42133 w 42228"/>
                <a:gd name="connsiteY2" fmla="*/ 800 h 63788"/>
                <a:gd name="connsiteX3" fmla="*/ 42133 w 42228"/>
                <a:gd name="connsiteY3" fmla="*/ 38 h 63788"/>
                <a:gd name="connsiteX4" fmla="*/ 40608 w 42228"/>
                <a:gd name="connsiteY4" fmla="*/ 38 h 63788"/>
                <a:gd name="connsiteX5" fmla="*/ 39973 w 42228"/>
                <a:gd name="connsiteY5" fmla="*/ 38 h 63788"/>
                <a:gd name="connsiteX6" fmla="*/ 39337 w 42228"/>
                <a:gd name="connsiteY6" fmla="*/ 38 h 63788"/>
                <a:gd name="connsiteX7" fmla="*/ 39337 w 42228"/>
                <a:gd name="connsiteY7" fmla="*/ 38 h 63788"/>
                <a:gd name="connsiteX8" fmla="*/ 39337 w 42228"/>
                <a:gd name="connsiteY8" fmla="*/ 38 h 63788"/>
                <a:gd name="connsiteX9" fmla="*/ 39337 w 42228"/>
                <a:gd name="connsiteY9" fmla="*/ 38 h 63788"/>
                <a:gd name="connsiteX10" fmla="*/ 1217 w 42228"/>
                <a:gd name="connsiteY10" fmla="*/ 59374 h 63788"/>
                <a:gd name="connsiteX11" fmla="*/ 581 w 42228"/>
                <a:gd name="connsiteY11" fmla="*/ 60263 h 63788"/>
                <a:gd name="connsiteX12" fmla="*/ 581 w 42228"/>
                <a:gd name="connsiteY12" fmla="*/ 63312 h 63788"/>
                <a:gd name="connsiteX13" fmla="*/ 3377 w 42228"/>
                <a:gd name="connsiteY13" fmla="*/ 63312 h 63788"/>
                <a:gd name="connsiteX14" fmla="*/ 3377 w 42228"/>
                <a:gd name="connsiteY14" fmla="*/ 63312 h 63788"/>
                <a:gd name="connsiteX15" fmla="*/ 3377 w 42228"/>
                <a:gd name="connsiteY15" fmla="*/ 63312 h 63788"/>
                <a:gd name="connsiteX16" fmla="*/ 38956 w 42228"/>
                <a:gd name="connsiteY16" fmla="*/ 8297 h 6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228" h="63788">
                  <a:moveTo>
                    <a:pt x="42133" y="2833"/>
                  </a:moveTo>
                  <a:cubicBezTo>
                    <a:pt x="42260" y="2376"/>
                    <a:pt x="42260" y="1893"/>
                    <a:pt x="42133" y="1436"/>
                  </a:cubicBezTo>
                  <a:cubicBezTo>
                    <a:pt x="42133" y="1436"/>
                    <a:pt x="42133" y="1436"/>
                    <a:pt x="42133" y="800"/>
                  </a:cubicBezTo>
                  <a:cubicBezTo>
                    <a:pt x="42133" y="165"/>
                    <a:pt x="42133" y="800"/>
                    <a:pt x="42133" y="38"/>
                  </a:cubicBezTo>
                  <a:lnTo>
                    <a:pt x="40608" y="38"/>
                  </a:lnTo>
                  <a:lnTo>
                    <a:pt x="39973" y="38"/>
                  </a:lnTo>
                  <a:cubicBezTo>
                    <a:pt x="39769" y="-13"/>
                    <a:pt x="39541" y="-13"/>
                    <a:pt x="39337" y="38"/>
                  </a:cubicBezTo>
                  <a:lnTo>
                    <a:pt x="39337" y="38"/>
                  </a:lnTo>
                  <a:lnTo>
                    <a:pt x="39337" y="38"/>
                  </a:lnTo>
                  <a:lnTo>
                    <a:pt x="39337" y="38"/>
                  </a:lnTo>
                  <a:lnTo>
                    <a:pt x="1217" y="59374"/>
                  </a:lnTo>
                  <a:lnTo>
                    <a:pt x="581" y="60263"/>
                  </a:lnTo>
                  <a:cubicBezTo>
                    <a:pt x="-194" y="61127"/>
                    <a:pt x="-194" y="62449"/>
                    <a:pt x="581" y="63312"/>
                  </a:cubicBezTo>
                  <a:cubicBezTo>
                    <a:pt x="1407" y="63948"/>
                    <a:pt x="2551" y="63948"/>
                    <a:pt x="3377" y="63312"/>
                  </a:cubicBezTo>
                  <a:lnTo>
                    <a:pt x="3377" y="63312"/>
                  </a:lnTo>
                  <a:lnTo>
                    <a:pt x="3377" y="63312"/>
                  </a:lnTo>
                  <a:lnTo>
                    <a:pt x="38956" y="8297"/>
                  </a:lnTo>
                  <a:close/>
                </a:path>
              </a:pathLst>
            </a:custGeom>
            <a:solidFill>
              <a:srgbClr val="000000"/>
            </a:solidFill>
            <a:ln w="12704"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02A68C2C-99D8-4998-B26D-9AF1768FF925}"/>
                </a:ext>
              </a:extLst>
            </p:cNvPr>
            <p:cNvSpPr/>
            <p:nvPr/>
          </p:nvSpPr>
          <p:spPr>
            <a:xfrm>
              <a:off x="6930573" y="5525838"/>
              <a:ext cx="99581" cy="79446"/>
            </a:xfrm>
            <a:custGeom>
              <a:avLst/>
              <a:gdLst>
                <a:gd name="connsiteX0" fmla="*/ 95429 w 99581"/>
                <a:gd name="connsiteY0" fmla="*/ 21636 h 79446"/>
                <a:gd name="connsiteX1" fmla="*/ 96064 w 99581"/>
                <a:gd name="connsiteY1" fmla="*/ 21000 h 79446"/>
                <a:gd name="connsiteX2" fmla="*/ 97589 w 99581"/>
                <a:gd name="connsiteY2" fmla="*/ 19094 h 79446"/>
                <a:gd name="connsiteX3" fmla="*/ 98860 w 99581"/>
                <a:gd name="connsiteY3" fmla="*/ 17316 h 79446"/>
                <a:gd name="connsiteX4" fmla="*/ 99495 w 99581"/>
                <a:gd name="connsiteY4" fmla="*/ 15156 h 79446"/>
                <a:gd name="connsiteX5" fmla="*/ 99495 w 99581"/>
                <a:gd name="connsiteY5" fmla="*/ 12869 h 79446"/>
                <a:gd name="connsiteX6" fmla="*/ 97335 w 99581"/>
                <a:gd name="connsiteY6" fmla="*/ 4737 h 79446"/>
                <a:gd name="connsiteX7" fmla="*/ 80981 w 99581"/>
                <a:gd name="connsiteY7" fmla="*/ 2298 h 79446"/>
                <a:gd name="connsiteX8" fmla="*/ 80943 w 99581"/>
                <a:gd name="connsiteY8" fmla="*/ 2323 h 79446"/>
                <a:gd name="connsiteX9" fmla="*/ 76242 w 99581"/>
                <a:gd name="connsiteY9" fmla="*/ 6008 h 79446"/>
                <a:gd name="connsiteX10" fmla="*/ 0 w 99581"/>
                <a:gd name="connsiteY10" fmla="*/ 63819 h 79446"/>
                <a:gd name="connsiteX11" fmla="*/ 0 w 99581"/>
                <a:gd name="connsiteY11" fmla="*/ 64454 h 79446"/>
                <a:gd name="connsiteX12" fmla="*/ 7624 w 99581"/>
                <a:gd name="connsiteY12" fmla="*/ 61404 h 79446"/>
                <a:gd name="connsiteX13" fmla="*/ 19315 w 99581"/>
                <a:gd name="connsiteY13" fmla="*/ 73348 h 79446"/>
                <a:gd name="connsiteX14" fmla="*/ 19315 w 99581"/>
                <a:gd name="connsiteY14" fmla="*/ 73475 h 79446"/>
                <a:gd name="connsiteX15" fmla="*/ 19315 w 99581"/>
                <a:gd name="connsiteY15" fmla="*/ 79446 h 79446"/>
                <a:gd name="connsiteX16" fmla="*/ 24397 w 99581"/>
                <a:gd name="connsiteY16" fmla="*/ 75508 h 79446"/>
                <a:gd name="connsiteX17" fmla="*/ 29989 w 99581"/>
                <a:gd name="connsiteY17" fmla="*/ 71315 h 7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581" h="79446">
                  <a:moveTo>
                    <a:pt x="95429" y="21636"/>
                  </a:moveTo>
                  <a:lnTo>
                    <a:pt x="96064" y="21000"/>
                  </a:lnTo>
                  <a:lnTo>
                    <a:pt x="97589" y="19094"/>
                  </a:lnTo>
                  <a:cubicBezTo>
                    <a:pt x="98085" y="18561"/>
                    <a:pt x="98504" y="17964"/>
                    <a:pt x="98860" y="17316"/>
                  </a:cubicBezTo>
                  <a:cubicBezTo>
                    <a:pt x="99152" y="16617"/>
                    <a:pt x="99355" y="15893"/>
                    <a:pt x="99495" y="15156"/>
                  </a:cubicBezTo>
                  <a:cubicBezTo>
                    <a:pt x="99610" y="14393"/>
                    <a:pt x="99610" y="13631"/>
                    <a:pt x="99495" y="12869"/>
                  </a:cubicBezTo>
                  <a:cubicBezTo>
                    <a:pt x="99800" y="9985"/>
                    <a:pt x="99025" y="7087"/>
                    <a:pt x="97335" y="4737"/>
                  </a:cubicBezTo>
                  <a:cubicBezTo>
                    <a:pt x="93498" y="-447"/>
                    <a:pt x="86179" y="-1552"/>
                    <a:pt x="80981" y="2298"/>
                  </a:cubicBezTo>
                  <a:cubicBezTo>
                    <a:pt x="80969" y="2298"/>
                    <a:pt x="80956" y="2310"/>
                    <a:pt x="80943" y="2323"/>
                  </a:cubicBezTo>
                  <a:lnTo>
                    <a:pt x="76242" y="6008"/>
                  </a:lnTo>
                  <a:lnTo>
                    <a:pt x="0" y="63819"/>
                  </a:lnTo>
                  <a:lnTo>
                    <a:pt x="0" y="64454"/>
                  </a:lnTo>
                  <a:cubicBezTo>
                    <a:pt x="2084" y="62548"/>
                    <a:pt x="4803" y="61468"/>
                    <a:pt x="7624" y="61404"/>
                  </a:cubicBezTo>
                  <a:cubicBezTo>
                    <a:pt x="14156" y="61468"/>
                    <a:pt x="19391" y="66817"/>
                    <a:pt x="19315" y="73348"/>
                  </a:cubicBezTo>
                  <a:cubicBezTo>
                    <a:pt x="19315" y="73386"/>
                    <a:pt x="19315" y="73437"/>
                    <a:pt x="19315" y="73475"/>
                  </a:cubicBezTo>
                  <a:lnTo>
                    <a:pt x="19315" y="79446"/>
                  </a:lnTo>
                  <a:lnTo>
                    <a:pt x="24397" y="75508"/>
                  </a:lnTo>
                  <a:lnTo>
                    <a:pt x="29989" y="71315"/>
                  </a:lnTo>
                  <a:close/>
                </a:path>
              </a:pathLst>
            </a:custGeom>
            <a:solidFill>
              <a:srgbClr val="000000"/>
            </a:solidFill>
            <a:ln w="12704"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07D5468A-F03F-4F62-A843-B1E9A78DC42C}"/>
                </a:ext>
              </a:extLst>
            </p:cNvPr>
            <p:cNvSpPr/>
            <p:nvPr/>
          </p:nvSpPr>
          <p:spPr>
            <a:xfrm>
              <a:off x="5685676" y="4809021"/>
              <a:ext cx="300010" cy="130868"/>
            </a:xfrm>
            <a:custGeom>
              <a:avLst/>
              <a:gdLst>
                <a:gd name="connsiteX0" fmla="*/ 0 w 300010"/>
                <a:gd name="connsiteY0" fmla="*/ 111429 h 130868"/>
                <a:gd name="connsiteX1" fmla="*/ 4447 w 300010"/>
                <a:gd name="connsiteY1" fmla="*/ 110539 h 130868"/>
                <a:gd name="connsiteX2" fmla="*/ 16138 w 300010"/>
                <a:gd name="connsiteY2" fmla="*/ 122610 h 130868"/>
                <a:gd name="connsiteX3" fmla="*/ 16138 w 300010"/>
                <a:gd name="connsiteY3" fmla="*/ 130868 h 130868"/>
                <a:gd name="connsiteX4" fmla="*/ 31640 w 300010"/>
                <a:gd name="connsiteY4" fmla="*/ 124769 h 130868"/>
                <a:gd name="connsiteX5" fmla="*/ 42568 w 300010"/>
                <a:gd name="connsiteY5" fmla="*/ 120449 h 130868"/>
                <a:gd name="connsiteX6" fmla="*/ 300010 w 300010"/>
                <a:gd name="connsiteY6" fmla="*/ 18804 h 130868"/>
                <a:gd name="connsiteX7" fmla="*/ 295690 w 300010"/>
                <a:gd name="connsiteY7" fmla="*/ 19566 h 130868"/>
                <a:gd name="connsiteX8" fmla="*/ 291624 w 300010"/>
                <a:gd name="connsiteY8" fmla="*/ 18677 h 130868"/>
                <a:gd name="connsiteX9" fmla="*/ 290480 w 300010"/>
                <a:gd name="connsiteY9" fmla="*/ 18677 h 130868"/>
                <a:gd name="connsiteX10" fmla="*/ 288066 w 300010"/>
                <a:gd name="connsiteY10" fmla="*/ 17026 h 130868"/>
                <a:gd name="connsiteX11" fmla="*/ 287176 w 300010"/>
                <a:gd name="connsiteY11" fmla="*/ 16136 h 130868"/>
                <a:gd name="connsiteX12" fmla="*/ 285397 w 300010"/>
                <a:gd name="connsiteY12" fmla="*/ 13341 h 130868"/>
                <a:gd name="connsiteX13" fmla="*/ 285397 w 300010"/>
                <a:gd name="connsiteY13" fmla="*/ 12578 h 130868"/>
                <a:gd name="connsiteX14" fmla="*/ 285397 w 300010"/>
                <a:gd name="connsiteY14" fmla="*/ 12578 h 130868"/>
                <a:gd name="connsiteX15" fmla="*/ 284635 w 300010"/>
                <a:gd name="connsiteY15" fmla="*/ 0 h 130868"/>
                <a:gd name="connsiteX16" fmla="*/ 254 w 300010"/>
                <a:gd name="connsiteY16" fmla="*/ 111429 h 13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0010" h="130868">
                  <a:moveTo>
                    <a:pt x="0" y="111429"/>
                  </a:moveTo>
                  <a:cubicBezTo>
                    <a:pt x="1423" y="110869"/>
                    <a:pt x="2923" y="110565"/>
                    <a:pt x="4447" y="110539"/>
                  </a:cubicBezTo>
                  <a:cubicBezTo>
                    <a:pt x="10991" y="110679"/>
                    <a:pt x="16214" y="116066"/>
                    <a:pt x="16138" y="122610"/>
                  </a:cubicBezTo>
                  <a:lnTo>
                    <a:pt x="16138" y="130868"/>
                  </a:lnTo>
                  <a:lnTo>
                    <a:pt x="31640" y="124769"/>
                  </a:lnTo>
                  <a:lnTo>
                    <a:pt x="42568" y="120449"/>
                  </a:lnTo>
                  <a:lnTo>
                    <a:pt x="300010" y="18804"/>
                  </a:lnTo>
                  <a:cubicBezTo>
                    <a:pt x="298625" y="19312"/>
                    <a:pt x="297164" y="19566"/>
                    <a:pt x="295690" y="19566"/>
                  </a:cubicBezTo>
                  <a:cubicBezTo>
                    <a:pt x="294292" y="19528"/>
                    <a:pt x="292907" y="19224"/>
                    <a:pt x="291624" y="18677"/>
                  </a:cubicBezTo>
                  <a:lnTo>
                    <a:pt x="290480" y="18677"/>
                  </a:lnTo>
                  <a:lnTo>
                    <a:pt x="288066" y="17026"/>
                  </a:lnTo>
                  <a:lnTo>
                    <a:pt x="287176" y="16136"/>
                  </a:lnTo>
                  <a:cubicBezTo>
                    <a:pt x="286439" y="15310"/>
                    <a:pt x="285842" y="14357"/>
                    <a:pt x="285397" y="13341"/>
                  </a:cubicBezTo>
                  <a:lnTo>
                    <a:pt x="285397" y="12578"/>
                  </a:lnTo>
                  <a:lnTo>
                    <a:pt x="285397" y="12578"/>
                  </a:lnTo>
                  <a:lnTo>
                    <a:pt x="284635" y="0"/>
                  </a:lnTo>
                  <a:lnTo>
                    <a:pt x="254" y="111429"/>
                  </a:lnTo>
                  <a:close/>
                </a:path>
              </a:pathLst>
            </a:custGeom>
            <a:solidFill>
              <a:srgbClr val="000000"/>
            </a:solidFill>
            <a:ln w="12704"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326ABDC4-CF09-40A7-8B73-F66F7990A1C1}"/>
                </a:ext>
              </a:extLst>
            </p:cNvPr>
            <p:cNvSpPr/>
            <p:nvPr/>
          </p:nvSpPr>
          <p:spPr>
            <a:xfrm>
              <a:off x="5977300" y="4785343"/>
              <a:ext cx="66511" cy="43790"/>
            </a:xfrm>
            <a:custGeom>
              <a:avLst/>
              <a:gdLst>
                <a:gd name="connsiteX0" fmla="*/ 4066 w 66511"/>
                <a:gd name="connsiteY0" fmla="*/ 43752 h 43790"/>
                <a:gd name="connsiteX1" fmla="*/ 0 w 66511"/>
                <a:gd name="connsiteY1" fmla="*/ 42863 h 43790"/>
                <a:gd name="connsiteX2" fmla="*/ 4066 w 66511"/>
                <a:gd name="connsiteY2" fmla="*/ 43752 h 43790"/>
                <a:gd name="connsiteX3" fmla="*/ 8387 w 66511"/>
                <a:gd name="connsiteY3" fmla="*/ 42990 h 43790"/>
                <a:gd name="connsiteX4" fmla="*/ 59214 w 66511"/>
                <a:gd name="connsiteY4" fmla="*/ 23169 h 43790"/>
                <a:gd name="connsiteX5" fmla="*/ 66330 w 66511"/>
                <a:gd name="connsiteY5" fmla="*/ 14148 h 43790"/>
                <a:gd name="connsiteX6" fmla="*/ 66330 w 66511"/>
                <a:gd name="connsiteY6" fmla="*/ 9828 h 43790"/>
                <a:gd name="connsiteX7" fmla="*/ 66330 w 66511"/>
                <a:gd name="connsiteY7" fmla="*/ 7668 h 43790"/>
                <a:gd name="connsiteX8" fmla="*/ 51336 w 66511"/>
                <a:gd name="connsiteY8" fmla="*/ 718 h 43790"/>
                <a:gd name="connsiteX9" fmla="*/ 51082 w 66511"/>
                <a:gd name="connsiteY9" fmla="*/ 807 h 43790"/>
                <a:gd name="connsiteX10" fmla="*/ 16900 w 66511"/>
                <a:gd name="connsiteY10" fmla="*/ 14275 h 43790"/>
                <a:gd name="connsiteX11" fmla="*/ 16900 w 66511"/>
                <a:gd name="connsiteY11" fmla="*/ 31682 h 43790"/>
                <a:gd name="connsiteX12" fmla="*/ 5121 w 66511"/>
                <a:gd name="connsiteY12" fmla="*/ 43790 h 43790"/>
                <a:gd name="connsiteX13" fmla="*/ 4066 w 66511"/>
                <a:gd name="connsiteY13" fmla="*/ 43752 h 4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511" h="43790">
                  <a:moveTo>
                    <a:pt x="4066" y="43752"/>
                  </a:moveTo>
                  <a:cubicBezTo>
                    <a:pt x="2668" y="43714"/>
                    <a:pt x="1283" y="43409"/>
                    <a:pt x="0" y="42863"/>
                  </a:cubicBezTo>
                  <a:cubicBezTo>
                    <a:pt x="1283" y="43409"/>
                    <a:pt x="2668" y="43714"/>
                    <a:pt x="4066" y="43752"/>
                  </a:cubicBezTo>
                  <a:cubicBezTo>
                    <a:pt x="5540" y="43752"/>
                    <a:pt x="7001" y="43498"/>
                    <a:pt x="8387" y="42990"/>
                  </a:cubicBezTo>
                  <a:lnTo>
                    <a:pt x="59214" y="23169"/>
                  </a:lnTo>
                  <a:cubicBezTo>
                    <a:pt x="62988" y="21594"/>
                    <a:pt x="65682" y="18188"/>
                    <a:pt x="66330" y="14148"/>
                  </a:cubicBezTo>
                  <a:cubicBezTo>
                    <a:pt x="66572" y="12725"/>
                    <a:pt x="66572" y="11264"/>
                    <a:pt x="66330" y="9828"/>
                  </a:cubicBezTo>
                  <a:cubicBezTo>
                    <a:pt x="66394" y="9104"/>
                    <a:pt x="66394" y="8392"/>
                    <a:pt x="66330" y="7668"/>
                  </a:cubicBezTo>
                  <a:cubicBezTo>
                    <a:pt x="64106" y="1608"/>
                    <a:pt x="57397" y="-1506"/>
                    <a:pt x="51336" y="718"/>
                  </a:cubicBezTo>
                  <a:cubicBezTo>
                    <a:pt x="51247" y="743"/>
                    <a:pt x="51171" y="769"/>
                    <a:pt x="51082" y="807"/>
                  </a:cubicBezTo>
                  <a:lnTo>
                    <a:pt x="16900" y="14275"/>
                  </a:lnTo>
                  <a:lnTo>
                    <a:pt x="16900" y="31682"/>
                  </a:lnTo>
                  <a:cubicBezTo>
                    <a:pt x="16989" y="38276"/>
                    <a:pt x="11716" y="43701"/>
                    <a:pt x="5121" y="43790"/>
                  </a:cubicBezTo>
                  <a:cubicBezTo>
                    <a:pt x="4765" y="43790"/>
                    <a:pt x="4422" y="43778"/>
                    <a:pt x="4066" y="43752"/>
                  </a:cubicBezTo>
                  <a:close/>
                </a:path>
              </a:pathLst>
            </a:custGeom>
            <a:solidFill>
              <a:srgbClr val="000000"/>
            </a:solidFill>
            <a:ln w="12704"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15626FE1-579F-4A4D-806B-A30062987BD3}"/>
                </a:ext>
              </a:extLst>
            </p:cNvPr>
            <p:cNvSpPr/>
            <p:nvPr/>
          </p:nvSpPr>
          <p:spPr>
            <a:xfrm>
              <a:off x="5970508" y="4819185"/>
              <a:ext cx="57" cy="2414"/>
            </a:xfrm>
            <a:custGeom>
              <a:avLst/>
              <a:gdLst>
                <a:gd name="connsiteX0" fmla="*/ 57 w 57"/>
                <a:gd name="connsiteY0" fmla="*/ 2414 h 2414"/>
                <a:gd name="connsiteX1" fmla="*/ 57 w 57"/>
                <a:gd name="connsiteY1" fmla="*/ 0 h 2414"/>
                <a:gd name="connsiteX2" fmla="*/ 57 w 57"/>
                <a:gd name="connsiteY2" fmla="*/ 2160 h 2414"/>
              </a:gdLst>
              <a:ahLst/>
              <a:cxnLst>
                <a:cxn ang="0">
                  <a:pos x="connsiteX0" y="connsiteY0"/>
                </a:cxn>
                <a:cxn ang="0">
                  <a:pos x="connsiteX1" y="connsiteY1"/>
                </a:cxn>
                <a:cxn ang="0">
                  <a:pos x="connsiteX2" y="connsiteY2"/>
                </a:cxn>
              </a:cxnLst>
              <a:rect l="l" t="t" r="r" b="b"/>
              <a:pathLst>
                <a:path w="57" h="2414">
                  <a:moveTo>
                    <a:pt x="57" y="2414"/>
                  </a:moveTo>
                  <a:cubicBezTo>
                    <a:pt x="57" y="1652"/>
                    <a:pt x="57" y="762"/>
                    <a:pt x="57" y="0"/>
                  </a:cubicBezTo>
                  <a:cubicBezTo>
                    <a:pt x="-19" y="724"/>
                    <a:pt x="-19" y="1436"/>
                    <a:pt x="57" y="2160"/>
                  </a:cubicBezTo>
                  <a:close/>
                </a:path>
              </a:pathLst>
            </a:custGeom>
            <a:solidFill>
              <a:srgbClr val="000000"/>
            </a:solidFill>
            <a:ln w="12704"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54CD07D1-5D1B-40F0-98B0-51DDB6687AAE}"/>
                </a:ext>
              </a:extLst>
            </p:cNvPr>
            <p:cNvSpPr/>
            <p:nvPr/>
          </p:nvSpPr>
          <p:spPr>
            <a:xfrm>
              <a:off x="6400822" y="4920325"/>
              <a:ext cx="673806" cy="23375"/>
            </a:xfrm>
            <a:custGeom>
              <a:avLst/>
              <a:gdLst>
                <a:gd name="connsiteX0" fmla="*/ 11691 w 673806"/>
                <a:gd name="connsiteY0" fmla="*/ 11432 h 23375"/>
                <a:gd name="connsiteX1" fmla="*/ 0 w 673806"/>
                <a:gd name="connsiteY1" fmla="*/ 23375 h 23375"/>
                <a:gd name="connsiteX2" fmla="*/ 0 w 673806"/>
                <a:gd name="connsiteY2" fmla="*/ 23375 h 23375"/>
                <a:gd name="connsiteX3" fmla="*/ 662793 w 673806"/>
                <a:gd name="connsiteY3" fmla="*/ 23375 h 23375"/>
                <a:gd name="connsiteX4" fmla="*/ 669655 w 673806"/>
                <a:gd name="connsiteY4" fmla="*/ 20834 h 23375"/>
                <a:gd name="connsiteX5" fmla="*/ 671561 w 673806"/>
                <a:gd name="connsiteY5" fmla="*/ 19310 h 23375"/>
                <a:gd name="connsiteX6" fmla="*/ 672832 w 673806"/>
                <a:gd name="connsiteY6" fmla="*/ 17403 h 23375"/>
                <a:gd name="connsiteX7" fmla="*/ 673721 w 673806"/>
                <a:gd name="connsiteY7" fmla="*/ 15371 h 23375"/>
                <a:gd name="connsiteX8" fmla="*/ 673721 w 673806"/>
                <a:gd name="connsiteY8" fmla="*/ 12957 h 23375"/>
                <a:gd name="connsiteX9" fmla="*/ 673721 w 673806"/>
                <a:gd name="connsiteY9" fmla="*/ 11432 h 23375"/>
                <a:gd name="connsiteX10" fmla="*/ 673721 w 673806"/>
                <a:gd name="connsiteY10" fmla="*/ 10797 h 23375"/>
                <a:gd name="connsiteX11" fmla="*/ 673721 w 673806"/>
                <a:gd name="connsiteY11" fmla="*/ 8382 h 23375"/>
                <a:gd name="connsiteX12" fmla="*/ 672959 w 673806"/>
                <a:gd name="connsiteY12" fmla="*/ 6096 h 23375"/>
                <a:gd name="connsiteX13" fmla="*/ 671815 w 673806"/>
                <a:gd name="connsiteY13" fmla="*/ 4317 h 23375"/>
                <a:gd name="connsiteX14" fmla="*/ 670290 w 673806"/>
                <a:gd name="connsiteY14" fmla="*/ 2538 h 23375"/>
                <a:gd name="connsiteX15" fmla="*/ 668384 w 673806"/>
                <a:gd name="connsiteY15" fmla="*/ 1140 h 23375"/>
                <a:gd name="connsiteX16" fmla="*/ 667241 w 673806"/>
                <a:gd name="connsiteY16" fmla="*/ 124 h 23375"/>
                <a:gd name="connsiteX17" fmla="*/ 664826 w 673806"/>
                <a:gd name="connsiteY17" fmla="*/ 124 h 23375"/>
                <a:gd name="connsiteX18" fmla="*/ 663301 w 673806"/>
                <a:gd name="connsiteY18" fmla="*/ 124 h 23375"/>
                <a:gd name="connsiteX19" fmla="*/ 0 w 673806"/>
                <a:gd name="connsiteY19" fmla="*/ 124 h 23375"/>
                <a:gd name="connsiteX20" fmla="*/ 11691 w 673806"/>
                <a:gd name="connsiteY20" fmla="*/ 11432 h 2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806" h="23375">
                  <a:moveTo>
                    <a:pt x="11691" y="11432"/>
                  </a:moveTo>
                  <a:cubicBezTo>
                    <a:pt x="11767" y="17963"/>
                    <a:pt x="6531" y="23299"/>
                    <a:pt x="0" y="23375"/>
                  </a:cubicBezTo>
                  <a:cubicBezTo>
                    <a:pt x="0" y="23375"/>
                    <a:pt x="0" y="23375"/>
                    <a:pt x="0" y="23375"/>
                  </a:cubicBezTo>
                  <a:lnTo>
                    <a:pt x="662793" y="23375"/>
                  </a:lnTo>
                  <a:cubicBezTo>
                    <a:pt x="665309" y="23350"/>
                    <a:pt x="667736" y="22448"/>
                    <a:pt x="669655" y="20834"/>
                  </a:cubicBezTo>
                  <a:cubicBezTo>
                    <a:pt x="670367" y="20427"/>
                    <a:pt x="671014" y="19919"/>
                    <a:pt x="671561" y="19310"/>
                  </a:cubicBezTo>
                  <a:lnTo>
                    <a:pt x="672832" y="17403"/>
                  </a:lnTo>
                  <a:cubicBezTo>
                    <a:pt x="673200" y="16755"/>
                    <a:pt x="673505" y="16082"/>
                    <a:pt x="673721" y="15371"/>
                  </a:cubicBezTo>
                  <a:cubicBezTo>
                    <a:pt x="673836" y="14570"/>
                    <a:pt x="673836" y="13757"/>
                    <a:pt x="673721" y="12957"/>
                  </a:cubicBezTo>
                  <a:cubicBezTo>
                    <a:pt x="673785" y="12448"/>
                    <a:pt x="673785" y="11940"/>
                    <a:pt x="673721" y="11432"/>
                  </a:cubicBezTo>
                  <a:cubicBezTo>
                    <a:pt x="673721" y="11432"/>
                    <a:pt x="673721" y="11432"/>
                    <a:pt x="673721" y="10797"/>
                  </a:cubicBezTo>
                  <a:cubicBezTo>
                    <a:pt x="673721" y="10161"/>
                    <a:pt x="673721" y="9272"/>
                    <a:pt x="673721" y="8382"/>
                  </a:cubicBezTo>
                  <a:cubicBezTo>
                    <a:pt x="673530" y="7607"/>
                    <a:pt x="673264" y="6833"/>
                    <a:pt x="672959" y="6096"/>
                  </a:cubicBezTo>
                  <a:cubicBezTo>
                    <a:pt x="672628" y="5473"/>
                    <a:pt x="672234" y="4876"/>
                    <a:pt x="671815" y="4317"/>
                  </a:cubicBezTo>
                  <a:lnTo>
                    <a:pt x="670290" y="2538"/>
                  </a:lnTo>
                  <a:lnTo>
                    <a:pt x="668384" y="1140"/>
                  </a:lnTo>
                  <a:lnTo>
                    <a:pt x="667241" y="124"/>
                  </a:lnTo>
                  <a:cubicBezTo>
                    <a:pt x="666440" y="-41"/>
                    <a:pt x="665627" y="-41"/>
                    <a:pt x="664826" y="124"/>
                  </a:cubicBezTo>
                  <a:lnTo>
                    <a:pt x="663301" y="124"/>
                  </a:lnTo>
                  <a:lnTo>
                    <a:pt x="0" y="124"/>
                  </a:lnTo>
                  <a:cubicBezTo>
                    <a:pt x="6252" y="251"/>
                    <a:pt x="11360" y="5181"/>
                    <a:pt x="11691" y="11432"/>
                  </a:cubicBezTo>
                  <a:close/>
                </a:path>
              </a:pathLst>
            </a:custGeom>
            <a:solidFill>
              <a:srgbClr val="000000"/>
            </a:solidFill>
            <a:ln w="12704"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AF5D07FB-FFA8-41C2-9554-A394019AC71C}"/>
                </a:ext>
              </a:extLst>
            </p:cNvPr>
            <p:cNvSpPr/>
            <p:nvPr/>
          </p:nvSpPr>
          <p:spPr>
            <a:xfrm>
              <a:off x="6200434" y="4919687"/>
              <a:ext cx="211226" cy="24014"/>
            </a:xfrm>
            <a:custGeom>
              <a:avLst/>
              <a:gdLst>
                <a:gd name="connsiteX0" fmla="*/ 200388 w 211226"/>
                <a:gd name="connsiteY0" fmla="*/ 24014 h 24014"/>
                <a:gd name="connsiteX1" fmla="*/ 211164 w 211226"/>
                <a:gd name="connsiteY1" fmla="*/ 10774 h 24014"/>
                <a:gd name="connsiteX2" fmla="*/ 200388 w 211226"/>
                <a:gd name="connsiteY2" fmla="*/ 0 h 24014"/>
                <a:gd name="connsiteX3" fmla="*/ 56292 w 211226"/>
                <a:gd name="connsiteY3" fmla="*/ 0 h 24014"/>
                <a:gd name="connsiteX4" fmla="*/ 4574 w 211226"/>
                <a:gd name="connsiteY4" fmla="*/ 23124 h 24014"/>
                <a:gd name="connsiteX5" fmla="*/ 0 w 211226"/>
                <a:gd name="connsiteY5" fmla="*/ 24014 h 24014"/>
                <a:gd name="connsiteX6" fmla="*/ 200388 w 211226"/>
                <a:gd name="connsiteY6" fmla="*/ 2401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226" h="24014">
                  <a:moveTo>
                    <a:pt x="200388" y="24014"/>
                  </a:moveTo>
                  <a:cubicBezTo>
                    <a:pt x="207021" y="23328"/>
                    <a:pt x="211837" y="17407"/>
                    <a:pt x="211164" y="10774"/>
                  </a:cubicBezTo>
                  <a:cubicBezTo>
                    <a:pt x="210579" y="5082"/>
                    <a:pt x="206081" y="584"/>
                    <a:pt x="200388" y="0"/>
                  </a:cubicBezTo>
                  <a:lnTo>
                    <a:pt x="56292" y="0"/>
                  </a:lnTo>
                  <a:lnTo>
                    <a:pt x="4574" y="23124"/>
                  </a:lnTo>
                  <a:cubicBezTo>
                    <a:pt x="3126" y="23734"/>
                    <a:pt x="1576" y="24039"/>
                    <a:pt x="0" y="24014"/>
                  </a:cubicBezTo>
                  <a:lnTo>
                    <a:pt x="200388" y="24014"/>
                  </a:lnTo>
                  <a:close/>
                </a:path>
              </a:pathLst>
            </a:custGeom>
            <a:solidFill>
              <a:srgbClr val="000000"/>
            </a:solidFill>
            <a:ln w="12704"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2855EB6A-5460-4C29-A9E9-2468AE24642F}"/>
                </a:ext>
              </a:extLst>
            </p:cNvPr>
            <p:cNvSpPr/>
            <p:nvPr/>
          </p:nvSpPr>
          <p:spPr>
            <a:xfrm>
              <a:off x="6188616" y="4930410"/>
              <a:ext cx="12706" cy="1347"/>
            </a:xfrm>
            <a:custGeom>
              <a:avLst/>
              <a:gdLst>
                <a:gd name="connsiteX0" fmla="*/ 0 w 12706"/>
                <a:gd name="connsiteY0" fmla="*/ 1347 h 1347"/>
                <a:gd name="connsiteX1" fmla="*/ 0 w 12706"/>
                <a:gd name="connsiteY1" fmla="*/ 76 h 1347"/>
                <a:gd name="connsiteX2" fmla="*/ 0 w 12706"/>
                <a:gd name="connsiteY2" fmla="*/ 1347 h 1347"/>
              </a:gdLst>
              <a:ahLst/>
              <a:cxnLst>
                <a:cxn ang="0">
                  <a:pos x="connsiteX0" y="connsiteY0"/>
                </a:cxn>
                <a:cxn ang="0">
                  <a:pos x="connsiteX1" y="connsiteY1"/>
                </a:cxn>
                <a:cxn ang="0">
                  <a:pos x="connsiteX2" y="connsiteY2"/>
                </a:cxn>
              </a:cxnLst>
              <a:rect l="l" t="t" r="r" b="b"/>
              <a:pathLst>
                <a:path w="12706" h="1347">
                  <a:moveTo>
                    <a:pt x="0" y="1347"/>
                  </a:moveTo>
                  <a:cubicBezTo>
                    <a:pt x="0" y="1347"/>
                    <a:pt x="0" y="458"/>
                    <a:pt x="0" y="76"/>
                  </a:cubicBezTo>
                  <a:cubicBezTo>
                    <a:pt x="0" y="-305"/>
                    <a:pt x="0" y="839"/>
                    <a:pt x="0" y="1347"/>
                  </a:cubicBezTo>
                  <a:close/>
                </a:path>
              </a:pathLst>
            </a:custGeom>
            <a:solidFill>
              <a:srgbClr val="000000"/>
            </a:solidFill>
            <a:ln w="12704"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C96F899E-DD5E-42C5-B908-CE42E4ACA8DC}"/>
                </a:ext>
              </a:extLst>
            </p:cNvPr>
            <p:cNvSpPr/>
            <p:nvPr/>
          </p:nvSpPr>
          <p:spPr>
            <a:xfrm>
              <a:off x="11926935" y="4601537"/>
              <a:ext cx="4319" cy="1651"/>
            </a:xfrm>
            <a:custGeom>
              <a:avLst/>
              <a:gdLst>
                <a:gd name="connsiteX0" fmla="*/ 0 w 4319"/>
                <a:gd name="connsiteY0" fmla="*/ 0 h 1651"/>
                <a:gd name="connsiteX1" fmla="*/ 2287 w 4319"/>
                <a:gd name="connsiteY1" fmla="*/ 1652 h 1651"/>
                <a:gd name="connsiteX2" fmla="*/ 4320 w 4319"/>
                <a:gd name="connsiteY2" fmla="*/ 0 h 1651"/>
              </a:gdLst>
              <a:ahLst/>
              <a:cxnLst>
                <a:cxn ang="0">
                  <a:pos x="connsiteX0" y="connsiteY0"/>
                </a:cxn>
                <a:cxn ang="0">
                  <a:pos x="connsiteX1" y="connsiteY1"/>
                </a:cxn>
                <a:cxn ang="0">
                  <a:pos x="connsiteX2" y="connsiteY2"/>
                </a:cxn>
              </a:cxnLst>
              <a:rect l="l" t="t" r="r" b="b"/>
              <a:pathLst>
                <a:path w="4319" h="1651">
                  <a:moveTo>
                    <a:pt x="0" y="0"/>
                  </a:moveTo>
                  <a:lnTo>
                    <a:pt x="2287" y="1652"/>
                  </a:lnTo>
                  <a:lnTo>
                    <a:pt x="4320" y="0"/>
                  </a:lnTo>
                  <a:close/>
                </a:path>
              </a:pathLst>
            </a:custGeom>
            <a:solidFill>
              <a:srgbClr val="000000"/>
            </a:solidFill>
            <a:ln w="12704"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94DC7B18-CEA3-4295-B5FD-30A2674DBC90}"/>
                </a:ext>
              </a:extLst>
            </p:cNvPr>
            <p:cNvSpPr/>
            <p:nvPr/>
          </p:nvSpPr>
          <p:spPr>
            <a:xfrm>
              <a:off x="11908198" y="4609796"/>
              <a:ext cx="57" cy="2160"/>
            </a:xfrm>
            <a:custGeom>
              <a:avLst/>
              <a:gdLst>
                <a:gd name="connsiteX0" fmla="*/ 57 w 57"/>
                <a:gd name="connsiteY0" fmla="*/ 2160 h 2160"/>
                <a:gd name="connsiteX1" fmla="*/ 57 w 57"/>
                <a:gd name="connsiteY1" fmla="*/ 0 h 2160"/>
                <a:gd name="connsiteX2" fmla="*/ 57 w 57"/>
                <a:gd name="connsiteY2" fmla="*/ 1271 h 2160"/>
                <a:gd name="connsiteX3" fmla="*/ 57 w 57"/>
                <a:gd name="connsiteY3" fmla="*/ 2160 h 2160"/>
              </a:gdLst>
              <a:ahLst/>
              <a:cxnLst>
                <a:cxn ang="0">
                  <a:pos x="connsiteX0" y="connsiteY0"/>
                </a:cxn>
                <a:cxn ang="0">
                  <a:pos x="connsiteX1" y="connsiteY1"/>
                </a:cxn>
                <a:cxn ang="0">
                  <a:pos x="connsiteX2" y="connsiteY2"/>
                </a:cxn>
                <a:cxn ang="0">
                  <a:pos x="connsiteX3" y="connsiteY3"/>
                </a:cxn>
              </a:cxnLst>
              <a:rect l="l" t="t" r="r" b="b"/>
              <a:pathLst>
                <a:path w="57" h="2160">
                  <a:moveTo>
                    <a:pt x="57" y="2160"/>
                  </a:moveTo>
                  <a:cubicBezTo>
                    <a:pt x="-6" y="1436"/>
                    <a:pt x="-6" y="724"/>
                    <a:pt x="57" y="0"/>
                  </a:cubicBezTo>
                  <a:cubicBezTo>
                    <a:pt x="-19" y="420"/>
                    <a:pt x="-19" y="851"/>
                    <a:pt x="57" y="1271"/>
                  </a:cubicBezTo>
                  <a:cubicBezTo>
                    <a:pt x="57" y="1271"/>
                    <a:pt x="57" y="1906"/>
                    <a:pt x="57" y="2160"/>
                  </a:cubicBezTo>
                  <a:close/>
                </a:path>
              </a:pathLst>
            </a:custGeom>
            <a:solidFill>
              <a:srgbClr val="000000"/>
            </a:solidFill>
            <a:ln w="12704"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A5D85743-DA2C-485D-917D-DDCA4374BD33}"/>
                </a:ext>
              </a:extLst>
            </p:cNvPr>
            <p:cNvSpPr/>
            <p:nvPr/>
          </p:nvSpPr>
          <p:spPr>
            <a:xfrm>
              <a:off x="11929222" y="4599123"/>
              <a:ext cx="33674" cy="23251"/>
            </a:xfrm>
            <a:custGeom>
              <a:avLst/>
              <a:gdLst>
                <a:gd name="connsiteX0" fmla="*/ 21983 w 33674"/>
                <a:gd name="connsiteY0" fmla="*/ 0 h 23251"/>
                <a:gd name="connsiteX1" fmla="*/ 15503 w 33674"/>
                <a:gd name="connsiteY1" fmla="*/ 0 h 23251"/>
                <a:gd name="connsiteX2" fmla="*/ 8768 w 33674"/>
                <a:gd name="connsiteY2" fmla="*/ 2414 h 23251"/>
                <a:gd name="connsiteX3" fmla="*/ 2033 w 33674"/>
                <a:gd name="connsiteY3" fmla="*/ 2414 h 23251"/>
                <a:gd name="connsiteX4" fmla="*/ 0 w 33674"/>
                <a:gd name="connsiteY4" fmla="*/ 4066 h 23251"/>
                <a:gd name="connsiteX5" fmla="*/ 15756 w 33674"/>
                <a:gd name="connsiteY5" fmla="*/ 15882 h 23251"/>
                <a:gd name="connsiteX6" fmla="*/ 25541 w 33674"/>
                <a:gd name="connsiteY6" fmla="*/ 23252 h 23251"/>
                <a:gd name="connsiteX7" fmla="*/ 30115 w 33674"/>
                <a:gd name="connsiteY7" fmla="*/ 20583 h 23251"/>
                <a:gd name="connsiteX8" fmla="*/ 32402 w 33674"/>
                <a:gd name="connsiteY8" fmla="*/ 17153 h 23251"/>
                <a:gd name="connsiteX9" fmla="*/ 33674 w 33674"/>
                <a:gd name="connsiteY9" fmla="*/ 11943 h 23251"/>
                <a:gd name="connsiteX10" fmla="*/ 21983 w 33674"/>
                <a:gd name="connsiteY10" fmla="*/ 0 h 23251"/>
                <a:gd name="connsiteX11" fmla="*/ 21983 w 33674"/>
                <a:gd name="connsiteY11" fmla="*/ 0 h 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674" h="23251">
                  <a:moveTo>
                    <a:pt x="21983" y="0"/>
                  </a:moveTo>
                  <a:lnTo>
                    <a:pt x="15503" y="0"/>
                  </a:lnTo>
                  <a:cubicBezTo>
                    <a:pt x="13571" y="1487"/>
                    <a:pt x="11208" y="2338"/>
                    <a:pt x="8768" y="2414"/>
                  </a:cubicBezTo>
                  <a:lnTo>
                    <a:pt x="2033" y="2414"/>
                  </a:lnTo>
                  <a:lnTo>
                    <a:pt x="0" y="4066"/>
                  </a:lnTo>
                  <a:lnTo>
                    <a:pt x="15756" y="15882"/>
                  </a:lnTo>
                  <a:lnTo>
                    <a:pt x="25541" y="23252"/>
                  </a:lnTo>
                  <a:cubicBezTo>
                    <a:pt x="27231" y="22692"/>
                    <a:pt x="28794" y="21790"/>
                    <a:pt x="30115" y="20583"/>
                  </a:cubicBezTo>
                  <a:cubicBezTo>
                    <a:pt x="31107" y="19605"/>
                    <a:pt x="31881" y="18436"/>
                    <a:pt x="32402" y="17153"/>
                  </a:cubicBezTo>
                  <a:cubicBezTo>
                    <a:pt x="33190" y="15527"/>
                    <a:pt x="33622" y="13748"/>
                    <a:pt x="33674" y="11943"/>
                  </a:cubicBezTo>
                  <a:cubicBezTo>
                    <a:pt x="33750" y="5413"/>
                    <a:pt x="28515" y="76"/>
                    <a:pt x="21983" y="0"/>
                  </a:cubicBezTo>
                  <a:cubicBezTo>
                    <a:pt x="21983" y="0"/>
                    <a:pt x="21983" y="0"/>
                    <a:pt x="21983" y="0"/>
                  </a:cubicBezTo>
                  <a:close/>
                </a:path>
              </a:pathLst>
            </a:custGeom>
            <a:solidFill>
              <a:srgbClr val="000000"/>
            </a:solidFill>
            <a:ln w="12704"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D13EDEB1-F6AE-4C9B-80B3-8CBB3068E594}"/>
                </a:ext>
              </a:extLst>
            </p:cNvPr>
            <p:cNvSpPr/>
            <p:nvPr/>
          </p:nvSpPr>
          <p:spPr>
            <a:xfrm>
              <a:off x="12044219" y="4622247"/>
              <a:ext cx="23509" cy="48916"/>
            </a:xfrm>
            <a:custGeom>
              <a:avLst/>
              <a:gdLst>
                <a:gd name="connsiteX0" fmla="*/ 1145 w 23509"/>
                <a:gd name="connsiteY0" fmla="*/ 31383 h 48916"/>
                <a:gd name="connsiteX1" fmla="*/ 1145 w 23509"/>
                <a:gd name="connsiteY1" fmla="*/ 37228 h 48916"/>
                <a:gd name="connsiteX2" fmla="*/ 1145 w 23509"/>
                <a:gd name="connsiteY2" fmla="*/ 38244 h 48916"/>
                <a:gd name="connsiteX3" fmla="*/ 1145 w 23509"/>
                <a:gd name="connsiteY3" fmla="*/ 40658 h 48916"/>
                <a:gd name="connsiteX4" fmla="*/ 1145 w 23509"/>
                <a:gd name="connsiteY4" fmla="*/ 41293 h 48916"/>
                <a:gd name="connsiteX5" fmla="*/ 3559 w 23509"/>
                <a:gd name="connsiteY5" fmla="*/ 45359 h 48916"/>
                <a:gd name="connsiteX6" fmla="*/ 7498 w 23509"/>
                <a:gd name="connsiteY6" fmla="*/ 48281 h 48916"/>
                <a:gd name="connsiteX7" fmla="*/ 7498 w 23509"/>
                <a:gd name="connsiteY7" fmla="*/ 48281 h 48916"/>
                <a:gd name="connsiteX8" fmla="*/ 8515 w 23509"/>
                <a:gd name="connsiteY8" fmla="*/ 48281 h 48916"/>
                <a:gd name="connsiteX9" fmla="*/ 11692 w 23509"/>
                <a:gd name="connsiteY9" fmla="*/ 48917 h 48916"/>
                <a:gd name="connsiteX10" fmla="*/ 23509 w 23509"/>
                <a:gd name="connsiteY10" fmla="*/ 36846 h 48916"/>
                <a:gd name="connsiteX11" fmla="*/ 23509 w 23509"/>
                <a:gd name="connsiteY11" fmla="*/ 12071 h 48916"/>
                <a:gd name="connsiteX12" fmla="*/ 11692 w 23509"/>
                <a:gd name="connsiteY12" fmla="*/ 12071 h 48916"/>
                <a:gd name="connsiteX13" fmla="*/ 1 w 23509"/>
                <a:gd name="connsiteY13" fmla="*/ 0 h 48916"/>
                <a:gd name="connsiteX14" fmla="*/ 1 w 23509"/>
                <a:gd name="connsiteY14" fmla="*/ 31383 h 4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9" h="48916">
                  <a:moveTo>
                    <a:pt x="1145" y="31383"/>
                  </a:moveTo>
                  <a:lnTo>
                    <a:pt x="1145" y="37228"/>
                  </a:lnTo>
                  <a:cubicBezTo>
                    <a:pt x="1145" y="37228"/>
                    <a:pt x="1145" y="37863"/>
                    <a:pt x="1145" y="38244"/>
                  </a:cubicBezTo>
                  <a:cubicBezTo>
                    <a:pt x="1081" y="39044"/>
                    <a:pt x="1081" y="39858"/>
                    <a:pt x="1145" y="40658"/>
                  </a:cubicBezTo>
                  <a:cubicBezTo>
                    <a:pt x="1221" y="40861"/>
                    <a:pt x="1221" y="41090"/>
                    <a:pt x="1145" y="41293"/>
                  </a:cubicBezTo>
                  <a:cubicBezTo>
                    <a:pt x="1666" y="42793"/>
                    <a:pt x="2492" y="44177"/>
                    <a:pt x="3559" y="45359"/>
                  </a:cubicBezTo>
                  <a:lnTo>
                    <a:pt x="7498" y="48281"/>
                  </a:lnTo>
                  <a:lnTo>
                    <a:pt x="7498" y="48281"/>
                  </a:lnTo>
                  <a:lnTo>
                    <a:pt x="8515" y="48281"/>
                  </a:lnTo>
                  <a:cubicBezTo>
                    <a:pt x="9544" y="48625"/>
                    <a:pt x="10611" y="48841"/>
                    <a:pt x="11692" y="48917"/>
                  </a:cubicBezTo>
                  <a:cubicBezTo>
                    <a:pt x="18121" y="48472"/>
                    <a:pt x="23204" y="43288"/>
                    <a:pt x="23509" y="36846"/>
                  </a:cubicBezTo>
                  <a:lnTo>
                    <a:pt x="23509" y="12071"/>
                  </a:lnTo>
                  <a:lnTo>
                    <a:pt x="11692" y="12071"/>
                  </a:lnTo>
                  <a:cubicBezTo>
                    <a:pt x="5147" y="11931"/>
                    <a:pt x="-75" y="6544"/>
                    <a:pt x="1" y="0"/>
                  </a:cubicBezTo>
                  <a:lnTo>
                    <a:pt x="1" y="31383"/>
                  </a:lnTo>
                  <a:close/>
                </a:path>
              </a:pathLst>
            </a:custGeom>
            <a:solidFill>
              <a:srgbClr val="000000"/>
            </a:solidFill>
            <a:ln w="12704"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4F6FDEE1-8A4F-4B12-AAB0-C7170D4C9E8D}"/>
                </a:ext>
              </a:extLst>
            </p:cNvPr>
            <p:cNvSpPr/>
            <p:nvPr/>
          </p:nvSpPr>
          <p:spPr>
            <a:xfrm>
              <a:off x="12045325" y="3397167"/>
              <a:ext cx="23545" cy="1225969"/>
            </a:xfrm>
            <a:custGeom>
              <a:avLst/>
              <a:gdLst>
                <a:gd name="connsiteX0" fmla="*/ 11729 w 23545"/>
                <a:gd name="connsiteY0" fmla="*/ 1214026 h 1225969"/>
                <a:gd name="connsiteX1" fmla="*/ 23546 w 23545"/>
                <a:gd name="connsiteY1" fmla="*/ 1214026 h 1225969"/>
                <a:gd name="connsiteX2" fmla="*/ 23546 w 23545"/>
                <a:gd name="connsiteY2" fmla="*/ 12706 h 1225969"/>
                <a:gd name="connsiteX3" fmla="*/ 11729 w 23545"/>
                <a:gd name="connsiteY3" fmla="*/ 12706 h 1225969"/>
                <a:gd name="connsiteX4" fmla="*/ 0 w 23545"/>
                <a:gd name="connsiteY4" fmla="*/ 801 h 1225969"/>
                <a:gd name="connsiteX5" fmla="*/ 38 w 23545"/>
                <a:gd name="connsiteY5" fmla="*/ 0 h 1225969"/>
                <a:gd name="connsiteX6" fmla="*/ 38 w 23545"/>
                <a:gd name="connsiteY6" fmla="*/ 1225970 h 1225969"/>
                <a:gd name="connsiteX7" fmla="*/ 11729 w 23545"/>
                <a:gd name="connsiteY7" fmla="*/ 1214026 h 1225969"/>
                <a:gd name="connsiteX8" fmla="*/ 11729 w 23545"/>
                <a:gd name="connsiteY8" fmla="*/ 1214026 h 122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45" h="1225969">
                  <a:moveTo>
                    <a:pt x="11729" y="1214026"/>
                  </a:moveTo>
                  <a:lnTo>
                    <a:pt x="23546" y="1214026"/>
                  </a:lnTo>
                  <a:lnTo>
                    <a:pt x="23546" y="12706"/>
                  </a:lnTo>
                  <a:lnTo>
                    <a:pt x="11729" y="12706"/>
                  </a:lnTo>
                  <a:cubicBezTo>
                    <a:pt x="5197" y="12655"/>
                    <a:pt x="-51" y="7319"/>
                    <a:pt x="0" y="801"/>
                  </a:cubicBezTo>
                  <a:cubicBezTo>
                    <a:pt x="13" y="534"/>
                    <a:pt x="13" y="267"/>
                    <a:pt x="38" y="0"/>
                  </a:cubicBezTo>
                  <a:lnTo>
                    <a:pt x="38" y="1225970"/>
                  </a:lnTo>
                  <a:cubicBezTo>
                    <a:pt x="-38" y="1219439"/>
                    <a:pt x="5197" y="1214102"/>
                    <a:pt x="11729" y="1214026"/>
                  </a:cubicBezTo>
                  <a:cubicBezTo>
                    <a:pt x="11729" y="1214026"/>
                    <a:pt x="11729" y="1214026"/>
                    <a:pt x="11729" y="1214026"/>
                  </a:cubicBezTo>
                  <a:close/>
                </a:path>
              </a:pathLst>
            </a:custGeom>
            <a:solidFill>
              <a:srgbClr val="000000"/>
            </a:solidFill>
            <a:ln w="12704"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02456144-8694-439F-AACC-0C7CD97168C8}"/>
                </a:ext>
              </a:extLst>
            </p:cNvPr>
            <p:cNvSpPr/>
            <p:nvPr/>
          </p:nvSpPr>
          <p:spPr>
            <a:xfrm>
              <a:off x="12045495" y="3385478"/>
              <a:ext cx="148539" cy="24013"/>
            </a:xfrm>
            <a:custGeom>
              <a:avLst/>
              <a:gdLst>
                <a:gd name="connsiteX0" fmla="*/ 11559 w 148539"/>
                <a:gd name="connsiteY0" fmla="*/ 381 h 24013"/>
                <a:gd name="connsiteX1" fmla="*/ 9526 w 148539"/>
                <a:gd name="connsiteY1" fmla="*/ 381 h 24013"/>
                <a:gd name="connsiteX2" fmla="*/ 249 w 148539"/>
                <a:gd name="connsiteY2" fmla="*/ 14497 h 24013"/>
                <a:gd name="connsiteX3" fmla="*/ 11559 w 148539"/>
                <a:gd name="connsiteY3" fmla="*/ 24014 h 24013"/>
                <a:gd name="connsiteX4" fmla="*/ 148540 w 148539"/>
                <a:gd name="connsiteY4" fmla="*/ 24014 h 24013"/>
                <a:gd name="connsiteX5" fmla="*/ 148540 w 148539"/>
                <a:gd name="connsiteY5" fmla="*/ 0 h 24013"/>
                <a:gd name="connsiteX6" fmla="*/ 11559 w 148539"/>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39" h="24013">
                  <a:moveTo>
                    <a:pt x="11559" y="381"/>
                  </a:moveTo>
                  <a:cubicBezTo>
                    <a:pt x="10885" y="305"/>
                    <a:pt x="10199" y="305"/>
                    <a:pt x="9526" y="381"/>
                  </a:cubicBezTo>
                  <a:cubicBezTo>
                    <a:pt x="3071" y="1715"/>
                    <a:pt x="-1085" y="8043"/>
                    <a:pt x="249" y="14497"/>
                  </a:cubicBezTo>
                  <a:cubicBezTo>
                    <a:pt x="1368" y="19897"/>
                    <a:pt x="6043" y="23836"/>
                    <a:pt x="11559" y="24014"/>
                  </a:cubicBezTo>
                  <a:lnTo>
                    <a:pt x="148540" y="24014"/>
                  </a:lnTo>
                  <a:lnTo>
                    <a:pt x="148540" y="0"/>
                  </a:lnTo>
                  <a:lnTo>
                    <a:pt x="11559" y="0"/>
                  </a:lnTo>
                  <a:close/>
                </a:path>
              </a:pathLst>
            </a:custGeom>
            <a:solidFill>
              <a:srgbClr val="000000"/>
            </a:solidFill>
            <a:ln w="12704"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82DE28FE-07E5-4D68-A905-4C59868A25A9}"/>
                </a:ext>
              </a:extLst>
            </p:cNvPr>
            <p:cNvSpPr/>
            <p:nvPr/>
          </p:nvSpPr>
          <p:spPr>
            <a:xfrm>
              <a:off x="6189463" y="4829477"/>
              <a:ext cx="216059" cy="112319"/>
            </a:xfrm>
            <a:custGeom>
              <a:avLst/>
              <a:gdLst>
                <a:gd name="connsiteX0" fmla="*/ 6396 w 216059"/>
                <a:gd name="connsiteY0" fmla="*/ 90973 h 112319"/>
                <a:gd name="connsiteX1" fmla="*/ 6396 w 216059"/>
                <a:gd name="connsiteY1" fmla="*/ 90973 h 112319"/>
                <a:gd name="connsiteX2" fmla="*/ 5379 w 216059"/>
                <a:gd name="connsiteY2" fmla="*/ 91735 h 112319"/>
                <a:gd name="connsiteX3" fmla="*/ 2711 w 216059"/>
                <a:gd name="connsiteY3" fmla="*/ 93641 h 112319"/>
                <a:gd name="connsiteX4" fmla="*/ 1440 w 216059"/>
                <a:gd name="connsiteY4" fmla="*/ 95546 h 112319"/>
                <a:gd name="connsiteX5" fmla="*/ 169 w 216059"/>
                <a:gd name="connsiteY5" fmla="*/ 97453 h 112319"/>
                <a:gd name="connsiteX6" fmla="*/ 169 w 216059"/>
                <a:gd name="connsiteY6" fmla="*/ 99867 h 112319"/>
                <a:gd name="connsiteX7" fmla="*/ 169 w 216059"/>
                <a:gd name="connsiteY7" fmla="*/ 100756 h 112319"/>
                <a:gd name="connsiteX8" fmla="*/ 169 w 216059"/>
                <a:gd name="connsiteY8" fmla="*/ 102026 h 112319"/>
                <a:gd name="connsiteX9" fmla="*/ 169 w 216059"/>
                <a:gd name="connsiteY9" fmla="*/ 104187 h 112319"/>
                <a:gd name="connsiteX10" fmla="*/ 169 w 216059"/>
                <a:gd name="connsiteY10" fmla="*/ 104187 h 112319"/>
                <a:gd name="connsiteX11" fmla="*/ 169 w 216059"/>
                <a:gd name="connsiteY11" fmla="*/ 106474 h 112319"/>
                <a:gd name="connsiteX12" fmla="*/ 169 w 216059"/>
                <a:gd name="connsiteY12" fmla="*/ 106474 h 112319"/>
                <a:gd name="connsiteX13" fmla="*/ 2457 w 216059"/>
                <a:gd name="connsiteY13" fmla="*/ 109777 h 112319"/>
                <a:gd name="connsiteX14" fmla="*/ 3219 w 216059"/>
                <a:gd name="connsiteY14" fmla="*/ 110539 h 112319"/>
                <a:gd name="connsiteX15" fmla="*/ 5760 w 216059"/>
                <a:gd name="connsiteY15" fmla="*/ 112318 h 112319"/>
                <a:gd name="connsiteX16" fmla="*/ 6904 w 216059"/>
                <a:gd name="connsiteY16" fmla="*/ 112318 h 112319"/>
                <a:gd name="connsiteX17" fmla="*/ 8810 w 216059"/>
                <a:gd name="connsiteY17" fmla="*/ 112318 h 112319"/>
                <a:gd name="connsiteX18" fmla="*/ 10970 w 216059"/>
                <a:gd name="connsiteY18" fmla="*/ 112318 h 112319"/>
                <a:gd name="connsiteX19" fmla="*/ 10970 w 216059"/>
                <a:gd name="connsiteY19" fmla="*/ 112318 h 112319"/>
                <a:gd name="connsiteX20" fmla="*/ 15545 w 216059"/>
                <a:gd name="connsiteY20" fmla="*/ 111429 h 112319"/>
                <a:gd name="connsiteX21" fmla="*/ 67262 w 216059"/>
                <a:gd name="connsiteY21" fmla="*/ 88305 h 112319"/>
                <a:gd name="connsiteX22" fmla="*/ 211358 w 216059"/>
                <a:gd name="connsiteY22" fmla="*/ 24141 h 112319"/>
                <a:gd name="connsiteX23" fmla="*/ 216060 w 216059"/>
                <a:gd name="connsiteY23" fmla="*/ 22108 h 112319"/>
                <a:gd name="connsiteX24" fmla="*/ 211358 w 216059"/>
                <a:gd name="connsiteY24" fmla="*/ 22997 h 112319"/>
                <a:gd name="connsiteX25" fmla="*/ 200558 w 216059"/>
                <a:gd name="connsiteY25" fmla="*/ 15882 h 112319"/>
                <a:gd name="connsiteX26" fmla="*/ 206657 w 216059"/>
                <a:gd name="connsiteY26" fmla="*/ 0 h 112319"/>
                <a:gd name="connsiteX27" fmla="*/ 6396 w 216059"/>
                <a:gd name="connsiteY27" fmla="*/ 88940 h 11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59" h="112319">
                  <a:moveTo>
                    <a:pt x="6396" y="90973"/>
                  </a:moveTo>
                  <a:lnTo>
                    <a:pt x="6396" y="90973"/>
                  </a:lnTo>
                  <a:lnTo>
                    <a:pt x="5379" y="91735"/>
                  </a:lnTo>
                  <a:cubicBezTo>
                    <a:pt x="4388" y="92218"/>
                    <a:pt x="3486" y="92866"/>
                    <a:pt x="2711" y="93641"/>
                  </a:cubicBezTo>
                  <a:cubicBezTo>
                    <a:pt x="2215" y="94225"/>
                    <a:pt x="1783" y="94861"/>
                    <a:pt x="1440" y="95546"/>
                  </a:cubicBezTo>
                  <a:cubicBezTo>
                    <a:pt x="1440" y="96182"/>
                    <a:pt x="551" y="96690"/>
                    <a:pt x="169" y="97453"/>
                  </a:cubicBezTo>
                  <a:cubicBezTo>
                    <a:pt x="-212" y="98215"/>
                    <a:pt x="169" y="99104"/>
                    <a:pt x="169" y="99867"/>
                  </a:cubicBezTo>
                  <a:cubicBezTo>
                    <a:pt x="169" y="100629"/>
                    <a:pt x="169" y="99867"/>
                    <a:pt x="169" y="100756"/>
                  </a:cubicBezTo>
                  <a:cubicBezTo>
                    <a:pt x="169" y="101645"/>
                    <a:pt x="169" y="101645"/>
                    <a:pt x="169" y="102026"/>
                  </a:cubicBezTo>
                  <a:cubicBezTo>
                    <a:pt x="169" y="102408"/>
                    <a:pt x="169" y="103424"/>
                    <a:pt x="169" y="104187"/>
                  </a:cubicBezTo>
                  <a:lnTo>
                    <a:pt x="169" y="104187"/>
                  </a:lnTo>
                  <a:cubicBezTo>
                    <a:pt x="55" y="104949"/>
                    <a:pt x="55" y="105711"/>
                    <a:pt x="169" y="106474"/>
                  </a:cubicBezTo>
                  <a:lnTo>
                    <a:pt x="169" y="106474"/>
                  </a:lnTo>
                  <a:cubicBezTo>
                    <a:pt x="703" y="107719"/>
                    <a:pt x="1491" y="108837"/>
                    <a:pt x="2457" y="109777"/>
                  </a:cubicBezTo>
                  <a:lnTo>
                    <a:pt x="3219" y="110539"/>
                  </a:lnTo>
                  <a:cubicBezTo>
                    <a:pt x="3982" y="111251"/>
                    <a:pt x="4833" y="111848"/>
                    <a:pt x="5760" y="112318"/>
                  </a:cubicBezTo>
                  <a:lnTo>
                    <a:pt x="6904" y="112318"/>
                  </a:lnTo>
                  <a:lnTo>
                    <a:pt x="8810" y="112318"/>
                  </a:lnTo>
                  <a:lnTo>
                    <a:pt x="10970" y="112318"/>
                  </a:lnTo>
                  <a:lnTo>
                    <a:pt x="10970" y="112318"/>
                  </a:lnTo>
                  <a:cubicBezTo>
                    <a:pt x="12546" y="112344"/>
                    <a:pt x="14096" y="112038"/>
                    <a:pt x="15545" y="111429"/>
                  </a:cubicBezTo>
                  <a:lnTo>
                    <a:pt x="67262" y="88305"/>
                  </a:lnTo>
                  <a:lnTo>
                    <a:pt x="211358" y="24141"/>
                  </a:lnTo>
                  <a:lnTo>
                    <a:pt x="216060" y="22108"/>
                  </a:lnTo>
                  <a:cubicBezTo>
                    <a:pt x="214561" y="22705"/>
                    <a:pt x="212972" y="22997"/>
                    <a:pt x="211358" y="22997"/>
                  </a:cubicBezTo>
                  <a:cubicBezTo>
                    <a:pt x="206657" y="23010"/>
                    <a:pt x="202400" y="20215"/>
                    <a:pt x="200558" y="15882"/>
                  </a:cubicBezTo>
                  <a:cubicBezTo>
                    <a:pt x="198219" y="9809"/>
                    <a:pt x="200850" y="2948"/>
                    <a:pt x="206657" y="0"/>
                  </a:cubicBezTo>
                  <a:lnTo>
                    <a:pt x="6396" y="88940"/>
                  </a:lnTo>
                  <a:close/>
                </a:path>
              </a:pathLst>
            </a:custGeom>
            <a:solidFill>
              <a:srgbClr val="000000"/>
            </a:solidFill>
            <a:ln w="12704"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4F101411-DA2D-40E4-99E4-5831F9D20B9C}"/>
                </a:ext>
              </a:extLst>
            </p:cNvPr>
            <p:cNvSpPr/>
            <p:nvPr/>
          </p:nvSpPr>
          <p:spPr>
            <a:xfrm>
              <a:off x="6389171" y="4785413"/>
              <a:ext cx="124955" cy="69093"/>
            </a:xfrm>
            <a:custGeom>
              <a:avLst/>
              <a:gdLst>
                <a:gd name="connsiteX0" fmla="*/ 6949 w 124955"/>
                <a:gd name="connsiteY0" fmla="*/ 46096 h 69093"/>
                <a:gd name="connsiteX1" fmla="*/ 850 w 124955"/>
                <a:gd name="connsiteY1" fmla="*/ 61979 h 69093"/>
                <a:gd name="connsiteX2" fmla="*/ 11651 w 124955"/>
                <a:gd name="connsiteY2" fmla="*/ 69094 h 69093"/>
                <a:gd name="connsiteX3" fmla="*/ 16352 w 124955"/>
                <a:gd name="connsiteY3" fmla="*/ 68204 h 69093"/>
                <a:gd name="connsiteX4" fmla="*/ 118008 w 124955"/>
                <a:gd name="connsiteY4" fmla="*/ 23099 h 69093"/>
                <a:gd name="connsiteX5" fmla="*/ 124107 w 124955"/>
                <a:gd name="connsiteY5" fmla="*/ 7217 h 69093"/>
                <a:gd name="connsiteX6" fmla="*/ 108834 w 124955"/>
                <a:gd name="connsiteY6" fmla="*/ 890 h 69093"/>
                <a:gd name="connsiteX7" fmla="*/ 108605 w 124955"/>
                <a:gd name="connsiteY7" fmla="*/ 992 h 69093"/>
                <a:gd name="connsiteX8" fmla="*/ 88782 w 124955"/>
                <a:gd name="connsiteY8" fmla="*/ 9885 h 69093"/>
                <a:gd name="connsiteX9" fmla="*/ 79125 w 124955"/>
                <a:gd name="connsiteY9" fmla="*/ 14205 h 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55" h="69093">
                  <a:moveTo>
                    <a:pt x="6949" y="46096"/>
                  </a:moveTo>
                  <a:cubicBezTo>
                    <a:pt x="1142" y="49044"/>
                    <a:pt x="-1488" y="55905"/>
                    <a:pt x="850" y="61979"/>
                  </a:cubicBezTo>
                  <a:cubicBezTo>
                    <a:pt x="2693" y="66311"/>
                    <a:pt x="6949" y="69106"/>
                    <a:pt x="11651" y="69094"/>
                  </a:cubicBezTo>
                  <a:cubicBezTo>
                    <a:pt x="13265" y="69094"/>
                    <a:pt x="14853" y="68801"/>
                    <a:pt x="16352" y="68204"/>
                  </a:cubicBezTo>
                  <a:lnTo>
                    <a:pt x="118008" y="23099"/>
                  </a:lnTo>
                  <a:cubicBezTo>
                    <a:pt x="123802" y="20152"/>
                    <a:pt x="126445" y="13290"/>
                    <a:pt x="124107" y="7217"/>
                  </a:cubicBezTo>
                  <a:cubicBezTo>
                    <a:pt x="121629" y="1258"/>
                    <a:pt x="114793" y="-1575"/>
                    <a:pt x="108834" y="890"/>
                  </a:cubicBezTo>
                  <a:cubicBezTo>
                    <a:pt x="108757" y="928"/>
                    <a:pt x="108681" y="953"/>
                    <a:pt x="108605" y="992"/>
                  </a:cubicBezTo>
                  <a:lnTo>
                    <a:pt x="88782" y="9885"/>
                  </a:lnTo>
                  <a:lnTo>
                    <a:pt x="79125" y="14205"/>
                  </a:lnTo>
                  <a:close/>
                </a:path>
              </a:pathLst>
            </a:custGeom>
            <a:solidFill>
              <a:srgbClr val="000000"/>
            </a:solidFill>
            <a:ln w="12704"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D22E3E7B-E06F-43D5-B717-7734B80A7DA2}"/>
                </a:ext>
              </a:extLst>
            </p:cNvPr>
            <p:cNvSpPr/>
            <p:nvPr/>
          </p:nvSpPr>
          <p:spPr>
            <a:xfrm>
              <a:off x="7986354" y="1830178"/>
              <a:ext cx="178696" cy="24013"/>
            </a:xfrm>
            <a:custGeom>
              <a:avLst/>
              <a:gdLst>
                <a:gd name="connsiteX0" fmla="*/ 10838 w 178696"/>
                <a:gd name="connsiteY0" fmla="*/ 24014 h 24013"/>
                <a:gd name="connsiteX1" fmla="*/ 178697 w 178696"/>
                <a:gd name="connsiteY1" fmla="*/ 24014 h 24013"/>
                <a:gd name="connsiteX2" fmla="*/ 167921 w 178696"/>
                <a:gd name="connsiteY2" fmla="*/ 10774 h 24013"/>
                <a:gd name="connsiteX3" fmla="*/ 178697 w 178696"/>
                <a:gd name="connsiteY3" fmla="*/ 0 h 24013"/>
                <a:gd name="connsiteX4" fmla="*/ 10838 w 178696"/>
                <a:gd name="connsiteY4" fmla="*/ 0 h 24013"/>
                <a:gd name="connsiteX5" fmla="*/ 63 w 178696"/>
                <a:gd name="connsiteY5" fmla="*/ 13239 h 24013"/>
                <a:gd name="connsiteX6" fmla="*/ 10838 w 178696"/>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96" h="24013">
                  <a:moveTo>
                    <a:pt x="10838" y="24014"/>
                  </a:moveTo>
                  <a:lnTo>
                    <a:pt x="178697" y="24014"/>
                  </a:lnTo>
                  <a:cubicBezTo>
                    <a:pt x="172064" y="23328"/>
                    <a:pt x="167248" y="17407"/>
                    <a:pt x="167921" y="10774"/>
                  </a:cubicBezTo>
                  <a:cubicBezTo>
                    <a:pt x="168506" y="5082"/>
                    <a:pt x="173004" y="584"/>
                    <a:pt x="178697" y="0"/>
                  </a:cubicBezTo>
                  <a:lnTo>
                    <a:pt x="10838" y="0"/>
                  </a:lnTo>
                  <a:cubicBezTo>
                    <a:pt x="4205" y="686"/>
                    <a:pt x="-611" y="6607"/>
                    <a:pt x="63" y="13239"/>
                  </a:cubicBezTo>
                  <a:cubicBezTo>
                    <a:pt x="647" y="18931"/>
                    <a:pt x="5146" y="23429"/>
                    <a:pt x="10838" y="24014"/>
                  </a:cubicBezTo>
                  <a:close/>
                </a:path>
              </a:pathLst>
            </a:custGeom>
            <a:solidFill>
              <a:srgbClr val="000000"/>
            </a:solidFill>
            <a:ln w="12704"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729509A6-29EA-4B7C-AE51-499321D61134}"/>
                </a:ext>
              </a:extLst>
            </p:cNvPr>
            <p:cNvSpPr/>
            <p:nvPr/>
          </p:nvSpPr>
          <p:spPr>
            <a:xfrm>
              <a:off x="8069555" y="2474784"/>
              <a:ext cx="23638" cy="206673"/>
            </a:xfrm>
            <a:custGeom>
              <a:avLst/>
              <a:gdLst>
                <a:gd name="connsiteX0" fmla="*/ 11757 w 23638"/>
                <a:gd name="connsiteY0" fmla="*/ 194603 h 206673"/>
                <a:gd name="connsiteX1" fmla="*/ 23575 w 23638"/>
                <a:gd name="connsiteY1" fmla="*/ 206673 h 206673"/>
                <a:gd name="connsiteX2" fmla="*/ 23575 w 23638"/>
                <a:gd name="connsiteY2" fmla="*/ 206673 h 206673"/>
                <a:gd name="connsiteX3" fmla="*/ 23575 w 23638"/>
                <a:gd name="connsiteY3" fmla="*/ 13039 h 206673"/>
                <a:gd name="connsiteX4" fmla="*/ 13041 w 23638"/>
                <a:gd name="connsiteY4" fmla="*/ 66 h 206673"/>
                <a:gd name="connsiteX5" fmla="*/ 67 w 23638"/>
                <a:gd name="connsiteY5" fmla="*/ 10587 h 206673"/>
                <a:gd name="connsiteX6" fmla="*/ 67 w 23638"/>
                <a:gd name="connsiteY6" fmla="*/ 13039 h 206673"/>
                <a:gd name="connsiteX7" fmla="*/ 67 w 23638"/>
                <a:gd name="connsiteY7" fmla="*/ 206673 h 206673"/>
                <a:gd name="connsiteX8" fmla="*/ 11630 w 23638"/>
                <a:gd name="connsiteY8" fmla="*/ 194603 h 206673"/>
                <a:gd name="connsiteX9" fmla="*/ 11757 w 23638"/>
                <a:gd name="connsiteY9" fmla="*/ 194603 h 20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206673">
                  <a:moveTo>
                    <a:pt x="11757" y="194603"/>
                  </a:moveTo>
                  <a:cubicBezTo>
                    <a:pt x="18352" y="194666"/>
                    <a:pt x="23638" y="200079"/>
                    <a:pt x="23575" y="206673"/>
                  </a:cubicBezTo>
                  <a:cubicBezTo>
                    <a:pt x="23575" y="206673"/>
                    <a:pt x="23575" y="206673"/>
                    <a:pt x="23575" y="206673"/>
                  </a:cubicBezTo>
                  <a:lnTo>
                    <a:pt x="23575" y="13039"/>
                  </a:lnTo>
                  <a:cubicBezTo>
                    <a:pt x="24248" y="6546"/>
                    <a:pt x="19534" y="740"/>
                    <a:pt x="13041" y="66"/>
                  </a:cubicBezTo>
                  <a:cubicBezTo>
                    <a:pt x="6547" y="-620"/>
                    <a:pt x="740" y="4107"/>
                    <a:pt x="67" y="10587"/>
                  </a:cubicBezTo>
                  <a:cubicBezTo>
                    <a:pt x="-22" y="11400"/>
                    <a:pt x="-22" y="12226"/>
                    <a:pt x="67" y="13039"/>
                  </a:cubicBezTo>
                  <a:lnTo>
                    <a:pt x="67" y="206673"/>
                  </a:lnTo>
                  <a:cubicBezTo>
                    <a:pt x="-73" y="200142"/>
                    <a:pt x="5099" y="194742"/>
                    <a:pt x="11630" y="194603"/>
                  </a:cubicBezTo>
                  <a:cubicBezTo>
                    <a:pt x="11668" y="194603"/>
                    <a:pt x="11719" y="194603"/>
                    <a:pt x="11757" y="194603"/>
                  </a:cubicBezTo>
                  <a:close/>
                </a:path>
              </a:pathLst>
            </a:custGeom>
            <a:solidFill>
              <a:srgbClr val="000000"/>
            </a:solidFill>
            <a:ln w="12704"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A93E1D3E-9528-41B3-8B05-E0BFA490D10E}"/>
                </a:ext>
              </a:extLst>
            </p:cNvPr>
            <p:cNvSpPr/>
            <p:nvPr/>
          </p:nvSpPr>
          <p:spPr>
            <a:xfrm>
              <a:off x="8069555" y="2667912"/>
              <a:ext cx="23638" cy="597497"/>
            </a:xfrm>
            <a:custGeom>
              <a:avLst/>
              <a:gdLst>
                <a:gd name="connsiteX0" fmla="*/ 23575 w 23638"/>
                <a:gd name="connsiteY0" fmla="*/ 597497 h 597497"/>
                <a:gd name="connsiteX1" fmla="*/ 23575 w 23638"/>
                <a:gd name="connsiteY1" fmla="*/ 13037 h 597497"/>
                <a:gd name="connsiteX2" fmla="*/ 13041 w 23638"/>
                <a:gd name="connsiteY2" fmla="*/ 64 h 597497"/>
                <a:gd name="connsiteX3" fmla="*/ 67 w 23638"/>
                <a:gd name="connsiteY3" fmla="*/ 10584 h 597497"/>
                <a:gd name="connsiteX4" fmla="*/ 67 w 23638"/>
                <a:gd name="connsiteY4" fmla="*/ 13037 h 597497"/>
                <a:gd name="connsiteX5" fmla="*/ 67 w 23638"/>
                <a:gd name="connsiteY5" fmla="*/ 597497 h 597497"/>
                <a:gd name="connsiteX6" fmla="*/ 23575 w 23638"/>
                <a:gd name="connsiteY6" fmla="*/ 597497 h 59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8" h="597497">
                  <a:moveTo>
                    <a:pt x="23575" y="597497"/>
                  </a:moveTo>
                  <a:lnTo>
                    <a:pt x="23575" y="13037"/>
                  </a:lnTo>
                  <a:cubicBezTo>
                    <a:pt x="24248" y="6544"/>
                    <a:pt x="19534" y="738"/>
                    <a:pt x="13041" y="64"/>
                  </a:cubicBezTo>
                  <a:cubicBezTo>
                    <a:pt x="6547" y="-609"/>
                    <a:pt x="740" y="4105"/>
                    <a:pt x="67" y="10584"/>
                  </a:cubicBezTo>
                  <a:cubicBezTo>
                    <a:pt x="-22" y="11397"/>
                    <a:pt x="-22" y="12223"/>
                    <a:pt x="67" y="13037"/>
                  </a:cubicBezTo>
                  <a:lnTo>
                    <a:pt x="67" y="597497"/>
                  </a:lnTo>
                  <a:lnTo>
                    <a:pt x="23575" y="597497"/>
                  </a:lnTo>
                  <a:close/>
                </a:path>
              </a:pathLst>
            </a:custGeom>
            <a:solidFill>
              <a:srgbClr val="000000"/>
            </a:solidFill>
            <a:ln w="12704"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106C66DB-453F-4963-A352-F8456907DDBD}"/>
                </a:ext>
              </a:extLst>
            </p:cNvPr>
            <p:cNvSpPr/>
            <p:nvPr/>
          </p:nvSpPr>
          <p:spPr>
            <a:xfrm>
              <a:off x="11994403" y="4558719"/>
              <a:ext cx="23513" cy="76481"/>
            </a:xfrm>
            <a:custGeom>
              <a:avLst/>
              <a:gdLst>
                <a:gd name="connsiteX0" fmla="*/ 11696 w 23513"/>
                <a:gd name="connsiteY0" fmla="*/ 11943 h 76481"/>
                <a:gd name="connsiteX1" fmla="*/ 6 w 23513"/>
                <a:gd name="connsiteY1" fmla="*/ 0 h 76481"/>
                <a:gd name="connsiteX2" fmla="*/ 6 w 23513"/>
                <a:gd name="connsiteY2" fmla="*/ 0 h 76481"/>
                <a:gd name="connsiteX3" fmla="*/ 6 w 23513"/>
                <a:gd name="connsiteY3" fmla="*/ 64418 h 76481"/>
                <a:gd name="connsiteX4" fmla="*/ 11315 w 23513"/>
                <a:gd name="connsiteY4" fmla="*/ 76476 h 76481"/>
                <a:gd name="connsiteX5" fmla="*/ 19956 w 23513"/>
                <a:gd name="connsiteY5" fmla="*/ 73058 h 76481"/>
                <a:gd name="connsiteX6" fmla="*/ 22370 w 23513"/>
                <a:gd name="connsiteY6" fmla="*/ 69500 h 76481"/>
                <a:gd name="connsiteX7" fmla="*/ 23513 w 23513"/>
                <a:gd name="connsiteY7" fmla="*/ 64418 h 76481"/>
                <a:gd name="connsiteX8" fmla="*/ 23513 w 23513"/>
                <a:gd name="connsiteY8" fmla="*/ 0 h 76481"/>
                <a:gd name="connsiteX9" fmla="*/ 11696 w 23513"/>
                <a:gd name="connsiteY9" fmla="*/ 11943 h 7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13" h="76481">
                  <a:moveTo>
                    <a:pt x="11696" y="11943"/>
                  </a:moveTo>
                  <a:cubicBezTo>
                    <a:pt x="5165" y="11880"/>
                    <a:pt x="-58" y="6531"/>
                    <a:pt x="6" y="0"/>
                  </a:cubicBezTo>
                  <a:cubicBezTo>
                    <a:pt x="6" y="0"/>
                    <a:pt x="6" y="0"/>
                    <a:pt x="6" y="0"/>
                  </a:cubicBezTo>
                  <a:lnTo>
                    <a:pt x="6" y="64418"/>
                  </a:lnTo>
                  <a:cubicBezTo>
                    <a:pt x="-197" y="70872"/>
                    <a:pt x="4860" y="76272"/>
                    <a:pt x="11315" y="76476"/>
                  </a:cubicBezTo>
                  <a:cubicBezTo>
                    <a:pt x="14542" y="76577"/>
                    <a:pt x="17669" y="75344"/>
                    <a:pt x="19956" y="73058"/>
                  </a:cubicBezTo>
                  <a:cubicBezTo>
                    <a:pt x="20947" y="72003"/>
                    <a:pt x="21760" y="70809"/>
                    <a:pt x="22370" y="69500"/>
                  </a:cubicBezTo>
                  <a:cubicBezTo>
                    <a:pt x="23095" y="67899"/>
                    <a:pt x="23489" y="66171"/>
                    <a:pt x="23513" y="64418"/>
                  </a:cubicBezTo>
                  <a:lnTo>
                    <a:pt x="23513" y="0"/>
                  </a:lnTo>
                  <a:cubicBezTo>
                    <a:pt x="23513" y="6544"/>
                    <a:pt x="18240" y="11880"/>
                    <a:pt x="11696" y="11943"/>
                  </a:cubicBezTo>
                  <a:close/>
                </a:path>
              </a:pathLst>
            </a:custGeom>
            <a:solidFill>
              <a:srgbClr val="000000"/>
            </a:solidFill>
            <a:ln w="12704"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4744AA66-C422-4C1B-817A-2E558A5977D6}"/>
                </a:ext>
              </a:extLst>
            </p:cNvPr>
            <p:cNvSpPr/>
            <p:nvPr/>
          </p:nvSpPr>
          <p:spPr>
            <a:xfrm>
              <a:off x="12067092" y="4685776"/>
              <a:ext cx="126434" cy="116256"/>
            </a:xfrm>
            <a:custGeom>
              <a:avLst/>
              <a:gdLst>
                <a:gd name="connsiteX0" fmla="*/ 7497 w 126434"/>
                <a:gd name="connsiteY0" fmla="*/ 16772 h 116256"/>
                <a:gd name="connsiteX1" fmla="*/ 0 w 126434"/>
                <a:gd name="connsiteY1" fmla="*/ 21345 h 116256"/>
                <a:gd name="connsiteX2" fmla="*/ 126434 w 126434"/>
                <a:gd name="connsiteY2" fmla="*/ 116257 h 116256"/>
                <a:gd name="connsiteX3" fmla="*/ 126434 w 126434"/>
                <a:gd name="connsiteY3" fmla="*/ 89829 h 116256"/>
                <a:gd name="connsiteX4" fmla="*/ 4829 w 126434"/>
                <a:gd name="connsiteY4" fmla="*/ 0 h 116256"/>
                <a:gd name="connsiteX5" fmla="*/ 7497 w 126434"/>
                <a:gd name="connsiteY5" fmla="*/ 16772 h 1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34" h="116256">
                  <a:moveTo>
                    <a:pt x="7497" y="16772"/>
                  </a:moveTo>
                  <a:cubicBezTo>
                    <a:pt x="5744" y="19262"/>
                    <a:pt x="3025" y="20926"/>
                    <a:pt x="0" y="21345"/>
                  </a:cubicBezTo>
                  <a:lnTo>
                    <a:pt x="126434" y="116257"/>
                  </a:lnTo>
                  <a:lnTo>
                    <a:pt x="126434" y="89829"/>
                  </a:lnTo>
                  <a:lnTo>
                    <a:pt x="4829" y="0"/>
                  </a:lnTo>
                  <a:cubicBezTo>
                    <a:pt x="9874" y="4091"/>
                    <a:pt x="11017" y="11321"/>
                    <a:pt x="7497" y="16772"/>
                  </a:cubicBezTo>
                  <a:close/>
                </a:path>
              </a:pathLst>
            </a:custGeom>
            <a:solidFill>
              <a:srgbClr val="000000"/>
            </a:solidFill>
            <a:ln w="12704"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E2A3F460-BB5C-4511-9DA6-8E361FA58ABA}"/>
                </a:ext>
              </a:extLst>
            </p:cNvPr>
            <p:cNvSpPr/>
            <p:nvPr/>
          </p:nvSpPr>
          <p:spPr>
            <a:xfrm>
              <a:off x="11594141" y="6078062"/>
              <a:ext cx="599894" cy="24013"/>
            </a:xfrm>
            <a:custGeom>
              <a:avLst/>
              <a:gdLst>
                <a:gd name="connsiteX0" fmla="*/ 10293 w 599894"/>
                <a:gd name="connsiteY0" fmla="*/ 6226 h 24013"/>
                <a:gd name="connsiteX1" fmla="*/ 5591 w 599894"/>
                <a:gd name="connsiteY1" fmla="*/ 22489 h 24013"/>
                <a:gd name="connsiteX2" fmla="*/ 0 w 599894"/>
                <a:gd name="connsiteY2" fmla="*/ 24014 h 24013"/>
                <a:gd name="connsiteX3" fmla="*/ 599894 w 599894"/>
                <a:gd name="connsiteY3" fmla="*/ 24014 h 24013"/>
                <a:gd name="connsiteX4" fmla="*/ 599894 w 599894"/>
                <a:gd name="connsiteY4" fmla="*/ 0 h 24013"/>
                <a:gd name="connsiteX5" fmla="*/ 6481 w 599894"/>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894" h="24013">
                  <a:moveTo>
                    <a:pt x="10293" y="6226"/>
                  </a:moveTo>
                  <a:cubicBezTo>
                    <a:pt x="13088" y="12058"/>
                    <a:pt x="11067" y="19058"/>
                    <a:pt x="5591" y="22489"/>
                  </a:cubicBezTo>
                  <a:cubicBezTo>
                    <a:pt x="3888" y="23480"/>
                    <a:pt x="1969" y="24001"/>
                    <a:pt x="0" y="24014"/>
                  </a:cubicBezTo>
                  <a:lnTo>
                    <a:pt x="599894" y="24014"/>
                  </a:lnTo>
                  <a:lnTo>
                    <a:pt x="599894" y="0"/>
                  </a:lnTo>
                  <a:lnTo>
                    <a:pt x="6481" y="0"/>
                  </a:lnTo>
                  <a:close/>
                </a:path>
              </a:pathLst>
            </a:custGeom>
            <a:solidFill>
              <a:srgbClr val="000000"/>
            </a:solidFill>
            <a:ln w="12704"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6658C00F-54B6-48D2-92C4-276788EED594}"/>
                </a:ext>
              </a:extLst>
            </p:cNvPr>
            <p:cNvSpPr/>
            <p:nvPr/>
          </p:nvSpPr>
          <p:spPr>
            <a:xfrm>
              <a:off x="5627352" y="4574586"/>
              <a:ext cx="341042" cy="132408"/>
            </a:xfrm>
            <a:custGeom>
              <a:avLst/>
              <a:gdLst>
                <a:gd name="connsiteX0" fmla="*/ 14486 w 341042"/>
                <a:gd name="connsiteY0" fmla="*/ 117162 h 132408"/>
                <a:gd name="connsiteX1" fmla="*/ 6989 w 341042"/>
                <a:gd name="connsiteY1" fmla="*/ 132408 h 132408"/>
                <a:gd name="connsiteX2" fmla="*/ 331142 w 341042"/>
                <a:gd name="connsiteY2" fmla="*/ 23775 h 132408"/>
                <a:gd name="connsiteX3" fmla="*/ 332922 w 341042"/>
                <a:gd name="connsiteY3" fmla="*/ 23140 h 132408"/>
                <a:gd name="connsiteX4" fmla="*/ 340419 w 341042"/>
                <a:gd name="connsiteY4" fmla="*/ 8020 h 132408"/>
                <a:gd name="connsiteX5" fmla="*/ 327712 w 341042"/>
                <a:gd name="connsiteY5" fmla="*/ 142 h 132408"/>
                <a:gd name="connsiteX6" fmla="*/ 325933 w 341042"/>
                <a:gd name="connsiteY6" fmla="*/ 142 h 132408"/>
                <a:gd name="connsiteX7" fmla="*/ 5718 w 341042"/>
                <a:gd name="connsiteY7" fmla="*/ 107505 h 132408"/>
                <a:gd name="connsiteX8" fmla="*/ 1525 w 341042"/>
                <a:gd name="connsiteY8" fmla="*/ 108903 h 132408"/>
                <a:gd name="connsiteX9" fmla="*/ 0 w 341042"/>
                <a:gd name="connsiteY9" fmla="*/ 108903 h 132408"/>
                <a:gd name="connsiteX10" fmla="*/ 14435 w 341042"/>
                <a:gd name="connsiteY10" fmla="*/ 116971 h 132408"/>
                <a:gd name="connsiteX11" fmla="*/ 14486 w 341042"/>
                <a:gd name="connsiteY11" fmla="*/ 117162 h 13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042" h="132408">
                  <a:moveTo>
                    <a:pt x="14486" y="117162"/>
                  </a:moveTo>
                  <a:cubicBezTo>
                    <a:pt x="16252" y="123413"/>
                    <a:pt x="13025" y="129994"/>
                    <a:pt x="6989" y="132408"/>
                  </a:cubicBezTo>
                  <a:lnTo>
                    <a:pt x="331142" y="23775"/>
                  </a:lnTo>
                  <a:lnTo>
                    <a:pt x="332922" y="23140"/>
                  </a:lnTo>
                  <a:cubicBezTo>
                    <a:pt x="339161" y="21030"/>
                    <a:pt x="342515" y="14271"/>
                    <a:pt x="340419" y="8020"/>
                  </a:cubicBezTo>
                  <a:cubicBezTo>
                    <a:pt x="338728" y="2607"/>
                    <a:pt x="333315" y="-747"/>
                    <a:pt x="327712" y="142"/>
                  </a:cubicBezTo>
                  <a:lnTo>
                    <a:pt x="325933" y="142"/>
                  </a:lnTo>
                  <a:lnTo>
                    <a:pt x="5718" y="107505"/>
                  </a:lnTo>
                  <a:lnTo>
                    <a:pt x="1525" y="108903"/>
                  </a:lnTo>
                  <a:lnTo>
                    <a:pt x="0" y="108903"/>
                  </a:lnTo>
                  <a:cubicBezTo>
                    <a:pt x="6214" y="107150"/>
                    <a:pt x="12669" y="110758"/>
                    <a:pt x="14435" y="116971"/>
                  </a:cubicBezTo>
                  <a:cubicBezTo>
                    <a:pt x="14448" y="117034"/>
                    <a:pt x="14473" y="117098"/>
                    <a:pt x="14486" y="117162"/>
                  </a:cubicBezTo>
                  <a:close/>
                </a:path>
              </a:pathLst>
            </a:custGeom>
            <a:solidFill>
              <a:srgbClr val="000000"/>
            </a:solidFill>
            <a:ln w="12704"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C5CC8327-BFAF-412A-BE44-8710BFF744AE}"/>
                </a:ext>
              </a:extLst>
            </p:cNvPr>
            <p:cNvSpPr/>
            <p:nvPr/>
          </p:nvSpPr>
          <p:spPr>
            <a:xfrm>
              <a:off x="5585546" y="4683940"/>
              <a:ext cx="56772" cy="34361"/>
            </a:xfrm>
            <a:custGeom>
              <a:avLst/>
              <a:gdLst>
                <a:gd name="connsiteX0" fmla="*/ 15375 w 56772"/>
                <a:gd name="connsiteY0" fmla="*/ 25595 h 34361"/>
                <a:gd name="connsiteX1" fmla="*/ 15375 w 56772"/>
                <a:gd name="connsiteY1" fmla="*/ 34362 h 34361"/>
                <a:gd name="connsiteX2" fmla="*/ 35071 w 56772"/>
                <a:gd name="connsiteY2" fmla="*/ 27755 h 34361"/>
                <a:gd name="connsiteX3" fmla="*/ 47778 w 56772"/>
                <a:gd name="connsiteY3" fmla="*/ 23435 h 34361"/>
                <a:gd name="connsiteX4" fmla="*/ 48795 w 56772"/>
                <a:gd name="connsiteY4" fmla="*/ 23435 h 34361"/>
                <a:gd name="connsiteX5" fmla="*/ 56292 w 56772"/>
                <a:gd name="connsiteY5" fmla="*/ 8188 h 34361"/>
                <a:gd name="connsiteX6" fmla="*/ 41640 w 56772"/>
                <a:gd name="connsiteY6" fmla="*/ 539 h 34361"/>
                <a:gd name="connsiteX7" fmla="*/ 41552 w 56772"/>
                <a:gd name="connsiteY7" fmla="*/ 565 h 34361"/>
                <a:gd name="connsiteX8" fmla="*/ 0 w 56772"/>
                <a:gd name="connsiteY8" fmla="*/ 14414 h 34361"/>
                <a:gd name="connsiteX9" fmla="*/ 0 w 56772"/>
                <a:gd name="connsiteY9" fmla="*/ 14414 h 34361"/>
                <a:gd name="connsiteX10" fmla="*/ 4066 w 56772"/>
                <a:gd name="connsiteY10" fmla="*/ 13525 h 34361"/>
                <a:gd name="connsiteX11" fmla="*/ 15375 w 56772"/>
                <a:gd name="connsiteY11" fmla="*/ 25595 h 3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72" h="34361">
                  <a:moveTo>
                    <a:pt x="15375" y="25595"/>
                  </a:moveTo>
                  <a:lnTo>
                    <a:pt x="15375" y="34362"/>
                  </a:lnTo>
                  <a:lnTo>
                    <a:pt x="35071" y="27755"/>
                  </a:lnTo>
                  <a:lnTo>
                    <a:pt x="47778" y="23435"/>
                  </a:lnTo>
                  <a:lnTo>
                    <a:pt x="48795" y="23435"/>
                  </a:lnTo>
                  <a:cubicBezTo>
                    <a:pt x="54830" y="21021"/>
                    <a:pt x="58058" y="14439"/>
                    <a:pt x="56292" y="8188"/>
                  </a:cubicBezTo>
                  <a:cubicBezTo>
                    <a:pt x="54360" y="2026"/>
                    <a:pt x="47791" y="-1392"/>
                    <a:pt x="41640" y="539"/>
                  </a:cubicBezTo>
                  <a:cubicBezTo>
                    <a:pt x="41602" y="552"/>
                    <a:pt x="41577" y="552"/>
                    <a:pt x="41552" y="565"/>
                  </a:cubicBezTo>
                  <a:lnTo>
                    <a:pt x="0" y="14414"/>
                  </a:lnTo>
                  <a:lnTo>
                    <a:pt x="0" y="14414"/>
                  </a:lnTo>
                  <a:cubicBezTo>
                    <a:pt x="1283" y="13867"/>
                    <a:pt x="2668" y="13563"/>
                    <a:pt x="4066" y="13525"/>
                  </a:cubicBezTo>
                  <a:cubicBezTo>
                    <a:pt x="10458" y="13867"/>
                    <a:pt x="15452" y="19191"/>
                    <a:pt x="15375" y="25595"/>
                  </a:cubicBezTo>
                  <a:close/>
                </a:path>
              </a:pathLst>
            </a:custGeom>
            <a:solidFill>
              <a:srgbClr val="000000"/>
            </a:solidFill>
            <a:ln w="12704"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E6FA63D4-88B0-4E4B-B5A2-DD2097872377}"/>
                </a:ext>
              </a:extLst>
            </p:cNvPr>
            <p:cNvSpPr/>
            <p:nvPr/>
          </p:nvSpPr>
          <p:spPr>
            <a:xfrm>
              <a:off x="7809765" y="3278877"/>
              <a:ext cx="180311" cy="24013"/>
            </a:xfrm>
            <a:custGeom>
              <a:avLst/>
              <a:gdLst>
                <a:gd name="connsiteX0" fmla="*/ 11817 w 180311"/>
                <a:gd name="connsiteY0" fmla="*/ 12070 h 24013"/>
                <a:gd name="connsiteX1" fmla="*/ 0 w 180311"/>
                <a:gd name="connsiteY1" fmla="*/ 24014 h 24013"/>
                <a:gd name="connsiteX2" fmla="*/ 180311 w 180311"/>
                <a:gd name="connsiteY2" fmla="*/ 24014 h 24013"/>
                <a:gd name="connsiteX3" fmla="*/ 175737 w 180311"/>
                <a:gd name="connsiteY3" fmla="*/ 14739 h 24013"/>
                <a:gd name="connsiteX4" fmla="*/ 175737 w 180311"/>
                <a:gd name="connsiteY4" fmla="*/ 0 h 24013"/>
                <a:gd name="connsiteX5" fmla="*/ 0 w 180311"/>
                <a:gd name="connsiteY5" fmla="*/ 0 h 24013"/>
                <a:gd name="connsiteX6" fmla="*/ 11817 w 180311"/>
                <a:gd name="connsiteY6" fmla="*/ 12070 h 24013"/>
                <a:gd name="connsiteX7" fmla="*/ 11817 w 180311"/>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311" h="24013">
                  <a:moveTo>
                    <a:pt x="11817" y="12070"/>
                  </a:moveTo>
                  <a:cubicBezTo>
                    <a:pt x="11817" y="18614"/>
                    <a:pt x="6544" y="23950"/>
                    <a:pt x="0" y="24014"/>
                  </a:cubicBezTo>
                  <a:lnTo>
                    <a:pt x="180311" y="24014"/>
                  </a:lnTo>
                  <a:cubicBezTo>
                    <a:pt x="177414" y="21816"/>
                    <a:pt x="175711" y="18372"/>
                    <a:pt x="175737" y="14739"/>
                  </a:cubicBezTo>
                  <a:lnTo>
                    <a:pt x="175737" y="0"/>
                  </a:lnTo>
                  <a:lnTo>
                    <a:pt x="0" y="0"/>
                  </a:lnTo>
                  <a:cubicBezTo>
                    <a:pt x="6595" y="63"/>
                    <a:pt x="11881" y="5476"/>
                    <a:pt x="11817" y="12070"/>
                  </a:cubicBezTo>
                  <a:cubicBezTo>
                    <a:pt x="11817" y="12070"/>
                    <a:pt x="11817" y="12070"/>
                    <a:pt x="11817" y="12070"/>
                  </a:cubicBezTo>
                  <a:close/>
                </a:path>
              </a:pathLst>
            </a:custGeom>
            <a:solidFill>
              <a:srgbClr val="000000"/>
            </a:solidFill>
            <a:ln w="12704"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B61567EA-0DC7-4C68-8463-8174CE0A430D}"/>
                </a:ext>
              </a:extLst>
            </p:cNvPr>
            <p:cNvSpPr/>
            <p:nvPr/>
          </p:nvSpPr>
          <p:spPr>
            <a:xfrm>
              <a:off x="7063294" y="3293108"/>
              <a:ext cx="23638" cy="14702"/>
            </a:xfrm>
            <a:custGeom>
              <a:avLst/>
              <a:gdLst>
                <a:gd name="connsiteX0" fmla="*/ 1338 w 23638"/>
                <a:gd name="connsiteY0" fmla="*/ 2541 h 14702"/>
                <a:gd name="connsiteX1" fmla="*/ 1338 w 23638"/>
                <a:gd name="connsiteY1" fmla="*/ 5464 h 14702"/>
                <a:gd name="connsiteX2" fmla="*/ 14527 w 23638"/>
                <a:gd name="connsiteY2" fmla="*/ 14510 h 14702"/>
                <a:gd name="connsiteX3" fmla="*/ 23575 w 23638"/>
                <a:gd name="connsiteY3" fmla="*/ 5464 h 14702"/>
                <a:gd name="connsiteX4" fmla="*/ 23575 w 23638"/>
                <a:gd name="connsiteY4" fmla="*/ 4701 h 14702"/>
                <a:gd name="connsiteX5" fmla="*/ 23575 w 23638"/>
                <a:gd name="connsiteY5" fmla="*/ 2541 h 14702"/>
                <a:gd name="connsiteX6" fmla="*/ 23575 w 23638"/>
                <a:gd name="connsiteY6" fmla="*/ 0 h 14702"/>
                <a:gd name="connsiteX7" fmla="*/ 13041 w 23638"/>
                <a:gd name="connsiteY7" fmla="*/ 12972 h 14702"/>
                <a:gd name="connsiteX8" fmla="*/ 67 w 23638"/>
                <a:gd name="connsiteY8" fmla="*/ 2452 h 14702"/>
                <a:gd name="connsiteX9" fmla="*/ 67 w 23638"/>
                <a:gd name="connsiteY9" fmla="*/ 0 h 14702"/>
                <a:gd name="connsiteX10" fmla="*/ 67 w 23638"/>
                <a:gd name="connsiteY10" fmla="*/ 2541 h 1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14702">
                  <a:moveTo>
                    <a:pt x="1338" y="2541"/>
                  </a:moveTo>
                  <a:cubicBezTo>
                    <a:pt x="1210" y="3507"/>
                    <a:pt x="1210" y="4498"/>
                    <a:pt x="1338" y="5464"/>
                  </a:cubicBezTo>
                  <a:cubicBezTo>
                    <a:pt x="2481" y="11600"/>
                    <a:pt x="8377" y="15653"/>
                    <a:pt x="14527" y="14510"/>
                  </a:cubicBezTo>
                  <a:cubicBezTo>
                    <a:pt x="19127" y="13659"/>
                    <a:pt x="22723" y="10063"/>
                    <a:pt x="23575" y="5464"/>
                  </a:cubicBezTo>
                  <a:cubicBezTo>
                    <a:pt x="23575" y="5464"/>
                    <a:pt x="23575" y="5464"/>
                    <a:pt x="23575" y="4701"/>
                  </a:cubicBezTo>
                  <a:cubicBezTo>
                    <a:pt x="23638" y="3977"/>
                    <a:pt x="23638" y="3265"/>
                    <a:pt x="23575" y="2541"/>
                  </a:cubicBezTo>
                  <a:lnTo>
                    <a:pt x="23575" y="0"/>
                  </a:lnTo>
                  <a:cubicBezTo>
                    <a:pt x="24248" y="6493"/>
                    <a:pt x="19534" y="12299"/>
                    <a:pt x="13041" y="12972"/>
                  </a:cubicBezTo>
                  <a:cubicBezTo>
                    <a:pt x="6548" y="13646"/>
                    <a:pt x="740" y="8932"/>
                    <a:pt x="67" y="2452"/>
                  </a:cubicBezTo>
                  <a:cubicBezTo>
                    <a:pt x="-22" y="1639"/>
                    <a:pt x="-22" y="813"/>
                    <a:pt x="67" y="0"/>
                  </a:cubicBezTo>
                  <a:lnTo>
                    <a:pt x="67" y="2541"/>
                  </a:lnTo>
                  <a:close/>
                </a:path>
              </a:pathLst>
            </a:custGeom>
            <a:solidFill>
              <a:srgbClr val="000000"/>
            </a:solidFill>
            <a:ln w="12704"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04BD7B02-6840-40D5-AD21-3567626B4E62}"/>
                </a:ext>
              </a:extLst>
            </p:cNvPr>
            <p:cNvSpPr/>
            <p:nvPr/>
          </p:nvSpPr>
          <p:spPr>
            <a:xfrm>
              <a:off x="7727932" y="3290948"/>
              <a:ext cx="19569" cy="15246"/>
            </a:xfrm>
            <a:custGeom>
              <a:avLst/>
              <a:gdLst>
                <a:gd name="connsiteX0" fmla="*/ 890 w 19569"/>
                <a:gd name="connsiteY0" fmla="*/ 5718 h 15246"/>
                <a:gd name="connsiteX1" fmla="*/ 890 w 19569"/>
                <a:gd name="connsiteY1" fmla="*/ 7623 h 15246"/>
                <a:gd name="connsiteX2" fmla="*/ 11691 w 19569"/>
                <a:gd name="connsiteY2" fmla="*/ 15247 h 15246"/>
                <a:gd name="connsiteX3" fmla="*/ 19570 w 19569"/>
                <a:gd name="connsiteY3" fmla="*/ 11943 h 15246"/>
                <a:gd name="connsiteX4" fmla="*/ 11691 w 19569"/>
                <a:gd name="connsiteY4" fmla="*/ 11943 h 15246"/>
                <a:gd name="connsiteX5" fmla="*/ 1 w 19569"/>
                <a:gd name="connsiteY5" fmla="*/ 0 h 15246"/>
                <a:gd name="connsiteX6" fmla="*/ 1 w 19569"/>
                <a:gd name="connsiteY6" fmla="*/ 0 h 15246"/>
                <a:gd name="connsiteX7" fmla="*/ 1 w 19569"/>
                <a:gd name="connsiteY7" fmla="*/ 3176 h 15246"/>
                <a:gd name="connsiteX8" fmla="*/ 890 w 19569"/>
                <a:gd name="connsiteY8" fmla="*/ 5718 h 1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9" h="15246">
                  <a:moveTo>
                    <a:pt x="890" y="5718"/>
                  </a:moveTo>
                  <a:cubicBezTo>
                    <a:pt x="814" y="6353"/>
                    <a:pt x="814" y="6988"/>
                    <a:pt x="890" y="7623"/>
                  </a:cubicBezTo>
                  <a:cubicBezTo>
                    <a:pt x="2542" y="12172"/>
                    <a:pt x="6850" y="15221"/>
                    <a:pt x="11691" y="15247"/>
                  </a:cubicBezTo>
                  <a:cubicBezTo>
                    <a:pt x="14652" y="15234"/>
                    <a:pt x="17486" y="14040"/>
                    <a:pt x="19570" y="11943"/>
                  </a:cubicBezTo>
                  <a:lnTo>
                    <a:pt x="11691" y="11943"/>
                  </a:lnTo>
                  <a:cubicBezTo>
                    <a:pt x="5160" y="11880"/>
                    <a:pt x="-75" y="6531"/>
                    <a:pt x="1" y="0"/>
                  </a:cubicBezTo>
                  <a:cubicBezTo>
                    <a:pt x="1" y="0"/>
                    <a:pt x="1" y="0"/>
                    <a:pt x="1" y="0"/>
                  </a:cubicBezTo>
                  <a:lnTo>
                    <a:pt x="1" y="3176"/>
                  </a:lnTo>
                  <a:cubicBezTo>
                    <a:pt x="153" y="4066"/>
                    <a:pt x="458" y="4930"/>
                    <a:pt x="890" y="5718"/>
                  </a:cubicBezTo>
                  <a:close/>
                </a:path>
              </a:pathLst>
            </a:custGeom>
            <a:solidFill>
              <a:srgbClr val="000000"/>
            </a:solidFill>
            <a:ln w="12704"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00429D1C-E482-47B4-A1A5-D9A58545A6A3}"/>
                </a:ext>
              </a:extLst>
            </p:cNvPr>
            <p:cNvSpPr/>
            <p:nvPr/>
          </p:nvSpPr>
          <p:spPr>
            <a:xfrm>
              <a:off x="6806487" y="3290694"/>
              <a:ext cx="23638" cy="14230"/>
            </a:xfrm>
            <a:custGeom>
              <a:avLst/>
              <a:gdLst>
                <a:gd name="connsiteX0" fmla="*/ 829 w 23638"/>
                <a:gd name="connsiteY0" fmla="*/ 3431 h 14230"/>
                <a:gd name="connsiteX1" fmla="*/ 1973 w 23638"/>
                <a:gd name="connsiteY1" fmla="*/ 7623 h 14230"/>
                <a:gd name="connsiteX2" fmla="*/ 5912 w 23638"/>
                <a:gd name="connsiteY2" fmla="*/ 11943 h 14230"/>
                <a:gd name="connsiteX3" fmla="*/ 12265 w 23638"/>
                <a:gd name="connsiteY3" fmla="*/ 14230 h 14230"/>
                <a:gd name="connsiteX4" fmla="*/ 22558 w 23638"/>
                <a:gd name="connsiteY4" fmla="*/ 7623 h 14230"/>
                <a:gd name="connsiteX5" fmla="*/ 23574 w 23638"/>
                <a:gd name="connsiteY5" fmla="*/ 4320 h 14230"/>
                <a:gd name="connsiteX6" fmla="*/ 23574 w 23638"/>
                <a:gd name="connsiteY6" fmla="*/ 2160 h 14230"/>
                <a:gd name="connsiteX7" fmla="*/ 23574 w 23638"/>
                <a:gd name="connsiteY7" fmla="*/ 0 h 14230"/>
                <a:gd name="connsiteX8" fmla="*/ 23574 w 23638"/>
                <a:gd name="connsiteY8" fmla="*/ 0 h 14230"/>
                <a:gd name="connsiteX9" fmla="*/ 13041 w 23638"/>
                <a:gd name="connsiteY9" fmla="*/ 12973 h 14230"/>
                <a:gd name="connsiteX10" fmla="*/ 67 w 23638"/>
                <a:gd name="connsiteY10" fmla="*/ 2452 h 14230"/>
                <a:gd name="connsiteX11" fmla="*/ 67 w 23638"/>
                <a:gd name="connsiteY11" fmla="*/ 0 h 14230"/>
                <a:gd name="connsiteX12" fmla="*/ 67 w 23638"/>
                <a:gd name="connsiteY12" fmla="*/ 2160 h 14230"/>
                <a:gd name="connsiteX13" fmla="*/ 829 w 23638"/>
                <a:gd name="connsiteY13" fmla="*/ 3431 h 1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14230">
                  <a:moveTo>
                    <a:pt x="829" y="3431"/>
                  </a:moveTo>
                  <a:cubicBezTo>
                    <a:pt x="944" y="4892"/>
                    <a:pt x="1325" y="6315"/>
                    <a:pt x="1973" y="7623"/>
                  </a:cubicBezTo>
                  <a:cubicBezTo>
                    <a:pt x="2938" y="9351"/>
                    <a:pt x="4286" y="10825"/>
                    <a:pt x="5912" y="11943"/>
                  </a:cubicBezTo>
                  <a:cubicBezTo>
                    <a:pt x="7742" y="13354"/>
                    <a:pt x="9965" y="14154"/>
                    <a:pt x="12265" y="14230"/>
                  </a:cubicBezTo>
                  <a:cubicBezTo>
                    <a:pt x="16675" y="14167"/>
                    <a:pt x="20664" y="11613"/>
                    <a:pt x="22558" y="7623"/>
                  </a:cubicBezTo>
                  <a:cubicBezTo>
                    <a:pt x="23092" y="6594"/>
                    <a:pt x="23435" y="5476"/>
                    <a:pt x="23574" y="4320"/>
                  </a:cubicBezTo>
                  <a:cubicBezTo>
                    <a:pt x="23638" y="3596"/>
                    <a:pt x="23638" y="2884"/>
                    <a:pt x="23574" y="2160"/>
                  </a:cubicBezTo>
                  <a:lnTo>
                    <a:pt x="23574" y="0"/>
                  </a:lnTo>
                  <a:lnTo>
                    <a:pt x="23574" y="0"/>
                  </a:lnTo>
                  <a:cubicBezTo>
                    <a:pt x="24248" y="6493"/>
                    <a:pt x="19534" y="12299"/>
                    <a:pt x="13041" y="12973"/>
                  </a:cubicBezTo>
                  <a:cubicBezTo>
                    <a:pt x="6547" y="13646"/>
                    <a:pt x="740" y="8932"/>
                    <a:pt x="67" y="2452"/>
                  </a:cubicBezTo>
                  <a:cubicBezTo>
                    <a:pt x="-22" y="1639"/>
                    <a:pt x="-22" y="813"/>
                    <a:pt x="67" y="0"/>
                  </a:cubicBezTo>
                  <a:lnTo>
                    <a:pt x="67" y="2160"/>
                  </a:lnTo>
                  <a:cubicBezTo>
                    <a:pt x="244" y="2617"/>
                    <a:pt x="511" y="3049"/>
                    <a:pt x="829" y="3431"/>
                  </a:cubicBezTo>
                  <a:close/>
                </a:path>
              </a:pathLst>
            </a:custGeom>
            <a:solidFill>
              <a:srgbClr val="000000"/>
            </a:solidFill>
            <a:ln w="12704"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F3583E5C-B0CF-4C35-A396-62DA248F8DF6}"/>
                </a:ext>
              </a:extLst>
            </p:cNvPr>
            <p:cNvSpPr/>
            <p:nvPr/>
          </p:nvSpPr>
          <p:spPr>
            <a:xfrm>
              <a:off x="8002275" y="4742570"/>
              <a:ext cx="23380" cy="129089"/>
            </a:xfrm>
            <a:custGeom>
              <a:avLst/>
              <a:gdLst>
                <a:gd name="connsiteX0" fmla="*/ 0 w 23380"/>
                <a:gd name="connsiteY0" fmla="*/ 117400 h 129089"/>
                <a:gd name="connsiteX1" fmla="*/ 11691 w 23380"/>
                <a:gd name="connsiteY1" fmla="*/ 129090 h 129089"/>
                <a:gd name="connsiteX2" fmla="*/ 23381 w 23380"/>
                <a:gd name="connsiteY2" fmla="*/ 117400 h 129089"/>
                <a:gd name="connsiteX3" fmla="*/ 23381 w 23380"/>
                <a:gd name="connsiteY3" fmla="*/ 0 h 129089"/>
                <a:gd name="connsiteX4" fmla="*/ 11691 w 23380"/>
                <a:gd name="connsiteY4" fmla="*/ 11689 h 129089"/>
                <a:gd name="connsiteX5" fmla="*/ 0 w 23380"/>
                <a:gd name="connsiteY5" fmla="*/ 0 h 129089"/>
                <a:gd name="connsiteX6" fmla="*/ 0 w 23380"/>
                <a:gd name="connsiteY6" fmla="*/ 117019 h 12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0" h="129089">
                  <a:moveTo>
                    <a:pt x="0" y="117400"/>
                  </a:moveTo>
                  <a:cubicBezTo>
                    <a:pt x="0" y="123855"/>
                    <a:pt x="5235" y="129090"/>
                    <a:pt x="11691" y="129090"/>
                  </a:cubicBezTo>
                  <a:cubicBezTo>
                    <a:pt x="18146" y="129090"/>
                    <a:pt x="23381" y="123855"/>
                    <a:pt x="23381" y="117400"/>
                  </a:cubicBezTo>
                  <a:lnTo>
                    <a:pt x="23381" y="0"/>
                  </a:lnTo>
                  <a:cubicBezTo>
                    <a:pt x="23381" y="6454"/>
                    <a:pt x="18146" y="11689"/>
                    <a:pt x="11691" y="11689"/>
                  </a:cubicBezTo>
                  <a:cubicBezTo>
                    <a:pt x="5235" y="11689"/>
                    <a:pt x="0" y="6454"/>
                    <a:pt x="0" y="0"/>
                  </a:cubicBezTo>
                  <a:lnTo>
                    <a:pt x="0" y="117019"/>
                  </a:lnTo>
                  <a:close/>
                </a:path>
              </a:pathLst>
            </a:custGeom>
            <a:solidFill>
              <a:srgbClr val="000000"/>
            </a:solidFill>
            <a:ln w="12704"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34302E7B-481B-40EB-AFEA-C5F9537B09EF}"/>
                </a:ext>
              </a:extLst>
            </p:cNvPr>
            <p:cNvSpPr/>
            <p:nvPr/>
          </p:nvSpPr>
          <p:spPr>
            <a:xfrm>
              <a:off x="11922106" y="4578158"/>
              <a:ext cx="26176" cy="24014"/>
            </a:xfrm>
            <a:custGeom>
              <a:avLst/>
              <a:gdLst>
                <a:gd name="connsiteX0" fmla="*/ 15884 w 26176"/>
                <a:gd name="connsiteY0" fmla="*/ 23379 h 24014"/>
                <a:gd name="connsiteX1" fmla="*/ 22619 w 26176"/>
                <a:gd name="connsiteY1" fmla="*/ 20965 h 24014"/>
                <a:gd name="connsiteX2" fmla="*/ 26176 w 26176"/>
                <a:gd name="connsiteY2" fmla="*/ 16772 h 24014"/>
                <a:gd name="connsiteX3" fmla="*/ 23889 w 26176"/>
                <a:gd name="connsiteY3" fmla="*/ 10038 h 24014"/>
                <a:gd name="connsiteX4" fmla="*/ 23889 w 26176"/>
                <a:gd name="connsiteY4" fmla="*/ 2669 h 24014"/>
                <a:gd name="connsiteX5" fmla="*/ 21602 w 26176"/>
                <a:gd name="connsiteY5" fmla="*/ 1017 h 24014"/>
                <a:gd name="connsiteX6" fmla="*/ 19442 w 26176"/>
                <a:gd name="connsiteY6" fmla="*/ 1 h 24014"/>
                <a:gd name="connsiteX7" fmla="*/ 17154 w 26176"/>
                <a:gd name="connsiteY7" fmla="*/ 1 h 24014"/>
                <a:gd name="connsiteX8" fmla="*/ 15884 w 26176"/>
                <a:gd name="connsiteY8" fmla="*/ 1 h 24014"/>
                <a:gd name="connsiteX9" fmla="*/ 0 w 26176"/>
                <a:gd name="connsiteY9" fmla="*/ 1 h 24014"/>
                <a:gd name="connsiteX10" fmla="*/ 12059 w 26176"/>
                <a:gd name="connsiteY10" fmla="*/ 11830 h 24014"/>
                <a:gd name="connsiteX11" fmla="*/ 3558 w 26176"/>
                <a:gd name="connsiteY11" fmla="*/ 23379 h 24014"/>
                <a:gd name="connsiteX12" fmla="*/ 4956 w 26176"/>
                <a:gd name="connsiteY12" fmla="*/ 24014 h 24014"/>
                <a:gd name="connsiteX13" fmla="*/ 16138 w 26176"/>
                <a:gd name="connsiteY13" fmla="*/ 2401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76" h="24014">
                  <a:moveTo>
                    <a:pt x="15884" y="23379"/>
                  </a:moveTo>
                  <a:cubicBezTo>
                    <a:pt x="18324" y="23303"/>
                    <a:pt x="20687" y="22451"/>
                    <a:pt x="22619" y="20965"/>
                  </a:cubicBezTo>
                  <a:cubicBezTo>
                    <a:pt x="24067" y="19809"/>
                    <a:pt x="25274" y="18386"/>
                    <a:pt x="26176" y="16772"/>
                  </a:cubicBezTo>
                  <a:cubicBezTo>
                    <a:pt x="24791" y="14790"/>
                    <a:pt x="23991" y="12452"/>
                    <a:pt x="23889" y="10038"/>
                  </a:cubicBezTo>
                  <a:lnTo>
                    <a:pt x="23889" y="2669"/>
                  </a:lnTo>
                  <a:cubicBezTo>
                    <a:pt x="23216" y="2008"/>
                    <a:pt x="22440" y="1449"/>
                    <a:pt x="21602" y="1017"/>
                  </a:cubicBezTo>
                  <a:lnTo>
                    <a:pt x="19442" y="1"/>
                  </a:lnTo>
                  <a:lnTo>
                    <a:pt x="17154" y="1"/>
                  </a:lnTo>
                  <a:lnTo>
                    <a:pt x="15884" y="1"/>
                  </a:lnTo>
                  <a:lnTo>
                    <a:pt x="0" y="1"/>
                  </a:lnTo>
                  <a:cubicBezTo>
                    <a:pt x="6595" y="-63"/>
                    <a:pt x="11995" y="5235"/>
                    <a:pt x="12059" y="11830"/>
                  </a:cubicBezTo>
                  <a:cubicBezTo>
                    <a:pt x="12110" y="17140"/>
                    <a:pt x="8641" y="21842"/>
                    <a:pt x="3558" y="23379"/>
                  </a:cubicBezTo>
                  <a:cubicBezTo>
                    <a:pt x="3558" y="23379"/>
                    <a:pt x="4447" y="23379"/>
                    <a:pt x="4956" y="24014"/>
                  </a:cubicBezTo>
                  <a:lnTo>
                    <a:pt x="16138" y="24014"/>
                  </a:lnTo>
                  <a:close/>
                </a:path>
              </a:pathLst>
            </a:custGeom>
            <a:solidFill>
              <a:srgbClr val="000000"/>
            </a:solidFill>
            <a:ln w="12704"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D037CD6D-FB38-4C40-B12D-AF3F12247087}"/>
                </a:ext>
              </a:extLst>
            </p:cNvPr>
            <p:cNvSpPr/>
            <p:nvPr/>
          </p:nvSpPr>
          <p:spPr>
            <a:xfrm>
              <a:off x="11210423" y="4577396"/>
              <a:ext cx="99209" cy="24013"/>
            </a:xfrm>
            <a:custGeom>
              <a:avLst/>
              <a:gdLst>
                <a:gd name="connsiteX0" fmla="*/ 98701 w 99209"/>
                <a:gd name="connsiteY0" fmla="*/ 24014 h 24013"/>
                <a:gd name="connsiteX1" fmla="*/ 87925 w 99209"/>
                <a:gd name="connsiteY1" fmla="*/ 10774 h 24013"/>
                <a:gd name="connsiteX2" fmla="*/ 98701 w 99209"/>
                <a:gd name="connsiteY2" fmla="*/ 0 h 24013"/>
                <a:gd name="connsiteX3" fmla="*/ 11150 w 99209"/>
                <a:gd name="connsiteY3" fmla="*/ 0 h 24013"/>
                <a:gd name="connsiteX4" fmla="*/ 95 w 99209"/>
                <a:gd name="connsiteY4" fmla="*/ 8640 h 24013"/>
                <a:gd name="connsiteX5" fmla="*/ 95 w 99209"/>
                <a:gd name="connsiteY5" fmla="*/ 12071 h 24013"/>
                <a:gd name="connsiteX6" fmla="*/ 95 w 99209"/>
                <a:gd name="connsiteY6" fmla="*/ 12833 h 24013"/>
                <a:gd name="connsiteX7" fmla="*/ 11658 w 99209"/>
                <a:gd name="connsiteY7" fmla="*/ 24014 h 24013"/>
                <a:gd name="connsiteX8" fmla="*/ 99209 w 99209"/>
                <a:gd name="connsiteY8"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09" h="24013">
                  <a:moveTo>
                    <a:pt x="98701" y="24014"/>
                  </a:moveTo>
                  <a:cubicBezTo>
                    <a:pt x="92068" y="23328"/>
                    <a:pt x="87252" y="17407"/>
                    <a:pt x="87925" y="10774"/>
                  </a:cubicBezTo>
                  <a:cubicBezTo>
                    <a:pt x="88510" y="5082"/>
                    <a:pt x="93009" y="584"/>
                    <a:pt x="98701" y="0"/>
                  </a:cubicBezTo>
                  <a:lnTo>
                    <a:pt x="11150" y="0"/>
                  </a:lnTo>
                  <a:cubicBezTo>
                    <a:pt x="5966" y="140"/>
                    <a:pt x="1481" y="3646"/>
                    <a:pt x="95" y="8640"/>
                  </a:cubicBezTo>
                  <a:cubicBezTo>
                    <a:pt x="-32" y="9783"/>
                    <a:pt x="-32" y="10927"/>
                    <a:pt x="95" y="12071"/>
                  </a:cubicBezTo>
                  <a:cubicBezTo>
                    <a:pt x="95" y="12071"/>
                    <a:pt x="95" y="12071"/>
                    <a:pt x="95" y="12833"/>
                  </a:cubicBezTo>
                  <a:cubicBezTo>
                    <a:pt x="426" y="19008"/>
                    <a:pt x="5470" y="23887"/>
                    <a:pt x="11658" y="24014"/>
                  </a:cubicBezTo>
                  <a:lnTo>
                    <a:pt x="99209" y="24014"/>
                  </a:lnTo>
                  <a:close/>
                </a:path>
              </a:pathLst>
            </a:custGeom>
            <a:solidFill>
              <a:srgbClr val="000000"/>
            </a:solidFill>
            <a:ln w="12704"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E143B1D6-DC25-44E3-A1BE-BA8A0DAA7101}"/>
                </a:ext>
              </a:extLst>
            </p:cNvPr>
            <p:cNvSpPr/>
            <p:nvPr/>
          </p:nvSpPr>
          <p:spPr>
            <a:xfrm>
              <a:off x="11909860" y="4600902"/>
              <a:ext cx="35118" cy="32780"/>
            </a:xfrm>
            <a:custGeom>
              <a:avLst/>
              <a:gdLst>
                <a:gd name="connsiteX0" fmla="*/ 18727 w 35118"/>
                <a:gd name="connsiteY0" fmla="*/ 16644 h 32780"/>
                <a:gd name="connsiteX1" fmla="*/ 34852 w 35118"/>
                <a:gd name="connsiteY1" fmla="*/ 13900 h 32780"/>
                <a:gd name="connsiteX2" fmla="*/ 35119 w 35118"/>
                <a:gd name="connsiteY2" fmla="*/ 14103 h 32780"/>
                <a:gd name="connsiteX3" fmla="*/ 19362 w 35118"/>
                <a:gd name="connsiteY3" fmla="*/ 2287 h 32780"/>
                <a:gd name="connsiteX4" fmla="*/ 17075 w 35118"/>
                <a:gd name="connsiteY4" fmla="*/ 635 h 32780"/>
                <a:gd name="connsiteX5" fmla="*/ 17075 w 35118"/>
                <a:gd name="connsiteY5" fmla="*/ 635 h 32780"/>
                <a:gd name="connsiteX6" fmla="*/ 15678 w 35118"/>
                <a:gd name="connsiteY6" fmla="*/ 0 h 32780"/>
                <a:gd name="connsiteX7" fmla="*/ 12119 w 35118"/>
                <a:gd name="connsiteY7" fmla="*/ 762 h 32780"/>
                <a:gd name="connsiteX8" fmla="*/ 3352 w 35118"/>
                <a:gd name="connsiteY8" fmla="*/ 762 h 32780"/>
                <a:gd name="connsiteX9" fmla="*/ 3352 w 35118"/>
                <a:gd name="connsiteY9" fmla="*/ 762 h 32780"/>
                <a:gd name="connsiteX10" fmla="*/ 1572 w 35118"/>
                <a:gd name="connsiteY10" fmla="*/ 2287 h 32780"/>
                <a:gd name="connsiteX11" fmla="*/ 1572 w 35118"/>
                <a:gd name="connsiteY11" fmla="*/ 2287 h 32780"/>
                <a:gd name="connsiteX12" fmla="*/ 937 w 35118"/>
                <a:gd name="connsiteY12" fmla="*/ 3558 h 32780"/>
                <a:gd name="connsiteX13" fmla="*/ 48 w 35118"/>
                <a:gd name="connsiteY13" fmla="*/ 5717 h 32780"/>
                <a:gd name="connsiteX14" fmla="*/ 48 w 35118"/>
                <a:gd name="connsiteY14" fmla="*/ 7242 h 32780"/>
                <a:gd name="connsiteX15" fmla="*/ 48 w 35118"/>
                <a:gd name="connsiteY15" fmla="*/ 8131 h 32780"/>
                <a:gd name="connsiteX16" fmla="*/ 48 w 35118"/>
                <a:gd name="connsiteY16" fmla="*/ 10292 h 32780"/>
                <a:gd name="connsiteX17" fmla="*/ 48 w 35118"/>
                <a:gd name="connsiteY17" fmla="*/ 11562 h 32780"/>
                <a:gd name="connsiteX18" fmla="*/ 48 w 35118"/>
                <a:gd name="connsiteY18" fmla="*/ 12706 h 32780"/>
                <a:gd name="connsiteX19" fmla="*/ 810 w 35118"/>
                <a:gd name="connsiteY19" fmla="*/ 14739 h 32780"/>
                <a:gd name="connsiteX20" fmla="*/ 1954 w 35118"/>
                <a:gd name="connsiteY20" fmla="*/ 16644 h 32780"/>
                <a:gd name="connsiteX21" fmla="*/ 3606 w 35118"/>
                <a:gd name="connsiteY21" fmla="*/ 18423 h 32780"/>
                <a:gd name="connsiteX22" fmla="*/ 3606 w 35118"/>
                <a:gd name="connsiteY22" fmla="*/ 19058 h 32780"/>
                <a:gd name="connsiteX23" fmla="*/ 21650 w 35118"/>
                <a:gd name="connsiteY23" fmla="*/ 32780 h 32780"/>
                <a:gd name="connsiteX24" fmla="*/ 18727 w 35118"/>
                <a:gd name="connsiteY24" fmla="*/ 16644 h 3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118" h="32780">
                  <a:moveTo>
                    <a:pt x="18727" y="16644"/>
                  </a:moveTo>
                  <a:cubicBezTo>
                    <a:pt x="22425" y="11435"/>
                    <a:pt x="29643" y="10215"/>
                    <a:pt x="34852" y="13900"/>
                  </a:cubicBezTo>
                  <a:cubicBezTo>
                    <a:pt x="34941" y="13976"/>
                    <a:pt x="35031" y="14040"/>
                    <a:pt x="35119" y="14103"/>
                  </a:cubicBezTo>
                  <a:lnTo>
                    <a:pt x="19362" y="2287"/>
                  </a:lnTo>
                  <a:lnTo>
                    <a:pt x="17075" y="635"/>
                  </a:lnTo>
                  <a:lnTo>
                    <a:pt x="17075" y="635"/>
                  </a:lnTo>
                  <a:cubicBezTo>
                    <a:pt x="17075" y="635"/>
                    <a:pt x="16059" y="635"/>
                    <a:pt x="15678" y="0"/>
                  </a:cubicBezTo>
                  <a:cubicBezTo>
                    <a:pt x="14547" y="445"/>
                    <a:pt x="13339" y="699"/>
                    <a:pt x="12119" y="762"/>
                  </a:cubicBezTo>
                  <a:lnTo>
                    <a:pt x="3352" y="762"/>
                  </a:lnTo>
                  <a:lnTo>
                    <a:pt x="3352" y="762"/>
                  </a:lnTo>
                  <a:lnTo>
                    <a:pt x="1572" y="2287"/>
                  </a:lnTo>
                  <a:lnTo>
                    <a:pt x="1572" y="2287"/>
                  </a:lnTo>
                  <a:cubicBezTo>
                    <a:pt x="1572" y="2287"/>
                    <a:pt x="1572" y="3176"/>
                    <a:pt x="937" y="3558"/>
                  </a:cubicBezTo>
                  <a:cubicBezTo>
                    <a:pt x="569" y="4243"/>
                    <a:pt x="264" y="4968"/>
                    <a:pt x="48" y="5717"/>
                  </a:cubicBezTo>
                  <a:cubicBezTo>
                    <a:pt x="-3" y="6226"/>
                    <a:pt x="-3" y="6734"/>
                    <a:pt x="48" y="7242"/>
                  </a:cubicBezTo>
                  <a:lnTo>
                    <a:pt x="48" y="8131"/>
                  </a:lnTo>
                  <a:cubicBezTo>
                    <a:pt x="-16" y="8856"/>
                    <a:pt x="-16" y="9567"/>
                    <a:pt x="48" y="10292"/>
                  </a:cubicBezTo>
                  <a:cubicBezTo>
                    <a:pt x="-16" y="10711"/>
                    <a:pt x="-16" y="11143"/>
                    <a:pt x="48" y="11562"/>
                  </a:cubicBezTo>
                  <a:cubicBezTo>
                    <a:pt x="-3" y="11943"/>
                    <a:pt x="-3" y="12325"/>
                    <a:pt x="48" y="12706"/>
                  </a:cubicBezTo>
                  <a:cubicBezTo>
                    <a:pt x="226" y="13404"/>
                    <a:pt x="480" y="14091"/>
                    <a:pt x="810" y="14739"/>
                  </a:cubicBezTo>
                  <a:cubicBezTo>
                    <a:pt x="1116" y="15412"/>
                    <a:pt x="1496" y="16060"/>
                    <a:pt x="1954" y="16644"/>
                  </a:cubicBezTo>
                  <a:cubicBezTo>
                    <a:pt x="2437" y="17292"/>
                    <a:pt x="2996" y="17889"/>
                    <a:pt x="3606" y="18423"/>
                  </a:cubicBezTo>
                  <a:lnTo>
                    <a:pt x="3606" y="19058"/>
                  </a:lnTo>
                  <a:lnTo>
                    <a:pt x="21650" y="32780"/>
                  </a:lnTo>
                  <a:cubicBezTo>
                    <a:pt x="16872" y="28829"/>
                    <a:pt x="15640" y="22019"/>
                    <a:pt x="18727" y="16644"/>
                  </a:cubicBezTo>
                  <a:close/>
                </a:path>
              </a:pathLst>
            </a:custGeom>
            <a:solidFill>
              <a:srgbClr val="000000"/>
            </a:solidFill>
            <a:ln w="12704"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2E760D5A-65EB-4F39-B017-F3028028DA12}"/>
                </a:ext>
              </a:extLst>
            </p:cNvPr>
            <p:cNvSpPr/>
            <p:nvPr/>
          </p:nvSpPr>
          <p:spPr>
            <a:xfrm>
              <a:off x="7985501" y="3290948"/>
              <a:ext cx="16773" cy="15119"/>
            </a:xfrm>
            <a:custGeom>
              <a:avLst/>
              <a:gdLst>
                <a:gd name="connsiteX0" fmla="*/ 16774 w 16773"/>
                <a:gd name="connsiteY0" fmla="*/ 13468 h 15119"/>
                <a:gd name="connsiteX1" fmla="*/ 16774 w 16773"/>
                <a:gd name="connsiteY1" fmla="*/ 10673 h 15119"/>
                <a:gd name="connsiteX2" fmla="*/ 11691 w 16773"/>
                <a:gd name="connsiteY2" fmla="*/ 11943 h 15119"/>
                <a:gd name="connsiteX3" fmla="*/ 1 w 16773"/>
                <a:gd name="connsiteY3" fmla="*/ 0 h 15119"/>
                <a:gd name="connsiteX4" fmla="*/ 1 w 16773"/>
                <a:gd name="connsiteY4" fmla="*/ 0 h 15119"/>
                <a:gd name="connsiteX5" fmla="*/ 1 w 16773"/>
                <a:gd name="connsiteY5" fmla="*/ 3176 h 15119"/>
                <a:gd name="connsiteX6" fmla="*/ 4575 w 16773"/>
                <a:gd name="connsiteY6" fmla="*/ 12451 h 15119"/>
                <a:gd name="connsiteX7" fmla="*/ 11691 w 16773"/>
                <a:gd name="connsiteY7" fmla="*/ 15120 h 15119"/>
                <a:gd name="connsiteX8" fmla="*/ 16774 w 16773"/>
                <a:gd name="connsiteY8" fmla="*/ 13468 h 1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73" h="15119">
                  <a:moveTo>
                    <a:pt x="16774" y="13468"/>
                  </a:moveTo>
                  <a:lnTo>
                    <a:pt x="16774" y="10673"/>
                  </a:lnTo>
                  <a:cubicBezTo>
                    <a:pt x="15185" y="11448"/>
                    <a:pt x="13457" y="11880"/>
                    <a:pt x="11691" y="11943"/>
                  </a:cubicBezTo>
                  <a:cubicBezTo>
                    <a:pt x="5160" y="11880"/>
                    <a:pt x="-76" y="6531"/>
                    <a:pt x="1" y="0"/>
                  </a:cubicBezTo>
                  <a:cubicBezTo>
                    <a:pt x="1" y="0"/>
                    <a:pt x="1" y="0"/>
                    <a:pt x="1" y="0"/>
                  </a:cubicBezTo>
                  <a:lnTo>
                    <a:pt x="1" y="3176"/>
                  </a:lnTo>
                  <a:cubicBezTo>
                    <a:pt x="-25" y="6810"/>
                    <a:pt x="1678" y="10254"/>
                    <a:pt x="4575" y="12451"/>
                  </a:cubicBezTo>
                  <a:cubicBezTo>
                    <a:pt x="6557" y="14141"/>
                    <a:pt x="9086" y="15094"/>
                    <a:pt x="11691" y="15120"/>
                  </a:cubicBezTo>
                  <a:cubicBezTo>
                    <a:pt x="13470" y="14904"/>
                    <a:pt x="15198" y="14332"/>
                    <a:pt x="16774" y="13468"/>
                  </a:cubicBezTo>
                  <a:close/>
                </a:path>
              </a:pathLst>
            </a:custGeom>
            <a:solidFill>
              <a:srgbClr val="000000"/>
            </a:solidFill>
            <a:ln w="12704"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FEE1D33E-8630-416D-8038-BCB1F6BD53EA}"/>
                </a:ext>
              </a:extLst>
            </p:cNvPr>
            <p:cNvSpPr/>
            <p:nvPr/>
          </p:nvSpPr>
          <p:spPr>
            <a:xfrm>
              <a:off x="8057169" y="3265028"/>
              <a:ext cx="24524" cy="24014"/>
            </a:xfrm>
            <a:custGeom>
              <a:avLst/>
              <a:gdLst>
                <a:gd name="connsiteX0" fmla="*/ 0 w 24524"/>
                <a:gd name="connsiteY0" fmla="*/ 11944 h 24014"/>
                <a:gd name="connsiteX1" fmla="*/ 0 w 24524"/>
                <a:gd name="connsiteY1" fmla="*/ 11944 h 24014"/>
                <a:gd name="connsiteX2" fmla="*/ 762 w 24524"/>
                <a:gd name="connsiteY2" fmla="*/ 15883 h 24014"/>
                <a:gd name="connsiteX3" fmla="*/ 11817 w 24524"/>
                <a:gd name="connsiteY3" fmla="*/ 24015 h 24014"/>
                <a:gd name="connsiteX4" fmla="*/ 24524 w 24524"/>
                <a:gd name="connsiteY4" fmla="*/ 24015 h 24014"/>
                <a:gd name="connsiteX5" fmla="*/ 13749 w 24524"/>
                <a:gd name="connsiteY5" fmla="*/ 10775 h 24014"/>
                <a:gd name="connsiteX6" fmla="*/ 24524 w 24524"/>
                <a:gd name="connsiteY6" fmla="*/ 1 h 24014"/>
                <a:gd name="connsiteX7" fmla="*/ 11817 w 24524"/>
                <a:gd name="connsiteY7" fmla="*/ 1 h 24014"/>
                <a:gd name="connsiteX8" fmla="*/ 0 w 24524"/>
                <a:gd name="connsiteY8" fmla="*/ 11563 h 24014"/>
                <a:gd name="connsiteX9" fmla="*/ 0 w 24524"/>
                <a:gd name="connsiteY9" fmla="*/ 1194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24" h="24014">
                  <a:moveTo>
                    <a:pt x="0" y="11944"/>
                  </a:moveTo>
                  <a:cubicBezTo>
                    <a:pt x="0" y="11944"/>
                    <a:pt x="0" y="11944"/>
                    <a:pt x="0" y="11944"/>
                  </a:cubicBezTo>
                  <a:cubicBezTo>
                    <a:pt x="64" y="13291"/>
                    <a:pt x="318" y="14612"/>
                    <a:pt x="762" y="15883"/>
                  </a:cubicBezTo>
                  <a:cubicBezTo>
                    <a:pt x="2338" y="20673"/>
                    <a:pt x="6773" y="23938"/>
                    <a:pt x="11817" y="24015"/>
                  </a:cubicBezTo>
                  <a:lnTo>
                    <a:pt x="24524" y="24015"/>
                  </a:lnTo>
                  <a:cubicBezTo>
                    <a:pt x="17891" y="23328"/>
                    <a:pt x="13075" y="17408"/>
                    <a:pt x="13749" y="10775"/>
                  </a:cubicBezTo>
                  <a:cubicBezTo>
                    <a:pt x="14333" y="5083"/>
                    <a:pt x="18832" y="585"/>
                    <a:pt x="24524" y="1"/>
                  </a:cubicBezTo>
                  <a:lnTo>
                    <a:pt x="11817" y="1"/>
                  </a:lnTo>
                  <a:cubicBezTo>
                    <a:pt x="5362" y="-76"/>
                    <a:pt x="64" y="5108"/>
                    <a:pt x="0" y="11563"/>
                  </a:cubicBezTo>
                  <a:cubicBezTo>
                    <a:pt x="0" y="11690"/>
                    <a:pt x="0" y="11817"/>
                    <a:pt x="0" y="11944"/>
                  </a:cubicBezTo>
                  <a:close/>
                </a:path>
              </a:pathLst>
            </a:custGeom>
            <a:solidFill>
              <a:srgbClr val="000000"/>
            </a:solidFill>
            <a:ln w="12704"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54250CCB-8B4D-46DF-8DC9-36A41DCD9DE2}"/>
                </a:ext>
              </a:extLst>
            </p:cNvPr>
            <p:cNvSpPr/>
            <p:nvPr/>
          </p:nvSpPr>
          <p:spPr>
            <a:xfrm>
              <a:off x="8070474" y="3265410"/>
              <a:ext cx="539573" cy="24013"/>
            </a:xfrm>
            <a:custGeom>
              <a:avLst/>
              <a:gdLst>
                <a:gd name="connsiteX0" fmla="*/ 539573 w 539573"/>
                <a:gd name="connsiteY0" fmla="*/ 13722 h 24013"/>
                <a:gd name="connsiteX1" fmla="*/ 539573 w 539573"/>
                <a:gd name="connsiteY1" fmla="*/ 0 h 24013"/>
                <a:gd name="connsiteX2" fmla="*/ 10838 w 539573"/>
                <a:gd name="connsiteY2" fmla="*/ 0 h 24013"/>
                <a:gd name="connsiteX3" fmla="*/ 63 w 539573"/>
                <a:gd name="connsiteY3" fmla="*/ 13239 h 24013"/>
                <a:gd name="connsiteX4" fmla="*/ 10838 w 539573"/>
                <a:gd name="connsiteY4" fmla="*/ 24014 h 24013"/>
                <a:gd name="connsiteX5" fmla="*/ 539573 w 539573"/>
                <a:gd name="connsiteY5" fmla="*/ 24014 h 24013"/>
                <a:gd name="connsiteX6" fmla="*/ 539573 w 539573"/>
                <a:gd name="connsiteY6" fmla="*/ 13722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573" h="24013">
                  <a:moveTo>
                    <a:pt x="539573" y="13722"/>
                  </a:moveTo>
                  <a:lnTo>
                    <a:pt x="539573" y="0"/>
                  </a:lnTo>
                  <a:lnTo>
                    <a:pt x="10838" y="0"/>
                  </a:lnTo>
                  <a:cubicBezTo>
                    <a:pt x="4205" y="686"/>
                    <a:pt x="-611" y="6607"/>
                    <a:pt x="63" y="13239"/>
                  </a:cubicBezTo>
                  <a:cubicBezTo>
                    <a:pt x="647" y="18931"/>
                    <a:pt x="5146" y="23429"/>
                    <a:pt x="10838" y="24014"/>
                  </a:cubicBezTo>
                  <a:lnTo>
                    <a:pt x="539573" y="24014"/>
                  </a:lnTo>
                  <a:lnTo>
                    <a:pt x="539573" y="13722"/>
                  </a:lnTo>
                  <a:close/>
                </a:path>
              </a:pathLst>
            </a:custGeom>
            <a:solidFill>
              <a:srgbClr val="000000"/>
            </a:solidFill>
            <a:ln w="12704"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01B95BC4-1879-4373-B578-23A0DBF6670E}"/>
                </a:ext>
              </a:extLst>
            </p:cNvPr>
            <p:cNvSpPr/>
            <p:nvPr/>
          </p:nvSpPr>
          <p:spPr>
            <a:xfrm>
              <a:off x="11212551" y="4671545"/>
              <a:ext cx="177643" cy="212184"/>
            </a:xfrm>
            <a:custGeom>
              <a:avLst/>
              <a:gdLst>
                <a:gd name="connsiteX0" fmla="*/ 16520 w 177643"/>
                <a:gd name="connsiteY0" fmla="*/ 16898 h 212184"/>
                <a:gd name="connsiteX1" fmla="*/ 9022 w 177643"/>
                <a:gd name="connsiteY1" fmla="*/ 19567 h 212184"/>
                <a:gd name="connsiteX2" fmla="*/ 0 w 177643"/>
                <a:gd name="connsiteY2" fmla="*/ 15120 h 212184"/>
                <a:gd name="connsiteX3" fmla="*/ 151085 w 177643"/>
                <a:gd name="connsiteY3" fmla="*/ 205705 h 212184"/>
                <a:gd name="connsiteX4" fmla="*/ 154389 w 177643"/>
                <a:gd name="connsiteY4" fmla="*/ 210025 h 212184"/>
                <a:gd name="connsiteX5" fmla="*/ 156169 w 177643"/>
                <a:gd name="connsiteY5" fmla="*/ 212184 h 212184"/>
                <a:gd name="connsiteX6" fmla="*/ 156169 w 177643"/>
                <a:gd name="connsiteY6" fmla="*/ 207864 h 212184"/>
                <a:gd name="connsiteX7" fmla="*/ 167859 w 177643"/>
                <a:gd name="connsiteY7" fmla="*/ 195794 h 212184"/>
                <a:gd name="connsiteX8" fmla="*/ 177643 w 177643"/>
                <a:gd name="connsiteY8" fmla="*/ 201639 h 212184"/>
                <a:gd name="connsiteX9" fmla="*/ 177643 w 177643"/>
                <a:gd name="connsiteY9" fmla="*/ 200241 h 212184"/>
                <a:gd name="connsiteX10" fmla="*/ 20840 w 177643"/>
                <a:gd name="connsiteY10" fmla="*/ 3304 h 212184"/>
                <a:gd name="connsiteX11" fmla="*/ 18172 w 177643"/>
                <a:gd name="connsiteY11" fmla="*/ 0 h 212184"/>
                <a:gd name="connsiteX12" fmla="*/ 16520 w 177643"/>
                <a:gd name="connsiteY12" fmla="*/ 16898 h 21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643" h="212184">
                  <a:moveTo>
                    <a:pt x="16520" y="16898"/>
                  </a:moveTo>
                  <a:cubicBezTo>
                    <a:pt x="14410" y="18627"/>
                    <a:pt x="11755" y="19567"/>
                    <a:pt x="9022" y="19567"/>
                  </a:cubicBezTo>
                  <a:cubicBezTo>
                    <a:pt x="5489" y="19541"/>
                    <a:pt x="2173" y="17902"/>
                    <a:pt x="0" y="15120"/>
                  </a:cubicBezTo>
                  <a:lnTo>
                    <a:pt x="151085" y="205705"/>
                  </a:lnTo>
                  <a:lnTo>
                    <a:pt x="154389" y="210025"/>
                  </a:lnTo>
                  <a:lnTo>
                    <a:pt x="156169" y="212184"/>
                  </a:lnTo>
                  <a:lnTo>
                    <a:pt x="156169" y="207864"/>
                  </a:lnTo>
                  <a:cubicBezTo>
                    <a:pt x="156092" y="201321"/>
                    <a:pt x="161314" y="195934"/>
                    <a:pt x="167859" y="195794"/>
                  </a:cubicBezTo>
                  <a:cubicBezTo>
                    <a:pt x="171925" y="195858"/>
                    <a:pt x="175648" y="198094"/>
                    <a:pt x="177643" y="201639"/>
                  </a:cubicBezTo>
                  <a:cubicBezTo>
                    <a:pt x="177618" y="201169"/>
                    <a:pt x="177618" y="200711"/>
                    <a:pt x="177643" y="200241"/>
                  </a:cubicBezTo>
                  <a:lnTo>
                    <a:pt x="20840" y="3304"/>
                  </a:lnTo>
                  <a:lnTo>
                    <a:pt x="18172" y="0"/>
                  </a:lnTo>
                  <a:cubicBezTo>
                    <a:pt x="22022" y="5222"/>
                    <a:pt x="21310" y="12515"/>
                    <a:pt x="16520" y="16898"/>
                  </a:cubicBezTo>
                  <a:close/>
                </a:path>
              </a:pathLst>
            </a:custGeom>
            <a:solidFill>
              <a:srgbClr val="000000"/>
            </a:solidFill>
            <a:ln w="12704"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3815914C-C7EB-4EEB-9462-77F5320EBA8E}"/>
                </a:ext>
              </a:extLst>
            </p:cNvPr>
            <p:cNvSpPr/>
            <p:nvPr/>
          </p:nvSpPr>
          <p:spPr>
            <a:xfrm>
              <a:off x="11157858" y="4601066"/>
              <a:ext cx="75339" cy="90046"/>
            </a:xfrm>
            <a:custGeom>
              <a:avLst/>
              <a:gdLst>
                <a:gd name="connsiteX0" fmla="*/ 4247 w 75339"/>
                <a:gd name="connsiteY0" fmla="*/ 3012 h 90046"/>
                <a:gd name="connsiteX1" fmla="*/ 181 w 75339"/>
                <a:gd name="connsiteY1" fmla="*/ 10128 h 90046"/>
                <a:gd name="connsiteX2" fmla="*/ 181 w 75339"/>
                <a:gd name="connsiteY2" fmla="*/ 14447 h 90046"/>
                <a:gd name="connsiteX3" fmla="*/ 2468 w 75339"/>
                <a:gd name="connsiteY3" fmla="*/ 19911 h 90046"/>
                <a:gd name="connsiteX4" fmla="*/ 54693 w 75339"/>
                <a:gd name="connsiteY4" fmla="*/ 85599 h 90046"/>
                <a:gd name="connsiteX5" fmla="*/ 54693 w 75339"/>
                <a:gd name="connsiteY5" fmla="*/ 85599 h 90046"/>
                <a:gd name="connsiteX6" fmla="*/ 63716 w 75339"/>
                <a:gd name="connsiteY6" fmla="*/ 90046 h 90046"/>
                <a:gd name="connsiteX7" fmla="*/ 71213 w 75339"/>
                <a:gd name="connsiteY7" fmla="*/ 87378 h 90046"/>
                <a:gd name="connsiteX8" fmla="*/ 72865 w 75339"/>
                <a:gd name="connsiteY8" fmla="*/ 70479 h 90046"/>
                <a:gd name="connsiteX9" fmla="*/ 72865 w 75339"/>
                <a:gd name="connsiteY9" fmla="*/ 70479 h 90046"/>
                <a:gd name="connsiteX10" fmla="*/ 52661 w 75339"/>
                <a:gd name="connsiteY10" fmla="*/ 44179 h 90046"/>
                <a:gd name="connsiteX11" fmla="*/ 21401 w 75339"/>
                <a:gd name="connsiteY11" fmla="*/ 4791 h 90046"/>
                <a:gd name="connsiteX12" fmla="*/ 5251 w 75339"/>
                <a:gd name="connsiteY12" fmla="*/ 2187 h 90046"/>
                <a:gd name="connsiteX13" fmla="*/ 4247 w 75339"/>
                <a:gd name="connsiteY13" fmla="*/ 3012 h 9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339" h="90046">
                  <a:moveTo>
                    <a:pt x="4247" y="3012"/>
                  </a:moveTo>
                  <a:cubicBezTo>
                    <a:pt x="2100" y="4829"/>
                    <a:pt x="651" y="7345"/>
                    <a:pt x="181" y="10128"/>
                  </a:cubicBezTo>
                  <a:cubicBezTo>
                    <a:pt x="-60" y="11551"/>
                    <a:pt x="-60" y="13024"/>
                    <a:pt x="181" y="14447"/>
                  </a:cubicBezTo>
                  <a:cubicBezTo>
                    <a:pt x="499" y="16430"/>
                    <a:pt x="1286" y="18297"/>
                    <a:pt x="2468" y="19911"/>
                  </a:cubicBezTo>
                  <a:lnTo>
                    <a:pt x="54693" y="85599"/>
                  </a:lnTo>
                  <a:lnTo>
                    <a:pt x="54693" y="85599"/>
                  </a:lnTo>
                  <a:cubicBezTo>
                    <a:pt x="56866" y="88382"/>
                    <a:pt x="60183" y="90021"/>
                    <a:pt x="63716" y="90046"/>
                  </a:cubicBezTo>
                  <a:cubicBezTo>
                    <a:pt x="66448" y="90046"/>
                    <a:pt x="69103" y="89106"/>
                    <a:pt x="71213" y="87378"/>
                  </a:cubicBezTo>
                  <a:cubicBezTo>
                    <a:pt x="76003" y="82994"/>
                    <a:pt x="76715" y="75702"/>
                    <a:pt x="72865" y="70479"/>
                  </a:cubicBezTo>
                  <a:lnTo>
                    <a:pt x="72865" y="70479"/>
                  </a:lnTo>
                  <a:lnTo>
                    <a:pt x="52661" y="44179"/>
                  </a:lnTo>
                  <a:lnTo>
                    <a:pt x="21401" y="4791"/>
                  </a:lnTo>
                  <a:cubicBezTo>
                    <a:pt x="17665" y="-380"/>
                    <a:pt x="10435" y="-1549"/>
                    <a:pt x="5251" y="2187"/>
                  </a:cubicBezTo>
                  <a:cubicBezTo>
                    <a:pt x="4908" y="2441"/>
                    <a:pt x="4565" y="2720"/>
                    <a:pt x="4247" y="3012"/>
                  </a:cubicBezTo>
                  <a:close/>
                </a:path>
              </a:pathLst>
            </a:custGeom>
            <a:solidFill>
              <a:srgbClr val="000000"/>
            </a:solidFill>
            <a:ln w="12704"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FD681D54-4A8F-4D8F-9C02-21DB4C7B3DDD}"/>
                </a:ext>
              </a:extLst>
            </p:cNvPr>
            <p:cNvSpPr/>
            <p:nvPr/>
          </p:nvSpPr>
          <p:spPr>
            <a:xfrm>
              <a:off x="8609980" y="5479498"/>
              <a:ext cx="23638" cy="87853"/>
            </a:xfrm>
            <a:custGeom>
              <a:avLst/>
              <a:gdLst>
                <a:gd name="connsiteX0" fmla="*/ 67 w 23638"/>
                <a:gd name="connsiteY0" fmla="*/ 76234 h 87853"/>
                <a:gd name="connsiteX1" fmla="*/ 9724 w 23638"/>
                <a:gd name="connsiteY1" fmla="*/ 87796 h 87853"/>
                <a:gd name="connsiteX2" fmla="*/ 11757 w 23638"/>
                <a:gd name="connsiteY2" fmla="*/ 87796 h 87853"/>
                <a:gd name="connsiteX3" fmla="*/ 13917 w 23638"/>
                <a:gd name="connsiteY3" fmla="*/ 87796 h 87853"/>
                <a:gd name="connsiteX4" fmla="*/ 23575 w 23638"/>
                <a:gd name="connsiteY4" fmla="*/ 76234 h 87853"/>
                <a:gd name="connsiteX5" fmla="*/ 23575 w 23638"/>
                <a:gd name="connsiteY5" fmla="*/ 0 h 87853"/>
                <a:gd name="connsiteX6" fmla="*/ 13041 w 23638"/>
                <a:gd name="connsiteY6" fmla="*/ 12972 h 87853"/>
                <a:gd name="connsiteX7" fmla="*/ 67 w 23638"/>
                <a:gd name="connsiteY7" fmla="*/ 2452 h 87853"/>
                <a:gd name="connsiteX8" fmla="*/ 67 w 23638"/>
                <a:gd name="connsiteY8" fmla="*/ 0 h 87853"/>
                <a:gd name="connsiteX9" fmla="*/ 67 w 23638"/>
                <a:gd name="connsiteY9" fmla="*/ 76234 h 87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87853">
                  <a:moveTo>
                    <a:pt x="67" y="76234"/>
                  </a:moveTo>
                  <a:cubicBezTo>
                    <a:pt x="41" y="81926"/>
                    <a:pt x="4120" y="86805"/>
                    <a:pt x="9724" y="87796"/>
                  </a:cubicBezTo>
                  <a:cubicBezTo>
                    <a:pt x="10397" y="87872"/>
                    <a:pt x="11084" y="87872"/>
                    <a:pt x="11757" y="87796"/>
                  </a:cubicBezTo>
                  <a:cubicBezTo>
                    <a:pt x="12481" y="87860"/>
                    <a:pt x="13193" y="87860"/>
                    <a:pt x="13917" y="87796"/>
                  </a:cubicBezTo>
                  <a:cubicBezTo>
                    <a:pt x="19496" y="86754"/>
                    <a:pt x="23549" y="81901"/>
                    <a:pt x="23575" y="76234"/>
                  </a:cubicBezTo>
                  <a:lnTo>
                    <a:pt x="23575" y="0"/>
                  </a:lnTo>
                  <a:cubicBezTo>
                    <a:pt x="24248" y="6492"/>
                    <a:pt x="19534" y="12299"/>
                    <a:pt x="13041" y="12972"/>
                  </a:cubicBezTo>
                  <a:cubicBezTo>
                    <a:pt x="6547" y="13646"/>
                    <a:pt x="740" y="8932"/>
                    <a:pt x="67" y="2452"/>
                  </a:cubicBezTo>
                  <a:cubicBezTo>
                    <a:pt x="-22" y="1639"/>
                    <a:pt x="-22" y="813"/>
                    <a:pt x="67" y="0"/>
                  </a:cubicBezTo>
                  <a:lnTo>
                    <a:pt x="67" y="76234"/>
                  </a:lnTo>
                  <a:close/>
                </a:path>
              </a:pathLst>
            </a:custGeom>
            <a:solidFill>
              <a:srgbClr val="000000"/>
            </a:solidFill>
            <a:ln w="12704"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F20CCE4E-F568-4FD6-A329-75026657AF96}"/>
                </a:ext>
              </a:extLst>
            </p:cNvPr>
            <p:cNvSpPr/>
            <p:nvPr/>
          </p:nvSpPr>
          <p:spPr>
            <a:xfrm>
              <a:off x="11061273" y="4613353"/>
              <a:ext cx="23638" cy="277285"/>
            </a:xfrm>
            <a:custGeom>
              <a:avLst/>
              <a:gdLst>
                <a:gd name="connsiteX0" fmla="*/ 829 w 23638"/>
                <a:gd name="connsiteY0" fmla="*/ 267836 h 277285"/>
                <a:gd name="connsiteX1" fmla="*/ 10105 w 23638"/>
                <a:gd name="connsiteY1" fmla="*/ 277238 h 277285"/>
                <a:gd name="connsiteX2" fmla="*/ 12139 w 23638"/>
                <a:gd name="connsiteY2" fmla="*/ 277238 h 277285"/>
                <a:gd name="connsiteX3" fmla="*/ 14299 w 23638"/>
                <a:gd name="connsiteY3" fmla="*/ 277238 h 277285"/>
                <a:gd name="connsiteX4" fmla="*/ 23574 w 23638"/>
                <a:gd name="connsiteY4" fmla="*/ 267836 h 277285"/>
                <a:gd name="connsiteX5" fmla="*/ 23574 w 23638"/>
                <a:gd name="connsiteY5" fmla="*/ 265675 h 277285"/>
                <a:gd name="connsiteX6" fmla="*/ 23574 w 23638"/>
                <a:gd name="connsiteY6" fmla="*/ 0 h 277285"/>
                <a:gd name="connsiteX7" fmla="*/ 13041 w 23638"/>
                <a:gd name="connsiteY7" fmla="*/ 12973 h 277285"/>
                <a:gd name="connsiteX8" fmla="*/ 67 w 23638"/>
                <a:gd name="connsiteY8" fmla="*/ 2452 h 277285"/>
                <a:gd name="connsiteX9" fmla="*/ 67 w 23638"/>
                <a:gd name="connsiteY9" fmla="*/ 0 h 277285"/>
                <a:gd name="connsiteX10" fmla="*/ 67 w 23638"/>
                <a:gd name="connsiteY10" fmla="*/ 265675 h 277285"/>
                <a:gd name="connsiteX11" fmla="*/ 829 w 23638"/>
                <a:gd name="connsiteY11" fmla="*/ 267836 h 27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 h="277285">
                  <a:moveTo>
                    <a:pt x="829" y="267836"/>
                  </a:moveTo>
                  <a:cubicBezTo>
                    <a:pt x="1681" y="272587"/>
                    <a:pt x="5366" y="276323"/>
                    <a:pt x="10105" y="277238"/>
                  </a:cubicBezTo>
                  <a:cubicBezTo>
                    <a:pt x="10779" y="277276"/>
                    <a:pt x="11465" y="277276"/>
                    <a:pt x="12139" y="277238"/>
                  </a:cubicBezTo>
                  <a:cubicBezTo>
                    <a:pt x="12863" y="277301"/>
                    <a:pt x="13574" y="277301"/>
                    <a:pt x="14299" y="277238"/>
                  </a:cubicBezTo>
                  <a:cubicBezTo>
                    <a:pt x="19038" y="276323"/>
                    <a:pt x="22724" y="272587"/>
                    <a:pt x="23574" y="267836"/>
                  </a:cubicBezTo>
                  <a:cubicBezTo>
                    <a:pt x="23638" y="267111"/>
                    <a:pt x="23638" y="266400"/>
                    <a:pt x="23574" y="265675"/>
                  </a:cubicBezTo>
                  <a:lnTo>
                    <a:pt x="23574" y="0"/>
                  </a:lnTo>
                  <a:cubicBezTo>
                    <a:pt x="24248" y="6493"/>
                    <a:pt x="19534" y="12299"/>
                    <a:pt x="13041" y="12973"/>
                  </a:cubicBezTo>
                  <a:cubicBezTo>
                    <a:pt x="6548" y="13646"/>
                    <a:pt x="740" y="8932"/>
                    <a:pt x="67" y="2452"/>
                  </a:cubicBezTo>
                  <a:cubicBezTo>
                    <a:pt x="-22" y="1639"/>
                    <a:pt x="-22" y="813"/>
                    <a:pt x="67" y="0"/>
                  </a:cubicBezTo>
                  <a:lnTo>
                    <a:pt x="67" y="265675"/>
                  </a:lnTo>
                  <a:cubicBezTo>
                    <a:pt x="258" y="266413"/>
                    <a:pt x="511" y="267137"/>
                    <a:pt x="829" y="267836"/>
                  </a:cubicBezTo>
                  <a:close/>
                </a:path>
              </a:pathLst>
            </a:custGeom>
            <a:solidFill>
              <a:srgbClr val="000000"/>
            </a:solidFill>
            <a:ln w="12704"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25E6BA5B-2D19-466D-A3A9-3AC01B35B82F}"/>
                </a:ext>
              </a:extLst>
            </p:cNvPr>
            <p:cNvSpPr/>
            <p:nvPr/>
          </p:nvSpPr>
          <p:spPr>
            <a:xfrm>
              <a:off x="10923656" y="6210074"/>
              <a:ext cx="23639" cy="125785"/>
            </a:xfrm>
            <a:custGeom>
              <a:avLst/>
              <a:gdLst>
                <a:gd name="connsiteX0" fmla="*/ 23575 w 23639"/>
                <a:gd name="connsiteY0" fmla="*/ 2160 h 125785"/>
                <a:gd name="connsiteX1" fmla="*/ 23575 w 23639"/>
                <a:gd name="connsiteY1" fmla="*/ 0 h 125785"/>
                <a:gd name="connsiteX2" fmla="*/ 13041 w 23639"/>
                <a:gd name="connsiteY2" fmla="*/ 12972 h 125785"/>
                <a:gd name="connsiteX3" fmla="*/ 67 w 23639"/>
                <a:gd name="connsiteY3" fmla="*/ 2452 h 125785"/>
                <a:gd name="connsiteX4" fmla="*/ 67 w 23639"/>
                <a:gd name="connsiteY4" fmla="*/ 0 h 125785"/>
                <a:gd name="connsiteX5" fmla="*/ 67 w 23639"/>
                <a:gd name="connsiteY5" fmla="*/ 118798 h 125785"/>
                <a:gd name="connsiteX6" fmla="*/ 2481 w 23639"/>
                <a:gd name="connsiteY6" fmla="*/ 125786 h 125785"/>
                <a:gd name="connsiteX7" fmla="*/ 21034 w 23639"/>
                <a:gd name="connsiteY7" fmla="*/ 125786 h 125785"/>
                <a:gd name="connsiteX8" fmla="*/ 23575 w 23639"/>
                <a:gd name="connsiteY8" fmla="*/ 118798 h 12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9" h="125785">
                  <a:moveTo>
                    <a:pt x="23575" y="2160"/>
                  </a:moveTo>
                  <a:lnTo>
                    <a:pt x="23575" y="0"/>
                  </a:lnTo>
                  <a:cubicBezTo>
                    <a:pt x="24248" y="6492"/>
                    <a:pt x="19534" y="12299"/>
                    <a:pt x="13041" y="12972"/>
                  </a:cubicBezTo>
                  <a:cubicBezTo>
                    <a:pt x="6548" y="13646"/>
                    <a:pt x="740" y="8932"/>
                    <a:pt x="67" y="2452"/>
                  </a:cubicBezTo>
                  <a:cubicBezTo>
                    <a:pt x="-22" y="1639"/>
                    <a:pt x="-22" y="813"/>
                    <a:pt x="67" y="0"/>
                  </a:cubicBezTo>
                  <a:lnTo>
                    <a:pt x="67" y="118798"/>
                  </a:lnTo>
                  <a:cubicBezTo>
                    <a:pt x="156" y="121314"/>
                    <a:pt x="1008" y="123753"/>
                    <a:pt x="2481" y="125786"/>
                  </a:cubicBezTo>
                  <a:lnTo>
                    <a:pt x="21034" y="125786"/>
                  </a:lnTo>
                  <a:cubicBezTo>
                    <a:pt x="22634" y="123804"/>
                    <a:pt x="23524" y="121339"/>
                    <a:pt x="23575" y="118798"/>
                  </a:cubicBezTo>
                  <a:close/>
                </a:path>
              </a:pathLst>
            </a:custGeom>
            <a:solidFill>
              <a:srgbClr val="000000"/>
            </a:solidFill>
            <a:ln w="12704"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4D64B0B4-F188-4191-B7A0-7CAE7A6277CE}"/>
                </a:ext>
              </a:extLst>
            </p:cNvPr>
            <p:cNvSpPr/>
            <p:nvPr/>
          </p:nvSpPr>
          <p:spPr>
            <a:xfrm>
              <a:off x="6621922" y="3290948"/>
              <a:ext cx="23047" cy="17279"/>
            </a:xfrm>
            <a:custGeom>
              <a:avLst/>
              <a:gdLst>
                <a:gd name="connsiteX0" fmla="*/ 11691 w 23047"/>
                <a:gd name="connsiteY0" fmla="*/ 11943 h 17279"/>
                <a:gd name="connsiteX1" fmla="*/ 1 w 23047"/>
                <a:gd name="connsiteY1" fmla="*/ 0 h 17279"/>
                <a:gd name="connsiteX2" fmla="*/ 1 w 23047"/>
                <a:gd name="connsiteY2" fmla="*/ 0 h 17279"/>
                <a:gd name="connsiteX3" fmla="*/ 1 w 23047"/>
                <a:gd name="connsiteY3" fmla="*/ 5591 h 17279"/>
                <a:gd name="connsiteX4" fmla="*/ 4194 w 23047"/>
                <a:gd name="connsiteY4" fmla="*/ 14357 h 17279"/>
                <a:gd name="connsiteX5" fmla="*/ 11691 w 23047"/>
                <a:gd name="connsiteY5" fmla="*/ 17280 h 17279"/>
                <a:gd name="connsiteX6" fmla="*/ 21221 w 23047"/>
                <a:gd name="connsiteY6" fmla="*/ 11943 h 17279"/>
                <a:gd name="connsiteX7" fmla="*/ 23000 w 23047"/>
                <a:gd name="connsiteY7" fmla="*/ 7623 h 17279"/>
                <a:gd name="connsiteX8" fmla="*/ 23000 w 23047"/>
                <a:gd name="connsiteY8" fmla="*/ 5336 h 17279"/>
                <a:gd name="connsiteX9" fmla="*/ 23000 w 23047"/>
                <a:gd name="connsiteY9" fmla="*/ 0 h 17279"/>
                <a:gd name="connsiteX10" fmla="*/ 11691 w 23047"/>
                <a:gd name="connsiteY10" fmla="*/ 11943 h 1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47" h="17279">
                  <a:moveTo>
                    <a:pt x="11691" y="11943"/>
                  </a:moveTo>
                  <a:cubicBezTo>
                    <a:pt x="5160" y="11880"/>
                    <a:pt x="-76" y="6531"/>
                    <a:pt x="1" y="0"/>
                  </a:cubicBezTo>
                  <a:cubicBezTo>
                    <a:pt x="1" y="0"/>
                    <a:pt x="1" y="0"/>
                    <a:pt x="1" y="0"/>
                  </a:cubicBezTo>
                  <a:lnTo>
                    <a:pt x="1" y="5591"/>
                  </a:lnTo>
                  <a:cubicBezTo>
                    <a:pt x="178" y="8958"/>
                    <a:pt x="1691" y="12109"/>
                    <a:pt x="4194" y="14357"/>
                  </a:cubicBezTo>
                  <a:cubicBezTo>
                    <a:pt x="6252" y="16212"/>
                    <a:pt x="8921" y="17254"/>
                    <a:pt x="11691" y="17280"/>
                  </a:cubicBezTo>
                  <a:cubicBezTo>
                    <a:pt x="15566" y="17229"/>
                    <a:pt x="19150" y="15221"/>
                    <a:pt x="21221" y="11943"/>
                  </a:cubicBezTo>
                  <a:cubicBezTo>
                    <a:pt x="22098" y="10635"/>
                    <a:pt x="22695" y="9161"/>
                    <a:pt x="23000" y="7623"/>
                  </a:cubicBezTo>
                  <a:cubicBezTo>
                    <a:pt x="23064" y="6861"/>
                    <a:pt x="23064" y="6099"/>
                    <a:pt x="23000" y="5336"/>
                  </a:cubicBezTo>
                  <a:lnTo>
                    <a:pt x="23000" y="0"/>
                  </a:lnTo>
                  <a:cubicBezTo>
                    <a:pt x="23013" y="6353"/>
                    <a:pt x="18044" y="11600"/>
                    <a:pt x="11691" y="11943"/>
                  </a:cubicBezTo>
                  <a:close/>
                </a:path>
              </a:pathLst>
            </a:custGeom>
            <a:solidFill>
              <a:srgbClr val="000000"/>
            </a:solidFill>
            <a:ln w="12704"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8E1DBDC3-22D2-4A51-B48A-CADE59B032FB}"/>
                </a:ext>
              </a:extLst>
            </p:cNvPr>
            <p:cNvSpPr/>
            <p:nvPr/>
          </p:nvSpPr>
          <p:spPr>
            <a:xfrm>
              <a:off x="9793205" y="2221385"/>
              <a:ext cx="549176" cy="24061"/>
            </a:xfrm>
            <a:custGeom>
              <a:avLst/>
              <a:gdLst>
                <a:gd name="connsiteX0" fmla="*/ 8370 w 549176"/>
                <a:gd name="connsiteY0" fmla="*/ 1525 h 24061"/>
                <a:gd name="connsiteX1" fmla="*/ 4176 w 549176"/>
                <a:gd name="connsiteY1" fmla="*/ 3812 h 24061"/>
                <a:gd name="connsiteX2" fmla="*/ 2728 w 549176"/>
                <a:gd name="connsiteY2" fmla="*/ 20278 h 24061"/>
                <a:gd name="connsiteX3" fmla="*/ 4176 w 549176"/>
                <a:gd name="connsiteY3" fmla="*/ 21727 h 24061"/>
                <a:gd name="connsiteX4" fmla="*/ 8370 w 549176"/>
                <a:gd name="connsiteY4" fmla="*/ 24014 h 24061"/>
                <a:gd name="connsiteX5" fmla="*/ 9640 w 549176"/>
                <a:gd name="connsiteY5" fmla="*/ 24014 h 24061"/>
                <a:gd name="connsiteX6" fmla="*/ 11801 w 549176"/>
                <a:gd name="connsiteY6" fmla="*/ 24014 h 24061"/>
                <a:gd name="connsiteX7" fmla="*/ 549176 w 549176"/>
                <a:gd name="connsiteY7" fmla="*/ 24014 h 24061"/>
                <a:gd name="connsiteX8" fmla="*/ 538401 w 549176"/>
                <a:gd name="connsiteY8" fmla="*/ 10774 h 24061"/>
                <a:gd name="connsiteX9" fmla="*/ 549176 w 549176"/>
                <a:gd name="connsiteY9" fmla="*/ 0 h 24061"/>
                <a:gd name="connsiteX10" fmla="*/ 11801 w 549176"/>
                <a:gd name="connsiteY10" fmla="*/ 0 h 24061"/>
                <a:gd name="connsiteX11" fmla="*/ 8370 w 549176"/>
                <a:gd name="connsiteY11" fmla="*/ 1525 h 2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9176" h="24061">
                  <a:moveTo>
                    <a:pt x="8370" y="1525"/>
                  </a:moveTo>
                  <a:cubicBezTo>
                    <a:pt x="6807" y="1931"/>
                    <a:pt x="5358" y="2719"/>
                    <a:pt x="4176" y="3812"/>
                  </a:cubicBezTo>
                  <a:cubicBezTo>
                    <a:pt x="-766" y="7954"/>
                    <a:pt x="-1415" y="15336"/>
                    <a:pt x="2728" y="20278"/>
                  </a:cubicBezTo>
                  <a:cubicBezTo>
                    <a:pt x="3173" y="20799"/>
                    <a:pt x="3656" y="21282"/>
                    <a:pt x="4176" y="21727"/>
                  </a:cubicBezTo>
                  <a:cubicBezTo>
                    <a:pt x="5358" y="22819"/>
                    <a:pt x="6807" y="23607"/>
                    <a:pt x="8370" y="24014"/>
                  </a:cubicBezTo>
                  <a:cubicBezTo>
                    <a:pt x="8790" y="24064"/>
                    <a:pt x="9221" y="24064"/>
                    <a:pt x="9640" y="24014"/>
                  </a:cubicBezTo>
                  <a:cubicBezTo>
                    <a:pt x="10365" y="24077"/>
                    <a:pt x="11077" y="24077"/>
                    <a:pt x="11801" y="24014"/>
                  </a:cubicBezTo>
                  <a:lnTo>
                    <a:pt x="549176" y="24014"/>
                  </a:lnTo>
                  <a:cubicBezTo>
                    <a:pt x="542544" y="23328"/>
                    <a:pt x="537728" y="17407"/>
                    <a:pt x="538401" y="10774"/>
                  </a:cubicBezTo>
                  <a:cubicBezTo>
                    <a:pt x="538985" y="5082"/>
                    <a:pt x="543484" y="584"/>
                    <a:pt x="549176" y="0"/>
                  </a:cubicBezTo>
                  <a:lnTo>
                    <a:pt x="11801" y="0"/>
                  </a:lnTo>
                  <a:cubicBezTo>
                    <a:pt x="10581" y="292"/>
                    <a:pt x="9412" y="813"/>
                    <a:pt x="8370" y="1525"/>
                  </a:cubicBezTo>
                  <a:close/>
                </a:path>
              </a:pathLst>
            </a:custGeom>
            <a:solidFill>
              <a:srgbClr val="000000"/>
            </a:solidFill>
            <a:ln w="12704"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96D83C0C-37E5-437C-B6E3-AB7B4159B457}"/>
                </a:ext>
              </a:extLst>
            </p:cNvPr>
            <p:cNvSpPr/>
            <p:nvPr/>
          </p:nvSpPr>
          <p:spPr>
            <a:xfrm>
              <a:off x="8428799" y="1771223"/>
              <a:ext cx="23555" cy="58319"/>
            </a:xfrm>
            <a:custGeom>
              <a:avLst/>
              <a:gdLst>
                <a:gd name="connsiteX0" fmla="*/ 8053 w 23555"/>
                <a:gd name="connsiteY0" fmla="*/ 381 h 58319"/>
                <a:gd name="connsiteX1" fmla="*/ 6147 w 23555"/>
                <a:gd name="connsiteY1" fmla="*/ 381 h 58319"/>
                <a:gd name="connsiteX2" fmla="*/ 4495 w 23555"/>
                <a:gd name="connsiteY2" fmla="*/ 1525 h 58319"/>
                <a:gd name="connsiteX3" fmla="*/ 1318 w 23555"/>
                <a:gd name="connsiteY3" fmla="*/ 4828 h 58319"/>
                <a:gd name="connsiteX4" fmla="*/ 48 w 23555"/>
                <a:gd name="connsiteY4" fmla="*/ 6988 h 58319"/>
                <a:gd name="connsiteX5" fmla="*/ 48 w 23555"/>
                <a:gd name="connsiteY5" fmla="*/ 9529 h 58319"/>
                <a:gd name="connsiteX6" fmla="*/ 48 w 23555"/>
                <a:gd name="connsiteY6" fmla="*/ 11181 h 58319"/>
                <a:gd name="connsiteX7" fmla="*/ 48 w 23555"/>
                <a:gd name="connsiteY7" fmla="*/ 58319 h 58319"/>
                <a:gd name="connsiteX8" fmla="*/ 23556 w 23555"/>
                <a:gd name="connsiteY8" fmla="*/ 58319 h 58319"/>
                <a:gd name="connsiteX9" fmla="*/ 23556 w 23555"/>
                <a:gd name="connsiteY9" fmla="*/ 11181 h 58319"/>
                <a:gd name="connsiteX10" fmla="*/ 17965 w 23555"/>
                <a:gd name="connsiteY10" fmla="*/ 1271 h 58319"/>
                <a:gd name="connsiteX11" fmla="*/ 15804 w 23555"/>
                <a:gd name="connsiteY11" fmla="*/ 0 h 58319"/>
                <a:gd name="connsiteX12" fmla="*/ 13390 w 23555"/>
                <a:gd name="connsiteY12" fmla="*/ 0 h 58319"/>
                <a:gd name="connsiteX13" fmla="*/ 11738 w 23555"/>
                <a:gd name="connsiteY13" fmla="*/ 0 h 58319"/>
                <a:gd name="connsiteX14" fmla="*/ 11738 w 23555"/>
                <a:gd name="connsiteY14" fmla="*/ 0 h 5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55" h="58319">
                  <a:moveTo>
                    <a:pt x="8053" y="381"/>
                  </a:moveTo>
                  <a:cubicBezTo>
                    <a:pt x="7418" y="330"/>
                    <a:pt x="6782" y="330"/>
                    <a:pt x="6147" y="381"/>
                  </a:cubicBezTo>
                  <a:cubicBezTo>
                    <a:pt x="5550" y="686"/>
                    <a:pt x="4991" y="1067"/>
                    <a:pt x="4495" y="1525"/>
                  </a:cubicBezTo>
                  <a:cubicBezTo>
                    <a:pt x="3072" y="2211"/>
                    <a:pt x="1954" y="3380"/>
                    <a:pt x="1318" y="4828"/>
                  </a:cubicBezTo>
                  <a:lnTo>
                    <a:pt x="48" y="6988"/>
                  </a:lnTo>
                  <a:cubicBezTo>
                    <a:pt x="-16" y="7839"/>
                    <a:pt x="-16" y="8678"/>
                    <a:pt x="48" y="9529"/>
                  </a:cubicBezTo>
                  <a:cubicBezTo>
                    <a:pt x="48" y="9529"/>
                    <a:pt x="48" y="10673"/>
                    <a:pt x="48" y="11181"/>
                  </a:cubicBezTo>
                  <a:lnTo>
                    <a:pt x="48" y="58319"/>
                  </a:lnTo>
                  <a:lnTo>
                    <a:pt x="23556" y="58319"/>
                  </a:lnTo>
                  <a:lnTo>
                    <a:pt x="23556" y="11181"/>
                  </a:lnTo>
                  <a:cubicBezTo>
                    <a:pt x="23505" y="7141"/>
                    <a:pt x="21395" y="3405"/>
                    <a:pt x="17965" y="1271"/>
                  </a:cubicBezTo>
                  <a:cubicBezTo>
                    <a:pt x="17291" y="775"/>
                    <a:pt x="16567" y="356"/>
                    <a:pt x="15804" y="0"/>
                  </a:cubicBezTo>
                  <a:lnTo>
                    <a:pt x="13390" y="0"/>
                  </a:lnTo>
                  <a:lnTo>
                    <a:pt x="11738" y="0"/>
                  </a:lnTo>
                  <a:lnTo>
                    <a:pt x="11738" y="0"/>
                  </a:lnTo>
                  <a:close/>
                </a:path>
              </a:pathLst>
            </a:custGeom>
            <a:solidFill>
              <a:srgbClr val="000000"/>
            </a:solidFill>
            <a:ln w="12704"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9EAE5F7A-22DD-43C5-950D-67301C965B48}"/>
                </a:ext>
              </a:extLst>
            </p:cNvPr>
            <p:cNvSpPr/>
            <p:nvPr/>
          </p:nvSpPr>
          <p:spPr>
            <a:xfrm>
              <a:off x="9722005" y="1894468"/>
              <a:ext cx="23433" cy="330347"/>
            </a:xfrm>
            <a:custGeom>
              <a:avLst/>
              <a:gdLst>
                <a:gd name="connsiteX0" fmla="*/ 11715 w 23433"/>
                <a:gd name="connsiteY0" fmla="*/ 330347 h 330347"/>
                <a:gd name="connsiteX1" fmla="*/ 23431 w 23433"/>
                <a:gd name="connsiteY1" fmla="*/ 318175 h 330347"/>
                <a:gd name="connsiteX2" fmla="*/ 23406 w 23433"/>
                <a:gd name="connsiteY2" fmla="*/ 317642 h 330347"/>
                <a:gd name="connsiteX3" fmla="*/ 23406 w 23433"/>
                <a:gd name="connsiteY3" fmla="*/ 0 h 330347"/>
                <a:gd name="connsiteX4" fmla="*/ 11715 w 23433"/>
                <a:gd name="connsiteY4" fmla="*/ 11689 h 330347"/>
                <a:gd name="connsiteX5" fmla="*/ 25 w 23433"/>
                <a:gd name="connsiteY5" fmla="*/ 0 h 330347"/>
                <a:gd name="connsiteX6" fmla="*/ 25 w 23433"/>
                <a:gd name="connsiteY6" fmla="*/ 317642 h 330347"/>
                <a:gd name="connsiteX7" fmla="*/ 11181 w 23433"/>
                <a:gd name="connsiteY7" fmla="*/ 330322 h 330347"/>
                <a:gd name="connsiteX8" fmla="*/ 11715 w 23433"/>
                <a:gd name="connsiteY8" fmla="*/ 330347 h 33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33" h="330347">
                  <a:moveTo>
                    <a:pt x="11715" y="330347"/>
                  </a:moveTo>
                  <a:cubicBezTo>
                    <a:pt x="18310" y="330220"/>
                    <a:pt x="23558" y="324770"/>
                    <a:pt x="23431" y="318175"/>
                  </a:cubicBezTo>
                  <a:cubicBezTo>
                    <a:pt x="23431" y="317997"/>
                    <a:pt x="23418" y="317820"/>
                    <a:pt x="23406" y="317642"/>
                  </a:cubicBezTo>
                  <a:lnTo>
                    <a:pt x="23406" y="0"/>
                  </a:lnTo>
                  <a:cubicBezTo>
                    <a:pt x="23406" y="6455"/>
                    <a:pt x="18171" y="11689"/>
                    <a:pt x="11715" y="11689"/>
                  </a:cubicBezTo>
                  <a:cubicBezTo>
                    <a:pt x="5260" y="11689"/>
                    <a:pt x="25" y="6455"/>
                    <a:pt x="25" y="0"/>
                  </a:cubicBezTo>
                  <a:lnTo>
                    <a:pt x="25" y="317642"/>
                  </a:lnTo>
                  <a:cubicBezTo>
                    <a:pt x="-394" y="324223"/>
                    <a:pt x="4599" y="329903"/>
                    <a:pt x="11181" y="330322"/>
                  </a:cubicBezTo>
                  <a:cubicBezTo>
                    <a:pt x="11359" y="330335"/>
                    <a:pt x="11537" y="330347"/>
                    <a:pt x="11715" y="330347"/>
                  </a:cubicBezTo>
                  <a:close/>
                </a:path>
              </a:pathLst>
            </a:custGeom>
            <a:solidFill>
              <a:srgbClr val="000000"/>
            </a:solidFill>
            <a:ln w="12704"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9ED43849-695B-4DCD-ABE6-AB6132C850D2}"/>
                </a:ext>
              </a:extLst>
            </p:cNvPr>
            <p:cNvSpPr/>
            <p:nvPr/>
          </p:nvSpPr>
          <p:spPr>
            <a:xfrm>
              <a:off x="9721995" y="1853810"/>
              <a:ext cx="23454" cy="53236"/>
            </a:xfrm>
            <a:custGeom>
              <a:avLst/>
              <a:gdLst>
                <a:gd name="connsiteX0" fmla="*/ 11726 w 23454"/>
                <a:gd name="connsiteY0" fmla="*/ 53237 h 53236"/>
                <a:gd name="connsiteX1" fmla="*/ 23454 w 23454"/>
                <a:gd name="connsiteY1" fmla="*/ 41332 h 53236"/>
                <a:gd name="connsiteX2" fmla="*/ 23416 w 23454"/>
                <a:gd name="connsiteY2" fmla="*/ 40531 h 53236"/>
                <a:gd name="connsiteX3" fmla="*/ 23416 w 23454"/>
                <a:gd name="connsiteY3" fmla="*/ 11689 h 53236"/>
                <a:gd name="connsiteX4" fmla="*/ 11726 w 23454"/>
                <a:gd name="connsiteY4" fmla="*/ 0 h 53236"/>
                <a:gd name="connsiteX5" fmla="*/ 35 w 23454"/>
                <a:gd name="connsiteY5" fmla="*/ 11689 h 53236"/>
                <a:gd name="connsiteX6" fmla="*/ 35 w 23454"/>
                <a:gd name="connsiteY6" fmla="*/ 40531 h 53236"/>
                <a:gd name="connsiteX7" fmla="*/ 10924 w 23454"/>
                <a:gd name="connsiteY7" fmla="*/ 53199 h 53236"/>
                <a:gd name="connsiteX8" fmla="*/ 11726 w 23454"/>
                <a:gd name="connsiteY8" fmla="*/ 53237 h 5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4" h="53236">
                  <a:moveTo>
                    <a:pt x="11726" y="53237"/>
                  </a:moveTo>
                  <a:cubicBezTo>
                    <a:pt x="18257" y="53186"/>
                    <a:pt x="23504" y="47850"/>
                    <a:pt x="23454" y="41332"/>
                  </a:cubicBezTo>
                  <a:cubicBezTo>
                    <a:pt x="23441" y="41065"/>
                    <a:pt x="23441" y="40798"/>
                    <a:pt x="23416" y="40531"/>
                  </a:cubicBezTo>
                  <a:lnTo>
                    <a:pt x="23416" y="11689"/>
                  </a:lnTo>
                  <a:cubicBezTo>
                    <a:pt x="23416" y="5235"/>
                    <a:pt x="18181" y="0"/>
                    <a:pt x="11726" y="0"/>
                  </a:cubicBezTo>
                  <a:cubicBezTo>
                    <a:pt x="5270" y="0"/>
                    <a:pt x="35" y="5235"/>
                    <a:pt x="35" y="11689"/>
                  </a:cubicBezTo>
                  <a:lnTo>
                    <a:pt x="35" y="40531"/>
                  </a:lnTo>
                  <a:cubicBezTo>
                    <a:pt x="-461" y="47036"/>
                    <a:pt x="4419" y="52716"/>
                    <a:pt x="10924" y="53199"/>
                  </a:cubicBezTo>
                  <a:cubicBezTo>
                    <a:pt x="11191" y="53224"/>
                    <a:pt x="11458" y="53237"/>
                    <a:pt x="11726" y="53237"/>
                  </a:cubicBezTo>
                  <a:close/>
                </a:path>
              </a:pathLst>
            </a:custGeom>
            <a:solidFill>
              <a:srgbClr val="000000"/>
            </a:solidFill>
            <a:ln w="12704"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13D7C6E5-8675-42AD-9090-0FC65BEEEE6C}"/>
                </a:ext>
              </a:extLst>
            </p:cNvPr>
            <p:cNvSpPr/>
            <p:nvPr/>
          </p:nvSpPr>
          <p:spPr>
            <a:xfrm>
              <a:off x="11368719" y="4866944"/>
              <a:ext cx="23438" cy="1035525"/>
            </a:xfrm>
            <a:custGeom>
              <a:avLst/>
              <a:gdLst>
                <a:gd name="connsiteX0" fmla="*/ 11691 w 23438"/>
                <a:gd name="connsiteY0" fmla="*/ 14 h 1035525"/>
                <a:gd name="connsiteX1" fmla="*/ 1 w 23438"/>
                <a:gd name="connsiteY1" fmla="*/ 12084 h 1035525"/>
                <a:gd name="connsiteX2" fmla="*/ 1 w 23438"/>
                <a:gd name="connsiteY2" fmla="*/ 1035526 h 1035525"/>
                <a:gd name="connsiteX3" fmla="*/ 11691 w 23438"/>
                <a:gd name="connsiteY3" fmla="*/ 1023836 h 1035525"/>
                <a:gd name="connsiteX4" fmla="*/ 23381 w 23438"/>
                <a:gd name="connsiteY4" fmla="*/ 1035526 h 1035525"/>
                <a:gd name="connsiteX5" fmla="*/ 23381 w 23438"/>
                <a:gd name="connsiteY5" fmla="*/ 12084 h 1035525"/>
                <a:gd name="connsiteX6" fmla="*/ 23381 w 23438"/>
                <a:gd name="connsiteY6" fmla="*/ 10560 h 1035525"/>
                <a:gd name="connsiteX7" fmla="*/ 23381 w 23438"/>
                <a:gd name="connsiteY7" fmla="*/ 8146 h 1035525"/>
                <a:gd name="connsiteX8" fmla="*/ 22238 w 23438"/>
                <a:gd name="connsiteY8" fmla="*/ 5859 h 1035525"/>
                <a:gd name="connsiteX9" fmla="*/ 11691 w 23438"/>
                <a:gd name="connsiteY9" fmla="*/ 14 h 103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38" h="1035525">
                  <a:moveTo>
                    <a:pt x="11691" y="14"/>
                  </a:moveTo>
                  <a:cubicBezTo>
                    <a:pt x="5147" y="154"/>
                    <a:pt x="-76" y="5541"/>
                    <a:pt x="1" y="12084"/>
                  </a:cubicBezTo>
                  <a:lnTo>
                    <a:pt x="1" y="1035526"/>
                  </a:lnTo>
                  <a:cubicBezTo>
                    <a:pt x="1" y="1029071"/>
                    <a:pt x="5236" y="1023836"/>
                    <a:pt x="11691" y="1023836"/>
                  </a:cubicBezTo>
                  <a:cubicBezTo>
                    <a:pt x="18146" y="1023836"/>
                    <a:pt x="23381" y="1029071"/>
                    <a:pt x="23381" y="1035526"/>
                  </a:cubicBezTo>
                  <a:lnTo>
                    <a:pt x="23381" y="12084"/>
                  </a:lnTo>
                  <a:cubicBezTo>
                    <a:pt x="23445" y="11576"/>
                    <a:pt x="23445" y="11068"/>
                    <a:pt x="23381" y="10560"/>
                  </a:cubicBezTo>
                  <a:cubicBezTo>
                    <a:pt x="23458" y="9759"/>
                    <a:pt x="23458" y="8946"/>
                    <a:pt x="23381" y="8146"/>
                  </a:cubicBezTo>
                  <a:cubicBezTo>
                    <a:pt x="23128" y="7320"/>
                    <a:pt x="22746" y="6557"/>
                    <a:pt x="22238" y="5859"/>
                  </a:cubicBezTo>
                  <a:cubicBezTo>
                    <a:pt x="20116" y="2060"/>
                    <a:pt x="16036" y="-202"/>
                    <a:pt x="11691" y="14"/>
                  </a:cubicBezTo>
                  <a:close/>
                </a:path>
              </a:pathLst>
            </a:custGeom>
            <a:solidFill>
              <a:srgbClr val="000000"/>
            </a:solidFill>
            <a:ln w="12704"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5810610C-E1F6-4F21-A97B-F500D85946B1}"/>
                </a:ext>
              </a:extLst>
            </p:cNvPr>
            <p:cNvSpPr/>
            <p:nvPr/>
          </p:nvSpPr>
          <p:spPr>
            <a:xfrm>
              <a:off x="11368672" y="5890781"/>
              <a:ext cx="23427" cy="123117"/>
            </a:xfrm>
            <a:custGeom>
              <a:avLst/>
              <a:gdLst>
                <a:gd name="connsiteX0" fmla="*/ 23428 w 23427"/>
                <a:gd name="connsiteY0" fmla="*/ 111047 h 123117"/>
                <a:gd name="connsiteX1" fmla="*/ 23428 w 23427"/>
                <a:gd name="connsiteY1" fmla="*/ 11689 h 123117"/>
                <a:gd name="connsiteX2" fmla="*/ 11738 w 23427"/>
                <a:gd name="connsiteY2" fmla="*/ 0 h 123117"/>
                <a:gd name="connsiteX3" fmla="*/ 48 w 23427"/>
                <a:gd name="connsiteY3" fmla="*/ 11689 h 123117"/>
                <a:gd name="connsiteX4" fmla="*/ 48 w 23427"/>
                <a:gd name="connsiteY4" fmla="*/ 111047 h 123117"/>
                <a:gd name="connsiteX5" fmla="*/ 48 w 23427"/>
                <a:gd name="connsiteY5" fmla="*/ 113208 h 123117"/>
                <a:gd name="connsiteX6" fmla="*/ 11357 w 23427"/>
                <a:gd name="connsiteY6" fmla="*/ 123118 h 123117"/>
                <a:gd name="connsiteX7" fmla="*/ 14407 w 23427"/>
                <a:gd name="connsiteY7" fmla="*/ 122356 h 123117"/>
                <a:gd name="connsiteX8" fmla="*/ 18219 w 23427"/>
                <a:gd name="connsiteY8" fmla="*/ 120577 h 123117"/>
                <a:gd name="connsiteX9" fmla="*/ 23428 w 23427"/>
                <a:gd name="connsiteY9" fmla="*/ 111047 h 12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7" h="123117">
                  <a:moveTo>
                    <a:pt x="23428" y="111047"/>
                  </a:moveTo>
                  <a:lnTo>
                    <a:pt x="23428" y="11689"/>
                  </a:lnTo>
                  <a:cubicBezTo>
                    <a:pt x="23428" y="5235"/>
                    <a:pt x="18193" y="0"/>
                    <a:pt x="11738" y="0"/>
                  </a:cubicBezTo>
                  <a:cubicBezTo>
                    <a:pt x="5283" y="0"/>
                    <a:pt x="48" y="5235"/>
                    <a:pt x="48" y="11689"/>
                  </a:cubicBezTo>
                  <a:lnTo>
                    <a:pt x="48" y="111047"/>
                  </a:lnTo>
                  <a:cubicBezTo>
                    <a:pt x="-16" y="111772"/>
                    <a:pt x="-16" y="112483"/>
                    <a:pt x="48" y="113208"/>
                  </a:cubicBezTo>
                  <a:cubicBezTo>
                    <a:pt x="912" y="118823"/>
                    <a:pt x="5677" y="123004"/>
                    <a:pt x="11357" y="123118"/>
                  </a:cubicBezTo>
                  <a:cubicBezTo>
                    <a:pt x="12411" y="123067"/>
                    <a:pt x="13453" y="122800"/>
                    <a:pt x="14407" y="122356"/>
                  </a:cubicBezTo>
                  <a:cubicBezTo>
                    <a:pt x="15779" y="122025"/>
                    <a:pt x="17075" y="121415"/>
                    <a:pt x="18219" y="120577"/>
                  </a:cubicBezTo>
                  <a:cubicBezTo>
                    <a:pt x="21395" y="118430"/>
                    <a:pt x="23340" y="114885"/>
                    <a:pt x="23428" y="111047"/>
                  </a:cubicBezTo>
                  <a:close/>
                </a:path>
              </a:pathLst>
            </a:custGeom>
            <a:solidFill>
              <a:srgbClr val="000000"/>
            </a:solidFill>
            <a:ln w="12704"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5CB259B6-8052-4CDF-9CB6-A58CE3338BEA}"/>
                </a:ext>
              </a:extLst>
            </p:cNvPr>
            <p:cNvSpPr/>
            <p:nvPr/>
          </p:nvSpPr>
          <p:spPr>
            <a:xfrm>
              <a:off x="9042718" y="5494237"/>
              <a:ext cx="7624" cy="3176"/>
            </a:xfrm>
            <a:custGeom>
              <a:avLst/>
              <a:gdLst>
                <a:gd name="connsiteX0" fmla="*/ 0 w 7624"/>
                <a:gd name="connsiteY0" fmla="*/ 3176 h 3176"/>
                <a:gd name="connsiteX1" fmla="*/ 7624 w 7624"/>
                <a:gd name="connsiteY1" fmla="*/ 3176 h 3176"/>
                <a:gd name="connsiteX2" fmla="*/ 7624 w 7624"/>
                <a:gd name="connsiteY2" fmla="*/ 0 h 3176"/>
                <a:gd name="connsiteX3" fmla="*/ 0 w 7624"/>
                <a:gd name="connsiteY3" fmla="*/ 3176 h 3176"/>
              </a:gdLst>
              <a:ahLst/>
              <a:cxnLst>
                <a:cxn ang="0">
                  <a:pos x="connsiteX0" y="connsiteY0"/>
                </a:cxn>
                <a:cxn ang="0">
                  <a:pos x="connsiteX1" y="connsiteY1"/>
                </a:cxn>
                <a:cxn ang="0">
                  <a:pos x="connsiteX2" y="connsiteY2"/>
                </a:cxn>
                <a:cxn ang="0">
                  <a:pos x="connsiteX3" y="connsiteY3"/>
                </a:cxn>
              </a:cxnLst>
              <a:rect l="l" t="t" r="r" b="b"/>
              <a:pathLst>
                <a:path w="7624" h="3176">
                  <a:moveTo>
                    <a:pt x="0" y="3176"/>
                  </a:moveTo>
                  <a:lnTo>
                    <a:pt x="7624" y="3176"/>
                  </a:lnTo>
                  <a:lnTo>
                    <a:pt x="7624" y="0"/>
                  </a:lnTo>
                  <a:cubicBezTo>
                    <a:pt x="5553" y="1944"/>
                    <a:pt x="2846" y="3075"/>
                    <a:pt x="0" y="3176"/>
                  </a:cubicBezTo>
                  <a:close/>
                </a:path>
              </a:pathLst>
            </a:custGeom>
            <a:solidFill>
              <a:srgbClr val="000000"/>
            </a:solidFill>
            <a:ln w="12704"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6553FD34-3C5B-48B9-8DA1-4175289E5D30}"/>
                </a:ext>
              </a:extLst>
            </p:cNvPr>
            <p:cNvSpPr/>
            <p:nvPr/>
          </p:nvSpPr>
          <p:spPr>
            <a:xfrm>
              <a:off x="9040177" y="5497414"/>
              <a:ext cx="2541" cy="12705"/>
            </a:xfrm>
            <a:custGeom>
              <a:avLst/>
              <a:gdLst>
                <a:gd name="connsiteX0" fmla="*/ 0 w 2541"/>
                <a:gd name="connsiteY0" fmla="*/ 0 h 12705"/>
                <a:gd name="connsiteX1" fmla="*/ 2541 w 2541"/>
                <a:gd name="connsiteY1" fmla="*/ 0 h 12705"/>
                <a:gd name="connsiteX2" fmla="*/ 1270 w 2541"/>
                <a:gd name="connsiteY2" fmla="*/ 0 h 12705"/>
              </a:gdLst>
              <a:ahLst/>
              <a:cxnLst>
                <a:cxn ang="0">
                  <a:pos x="connsiteX0" y="connsiteY0"/>
                </a:cxn>
                <a:cxn ang="0">
                  <a:pos x="connsiteX1" y="connsiteY1"/>
                </a:cxn>
                <a:cxn ang="0">
                  <a:pos x="connsiteX2" y="connsiteY2"/>
                </a:cxn>
              </a:cxnLst>
              <a:rect l="l" t="t" r="r" b="b"/>
              <a:pathLst>
                <a:path w="2541" h="12705">
                  <a:moveTo>
                    <a:pt x="0" y="0"/>
                  </a:moveTo>
                  <a:lnTo>
                    <a:pt x="2541" y="0"/>
                  </a:lnTo>
                  <a:lnTo>
                    <a:pt x="1270" y="0"/>
                  </a:lnTo>
                  <a:close/>
                </a:path>
              </a:pathLst>
            </a:custGeom>
            <a:solidFill>
              <a:srgbClr val="000000"/>
            </a:solidFill>
            <a:ln w="12704"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0E85120E-AB8E-4B80-AD0B-8A3F1FE879F9}"/>
                </a:ext>
              </a:extLst>
            </p:cNvPr>
            <p:cNvSpPr/>
            <p:nvPr/>
          </p:nvSpPr>
          <p:spPr>
            <a:xfrm>
              <a:off x="8934455" y="5472707"/>
              <a:ext cx="106992" cy="23562"/>
            </a:xfrm>
            <a:custGeom>
              <a:avLst/>
              <a:gdLst>
                <a:gd name="connsiteX0" fmla="*/ 96446 w 106992"/>
                <a:gd name="connsiteY0" fmla="*/ 12763 h 23562"/>
                <a:gd name="connsiteX1" fmla="*/ 96446 w 106992"/>
                <a:gd name="connsiteY1" fmla="*/ 57 h 23562"/>
                <a:gd name="connsiteX2" fmla="*/ 11690 w 106992"/>
                <a:gd name="connsiteY2" fmla="*/ 57 h 23562"/>
                <a:gd name="connsiteX3" fmla="*/ 9657 w 106992"/>
                <a:gd name="connsiteY3" fmla="*/ 57 h 23562"/>
                <a:gd name="connsiteX4" fmla="*/ 381 w 106992"/>
                <a:gd name="connsiteY4" fmla="*/ 9459 h 23562"/>
                <a:gd name="connsiteX5" fmla="*/ 381 w 106992"/>
                <a:gd name="connsiteY5" fmla="*/ 13779 h 23562"/>
                <a:gd name="connsiteX6" fmla="*/ 11690 w 106992"/>
                <a:gd name="connsiteY6" fmla="*/ 23563 h 23562"/>
                <a:gd name="connsiteX7" fmla="*/ 105722 w 106992"/>
                <a:gd name="connsiteY7" fmla="*/ 23563 h 23562"/>
                <a:gd name="connsiteX8" fmla="*/ 106992 w 106992"/>
                <a:gd name="connsiteY8" fmla="*/ 23563 h 23562"/>
                <a:gd name="connsiteX9" fmla="*/ 96446 w 106992"/>
                <a:gd name="connsiteY9" fmla="*/ 12763 h 2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992" h="23562">
                  <a:moveTo>
                    <a:pt x="96446" y="12763"/>
                  </a:moveTo>
                  <a:lnTo>
                    <a:pt x="96446" y="57"/>
                  </a:lnTo>
                  <a:lnTo>
                    <a:pt x="11690" y="57"/>
                  </a:lnTo>
                  <a:cubicBezTo>
                    <a:pt x="11017" y="-19"/>
                    <a:pt x="10331" y="-19"/>
                    <a:pt x="9657" y="57"/>
                  </a:cubicBezTo>
                  <a:cubicBezTo>
                    <a:pt x="4880" y="908"/>
                    <a:pt x="1169" y="4682"/>
                    <a:pt x="381" y="9459"/>
                  </a:cubicBezTo>
                  <a:cubicBezTo>
                    <a:pt x="-127" y="10857"/>
                    <a:pt x="-127" y="12382"/>
                    <a:pt x="381" y="13779"/>
                  </a:cubicBezTo>
                  <a:cubicBezTo>
                    <a:pt x="1245" y="19370"/>
                    <a:pt x="6036" y="23499"/>
                    <a:pt x="11690" y="23563"/>
                  </a:cubicBezTo>
                  <a:lnTo>
                    <a:pt x="105722" y="23563"/>
                  </a:lnTo>
                  <a:lnTo>
                    <a:pt x="106992" y="23563"/>
                  </a:lnTo>
                  <a:cubicBezTo>
                    <a:pt x="101312" y="23017"/>
                    <a:pt x="96852" y="18455"/>
                    <a:pt x="96446" y="12763"/>
                  </a:cubicBezTo>
                  <a:close/>
                </a:path>
              </a:pathLst>
            </a:custGeom>
            <a:solidFill>
              <a:srgbClr val="000000"/>
            </a:solidFill>
            <a:ln w="12704"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E59A26EE-F36B-4B42-9D78-2902200EE25D}"/>
                </a:ext>
              </a:extLst>
            </p:cNvPr>
            <p:cNvSpPr/>
            <p:nvPr/>
          </p:nvSpPr>
          <p:spPr>
            <a:xfrm>
              <a:off x="5439998" y="5708200"/>
              <a:ext cx="155332" cy="96689"/>
            </a:xfrm>
            <a:custGeom>
              <a:avLst/>
              <a:gdLst>
                <a:gd name="connsiteX0" fmla="*/ 4247 w 155332"/>
                <a:gd name="connsiteY0" fmla="*/ 75091 h 96689"/>
                <a:gd name="connsiteX1" fmla="*/ 2341 w 155332"/>
                <a:gd name="connsiteY1" fmla="*/ 76742 h 96689"/>
                <a:gd name="connsiteX2" fmla="*/ 1197 w 155332"/>
                <a:gd name="connsiteY2" fmla="*/ 78648 h 96689"/>
                <a:gd name="connsiteX3" fmla="*/ 181 w 155332"/>
                <a:gd name="connsiteY3" fmla="*/ 80681 h 96689"/>
                <a:gd name="connsiteX4" fmla="*/ 181 w 155332"/>
                <a:gd name="connsiteY4" fmla="*/ 83095 h 96689"/>
                <a:gd name="connsiteX5" fmla="*/ 9533 w 155332"/>
                <a:gd name="connsiteY5" fmla="*/ 96512 h 96689"/>
                <a:gd name="connsiteX6" fmla="*/ 11617 w 155332"/>
                <a:gd name="connsiteY6" fmla="*/ 96690 h 96689"/>
                <a:gd name="connsiteX7" fmla="*/ 17208 w 155332"/>
                <a:gd name="connsiteY7" fmla="*/ 95165 h 96689"/>
                <a:gd name="connsiteX8" fmla="*/ 23308 w 155332"/>
                <a:gd name="connsiteY8" fmla="*/ 91735 h 96689"/>
                <a:gd name="connsiteX9" fmla="*/ 32202 w 155332"/>
                <a:gd name="connsiteY9" fmla="*/ 86780 h 96689"/>
                <a:gd name="connsiteX10" fmla="*/ 39826 w 155332"/>
                <a:gd name="connsiteY10" fmla="*/ 82587 h 96689"/>
                <a:gd name="connsiteX11" fmla="*/ 155333 w 155332"/>
                <a:gd name="connsiteY11" fmla="*/ 17788 h 96689"/>
                <a:gd name="connsiteX12" fmla="*/ 154697 w 155332"/>
                <a:gd name="connsiteY12" fmla="*/ 17788 h 96689"/>
                <a:gd name="connsiteX13" fmla="*/ 153808 w 155332"/>
                <a:gd name="connsiteY13" fmla="*/ 17788 h 96689"/>
                <a:gd name="connsiteX14" fmla="*/ 149741 w 155332"/>
                <a:gd name="connsiteY14" fmla="*/ 18677 h 96689"/>
                <a:gd name="connsiteX15" fmla="*/ 145675 w 155332"/>
                <a:gd name="connsiteY15" fmla="*/ 17788 h 96689"/>
                <a:gd name="connsiteX16" fmla="*/ 144786 w 155332"/>
                <a:gd name="connsiteY16" fmla="*/ 17788 h 96689"/>
                <a:gd name="connsiteX17" fmla="*/ 141609 w 155332"/>
                <a:gd name="connsiteY17" fmla="*/ 15628 h 96689"/>
                <a:gd name="connsiteX18" fmla="*/ 141609 w 155332"/>
                <a:gd name="connsiteY18" fmla="*/ 15628 h 96689"/>
                <a:gd name="connsiteX19" fmla="*/ 139576 w 155332"/>
                <a:gd name="connsiteY19" fmla="*/ 12960 h 96689"/>
                <a:gd name="connsiteX20" fmla="*/ 138813 w 155332"/>
                <a:gd name="connsiteY20" fmla="*/ 10673 h 96689"/>
                <a:gd name="connsiteX21" fmla="*/ 138813 w 155332"/>
                <a:gd name="connsiteY21" fmla="*/ 8386 h 96689"/>
                <a:gd name="connsiteX22" fmla="*/ 138813 w 155332"/>
                <a:gd name="connsiteY22" fmla="*/ 7750 h 96689"/>
                <a:gd name="connsiteX23" fmla="*/ 138813 w 155332"/>
                <a:gd name="connsiteY23" fmla="*/ 0 h 96689"/>
                <a:gd name="connsiteX24" fmla="*/ 6661 w 155332"/>
                <a:gd name="connsiteY24" fmla="*/ 73947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5332" h="96689">
                  <a:moveTo>
                    <a:pt x="4247" y="75091"/>
                  </a:moveTo>
                  <a:lnTo>
                    <a:pt x="2341" y="76742"/>
                  </a:lnTo>
                  <a:cubicBezTo>
                    <a:pt x="1909" y="77352"/>
                    <a:pt x="1528" y="77987"/>
                    <a:pt x="1197" y="78648"/>
                  </a:cubicBezTo>
                  <a:cubicBezTo>
                    <a:pt x="778" y="79283"/>
                    <a:pt x="448" y="79970"/>
                    <a:pt x="181" y="80681"/>
                  </a:cubicBezTo>
                  <a:cubicBezTo>
                    <a:pt x="54" y="81481"/>
                    <a:pt x="54" y="82294"/>
                    <a:pt x="181" y="83095"/>
                  </a:cubicBezTo>
                  <a:cubicBezTo>
                    <a:pt x="-937" y="89384"/>
                    <a:pt x="3243" y="95381"/>
                    <a:pt x="9533" y="96512"/>
                  </a:cubicBezTo>
                  <a:cubicBezTo>
                    <a:pt x="10219" y="96627"/>
                    <a:pt x="10918" y="96690"/>
                    <a:pt x="11617" y="96690"/>
                  </a:cubicBezTo>
                  <a:cubicBezTo>
                    <a:pt x="13587" y="96678"/>
                    <a:pt x="15505" y="96156"/>
                    <a:pt x="17208" y="95165"/>
                  </a:cubicBezTo>
                  <a:lnTo>
                    <a:pt x="23308" y="91735"/>
                  </a:lnTo>
                  <a:lnTo>
                    <a:pt x="32202" y="86780"/>
                  </a:lnTo>
                  <a:lnTo>
                    <a:pt x="39826" y="82587"/>
                  </a:lnTo>
                  <a:lnTo>
                    <a:pt x="155333" y="17788"/>
                  </a:lnTo>
                  <a:lnTo>
                    <a:pt x="154697" y="17788"/>
                  </a:lnTo>
                  <a:lnTo>
                    <a:pt x="153808" y="17788"/>
                  </a:lnTo>
                  <a:cubicBezTo>
                    <a:pt x="152512" y="18321"/>
                    <a:pt x="151139" y="18627"/>
                    <a:pt x="149741" y="18677"/>
                  </a:cubicBezTo>
                  <a:cubicBezTo>
                    <a:pt x="148344" y="18639"/>
                    <a:pt x="146958" y="18334"/>
                    <a:pt x="145675" y="17788"/>
                  </a:cubicBezTo>
                  <a:lnTo>
                    <a:pt x="144786" y="17788"/>
                  </a:lnTo>
                  <a:cubicBezTo>
                    <a:pt x="143604" y="17267"/>
                    <a:pt x="142537" y="16530"/>
                    <a:pt x="141609" y="15628"/>
                  </a:cubicBezTo>
                  <a:lnTo>
                    <a:pt x="141609" y="15628"/>
                  </a:lnTo>
                  <a:cubicBezTo>
                    <a:pt x="140796" y="14853"/>
                    <a:pt x="140109" y="13951"/>
                    <a:pt x="139576" y="12960"/>
                  </a:cubicBezTo>
                  <a:cubicBezTo>
                    <a:pt x="139233" y="12236"/>
                    <a:pt x="138966" y="11461"/>
                    <a:pt x="138813" y="10673"/>
                  </a:cubicBezTo>
                  <a:cubicBezTo>
                    <a:pt x="138750" y="9910"/>
                    <a:pt x="138750" y="9148"/>
                    <a:pt x="138813" y="8386"/>
                  </a:cubicBezTo>
                  <a:cubicBezTo>
                    <a:pt x="138750" y="8183"/>
                    <a:pt x="138750" y="7954"/>
                    <a:pt x="138813" y="7750"/>
                  </a:cubicBezTo>
                  <a:lnTo>
                    <a:pt x="138813" y="0"/>
                  </a:lnTo>
                  <a:lnTo>
                    <a:pt x="6661" y="73947"/>
                  </a:lnTo>
                  <a:close/>
                </a:path>
              </a:pathLst>
            </a:custGeom>
            <a:solidFill>
              <a:srgbClr val="000000"/>
            </a:solidFill>
            <a:ln w="12704"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0BCA8B1F-5AC3-4A90-B195-1F1AD95E3CAB}"/>
                </a:ext>
              </a:extLst>
            </p:cNvPr>
            <p:cNvSpPr/>
            <p:nvPr/>
          </p:nvSpPr>
          <p:spPr>
            <a:xfrm>
              <a:off x="5594187" y="5651914"/>
              <a:ext cx="84119" cy="74709"/>
            </a:xfrm>
            <a:custGeom>
              <a:avLst/>
              <a:gdLst>
                <a:gd name="connsiteX0" fmla="*/ 84120 w 84119"/>
                <a:gd name="connsiteY0" fmla="*/ 27317 h 74709"/>
                <a:gd name="connsiteX1" fmla="*/ 84120 w 84119"/>
                <a:gd name="connsiteY1" fmla="*/ 0 h 74709"/>
                <a:gd name="connsiteX2" fmla="*/ 6735 w 84119"/>
                <a:gd name="connsiteY2" fmla="*/ 43580 h 74709"/>
                <a:gd name="connsiteX3" fmla="*/ 6735 w 84119"/>
                <a:gd name="connsiteY3" fmla="*/ 63782 h 74709"/>
                <a:gd name="connsiteX4" fmla="*/ 0 w 84119"/>
                <a:gd name="connsiteY4" fmla="*/ 74709 h 74709"/>
                <a:gd name="connsiteX5" fmla="*/ 635 w 84119"/>
                <a:gd name="connsiteY5" fmla="*/ 74709 h 7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19" h="74709">
                  <a:moveTo>
                    <a:pt x="84120" y="27317"/>
                  </a:moveTo>
                  <a:lnTo>
                    <a:pt x="84120" y="0"/>
                  </a:lnTo>
                  <a:lnTo>
                    <a:pt x="6735" y="43580"/>
                  </a:lnTo>
                  <a:lnTo>
                    <a:pt x="6735" y="63782"/>
                  </a:lnTo>
                  <a:cubicBezTo>
                    <a:pt x="6633" y="68369"/>
                    <a:pt x="4054" y="72549"/>
                    <a:pt x="0" y="74709"/>
                  </a:cubicBezTo>
                  <a:lnTo>
                    <a:pt x="635" y="74709"/>
                  </a:lnTo>
                  <a:close/>
                </a:path>
              </a:pathLst>
            </a:custGeom>
            <a:solidFill>
              <a:srgbClr val="000000"/>
            </a:solidFill>
            <a:ln w="12704"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ACBAD9F0-E034-45AC-9685-6D4C9AD8FCF0}"/>
                </a:ext>
              </a:extLst>
            </p:cNvPr>
            <p:cNvSpPr/>
            <p:nvPr/>
          </p:nvSpPr>
          <p:spPr>
            <a:xfrm>
              <a:off x="5585165" y="5726624"/>
              <a:ext cx="8132" cy="889"/>
            </a:xfrm>
            <a:custGeom>
              <a:avLst/>
              <a:gdLst>
                <a:gd name="connsiteX0" fmla="*/ 8132 w 8132"/>
                <a:gd name="connsiteY0" fmla="*/ 0 h 889"/>
                <a:gd name="connsiteX1" fmla="*/ 0 w 8132"/>
                <a:gd name="connsiteY1" fmla="*/ 0 h 889"/>
                <a:gd name="connsiteX2" fmla="*/ 4066 w 8132"/>
                <a:gd name="connsiteY2" fmla="*/ 889 h 889"/>
                <a:gd name="connsiteX3" fmla="*/ 8132 w 8132"/>
                <a:gd name="connsiteY3" fmla="*/ 0 h 889"/>
              </a:gdLst>
              <a:ahLst/>
              <a:cxnLst>
                <a:cxn ang="0">
                  <a:pos x="connsiteX0" y="connsiteY0"/>
                </a:cxn>
                <a:cxn ang="0">
                  <a:pos x="connsiteX1" y="connsiteY1"/>
                </a:cxn>
                <a:cxn ang="0">
                  <a:pos x="connsiteX2" y="connsiteY2"/>
                </a:cxn>
                <a:cxn ang="0">
                  <a:pos x="connsiteX3" y="connsiteY3"/>
                </a:cxn>
              </a:cxnLst>
              <a:rect l="l" t="t" r="r" b="b"/>
              <a:pathLst>
                <a:path w="8132" h="889">
                  <a:moveTo>
                    <a:pt x="8132" y="0"/>
                  </a:moveTo>
                  <a:cubicBezTo>
                    <a:pt x="5553" y="1181"/>
                    <a:pt x="2580" y="1181"/>
                    <a:pt x="0" y="0"/>
                  </a:cubicBezTo>
                  <a:cubicBezTo>
                    <a:pt x="1283" y="546"/>
                    <a:pt x="2668" y="851"/>
                    <a:pt x="4066" y="889"/>
                  </a:cubicBezTo>
                  <a:cubicBezTo>
                    <a:pt x="5464" y="838"/>
                    <a:pt x="6836" y="534"/>
                    <a:pt x="8132" y="0"/>
                  </a:cubicBezTo>
                  <a:close/>
                </a:path>
              </a:pathLst>
            </a:custGeom>
            <a:solidFill>
              <a:srgbClr val="000000"/>
            </a:solidFill>
            <a:ln w="12704"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244D24D8-DD82-4EC1-BE6C-EB64DC023489}"/>
                </a:ext>
              </a:extLst>
            </p:cNvPr>
            <p:cNvSpPr/>
            <p:nvPr/>
          </p:nvSpPr>
          <p:spPr>
            <a:xfrm>
              <a:off x="5579192" y="5720652"/>
              <a:ext cx="2160" cy="3303"/>
            </a:xfrm>
            <a:custGeom>
              <a:avLst/>
              <a:gdLst>
                <a:gd name="connsiteX0" fmla="*/ 2160 w 2160"/>
                <a:gd name="connsiteY0" fmla="*/ 3303 h 3303"/>
                <a:gd name="connsiteX1" fmla="*/ 0 w 2160"/>
                <a:gd name="connsiteY1" fmla="*/ 0 h 3303"/>
                <a:gd name="connsiteX2" fmla="*/ 2160 w 2160"/>
                <a:gd name="connsiteY2" fmla="*/ 3303 h 3303"/>
              </a:gdLst>
              <a:ahLst/>
              <a:cxnLst>
                <a:cxn ang="0">
                  <a:pos x="connsiteX0" y="connsiteY0"/>
                </a:cxn>
                <a:cxn ang="0">
                  <a:pos x="connsiteX1" y="connsiteY1"/>
                </a:cxn>
                <a:cxn ang="0">
                  <a:pos x="connsiteX2" y="connsiteY2"/>
                </a:cxn>
              </a:cxnLst>
              <a:rect l="l" t="t" r="r" b="b"/>
              <a:pathLst>
                <a:path w="2160" h="3303">
                  <a:moveTo>
                    <a:pt x="2160" y="3303"/>
                  </a:moveTo>
                  <a:cubicBezTo>
                    <a:pt x="1182" y="2389"/>
                    <a:pt x="445" y="1258"/>
                    <a:pt x="0" y="0"/>
                  </a:cubicBezTo>
                  <a:cubicBezTo>
                    <a:pt x="508" y="1232"/>
                    <a:pt x="1233" y="2351"/>
                    <a:pt x="2160" y="3303"/>
                  </a:cubicBezTo>
                  <a:close/>
                </a:path>
              </a:pathLst>
            </a:custGeom>
            <a:solidFill>
              <a:srgbClr val="000000"/>
            </a:solidFill>
            <a:ln w="12704"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5D483064-7944-4950-91FE-3FC159D3350F}"/>
                </a:ext>
              </a:extLst>
            </p:cNvPr>
            <p:cNvSpPr/>
            <p:nvPr/>
          </p:nvSpPr>
          <p:spPr>
            <a:xfrm>
              <a:off x="5677859" y="5659030"/>
              <a:ext cx="23638" cy="42436"/>
            </a:xfrm>
            <a:custGeom>
              <a:avLst/>
              <a:gdLst>
                <a:gd name="connsiteX0" fmla="*/ 12265 w 23638"/>
                <a:gd name="connsiteY0" fmla="*/ 42437 h 42436"/>
                <a:gd name="connsiteX1" fmla="*/ 23574 w 23638"/>
                <a:gd name="connsiteY1" fmla="*/ 32654 h 42436"/>
                <a:gd name="connsiteX2" fmla="*/ 23574 w 23638"/>
                <a:gd name="connsiteY2" fmla="*/ 30494 h 42436"/>
                <a:gd name="connsiteX3" fmla="*/ 23574 w 23638"/>
                <a:gd name="connsiteY3" fmla="*/ 0 h 42436"/>
                <a:gd name="connsiteX4" fmla="*/ 13040 w 23638"/>
                <a:gd name="connsiteY4" fmla="*/ 12972 h 42436"/>
                <a:gd name="connsiteX5" fmla="*/ 67 w 23638"/>
                <a:gd name="connsiteY5" fmla="*/ 2452 h 42436"/>
                <a:gd name="connsiteX6" fmla="*/ 67 w 23638"/>
                <a:gd name="connsiteY6" fmla="*/ 0 h 42436"/>
                <a:gd name="connsiteX7" fmla="*/ 67 w 23638"/>
                <a:gd name="connsiteY7" fmla="*/ 30494 h 42436"/>
                <a:gd name="connsiteX8" fmla="*/ 12011 w 23638"/>
                <a:gd name="connsiteY8" fmla="*/ 42437 h 42436"/>
                <a:gd name="connsiteX9" fmla="*/ 12265 w 23638"/>
                <a:gd name="connsiteY9" fmla="*/ 42437 h 4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42436">
                  <a:moveTo>
                    <a:pt x="12265" y="42437"/>
                  </a:moveTo>
                  <a:cubicBezTo>
                    <a:pt x="17895" y="42322"/>
                    <a:pt x="22660" y="38219"/>
                    <a:pt x="23574" y="32654"/>
                  </a:cubicBezTo>
                  <a:cubicBezTo>
                    <a:pt x="23638" y="31929"/>
                    <a:pt x="23638" y="31218"/>
                    <a:pt x="23574" y="30494"/>
                  </a:cubicBezTo>
                  <a:lnTo>
                    <a:pt x="23574" y="0"/>
                  </a:lnTo>
                  <a:cubicBezTo>
                    <a:pt x="24248" y="6492"/>
                    <a:pt x="19534" y="12299"/>
                    <a:pt x="13040" y="12972"/>
                  </a:cubicBezTo>
                  <a:cubicBezTo>
                    <a:pt x="6547" y="13646"/>
                    <a:pt x="740" y="8932"/>
                    <a:pt x="67" y="2452"/>
                  </a:cubicBezTo>
                  <a:cubicBezTo>
                    <a:pt x="-22" y="1639"/>
                    <a:pt x="-22" y="813"/>
                    <a:pt x="67" y="0"/>
                  </a:cubicBezTo>
                  <a:lnTo>
                    <a:pt x="67" y="30494"/>
                  </a:lnTo>
                  <a:cubicBezTo>
                    <a:pt x="67" y="37088"/>
                    <a:pt x="5416" y="42437"/>
                    <a:pt x="12011" y="42437"/>
                  </a:cubicBezTo>
                  <a:cubicBezTo>
                    <a:pt x="12100" y="42437"/>
                    <a:pt x="12176" y="42437"/>
                    <a:pt x="12265" y="42437"/>
                  </a:cubicBezTo>
                  <a:close/>
                </a:path>
              </a:pathLst>
            </a:custGeom>
            <a:solidFill>
              <a:srgbClr val="000000"/>
            </a:solidFill>
            <a:ln w="12704"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3A970FF6-6E1E-40DD-B39F-B7D524E3598E}"/>
                </a:ext>
              </a:extLst>
            </p:cNvPr>
            <p:cNvSpPr/>
            <p:nvPr/>
          </p:nvSpPr>
          <p:spPr>
            <a:xfrm>
              <a:off x="5679228" y="4919687"/>
              <a:ext cx="22587" cy="751285"/>
            </a:xfrm>
            <a:custGeom>
              <a:avLst/>
              <a:gdLst>
                <a:gd name="connsiteX0" fmla="*/ 10896 w 22587"/>
                <a:gd name="connsiteY0" fmla="*/ 751286 h 751285"/>
                <a:gd name="connsiteX1" fmla="*/ 22587 w 22587"/>
                <a:gd name="connsiteY1" fmla="*/ 739343 h 751285"/>
                <a:gd name="connsiteX2" fmla="*/ 22587 w 22587"/>
                <a:gd name="connsiteY2" fmla="*/ 739343 h 751285"/>
                <a:gd name="connsiteX3" fmla="*/ 22587 w 22587"/>
                <a:gd name="connsiteY3" fmla="*/ 12071 h 751285"/>
                <a:gd name="connsiteX4" fmla="*/ 10896 w 22587"/>
                <a:gd name="connsiteY4" fmla="*/ 0 h 751285"/>
                <a:gd name="connsiteX5" fmla="*/ 6449 w 22587"/>
                <a:gd name="connsiteY5" fmla="*/ 889 h 751285"/>
                <a:gd name="connsiteX6" fmla="*/ 4162 w 22587"/>
                <a:gd name="connsiteY6" fmla="*/ 2541 h 751285"/>
                <a:gd name="connsiteX7" fmla="*/ 2637 w 22587"/>
                <a:gd name="connsiteY7" fmla="*/ 3558 h 751285"/>
                <a:gd name="connsiteX8" fmla="*/ 1366 w 22587"/>
                <a:gd name="connsiteY8" fmla="*/ 5336 h 751285"/>
                <a:gd name="connsiteX9" fmla="*/ 95 w 22587"/>
                <a:gd name="connsiteY9" fmla="*/ 7242 h 751285"/>
                <a:gd name="connsiteX10" fmla="*/ 95 w 22587"/>
                <a:gd name="connsiteY10" fmla="*/ 9021 h 751285"/>
                <a:gd name="connsiteX11" fmla="*/ 95 w 22587"/>
                <a:gd name="connsiteY11" fmla="*/ 11816 h 751285"/>
                <a:gd name="connsiteX12" fmla="*/ 95 w 22587"/>
                <a:gd name="connsiteY12" fmla="*/ 739343 h 751285"/>
                <a:gd name="connsiteX13" fmla="*/ 10896 w 22587"/>
                <a:gd name="connsiteY13" fmla="*/ 751286 h 75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87" h="751285">
                  <a:moveTo>
                    <a:pt x="10896" y="751286"/>
                  </a:moveTo>
                  <a:cubicBezTo>
                    <a:pt x="17428" y="751222"/>
                    <a:pt x="22650" y="745873"/>
                    <a:pt x="22587" y="739343"/>
                  </a:cubicBezTo>
                  <a:cubicBezTo>
                    <a:pt x="22587" y="739343"/>
                    <a:pt x="22587" y="739343"/>
                    <a:pt x="22587" y="739343"/>
                  </a:cubicBezTo>
                  <a:lnTo>
                    <a:pt x="22587" y="12071"/>
                  </a:lnTo>
                  <a:cubicBezTo>
                    <a:pt x="22663" y="5527"/>
                    <a:pt x="17440" y="140"/>
                    <a:pt x="10896" y="0"/>
                  </a:cubicBezTo>
                  <a:cubicBezTo>
                    <a:pt x="9371" y="25"/>
                    <a:pt x="7872" y="330"/>
                    <a:pt x="6449" y="889"/>
                  </a:cubicBezTo>
                  <a:cubicBezTo>
                    <a:pt x="5610" y="1321"/>
                    <a:pt x="4835" y="1881"/>
                    <a:pt x="4162" y="2541"/>
                  </a:cubicBezTo>
                  <a:cubicBezTo>
                    <a:pt x="3577" y="2757"/>
                    <a:pt x="3056" y="3113"/>
                    <a:pt x="2637" y="3558"/>
                  </a:cubicBezTo>
                  <a:cubicBezTo>
                    <a:pt x="2141" y="4091"/>
                    <a:pt x="1722" y="4688"/>
                    <a:pt x="1366" y="5336"/>
                  </a:cubicBezTo>
                  <a:lnTo>
                    <a:pt x="95" y="7242"/>
                  </a:lnTo>
                  <a:cubicBezTo>
                    <a:pt x="19" y="7839"/>
                    <a:pt x="19" y="8437"/>
                    <a:pt x="95" y="9021"/>
                  </a:cubicBezTo>
                  <a:cubicBezTo>
                    <a:pt x="-32" y="9948"/>
                    <a:pt x="-32" y="10889"/>
                    <a:pt x="95" y="11816"/>
                  </a:cubicBezTo>
                  <a:lnTo>
                    <a:pt x="95" y="739343"/>
                  </a:lnTo>
                  <a:cubicBezTo>
                    <a:pt x="70" y="745518"/>
                    <a:pt x="4746" y="750689"/>
                    <a:pt x="10896" y="751286"/>
                  </a:cubicBezTo>
                  <a:close/>
                </a:path>
              </a:pathLst>
            </a:custGeom>
            <a:solidFill>
              <a:srgbClr val="000000"/>
            </a:solidFill>
            <a:ln w="12704"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98FF9AED-B2F6-4145-9C93-3D8658636713}"/>
                </a:ext>
              </a:extLst>
            </p:cNvPr>
            <p:cNvSpPr/>
            <p:nvPr/>
          </p:nvSpPr>
          <p:spPr>
            <a:xfrm>
              <a:off x="10348099" y="2164591"/>
              <a:ext cx="311828" cy="24140"/>
            </a:xfrm>
            <a:custGeom>
              <a:avLst/>
              <a:gdLst>
                <a:gd name="connsiteX0" fmla="*/ 11056 w 311828"/>
                <a:gd name="connsiteY0" fmla="*/ 635 h 24140"/>
                <a:gd name="connsiteX1" fmla="*/ 8641 w 311828"/>
                <a:gd name="connsiteY1" fmla="*/ 635 h 24140"/>
                <a:gd name="connsiteX2" fmla="*/ 6735 w 311828"/>
                <a:gd name="connsiteY2" fmla="*/ 1270 h 24140"/>
                <a:gd name="connsiteX3" fmla="*/ 4830 w 311828"/>
                <a:gd name="connsiteY3" fmla="*/ 2541 h 24140"/>
                <a:gd name="connsiteX4" fmla="*/ 3050 w 311828"/>
                <a:gd name="connsiteY4" fmla="*/ 4066 h 24140"/>
                <a:gd name="connsiteX5" fmla="*/ 1907 w 311828"/>
                <a:gd name="connsiteY5" fmla="*/ 5844 h 24140"/>
                <a:gd name="connsiteX6" fmla="*/ 763 w 311828"/>
                <a:gd name="connsiteY6" fmla="*/ 8004 h 24140"/>
                <a:gd name="connsiteX7" fmla="*/ 1 w 311828"/>
                <a:gd name="connsiteY7" fmla="*/ 12070 h 24140"/>
                <a:gd name="connsiteX8" fmla="*/ 11691 w 311828"/>
                <a:gd name="connsiteY8" fmla="*/ 24141 h 24140"/>
                <a:gd name="connsiteX9" fmla="*/ 311828 w 311828"/>
                <a:gd name="connsiteY9" fmla="*/ 24141 h 24140"/>
                <a:gd name="connsiteX10" fmla="*/ 303721 w 311828"/>
                <a:gd name="connsiteY10" fmla="*/ 8106 h 24140"/>
                <a:gd name="connsiteX11" fmla="*/ 311828 w 311828"/>
                <a:gd name="connsiteY11" fmla="*/ 0 h 24140"/>
                <a:gd name="connsiteX12" fmla="*/ 11056 w 311828"/>
                <a:gd name="connsiteY12" fmla="*/ 0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828" h="24140">
                  <a:moveTo>
                    <a:pt x="11056" y="635"/>
                  </a:moveTo>
                  <a:lnTo>
                    <a:pt x="8641" y="635"/>
                  </a:lnTo>
                  <a:lnTo>
                    <a:pt x="6735" y="1270"/>
                  </a:lnTo>
                  <a:lnTo>
                    <a:pt x="4830" y="2541"/>
                  </a:lnTo>
                  <a:cubicBezTo>
                    <a:pt x="4181" y="2986"/>
                    <a:pt x="3584" y="3494"/>
                    <a:pt x="3050" y="4066"/>
                  </a:cubicBezTo>
                  <a:lnTo>
                    <a:pt x="1907" y="5844"/>
                  </a:lnTo>
                  <a:cubicBezTo>
                    <a:pt x="1474" y="6543"/>
                    <a:pt x="1094" y="7255"/>
                    <a:pt x="763" y="8004"/>
                  </a:cubicBezTo>
                  <a:cubicBezTo>
                    <a:pt x="319" y="9313"/>
                    <a:pt x="51" y="10685"/>
                    <a:pt x="1" y="12070"/>
                  </a:cubicBezTo>
                  <a:cubicBezTo>
                    <a:pt x="-75" y="18614"/>
                    <a:pt x="5147" y="24001"/>
                    <a:pt x="11691" y="24141"/>
                  </a:cubicBezTo>
                  <a:lnTo>
                    <a:pt x="311828" y="24141"/>
                  </a:lnTo>
                  <a:cubicBezTo>
                    <a:pt x="305158" y="21955"/>
                    <a:pt x="301536" y="14764"/>
                    <a:pt x="303721" y="8106"/>
                  </a:cubicBezTo>
                  <a:cubicBezTo>
                    <a:pt x="304979" y="4269"/>
                    <a:pt x="307991" y="1258"/>
                    <a:pt x="311828" y="0"/>
                  </a:cubicBezTo>
                  <a:lnTo>
                    <a:pt x="11056" y="0"/>
                  </a:lnTo>
                  <a:close/>
                </a:path>
              </a:pathLst>
            </a:custGeom>
            <a:solidFill>
              <a:srgbClr val="000000"/>
            </a:solidFill>
            <a:ln w="12704"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EA9E3279-192D-418A-97EE-5133BB9E15FA}"/>
                </a:ext>
              </a:extLst>
            </p:cNvPr>
            <p:cNvSpPr/>
            <p:nvPr/>
          </p:nvSpPr>
          <p:spPr>
            <a:xfrm>
              <a:off x="10648082" y="2164464"/>
              <a:ext cx="42087" cy="24776"/>
            </a:xfrm>
            <a:custGeom>
              <a:avLst/>
              <a:gdLst>
                <a:gd name="connsiteX0" fmla="*/ 28 w 42087"/>
                <a:gd name="connsiteY0" fmla="*/ 12706 h 24776"/>
                <a:gd name="connsiteX1" fmla="*/ 11718 w 42087"/>
                <a:gd name="connsiteY1" fmla="*/ 24776 h 24776"/>
                <a:gd name="connsiteX2" fmla="*/ 30398 w 42087"/>
                <a:gd name="connsiteY2" fmla="*/ 24776 h 24776"/>
                <a:gd name="connsiteX3" fmla="*/ 30398 w 42087"/>
                <a:gd name="connsiteY3" fmla="*/ 12706 h 24776"/>
                <a:gd name="connsiteX4" fmla="*/ 41554 w 42087"/>
                <a:gd name="connsiteY4" fmla="*/ 25 h 24776"/>
                <a:gd name="connsiteX5" fmla="*/ 42088 w 42087"/>
                <a:gd name="connsiteY5" fmla="*/ 0 h 24776"/>
                <a:gd name="connsiteX6" fmla="*/ 11718 w 42087"/>
                <a:gd name="connsiteY6" fmla="*/ 0 h 24776"/>
                <a:gd name="connsiteX7" fmla="*/ 2 w 42087"/>
                <a:gd name="connsiteY7" fmla="*/ 12172 h 24776"/>
                <a:gd name="connsiteX8" fmla="*/ 28 w 42087"/>
                <a:gd name="connsiteY8" fmla="*/ 12706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87" h="24776">
                  <a:moveTo>
                    <a:pt x="28" y="12706"/>
                  </a:moveTo>
                  <a:cubicBezTo>
                    <a:pt x="-48" y="19249"/>
                    <a:pt x="5175" y="24636"/>
                    <a:pt x="11718" y="24776"/>
                  </a:cubicBezTo>
                  <a:lnTo>
                    <a:pt x="30398" y="24776"/>
                  </a:lnTo>
                  <a:lnTo>
                    <a:pt x="30398" y="12706"/>
                  </a:lnTo>
                  <a:cubicBezTo>
                    <a:pt x="29978" y="6124"/>
                    <a:pt x="34972" y="445"/>
                    <a:pt x="41554" y="25"/>
                  </a:cubicBezTo>
                  <a:cubicBezTo>
                    <a:pt x="41732" y="13"/>
                    <a:pt x="41910" y="0"/>
                    <a:pt x="42088" y="0"/>
                  </a:cubicBezTo>
                  <a:lnTo>
                    <a:pt x="11718" y="0"/>
                  </a:lnTo>
                  <a:cubicBezTo>
                    <a:pt x="5123" y="127"/>
                    <a:pt x="-124" y="5578"/>
                    <a:pt x="2" y="12172"/>
                  </a:cubicBezTo>
                  <a:cubicBezTo>
                    <a:pt x="2" y="12350"/>
                    <a:pt x="15" y="12528"/>
                    <a:pt x="28" y="12706"/>
                  </a:cubicBezTo>
                  <a:close/>
                </a:path>
              </a:pathLst>
            </a:custGeom>
            <a:solidFill>
              <a:srgbClr val="000000"/>
            </a:solidFill>
            <a:ln w="12704"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44131741-4B76-45F6-A720-25C8A85A7E66}"/>
                </a:ext>
              </a:extLst>
            </p:cNvPr>
            <p:cNvSpPr/>
            <p:nvPr/>
          </p:nvSpPr>
          <p:spPr>
            <a:xfrm>
              <a:off x="11296859" y="4221003"/>
              <a:ext cx="23638" cy="62568"/>
            </a:xfrm>
            <a:custGeom>
              <a:avLst/>
              <a:gdLst>
                <a:gd name="connsiteX0" fmla="*/ 10232 w 23638"/>
                <a:gd name="connsiteY0" fmla="*/ 62512 h 62568"/>
                <a:gd name="connsiteX1" fmla="*/ 12265 w 23638"/>
                <a:gd name="connsiteY1" fmla="*/ 62512 h 62568"/>
                <a:gd name="connsiteX2" fmla="*/ 14425 w 23638"/>
                <a:gd name="connsiteY2" fmla="*/ 62512 h 62568"/>
                <a:gd name="connsiteX3" fmla="*/ 23575 w 23638"/>
                <a:gd name="connsiteY3" fmla="*/ 52982 h 62568"/>
                <a:gd name="connsiteX4" fmla="*/ 23575 w 23638"/>
                <a:gd name="connsiteY4" fmla="*/ 50823 h 62568"/>
                <a:gd name="connsiteX5" fmla="*/ 23575 w 23638"/>
                <a:gd name="connsiteY5" fmla="*/ 0 h 62568"/>
                <a:gd name="connsiteX6" fmla="*/ 13040 w 23638"/>
                <a:gd name="connsiteY6" fmla="*/ 12972 h 62568"/>
                <a:gd name="connsiteX7" fmla="*/ 66 w 23638"/>
                <a:gd name="connsiteY7" fmla="*/ 2452 h 62568"/>
                <a:gd name="connsiteX8" fmla="*/ 66 w 23638"/>
                <a:gd name="connsiteY8" fmla="*/ 0 h 62568"/>
                <a:gd name="connsiteX9" fmla="*/ 66 w 23638"/>
                <a:gd name="connsiteY9" fmla="*/ 50823 h 62568"/>
                <a:gd name="connsiteX10" fmla="*/ 10232 w 23638"/>
                <a:gd name="connsiteY10" fmla="*/ 62512 h 6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62568">
                  <a:moveTo>
                    <a:pt x="10232" y="62512"/>
                  </a:moveTo>
                  <a:cubicBezTo>
                    <a:pt x="10906" y="62588"/>
                    <a:pt x="11591" y="62588"/>
                    <a:pt x="12265" y="62512"/>
                  </a:cubicBezTo>
                  <a:cubicBezTo>
                    <a:pt x="12990" y="62575"/>
                    <a:pt x="13701" y="62575"/>
                    <a:pt x="14425" y="62512"/>
                  </a:cubicBezTo>
                  <a:cubicBezTo>
                    <a:pt x="19127" y="61495"/>
                    <a:pt x="22749" y="57722"/>
                    <a:pt x="23575" y="52982"/>
                  </a:cubicBezTo>
                  <a:cubicBezTo>
                    <a:pt x="23638" y="52258"/>
                    <a:pt x="23638" y="51547"/>
                    <a:pt x="23575" y="50823"/>
                  </a:cubicBezTo>
                  <a:lnTo>
                    <a:pt x="23575" y="0"/>
                  </a:lnTo>
                  <a:cubicBezTo>
                    <a:pt x="24248" y="6492"/>
                    <a:pt x="19533" y="12299"/>
                    <a:pt x="13040" y="12972"/>
                  </a:cubicBezTo>
                  <a:cubicBezTo>
                    <a:pt x="6547" y="13658"/>
                    <a:pt x="740" y="8932"/>
                    <a:pt x="66" y="2452"/>
                  </a:cubicBezTo>
                  <a:cubicBezTo>
                    <a:pt x="-22" y="1639"/>
                    <a:pt x="-22" y="813"/>
                    <a:pt x="66" y="0"/>
                  </a:cubicBezTo>
                  <a:lnTo>
                    <a:pt x="66" y="50823"/>
                  </a:lnTo>
                  <a:cubicBezTo>
                    <a:pt x="130" y="56680"/>
                    <a:pt x="4437" y="61635"/>
                    <a:pt x="10232" y="62512"/>
                  </a:cubicBezTo>
                  <a:close/>
                </a:path>
              </a:pathLst>
            </a:custGeom>
            <a:solidFill>
              <a:srgbClr val="000000"/>
            </a:solidFill>
            <a:ln w="12704"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83DE3E86-5E1E-4B4F-990C-C45D053E26B8}"/>
                </a:ext>
              </a:extLst>
            </p:cNvPr>
            <p:cNvSpPr/>
            <p:nvPr/>
          </p:nvSpPr>
          <p:spPr>
            <a:xfrm>
              <a:off x="11297370" y="3943620"/>
              <a:ext cx="23638" cy="291054"/>
            </a:xfrm>
            <a:custGeom>
              <a:avLst/>
              <a:gdLst>
                <a:gd name="connsiteX0" fmla="*/ 64 w 23638"/>
                <a:gd name="connsiteY0" fmla="*/ 11961 h 291054"/>
                <a:gd name="connsiteX1" fmla="*/ 64 w 23638"/>
                <a:gd name="connsiteY1" fmla="*/ 278018 h 291054"/>
                <a:gd name="connsiteX2" fmla="*/ 10598 w 23638"/>
                <a:gd name="connsiteY2" fmla="*/ 290990 h 291054"/>
                <a:gd name="connsiteX3" fmla="*/ 23572 w 23638"/>
                <a:gd name="connsiteY3" fmla="*/ 280470 h 291054"/>
                <a:gd name="connsiteX4" fmla="*/ 23572 w 23638"/>
                <a:gd name="connsiteY4" fmla="*/ 278018 h 291054"/>
                <a:gd name="connsiteX5" fmla="*/ 23572 w 23638"/>
                <a:gd name="connsiteY5" fmla="*/ 11961 h 291054"/>
                <a:gd name="connsiteX6" fmla="*/ 23572 w 23638"/>
                <a:gd name="connsiteY6" fmla="*/ 10564 h 291054"/>
                <a:gd name="connsiteX7" fmla="*/ 23572 w 23638"/>
                <a:gd name="connsiteY7" fmla="*/ 8150 h 291054"/>
                <a:gd name="connsiteX8" fmla="*/ 22555 w 23638"/>
                <a:gd name="connsiteY8" fmla="*/ 6117 h 291054"/>
                <a:gd name="connsiteX9" fmla="*/ 21284 w 23638"/>
                <a:gd name="connsiteY9" fmla="*/ 4211 h 291054"/>
                <a:gd name="connsiteX10" fmla="*/ 19505 w 23638"/>
                <a:gd name="connsiteY10" fmla="*/ 2559 h 291054"/>
                <a:gd name="connsiteX11" fmla="*/ 12517 w 23638"/>
                <a:gd name="connsiteY11" fmla="*/ 18 h 291054"/>
                <a:gd name="connsiteX12" fmla="*/ 77 w 23638"/>
                <a:gd name="connsiteY12" fmla="*/ 11186 h 291054"/>
                <a:gd name="connsiteX13" fmla="*/ 64 w 23638"/>
                <a:gd name="connsiteY13" fmla="*/ 11961 h 29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291054">
                  <a:moveTo>
                    <a:pt x="64" y="11961"/>
                  </a:moveTo>
                  <a:lnTo>
                    <a:pt x="64" y="278018"/>
                  </a:lnTo>
                  <a:cubicBezTo>
                    <a:pt x="-610" y="284510"/>
                    <a:pt x="4105" y="290317"/>
                    <a:pt x="10598" y="290990"/>
                  </a:cubicBezTo>
                  <a:cubicBezTo>
                    <a:pt x="17091" y="291664"/>
                    <a:pt x="22898" y="286950"/>
                    <a:pt x="23572" y="280470"/>
                  </a:cubicBezTo>
                  <a:cubicBezTo>
                    <a:pt x="23661" y="279657"/>
                    <a:pt x="23661" y="278831"/>
                    <a:pt x="23572" y="278018"/>
                  </a:cubicBezTo>
                  <a:lnTo>
                    <a:pt x="23572" y="11961"/>
                  </a:lnTo>
                  <a:cubicBezTo>
                    <a:pt x="23635" y="11491"/>
                    <a:pt x="23635" y="11034"/>
                    <a:pt x="23572" y="10564"/>
                  </a:cubicBezTo>
                  <a:cubicBezTo>
                    <a:pt x="23648" y="9763"/>
                    <a:pt x="23648" y="8950"/>
                    <a:pt x="23572" y="8150"/>
                  </a:cubicBezTo>
                  <a:cubicBezTo>
                    <a:pt x="23305" y="7438"/>
                    <a:pt x="22974" y="6752"/>
                    <a:pt x="22555" y="6117"/>
                  </a:cubicBezTo>
                  <a:cubicBezTo>
                    <a:pt x="22238" y="5418"/>
                    <a:pt x="21806" y="4770"/>
                    <a:pt x="21284" y="4211"/>
                  </a:cubicBezTo>
                  <a:cubicBezTo>
                    <a:pt x="20751" y="3601"/>
                    <a:pt x="20154" y="3042"/>
                    <a:pt x="19505" y="2559"/>
                  </a:cubicBezTo>
                  <a:cubicBezTo>
                    <a:pt x="17523" y="958"/>
                    <a:pt x="15071" y="69"/>
                    <a:pt x="12517" y="18"/>
                  </a:cubicBezTo>
                  <a:cubicBezTo>
                    <a:pt x="5998" y="-338"/>
                    <a:pt x="433" y="4668"/>
                    <a:pt x="77" y="11186"/>
                  </a:cubicBezTo>
                  <a:cubicBezTo>
                    <a:pt x="64" y="11440"/>
                    <a:pt x="64" y="11694"/>
                    <a:pt x="64" y="11961"/>
                  </a:cubicBezTo>
                  <a:close/>
                </a:path>
              </a:pathLst>
            </a:custGeom>
            <a:solidFill>
              <a:srgbClr val="000000"/>
            </a:solidFill>
            <a:ln w="12704"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DB0B3ED6-2ADD-4190-A5F9-9D3ADD881E64}"/>
                </a:ext>
              </a:extLst>
            </p:cNvPr>
            <p:cNvSpPr/>
            <p:nvPr/>
          </p:nvSpPr>
          <p:spPr>
            <a:xfrm>
              <a:off x="10678480" y="2165480"/>
              <a:ext cx="23380" cy="95292"/>
            </a:xfrm>
            <a:custGeom>
              <a:avLst/>
              <a:gdLst>
                <a:gd name="connsiteX0" fmla="*/ 0 w 23380"/>
                <a:gd name="connsiteY0" fmla="*/ 11689 h 95292"/>
                <a:gd name="connsiteX1" fmla="*/ 0 w 23380"/>
                <a:gd name="connsiteY1" fmla="*/ 95292 h 95292"/>
                <a:gd name="connsiteX2" fmla="*/ 11690 w 23380"/>
                <a:gd name="connsiteY2" fmla="*/ 83603 h 95292"/>
                <a:gd name="connsiteX3" fmla="*/ 23380 w 23380"/>
                <a:gd name="connsiteY3" fmla="*/ 95292 h 95292"/>
                <a:gd name="connsiteX4" fmla="*/ 23380 w 23380"/>
                <a:gd name="connsiteY4" fmla="*/ 11689 h 95292"/>
                <a:gd name="connsiteX5" fmla="*/ 11690 w 23380"/>
                <a:gd name="connsiteY5" fmla="*/ 0 h 95292"/>
                <a:gd name="connsiteX6" fmla="*/ 0 w 23380"/>
                <a:gd name="connsiteY6" fmla="*/ 11689 h 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0" h="95292">
                  <a:moveTo>
                    <a:pt x="0" y="11689"/>
                  </a:moveTo>
                  <a:lnTo>
                    <a:pt x="0" y="95292"/>
                  </a:lnTo>
                  <a:cubicBezTo>
                    <a:pt x="0" y="88838"/>
                    <a:pt x="5235" y="83603"/>
                    <a:pt x="11690" y="83603"/>
                  </a:cubicBezTo>
                  <a:cubicBezTo>
                    <a:pt x="18145" y="83603"/>
                    <a:pt x="23380" y="88838"/>
                    <a:pt x="23380" y="95292"/>
                  </a:cubicBezTo>
                  <a:lnTo>
                    <a:pt x="23380" y="11689"/>
                  </a:lnTo>
                  <a:cubicBezTo>
                    <a:pt x="23380" y="5235"/>
                    <a:pt x="18145" y="0"/>
                    <a:pt x="11690" y="0"/>
                  </a:cubicBezTo>
                  <a:cubicBezTo>
                    <a:pt x="5235" y="0"/>
                    <a:pt x="0" y="5235"/>
                    <a:pt x="0" y="11689"/>
                  </a:cubicBezTo>
                  <a:close/>
                </a:path>
              </a:pathLst>
            </a:custGeom>
            <a:solidFill>
              <a:srgbClr val="000000"/>
            </a:solidFill>
            <a:ln w="12704"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FE401677-1AB5-42A4-83D4-C437A6E5241E}"/>
                </a:ext>
              </a:extLst>
            </p:cNvPr>
            <p:cNvSpPr/>
            <p:nvPr/>
          </p:nvSpPr>
          <p:spPr>
            <a:xfrm>
              <a:off x="10678861" y="2249083"/>
              <a:ext cx="23381" cy="1018104"/>
            </a:xfrm>
            <a:custGeom>
              <a:avLst/>
              <a:gdLst>
                <a:gd name="connsiteX0" fmla="*/ 11309 w 23381"/>
                <a:gd name="connsiteY0" fmla="*/ 1018105 h 1018104"/>
                <a:gd name="connsiteX1" fmla="*/ 23381 w 23381"/>
                <a:gd name="connsiteY1" fmla="*/ 1018105 h 1018104"/>
                <a:gd name="connsiteX2" fmla="*/ 23381 w 23381"/>
                <a:gd name="connsiteY2" fmla="*/ 11689 h 1018104"/>
                <a:gd name="connsiteX3" fmla="*/ 11691 w 23381"/>
                <a:gd name="connsiteY3" fmla="*/ 0 h 1018104"/>
                <a:gd name="connsiteX4" fmla="*/ 0 w 23381"/>
                <a:gd name="connsiteY4" fmla="*/ 11689 h 1018104"/>
                <a:gd name="connsiteX5" fmla="*/ 0 w 23381"/>
                <a:gd name="connsiteY5" fmla="*/ 1018105 h 101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1018104">
                  <a:moveTo>
                    <a:pt x="11309" y="1018105"/>
                  </a:moveTo>
                  <a:lnTo>
                    <a:pt x="23381" y="1018105"/>
                  </a:lnTo>
                  <a:lnTo>
                    <a:pt x="23381" y="11689"/>
                  </a:lnTo>
                  <a:cubicBezTo>
                    <a:pt x="23381" y="5235"/>
                    <a:pt x="18146" y="0"/>
                    <a:pt x="11691" y="0"/>
                  </a:cubicBezTo>
                  <a:cubicBezTo>
                    <a:pt x="5236" y="0"/>
                    <a:pt x="0" y="5235"/>
                    <a:pt x="0" y="11689"/>
                  </a:cubicBezTo>
                  <a:lnTo>
                    <a:pt x="0" y="1018105"/>
                  </a:lnTo>
                  <a:close/>
                </a:path>
              </a:pathLst>
            </a:custGeom>
            <a:solidFill>
              <a:srgbClr val="000000"/>
            </a:solidFill>
            <a:ln w="12704"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F40116FE-5B3A-4152-8F86-6E1E8AD71E61}"/>
                </a:ext>
              </a:extLst>
            </p:cNvPr>
            <p:cNvSpPr/>
            <p:nvPr/>
          </p:nvSpPr>
          <p:spPr>
            <a:xfrm>
              <a:off x="8610908" y="2924262"/>
              <a:ext cx="22703" cy="353725"/>
            </a:xfrm>
            <a:custGeom>
              <a:avLst/>
              <a:gdLst>
                <a:gd name="connsiteX0" fmla="*/ 10829 w 22703"/>
                <a:gd name="connsiteY0" fmla="*/ 341147 h 353725"/>
                <a:gd name="connsiteX1" fmla="*/ 17691 w 22703"/>
                <a:gd name="connsiteY1" fmla="*/ 343688 h 353725"/>
                <a:gd name="connsiteX2" fmla="*/ 22647 w 22703"/>
                <a:gd name="connsiteY2" fmla="*/ 343688 h 353725"/>
                <a:gd name="connsiteX3" fmla="*/ 22647 w 22703"/>
                <a:gd name="connsiteY3" fmla="*/ 11562 h 353725"/>
                <a:gd name="connsiteX4" fmla="*/ 22647 w 22703"/>
                <a:gd name="connsiteY4" fmla="*/ 11562 h 353725"/>
                <a:gd name="connsiteX5" fmla="*/ 22647 w 22703"/>
                <a:gd name="connsiteY5" fmla="*/ 10292 h 353725"/>
                <a:gd name="connsiteX6" fmla="*/ 22647 w 22703"/>
                <a:gd name="connsiteY6" fmla="*/ 7877 h 353725"/>
                <a:gd name="connsiteX7" fmla="*/ 21884 w 22703"/>
                <a:gd name="connsiteY7" fmla="*/ 6353 h 353725"/>
                <a:gd name="connsiteX8" fmla="*/ 20614 w 22703"/>
                <a:gd name="connsiteY8" fmla="*/ 4447 h 353725"/>
                <a:gd name="connsiteX9" fmla="*/ 19089 w 22703"/>
                <a:gd name="connsiteY9" fmla="*/ 2922 h 353725"/>
                <a:gd name="connsiteX10" fmla="*/ 17310 w 22703"/>
                <a:gd name="connsiteY10" fmla="*/ 1652 h 353725"/>
                <a:gd name="connsiteX11" fmla="*/ 15149 w 22703"/>
                <a:gd name="connsiteY11" fmla="*/ 762 h 353725"/>
                <a:gd name="connsiteX12" fmla="*/ 11719 w 22703"/>
                <a:gd name="connsiteY12" fmla="*/ 0 h 353725"/>
                <a:gd name="connsiteX13" fmla="*/ 28 w 22703"/>
                <a:gd name="connsiteY13" fmla="*/ 12070 h 353725"/>
                <a:gd name="connsiteX14" fmla="*/ 28 w 22703"/>
                <a:gd name="connsiteY14" fmla="*/ 353726 h 353725"/>
                <a:gd name="connsiteX15" fmla="*/ 10829 w 22703"/>
                <a:gd name="connsiteY15" fmla="*/ 341147 h 35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03" h="353725">
                  <a:moveTo>
                    <a:pt x="10829" y="341147"/>
                  </a:moveTo>
                  <a:cubicBezTo>
                    <a:pt x="13345" y="341173"/>
                    <a:pt x="15772" y="342075"/>
                    <a:pt x="17691" y="343688"/>
                  </a:cubicBezTo>
                  <a:lnTo>
                    <a:pt x="22647" y="343688"/>
                  </a:lnTo>
                  <a:lnTo>
                    <a:pt x="22647" y="11562"/>
                  </a:lnTo>
                  <a:lnTo>
                    <a:pt x="22647" y="11562"/>
                  </a:lnTo>
                  <a:cubicBezTo>
                    <a:pt x="22647" y="11562"/>
                    <a:pt x="22647" y="10673"/>
                    <a:pt x="22647" y="10292"/>
                  </a:cubicBezTo>
                  <a:cubicBezTo>
                    <a:pt x="22723" y="9491"/>
                    <a:pt x="22723" y="8678"/>
                    <a:pt x="22647" y="7877"/>
                  </a:cubicBezTo>
                  <a:cubicBezTo>
                    <a:pt x="22443" y="7344"/>
                    <a:pt x="22189" y="6836"/>
                    <a:pt x="21884" y="6353"/>
                  </a:cubicBezTo>
                  <a:lnTo>
                    <a:pt x="20614" y="4447"/>
                  </a:lnTo>
                  <a:lnTo>
                    <a:pt x="19089" y="2922"/>
                  </a:lnTo>
                  <a:lnTo>
                    <a:pt x="17310" y="1652"/>
                  </a:lnTo>
                  <a:lnTo>
                    <a:pt x="15149" y="762"/>
                  </a:lnTo>
                  <a:cubicBezTo>
                    <a:pt x="14057" y="318"/>
                    <a:pt x="12901" y="64"/>
                    <a:pt x="11719" y="0"/>
                  </a:cubicBezTo>
                  <a:cubicBezTo>
                    <a:pt x="5175" y="140"/>
                    <a:pt x="-48" y="5527"/>
                    <a:pt x="28" y="12070"/>
                  </a:cubicBezTo>
                  <a:lnTo>
                    <a:pt x="28" y="353726"/>
                  </a:lnTo>
                  <a:cubicBezTo>
                    <a:pt x="-416" y="347284"/>
                    <a:pt x="4400" y="341694"/>
                    <a:pt x="10829" y="341147"/>
                  </a:cubicBezTo>
                  <a:close/>
                </a:path>
              </a:pathLst>
            </a:custGeom>
            <a:solidFill>
              <a:srgbClr val="000000"/>
            </a:solidFill>
            <a:ln w="12704"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5A813644-D2A5-441B-9B43-7A14D31CA22A}"/>
                </a:ext>
              </a:extLst>
            </p:cNvPr>
            <p:cNvSpPr/>
            <p:nvPr/>
          </p:nvSpPr>
          <p:spPr>
            <a:xfrm>
              <a:off x="8633555" y="3290821"/>
              <a:ext cx="4701" cy="1144"/>
            </a:xfrm>
            <a:custGeom>
              <a:avLst/>
              <a:gdLst>
                <a:gd name="connsiteX0" fmla="*/ 4701 w 4701"/>
                <a:gd name="connsiteY0" fmla="*/ 1143 h 1144"/>
                <a:gd name="connsiteX1" fmla="*/ 0 w 4701"/>
                <a:gd name="connsiteY1" fmla="*/ 0 h 1144"/>
                <a:gd name="connsiteX2" fmla="*/ 0 w 4701"/>
                <a:gd name="connsiteY2" fmla="*/ 1143 h 1144"/>
                <a:gd name="connsiteX3" fmla="*/ 4701 w 4701"/>
                <a:gd name="connsiteY3" fmla="*/ 1143 h 1144"/>
              </a:gdLst>
              <a:ahLst/>
              <a:cxnLst>
                <a:cxn ang="0">
                  <a:pos x="connsiteX0" y="connsiteY0"/>
                </a:cxn>
                <a:cxn ang="0">
                  <a:pos x="connsiteX1" y="connsiteY1"/>
                </a:cxn>
                <a:cxn ang="0">
                  <a:pos x="connsiteX2" y="connsiteY2"/>
                </a:cxn>
                <a:cxn ang="0">
                  <a:pos x="connsiteX3" y="connsiteY3"/>
                </a:cxn>
              </a:cxnLst>
              <a:rect l="l" t="t" r="r" b="b"/>
              <a:pathLst>
                <a:path w="4701" h="1144">
                  <a:moveTo>
                    <a:pt x="4701" y="1143"/>
                  </a:moveTo>
                  <a:cubicBezTo>
                    <a:pt x="3062" y="1169"/>
                    <a:pt x="1448" y="775"/>
                    <a:pt x="0" y="0"/>
                  </a:cubicBezTo>
                  <a:lnTo>
                    <a:pt x="0" y="1143"/>
                  </a:lnTo>
                  <a:lnTo>
                    <a:pt x="4701" y="1143"/>
                  </a:lnTo>
                  <a:close/>
                </a:path>
              </a:pathLst>
            </a:custGeom>
            <a:solidFill>
              <a:srgbClr val="000000"/>
            </a:solidFill>
            <a:ln w="12704"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8550E925-82B1-4285-A496-34A3F42FF371}"/>
                </a:ext>
              </a:extLst>
            </p:cNvPr>
            <p:cNvSpPr/>
            <p:nvPr/>
          </p:nvSpPr>
          <p:spPr>
            <a:xfrm>
              <a:off x="8628599" y="3267951"/>
              <a:ext cx="9657" cy="2541"/>
            </a:xfrm>
            <a:custGeom>
              <a:avLst/>
              <a:gdLst>
                <a:gd name="connsiteX0" fmla="*/ 0 w 9657"/>
                <a:gd name="connsiteY0" fmla="*/ 0 h 2541"/>
                <a:gd name="connsiteX1" fmla="*/ 2542 w 9657"/>
                <a:gd name="connsiteY1" fmla="*/ 2541 h 2541"/>
                <a:gd name="connsiteX2" fmla="*/ 9657 w 9657"/>
                <a:gd name="connsiteY2" fmla="*/ 0 h 2541"/>
                <a:gd name="connsiteX3" fmla="*/ 0 w 9657"/>
                <a:gd name="connsiteY3" fmla="*/ 0 h 2541"/>
              </a:gdLst>
              <a:ahLst/>
              <a:cxnLst>
                <a:cxn ang="0">
                  <a:pos x="connsiteX0" y="connsiteY0"/>
                </a:cxn>
                <a:cxn ang="0">
                  <a:pos x="connsiteX1" y="connsiteY1"/>
                </a:cxn>
                <a:cxn ang="0">
                  <a:pos x="connsiteX2" y="connsiteY2"/>
                </a:cxn>
                <a:cxn ang="0">
                  <a:pos x="connsiteX3" y="connsiteY3"/>
                </a:cxn>
              </a:cxnLst>
              <a:rect l="l" t="t" r="r" b="b"/>
              <a:pathLst>
                <a:path w="9657" h="2541">
                  <a:moveTo>
                    <a:pt x="0" y="0"/>
                  </a:moveTo>
                  <a:cubicBezTo>
                    <a:pt x="1029" y="648"/>
                    <a:pt x="1894" y="1512"/>
                    <a:pt x="2542" y="2541"/>
                  </a:cubicBezTo>
                  <a:cubicBezTo>
                    <a:pt x="4562" y="915"/>
                    <a:pt x="7065" y="25"/>
                    <a:pt x="9657" y="0"/>
                  </a:cubicBezTo>
                  <a:lnTo>
                    <a:pt x="0" y="0"/>
                  </a:lnTo>
                  <a:close/>
                </a:path>
              </a:pathLst>
            </a:custGeom>
            <a:solidFill>
              <a:srgbClr val="000000"/>
            </a:solidFill>
            <a:ln w="12704"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373C0A62-9CB4-489C-879E-8FFB3AF817CA}"/>
                </a:ext>
              </a:extLst>
            </p:cNvPr>
            <p:cNvSpPr/>
            <p:nvPr/>
          </p:nvSpPr>
          <p:spPr>
            <a:xfrm>
              <a:off x="8631141" y="3267696"/>
              <a:ext cx="428477" cy="24267"/>
            </a:xfrm>
            <a:custGeom>
              <a:avLst/>
              <a:gdLst>
                <a:gd name="connsiteX0" fmla="*/ 9149 w 428477"/>
                <a:gd name="connsiteY0" fmla="*/ 24268 h 24267"/>
                <a:gd name="connsiteX1" fmla="*/ 428477 w 428477"/>
                <a:gd name="connsiteY1" fmla="*/ 24268 h 24267"/>
                <a:gd name="connsiteX2" fmla="*/ 419074 w 428477"/>
                <a:gd name="connsiteY2" fmla="*/ 12706 h 24267"/>
                <a:gd name="connsiteX3" fmla="*/ 419074 w 428477"/>
                <a:gd name="connsiteY3" fmla="*/ 0 h 24267"/>
                <a:gd name="connsiteX4" fmla="*/ 7116 w 428477"/>
                <a:gd name="connsiteY4" fmla="*/ 0 h 24267"/>
                <a:gd name="connsiteX5" fmla="*/ 0 w 428477"/>
                <a:gd name="connsiteY5" fmla="*/ 2541 h 24267"/>
                <a:gd name="connsiteX6" fmla="*/ 2414 w 428477"/>
                <a:gd name="connsiteY6" fmla="*/ 9402 h 24267"/>
                <a:gd name="connsiteX7" fmla="*/ 2414 w 428477"/>
                <a:gd name="connsiteY7" fmla="*/ 22870 h 24267"/>
                <a:gd name="connsiteX8" fmla="*/ 7116 w 428477"/>
                <a:gd name="connsiteY8" fmla="*/ 24014 h 2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477" h="24267">
                  <a:moveTo>
                    <a:pt x="9149" y="24268"/>
                  </a:moveTo>
                  <a:lnTo>
                    <a:pt x="428477" y="24268"/>
                  </a:lnTo>
                  <a:cubicBezTo>
                    <a:pt x="423001" y="23124"/>
                    <a:pt x="419074" y="18296"/>
                    <a:pt x="419074" y="12706"/>
                  </a:cubicBezTo>
                  <a:lnTo>
                    <a:pt x="419074" y="0"/>
                  </a:lnTo>
                  <a:lnTo>
                    <a:pt x="7116" y="0"/>
                  </a:lnTo>
                  <a:cubicBezTo>
                    <a:pt x="4524" y="25"/>
                    <a:pt x="2020" y="927"/>
                    <a:pt x="0" y="2541"/>
                  </a:cubicBezTo>
                  <a:cubicBezTo>
                    <a:pt x="1461" y="4549"/>
                    <a:pt x="2300" y="6925"/>
                    <a:pt x="2414" y="9402"/>
                  </a:cubicBezTo>
                  <a:lnTo>
                    <a:pt x="2414" y="22870"/>
                  </a:lnTo>
                  <a:cubicBezTo>
                    <a:pt x="3863" y="23645"/>
                    <a:pt x="5477" y="24039"/>
                    <a:pt x="7116" y="24014"/>
                  </a:cubicBezTo>
                  <a:close/>
                </a:path>
              </a:pathLst>
            </a:custGeom>
            <a:solidFill>
              <a:srgbClr val="000000"/>
            </a:solidFill>
            <a:ln w="12704"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EB810BBA-4829-4531-9E18-BB0C35DC3E4A}"/>
                </a:ext>
              </a:extLst>
            </p:cNvPr>
            <p:cNvSpPr/>
            <p:nvPr/>
          </p:nvSpPr>
          <p:spPr>
            <a:xfrm>
              <a:off x="8610046" y="2487823"/>
              <a:ext cx="23508" cy="234546"/>
            </a:xfrm>
            <a:custGeom>
              <a:avLst/>
              <a:gdLst>
                <a:gd name="connsiteX0" fmla="*/ 11691 w 23508"/>
                <a:gd name="connsiteY0" fmla="*/ 11943 h 234546"/>
                <a:gd name="connsiteX1" fmla="*/ 1 w 23508"/>
                <a:gd name="connsiteY1" fmla="*/ 0 h 234546"/>
                <a:gd name="connsiteX2" fmla="*/ 1 w 23508"/>
                <a:gd name="connsiteY2" fmla="*/ 0 h 234546"/>
                <a:gd name="connsiteX3" fmla="*/ 1 w 23508"/>
                <a:gd name="connsiteY3" fmla="*/ 234547 h 234546"/>
                <a:gd name="connsiteX4" fmla="*/ 1272 w 23508"/>
                <a:gd name="connsiteY4" fmla="*/ 234547 h 234546"/>
                <a:gd name="connsiteX5" fmla="*/ 23509 w 23508"/>
                <a:gd name="connsiteY5" fmla="*/ 234547 h 234546"/>
                <a:gd name="connsiteX6" fmla="*/ 23509 w 23508"/>
                <a:gd name="connsiteY6" fmla="*/ 0 h 234546"/>
                <a:gd name="connsiteX7" fmla="*/ 11691 w 23508"/>
                <a:gd name="connsiteY7" fmla="*/ 11943 h 23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08" h="234546">
                  <a:moveTo>
                    <a:pt x="11691" y="11943"/>
                  </a:moveTo>
                  <a:cubicBezTo>
                    <a:pt x="5160" y="11880"/>
                    <a:pt x="-76" y="6531"/>
                    <a:pt x="1" y="0"/>
                  </a:cubicBezTo>
                  <a:cubicBezTo>
                    <a:pt x="1" y="0"/>
                    <a:pt x="1" y="0"/>
                    <a:pt x="1" y="0"/>
                  </a:cubicBezTo>
                  <a:lnTo>
                    <a:pt x="1" y="234547"/>
                  </a:lnTo>
                  <a:lnTo>
                    <a:pt x="1272" y="234547"/>
                  </a:lnTo>
                  <a:lnTo>
                    <a:pt x="23509" y="234547"/>
                  </a:lnTo>
                  <a:lnTo>
                    <a:pt x="23509" y="0"/>
                  </a:lnTo>
                  <a:cubicBezTo>
                    <a:pt x="23509" y="6543"/>
                    <a:pt x="18235" y="11880"/>
                    <a:pt x="11691" y="11943"/>
                  </a:cubicBezTo>
                  <a:close/>
                </a:path>
              </a:pathLst>
            </a:custGeom>
            <a:solidFill>
              <a:srgbClr val="000000"/>
            </a:solidFill>
            <a:ln w="12704"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360883D1-7653-4827-902F-F7B6611F5830}"/>
                </a:ext>
              </a:extLst>
            </p:cNvPr>
            <p:cNvSpPr/>
            <p:nvPr/>
          </p:nvSpPr>
          <p:spPr>
            <a:xfrm>
              <a:off x="8621737" y="762140"/>
              <a:ext cx="288828" cy="24013"/>
            </a:xfrm>
            <a:custGeom>
              <a:avLst/>
              <a:gdLst>
                <a:gd name="connsiteX0" fmla="*/ 11818 w 288828"/>
                <a:gd name="connsiteY0" fmla="*/ 12070 h 24013"/>
                <a:gd name="connsiteX1" fmla="*/ 11818 w 288828"/>
                <a:gd name="connsiteY1" fmla="*/ 24014 h 24013"/>
                <a:gd name="connsiteX2" fmla="*/ 288828 w 288828"/>
                <a:gd name="connsiteY2" fmla="*/ 24014 h 24013"/>
                <a:gd name="connsiteX3" fmla="*/ 278053 w 288828"/>
                <a:gd name="connsiteY3" fmla="*/ 10771 h 24013"/>
                <a:gd name="connsiteX4" fmla="*/ 288828 w 288828"/>
                <a:gd name="connsiteY4" fmla="*/ 0 h 24013"/>
                <a:gd name="connsiteX5" fmla="*/ 0 w 288828"/>
                <a:gd name="connsiteY5" fmla="*/ 0 h 24013"/>
                <a:gd name="connsiteX6" fmla="*/ 11818 w 288828"/>
                <a:gd name="connsiteY6" fmla="*/ 12069 h 24013"/>
                <a:gd name="connsiteX7" fmla="*/ 11818 w 288828"/>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28" h="24013">
                  <a:moveTo>
                    <a:pt x="11818" y="12070"/>
                  </a:moveTo>
                  <a:lnTo>
                    <a:pt x="11818" y="24014"/>
                  </a:lnTo>
                  <a:lnTo>
                    <a:pt x="288828" y="24014"/>
                  </a:lnTo>
                  <a:cubicBezTo>
                    <a:pt x="282195" y="23330"/>
                    <a:pt x="277380" y="17402"/>
                    <a:pt x="278053" y="10771"/>
                  </a:cubicBezTo>
                  <a:cubicBezTo>
                    <a:pt x="278637" y="5082"/>
                    <a:pt x="283136" y="586"/>
                    <a:pt x="288828" y="0"/>
                  </a:cubicBezTo>
                  <a:lnTo>
                    <a:pt x="0" y="0"/>
                  </a:lnTo>
                  <a:cubicBezTo>
                    <a:pt x="6595" y="70"/>
                    <a:pt x="11881" y="5474"/>
                    <a:pt x="11818" y="12069"/>
                  </a:cubicBezTo>
                  <a:cubicBezTo>
                    <a:pt x="11818" y="12069"/>
                    <a:pt x="11818" y="12070"/>
                    <a:pt x="11818" y="12070"/>
                  </a:cubicBezTo>
                  <a:close/>
                </a:path>
              </a:pathLst>
            </a:custGeom>
            <a:solidFill>
              <a:srgbClr val="000000"/>
            </a:solidFill>
            <a:ln w="12704"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831E00FD-7251-4538-8555-182D5E403593}"/>
                </a:ext>
              </a:extLst>
            </p:cNvPr>
            <p:cNvSpPr/>
            <p:nvPr/>
          </p:nvSpPr>
          <p:spPr>
            <a:xfrm>
              <a:off x="8899728" y="762521"/>
              <a:ext cx="181492" cy="24013"/>
            </a:xfrm>
            <a:custGeom>
              <a:avLst/>
              <a:gdLst>
                <a:gd name="connsiteX0" fmla="*/ 167642 w 181492"/>
                <a:gd name="connsiteY0" fmla="*/ 23633 h 24013"/>
                <a:gd name="connsiteX1" fmla="*/ 169802 w 181492"/>
                <a:gd name="connsiteY1" fmla="*/ 23633 h 24013"/>
                <a:gd name="connsiteX2" fmla="*/ 171835 w 181492"/>
                <a:gd name="connsiteY2" fmla="*/ 23633 h 24013"/>
                <a:gd name="connsiteX3" fmla="*/ 181492 w 181492"/>
                <a:gd name="connsiteY3" fmla="*/ 12070 h 24013"/>
                <a:gd name="connsiteX4" fmla="*/ 180603 w 181492"/>
                <a:gd name="connsiteY4" fmla="*/ 7369 h 24013"/>
                <a:gd name="connsiteX5" fmla="*/ 178061 w 181492"/>
                <a:gd name="connsiteY5" fmla="*/ 3431 h 24013"/>
                <a:gd name="connsiteX6" fmla="*/ 176155 w 181492"/>
                <a:gd name="connsiteY6" fmla="*/ 2160 h 24013"/>
                <a:gd name="connsiteX7" fmla="*/ 174249 w 181492"/>
                <a:gd name="connsiteY7" fmla="*/ 889 h 24013"/>
                <a:gd name="connsiteX8" fmla="*/ 169802 w 181492"/>
                <a:gd name="connsiteY8" fmla="*/ 0 h 24013"/>
                <a:gd name="connsiteX9" fmla="*/ 10838 w 181492"/>
                <a:gd name="connsiteY9" fmla="*/ 0 h 24013"/>
                <a:gd name="connsiteX10" fmla="*/ 63 w 181492"/>
                <a:gd name="connsiteY10" fmla="*/ 13243 h 24013"/>
                <a:gd name="connsiteX11" fmla="*/ 10838 w 181492"/>
                <a:gd name="connsiteY11" fmla="*/ 24014 h 24013"/>
                <a:gd name="connsiteX12" fmla="*/ 167642 w 181492"/>
                <a:gd name="connsiteY12"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492" h="24013">
                  <a:moveTo>
                    <a:pt x="167642" y="23633"/>
                  </a:moveTo>
                  <a:lnTo>
                    <a:pt x="169802" y="23633"/>
                  </a:lnTo>
                  <a:lnTo>
                    <a:pt x="171835" y="23633"/>
                  </a:lnTo>
                  <a:cubicBezTo>
                    <a:pt x="177439" y="22643"/>
                    <a:pt x="181518" y="17761"/>
                    <a:pt x="181492" y="12070"/>
                  </a:cubicBezTo>
                  <a:cubicBezTo>
                    <a:pt x="181467" y="10464"/>
                    <a:pt x="181162" y="8874"/>
                    <a:pt x="180603" y="7369"/>
                  </a:cubicBezTo>
                  <a:cubicBezTo>
                    <a:pt x="179955" y="5940"/>
                    <a:pt x="179091" y="4612"/>
                    <a:pt x="178061" y="3431"/>
                  </a:cubicBezTo>
                  <a:lnTo>
                    <a:pt x="176155" y="2160"/>
                  </a:lnTo>
                  <a:cubicBezTo>
                    <a:pt x="175520" y="2160"/>
                    <a:pt x="175012" y="1271"/>
                    <a:pt x="174249" y="889"/>
                  </a:cubicBezTo>
                  <a:cubicBezTo>
                    <a:pt x="172826" y="329"/>
                    <a:pt x="171327" y="28"/>
                    <a:pt x="169802" y="0"/>
                  </a:cubicBezTo>
                  <a:lnTo>
                    <a:pt x="10838" y="0"/>
                  </a:lnTo>
                  <a:cubicBezTo>
                    <a:pt x="4205" y="684"/>
                    <a:pt x="-611" y="6612"/>
                    <a:pt x="63" y="13243"/>
                  </a:cubicBezTo>
                  <a:cubicBezTo>
                    <a:pt x="647" y="18931"/>
                    <a:pt x="5146" y="23428"/>
                    <a:pt x="10838" y="24014"/>
                  </a:cubicBezTo>
                  <a:lnTo>
                    <a:pt x="167642" y="24014"/>
                  </a:lnTo>
                  <a:close/>
                </a:path>
              </a:pathLst>
            </a:custGeom>
            <a:solidFill>
              <a:srgbClr val="000000"/>
            </a:solidFill>
            <a:ln w="12704"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270E294C-5162-45EF-BFB0-34154DD8AC32}"/>
                </a:ext>
              </a:extLst>
            </p:cNvPr>
            <p:cNvSpPr/>
            <p:nvPr/>
          </p:nvSpPr>
          <p:spPr>
            <a:xfrm>
              <a:off x="8563854" y="5555732"/>
              <a:ext cx="23638" cy="85636"/>
            </a:xfrm>
            <a:custGeom>
              <a:avLst/>
              <a:gdLst>
                <a:gd name="connsiteX0" fmla="*/ 702 w 23638"/>
                <a:gd name="connsiteY0" fmla="*/ 73820 h 85636"/>
                <a:gd name="connsiteX1" fmla="*/ 2862 w 23638"/>
                <a:gd name="connsiteY1" fmla="*/ 80300 h 85636"/>
                <a:gd name="connsiteX2" fmla="*/ 11122 w 23638"/>
                <a:gd name="connsiteY2" fmla="*/ 85636 h 85636"/>
                <a:gd name="connsiteX3" fmla="*/ 12520 w 23638"/>
                <a:gd name="connsiteY3" fmla="*/ 85636 h 85636"/>
                <a:gd name="connsiteX4" fmla="*/ 22812 w 23638"/>
                <a:gd name="connsiteY4" fmla="*/ 79156 h 85636"/>
                <a:gd name="connsiteX5" fmla="*/ 23574 w 23638"/>
                <a:gd name="connsiteY5" fmla="*/ 76869 h 85636"/>
                <a:gd name="connsiteX6" fmla="*/ 23574 w 23638"/>
                <a:gd name="connsiteY6" fmla="*/ 74582 h 85636"/>
                <a:gd name="connsiteX7" fmla="*/ 23574 w 23638"/>
                <a:gd name="connsiteY7" fmla="*/ 73566 h 85636"/>
                <a:gd name="connsiteX8" fmla="*/ 23574 w 23638"/>
                <a:gd name="connsiteY8" fmla="*/ 0 h 85636"/>
                <a:gd name="connsiteX9" fmla="*/ 13040 w 23638"/>
                <a:gd name="connsiteY9" fmla="*/ 12972 h 85636"/>
                <a:gd name="connsiteX10" fmla="*/ 67 w 23638"/>
                <a:gd name="connsiteY10" fmla="*/ 2452 h 85636"/>
                <a:gd name="connsiteX11" fmla="*/ 67 w 23638"/>
                <a:gd name="connsiteY11" fmla="*/ 0 h 85636"/>
                <a:gd name="connsiteX12" fmla="*/ 67 w 23638"/>
                <a:gd name="connsiteY12" fmla="*/ 74074 h 8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8" h="85636">
                  <a:moveTo>
                    <a:pt x="702" y="73820"/>
                  </a:moveTo>
                  <a:cubicBezTo>
                    <a:pt x="765" y="76145"/>
                    <a:pt x="1515" y="78407"/>
                    <a:pt x="2862" y="80300"/>
                  </a:cubicBezTo>
                  <a:cubicBezTo>
                    <a:pt x="4654" y="83248"/>
                    <a:pt x="7704" y="85204"/>
                    <a:pt x="11122" y="85636"/>
                  </a:cubicBezTo>
                  <a:lnTo>
                    <a:pt x="12520" y="85636"/>
                  </a:lnTo>
                  <a:cubicBezTo>
                    <a:pt x="16878" y="85547"/>
                    <a:pt x="20843" y="83057"/>
                    <a:pt x="22812" y="79156"/>
                  </a:cubicBezTo>
                  <a:cubicBezTo>
                    <a:pt x="23117" y="78419"/>
                    <a:pt x="23384" y="77644"/>
                    <a:pt x="23574" y="76869"/>
                  </a:cubicBezTo>
                  <a:cubicBezTo>
                    <a:pt x="23638" y="76107"/>
                    <a:pt x="23638" y="75344"/>
                    <a:pt x="23574" y="74582"/>
                  </a:cubicBezTo>
                  <a:cubicBezTo>
                    <a:pt x="23574" y="74582"/>
                    <a:pt x="23574" y="73947"/>
                    <a:pt x="23574" y="73566"/>
                  </a:cubicBezTo>
                  <a:lnTo>
                    <a:pt x="23574" y="0"/>
                  </a:lnTo>
                  <a:cubicBezTo>
                    <a:pt x="24248" y="6492"/>
                    <a:pt x="19534" y="12299"/>
                    <a:pt x="13040" y="12972"/>
                  </a:cubicBezTo>
                  <a:cubicBezTo>
                    <a:pt x="6547" y="13646"/>
                    <a:pt x="740" y="8932"/>
                    <a:pt x="67" y="2452"/>
                  </a:cubicBezTo>
                  <a:cubicBezTo>
                    <a:pt x="-22" y="1639"/>
                    <a:pt x="-22" y="813"/>
                    <a:pt x="67" y="0"/>
                  </a:cubicBezTo>
                  <a:lnTo>
                    <a:pt x="67" y="74074"/>
                  </a:lnTo>
                  <a:close/>
                </a:path>
              </a:pathLst>
            </a:custGeom>
            <a:solidFill>
              <a:srgbClr val="000000"/>
            </a:solidFill>
            <a:ln w="12704"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5B168A99-071F-4348-A2A2-82CCC1C9A528}"/>
                </a:ext>
              </a:extLst>
            </p:cNvPr>
            <p:cNvSpPr/>
            <p:nvPr/>
          </p:nvSpPr>
          <p:spPr>
            <a:xfrm>
              <a:off x="11945928" y="4558719"/>
              <a:ext cx="23638" cy="41420"/>
            </a:xfrm>
            <a:custGeom>
              <a:avLst/>
              <a:gdLst>
                <a:gd name="connsiteX0" fmla="*/ 23574 w 23638"/>
                <a:gd name="connsiteY0" fmla="*/ 29477 h 41420"/>
                <a:gd name="connsiteX1" fmla="*/ 23574 w 23638"/>
                <a:gd name="connsiteY1" fmla="*/ 0 h 41420"/>
                <a:gd name="connsiteX2" fmla="*/ 13041 w 23638"/>
                <a:gd name="connsiteY2" fmla="*/ 12972 h 41420"/>
                <a:gd name="connsiteX3" fmla="*/ 67 w 23638"/>
                <a:gd name="connsiteY3" fmla="*/ 2452 h 41420"/>
                <a:gd name="connsiteX4" fmla="*/ 67 w 23638"/>
                <a:gd name="connsiteY4" fmla="*/ 0 h 41420"/>
                <a:gd name="connsiteX5" fmla="*/ 67 w 23638"/>
                <a:gd name="connsiteY5" fmla="*/ 29477 h 41420"/>
                <a:gd name="connsiteX6" fmla="*/ 2354 w 23638"/>
                <a:gd name="connsiteY6" fmla="*/ 36211 h 41420"/>
                <a:gd name="connsiteX7" fmla="*/ 11884 w 23638"/>
                <a:gd name="connsiteY7" fmla="*/ 41421 h 41420"/>
                <a:gd name="connsiteX8" fmla="*/ 16967 w 23638"/>
                <a:gd name="connsiteY8" fmla="*/ 40150 h 41420"/>
                <a:gd name="connsiteX9" fmla="*/ 20017 w 23638"/>
                <a:gd name="connsiteY9" fmla="*/ 37990 h 41420"/>
                <a:gd name="connsiteX10" fmla="*/ 22431 w 23638"/>
                <a:gd name="connsiteY10" fmla="*/ 34432 h 41420"/>
                <a:gd name="connsiteX11" fmla="*/ 23574 w 23638"/>
                <a:gd name="connsiteY11" fmla="*/ 29477 h 4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 h="41420">
                  <a:moveTo>
                    <a:pt x="23574" y="29477"/>
                  </a:moveTo>
                  <a:lnTo>
                    <a:pt x="23574" y="0"/>
                  </a:lnTo>
                  <a:cubicBezTo>
                    <a:pt x="24248" y="6492"/>
                    <a:pt x="19534" y="12299"/>
                    <a:pt x="13041" y="12972"/>
                  </a:cubicBezTo>
                  <a:cubicBezTo>
                    <a:pt x="6548" y="13646"/>
                    <a:pt x="740" y="8932"/>
                    <a:pt x="67" y="2452"/>
                  </a:cubicBezTo>
                  <a:cubicBezTo>
                    <a:pt x="-22" y="1639"/>
                    <a:pt x="-22" y="813"/>
                    <a:pt x="67" y="0"/>
                  </a:cubicBezTo>
                  <a:lnTo>
                    <a:pt x="67" y="29477"/>
                  </a:lnTo>
                  <a:cubicBezTo>
                    <a:pt x="168" y="31891"/>
                    <a:pt x="969" y="34229"/>
                    <a:pt x="2354" y="36211"/>
                  </a:cubicBezTo>
                  <a:cubicBezTo>
                    <a:pt x="4464" y="39426"/>
                    <a:pt x="8034" y="41382"/>
                    <a:pt x="11884" y="41421"/>
                  </a:cubicBezTo>
                  <a:cubicBezTo>
                    <a:pt x="13650" y="41357"/>
                    <a:pt x="15379" y="40925"/>
                    <a:pt x="16967" y="40150"/>
                  </a:cubicBezTo>
                  <a:cubicBezTo>
                    <a:pt x="18085" y="39578"/>
                    <a:pt x="19115" y="38854"/>
                    <a:pt x="20017" y="37990"/>
                  </a:cubicBezTo>
                  <a:cubicBezTo>
                    <a:pt x="21034" y="36961"/>
                    <a:pt x="21859" y="35754"/>
                    <a:pt x="22431" y="34432"/>
                  </a:cubicBezTo>
                  <a:cubicBezTo>
                    <a:pt x="23142" y="32870"/>
                    <a:pt x="23536" y="31192"/>
                    <a:pt x="23574" y="29477"/>
                  </a:cubicBezTo>
                  <a:close/>
                </a:path>
              </a:pathLst>
            </a:custGeom>
            <a:solidFill>
              <a:srgbClr val="000000"/>
            </a:solidFill>
            <a:ln w="12704"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A783B9B9-B403-4DEC-9B77-39A7DE7A64D5}"/>
                </a:ext>
              </a:extLst>
            </p:cNvPr>
            <p:cNvSpPr/>
            <p:nvPr/>
          </p:nvSpPr>
          <p:spPr>
            <a:xfrm>
              <a:off x="12046215" y="4611193"/>
              <a:ext cx="147819" cy="24013"/>
            </a:xfrm>
            <a:custGeom>
              <a:avLst/>
              <a:gdLst>
                <a:gd name="connsiteX0" fmla="*/ 10839 w 147819"/>
                <a:gd name="connsiteY0" fmla="*/ 0 h 24013"/>
                <a:gd name="connsiteX1" fmla="*/ 63 w 147819"/>
                <a:gd name="connsiteY1" fmla="*/ 13239 h 24013"/>
                <a:gd name="connsiteX2" fmla="*/ 10839 w 147819"/>
                <a:gd name="connsiteY2" fmla="*/ 24014 h 24013"/>
                <a:gd name="connsiteX3" fmla="*/ 147820 w 147819"/>
                <a:gd name="connsiteY3" fmla="*/ 24014 h 24013"/>
                <a:gd name="connsiteX4" fmla="*/ 147820 w 147819"/>
                <a:gd name="connsiteY4" fmla="*/ 0 h 24013"/>
                <a:gd name="connsiteX5" fmla="*/ 10839 w 147819"/>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19" h="24013">
                  <a:moveTo>
                    <a:pt x="10839" y="0"/>
                  </a:moveTo>
                  <a:cubicBezTo>
                    <a:pt x="4206" y="686"/>
                    <a:pt x="-610" y="6607"/>
                    <a:pt x="63" y="13239"/>
                  </a:cubicBezTo>
                  <a:cubicBezTo>
                    <a:pt x="648" y="18931"/>
                    <a:pt x="5146" y="23429"/>
                    <a:pt x="10839" y="24014"/>
                  </a:cubicBezTo>
                  <a:lnTo>
                    <a:pt x="147820" y="24014"/>
                  </a:lnTo>
                  <a:lnTo>
                    <a:pt x="147820" y="0"/>
                  </a:lnTo>
                  <a:lnTo>
                    <a:pt x="10839" y="0"/>
                  </a:lnTo>
                  <a:close/>
                </a:path>
              </a:pathLst>
            </a:custGeom>
            <a:solidFill>
              <a:srgbClr val="000000"/>
            </a:solidFill>
            <a:ln w="12704"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5AAAEF1A-D7B5-4020-82AF-EEC5F7E80DE5}"/>
                </a:ext>
              </a:extLst>
            </p:cNvPr>
            <p:cNvSpPr/>
            <p:nvPr/>
          </p:nvSpPr>
          <p:spPr>
            <a:xfrm>
              <a:off x="9113877" y="2714619"/>
              <a:ext cx="226818" cy="7750"/>
            </a:xfrm>
            <a:custGeom>
              <a:avLst/>
              <a:gdLst>
                <a:gd name="connsiteX0" fmla="*/ 0 w 226818"/>
                <a:gd name="connsiteY0" fmla="*/ 7750 h 7750"/>
                <a:gd name="connsiteX1" fmla="*/ 216018 w 226818"/>
                <a:gd name="connsiteY1" fmla="*/ 7750 h 7750"/>
                <a:gd name="connsiteX2" fmla="*/ 226819 w 226818"/>
                <a:gd name="connsiteY2" fmla="*/ 0 h 7750"/>
                <a:gd name="connsiteX3" fmla="*/ 0 w 226818"/>
                <a:gd name="connsiteY3" fmla="*/ 0 h 7750"/>
                <a:gd name="connsiteX4" fmla="*/ 0 w 226818"/>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18" h="7750">
                  <a:moveTo>
                    <a:pt x="0" y="7750"/>
                  </a:moveTo>
                  <a:lnTo>
                    <a:pt x="216018" y="7750"/>
                  </a:lnTo>
                  <a:cubicBezTo>
                    <a:pt x="217593" y="3126"/>
                    <a:pt x="221926" y="13"/>
                    <a:pt x="226819" y="0"/>
                  </a:cubicBezTo>
                  <a:lnTo>
                    <a:pt x="0" y="0"/>
                  </a:lnTo>
                  <a:lnTo>
                    <a:pt x="0" y="7750"/>
                  </a:lnTo>
                  <a:close/>
                </a:path>
              </a:pathLst>
            </a:custGeom>
            <a:solidFill>
              <a:srgbClr val="000000"/>
            </a:solidFill>
            <a:ln w="12704"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CFEF027B-25D2-4C6A-835E-A3F4A02AFBB6}"/>
                </a:ext>
              </a:extLst>
            </p:cNvPr>
            <p:cNvSpPr/>
            <p:nvPr/>
          </p:nvSpPr>
          <p:spPr>
            <a:xfrm>
              <a:off x="9441715" y="2704407"/>
              <a:ext cx="22040" cy="17708"/>
            </a:xfrm>
            <a:custGeom>
              <a:avLst/>
              <a:gdLst>
                <a:gd name="connsiteX0" fmla="*/ 10165 w 22040"/>
                <a:gd name="connsiteY0" fmla="*/ 9958 h 17708"/>
                <a:gd name="connsiteX1" fmla="*/ 21094 w 22040"/>
                <a:gd name="connsiteY1" fmla="*/ 17708 h 17708"/>
                <a:gd name="connsiteX2" fmla="*/ 21984 w 22040"/>
                <a:gd name="connsiteY2" fmla="*/ 17708 h 17708"/>
                <a:gd name="connsiteX3" fmla="*/ 21984 w 22040"/>
                <a:gd name="connsiteY3" fmla="*/ 11356 h 17708"/>
                <a:gd name="connsiteX4" fmla="*/ 21984 w 22040"/>
                <a:gd name="connsiteY4" fmla="*/ 11356 h 17708"/>
                <a:gd name="connsiteX5" fmla="*/ 21984 w 22040"/>
                <a:gd name="connsiteY5" fmla="*/ 8941 h 17708"/>
                <a:gd name="connsiteX6" fmla="*/ 21984 w 22040"/>
                <a:gd name="connsiteY6" fmla="*/ 7671 h 17708"/>
                <a:gd name="connsiteX7" fmla="*/ 21984 w 22040"/>
                <a:gd name="connsiteY7" fmla="*/ 6782 h 17708"/>
                <a:gd name="connsiteX8" fmla="*/ 20840 w 22040"/>
                <a:gd name="connsiteY8" fmla="*/ 5003 h 17708"/>
                <a:gd name="connsiteX9" fmla="*/ 19188 w 22040"/>
                <a:gd name="connsiteY9" fmla="*/ 3097 h 17708"/>
                <a:gd name="connsiteX10" fmla="*/ 3939 w 22040"/>
                <a:gd name="connsiteY10" fmla="*/ 3097 h 17708"/>
                <a:gd name="connsiteX11" fmla="*/ 1271 w 22040"/>
                <a:gd name="connsiteY11" fmla="*/ 6528 h 17708"/>
                <a:gd name="connsiteX12" fmla="*/ 0 w 22040"/>
                <a:gd name="connsiteY12" fmla="*/ 10720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40" h="17708">
                  <a:moveTo>
                    <a:pt x="10165" y="9958"/>
                  </a:moveTo>
                  <a:cubicBezTo>
                    <a:pt x="15083" y="9958"/>
                    <a:pt x="19467" y="13058"/>
                    <a:pt x="21094" y="17708"/>
                  </a:cubicBezTo>
                  <a:lnTo>
                    <a:pt x="21984" y="17708"/>
                  </a:lnTo>
                  <a:lnTo>
                    <a:pt x="21984" y="11356"/>
                  </a:lnTo>
                  <a:cubicBezTo>
                    <a:pt x="21984" y="11356"/>
                    <a:pt x="21984" y="11356"/>
                    <a:pt x="21984" y="11356"/>
                  </a:cubicBezTo>
                  <a:cubicBezTo>
                    <a:pt x="22060" y="10555"/>
                    <a:pt x="22060" y="9742"/>
                    <a:pt x="21984" y="8941"/>
                  </a:cubicBezTo>
                  <a:cubicBezTo>
                    <a:pt x="21984" y="8941"/>
                    <a:pt x="21984" y="8052"/>
                    <a:pt x="21984" y="7671"/>
                  </a:cubicBezTo>
                  <a:lnTo>
                    <a:pt x="21984" y="6782"/>
                  </a:lnTo>
                  <a:cubicBezTo>
                    <a:pt x="21653" y="6159"/>
                    <a:pt x="21272" y="5562"/>
                    <a:pt x="20840" y="5003"/>
                  </a:cubicBezTo>
                  <a:cubicBezTo>
                    <a:pt x="20356" y="4317"/>
                    <a:pt x="19810" y="3669"/>
                    <a:pt x="19188" y="3097"/>
                  </a:cubicBezTo>
                  <a:cubicBezTo>
                    <a:pt x="14944" y="-1032"/>
                    <a:pt x="8183" y="-1032"/>
                    <a:pt x="3939" y="3097"/>
                  </a:cubicBezTo>
                  <a:cubicBezTo>
                    <a:pt x="2846" y="4063"/>
                    <a:pt x="1944" y="5232"/>
                    <a:pt x="1271" y="6528"/>
                  </a:cubicBezTo>
                  <a:cubicBezTo>
                    <a:pt x="635" y="7849"/>
                    <a:pt x="216" y="9272"/>
                    <a:pt x="0" y="10720"/>
                  </a:cubicBezTo>
                  <a:close/>
                </a:path>
              </a:pathLst>
            </a:custGeom>
            <a:solidFill>
              <a:srgbClr val="000000"/>
            </a:solidFill>
            <a:ln w="12704"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587172E5-FAF7-41D4-A584-1B94C888CEE2}"/>
                </a:ext>
              </a:extLst>
            </p:cNvPr>
            <p:cNvSpPr/>
            <p:nvPr/>
          </p:nvSpPr>
          <p:spPr>
            <a:xfrm>
              <a:off x="7900710" y="2131683"/>
              <a:ext cx="96482" cy="24013"/>
            </a:xfrm>
            <a:custGeom>
              <a:avLst/>
              <a:gdLst>
                <a:gd name="connsiteX0" fmla="*/ 10838 w 96482"/>
                <a:gd name="connsiteY0" fmla="*/ 24014 h 24013"/>
                <a:gd name="connsiteX1" fmla="*/ 96483 w 96482"/>
                <a:gd name="connsiteY1" fmla="*/ 24014 h 24013"/>
                <a:gd name="connsiteX2" fmla="*/ 85707 w 96482"/>
                <a:gd name="connsiteY2" fmla="*/ 10774 h 24013"/>
                <a:gd name="connsiteX3" fmla="*/ 96483 w 96482"/>
                <a:gd name="connsiteY3" fmla="*/ 0 h 24013"/>
                <a:gd name="connsiteX4" fmla="*/ 10838 w 96482"/>
                <a:gd name="connsiteY4" fmla="*/ 0 h 24013"/>
                <a:gd name="connsiteX5" fmla="*/ 63 w 96482"/>
                <a:gd name="connsiteY5" fmla="*/ 13239 h 24013"/>
                <a:gd name="connsiteX6" fmla="*/ 10838 w 96482"/>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82" h="24013">
                  <a:moveTo>
                    <a:pt x="10838" y="24014"/>
                  </a:moveTo>
                  <a:lnTo>
                    <a:pt x="96483" y="24014"/>
                  </a:lnTo>
                  <a:cubicBezTo>
                    <a:pt x="89850" y="23328"/>
                    <a:pt x="85034" y="17407"/>
                    <a:pt x="85707" y="10774"/>
                  </a:cubicBezTo>
                  <a:cubicBezTo>
                    <a:pt x="86292" y="5082"/>
                    <a:pt x="90790" y="585"/>
                    <a:pt x="96483" y="0"/>
                  </a:cubicBezTo>
                  <a:lnTo>
                    <a:pt x="10838" y="0"/>
                  </a:lnTo>
                  <a:cubicBezTo>
                    <a:pt x="4205" y="686"/>
                    <a:pt x="-611" y="6607"/>
                    <a:pt x="63" y="13239"/>
                  </a:cubicBezTo>
                  <a:cubicBezTo>
                    <a:pt x="647" y="18932"/>
                    <a:pt x="5146" y="23429"/>
                    <a:pt x="10838" y="24014"/>
                  </a:cubicBezTo>
                  <a:close/>
                </a:path>
              </a:pathLst>
            </a:custGeom>
            <a:solidFill>
              <a:srgbClr val="000000"/>
            </a:solidFill>
            <a:ln w="12704"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33021085-3A85-4BA9-8098-3AB3CC578D4C}"/>
                </a:ext>
              </a:extLst>
            </p:cNvPr>
            <p:cNvSpPr/>
            <p:nvPr/>
          </p:nvSpPr>
          <p:spPr>
            <a:xfrm>
              <a:off x="7986354" y="2131683"/>
              <a:ext cx="623693" cy="24013"/>
            </a:xfrm>
            <a:custGeom>
              <a:avLst/>
              <a:gdLst>
                <a:gd name="connsiteX0" fmla="*/ 623693 w 623693"/>
                <a:gd name="connsiteY0" fmla="*/ 11943 h 24013"/>
                <a:gd name="connsiteX1" fmla="*/ 623693 w 623693"/>
                <a:gd name="connsiteY1" fmla="*/ 0 h 24013"/>
                <a:gd name="connsiteX2" fmla="*/ 10838 w 623693"/>
                <a:gd name="connsiteY2" fmla="*/ 0 h 24013"/>
                <a:gd name="connsiteX3" fmla="*/ 63 w 623693"/>
                <a:gd name="connsiteY3" fmla="*/ 13239 h 24013"/>
                <a:gd name="connsiteX4" fmla="*/ 10838 w 623693"/>
                <a:gd name="connsiteY4" fmla="*/ 24014 h 24013"/>
                <a:gd name="connsiteX5" fmla="*/ 623693 w 623693"/>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693" h="24013">
                  <a:moveTo>
                    <a:pt x="623693" y="11943"/>
                  </a:moveTo>
                  <a:lnTo>
                    <a:pt x="623693" y="0"/>
                  </a:lnTo>
                  <a:lnTo>
                    <a:pt x="10838" y="0"/>
                  </a:lnTo>
                  <a:cubicBezTo>
                    <a:pt x="4205" y="686"/>
                    <a:pt x="-611" y="6607"/>
                    <a:pt x="63" y="13239"/>
                  </a:cubicBezTo>
                  <a:cubicBezTo>
                    <a:pt x="647" y="18932"/>
                    <a:pt x="5146" y="23429"/>
                    <a:pt x="10838" y="24014"/>
                  </a:cubicBezTo>
                  <a:lnTo>
                    <a:pt x="623693" y="24014"/>
                  </a:lnTo>
                  <a:close/>
                </a:path>
              </a:pathLst>
            </a:custGeom>
            <a:solidFill>
              <a:srgbClr val="000000"/>
            </a:solidFill>
            <a:ln w="12704"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E0564CA5-776C-4D78-8B94-F6D0F6EE5C2A}"/>
                </a:ext>
              </a:extLst>
            </p:cNvPr>
            <p:cNvSpPr/>
            <p:nvPr/>
          </p:nvSpPr>
          <p:spPr>
            <a:xfrm>
              <a:off x="9092529" y="2131683"/>
              <a:ext cx="247657" cy="24013"/>
            </a:xfrm>
            <a:custGeom>
              <a:avLst/>
              <a:gdLst>
                <a:gd name="connsiteX0" fmla="*/ 0 w 247657"/>
                <a:gd name="connsiteY0" fmla="*/ 24014 h 24013"/>
                <a:gd name="connsiteX1" fmla="*/ 247658 w 247657"/>
                <a:gd name="connsiteY1" fmla="*/ 24014 h 24013"/>
                <a:gd name="connsiteX2" fmla="*/ 236882 w 247657"/>
                <a:gd name="connsiteY2" fmla="*/ 10774 h 24013"/>
                <a:gd name="connsiteX3" fmla="*/ 247658 w 247657"/>
                <a:gd name="connsiteY3" fmla="*/ 0 h 24013"/>
                <a:gd name="connsiteX4" fmla="*/ 0 w 247657"/>
                <a:gd name="connsiteY4" fmla="*/ 0 h 24013"/>
                <a:gd name="connsiteX5" fmla="*/ 0 w 247657"/>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7" h="24013">
                  <a:moveTo>
                    <a:pt x="0" y="24014"/>
                  </a:moveTo>
                  <a:lnTo>
                    <a:pt x="247658" y="24014"/>
                  </a:lnTo>
                  <a:cubicBezTo>
                    <a:pt x="241025" y="23328"/>
                    <a:pt x="236209" y="17407"/>
                    <a:pt x="236882" y="10774"/>
                  </a:cubicBezTo>
                  <a:cubicBezTo>
                    <a:pt x="237467" y="5082"/>
                    <a:pt x="241965" y="585"/>
                    <a:pt x="247658" y="0"/>
                  </a:cubicBezTo>
                  <a:lnTo>
                    <a:pt x="0" y="0"/>
                  </a:lnTo>
                  <a:lnTo>
                    <a:pt x="0" y="24014"/>
                  </a:lnTo>
                  <a:close/>
                </a:path>
              </a:pathLst>
            </a:custGeom>
            <a:solidFill>
              <a:srgbClr val="000000"/>
            </a:solidFill>
            <a:ln w="12704"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4A4BA9B6-154F-4C51-9603-7861D63925A1}"/>
                </a:ext>
              </a:extLst>
            </p:cNvPr>
            <p:cNvSpPr/>
            <p:nvPr/>
          </p:nvSpPr>
          <p:spPr>
            <a:xfrm>
              <a:off x="11236901" y="3392593"/>
              <a:ext cx="23048" cy="14100"/>
            </a:xfrm>
            <a:custGeom>
              <a:avLst/>
              <a:gdLst>
                <a:gd name="connsiteX0" fmla="*/ 11738 w 23048"/>
                <a:gd name="connsiteY0" fmla="*/ 11943 h 14100"/>
                <a:gd name="connsiteX1" fmla="*/ 48 w 23048"/>
                <a:gd name="connsiteY1" fmla="*/ 0 h 14100"/>
                <a:gd name="connsiteX2" fmla="*/ 48 w 23048"/>
                <a:gd name="connsiteY2" fmla="*/ 0 h 14100"/>
                <a:gd name="connsiteX3" fmla="*/ 48 w 23048"/>
                <a:gd name="connsiteY3" fmla="*/ 2033 h 14100"/>
                <a:gd name="connsiteX4" fmla="*/ 48 w 23048"/>
                <a:gd name="connsiteY4" fmla="*/ 4193 h 14100"/>
                <a:gd name="connsiteX5" fmla="*/ 9324 w 23048"/>
                <a:gd name="connsiteY5" fmla="*/ 13595 h 14100"/>
                <a:gd name="connsiteX6" fmla="*/ 13390 w 23048"/>
                <a:gd name="connsiteY6" fmla="*/ 13595 h 14100"/>
                <a:gd name="connsiteX7" fmla="*/ 20506 w 23048"/>
                <a:gd name="connsiteY7" fmla="*/ 9148 h 14100"/>
                <a:gd name="connsiteX8" fmla="*/ 23047 w 23048"/>
                <a:gd name="connsiteY8" fmla="*/ 2033 h 14100"/>
                <a:gd name="connsiteX9" fmla="*/ 23047 w 23048"/>
                <a:gd name="connsiteY9" fmla="*/ 0 h 14100"/>
                <a:gd name="connsiteX10" fmla="*/ 11738 w 23048"/>
                <a:gd name="connsiteY10" fmla="*/ 11943 h 1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48" h="14100">
                  <a:moveTo>
                    <a:pt x="11738" y="11943"/>
                  </a:moveTo>
                  <a:cubicBezTo>
                    <a:pt x="5207" y="11880"/>
                    <a:pt x="-16" y="6531"/>
                    <a:pt x="48" y="0"/>
                  </a:cubicBezTo>
                  <a:cubicBezTo>
                    <a:pt x="48" y="0"/>
                    <a:pt x="48" y="0"/>
                    <a:pt x="48" y="0"/>
                  </a:cubicBezTo>
                  <a:lnTo>
                    <a:pt x="48" y="2033"/>
                  </a:lnTo>
                  <a:cubicBezTo>
                    <a:pt x="-16" y="2757"/>
                    <a:pt x="-16" y="3469"/>
                    <a:pt x="48" y="4193"/>
                  </a:cubicBezTo>
                  <a:cubicBezTo>
                    <a:pt x="836" y="8970"/>
                    <a:pt x="4546" y="12744"/>
                    <a:pt x="9324" y="13595"/>
                  </a:cubicBezTo>
                  <a:cubicBezTo>
                    <a:pt x="10594" y="14268"/>
                    <a:pt x="12119" y="14268"/>
                    <a:pt x="13390" y="13595"/>
                  </a:cubicBezTo>
                  <a:cubicBezTo>
                    <a:pt x="16274" y="13150"/>
                    <a:pt x="18841" y="11537"/>
                    <a:pt x="20506" y="9148"/>
                  </a:cubicBezTo>
                  <a:cubicBezTo>
                    <a:pt x="22132" y="7128"/>
                    <a:pt x="23022" y="4625"/>
                    <a:pt x="23047" y="2033"/>
                  </a:cubicBezTo>
                  <a:lnTo>
                    <a:pt x="23047" y="0"/>
                  </a:lnTo>
                  <a:cubicBezTo>
                    <a:pt x="23123" y="6378"/>
                    <a:pt x="18117" y="11664"/>
                    <a:pt x="11738" y="11943"/>
                  </a:cubicBezTo>
                  <a:close/>
                </a:path>
              </a:pathLst>
            </a:custGeom>
            <a:solidFill>
              <a:srgbClr val="000000"/>
            </a:solidFill>
            <a:ln w="12704"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F28DF9A3-1801-4CF9-81A6-54BAB5A5AEAA}"/>
                </a:ext>
              </a:extLst>
            </p:cNvPr>
            <p:cNvSpPr/>
            <p:nvPr/>
          </p:nvSpPr>
          <p:spPr>
            <a:xfrm>
              <a:off x="5576905" y="5678850"/>
              <a:ext cx="23380" cy="48024"/>
            </a:xfrm>
            <a:custGeom>
              <a:avLst/>
              <a:gdLst>
                <a:gd name="connsiteX0" fmla="*/ 635 w 23380"/>
                <a:gd name="connsiteY0" fmla="*/ 29350 h 48024"/>
                <a:gd name="connsiteX1" fmla="*/ 635 w 23380"/>
                <a:gd name="connsiteY1" fmla="*/ 36465 h 48024"/>
                <a:gd name="connsiteX2" fmla="*/ 635 w 23380"/>
                <a:gd name="connsiteY2" fmla="*/ 37100 h 48024"/>
                <a:gd name="connsiteX3" fmla="*/ 635 w 23380"/>
                <a:gd name="connsiteY3" fmla="*/ 39388 h 48024"/>
                <a:gd name="connsiteX4" fmla="*/ 1398 w 23380"/>
                <a:gd name="connsiteY4" fmla="*/ 41675 h 48024"/>
                <a:gd name="connsiteX5" fmla="*/ 3558 w 23380"/>
                <a:gd name="connsiteY5" fmla="*/ 44978 h 48024"/>
                <a:gd name="connsiteX6" fmla="*/ 3558 w 23380"/>
                <a:gd name="connsiteY6" fmla="*/ 44978 h 48024"/>
                <a:gd name="connsiteX7" fmla="*/ 6735 w 23380"/>
                <a:gd name="connsiteY7" fmla="*/ 47138 h 48024"/>
                <a:gd name="connsiteX8" fmla="*/ 7624 w 23380"/>
                <a:gd name="connsiteY8" fmla="*/ 47138 h 48024"/>
                <a:gd name="connsiteX9" fmla="*/ 15757 w 23380"/>
                <a:gd name="connsiteY9" fmla="*/ 47138 h 48024"/>
                <a:gd name="connsiteX10" fmla="*/ 16646 w 23380"/>
                <a:gd name="connsiteY10" fmla="*/ 47138 h 48024"/>
                <a:gd name="connsiteX11" fmla="*/ 23381 w 23380"/>
                <a:gd name="connsiteY11" fmla="*/ 36211 h 48024"/>
                <a:gd name="connsiteX12" fmla="*/ 23381 w 23380"/>
                <a:gd name="connsiteY12" fmla="*/ 0 h 48024"/>
                <a:gd name="connsiteX13" fmla="*/ 11691 w 23380"/>
                <a:gd name="connsiteY13" fmla="*/ 11689 h 48024"/>
                <a:gd name="connsiteX14" fmla="*/ 0 w 23380"/>
                <a:gd name="connsiteY14" fmla="*/ 0 h 48024"/>
                <a:gd name="connsiteX15" fmla="*/ 0 w 23380"/>
                <a:gd name="connsiteY15" fmla="*/ 29350 h 4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80" h="48024">
                  <a:moveTo>
                    <a:pt x="635" y="29350"/>
                  </a:moveTo>
                  <a:lnTo>
                    <a:pt x="635" y="36465"/>
                  </a:lnTo>
                  <a:cubicBezTo>
                    <a:pt x="572" y="36668"/>
                    <a:pt x="572" y="36897"/>
                    <a:pt x="635" y="37100"/>
                  </a:cubicBezTo>
                  <a:cubicBezTo>
                    <a:pt x="572" y="37863"/>
                    <a:pt x="572" y="38625"/>
                    <a:pt x="635" y="39388"/>
                  </a:cubicBezTo>
                  <a:cubicBezTo>
                    <a:pt x="788" y="40175"/>
                    <a:pt x="1055" y="40950"/>
                    <a:pt x="1398" y="41675"/>
                  </a:cubicBezTo>
                  <a:cubicBezTo>
                    <a:pt x="1843" y="42932"/>
                    <a:pt x="2580" y="44063"/>
                    <a:pt x="3558" y="44978"/>
                  </a:cubicBezTo>
                  <a:lnTo>
                    <a:pt x="3558" y="44978"/>
                  </a:lnTo>
                  <a:cubicBezTo>
                    <a:pt x="4486" y="45880"/>
                    <a:pt x="5553" y="46617"/>
                    <a:pt x="6735" y="47138"/>
                  </a:cubicBezTo>
                  <a:lnTo>
                    <a:pt x="7624" y="47138"/>
                  </a:lnTo>
                  <a:cubicBezTo>
                    <a:pt x="10204" y="48320"/>
                    <a:pt x="13177" y="48320"/>
                    <a:pt x="15757" y="47138"/>
                  </a:cubicBezTo>
                  <a:lnTo>
                    <a:pt x="16646" y="47138"/>
                  </a:lnTo>
                  <a:cubicBezTo>
                    <a:pt x="20700" y="44978"/>
                    <a:pt x="23279" y="40798"/>
                    <a:pt x="23381" y="36211"/>
                  </a:cubicBezTo>
                  <a:lnTo>
                    <a:pt x="23381" y="0"/>
                  </a:lnTo>
                  <a:cubicBezTo>
                    <a:pt x="23381" y="6454"/>
                    <a:pt x="18146" y="11689"/>
                    <a:pt x="11691" y="11689"/>
                  </a:cubicBezTo>
                  <a:cubicBezTo>
                    <a:pt x="5235" y="11689"/>
                    <a:pt x="0" y="6454"/>
                    <a:pt x="0" y="0"/>
                  </a:cubicBezTo>
                  <a:lnTo>
                    <a:pt x="0" y="29350"/>
                  </a:lnTo>
                  <a:close/>
                </a:path>
              </a:pathLst>
            </a:custGeom>
            <a:solidFill>
              <a:srgbClr val="000000"/>
            </a:solidFill>
            <a:ln w="12704"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821B74C2-4F42-4A01-8099-2DA8562032CF}"/>
                </a:ext>
              </a:extLst>
            </p:cNvPr>
            <p:cNvSpPr/>
            <p:nvPr/>
          </p:nvSpPr>
          <p:spPr>
            <a:xfrm>
              <a:off x="5578627" y="4697465"/>
              <a:ext cx="22295" cy="993837"/>
            </a:xfrm>
            <a:custGeom>
              <a:avLst/>
              <a:gdLst>
                <a:gd name="connsiteX0" fmla="*/ 10604 w 22295"/>
                <a:gd name="connsiteY0" fmla="*/ 993837 h 993837"/>
                <a:gd name="connsiteX1" fmla="*/ 22294 w 22295"/>
                <a:gd name="connsiteY1" fmla="*/ 981767 h 993837"/>
                <a:gd name="connsiteX2" fmla="*/ 22294 w 22295"/>
                <a:gd name="connsiteY2" fmla="*/ 12070 h 993837"/>
                <a:gd name="connsiteX3" fmla="*/ 10604 w 22295"/>
                <a:gd name="connsiteY3" fmla="*/ 0 h 993837"/>
                <a:gd name="connsiteX4" fmla="*/ 6538 w 22295"/>
                <a:gd name="connsiteY4" fmla="*/ 889 h 993837"/>
                <a:gd name="connsiteX5" fmla="*/ 4378 w 22295"/>
                <a:gd name="connsiteY5" fmla="*/ 2160 h 993837"/>
                <a:gd name="connsiteX6" fmla="*/ 2599 w 22295"/>
                <a:gd name="connsiteY6" fmla="*/ 3303 h 993837"/>
                <a:gd name="connsiteX7" fmla="*/ 1328 w 22295"/>
                <a:gd name="connsiteY7" fmla="*/ 5209 h 993837"/>
                <a:gd name="connsiteX8" fmla="*/ 57 w 22295"/>
                <a:gd name="connsiteY8" fmla="*/ 6988 h 993837"/>
                <a:gd name="connsiteX9" fmla="*/ 57 w 22295"/>
                <a:gd name="connsiteY9" fmla="*/ 9148 h 993837"/>
                <a:gd name="connsiteX10" fmla="*/ 57 w 22295"/>
                <a:gd name="connsiteY10" fmla="*/ 11562 h 993837"/>
                <a:gd name="connsiteX11" fmla="*/ 57 w 22295"/>
                <a:gd name="connsiteY11" fmla="*/ 981767 h 993837"/>
                <a:gd name="connsiteX12" fmla="*/ 10604 w 22295"/>
                <a:gd name="connsiteY12" fmla="*/ 993837 h 99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95" h="993837">
                  <a:moveTo>
                    <a:pt x="10604" y="993837"/>
                  </a:moveTo>
                  <a:cubicBezTo>
                    <a:pt x="17148" y="993697"/>
                    <a:pt x="22371" y="988310"/>
                    <a:pt x="22294" y="981767"/>
                  </a:cubicBezTo>
                  <a:lnTo>
                    <a:pt x="22294" y="12070"/>
                  </a:lnTo>
                  <a:cubicBezTo>
                    <a:pt x="22371" y="5527"/>
                    <a:pt x="17148" y="140"/>
                    <a:pt x="10604" y="0"/>
                  </a:cubicBezTo>
                  <a:cubicBezTo>
                    <a:pt x="9206" y="38"/>
                    <a:pt x="7821" y="343"/>
                    <a:pt x="6538" y="889"/>
                  </a:cubicBezTo>
                  <a:cubicBezTo>
                    <a:pt x="5750" y="1194"/>
                    <a:pt x="5026" y="1613"/>
                    <a:pt x="4378" y="2160"/>
                  </a:cubicBezTo>
                  <a:cubicBezTo>
                    <a:pt x="3742" y="2465"/>
                    <a:pt x="3145" y="2846"/>
                    <a:pt x="2599" y="3303"/>
                  </a:cubicBezTo>
                  <a:cubicBezTo>
                    <a:pt x="2103" y="3888"/>
                    <a:pt x="1671" y="4523"/>
                    <a:pt x="1328" y="5209"/>
                  </a:cubicBezTo>
                  <a:cubicBezTo>
                    <a:pt x="794" y="5717"/>
                    <a:pt x="362" y="6314"/>
                    <a:pt x="57" y="6988"/>
                  </a:cubicBezTo>
                  <a:cubicBezTo>
                    <a:pt x="-19" y="7712"/>
                    <a:pt x="-19" y="8424"/>
                    <a:pt x="57" y="9148"/>
                  </a:cubicBezTo>
                  <a:cubicBezTo>
                    <a:pt x="57" y="9910"/>
                    <a:pt x="57" y="10673"/>
                    <a:pt x="57" y="11562"/>
                  </a:cubicBezTo>
                  <a:lnTo>
                    <a:pt x="57" y="981767"/>
                  </a:lnTo>
                  <a:cubicBezTo>
                    <a:pt x="-44" y="987903"/>
                    <a:pt x="4505" y="993126"/>
                    <a:pt x="10604" y="993837"/>
                  </a:cubicBezTo>
                  <a:close/>
                </a:path>
              </a:pathLst>
            </a:custGeom>
            <a:solidFill>
              <a:srgbClr val="000000"/>
            </a:solidFill>
            <a:ln w="12704"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D446688C-FFEA-4138-A9A9-00B97497EF56}"/>
                </a:ext>
              </a:extLst>
            </p:cNvPr>
            <p:cNvSpPr/>
            <p:nvPr/>
          </p:nvSpPr>
          <p:spPr>
            <a:xfrm>
              <a:off x="8599603" y="2722751"/>
              <a:ext cx="22134" cy="24013"/>
            </a:xfrm>
            <a:custGeom>
              <a:avLst/>
              <a:gdLst>
                <a:gd name="connsiteX0" fmla="*/ 25 w 22134"/>
                <a:gd name="connsiteY0" fmla="*/ 11308 h 24013"/>
                <a:gd name="connsiteX1" fmla="*/ 11181 w 22134"/>
                <a:gd name="connsiteY1" fmla="*/ 23988 h 24013"/>
                <a:gd name="connsiteX2" fmla="*/ 11715 w 22134"/>
                <a:gd name="connsiteY2" fmla="*/ 24014 h 24013"/>
                <a:gd name="connsiteX3" fmla="*/ 22134 w 22134"/>
                <a:gd name="connsiteY3" fmla="*/ 24014 h 24013"/>
                <a:gd name="connsiteX4" fmla="*/ 11359 w 22134"/>
                <a:gd name="connsiteY4" fmla="*/ 10774 h 24013"/>
                <a:gd name="connsiteX5" fmla="*/ 22134 w 22134"/>
                <a:gd name="connsiteY5" fmla="*/ 0 h 24013"/>
                <a:gd name="connsiteX6" fmla="*/ 11715 w 22134"/>
                <a:gd name="connsiteY6" fmla="*/ 0 h 24013"/>
                <a:gd name="connsiteX7" fmla="*/ 10444 w 22134"/>
                <a:gd name="connsiteY7" fmla="*/ 0 h 24013"/>
                <a:gd name="connsiteX8" fmla="*/ 25 w 22134"/>
                <a:gd name="connsiteY8"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34" h="24013">
                  <a:moveTo>
                    <a:pt x="25" y="11308"/>
                  </a:moveTo>
                  <a:cubicBezTo>
                    <a:pt x="-395" y="17890"/>
                    <a:pt x="4599" y="23569"/>
                    <a:pt x="11181" y="23988"/>
                  </a:cubicBezTo>
                  <a:cubicBezTo>
                    <a:pt x="11359" y="24001"/>
                    <a:pt x="11537" y="24014"/>
                    <a:pt x="11715" y="24014"/>
                  </a:cubicBezTo>
                  <a:lnTo>
                    <a:pt x="22134" y="24014"/>
                  </a:lnTo>
                  <a:cubicBezTo>
                    <a:pt x="15501" y="23328"/>
                    <a:pt x="10686" y="17407"/>
                    <a:pt x="11359" y="10774"/>
                  </a:cubicBezTo>
                  <a:cubicBezTo>
                    <a:pt x="11944" y="5082"/>
                    <a:pt x="16442" y="585"/>
                    <a:pt x="22134" y="0"/>
                  </a:cubicBezTo>
                  <a:lnTo>
                    <a:pt x="11715" y="0"/>
                  </a:lnTo>
                  <a:lnTo>
                    <a:pt x="10444" y="0"/>
                  </a:lnTo>
                  <a:cubicBezTo>
                    <a:pt x="4637" y="635"/>
                    <a:pt x="177" y="5464"/>
                    <a:pt x="25" y="11308"/>
                  </a:cubicBezTo>
                  <a:close/>
                </a:path>
              </a:pathLst>
            </a:custGeom>
            <a:solidFill>
              <a:srgbClr val="000000"/>
            </a:solidFill>
            <a:ln w="12704"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31C0DB3E-5389-4B1F-941F-0D3040F0D855}"/>
                </a:ext>
              </a:extLst>
            </p:cNvPr>
            <p:cNvSpPr/>
            <p:nvPr/>
          </p:nvSpPr>
          <p:spPr>
            <a:xfrm>
              <a:off x="9050569" y="3279259"/>
              <a:ext cx="22439" cy="12705"/>
            </a:xfrm>
            <a:custGeom>
              <a:avLst/>
              <a:gdLst>
                <a:gd name="connsiteX0" fmla="*/ 11718 w 22439"/>
                <a:gd name="connsiteY0" fmla="*/ 12706 h 12705"/>
                <a:gd name="connsiteX1" fmla="*/ 2 w 22439"/>
                <a:gd name="connsiteY1" fmla="*/ 534 h 12705"/>
                <a:gd name="connsiteX2" fmla="*/ 27 w 22439"/>
                <a:gd name="connsiteY2" fmla="*/ 0 h 12705"/>
                <a:gd name="connsiteX3" fmla="*/ 27 w 22439"/>
                <a:gd name="connsiteY3" fmla="*/ 0 h 12705"/>
                <a:gd name="connsiteX4" fmla="*/ 9431 w 22439"/>
                <a:gd name="connsiteY4" fmla="*/ 11562 h 12705"/>
                <a:gd name="connsiteX5" fmla="*/ 11718 w 22439"/>
                <a:gd name="connsiteY5" fmla="*/ 11562 h 12705"/>
                <a:gd name="connsiteX6" fmla="*/ 14386 w 22439"/>
                <a:gd name="connsiteY6" fmla="*/ 10927 h 12705"/>
                <a:gd name="connsiteX7" fmla="*/ 16674 w 22439"/>
                <a:gd name="connsiteY7" fmla="*/ 10927 h 12705"/>
                <a:gd name="connsiteX8" fmla="*/ 18453 w 22439"/>
                <a:gd name="connsiteY8" fmla="*/ 9656 h 12705"/>
                <a:gd name="connsiteX9" fmla="*/ 20231 w 22439"/>
                <a:gd name="connsiteY9" fmla="*/ 8259 h 12705"/>
                <a:gd name="connsiteX10" fmla="*/ 21502 w 22439"/>
                <a:gd name="connsiteY10" fmla="*/ 6353 h 12705"/>
                <a:gd name="connsiteX11" fmla="*/ 22392 w 22439"/>
                <a:gd name="connsiteY11" fmla="*/ 5082 h 12705"/>
                <a:gd name="connsiteX12" fmla="*/ 22392 w 22439"/>
                <a:gd name="connsiteY12" fmla="*/ 4447 h 12705"/>
                <a:gd name="connsiteX13" fmla="*/ 22392 w 22439"/>
                <a:gd name="connsiteY13" fmla="*/ 2033 h 12705"/>
                <a:gd name="connsiteX14" fmla="*/ 22392 w 22439"/>
                <a:gd name="connsiteY14" fmla="*/ 127 h 12705"/>
                <a:gd name="connsiteX15" fmla="*/ 22392 w 22439"/>
                <a:gd name="connsiteY15" fmla="*/ 127 h 12705"/>
                <a:gd name="connsiteX16" fmla="*/ 11718 w 22439"/>
                <a:gd name="connsiteY16" fmla="*/ 12706 h 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39" h="12705">
                  <a:moveTo>
                    <a:pt x="11718" y="12706"/>
                  </a:moveTo>
                  <a:cubicBezTo>
                    <a:pt x="5123" y="12579"/>
                    <a:pt x="-125" y="7128"/>
                    <a:pt x="2" y="534"/>
                  </a:cubicBezTo>
                  <a:cubicBezTo>
                    <a:pt x="15" y="356"/>
                    <a:pt x="15" y="178"/>
                    <a:pt x="27" y="0"/>
                  </a:cubicBezTo>
                  <a:lnTo>
                    <a:pt x="27" y="0"/>
                  </a:lnTo>
                  <a:cubicBezTo>
                    <a:pt x="27" y="5591"/>
                    <a:pt x="3954" y="10419"/>
                    <a:pt x="9431" y="11562"/>
                  </a:cubicBezTo>
                  <a:cubicBezTo>
                    <a:pt x="10193" y="11626"/>
                    <a:pt x="10956" y="11626"/>
                    <a:pt x="11718" y="11562"/>
                  </a:cubicBezTo>
                  <a:cubicBezTo>
                    <a:pt x="12633" y="11486"/>
                    <a:pt x="13535" y="11270"/>
                    <a:pt x="14386" y="10927"/>
                  </a:cubicBezTo>
                  <a:cubicBezTo>
                    <a:pt x="15149" y="11041"/>
                    <a:pt x="15911" y="11041"/>
                    <a:pt x="16674" y="10927"/>
                  </a:cubicBezTo>
                  <a:cubicBezTo>
                    <a:pt x="17347" y="10622"/>
                    <a:pt x="17944" y="10190"/>
                    <a:pt x="18453" y="9656"/>
                  </a:cubicBezTo>
                  <a:cubicBezTo>
                    <a:pt x="19126" y="9300"/>
                    <a:pt x="19723" y="8830"/>
                    <a:pt x="20231" y="8259"/>
                  </a:cubicBezTo>
                  <a:cubicBezTo>
                    <a:pt x="20727" y="7674"/>
                    <a:pt x="21159" y="7039"/>
                    <a:pt x="21502" y="6353"/>
                  </a:cubicBezTo>
                  <a:cubicBezTo>
                    <a:pt x="21833" y="5946"/>
                    <a:pt x="22125" y="5527"/>
                    <a:pt x="22392" y="5082"/>
                  </a:cubicBezTo>
                  <a:cubicBezTo>
                    <a:pt x="22392" y="5082"/>
                    <a:pt x="22392" y="5082"/>
                    <a:pt x="22392" y="4447"/>
                  </a:cubicBezTo>
                  <a:cubicBezTo>
                    <a:pt x="22455" y="3647"/>
                    <a:pt x="22455" y="2833"/>
                    <a:pt x="22392" y="2033"/>
                  </a:cubicBezTo>
                  <a:cubicBezTo>
                    <a:pt x="22392" y="2033"/>
                    <a:pt x="22392" y="762"/>
                    <a:pt x="22392" y="127"/>
                  </a:cubicBezTo>
                  <a:lnTo>
                    <a:pt x="22392" y="127"/>
                  </a:lnTo>
                  <a:cubicBezTo>
                    <a:pt x="22405" y="6378"/>
                    <a:pt x="17881" y="11702"/>
                    <a:pt x="11718" y="12706"/>
                  </a:cubicBezTo>
                  <a:close/>
                </a:path>
              </a:pathLst>
            </a:custGeom>
            <a:solidFill>
              <a:srgbClr val="000000"/>
            </a:solidFill>
            <a:ln w="12704"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7D832EC5-AC25-4561-B54E-3B2636AA51D7}"/>
                </a:ext>
              </a:extLst>
            </p:cNvPr>
            <p:cNvSpPr/>
            <p:nvPr/>
          </p:nvSpPr>
          <p:spPr>
            <a:xfrm>
              <a:off x="9062287" y="5619007"/>
              <a:ext cx="1762958" cy="24013"/>
            </a:xfrm>
            <a:custGeom>
              <a:avLst/>
              <a:gdLst>
                <a:gd name="connsiteX0" fmla="*/ 1751268 w 1762958"/>
                <a:gd name="connsiteY0" fmla="*/ 11943 h 24013"/>
                <a:gd name="connsiteX1" fmla="*/ 1762958 w 1762958"/>
                <a:gd name="connsiteY1" fmla="*/ 0 h 24013"/>
                <a:gd name="connsiteX2" fmla="*/ 1762958 w 1762958"/>
                <a:gd name="connsiteY2" fmla="*/ 0 h 24013"/>
                <a:gd name="connsiteX3" fmla="*/ 11817 w 1762958"/>
                <a:gd name="connsiteY3" fmla="*/ 0 h 24013"/>
                <a:gd name="connsiteX4" fmla="*/ 11817 w 1762958"/>
                <a:gd name="connsiteY4" fmla="*/ 11943 h 24013"/>
                <a:gd name="connsiteX5" fmla="*/ 0 w 1762958"/>
                <a:gd name="connsiteY5" fmla="*/ 24014 h 24013"/>
                <a:gd name="connsiteX6" fmla="*/ 0 w 1762958"/>
                <a:gd name="connsiteY6" fmla="*/ 24014 h 24013"/>
                <a:gd name="connsiteX7" fmla="*/ 1762958 w 1762958"/>
                <a:gd name="connsiteY7" fmla="*/ 24014 h 24013"/>
                <a:gd name="connsiteX8" fmla="*/ 1751268 w 1762958"/>
                <a:gd name="connsiteY8" fmla="*/ 12070 h 24013"/>
                <a:gd name="connsiteX9" fmla="*/ 1751268 w 1762958"/>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958" h="24013">
                  <a:moveTo>
                    <a:pt x="1751268" y="11943"/>
                  </a:moveTo>
                  <a:cubicBezTo>
                    <a:pt x="1751192" y="5413"/>
                    <a:pt x="1756427" y="76"/>
                    <a:pt x="1762958" y="0"/>
                  </a:cubicBezTo>
                  <a:cubicBezTo>
                    <a:pt x="1762958" y="0"/>
                    <a:pt x="1762958" y="0"/>
                    <a:pt x="1762958" y="0"/>
                  </a:cubicBezTo>
                  <a:lnTo>
                    <a:pt x="11817" y="0"/>
                  </a:lnTo>
                  <a:lnTo>
                    <a:pt x="11817" y="11943"/>
                  </a:lnTo>
                  <a:cubicBezTo>
                    <a:pt x="11894" y="18537"/>
                    <a:pt x="6595" y="23938"/>
                    <a:pt x="0" y="24014"/>
                  </a:cubicBezTo>
                  <a:cubicBezTo>
                    <a:pt x="0" y="24014"/>
                    <a:pt x="0" y="24014"/>
                    <a:pt x="0" y="24014"/>
                  </a:cubicBezTo>
                  <a:lnTo>
                    <a:pt x="1762958" y="24014"/>
                  </a:lnTo>
                  <a:cubicBezTo>
                    <a:pt x="1756427" y="23950"/>
                    <a:pt x="1751192" y="18601"/>
                    <a:pt x="1751268" y="12070"/>
                  </a:cubicBezTo>
                  <a:cubicBezTo>
                    <a:pt x="1751268" y="12032"/>
                    <a:pt x="1751268" y="11981"/>
                    <a:pt x="1751268" y="11943"/>
                  </a:cubicBezTo>
                  <a:close/>
                </a:path>
              </a:pathLst>
            </a:custGeom>
            <a:solidFill>
              <a:srgbClr val="000000"/>
            </a:solidFill>
            <a:ln w="12704"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6104DD22-1FD3-4E91-806B-46D420BD5D16}"/>
                </a:ext>
              </a:extLst>
            </p:cNvPr>
            <p:cNvSpPr/>
            <p:nvPr/>
          </p:nvSpPr>
          <p:spPr>
            <a:xfrm>
              <a:off x="9068957" y="790069"/>
              <a:ext cx="23667" cy="1353557"/>
            </a:xfrm>
            <a:custGeom>
              <a:avLst/>
              <a:gdLst>
                <a:gd name="connsiteX0" fmla="*/ 11881 w 23667"/>
                <a:gd name="connsiteY0" fmla="*/ 23 h 1353557"/>
                <a:gd name="connsiteX1" fmla="*/ 2606 w 23667"/>
                <a:gd name="connsiteY1" fmla="*/ 4978 h 1353557"/>
                <a:gd name="connsiteX2" fmla="*/ 64 w 23667"/>
                <a:gd name="connsiteY2" fmla="*/ 12093 h 1353557"/>
                <a:gd name="connsiteX3" fmla="*/ 64 w 23667"/>
                <a:gd name="connsiteY3" fmla="*/ 1353557 h 1353557"/>
                <a:gd name="connsiteX4" fmla="*/ 10598 w 23667"/>
                <a:gd name="connsiteY4" fmla="*/ 1340585 h 1353557"/>
                <a:gd name="connsiteX5" fmla="*/ 23572 w 23667"/>
                <a:gd name="connsiteY5" fmla="*/ 1351105 h 1353557"/>
                <a:gd name="connsiteX6" fmla="*/ 23572 w 23667"/>
                <a:gd name="connsiteY6" fmla="*/ 1353557 h 1353557"/>
                <a:gd name="connsiteX7" fmla="*/ 23572 w 23667"/>
                <a:gd name="connsiteY7" fmla="*/ 12093 h 1353557"/>
                <a:gd name="connsiteX8" fmla="*/ 23572 w 23667"/>
                <a:gd name="connsiteY8" fmla="*/ 12093 h 1353557"/>
                <a:gd name="connsiteX9" fmla="*/ 23572 w 23667"/>
                <a:gd name="connsiteY9" fmla="*/ 9425 h 1353557"/>
                <a:gd name="connsiteX10" fmla="*/ 23572 w 23667"/>
                <a:gd name="connsiteY10" fmla="*/ 7392 h 1353557"/>
                <a:gd name="connsiteX11" fmla="*/ 23572 w 23667"/>
                <a:gd name="connsiteY11" fmla="*/ 7392 h 1353557"/>
                <a:gd name="connsiteX12" fmla="*/ 11881 w 23667"/>
                <a:gd name="connsiteY12" fmla="*/ 23 h 135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67" h="1353557">
                  <a:moveTo>
                    <a:pt x="11881" y="23"/>
                  </a:moveTo>
                  <a:cubicBezTo>
                    <a:pt x="8171" y="71"/>
                    <a:pt x="4715" y="1919"/>
                    <a:pt x="2606" y="4978"/>
                  </a:cubicBezTo>
                  <a:cubicBezTo>
                    <a:pt x="979" y="6998"/>
                    <a:pt x="89" y="9504"/>
                    <a:pt x="64" y="12093"/>
                  </a:cubicBezTo>
                  <a:lnTo>
                    <a:pt x="64" y="1353557"/>
                  </a:lnTo>
                  <a:cubicBezTo>
                    <a:pt x="-610" y="1347065"/>
                    <a:pt x="4105" y="1341258"/>
                    <a:pt x="10598" y="1340585"/>
                  </a:cubicBezTo>
                  <a:cubicBezTo>
                    <a:pt x="17091" y="1339912"/>
                    <a:pt x="22898" y="1344625"/>
                    <a:pt x="23572" y="1351105"/>
                  </a:cubicBezTo>
                  <a:cubicBezTo>
                    <a:pt x="23661" y="1351918"/>
                    <a:pt x="23661" y="1352744"/>
                    <a:pt x="23572" y="1353557"/>
                  </a:cubicBezTo>
                  <a:lnTo>
                    <a:pt x="23572" y="12093"/>
                  </a:lnTo>
                  <a:lnTo>
                    <a:pt x="23572" y="12093"/>
                  </a:lnTo>
                  <a:cubicBezTo>
                    <a:pt x="23699" y="11209"/>
                    <a:pt x="23699" y="10309"/>
                    <a:pt x="23572" y="9425"/>
                  </a:cubicBezTo>
                  <a:cubicBezTo>
                    <a:pt x="23636" y="8749"/>
                    <a:pt x="23636" y="8068"/>
                    <a:pt x="23572" y="7392"/>
                  </a:cubicBezTo>
                  <a:lnTo>
                    <a:pt x="23572" y="7392"/>
                  </a:lnTo>
                  <a:cubicBezTo>
                    <a:pt x="21666" y="2676"/>
                    <a:pt x="16964" y="-292"/>
                    <a:pt x="11881" y="23"/>
                  </a:cubicBezTo>
                  <a:close/>
                </a:path>
              </a:pathLst>
            </a:custGeom>
            <a:solidFill>
              <a:srgbClr val="000000"/>
            </a:solidFill>
            <a:ln w="12704"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89A82885-68AD-4AE9-AE86-36846CC78520}"/>
                </a:ext>
              </a:extLst>
            </p:cNvPr>
            <p:cNvSpPr/>
            <p:nvPr/>
          </p:nvSpPr>
          <p:spPr>
            <a:xfrm>
              <a:off x="9069021" y="2131683"/>
              <a:ext cx="23254" cy="422774"/>
            </a:xfrm>
            <a:custGeom>
              <a:avLst/>
              <a:gdLst>
                <a:gd name="connsiteX0" fmla="*/ 11817 w 23254"/>
                <a:gd name="connsiteY0" fmla="*/ 0 h 422774"/>
                <a:gd name="connsiteX1" fmla="*/ 0 w 23254"/>
                <a:gd name="connsiteY1" fmla="*/ 11943 h 422774"/>
                <a:gd name="connsiteX2" fmla="*/ 0 w 23254"/>
                <a:gd name="connsiteY2" fmla="*/ 411409 h 422774"/>
                <a:gd name="connsiteX3" fmla="*/ 2542 w 23254"/>
                <a:gd name="connsiteY3" fmla="*/ 418525 h 422774"/>
                <a:gd name="connsiteX4" fmla="*/ 2542 w 23254"/>
                <a:gd name="connsiteY4" fmla="*/ 418525 h 422774"/>
                <a:gd name="connsiteX5" fmla="*/ 4193 w 23254"/>
                <a:gd name="connsiteY5" fmla="*/ 420303 h 422774"/>
                <a:gd name="connsiteX6" fmla="*/ 9403 w 23254"/>
                <a:gd name="connsiteY6" fmla="*/ 422718 h 422774"/>
                <a:gd name="connsiteX7" fmla="*/ 11563 w 23254"/>
                <a:gd name="connsiteY7" fmla="*/ 422718 h 422774"/>
                <a:gd name="connsiteX8" fmla="*/ 13596 w 23254"/>
                <a:gd name="connsiteY8" fmla="*/ 422718 h 422774"/>
                <a:gd name="connsiteX9" fmla="*/ 23253 w 23254"/>
                <a:gd name="connsiteY9" fmla="*/ 411028 h 422774"/>
                <a:gd name="connsiteX10" fmla="*/ 23253 w 23254"/>
                <a:gd name="connsiteY10" fmla="*/ 11943 h 422774"/>
                <a:gd name="connsiteX11" fmla="*/ 11817 w 23254"/>
                <a:gd name="connsiteY11" fmla="*/ 0 h 4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54" h="422774">
                  <a:moveTo>
                    <a:pt x="11817" y="0"/>
                  </a:moveTo>
                  <a:cubicBezTo>
                    <a:pt x="5273" y="64"/>
                    <a:pt x="0" y="5400"/>
                    <a:pt x="0" y="11943"/>
                  </a:cubicBezTo>
                  <a:lnTo>
                    <a:pt x="0" y="411409"/>
                  </a:lnTo>
                  <a:cubicBezTo>
                    <a:pt x="25" y="414001"/>
                    <a:pt x="928" y="416504"/>
                    <a:pt x="2542" y="418525"/>
                  </a:cubicBezTo>
                  <a:lnTo>
                    <a:pt x="2542" y="418525"/>
                  </a:lnTo>
                  <a:cubicBezTo>
                    <a:pt x="3024" y="419173"/>
                    <a:pt x="3584" y="419770"/>
                    <a:pt x="4193" y="420303"/>
                  </a:cubicBezTo>
                  <a:cubicBezTo>
                    <a:pt x="5718" y="421498"/>
                    <a:pt x="7510" y="422324"/>
                    <a:pt x="9403" y="422718"/>
                  </a:cubicBezTo>
                  <a:cubicBezTo>
                    <a:pt x="10127" y="422781"/>
                    <a:pt x="10839" y="422781"/>
                    <a:pt x="11563" y="422718"/>
                  </a:cubicBezTo>
                  <a:cubicBezTo>
                    <a:pt x="12237" y="422794"/>
                    <a:pt x="12923" y="422794"/>
                    <a:pt x="13596" y="422718"/>
                  </a:cubicBezTo>
                  <a:cubicBezTo>
                    <a:pt x="19188" y="421625"/>
                    <a:pt x="23241" y="416733"/>
                    <a:pt x="23253" y="411028"/>
                  </a:cubicBezTo>
                  <a:lnTo>
                    <a:pt x="23253" y="11943"/>
                  </a:lnTo>
                  <a:cubicBezTo>
                    <a:pt x="23330" y="5514"/>
                    <a:pt x="18247" y="203"/>
                    <a:pt x="11817" y="0"/>
                  </a:cubicBezTo>
                  <a:close/>
                </a:path>
              </a:pathLst>
            </a:custGeom>
            <a:solidFill>
              <a:srgbClr val="000000"/>
            </a:solidFill>
            <a:ln w="12704"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0EC6EFF6-51FA-41C6-9808-B01C1D09CE35}"/>
                </a:ext>
              </a:extLst>
            </p:cNvPr>
            <p:cNvSpPr/>
            <p:nvPr/>
          </p:nvSpPr>
          <p:spPr>
            <a:xfrm>
              <a:off x="9808563" y="2730628"/>
              <a:ext cx="23381" cy="549138"/>
            </a:xfrm>
            <a:custGeom>
              <a:avLst/>
              <a:gdLst>
                <a:gd name="connsiteX0" fmla="*/ 21730 w 23381"/>
                <a:gd name="connsiteY0" fmla="*/ 3431 h 549138"/>
                <a:gd name="connsiteX1" fmla="*/ 9913 w 23381"/>
                <a:gd name="connsiteY1" fmla="*/ 16136 h 549138"/>
                <a:gd name="connsiteX2" fmla="*/ 1 w 23381"/>
                <a:gd name="connsiteY2" fmla="*/ 16136 h 549138"/>
                <a:gd name="connsiteX3" fmla="*/ 1 w 23381"/>
                <a:gd name="connsiteY3" fmla="*/ 549139 h 549138"/>
                <a:gd name="connsiteX4" fmla="*/ 11692 w 23381"/>
                <a:gd name="connsiteY4" fmla="*/ 537195 h 549138"/>
                <a:gd name="connsiteX5" fmla="*/ 11692 w 23381"/>
                <a:gd name="connsiteY5" fmla="*/ 537195 h 549138"/>
                <a:gd name="connsiteX6" fmla="*/ 23382 w 23381"/>
                <a:gd name="connsiteY6" fmla="*/ 537195 h 549138"/>
                <a:gd name="connsiteX7" fmla="*/ 23382 w 23381"/>
                <a:gd name="connsiteY7" fmla="*/ 6480 h 549138"/>
                <a:gd name="connsiteX8" fmla="*/ 23382 w 23381"/>
                <a:gd name="connsiteY8" fmla="*/ 4193 h 549138"/>
                <a:gd name="connsiteX9" fmla="*/ 22747 w 23381"/>
                <a:gd name="connsiteY9" fmla="*/ 1906 h 549138"/>
                <a:gd name="connsiteX10" fmla="*/ 21476 w 23381"/>
                <a:gd name="connsiteY10" fmla="*/ 0 h 549138"/>
                <a:gd name="connsiteX11" fmla="*/ 21730 w 23381"/>
                <a:gd name="connsiteY11" fmla="*/ 3431 h 54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81" h="549138">
                  <a:moveTo>
                    <a:pt x="21730" y="3431"/>
                  </a:moveTo>
                  <a:cubicBezTo>
                    <a:pt x="21742" y="10114"/>
                    <a:pt x="16583" y="15666"/>
                    <a:pt x="9913" y="16136"/>
                  </a:cubicBezTo>
                  <a:lnTo>
                    <a:pt x="1" y="16136"/>
                  </a:lnTo>
                  <a:lnTo>
                    <a:pt x="1" y="549139"/>
                  </a:lnTo>
                  <a:cubicBezTo>
                    <a:pt x="-75" y="542608"/>
                    <a:pt x="5160" y="537272"/>
                    <a:pt x="11692" y="537195"/>
                  </a:cubicBezTo>
                  <a:cubicBezTo>
                    <a:pt x="11692" y="537195"/>
                    <a:pt x="11692" y="537195"/>
                    <a:pt x="11692" y="537195"/>
                  </a:cubicBezTo>
                  <a:lnTo>
                    <a:pt x="23382" y="537195"/>
                  </a:lnTo>
                  <a:lnTo>
                    <a:pt x="23382" y="6480"/>
                  </a:lnTo>
                  <a:cubicBezTo>
                    <a:pt x="23382" y="5718"/>
                    <a:pt x="23382" y="4955"/>
                    <a:pt x="23382" y="4193"/>
                  </a:cubicBezTo>
                  <a:cubicBezTo>
                    <a:pt x="23318" y="3393"/>
                    <a:pt x="23102" y="2617"/>
                    <a:pt x="22747" y="1906"/>
                  </a:cubicBezTo>
                  <a:cubicBezTo>
                    <a:pt x="22441" y="1194"/>
                    <a:pt x="22009" y="546"/>
                    <a:pt x="21476" y="0"/>
                  </a:cubicBezTo>
                  <a:cubicBezTo>
                    <a:pt x="21756" y="1118"/>
                    <a:pt x="21832" y="2287"/>
                    <a:pt x="21730" y="3431"/>
                  </a:cubicBezTo>
                  <a:close/>
                </a:path>
              </a:pathLst>
            </a:custGeom>
            <a:solidFill>
              <a:srgbClr val="000000"/>
            </a:solidFill>
            <a:ln w="12704"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61C96E6A-4CD9-414E-930A-35A9BD51E52D}"/>
                </a:ext>
              </a:extLst>
            </p:cNvPr>
            <p:cNvSpPr/>
            <p:nvPr/>
          </p:nvSpPr>
          <p:spPr>
            <a:xfrm>
              <a:off x="9808310" y="3279132"/>
              <a:ext cx="762" cy="4192"/>
            </a:xfrm>
            <a:custGeom>
              <a:avLst/>
              <a:gdLst>
                <a:gd name="connsiteX0" fmla="*/ 763 w 762"/>
                <a:gd name="connsiteY0" fmla="*/ 3430 h 4192"/>
                <a:gd name="connsiteX1" fmla="*/ 763 w 762"/>
                <a:gd name="connsiteY1" fmla="*/ 4193 h 4192"/>
                <a:gd name="connsiteX2" fmla="*/ 0 w 762"/>
                <a:gd name="connsiteY2" fmla="*/ 0 h 4192"/>
                <a:gd name="connsiteX3" fmla="*/ 0 w 762"/>
                <a:gd name="connsiteY3" fmla="*/ 762 h 4192"/>
                <a:gd name="connsiteX4" fmla="*/ 763 w 762"/>
                <a:gd name="connsiteY4" fmla="*/ 343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 h="4192">
                  <a:moveTo>
                    <a:pt x="763" y="3430"/>
                  </a:moveTo>
                  <a:cubicBezTo>
                    <a:pt x="712" y="3685"/>
                    <a:pt x="712" y="3939"/>
                    <a:pt x="763" y="4193"/>
                  </a:cubicBezTo>
                  <a:cubicBezTo>
                    <a:pt x="242" y="2859"/>
                    <a:pt x="-13" y="1436"/>
                    <a:pt x="0" y="0"/>
                  </a:cubicBezTo>
                  <a:lnTo>
                    <a:pt x="0" y="762"/>
                  </a:lnTo>
                  <a:cubicBezTo>
                    <a:pt x="114" y="1690"/>
                    <a:pt x="369" y="2592"/>
                    <a:pt x="763" y="3430"/>
                  </a:cubicBezTo>
                  <a:close/>
                </a:path>
              </a:pathLst>
            </a:custGeom>
            <a:solidFill>
              <a:srgbClr val="000000"/>
            </a:solidFill>
            <a:ln w="12704"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AE76875D-DE98-460F-8D87-42F32B192A29}"/>
                </a:ext>
              </a:extLst>
            </p:cNvPr>
            <p:cNvSpPr/>
            <p:nvPr/>
          </p:nvSpPr>
          <p:spPr>
            <a:xfrm>
              <a:off x="9809708" y="3284214"/>
              <a:ext cx="14231" cy="7750"/>
            </a:xfrm>
            <a:custGeom>
              <a:avLst/>
              <a:gdLst>
                <a:gd name="connsiteX0" fmla="*/ 10547 w 14231"/>
                <a:gd name="connsiteY0" fmla="*/ 7750 h 7750"/>
                <a:gd name="connsiteX1" fmla="*/ 14232 w 14231"/>
                <a:gd name="connsiteY1" fmla="*/ 6988 h 7750"/>
                <a:gd name="connsiteX2" fmla="*/ 10547 w 14231"/>
                <a:gd name="connsiteY2" fmla="*/ 6988 h 7750"/>
                <a:gd name="connsiteX3" fmla="*/ 0 w 14231"/>
                <a:gd name="connsiteY3" fmla="*/ 0 h 7750"/>
                <a:gd name="connsiteX4" fmla="*/ 10547 w 14231"/>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1" h="7750">
                  <a:moveTo>
                    <a:pt x="10547" y="7750"/>
                  </a:moveTo>
                  <a:cubicBezTo>
                    <a:pt x="11805" y="7687"/>
                    <a:pt x="13050" y="7433"/>
                    <a:pt x="14232" y="6988"/>
                  </a:cubicBezTo>
                  <a:lnTo>
                    <a:pt x="10547" y="6988"/>
                  </a:lnTo>
                  <a:cubicBezTo>
                    <a:pt x="5959" y="6925"/>
                    <a:pt x="1843" y="4193"/>
                    <a:pt x="0" y="0"/>
                  </a:cubicBezTo>
                  <a:cubicBezTo>
                    <a:pt x="1512" y="4561"/>
                    <a:pt x="5743" y="7674"/>
                    <a:pt x="10547" y="7750"/>
                  </a:cubicBezTo>
                  <a:close/>
                </a:path>
              </a:pathLst>
            </a:custGeom>
            <a:solidFill>
              <a:srgbClr val="000000"/>
            </a:solidFill>
            <a:ln w="12704"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C3494B63-64F4-458B-9EA6-A13838600CFF}"/>
                </a:ext>
              </a:extLst>
            </p:cNvPr>
            <p:cNvSpPr/>
            <p:nvPr/>
          </p:nvSpPr>
          <p:spPr>
            <a:xfrm>
              <a:off x="10849007" y="4087847"/>
              <a:ext cx="12580" cy="16390"/>
            </a:xfrm>
            <a:custGeom>
              <a:avLst/>
              <a:gdLst>
                <a:gd name="connsiteX0" fmla="*/ 890 w 12580"/>
                <a:gd name="connsiteY0" fmla="*/ 0 h 16390"/>
                <a:gd name="connsiteX1" fmla="*/ 0 w 12580"/>
                <a:gd name="connsiteY1" fmla="*/ 0 h 16390"/>
                <a:gd name="connsiteX2" fmla="*/ 11690 w 12580"/>
                <a:gd name="connsiteY2" fmla="*/ 11943 h 16390"/>
                <a:gd name="connsiteX3" fmla="*/ 11690 w 12580"/>
                <a:gd name="connsiteY3" fmla="*/ 11943 h 16390"/>
                <a:gd name="connsiteX4" fmla="*/ 11690 w 12580"/>
                <a:gd name="connsiteY4" fmla="*/ 16390 h 16390"/>
                <a:gd name="connsiteX5" fmla="*/ 12580 w 12580"/>
                <a:gd name="connsiteY5" fmla="*/ 11943 h 16390"/>
                <a:gd name="connsiteX6" fmla="*/ 890 w 12580"/>
                <a:gd name="connsiteY6" fmla="*/ 0 h 16390"/>
                <a:gd name="connsiteX7" fmla="*/ 890 w 12580"/>
                <a:gd name="connsiteY7" fmla="*/ 0 h 1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80" h="16390">
                  <a:moveTo>
                    <a:pt x="890" y="0"/>
                  </a:moveTo>
                  <a:lnTo>
                    <a:pt x="0" y="0"/>
                  </a:lnTo>
                  <a:cubicBezTo>
                    <a:pt x="6532" y="64"/>
                    <a:pt x="11754" y="5413"/>
                    <a:pt x="11690" y="11943"/>
                  </a:cubicBezTo>
                  <a:cubicBezTo>
                    <a:pt x="11690" y="11943"/>
                    <a:pt x="11690" y="11943"/>
                    <a:pt x="11690" y="11943"/>
                  </a:cubicBezTo>
                  <a:lnTo>
                    <a:pt x="11690" y="16390"/>
                  </a:lnTo>
                  <a:cubicBezTo>
                    <a:pt x="12249" y="14967"/>
                    <a:pt x="12555" y="13468"/>
                    <a:pt x="12580" y="11943"/>
                  </a:cubicBezTo>
                  <a:cubicBezTo>
                    <a:pt x="12657" y="5413"/>
                    <a:pt x="7421" y="76"/>
                    <a:pt x="890" y="0"/>
                  </a:cubicBezTo>
                  <a:cubicBezTo>
                    <a:pt x="890" y="0"/>
                    <a:pt x="890" y="0"/>
                    <a:pt x="890" y="0"/>
                  </a:cubicBezTo>
                  <a:close/>
                </a:path>
              </a:pathLst>
            </a:custGeom>
            <a:solidFill>
              <a:srgbClr val="000000"/>
            </a:solidFill>
            <a:ln w="12704"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933CD2ED-3266-4635-A31C-0FD562E15C86}"/>
                </a:ext>
              </a:extLst>
            </p:cNvPr>
            <p:cNvSpPr/>
            <p:nvPr/>
          </p:nvSpPr>
          <p:spPr>
            <a:xfrm>
              <a:off x="10837125" y="4099790"/>
              <a:ext cx="23638" cy="779238"/>
            </a:xfrm>
            <a:custGeom>
              <a:avLst/>
              <a:gdLst>
                <a:gd name="connsiteX0" fmla="*/ 11881 w 23638"/>
                <a:gd name="connsiteY0" fmla="*/ 12070 h 779238"/>
                <a:gd name="connsiteX1" fmla="*/ 64 w 23638"/>
                <a:gd name="connsiteY1" fmla="*/ 12070 h 779238"/>
                <a:gd name="connsiteX2" fmla="*/ 64 w 23638"/>
                <a:gd name="connsiteY2" fmla="*/ 779238 h 779238"/>
                <a:gd name="connsiteX3" fmla="*/ 10598 w 23638"/>
                <a:gd name="connsiteY3" fmla="*/ 766266 h 779238"/>
                <a:gd name="connsiteX4" fmla="*/ 23571 w 23638"/>
                <a:gd name="connsiteY4" fmla="*/ 776786 h 779238"/>
                <a:gd name="connsiteX5" fmla="*/ 23571 w 23638"/>
                <a:gd name="connsiteY5" fmla="*/ 779238 h 779238"/>
                <a:gd name="connsiteX6" fmla="*/ 23571 w 23638"/>
                <a:gd name="connsiteY6" fmla="*/ 0 h 779238"/>
                <a:gd name="connsiteX7" fmla="*/ 12009 w 23638"/>
                <a:gd name="connsiteY7" fmla="*/ 12070 h 779238"/>
                <a:gd name="connsiteX8" fmla="*/ 11881 w 23638"/>
                <a:gd name="connsiteY8" fmla="*/ 12070 h 77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779238">
                  <a:moveTo>
                    <a:pt x="11881" y="12070"/>
                  </a:moveTo>
                  <a:lnTo>
                    <a:pt x="64" y="12070"/>
                  </a:lnTo>
                  <a:lnTo>
                    <a:pt x="64" y="779238"/>
                  </a:lnTo>
                  <a:cubicBezTo>
                    <a:pt x="-609" y="772746"/>
                    <a:pt x="4105" y="766939"/>
                    <a:pt x="10598" y="766266"/>
                  </a:cubicBezTo>
                  <a:cubicBezTo>
                    <a:pt x="17092" y="765580"/>
                    <a:pt x="22898" y="770306"/>
                    <a:pt x="23571" y="776786"/>
                  </a:cubicBezTo>
                  <a:cubicBezTo>
                    <a:pt x="23661" y="777599"/>
                    <a:pt x="23661" y="778425"/>
                    <a:pt x="23571" y="779238"/>
                  </a:cubicBezTo>
                  <a:lnTo>
                    <a:pt x="23571" y="0"/>
                  </a:lnTo>
                  <a:cubicBezTo>
                    <a:pt x="23712" y="6531"/>
                    <a:pt x="18540" y="11931"/>
                    <a:pt x="12009" y="12070"/>
                  </a:cubicBezTo>
                  <a:cubicBezTo>
                    <a:pt x="11971" y="12070"/>
                    <a:pt x="11919" y="12070"/>
                    <a:pt x="11881" y="12070"/>
                  </a:cubicBezTo>
                  <a:close/>
                </a:path>
              </a:pathLst>
            </a:custGeom>
            <a:solidFill>
              <a:srgbClr val="000000"/>
            </a:solidFill>
            <a:ln w="12704"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EF53295D-4730-40C9-A4D1-03C290B6955F}"/>
                </a:ext>
              </a:extLst>
            </p:cNvPr>
            <p:cNvSpPr/>
            <p:nvPr/>
          </p:nvSpPr>
          <p:spPr>
            <a:xfrm>
              <a:off x="10837189" y="4866959"/>
              <a:ext cx="23508" cy="764245"/>
            </a:xfrm>
            <a:custGeom>
              <a:avLst/>
              <a:gdLst>
                <a:gd name="connsiteX0" fmla="*/ 11817 w 23508"/>
                <a:gd name="connsiteY0" fmla="*/ 0 h 764245"/>
                <a:gd name="connsiteX1" fmla="*/ 0 w 23508"/>
                <a:gd name="connsiteY1" fmla="*/ 12070 h 764245"/>
                <a:gd name="connsiteX2" fmla="*/ 0 w 23508"/>
                <a:gd name="connsiteY2" fmla="*/ 752302 h 764245"/>
                <a:gd name="connsiteX3" fmla="*/ 11817 w 23508"/>
                <a:gd name="connsiteY3" fmla="*/ 752302 h 764245"/>
                <a:gd name="connsiteX4" fmla="*/ 23507 w 23508"/>
                <a:gd name="connsiteY4" fmla="*/ 764246 h 764245"/>
                <a:gd name="connsiteX5" fmla="*/ 23507 w 23508"/>
                <a:gd name="connsiteY5" fmla="*/ 764246 h 764245"/>
                <a:gd name="connsiteX6" fmla="*/ 23507 w 23508"/>
                <a:gd name="connsiteY6" fmla="*/ 12070 h 764245"/>
                <a:gd name="connsiteX7" fmla="*/ 11817 w 23508"/>
                <a:gd name="connsiteY7" fmla="*/ 0 h 76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08" h="764245">
                  <a:moveTo>
                    <a:pt x="11817" y="0"/>
                  </a:moveTo>
                  <a:cubicBezTo>
                    <a:pt x="5388" y="445"/>
                    <a:pt x="305" y="5629"/>
                    <a:pt x="0" y="12070"/>
                  </a:cubicBezTo>
                  <a:lnTo>
                    <a:pt x="0" y="752302"/>
                  </a:lnTo>
                  <a:lnTo>
                    <a:pt x="11817" y="752302"/>
                  </a:lnTo>
                  <a:cubicBezTo>
                    <a:pt x="18349" y="752366"/>
                    <a:pt x="23571" y="757715"/>
                    <a:pt x="23507" y="764246"/>
                  </a:cubicBezTo>
                  <a:cubicBezTo>
                    <a:pt x="23507" y="764246"/>
                    <a:pt x="23507" y="764246"/>
                    <a:pt x="23507" y="764246"/>
                  </a:cubicBezTo>
                  <a:lnTo>
                    <a:pt x="23507" y="12070"/>
                  </a:lnTo>
                  <a:cubicBezTo>
                    <a:pt x="23584" y="5527"/>
                    <a:pt x="18362" y="140"/>
                    <a:pt x="11817" y="0"/>
                  </a:cubicBezTo>
                  <a:close/>
                </a:path>
              </a:pathLst>
            </a:custGeom>
            <a:solidFill>
              <a:srgbClr val="000000"/>
            </a:solidFill>
            <a:ln w="12704"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E367A7A6-00DC-4348-926A-94E2F78E0AA1}"/>
                </a:ext>
              </a:extLst>
            </p:cNvPr>
            <p:cNvSpPr/>
            <p:nvPr/>
          </p:nvSpPr>
          <p:spPr>
            <a:xfrm>
              <a:off x="9050532" y="5485470"/>
              <a:ext cx="23638" cy="158518"/>
            </a:xfrm>
            <a:custGeom>
              <a:avLst/>
              <a:gdLst>
                <a:gd name="connsiteX0" fmla="*/ 23572 w 23638"/>
                <a:gd name="connsiteY0" fmla="*/ 145480 h 158518"/>
                <a:gd name="connsiteX1" fmla="*/ 23572 w 23638"/>
                <a:gd name="connsiteY1" fmla="*/ 0 h 158518"/>
                <a:gd name="connsiteX2" fmla="*/ 11755 w 23638"/>
                <a:gd name="connsiteY2" fmla="*/ 11943 h 158518"/>
                <a:gd name="connsiteX3" fmla="*/ 1970 w 23638"/>
                <a:gd name="connsiteY3" fmla="*/ 6226 h 158518"/>
                <a:gd name="connsiteX4" fmla="*/ 64 w 23638"/>
                <a:gd name="connsiteY4" fmla="*/ 8767 h 158518"/>
                <a:gd name="connsiteX5" fmla="*/ 64 w 23638"/>
                <a:gd name="connsiteY5" fmla="*/ 145480 h 158518"/>
                <a:gd name="connsiteX6" fmla="*/ 10598 w 23638"/>
                <a:gd name="connsiteY6" fmla="*/ 158452 h 158518"/>
                <a:gd name="connsiteX7" fmla="*/ 23572 w 23638"/>
                <a:gd name="connsiteY7" fmla="*/ 147932 h 158518"/>
                <a:gd name="connsiteX8" fmla="*/ 23572 w 23638"/>
                <a:gd name="connsiteY8" fmla="*/ 145480 h 15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58518">
                  <a:moveTo>
                    <a:pt x="23572" y="145480"/>
                  </a:moveTo>
                  <a:lnTo>
                    <a:pt x="23572" y="0"/>
                  </a:lnTo>
                  <a:cubicBezTo>
                    <a:pt x="23572" y="6543"/>
                    <a:pt x="18298" y="11880"/>
                    <a:pt x="11755" y="11943"/>
                  </a:cubicBezTo>
                  <a:cubicBezTo>
                    <a:pt x="7701" y="11931"/>
                    <a:pt x="3978" y="9745"/>
                    <a:pt x="1970" y="6226"/>
                  </a:cubicBezTo>
                  <a:cubicBezTo>
                    <a:pt x="1411" y="7128"/>
                    <a:pt x="776" y="7979"/>
                    <a:pt x="64" y="8767"/>
                  </a:cubicBezTo>
                  <a:lnTo>
                    <a:pt x="64" y="145480"/>
                  </a:lnTo>
                  <a:cubicBezTo>
                    <a:pt x="-609" y="151972"/>
                    <a:pt x="4105" y="157779"/>
                    <a:pt x="10598" y="158452"/>
                  </a:cubicBezTo>
                  <a:cubicBezTo>
                    <a:pt x="17091" y="159138"/>
                    <a:pt x="22898" y="154412"/>
                    <a:pt x="23572" y="147932"/>
                  </a:cubicBezTo>
                  <a:cubicBezTo>
                    <a:pt x="23661" y="147119"/>
                    <a:pt x="23661" y="146293"/>
                    <a:pt x="23572" y="145480"/>
                  </a:cubicBezTo>
                  <a:close/>
                </a:path>
              </a:pathLst>
            </a:custGeom>
            <a:solidFill>
              <a:srgbClr val="000000"/>
            </a:solidFill>
            <a:ln w="12704"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541F3050-D6D8-4E19-B181-A136E9222FB8}"/>
                </a:ext>
              </a:extLst>
            </p:cNvPr>
            <p:cNvSpPr/>
            <p:nvPr/>
          </p:nvSpPr>
          <p:spPr>
            <a:xfrm>
              <a:off x="6926968" y="5689523"/>
              <a:ext cx="23048" cy="115367"/>
            </a:xfrm>
            <a:custGeom>
              <a:avLst/>
              <a:gdLst>
                <a:gd name="connsiteX0" fmla="*/ 11738 w 23048"/>
                <a:gd name="connsiteY0" fmla="*/ 11943 h 115367"/>
                <a:gd name="connsiteX1" fmla="*/ 48 w 23048"/>
                <a:gd name="connsiteY1" fmla="*/ 0 h 115367"/>
                <a:gd name="connsiteX2" fmla="*/ 48 w 23048"/>
                <a:gd name="connsiteY2" fmla="*/ 0 h 115367"/>
                <a:gd name="connsiteX3" fmla="*/ 48 w 23048"/>
                <a:gd name="connsiteY3" fmla="*/ 103297 h 115367"/>
                <a:gd name="connsiteX4" fmla="*/ 48 w 23048"/>
                <a:gd name="connsiteY4" fmla="*/ 105457 h 115367"/>
                <a:gd name="connsiteX5" fmla="*/ 11357 w 23048"/>
                <a:gd name="connsiteY5" fmla="*/ 115367 h 115367"/>
                <a:gd name="connsiteX6" fmla="*/ 23047 w 23048"/>
                <a:gd name="connsiteY6" fmla="*/ 103424 h 115367"/>
                <a:gd name="connsiteX7" fmla="*/ 23047 w 23048"/>
                <a:gd name="connsiteY7" fmla="*/ 103297 h 115367"/>
                <a:gd name="connsiteX8" fmla="*/ 23047 w 23048"/>
                <a:gd name="connsiteY8" fmla="*/ 0 h 115367"/>
                <a:gd name="connsiteX9" fmla="*/ 11738 w 23048"/>
                <a:gd name="connsiteY9" fmla="*/ 11943 h 11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48" h="115367">
                  <a:moveTo>
                    <a:pt x="11738" y="11943"/>
                  </a:moveTo>
                  <a:cubicBezTo>
                    <a:pt x="5207" y="11880"/>
                    <a:pt x="-16" y="6531"/>
                    <a:pt x="48" y="0"/>
                  </a:cubicBezTo>
                  <a:cubicBezTo>
                    <a:pt x="48" y="0"/>
                    <a:pt x="48" y="0"/>
                    <a:pt x="48" y="0"/>
                  </a:cubicBezTo>
                  <a:lnTo>
                    <a:pt x="48" y="103297"/>
                  </a:lnTo>
                  <a:cubicBezTo>
                    <a:pt x="-16" y="104021"/>
                    <a:pt x="-16" y="104733"/>
                    <a:pt x="48" y="105457"/>
                  </a:cubicBezTo>
                  <a:cubicBezTo>
                    <a:pt x="912" y="111073"/>
                    <a:pt x="5677" y="115253"/>
                    <a:pt x="11357" y="115367"/>
                  </a:cubicBezTo>
                  <a:cubicBezTo>
                    <a:pt x="17888" y="115304"/>
                    <a:pt x="23124" y="109955"/>
                    <a:pt x="23047" y="103424"/>
                  </a:cubicBezTo>
                  <a:cubicBezTo>
                    <a:pt x="23047" y="103386"/>
                    <a:pt x="23047" y="103335"/>
                    <a:pt x="23047" y="103297"/>
                  </a:cubicBezTo>
                  <a:lnTo>
                    <a:pt x="23047" y="0"/>
                  </a:lnTo>
                  <a:cubicBezTo>
                    <a:pt x="23124" y="6378"/>
                    <a:pt x="18117" y="11664"/>
                    <a:pt x="11738" y="11943"/>
                  </a:cubicBezTo>
                  <a:close/>
                </a:path>
              </a:pathLst>
            </a:custGeom>
            <a:solidFill>
              <a:srgbClr val="000000"/>
            </a:solidFill>
            <a:ln w="12704"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4FBC23C8-3ABA-4467-B09E-1A5008CE0E40}"/>
                </a:ext>
              </a:extLst>
            </p:cNvPr>
            <p:cNvSpPr/>
            <p:nvPr/>
          </p:nvSpPr>
          <p:spPr>
            <a:xfrm>
              <a:off x="6927575" y="5587230"/>
              <a:ext cx="23460" cy="113982"/>
            </a:xfrm>
            <a:custGeom>
              <a:avLst/>
              <a:gdLst>
                <a:gd name="connsiteX0" fmla="*/ 11131 w 23460"/>
                <a:gd name="connsiteY0" fmla="*/ 13 h 113982"/>
                <a:gd name="connsiteX1" fmla="*/ 3507 w 23460"/>
                <a:gd name="connsiteY1" fmla="*/ 3062 h 113982"/>
                <a:gd name="connsiteX2" fmla="*/ 1982 w 23460"/>
                <a:gd name="connsiteY2" fmla="*/ 4841 h 113982"/>
                <a:gd name="connsiteX3" fmla="*/ 712 w 23460"/>
                <a:gd name="connsiteY3" fmla="*/ 6747 h 113982"/>
                <a:gd name="connsiteX4" fmla="*/ 76 w 23460"/>
                <a:gd name="connsiteY4" fmla="*/ 8780 h 113982"/>
                <a:gd name="connsiteX5" fmla="*/ 76 w 23460"/>
                <a:gd name="connsiteY5" fmla="*/ 11193 h 113982"/>
                <a:gd name="connsiteX6" fmla="*/ 76 w 23460"/>
                <a:gd name="connsiteY6" fmla="*/ 12083 h 113982"/>
                <a:gd name="connsiteX7" fmla="*/ 76 w 23460"/>
                <a:gd name="connsiteY7" fmla="*/ 102293 h 113982"/>
                <a:gd name="connsiteX8" fmla="*/ 11767 w 23460"/>
                <a:gd name="connsiteY8" fmla="*/ 113983 h 113982"/>
                <a:gd name="connsiteX9" fmla="*/ 23457 w 23460"/>
                <a:gd name="connsiteY9" fmla="*/ 102293 h 113982"/>
                <a:gd name="connsiteX10" fmla="*/ 23457 w 23460"/>
                <a:gd name="connsiteY10" fmla="*/ 12083 h 113982"/>
                <a:gd name="connsiteX11" fmla="*/ 11907 w 23460"/>
                <a:gd name="connsiteY11" fmla="*/ 0 h 113982"/>
                <a:gd name="connsiteX12" fmla="*/ 11131 w 23460"/>
                <a:gd name="connsiteY12" fmla="*/ 13 h 1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60" h="113982">
                  <a:moveTo>
                    <a:pt x="11131" y="13"/>
                  </a:moveTo>
                  <a:cubicBezTo>
                    <a:pt x="8310" y="76"/>
                    <a:pt x="5591" y="1156"/>
                    <a:pt x="3507" y="3062"/>
                  </a:cubicBezTo>
                  <a:cubicBezTo>
                    <a:pt x="2935" y="3596"/>
                    <a:pt x="2427" y="4193"/>
                    <a:pt x="1982" y="4841"/>
                  </a:cubicBezTo>
                  <a:lnTo>
                    <a:pt x="712" y="6747"/>
                  </a:lnTo>
                  <a:cubicBezTo>
                    <a:pt x="419" y="7395"/>
                    <a:pt x="216" y="8081"/>
                    <a:pt x="76" y="8780"/>
                  </a:cubicBezTo>
                  <a:cubicBezTo>
                    <a:pt x="-25" y="9580"/>
                    <a:pt x="-25" y="10393"/>
                    <a:pt x="76" y="11193"/>
                  </a:cubicBezTo>
                  <a:cubicBezTo>
                    <a:pt x="76" y="11193"/>
                    <a:pt x="76" y="11193"/>
                    <a:pt x="76" y="12083"/>
                  </a:cubicBezTo>
                  <a:lnTo>
                    <a:pt x="76" y="102293"/>
                  </a:lnTo>
                  <a:cubicBezTo>
                    <a:pt x="76" y="108748"/>
                    <a:pt x="5312" y="113983"/>
                    <a:pt x="11767" y="113983"/>
                  </a:cubicBezTo>
                  <a:cubicBezTo>
                    <a:pt x="18222" y="113983"/>
                    <a:pt x="23457" y="108748"/>
                    <a:pt x="23457" y="102293"/>
                  </a:cubicBezTo>
                  <a:lnTo>
                    <a:pt x="23457" y="12083"/>
                  </a:lnTo>
                  <a:cubicBezTo>
                    <a:pt x="23610" y="5565"/>
                    <a:pt x="18438" y="152"/>
                    <a:pt x="11907" y="0"/>
                  </a:cubicBezTo>
                  <a:cubicBezTo>
                    <a:pt x="11652" y="0"/>
                    <a:pt x="11385" y="0"/>
                    <a:pt x="11131" y="13"/>
                  </a:cubicBezTo>
                  <a:close/>
                </a:path>
              </a:pathLst>
            </a:custGeom>
            <a:solidFill>
              <a:srgbClr val="000000"/>
            </a:solidFill>
            <a:ln w="12704"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8EE97536-5DED-4A6F-9A43-A1B58CD6B396}"/>
                </a:ext>
              </a:extLst>
            </p:cNvPr>
            <p:cNvSpPr/>
            <p:nvPr/>
          </p:nvSpPr>
          <p:spPr>
            <a:xfrm>
              <a:off x="8505724" y="1830178"/>
              <a:ext cx="104323" cy="24013"/>
            </a:xfrm>
            <a:custGeom>
              <a:avLst/>
              <a:gdLst>
                <a:gd name="connsiteX0" fmla="*/ 11690 w 104323"/>
                <a:gd name="connsiteY0" fmla="*/ 12070 h 24013"/>
                <a:gd name="connsiteX1" fmla="*/ 0 w 104323"/>
                <a:gd name="connsiteY1" fmla="*/ 24014 h 24013"/>
                <a:gd name="connsiteX2" fmla="*/ 0 w 104323"/>
                <a:gd name="connsiteY2" fmla="*/ 24014 h 24013"/>
                <a:gd name="connsiteX3" fmla="*/ 104324 w 104323"/>
                <a:gd name="connsiteY3" fmla="*/ 24014 h 24013"/>
                <a:gd name="connsiteX4" fmla="*/ 104324 w 104323"/>
                <a:gd name="connsiteY4" fmla="*/ 0 h 24013"/>
                <a:gd name="connsiteX5" fmla="*/ 0 w 104323"/>
                <a:gd name="connsiteY5" fmla="*/ 0 h 24013"/>
                <a:gd name="connsiteX6" fmla="*/ 11690 w 104323"/>
                <a:gd name="connsiteY6" fmla="*/ 11943 h 24013"/>
                <a:gd name="connsiteX7" fmla="*/ 11690 w 104323"/>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23" h="24013">
                  <a:moveTo>
                    <a:pt x="11690" y="12070"/>
                  </a:moveTo>
                  <a:cubicBezTo>
                    <a:pt x="11767" y="18601"/>
                    <a:pt x="6531" y="23938"/>
                    <a:pt x="0" y="24014"/>
                  </a:cubicBezTo>
                  <a:cubicBezTo>
                    <a:pt x="0" y="24014"/>
                    <a:pt x="0" y="24014"/>
                    <a:pt x="0" y="24014"/>
                  </a:cubicBezTo>
                  <a:lnTo>
                    <a:pt x="104324" y="24014"/>
                  </a:lnTo>
                  <a:lnTo>
                    <a:pt x="104324" y="0"/>
                  </a:lnTo>
                  <a:lnTo>
                    <a:pt x="0" y="0"/>
                  </a:lnTo>
                  <a:cubicBezTo>
                    <a:pt x="6531" y="64"/>
                    <a:pt x="11767" y="5413"/>
                    <a:pt x="11690" y="11943"/>
                  </a:cubicBezTo>
                  <a:cubicBezTo>
                    <a:pt x="11690" y="11981"/>
                    <a:pt x="11690" y="12032"/>
                    <a:pt x="11690" y="12070"/>
                  </a:cubicBezTo>
                  <a:close/>
                </a:path>
              </a:pathLst>
            </a:custGeom>
            <a:solidFill>
              <a:srgbClr val="000000"/>
            </a:solidFill>
            <a:ln w="12704"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3B0DEFF4-6704-4064-B3CC-EE3D1BA15954}"/>
                </a:ext>
              </a:extLst>
            </p:cNvPr>
            <p:cNvSpPr/>
            <p:nvPr/>
          </p:nvSpPr>
          <p:spPr>
            <a:xfrm>
              <a:off x="5969619" y="4708900"/>
              <a:ext cx="22168" cy="119052"/>
            </a:xfrm>
            <a:custGeom>
              <a:avLst/>
              <a:gdLst>
                <a:gd name="connsiteX0" fmla="*/ 11747 w 22168"/>
                <a:gd name="connsiteY0" fmla="*/ 12706 h 119052"/>
                <a:gd name="connsiteX1" fmla="*/ 32 w 22168"/>
                <a:gd name="connsiteY1" fmla="*/ 534 h 119052"/>
                <a:gd name="connsiteX2" fmla="*/ 57 w 22168"/>
                <a:gd name="connsiteY2" fmla="*/ 0 h 119052"/>
                <a:gd name="connsiteX3" fmla="*/ 57 w 22168"/>
                <a:gd name="connsiteY3" fmla="*/ 107490 h 119052"/>
                <a:gd name="connsiteX4" fmla="*/ 57 w 22168"/>
                <a:gd name="connsiteY4" fmla="*/ 109650 h 119052"/>
                <a:gd name="connsiteX5" fmla="*/ 57 w 22168"/>
                <a:gd name="connsiteY5" fmla="*/ 112064 h 119052"/>
                <a:gd name="connsiteX6" fmla="*/ 57 w 22168"/>
                <a:gd name="connsiteY6" fmla="*/ 112826 h 119052"/>
                <a:gd name="connsiteX7" fmla="*/ 1836 w 22168"/>
                <a:gd name="connsiteY7" fmla="*/ 115622 h 119052"/>
                <a:gd name="connsiteX8" fmla="*/ 2726 w 22168"/>
                <a:gd name="connsiteY8" fmla="*/ 116511 h 119052"/>
                <a:gd name="connsiteX9" fmla="*/ 5140 w 22168"/>
                <a:gd name="connsiteY9" fmla="*/ 118163 h 119052"/>
                <a:gd name="connsiteX10" fmla="*/ 6284 w 22168"/>
                <a:gd name="connsiteY10" fmla="*/ 118163 h 119052"/>
                <a:gd name="connsiteX11" fmla="*/ 10350 w 22168"/>
                <a:gd name="connsiteY11" fmla="*/ 119052 h 119052"/>
                <a:gd name="connsiteX12" fmla="*/ 22167 w 22168"/>
                <a:gd name="connsiteY12" fmla="*/ 106981 h 119052"/>
                <a:gd name="connsiteX13" fmla="*/ 22167 w 22168"/>
                <a:gd name="connsiteY13" fmla="*/ 106981 h 119052"/>
                <a:gd name="connsiteX14" fmla="*/ 22167 w 22168"/>
                <a:gd name="connsiteY14" fmla="*/ 635 h 119052"/>
                <a:gd name="connsiteX15" fmla="*/ 11747 w 22168"/>
                <a:gd name="connsiteY15" fmla="*/ 12706 h 11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8" h="119052">
                  <a:moveTo>
                    <a:pt x="11747" y="12706"/>
                  </a:moveTo>
                  <a:cubicBezTo>
                    <a:pt x="5153" y="12578"/>
                    <a:pt x="-95" y="7128"/>
                    <a:pt x="32" y="534"/>
                  </a:cubicBezTo>
                  <a:cubicBezTo>
                    <a:pt x="45" y="356"/>
                    <a:pt x="45" y="178"/>
                    <a:pt x="57" y="0"/>
                  </a:cubicBezTo>
                  <a:lnTo>
                    <a:pt x="57" y="107490"/>
                  </a:lnTo>
                  <a:cubicBezTo>
                    <a:pt x="-19" y="108214"/>
                    <a:pt x="-19" y="108926"/>
                    <a:pt x="57" y="109650"/>
                  </a:cubicBezTo>
                  <a:cubicBezTo>
                    <a:pt x="57" y="110412"/>
                    <a:pt x="57" y="111301"/>
                    <a:pt x="57" y="112064"/>
                  </a:cubicBezTo>
                  <a:lnTo>
                    <a:pt x="57" y="112826"/>
                  </a:lnTo>
                  <a:cubicBezTo>
                    <a:pt x="502" y="113843"/>
                    <a:pt x="1099" y="114796"/>
                    <a:pt x="1836" y="115622"/>
                  </a:cubicBezTo>
                  <a:lnTo>
                    <a:pt x="2726" y="116511"/>
                  </a:lnTo>
                  <a:lnTo>
                    <a:pt x="5140" y="118163"/>
                  </a:lnTo>
                  <a:lnTo>
                    <a:pt x="6284" y="118163"/>
                  </a:lnTo>
                  <a:cubicBezTo>
                    <a:pt x="7567" y="118709"/>
                    <a:pt x="8952" y="119014"/>
                    <a:pt x="10350" y="119052"/>
                  </a:cubicBezTo>
                  <a:cubicBezTo>
                    <a:pt x="16945" y="118988"/>
                    <a:pt x="22243" y="113576"/>
                    <a:pt x="22167" y="106981"/>
                  </a:cubicBezTo>
                  <a:cubicBezTo>
                    <a:pt x="22167" y="106981"/>
                    <a:pt x="22167" y="106981"/>
                    <a:pt x="22167" y="106981"/>
                  </a:cubicBezTo>
                  <a:lnTo>
                    <a:pt x="22167" y="635"/>
                  </a:lnTo>
                  <a:cubicBezTo>
                    <a:pt x="21964" y="6607"/>
                    <a:pt x="17631" y="11638"/>
                    <a:pt x="11747" y="12706"/>
                  </a:cubicBezTo>
                  <a:close/>
                </a:path>
              </a:pathLst>
            </a:custGeom>
            <a:solidFill>
              <a:srgbClr val="000000"/>
            </a:solidFill>
            <a:ln w="12704"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F69EB389-D575-4A2F-AD1B-AE5823F0BD33}"/>
                </a:ext>
              </a:extLst>
            </p:cNvPr>
            <p:cNvSpPr/>
            <p:nvPr/>
          </p:nvSpPr>
          <p:spPr>
            <a:xfrm>
              <a:off x="5969609" y="4586417"/>
              <a:ext cx="23641" cy="136154"/>
            </a:xfrm>
            <a:custGeom>
              <a:avLst/>
              <a:gdLst>
                <a:gd name="connsiteX0" fmla="*/ 67 w 23641"/>
                <a:gd name="connsiteY0" fmla="*/ 120958 h 136154"/>
                <a:gd name="connsiteX1" fmla="*/ 67 w 23641"/>
                <a:gd name="connsiteY1" fmla="*/ 123118 h 136154"/>
                <a:gd name="connsiteX2" fmla="*/ 10601 w 23641"/>
                <a:gd name="connsiteY2" fmla="*/ 136090 h 136154"/>
                <a:gd name="connsiteX3" fmla="*/ 23575 w 23641"/>
                <a:gd name="connsiteY3" fmla="*/ 125570 h 136154"/>
                <a:gd name="connsiteX4" fmla="*/ 23575 w 23641"/>
                <a:gd name="connsiteY4" fmla="*/ 123118 h 136154"/>
                <a:gd name="connsiteX5" fmla="*/ 23575 w 23641"/>
                <a:gd name="connsiteY5" fmla="*/ 0 h 136154"/>
                <a:gd name="connsiteX6" fmla="*/ 13040 w 23641"/>
                <a:gd name="connsiteY6" fmla="*/ 12972 h 136154"/>
                <a:gd name="connsiteX7" fmla="*/ 67 w 23641"/>
                <a:gd name="connsiteY7" fmla="*/ 2452 h 136154"/>
                <a:gd name="connsiteX8" fmla="*/ 67 w 23641"/>
                <a:gd name="connsiteY8" fmla="*/ 0 h 136154"/>
                <a:gd name="connsiteX9" fmla="*/ 67 w 23641"/>
                <a:gd name="connsiteY9" fmla="*/ 120958 h 13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41" h="136154">
                  <a:moveTo>
                    <a:pt x="67" y="120958"/>
                  </a:moveTo>
                  <a:lnTo>
                    <a:pt x="67" y="123118"/>
                  </a:lnTo>
                  <a:cubicBezTo>
                    <a:pt x="-607" y="129611"/>
                    <a:pt x="4108" y="135417"/>
                    <a:pt x="10601" y="136090"/>
                  </a:cubicBezTo>
                  <a:cubicBezTo>
                    <a:pt x="17094" y="136764"/>
                    <a:pt x="22901" y="132050"/>
                    <a:pt x="23575" y="125570"/>
                  </a:cubicBezTo>
                  <a:cubicBezTo>
                    <a:pt x="23664" y="124757"/>
                    <a:pt x="23664" y="123931"/>
                    <a:pt x="23575" y="123118"/>
                  </a:cubicBezTo>
                  <a:lnTo>
                    <a:pt x="23575" y="0"/>
                  </a:lnTo>
                  <a:cubicBezTo>
                    <a:pt x="24248" y="6493"/>
                    <a:pt x="19534" y="12299"/>
                    <a:pt x="13040" y="12972"/>
                  </a:cubicBezTo>
                  <a:cubicBezTo>
                    <a:pt x="6547" y="13646"/>
                    <a:pt x="740" y="8932"/>
                    <a:pt x="67" y="2452"/>
                  </a:cubicBezTo>
                  <a:cubicBezTo>
                    <a:pt x="-22" y="1639"/>
                    <a:pt x="-22" y="813"/>
                    <a:pt x="67" y="0"/>
                  </a:cubicBezTo>
                  <a:lnTo>
                    <a:pt x="67" y="120958"/>
                  </a:lnTo>
                  <a:close/>
                </a:path>
              </a:pathLst>
            </a:custGeom>
            <a:solidFill>
              <a:srgbClr val="000000"/>
            </a:solidFill>
            <a:ln w="12704"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22B68448-859C-4D97-AC53-0EFC846777AC}"/>
                </a:ext>
              </a:extLst>
            </p:cNvPr>
            <p:cNvSpPr/>
            <p:nvPr/>
          </p:nvSpPr>
          <p:spPr>
            <a:xfrm>
              <a:off x="5969609" y="4135493"/>
              <a:ext cx="23641" cy="463960"/>
            </a:xfrm>
            <a:custGeom>
              <a:avLst/>
              <a:gdLst>
                <a:gd name="connsiteX0" fmla="*/ 67 w 23641"/>
                <a:gd name="connsiteY0" fmla="*/ 450924 h 463960"/>
                <a:gd name="connsiteX1" fmla="*/ 10601 w 23641"/>
                <a:gd name="connsiteY1" fmla="*/ 463896 h 463960"/>
                <a:gd name="connsiteX2" fmla="*/ 23575 w 23641"/>
                <a:gd name="connsiteY2" fmla="*/ 453376 h 463960"/>
                <a:gd name="connsiteX3" fmla="*/ 23575 w 23641"/>
                <a:gd name="connsiteY3" fmla="*/ 450924 h 463960"/>
                <a:gd name="connsiteX4" fmla="*/ 23575 w 23641"/>
                <a:gd name="connsiteY4" fmla="*/ 0 h 463960"/>
                <a:gd name="connsiteX5" fmla="*/ 13040 w 23641"/>
                <a:gd name="connsiteY5" fmla="*/ 12972 h 463960"/>
                <a:gd name="connsiteX6" fmla="*/ 67 w 23641"/>
                <a:gd name="connsiteY6" fmla="*/ 2452 h 463960"/>
                <a:gd name="connsiteX7" fmla="*/ 67 w 23641"/>
                <a:gd name="connsiteY7" fmla="*/ 0 h 463960"/>
                <a:gd name="connsiteX8" fmla="*/ 67 w 23641"/>
                <a:gd name="connsiteY8" fmla="*/ 450924 h 4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463960">
                  <a:moveTo>
                    <a:pt x="67" y="450924"/>
                  </a:moveTo>
                  <a:cubicBezTo>
                    <a:pt x="-607" y="457417"/>
                    <a:pt x="4108" y="463223"/>
                    <a:pt x="10601" y="463896"/>
                  </a:cubicBezTo>
                  <a:cubicBezTo>
                    <a:pt x="17094" y="464570"/>
                    <a:pt x="22901" y="459856"/>
                    <a:pt x="23575" y="453376"/>
                  </a:cubicBezTo>
                  <a:cubicBezTo>
                    <a:pt x="23664" y="452563"/>
                    <a:pt x="23664" y="451737"/>
                    <a:pt x="23575" y="450924"/>
                  </a:cubicBezTo>
                  <a:lnTo>
                    <a:pt x="23575" y="0"/>
                  </a:lnTo>
                  <a:cubicBezTo>
                    <a:pt x="24248" y="6492"/>
                    <a:pt x="19534" y="12299"/>
                    <a:pt x="13040" y="12972"/>
                  </a:cubicBezTo>
                  <a:cubicBezTo>
                    <a:pt x="6547" y="13646"/>
                    <a:pt x="740" y="8932"/>
                    <a:pt x="67" y="2452"/>
                  </a:cubicBezTo>
                  <a:cubicBezTo>
                    <a:pt x="-22" y="1639"/>
                    <a:pt x="-22" y="813"/>
                    <a:pt x="67" y="0"/>
                  </a:cubicBezTo>
                  <a:lnTo>
                    <a:pt x="67" y="450924"/>
                  </a:lnTo>
                  <a:close/>
                </a:path>
              </a:pathLst>
            </a:custGeom>
            <a:solidFill>
              <a:srgbClr val="000000"/>
            </a:solidFill>
            <a:ln w="12704"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C659411A-2551-460F-97BC-B8B8F80AE81A}"/>
                </a:ext>
              </a:extLst>
            </p:cNvPr>
            <p:cNvSpPr/>
            <p:nvPr/>
          </p:nvSpPr>
          <p:spPr>
            <a:xfrm>
              <a:off x="11994345" y="4522127"/>
              <a:ext cx="23638" cy="49628"/>
            </a:xfrm>
            <a:custGeom>
              <a:avLst/>
              <a:gdLst>
                <a:gd name="connsiteX0" fmla="*/ 11754 w 23638"/>
                <a:gd name="connsiteY0" fmla="*/ 11943 h 49628"/>
                <a:gd name="connsiteX1" fmla="*/ 64 w 23638"/>
                <a:gd name="connsiteY1" fmla="*/ 0 h 49628"/>
                <a:gd name="connsiteX2" fmla="*/ 64 w 23638"/>
                <a:gd name="connsiteY2" fmla="*/ 0 h 49628"/>
                <a:gd name="connsiteX3" fmla="*/ 64 w 23638"/>
                <a:gd name="connsiteY3" fmla="*/ 36592 h 49628"/>
                <a:gd name="connsiteX4" fmla="*/ 10598 w 23638"/>
                <a:gd name="connsiteY4" fmla="*/ 49565 h 49628"/>
                <a:gd name="connsiteX5" fmla="*/ 23571 w 23638"/>
                <a:gd name="connsiteY5" fmla="*/ 39044 h 49628"/>
                <a:gd name="connsiteX6" fmla="*/ 23571 w 23638"/>
                <a:gd name="connsiteY6" fmla="*/ 36592 h 49628"/>
                <a:gd name="connsiteX7" fmla="*/ 23571 w 23638"/>
                <a:gd name="connsiteY7" fmla="*/ 0 h 49628"/>
                <a:gd name="connsiteX8" fmla="*/ 11754 w 23638"/>
                <a:gd name="connsiteY8" fmla="*/ 11943 h 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49628">
                  <a:moveTo>
                    <a:pt x="11754" y="11943"/>
                  </a:moveTo>
                  <a:cubicBezTo>
                    <a:pt x="5223" y="11880"/>
                    <a:pt x="0" y="6531"/>
                    <a:pt x="64" y="0"/>
                  </a:cubicBezTo>
                  <a:cubicBezTo>
                    <a:pt x="64" y="0"/>
                    <a:pt x="64" y="0"/>
                    <a:pt x="64" y="0"/>
                  </a:cubicBezTo>
                  <a:lnTo>
                    <a:pt x="64" y="36592"/>
                  </a:lnTo>
                  <a:cubicBezTo>
                    <a:pt x="-609" y="43085"/>
                    <a:pt x="4105" y="48891"/>
                    <a:pt x="10598" y="49565"/>
                  </a:cubicBezTo>
                  <a:cubicBezTo>
                    <a:pt x="17092" y="50238"/>
                    <a:pt x="22898" y="45524"/>
                    <a:pt x="23571" y="39044"/>
                  </a:cubicBezTo>
                  <a:cubicBezTo>
                    <a:pt x="23661" y="38231"/>
                    <a:pt x="23661" y="37405"/>
                    <a:pt x="23571" y="36592"/>
                  </a:cubicBezTo>
                  <a:lnTo>
                    <a:pt x="23571" y="0"/>
                  </a:lnTo>
                  <a:cubicBezTo>
                    <a:pt x="23571" y="6544"/>
                    <a:pt x="18298" y="11880"/>
                    <a:pt x="11754" y="11943"/>
                  </a:cubicBezTo>
                  <a:close/>
                </a:path>
              </a:pathLst>
            </a:custGeom>
            <a:solidFill>
              <a:srgbClr val="000000"/>
            </a:solidFill>
            <a:ln w="12704"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26FD18AB-5DBE-414A-9EA1-28EA018606C8}"/>
                </a:ext>
              </a:extLst>
            </p:cNvPr>
            <p:cNvSpPr/>
            <p:nvPr/>
          </p:nvSpPr>
          <p:spPr>
            <a:xfrm>
              <a:off x="12014215" y="4654260"/>
              <a:ext cx="28098" cy="20080"/>
            </a:xfrm>
            <a:custGeom>
              <a:avLst/>
              <a:gdLst>
                <a:gd name="connsiteX0" fmla="*/ 3574 w 28098"/>
                <a:gd name="connsiteY0" fmla="*/ 3436 h 20080"/>
                <a:gd name="connsiteX1" fmla="*/ 2049 w 28098"/>
                <a:gd name="connsiteY1" fmla="*/ 4833 h 20080"/>
                <a:gd name="connsiteX2" fmla="*/ 1160 w 28098"/>
                <a:gd name="connsiteY2" fmla="*/ 6866 h 20080"/>
                <a:gd name="connsiteX3" fmla="*/ 16 w 28098"/>
                <a:gd name="connsiteY3" fmla="*/ 12838 h 20080"/>
                <a:gd name="connsiteX4" fmla="*/ 9673 w 28098"/>
                <a:gd name="connsiteY4" fmla="*/ 20080 h 20080"/>
                <a:gd name="connsiteX5" fmla="*/ 19560 w 28098"/>
                <a:gd name="connsiteY5" fmla="*/ 7057 h 20080"/>
                <a:gd name="connsiteX6" fmla="*/ 28099 w 28098"/>
                <a:gd name="connsiteY6" fmla="*/ 9280 h 20080"/>
                <a:gd name="connsiteX7" fmla="*/ 18441 w 28098"/>
                <a:gd name="connsiteY7" fmla="*/ 2165 h 20080"/>
                <a:gd name="connsiteX8" fmla="*/ 3574 w 28098"/>
                <a:gd name="connsiteY8" fmla="*/ 3436 h 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8" h="20080">
                  <a:moveTo>
                    <a:pt x="3574" y="3436"/>
                  </a:moveTo>
                  <a:lnTo>
                    <a:pt x="2049" y="4833"/>
                  </a:lnTo>
                  <a:cubicBezTo>
                    <a:pt x="2049" y="5469"/>
                    <a:pt x="2049" y="6231"/>
                    <a:pt x="1160" y="6866"/>
                  </a:cubicBezTo>
                  <a:cubicBezTo>
                    <a:pt x="295" y="8734"/>
                    <a:pt x="-86" y="10780"/>
                    <a:pt x="16" y="12838"/>
                  </a:cubicBezTo>
                  <a:lnTo>
                    <a:pt x="9673" y="20080"/>
                  </a:lnTo>
                  <a:cubicBezTo>
                    <a:pt x="8809" y="13753"/>
                    <a:pt x="13231" y="7921"/>
                    <a:pt x="19560" y="7057"/>
                  </a:cubicBezTo>
                  <a:cubicBezTo>
                    <a:pt x="22584" y="6638"/>
                    <a:pt x="25659" y="7438"/>
                    <a:pt x="28099" y="9280"/>
                  </a:cubicBezTo>
                  <a:lnTo>
                    <a:pt x="18441" y="2165"/>
                  </a:lnTo>
                  <a:cubicBezTo>
                    <a:pt x="13854" y="-1151"/>
                    <a:pt x="7538" y="-604"/>
                    <a:pt x="3574" y="3436"/>
                  </a:cubicBezTo>
                  <a:close/>
                </a:path>
              </a:pathLst>
            </a:custGeom>
            <a:solidFill>
              <a:srgbClr val="000000"/>
            </a:solidFill>
            <a:ln w="12704"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2FC36E83-FFE0-442A-B4FF-BF1B2AA75BF7}"/>
                </a:ext>
              </a:extLst>
            </p:cNvPr>
            <p:cNvSpPr/>
            <p:nvPr/>
          </p:nvSpPr>
          <p:spPr>
            <a:xfrm>
              <a:off x="12024542" y="4661840"/>
              <a:ext cx="53358" cy="45916"/>
            </a:xfrm>
            <a:custGeom>
              <a:avLst/>
              <a:gdLst>
                <a:gd name="connsiteX0" fmla="*/ 28065 w 53358"/>
                <a:gd name="connsiteY0" fmla="*/ 9324 h 45916"/>
                <a:gd name="connsiteX1" fmla="*/ 28065 w 53358"/>
                <a:gd name="connsiteY1" fmla="*/ 9324 h 45916"/>
                <a:gd name="connsiteX2" fmla="*/ 24125 w 53358"/>
                <a:gd name="connsiteY2" fmla="*/ 6401 h 45916"/>
                <a:gd name="connsiteX3" fmla="*/ 18534 w 53358"/>
                <a:gd name="connsiteY3" fmla="*/ 2335 h 45916"/>
                <a:gd name="connsiteX4" fmla="*/ 18534 w 53358"/>
                <a:gd name="connsiteY4" fmla="*/ 2335 h 45916"/>
                <a:gd name="connsiteX5" fmla="*/ 18534 w 53358"/>
                <a:gd name="connsiteY5" fmla="*/ 2335 h 45916"/>
                <a:gd name="connsiteX6" fmla="*/ 2333 w 53358"/>
                <a:gd name="connsiteY6" fmla="*/ 4597 h 45916"/>
                <a:gd name="connsiteX7" fmla="*/ 109 w 53358"/>
                <a:gd name="connsiteY7" fmla="*/ 13135 h 45916"/>
                <a:gd name="connsiteX8" fmla="*/ 9004 w 53358"/>
                <a:gd name="connsiteY8" fmla="*/ 19742 h 45916"/>
                <a:gd name="connsiteX9" fmla="*/ 43821 w 53358"/>
                <a:gd name="connsiteY9" fmla="*/ 45916 h 45916"/>
                <a:gd name="connsiteX10" fmla="*/ 51318 w 53358"/>
                <a:gd name="connsiteY10" fmla="*/ 41342 h 45916"/>
                <a:gd name="connsiteX11" fmla="*/ 48650 w 53358"/>
                <a:gd name="connsiteY11" fmla="*/ 24570 h 45916"/>
                <a:gd name="connsiteX12" fmla="*/ 48014 w 53358"/>
                <a:gd name="connsiteY12" fmla="*/ 24570 h 45916"/>
                <a:gd name="connsiteX13" fmla="*/ 46489 w 53358"/>
                <a:gd name="connsiteY13" fmla="*/ 23554 h 45916"/>
                <a:gd name="connsiteX14" fmla="*/ 30097 w 53358"/>
                <a:gd name="connsiteY14" fmla="*/ 10848 h 4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358" h="45916">
                  <a:moveTo>
                    <a:pt x="28065" y="9324"/>
                  </a:moveTo>
                  <a:lnTo>
                    <a:pt x="28065" y="9324"/>
                  </a:lnTo>
                  <a:lnTo>
                    <a:pt x="24125" y="6401"/>
                  </a:lnTo>
                  <a:lnTo>
                    <a:pt x="18534" y="2335"/>
                  </a:lnTo>
                  <a:lnTo>
                    <a:pt x="18534" y="2335"/>
                  </a:lnTo>
                  <a:lnTo>
                    <a:pt x="18534" y="2335"/>
                  </a:lnTo>
                  <a:cubicBezTo>
                    <a:pt x="13439" y="-1514"/>
                    <a:pt x="6183" y="-498"/>
                    <a:pt x="2333" y="4597"/>
                  </a:cubicBezTo>
                  <a:cubicBezTo>
                    <a:pt x="490" y="7037"/>
                    <a:pt x="-310" y="10099"/>
                    <a:pt x="109" y="13135"/>
                  </a:cubicBezTo>
                  <a:lnTo>
                    <a:pt x="9004" y="19742"/>
                  </a:lnTo>
                  <a:lnTo>
                    <a:pt x="43821" y="45916"/>
                  </a:lnTo>
                  <a:cubicBezTo>
                    <a:pt x="46845" y="45497"/>
                    <a:pt x="49552" y="43832"/>
                    <a:pt x="51318" y="41342"/>
                  </a:cubicBezTo>
                  <a:cubicBezTo>
                    <a:pt x="54850" y="35891"/>
                    <a:pt x="53694" y="28662"/>
                    <a:pt x="48650" y="24570"/>
                  </a:cubicBezTo>
                  <a:lnTo>
                    <a:pt x="48014" y="24570"/>
                  </a:lnTo>
                  <a:lnTo>
                    <a:pt x="46489" y="23554"/>
                  </a:lnTo>
                  <a:lnTo>
                    <a:pt x="30097" y="10848"/>
                  </a:lnTo>
                  <a:close/>
                </a:path>
              </a:pathLst>
            </a:custGeom>
            <a:solidFill>
              <a:srgbClr val="000000"/>
            </a:solidFill>
            <a:ln w="12704"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DAC3F56E-9D84-4894-B81D-FE6620120F78}"/>
                </a:ext>
              </a:extLst>
            </p:cNvPr>
            <p:cNvSpPr/>
            <p:nvPr/>
          </p:nvSpPr>
          <p:spPr>
            <a:xfrm>
              <a:off x="7739496" y="3278877"/>
              <a:ext cx="32656" cy="24013"/>
            </a:xfrm>
            <a:custGeom>
              <a:avLst/>
              <a:gdLst>
                <a:gd name="connsiteX0" fmla="*/ 32657 w 32656"/>
                <a:gd name="connsiteY0" fmla="*/ 24014 h 24013"/>
                <a:gd name="connsiteX1" fmla="*/ 21882 w 32656"/>
                <a:gd name="connsiteY1" fmla="*/ 10774 h 24013"/>
                <a:gd name="connsiteX2" fmla="*/ 32657 w 32656"/>
                <a:gd name="connsiteY2" fmla="*/ 0 h 24013"/>
                <a:gd name="connsiteX3" fmla="*/ 11691 w 32656"/>
                <a:gd name="connsiteY3" fmla="*/ 0 h 24013"/>
                <a:gd name="connsiteX4" fmla="*/ 11691 w 32656"/>
                <a:gd name="connsiteY4" fmla="*/ 12070 h 24013"/>
                <a:gd name="connsiteX5" fmla="*/ 0 w 32656"/>
                <a:gd name="connsiteY5" fmla="*/ 24014 h 24013"/>
                <a:gd name="connsiteX6" fmla="*/ 0 w 32656"/>
                <a:gd name="connsiteY6" fmla="*/ 24014 h 24013"/>
                <a:gd name="connsiteX7" fmla="*/ 32657 w 32656"/>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56" h="24013">
                  <a:moveTo>
                    <a:pt x="32657" y="24014"/>
                  </a:moveTo>
                  <a:cubicBezTo>
                    <a:pt x="26024" y="23328"/>
                    <a:pt x="21208" y="17407"/>
                    <a:pt x="21882" y="10774"/>
                  </a:cubicBezTo>
                  <a:cubicBezTo>
                    <a:pt x="22466" y="5082"/>
                    <a:pt x="26964" y="584"/>
                    <a:pt x="32657" y="0"/>
                  </a:cubicBezTo>
                  <a:lnTo>
                    <a:pt x="11691" y="0"/>
                  </a:lnTo>
                  <a:lnTo>
                    <a:pt x="11691" y="12070"/>
                  </a:lnTo>
                  <a:cubicBezTo>
                    <a:pt x="11767" y="18601"/>
                    <a:pt x="6531" y="23938"/>
                    <a:pt x="0" y="24014"/>
                  </a:cubicBezTo>
                  <a:cubicBezTo>
                    <a:pt x="0" y="24014"/>
                    <a:pt x="0" y="24014"/>
                    <a:pt x="0" y="24014"/>
                  </a:cubicBezTo>
                  <a:lnTo>
                    <a:pt x="32657" y="24014"/>
                  </a:lnTo>
                  <a:close/>
                </a:path>
              </a:pathLst>
            </a:custGeom>
            <a:solidFill>
              <a:srgbClr val="000000"/>
            </a:solidFill>
            <a:ln w="12704"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ADDE040F-181B-4211-AA86-D1C35C622E29}"/>
                </a:ext>
              </a:extLst>
            </p:cNvPr>
            <p:cNvSpPr/>
            <p:nvPr/>
          </p:nvSpPr>
          <p:spPr>
            <a:xfrm>
              <a:off x="7761315" y="3278877"/>
              <a:ext cx="59797" cy="24013"/>
            </a:xfrm>
            <a:custGeom>
              <a:avLst/>
              <a:gdLst>
                <a:gd name="connsiteX0" fmla="*/ 10838 w 59797"/>
                <a:gd name="connsiteY0" fmla="*/ 0 h 24013"/>
                <a:gd name="connsiteX1" fmla="*/ 63 w 59797"/>
                <a:gd name="connsiteY1" fmla="*/ 13239 h 24013"/>
                <a:gd name="connsiteX2" fmla="*/ 10838 w 59797"/>
                <a:gd name="connsiteY2" fmla="*/ 24014 h 24013"/>
                <a:gd name="connsiteX3" fmla="*/ 48959 w 59797"/>
                <a:gd name="connsiteY3" fmla="*/ 24014 h 24013"/>
                <a:gd name="connsiteX4" fmla="*/ 59734 w 59797"/>
                <a:gd name="connsiteY4" fmla="*/ 10774 h 24013"/>
                <a:gd name="connsiteX5" fmla="*/ 48959 w 59797"/>
                <a:gd name="connsiteY5" fmla="*/ 0 h 24013"/>
                <a:gd name="connsiteX6" fmla="*/ 10838 w 59797"/>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97" h="24013">
                  <a:moveTo>
                    <a:pt x="10838" y="0"/>
                  </a:moveTo>
                  <a:cubicBezTo>
                    <a:pt x="4205" y="686"/>
                    <a:pt x="-611" y="6607"/>
                    <a:pt x="63" y="13239"/>
                  </a:cubicBezTo>
                  <a:cubicBezTo>
                    <a:pt x="647" y="18931"/>
                    <a:pt x="5146" y="23429"/>
                    <a:pt x="10838" y="24014"/>
                  </a:cubicBezTo>
                  <a:lnTo>
                    <a:pt x="48959" y="24014"/>
                  </a:lnTo>
                  <a:cubicBezTo>
                    <a:pt x="55592" y="23328"/>
                    <a:pt x="60408" y="17407"/>
                    <a:pt x="59734" y="10774"/>
                  </a:cubicBezTo>
                  <a:cubicBezTo>
                    <a:pt x="59150" y="5082"/>
                    <a:pt x="54652" y="584"/>
                    <a:pt x="48959" y="0"/>
                  </a:cubicBezTo>
                  <a:lnTo>
                    <a:pt x="10838" y="0"/>
                  </a:lnTo>
                  <a:close/>
                </a:path>
              </a:pathLst>
            </a:custGeom>
            <a:solidFill>
              <a:srgbClr val="000000"/>
            </a:solidFill>
            <a:ln w="12704"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384E2555-0CDC-4E53-A0DE-61B6C7C7AB69}"/>
                </a:ext>
              </a:extLst>
            </p:cNvPr>
            <p:cNvSpPr/>
            <p:nvPr/>
          </p:nvSpPr>
          <p:spPr>
            <a:xfrm>
              <a:off x="7064565" y="2058371"/>
              <a:ext cx="23641" cy="1247772"/>
            </a:xfrm>
            <a:custGeom>
              <a:avLst/>
              <a:gdLst>
                <a:gd name="connsiteX0" fmla="*/ 67 w 23641"/>
                <a:gd name="connsiteY0" fmla="*/ 1234737 h 1247772"/>
                <a:gd name="connsiteX1" fmla="*/ 10601 w 23641"/>
                <a:gd name="connsiteY1" fmla="*/ 1247709 h 1247772"/>
                <a:gd name="connsiteX2" fmla="*/ 23574 w 23641"/>
                <a:gd name="connsiteY2" fmla="*/ 1237189 h 1247772"/>
                <a:gd name="connsiteX3" fmla="*/ 23574 w 23641"/>
                <a:gd name="connsiteY3" fmla="*/ 1234737 h 1247772"/>
                <a:gd name="connsiteX4" fmla="*/ 23574 w 23641"/>
                <a:gd name="connsiteY4" fmla="*/ 0 h 1247772"/>
                <a:gd name="connsiteX5" fmla="*/ 13041 w 23641"/>
                <a:gd name="connsiteY5" fmla="*/ 12973 h 1247772"/>
                <a:gd name="connsiteX6" fmla="*/ 67 w 23641"/>
                <a:gd name="connsiteY6" fmla="*/ 2452 h 1247772"/>
                <a:gd name="connsiteX7" fmla="*/ 67 w 23641"/>
                <a:gd name="connsiteY7" fmla="*/ 0 h 1247772"/>
                <a:gd name="connsiteX8" fmla="*/ 67 w 23641"/>
                <a:gd name="connsiteY8" fmla="*/ 1234737 h 124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1247772">
                  <a:moveTo>
                    <a:pt x="67" y="1234737"/>
                  </a:moveTo>
                  <a:cubicBezTo>
                    <a:pt x="-607" y="1241229"/>
                    <a:pt x="4108" y="1247036"/>
                    <a:pt x="10601" y="1247709"/>
                  </a:cubicBezTo>
                  <a:cubicBezTo>
                    <a:pt x="17094" y="1248382"/>
                    <a:pt x="22901" y="1243669"/>
                    <a:pt x="23574" y="1237189"/>
                  </a:cubicBezTo>
                  <a:cubicBezTo>
                    <a:pt x="23664" y="1236376"/>
                    <a:pt x="23664" y="1235550"/>
                    <a:pt x="23574" y="1234737"/>
                  </a:cubicBezTo>
                  <a:lnTo>
                    <a:pt x="23574" y="0"/>
                  </a:lnTo>
                  <a:cubicBezTo>
                    <a:pt x="24248" y="6493"/>
                    <a:pt x="19534" y="12299"/>
                    <a:pt x="13041" y="12973"/>
                  </a:cubicBezTo>
                  <a:cubicBezTo>
                    <a:pt x="6547" y="13646"/>
                    <a:pt x="740" y="8932"/>
                    <a:pt x="67" y="2452"/>
                  </a:cubicBezTo>
                  <a:cubicBezTo>
                    <a:pt x="-22" y="1639"/>
                    <a:pt x="-22" y="813"/>
                    <a:pt x="67" y="0"/>
                  </a:cubicBezTo>
                  <a:lnTo>
                    <a:pt x="67" y="1234737"/>
                  </a:lnTo>
                  <a:close/>
                </a:path>
              </a:pathLst>
            </a:custGeom>
            <a:solidFill>
              <a:srgbClr val="000000"/>
            </a:solidFill>
            <a:ln w="12704"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BF2E83E3-AC3E-43A8-9933-72263E1CEE4C}"/>
                </a:ext>
              </a:extLst>
            </p:cNvPr>
            <p:cNvSpPr/>
            <p:nvPr/>
          </p:nvSpPr>
          <p:spPr>
            <a:xfrm>
              <a:off x="7064565" y="1540407"/>
              <a:ext cx="23638" cy="529907"/>
            </a:xfrm>
            <a:custGeom>
              <a:avLst/>
              <a:gdLst>
                <a:gd name="connsiteX0" fmla="*/ 11884 w 23638"/>
                <a:gd name="connsiteY0" fmla="*/ 529907 h 529907"/>
                <a:gd name="connsiteX1" fmla="*/ 23574 w 23638"/>
                <a:gd name="connsiteY1" fmla="*/ 517964 h 529907"/>
                <a:gd name="connsiteX2" fmla="*/ 23574 w 23638"/>
                <a:gd name="connsiteY2" fmla="*/ 517964 h 529907"/>
                <a:gd name="connsiteX3" fmla="*/ 23574 w 23638"/>
                <a:gd name="connsiteY3" fmla="*/ 13041 h 529907"/>
                <a:gd name="connsiteX4" fmla="*/ 13041 w 23638"/>
                <a:gd name="connsiteY4" fmla="*/ 64 h 529907"/>
                <a:gd name="connsiteX5" fmla="*/ 67 w 23638"/>
                <a:gd name="connsiteY5" fmla="*/ 10594 h 529907"/>
                <a:gd name="connsiteX6" fmla="*/ 67 w 23638"/>
                <a:gd name="connsiteY6" fmla="*/ 13041 h 529907"/>
                <a:gd name="connsiteX7" fmla="*/ 67 w 23638"/>
                <a:gd name="connsiteY7" fmla="*/ 518472 h 529907"/>
                <a:gd name="connsiteX8" fmla="*/ 11884 w 23638"/>
                <a:gd name="connsiteY8" fmla="*/ 529907 h 52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529907">
                  <a:moveTo>
                    <a:pt x="11884" y="529907"/>
                  </a:moveTo>
                  <a:cubicBezTo>
                    <a:pt x="18416" y="529844"/>
                    <a:pt x="23651" y="524495"/>
                    <a:pt x="23574" y="517964"/>
                  </a:cubicBezTo>
                  <a:cubicBezTo>
                    <a:pt x="23574" y="517964"/>
                    <a:pt x="23574" y="517964"/>
                    <a:pt x="23574" y="517964"/>
                  </a:cubicBezTo>
                  <a:lnTo>
                    <a:pt x="23574" y="13041"/>
                  </a:lnTo>
                  <a:cubicBezTo>
                    <a:pt x="24248" y="6549"/>
                    <a:pt x="19534" y="740"/>
                    <a:pt x="13041" y="64"/>
                  </a:cubicBezTo>
                  <a:cubicBezTo>
                    <a:pt x="6547" y="-611"/>
                    <a:pt x="740" y="4102"/>
                    <a:pt x="67" y="10594"/>
                  </a:cubicBezTo>
                  <a:cubicBezTo>
                    <a:pt x="-22" y="11407"/>
                    <a:pt x="-22" y="12228"/>
                    <a:pt x="67" y="13041"/>
                  </a:cubicBezTo>
                  <a:lnTo>
                    <a:pt x="67" y="518472"/>
                  </a:lnTo>
                  <a:cubicBezTo>
                    <a:pt x="334" y="524825"/>
                    <a:pt x="5531" y="529844"/>
                    <a:pt x="11884" y="529907"/>
                  </a:cubicBezTo>
                  <a:close/>
                </a:path>
              </a:pathLst>
            </a:custGeom>
            <a:solidFill>
              <a:srgbClr val="000000"/>
            </a:solidFill>
            <a:ln w="12704"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EECC3107-C647-4A1D-AED6-66719DE9AB58}"/>
                </a:ext>
              </a:extLst>
            </p:cNvPr>
            <p:cNvSpPr/>
            <p:nvPr/>
          </p:nvSpPr>
          <p:spPr>
            <a:xfrm>
              <a:off x="7727805" y="1840215"/>
              <a:ext cx="23382" cy="1462676"/>
            </a:xfrm>
            <a:custGeom>
              <a:avLst/>
              <a:gdLst>
                <a:gd name="connsiteX0" fmla="*/ 11691 w 23382"/>
                <a:gd name="connsiteY0" fmla="*/ 1462676 h 1462676"/>
                <a:gd name="connsiteX1" fmla="*/ 23382 w 23382"/>
                <a:gd name="connsiteY1" fmla="*/ 1450733 h 1462676"/>
                <a:gd name="connsiteX2" fmla="*/ 23382 w 23382"/>
                <a:gd name="connsiteY2" fmla="*/ 1450733 h 1462676"/>
                <a:gd name="connsiteX3" fmla="*/ 23382 w 23382"/>
                <a:gd name="connsiteY3" fmla="*/ 0 h 1462676"/>
                <a:gd name="connsiteX4" fmla="*/ 11691 w 23382"/>
                <a:gd name="connsiteY4" fmla="*/ 11689 h 1462676"/>
                <a:gd name="connsiteX5" fmla="*/ 1 w 23382"/>
                <a:gd name="connsiteY5" fmla="*/ 0 h 1462676"/>
                <a:gd name="connsiteX6" fmla="*/ 1 w 23382"/>
                <a:gd name="connsiteY6" fmla="*/ 1450733 h 1462676"/>
                <a:gd name="connsiteX7" fmla="*/ 11691 w 23382"/>
                <a:gd name="connsiteY7" fmla="*/ 1462676 h 1462676"/>
                <a:gd name="connsiteX8" fmla="*/ 11691 w 23382"/>
                <a:gd name="connsiteY8" fmla="*/ 1462676 h 14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 h="1462676">
                  <a:moveTo>
                    <a:pt x="11691" y="1462676"/>
                  </a:moveTo>
                  <a:cubicBezTo>
                    <a:pt x="18222" y="1462613"/>
                    <a:pt x="23458" y="1457264"/>
                    <a:pt x="23382" y="1450733"/>
                  </a:cubicBezTo>
                  <a:cubicBezTo>
                    <a:pt x="23382" y="1450733"/>
                    <a:pt x="23382" y="1450733"/>
                    <a:pt x="23382" y="1450733"/>
                  </a:cubicBezTo>
                  <a:lnTo>
                    <a:pt x="23382" y="0"/>
                  </a:lnTo>
                  <a:cubicBezTo>
                    <a:pt x="23382" y="6455"/>
                    <a:pt x="18146" y="11689"/>
                    <a:pt x="11691" y="11689"/>
                  </a:cubicBezTo>
                  <a:cubicBezTo>
                    <a:pt x="5236" y="11689"/>
                    <a:pt x="1" y="6455"/>
                    <a:pt x="1" y="0"/>
                  </a:cubicBezTo>
                  <a:lnTo>
                    <a:pt x="1" y="1450733"/>
                  </a:lnTo>
                  <a:cubicBezTo>
                    <a:pt x="-76" y="1457264"/>
                    <a:pt x="5160" y="1462600"/>
                    <a:pt x="11691" y="1462676"/>
                  </a:cubicBezTo>
                  <a:cubicBezTo>
                    <a:pt x="11691" y="1462676"/>
                    <a:pt x="11691" y="1462676"/>
                    <a:pt x="11691" y="1462676"/>
                  </a:cubicBezTo>
                  <a:close/>
                </a:path>
              </a:pathLst>
            </a:custGeom>
            <a:solidFill>
              <a:srgbClr val="000000"/>
            </a:solidFill>
            <a:ln w="12704"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9515EF04-9CAD-4D9D-8804-0778F3D2BDE2}"/>
                </a:ext>
              </a:extLst>
            </p:cNvPr>
            <p:cNvSpPr/>
            <p:nvPr/>
          </p:nvSpPr>
          <p:spPr>
            <a:xfrm>
              <a:off x="7727806" y="1570632"/>
              <a:ext cx="23437" cy="281272"/>
            </a:xfrm>
            <a:custGeom>
              <a:avLst/>
              <a:gdLst>
                <a:gd name="connsiteX0" fmla="*/ 0 w 23437"/>
                <a:gd name="connsiteY0" fmla="*/ 11912 h 281272"/>
                <a:gd name="connsiteX1" fmla="*/ 0 w 23437"/>
                <a:gd name="connsiteY1" fmla="*/ 269583 h 281272"/>
                <a:gd name="connsiteX2" fmla="*/ 11690 w 23437"/>
                <a:gd name="connsiteY2" fmla="*/ 281272 h 281272"/>
                <a:gd name="connsiteX3" fmla="*/ 23381 w 23437"/>
                <a:gd name="connsiteY3" fmla="*/ 269583 h 281272"/>
                <a:gd name="connsiteX4" fmla="*/ 23381 w 23437"/>
                <a:gd name="connsiteY4" fmla="*/ 11912 h 281272"/>
                <a:gd name="connsiteX5" fmla="*/ 23381 w 23437"/>
                <a:gd name="connsiteY5" fmla="*/ 10896 h 281272"/>
                <a:gd name="connsiteX6" fmla="*/ 23381 w 23437"/>
                <a:gd name="connsiteY6" fmla="*/ 8482 h 281272"/>
                <a:gd name="connsiteX7" fmla="*/ 22618 w 23437"/>
                <a:gd name="connsiteY7" fmla="*/ 6449 h 281272"/>
                <a:gd name="connsiteX8" fmla="*/ 21348 w 23437"/>
                <a:gd name="connsiteY8" fmla="*/ 4543 h 281272"/>
                <a:gd name="connsiteX9" fmla="*/ 19696 w 23437"/>
                <a:gd name="connsiteY9" fmla="*/ 2764 h 281272"/>
                <a:gd name="connsiteX10" fmla="*/ 3393 w 23437"/>
                <a:gd name="connsiteY10" fmla="*/ 4061 h 281272"/>
                <a:gd name="connsiteX11" fmla="*/ 635 w 23437"/>
                <a:gd name="connsiteY11" fmla="*/ 11912 h 2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37" h="281272">
                  <a:moveTo>
                    <a:pt x="0" y="11912"/>
                  </a:moveTo>
                  <a:lnTo>
                    <a:pt x="0" y="269583"/>
                  </a:lnTo>
                  <a:cubicBezTo>
                    <a:pt x="0" y="276038"/>
                    <a:pt x="5235" y="281272"/>
                    <a:pt x="11690" y="281272"/>
                  </a:cubicBezTo>
                  <a:cubicBezTo>
                    <a:pt x="18145" y="281272"/>
                    <a:pt x="23381" y="276038"/>
                    <a:pt x="23381" y="269583"/>
                  </a:cubicBezTo>
                  <a:lnTo>
                    <a:pt x="23381" y="11912"/>
                  </a:lnTo>
                  <a:cubicBezTo>
                    <a:pt x="23381" y="11912"/>
                    <a:pt x="23381" y="11277"/>
                    <a:pt x="23381" y="10896"/>
                  </a:cubicBezTo>
                  <a:cubicBezTo>
                    <a:pt x="23457" y="10093"/>
                    <a:pt x="23457" y="9285"/>
                    <a:pt x="23381" y="8482"/>
                  </a:cubicBezTo>
                  <a:cubicBezTo>
                    <a:pt x="23203" y="7778"/>
                    <a:pt x="22949" y="7096"/>
                    <a:pt x="22618" y="6449"/>
                  </a:cubicBezTo>
                  <a:lnTo>
                    <a:pt x="21348" y="4543"/>
                  </a:lnTo>
                  <a:lnTo>
                    <a:pt x="19696" y="2764"/>
                  </a:lnTo>
                  <a:cubicBezTo>
                    <a:pt x="14842" y="-1379"/>
                    <a:pt x="7535" y="-798"/>
                    <a:pt x="3393" y="4061"/>
                  </a:cubicBezTo>
                  <a:cubicBezTo>
                    <a:pt x="1537" y="6244"/>
                    <a:pt x="546" y="9043"/>
                    <a:pt x="635" y="11912"/>
                  </a:cubicBezTo>
                  <a:close/>
                </a:path>
              </a:pathLst>
            </a:custGeom>
            <a:solidFill>
              <a:srgbClr val="000000"/>
            </a:solidFill>
            <a:ln w="12704"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A4B11193-6285-4079-AF58-056BD8366EA6}"/>
                </a:ext>
              </a:extLst>
            </p:cNvPr>
            <p:cNvSpPr/>
            <p:nvPr/>
          </p:nvSpPr>
          <p:spPr>
            <a:xfrm>
              <a:off x="6806995" y="3282816"/>
              <a:ext cx="23638" cy="20074"/>
            </a:xfrm>
            <a:custGeom>
              <a:avLst/>
              <a:gdLst>
                <a:gd name="connsiteX0" fmla="*/ 11757 w 23638"/>
                <a:gd name="connsiteY0" fmla="*/ 20075 h 20074"/>
                <a:gd name="connsiteX1" fmla="*/ 23574 w 23638"/>
                <a:gd name="connsiteY1" fmla="*/ 8132 h 20074"/>
                <a:gd name="connsiteX2" fmla="*/ 23574 w 23638"/>
                <a:gd name="connsiteY2" fmla="*/ 0 h 20074"/>
                <a:gd name="connsiteX3" fmla="*/ 13040 w 23638"/>
                <a:gd name="connsiteY3" fmla="*/ 12972 h 20074"/>
                <a:gd name="connsiteX4" fmla="*/ 67 w 23638"/>
                <a:gd name="connsiteY4" fmla="*/ 2452 h 20074"/>
                <a:gd name="connsiteX5" fmla="*/ 67 w 23638"/>
                <a:gd name="connsiteY5" fmla="*/ 0 h 20074"/>
                <a:gd name="connsiteX6" fmla="*/ 67 w 23638"/>
                <a:gd name="connsiteY6" fmla="*/ 8132 h 20074"/>
                <a:gd name="connsiteX7" fmla="*/ 11757 w 23638"/>
                <a:gd name="connsiteY7" fmla="*/ 20075 h 20074"/>
                <a:gd name="connsiteX8" fmla="*/ 11757 w 23638"/>
                <a:gd name="connsiteY8" fmla="*/ 20075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20074">
                  <a:moveTo>
                    <a:pt x="11757" y="20075"/>
                  </a:moveTo>
                  <a:cubicBezTo>
                    <a:pt x="18301" y="20011"/>
                    <a:pt x="23574" y="14675"/>
                    <a:pt x="23574" y="8132"/>
                  </a:cubicBezTo>
                  <a:lnTo>
                    <a:pt x="23574" y="0"/>
                  </a:lnTo>
                  <a:cubicBezTo>
                    <a:pt x="24248" y="6493"/>
                    <a:pt x="19534" y="12299"/>
                    <a:pt x="13040" y="12972"/>
                  </a:cubicBezTo>
                  <a:cubicBezTo>
                    <a:pt x="6547" y="13646"/>
                    <a:pt x="740" y="8932"/>
                    <a:pt x="67" y="2452"/>
                  </a:cubicBezTo>
                  <a:cubicBezTo>
                    <a:pt x="-22" y="1639"/>
                    <a:pt x="-22" y="813"/>
                    <a:pt x="67" y="0"/>
                  </a:cubicBezTo>
                  <a:lnTo>
                    <a:pt x="67" y="8132"/>
                  </a:lnTo>
                  <a:cubicBezTo>
                    <a:pt x="-9" y="14662"/>
                    <a:pt x="5226" y="19999"/>
                    <a:pt x="11757" y="20075"/>
                  </a:cubicBezTo>
                  <a:cubicBezTo>
                    <a:pt x="11757" y="20075"/>
                    <a:pt x="11757" y="20075"/>
                    <a:pt x="11757" y="20075"/>
                  </a:cubicBezTo>
                  <a:close/>
                </a:path>
              </a:pathLst>
            </a:custGeom>
            <a:solidFill>
              <a:srgbClr val="000000"/>
            </a:solidFill>
            <a:ln w="12704"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09C782B7-1726-4E22-8DD4-44EBC673A0FC}"/>
                </a:ext>
              </a:extLst>
            </p:cNvPr>
            <p:cNvSpPr/>
            <p:nvPr/>
          </p:nvSpPr>
          <p:spPr>
            <a:xfrm>
              <a:off x="8002275" y="3296538"/>
              <a:ext cx="23381" cy="1457720"/>
            </a:xfrm>
            <a:custGeom>
              <a:avLst/>
              <a:gdLst>
                <a:gd name="connsiteX0" fmla="*/ 0 w 23381"/>
                <a:gd name="connsiteY0" fmla="*/ 1434342 h 1457720"/>
                <a:gd name="connsiteX1" fmla="*/ 0 w 23381"/>
                <a:gd name="connsiteY1" fmla="*/ 1446032 h 1457720"/>
                <a:gd name="connsiteX2" fmla="*/ 11691 w 23381"/>
                <a:gd name="connsiteY2" fmla="*/ 1457721 h 1457720"/>
                <a:gd name="connsiteX3" fmla="*/ 23381 w 23381"/>
                <a:gd name="connsiteY3" fmla="*/ 1446032 h 1457720"/>
                <a:gd name="connsiteX4" fmla="*/ 23381 w 23381"/>
                <a:gd name="connsiteY4" fmla="*/ 0 h 1457720"/>
                <a:gd name="connsiteX5" fmla="*/ 11691 w 23381"/>
                <a:gd name="connsiteY5" fmla="*/ 11943 h 1457720"/>
                <a:gd name="connsiteX6" fmla="*/ 11691 w 23381"/>
                <a:gd name="connsiteY6" fmla="*/ 11943 h 1457720"/>
                <a:gd name="connsiteX7" fmla="*/ 890 w 23381"/>
                <a:gd name="connsiteY7" fmla="*/ 4447 h 1457720"/>
                <a:gd name="connsiteX8" fmla="*/ 0 w 23381"/>
                <a:gd name="connsiteY8" fmla="*/ 5082 h 1457720"/>
                <a:gd name="connsiteX9" fmla="*/ 0 w 23381"/>
                <a:gd name="connsiteY9" fmla="*/ 1434342 h 145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81" h="1457720">
                  <a:moveTo>
                    <a:pt x="0" y="1434342"/>
                  </a:moveTo>
                  <a:lnTo>
                    <a:pt x="0" y="1446032"/>
                  </a:lnTo>
                  <a:cubicBezTo>
                    <a:pt x="0" y="1452486"/>
                    <a:pt x="5235" y="1457721"/>
                    <a:pt x="11691" y="1457721"/>
                  </a:cubicBezTo>
                  <a:cubicBezTo>
                    <a:pt x="18146" y="1457721"/>
                    <a:pt x="23381" y="1452486"/>
                    <a:pt x="23381" y="1446032"/>
                  </a:cubicBezTo>
                  <a:lnTo>
                    <a:pt x="23381" y="0"/>
                  </a:lnTo>
                  <a:cubicBezTo>
                    <a:pt x="23457" y="6531"/>
                    <a:pt x="18222" y="11867"/>
                    <a:pt x="11691" y="11943"/>
                  </a:cubicBezTo>
                  <a:cubicBezTo>
                    <a:pt x="11691" y="11943"/>
                    <a:pt x="11691" y="11943"/>
                    <a:pt x="11691" y="11943"/>
                  </a:cubicBezTo>
                  <a:cubicBezTo>
                    <a:pt x="6875" y="11969"/>
                    <a:pt x="2554" y="8970"/>
                    <a:pt x="890" y="4447"/>
                  </a:cubicBezTo>
                  <a:lnTo>
                    <a:pt x="0" y="5082"/>
                  </a:lnTo>
                  <a:lnTo>
                    <a:pt x="0" y="1434342"/>
                  </a:lnTo>
                  <a:close/>
                </a:path>
              </a:pathLst>
            </a:custGeom>
            <a:solidFill>
              <a:srgbClr val="000000"/>
            </a:solidFill>
            <a:ln w="12704"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DD869F57-59B5-4025-84E0-5F15D92BF162}"/>
                </a:ext>
              </a:extLst>
            </p:cNvPr>
            <p:cNvSpPr/>
            <p:nvPr/>
          </p:nvSpPr>
          <p:spPr>
            <a:xfrm>
              <a:off x="11920327" y="4577396"/>
              <a:ext cx="13342" cy="24140"/>
            </a:xfrm>
            <a:custGeom>
              <a:avLst/>
              <a:gdLst>
                <a:gd name="connsiteX0" fmla="*/ 13342 w 13342"/>
                <a:gd name="connsiteY0" fmla="*/ 12706 h 24140"/>
                <a:gd name="connsiteX1" fmla="*/ 1779 w 13342"/>
                <a:gd name="connsiteY1" fmla="*/ 0 h 24140"/>
                <a:gd name="connsiteX2" fmla="*/ 0 w 13342"/>
                <a:gd name="connsiteY2" fmla="*/ 0 h 24140"/>
                <a:gd name="connsiteX3" fmla="*/ 8107 w 13342"/>
                <a:gd name="connsiteY3" fmla="*/ 16034 h 24140"/>
                <a:gd name="connsiteX4" fmla="*/ 0 w 13342"/>
                <a:gd name="connsiteY4" fmla="*/ 24141 h 24140"/>
                <a:gd name="connsiteX5" fmla="*/ 1779 w 13342"/>
                <a:gd name="connsiteY5" fmla="*/ 24141 h 24140"/>
                <a:gd name="connsiteX6" fmla="*/ 5337 w 13342"/>
                <a:gd name="connsiteY6" fmla="*/ 23378 h 24140"/>
                <a:gd name="connsiteX7" fmla="*/ 13342 w 13342"/>
                <a:gd name="connsiteY7" fmla="*/ 12706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42" h="24140">
                  <a:moveTo>
                    <a:pt x="13342" y="12706"/>
                  </a:moveTo>
                  <a:cubicBezTo>
                    <a:pt x="13368" y="6111"/>
                    <a:pt x="8349" y="597"/>
                    <a:pt x="1779" y="0"/>
                  </a:cubicBezTo>
                  <a:lnTo>
                    <a:pt x="0" y="0"/>
                  </a:lnTo>
                  <a:cubicBezTo>
                    <a:pt x="6671" y="2185"/>
                    <a:pt x="10293" y="9377"/>
                    <a:pt x="8107" y="16034"/>
                  </a:cubicBezTo>
                  <a:cubicBezTo>
                    <a:pt x="6849" y="19872"/>
                    <a:pt x="3838" y="22883"/>
                    <a:pt x="0" y="24141"/>
                  </a:cubicBezTo>
                  <a:lnTo>
                    <a:pt x="1779" y="24141"/>
                  </a:lnTo>
                  <a:cubicBezTo>
                    <a:pt x="2999" y="24077"/>
                    <a:pt x="4206" y="23823"/>
                    <a:pt x="5337" y="23378"/>
                  </a:cubicBezTo>
                  <a:cubicBezTo>
                    <a:pt x="9924" y="21777"/>
                    <a:pt x="13101" y="17559"/>
                    <a:pt x="13342" y="12706"/>
                  </a:cubicBezTo>
                  <a:close/>
                </a:path>
              </a:pathLst>
            </a:custGeom>
            <a:solidFill>
              <a:srgbClr val="000000"/>
            </a:solidFill>
            <a:ln w="12704"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1CCD013C-F1DD-4C0A-9F07-3EB8CD26681B}"/>
                </a:ext>
              </a:extLst>
            </p:cNvPr>
            <p:cNvSpPr/>
            <p:nvPr/>
          </p:nvSpPr>
          <p:spPr>
            <a:xfrm>
              <a:off x="11926406" y="4613179"/>
              <a:ext cx="31151" cy="31684"/>
            </a:xfrm>
            <a:custGeom>
              <a:avLst/>
              <a:gdLst>
                <a:gd name="connsiteX0" fmla="*/ 18572 w 31151"/>
                <a:gd name="connsiteY0" fmla="*/ 2335 h 31684"/>
                <a:gd name="connsiteX1" fmla="*/ 2384 w 31151"/>
                <a:gd name="connsiteY1" fmla="*/ 4609 h 31684"/>
                <a:gd name="connsiteX2" fmla="*/ 2180 w 31151"/>
                <a:gd name="connsiteY2" fmla="*/ 4876 h 31684"/>
                <a:gd name="connsiteX3" fmla="*/ 4595 w 31151"/>
                <a:gd name="connsiteY3" fmla="*/ 21774 h 31684"/>
                <a:gd name="connsiteX4" fmla="*/ 17302 w 31151"/>
                <a:gd name="connsiteY4" fmla="*/ 31685 h 31684"/>
                <a:gd name="connsiteX5" fmla="*/ 14760 w 31151"/>
                <a:gd name="connsiteY5" fmla="*/ 14786 h 31684"/>
                <a:gd name="connsiteX6" fmla="*/ 30885 w 31151"/>
                <a:gd name="connsiteY6" fmla="*/ 12042 h 31684"/>
                <a:gd name="connsiteX7" fmla="*/ 31152 w 31151"/>
                <a:gd name="connsiteY7" fmla="*/ 12245 h 31684"/>
                <a:gd name="connsiteX8" fmla="*/ 27849 w 31151"/>
                <a:gd name="connsiteY8" fmla="*/ 9704 h 3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51" h="31684">
                  <a:moveTo>
                    <a:pt x="18572" y="2335"/>
                  </a:moveTo>
                  <a:cubicBezTo>
                    <a:pt x="13477" y="-1515"/>
                    <a:pt x="6221" y="-499"/>
                    <a:pt x="2384" y="4609"/>
                  </a:cubicBezTo>
                  <a:cubicBezTo>
                    <a:pt x="2308" y="4698"/>
                    <a:pt x="2244" y="4787"/>
                    <a:pt x="2180" y="4876"/>
                  </a:cubicBezTo>
                  <a:cubicBezTo>
                    <a:pt x="-1479" y="10289"/>
                    <a:pt x="-437" y="17607"/>
                    <a:pt x="4595" y="21774"/>
                  </a:cubicBezTo>
                  <a:lnTo>
                    <a:pt x="17302" y="31685"/>
                  </a:lnTo>
                  <a:cubicBezTo>
                    <a:pt x="12232" y="27543"/>
                    <a:pt x="11126" y="20237"/>
                    <a:pt x="14760" y="14786"/>
                  </a:cubicBezTo>
                  <a:cubicBezTo>
                    <a:pt x="18458" y="9577"/>
                    <a:pt x="25676" y="8357"/>
                    <a:pt x="30885" y="12042"/>
                  </a:cubicBezTo>
                  <a:cubicBezTo>
                    <a:pt x="30974" y="12118"/>
                    <a:pt x="31063" y="12181"/>
                    <a:pt x="31152" y="12245"/>
                  </a:cubicBezTo>
                  <a:lnTo>
                    <a:pt x="27849" y="9704"/>
                  </a:lnTo>
                  <a:close/>
                </a:path>
              </a:pathLst>
            </a:custGeom>
            <a:solidFill>
              <a:srgbClr val="000000"/>
            </a:solidFill>
            <a:ln w="12704"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240BA37F-C83B-4A23-884B-D75030DAB828}"/>
                </a:ext>
              </a:extLst>
            </p:cNvPr>
            <p:cNvSpPr/>
            <p:nvPr/>
          </p:nvSpPr>
          <p:spPr>
            <a:xfrm>
              <a:off x="7984993" y="2702676"/>
              <a:ext cx="23381" cy="600221"/>
            </a:xfrm>
            <a:custGeom>
              <a:avLst/>
              <a:gdLst>
                <a:gd name="connsiteX0" fmla="*/ 12199 w 23381"/>
                <a:gd name="connsiteY0" fmla="*/ 600216 h 600221"/>
                <a:gd name="connsiteX1" fmla="*/ 17282 w 23381"/>
                <a:gd name="connsiteY1" fmla="*/ 598945 h 600221"/>
                <a:gd name="connsiteX2" fmla="*/ 18172 w 23381"/>
                <a:gd name="connsiteY2" fmla="*/ 598310 h 600221"/>
                <a:gd name="connsiteX3" fmla="*/ 17282 w 23381"/>
                <a:gd name="connsiteY3" fmla="*/ 593863 h 600221"/>
                <a:gd name="connsiteX4" fmla="*/ 17282 w 23381"/>
                <a:gd name="connsiteY4" fmla="*/ 576456 h 600221"/>
                <a:gd name="connsiteX5" fmla="*/ 23382 w 23381"/>
                <a:gd name="connsiteY5" fmla="*/ 566037 h 600221"/>
                <a:gd name="connsiteX6" fmla="*/ 23382 w 23381"/>
                <a:gd name="connsiteY6" fmla="*/ 566037 h 600221"/>
                <a:gd name="connsiteX7" fmla="*/ 23382 w 23381"/>
                <a:gd name="connsiteY7" fmla="*/ 0 h 600221"/>
                <a:gd name="connsiteX8" fmla="*/ 11691 w 23381"/>
                <a:gd name="connsiteY8" fmla="*/ 11689 h 600221"/>
                <a:gd name="connsiteX9" fmla="*/ 1 w 23381"/>
                <a:gd name="connsiteY9" fmla="*/ 0 h 600221"/>
                <a:gd name="connsiteX10" fmla="*/ 1 w 23381"/>
                <a:gd name="connsiteY10" fmla="*/ 588272 h 600221"/>
                <a:gd name="connsiteX11" fmla="*/ 11679 w 23381"/>
                <a:gd name="connsiteY11" fmla="*/ 600216 h 600221"/>
                <a:gd name="connsiteX12" fmla="*/ 12199 w 23381"/>
                <a:gd name="connsiteY12" fmla="*/ 600216 h 60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81" h="600221">
                  <a:moveTo>
                    <a:pt x="12199" y="600216"/>
                  </a:moveTo>
                  <a:cubicBezTo>
                    <a:pt x="13966" y="600152"/>
                    <a:pt x="15694" y="599720"/>
                    <a:pt x="17282" y="598945"/>
                  </a:cubicBezTo>
                  <a:lnTo>
                    <a:pt x="18172" y="598310"/>
                  </a:lnTo>
                  <a:cubicBezTo>
                    <a:pt x="17562" y="596912"/>
                    <a:pt x="17257" y="595387"/>
                    <a:pt x="17282" y="593863"/>
                  </a:cubicBezTo>
                  <a:lnTo>
                    <a:pt x="17282" y="576456"/>
                  </a:lnTo>
                  <a:cubicBezTo>
                    <a:pt x="17282" y="572136"/>
                    <a:pt x="19608" y="568147"/>
                    <a:pt x="23382" y="566037"/>
                  </a:cubicBezTo>
                  <a:lnTo>
                    <a:pt x="23382" y="566037"/>
                  </a:lnTo>
                  <a:lnTo>
                    <a:pt x="23382" y="0"/>
                  </a:lnTo>
                  <a:cubicBezTo>
                    <a:pt x="23382" y="6454"/>
                    <a:pt x="18146" y="11689"/>
                    <a:pt x="11691" y="11689"/>
                  </a:cubicBezTo>
                  <a:cubicBezTo>
                    <a:pt x="5236" y="11689"/>
                    <a:pt x="1" y="6454"/>
                    <a:pt x="1" y="0"/>
                  </a:cubicBezTo>
                  <a:lnTo>
                    <a:pt x="1" y="588272"/>
                  </a:lnTo>
                  <a:cubicBezTo>
                    <a:pt x="-76" y="594803"/>
                    <a:pt x="5160" y="600152"/>
                    <a:pt x="11679" y="600216"/>
                  </a:cubicBezTo>
                  <a:cubicBezTo>
                    <a:pt x="11856" y="600228"/>
                    <a:pt x="12034" y="600216"/>
                    <a:pt x="12199" y="600216"/>
                  </a:cubicBezTo>
                  <a:close/>
                </a:path>
              </a:pathLst>
            </a:custGeom>
            <a:solidFill>
              <a:srgbClr val="000000"/>
            </a:solidFill>
            <a:ln w="12704"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5DF546EC-5FE8-4302-BE5F-D8074862069E}"/>
                </a:ext>
              </a:extLst>
            </p:cNvPr>
            <p:cNvSpPr/>
            <p:nvPr/>
          </p:nvSpPr>
          <p:spPr>
            <a:xfrm>
              <a:off x="8610047" y="4859970"/>
              <a:ext cx="23508" cy="631471"/>
            </a:xfrm>
            <a:custGeom>
              <a:avLst/>
              <a:gdLst>
                <a:gd name="connsiteX0" fmla="*/ 11691 w 23508"/>
                <a:gd name="connsiteY0" fmla="*/ 631472 h 631471"/>
                <a:gd name="connsiteX1" fmla="*/ 23508 w 23508"/>
                <a:gd name="connsiteY1" fmla="*/ 619401 h 631471"/>
                <a:gd name="connsiteX2" fmla="*/ 23508 w 23508"/>
                <a:gd name="connsiteY2" fmla="*/ 10927 h 631471"/>
                <a:gd name="connsiteX3" fmla="*/ 13508 w 23508"/>
                <a:gd name="connsiteY3" fmla="*/ 9784 h 631471"/>
                <a:gd name="connsiteX4" fmla="*/ 11691 w 23508"/>
                <a:gd name="connsiteY4" fmla="*/ 11943 h 631471"/>
                <a:gd name="connsiteX5" fmla="*/ 1 w 23508"/>
                <a:gd name="connsiteY5" fmla="*/ 0 h 631471"/>
                <a:gd name="connsiteX6" fmla="*/ 1 w 23508"/>
                <a:gd name="connsiteY6" fmla="*/ 0 h 631471"/>
                <a:gd name="connsiteX7" fmla="*/ 1 w 23508"/>
                <a:gd name="connsiteY7" fmla="*/ 619528 h 631471"/>
                <a:gd name="connsiteX8" fmla="*/ 11691 w 23508"/>
                <a:gd name="connsiteY8" fmla="*/ 631472 h 63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08" h="631471">
                  <a:moveTo>
                    <a:pt x="11691" y="631472"/>
                  </a:moveTo>
                  <a:cubicBezTo>
                    <a:pt x="18121" y="631027"/>
                    <a:pt x="23203" y="625843"/>
                    <a:pt x="23508" y="619401"/>
                  </a:cubicBezTo>
                  <a:lnTo>
                    <a:pt x="23508" y="10927"/>
                  </a:lnTo>
                  <a:cubicBezTo>
                    <a:pt x="21069" y="7852"/>
                    <a:pt x="16583" y="7331"/>
                    <a:pt x="13508" y="9784"/>
                  </a:cubicBezTo>
                  <a:cubicBezTo>
                    <a:pt x="12771" y="10368"/>
                    <a:pt x="12148" y="11105"/>
                    <a:pt x="11691" y="11943"/>
                  </a:cubicBezTo>
                  <a:cubicBezTo>
                    <a:pt x="5160" y="11867"/>
                    <a:pt x="-63" y="6531"/>
                    <a:pt x="1" y="0"/>
                  </a:cubicBezTo>
                  <a:cubicBezTo>
                    <a:pt x="1" y="0"/>
                    <a:pt x="1" y="0"/>
                    <a:pt x="1" y="0"/>
                  </a:cubicBezTo>
                  <a:lnTo>
                    <a:pt x="1" y="619528"/>
                  </a:lnTo>
                  <a:cubicBezTo>
                    <a:pt x="1" y="626021"/>
                    <a:pt x="5198" y="631332"/>
                    <a:pt x="11691" y="631472"/>
                  </a:cubicBezTo>
                  <a:close/>
                </a:path>
              </a:pathLst>
            </a:custGeom>
            <a:solidFill>
              <a:srgbClr val="000000"/>
            </a:solidFill>
            <a:ln w="12704"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56DF0E70-6C80-4E10-B8D6-5F80283C87C7}"/>
                </a:ext>
              </a:extLst>
            </p:cNvPr>
            <p:cNvSpPr/>
            <p:nvPr/>
          </p:nvSpPr>
          <p:spPr>
            <a:xfrm>
              <a:off x="8609980" y="3279894"/>
              <a:ext cx="23638" cy="1592019"/>
            </a:xfrm>
            <a:custGeom>
              <a:avLst/>
              <a:gdLst>
                <a:gd name="connsiteX0" fmla="*/ 11757 w 23638"/>
                <a:gd name="connsiteY0" fmla="*/ 1592020 h 1592019"/>
                <a:gd name="connsiteX1" fmla="*/ 20017 w 23638"/>
                <a:gd name="connsiteY1" fmla="*/ 1588589 h 1592019"/>
                <a:gd name="connsiteX2" fmla="*/ 21211 w 23638"/>
                <a:gd name="connsiteY2" fmla="*/ 1570661 h 1592019"/>
                <a:gd name="connsiteX3" fmla="*/ 23575 w 23638"/>
                <a:gd name="connsiteY3" fmla="*/ 1569022 h 1592019"/>
                <a:gd name="connsiteX4" fmla="*/ 23575 w 23638"/>
                <a:gd name="connsiteY4" fmla="*/ 0 h 1592019"/>
                <a:gd name="connsiteX5" fmla="*/ 13041 w 23638"/>
                <a:gd name="connsiteY5" fmla="*/ 12972 h 1592019"/>
                <a:gd name="connsiteX6" fmla="*/ 67 w 23638"/>
                <a:gd name="connsiteY6" fmla="*/ 2452 h 1592019"/>
                <a:gd name="connsiteX7" fmla="*/ 67 w 23638"/>
                <a:gd name="connsiteY7" fmla="*/ 0 h 1592019"/>
                <a:gd name="connsiteX8" fmla="*/ 67 w 23638"/>
                <a:gd name="connsiteY8" fmla="*/ 1580076 h 1592019"/>
                <a:gd name="connsiteX9" fmla="*/ 11757 w 23638"/>
                <a:gd name="connsiteY9" fmla="*/ 1592020 h 1592019"/>
                <a:gd name="connsiteX10" fmla="*/ 11757 w 23638"/>
                <a:gd name="connsiteY10" fmla="*/ 1592020 h 159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1592019">
                  <a:moveTo>
                    <a:pt x="11757" y="1592020"/>
                  </a:moveTo>
                  <a:cubicBezTo>
                    <a:pt x="14858" y="1592032"/>
                    <a:pt x="17831" y="1590800"/>
                    <a:pt x="20017" y="1588589"/>
                  </a:cubicBezTo>
                  <a:cubicBezTo>
                    <a:pt x="15391" y="1583303"/>
                    <a:pt x="15925" y="1575286"/>
                    <a:pt x="21211" y="1570661"/>
                  </a:cubicBezTo>
                  <a:cubicBezTo>
                    <a:pt x="21936" y="1570026"/>
                    <a:pt x="22723" y="1569480"/>
                    <a:pt x="23575" y="1569022"/>
                  </a:cubicBezTo>
                  <a:lnTo>
                    <a:pt x="23575" y="0"/>
                  </a:lnTo>
                  <a:cubicBezTo>
                    <a:pt x="24248" y="6493"/>
                    <a:pt x="19534" y="12299"/>
                    <a:pt x="13041" y="12972"/>
                  </a:cubicBezTo>
                  <a:cubicBezTo>
                    <a:pt x="6547" y="13646"/>
                    <a:pt x="740" y="8932"/>
                    <a:pt x="67" y="2452"/>
                  </a:cubicBezTo>
                  <a:cubicBezTo>
                    <a:pt x="-22" y="1639"/>
                    <a:pt x="-22" y="813"/>
                    <a:pt x="67" y="0"/>
                  </a:cubicBezTo>
                  <a:lnTo>
                    <a:pt x="67" y="1580076"/>
                  </a:lnTo>
                  <a:cubicBezTo>
                    <a:pt x="-10" y="1586607"/>
                    <a:pt x="5226" y="1591944"/>
                    <a:pt x="11757" y="1592020"/>
                  </a:cubicBezTo>
                  <a:cubicBezTo>
                    <a:pt x="11757" y="1592020"/>
                    <a:pt x="11757" y="1592020"/>
                    <a:pt x="11757" y="1592020"/>
                  </a:cubicBezTo>
                  <a:close/>
                </a:path>
              </a:pathLst>
            </a:custGeom>
            <a:solidFill>
              <a:srgbClr val="000000"/>
            </a:solidFill>
            <a:ln w="12704"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1F8E74FD-7061-4A3B-9D75-C7B3F1366D2A}"/>
                </a:ext>
              </a:extLst>
            </p:cNvPr>
            <p:cNvSpPr/>
            <p:nvPr/>
          </p:nvSpPr>
          <p:spPr>
            <a:xfrm>
              <a:off x="11061654" y="4587942"/>
              <a:ext cx="23638" cy="37481"/>
            </a:xfrm>
            <a:custGeom>
              <a:avLst/>
              <a:gdLst>
                <a:gd name="connsiteX0" fmla="*/ 11757 w 23638"/>
                <a:gd name="connsiteY0" fmla="*/ 37482 h 37481"/>
                <a:gd name="connsiteX1" fmla="*/ 23575 w 23638"/>
                <a:gd name="connsiteY1" fmla="*/ 25411 h 37481"/>
                <a:gd name="connsiteX2" fmla="*/ 23575 w 23638"/>
                <a:gd name="connsiteY2" fmla="*/ 0 h 37481"/>
                <a:gd name="connsiteX3" fmla="*/ 13040 w 23638"/>
                <a:gd name="connsiteY3" fmla="*/ 12973 h 37481"/>
                <a:gd name="connsiteX4" fmla="*/ 66 w 23638"/>
                <a:gd name="connsiteY4" fmla="*/ 2452 h 37481"/>
                <a:gd name="connsiteX5" fmla="*/ 66 w 23638"/>
                <a:gd name="connsiteY5" fmla="*/ 0 h 37481"/>
                <a:gd name="connsiteX6" fmla="*/ 66 w 23638"/>
                <a:gd name="connsiteY6" fmla="*/ 25411 h 37481"/>
                <a:gd name="connsiteX7" fmla="*/ 11757 w 23638"/>
                <a:gd name="connsiteY7" fmla="*/ 37482 h 3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37481">
                  <a:moveTo>
                    <a:pt x="11757" y="37482"/>
                  </a:moveTo>
                  <a:cubicBezTo>
                    <a:pt x="18187" y="37037"/>
                    <a:pt x="23270" y="31853"/>
                    <a:pt x="23575" y="25411"/>
                  </a:cubicBezTo>
                  <a:lnTo>
                    <a:pt x="23575" y="0"/>
                  </a:lnTo>
                  <a:cubicBezTo>
                    <a:pt x="24248" y="6493"/>
                    <a:pt x="19534" y="12299"/>
                    <a:pt x="13040" y="12973"/>
                  </a:cubicBezTo>
                  <a:cubicBezTo>
                    <a:pt x="6547" y="13646"/>
                    <a:pt x="740" y="8932"/>
                    <a:pt x="66" y="2452"/>
                  </a:cubicBezTo>
                  <a:cubicBezTo>
                    <a:pt x="-22" y="1639"/>
                    <a:pt x="-22" y="813"/>
                    <a:pt x="66" y="0"/>
                  </a:cubicBezTo>
                  <a:lnTo>
                    <a:pt x="66" y="25411"/>
                  </a:lnTo>
                  <a:cubicBezTo>
                    <a:pt x="-10" y="31955"/>
                    <a:pt x="5213" y="37342"/>
                    <a:pt x="11757" y="37482"/>
                  </a:cubicBezTo>
                  <a:close/>
                </a:path>
              </a:pathLst>
            </a:custGeom>
            <a:solidFill>
              <a:srgbClr val="000000"/>
            </a:solidFill>
            <a:ln w="12704"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6AF8C646-1549-4262-86E6-95BD19D2C5AB}"/>
                </a:ext>
              </a:extLst>
            </p:cNvPr>
            <p:cNvSpPr/>
            <p:nvPr/>
          </p:nvSpPr>
          <p:spPr>
            <a:xfrm>
              <a:off x="10924167" y="5975909"/>
              <a:ext cx="23639" cy="25792"/>
            </a:xfrm>
            <a:custGeom>
              <a:avLst/>
              <a:gdLst>
                <a:gd name="connsiteX0" fmla="*/ 22683 w 23639"/>
                <a:gd name="connsiteY0" fmla="*/ 0 h 25792"/>
                <a:gd name="connsiteX1" fmla="*/ 13927 w 23639"/>
                <a:gd name="connsiteY1" fmla="*/ 13595 h 25792"/>
                <a:gd name="connsiteX2" fmla="*/ 11246 w 23639"/>
                <a:gd name="connsiteY2" fmla="*/ 13849 h 25792"/>
                <a:gd name="connsiteX3" fmla="*/ 64 w 23639"/>
                <a:gd name="connsiteY3" fmla="*/ 5591 h 25792"/>
                <a:gd name="connsiteX4" fmla="*/ 64 w 23639"/>
                <a:gd name="connsiteY4" fmla="*/ 3812 h 25792"/>
                <a:gd name="connsiteX5" fmla="*/ 64 w 23639"/>
                <a:gd name="connsiteY5" fmla="*/ 3812 h 25792"/>
                <a:gd name="connsiteX6" fmla="*/ 64 w 23639"/>
                <a:gd name="connsiteY6" fmla="*/ 25792 h 25792"/>
                <a:gd name="connsiteX7" fmla="*/ 10599 w 23639"/>
                <a:gd name="connsiteY7" fmla="*/ 12820 h 25792"/>
                <a:gd name="connsiteX8" fmla="*/ 23572 w 23639"/>
                <a:gd name="connsiteY8" fmla="*/ 23340 h 25792"/>
                <a:gd name="connsiteX9" fmla="*/ 23572 w 23639"/>
                <a:gd name="connsiteY9" fmla="*/ 25792 h 25792"/>
                <a:gd name="connsiteX10" fmla="*/ 23572 w 23639"/>
                <a:gd name="connsiteY10" fmla="*/ 1779 h 25792"/>
                <a:gd name="connsiteX11" fmla="*/ 22683 w 23639"/>
                <a:gd name="connsiteY11" fmla="*/ 0 h 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9" h="25792">
                  <a:moveTo>
                    <a:pt x="22683" y="0"/>
                  </a:moveTo>
                  <a:cubicBezTo>
                    <a:pt x="24017" y="6175"/>
                    <a:pt x="20091" y="12261"/>
                    <a:pt x="13927" y="13595"/>
                  </a:cubicBezTo>
                  <a:cubicBezTo>
                    <a:pt x="13038" y="13786"/>
                    <a:pt x="12149" y="13874"/>
                    <a:pt x="11246" y="13849"/>
                  </a:cubicBezTo>
                  <a:cubicBezTo>
                    <a:pt x="6126" y="13811"/>
                    <a:pt x="1602" y="10482"/>
                    <a:pt x="64" y="5591"/>
                  </a:cubicBezTo>
                  <a:lnTo>
                    <a:pt x="64" y="3812"/>
                  </a:lnTo>
                  <a:lnTo>
                    <a:pt x="64" y="3812"/>
                  </a:lnTo>
                  <a:lnTo>
                    <a:pt x="64" y="25792"/>
                  </a:lnTo>
                  <a:cubicBezTo>
                    <a:pt x="-609" y="19300"/>
                    <a:pt x="4105" y="13493"/>
                    <a:pt x="10599" y="12820"/>
                  </a:cubicBezTo>
                  <a:cubicBezTo>
                    <a:pt x="17092" y="12147"/>
                    <a:pt x="22899" y="16860"/>
                    <a:pt x="23572" y="23340"/>
                  </a:cubicBezTo>
                  <a:cubicBezTo>
                    <a:pt x="23661" y="24153"/>
                    <a:pt x="23661" y="24979"/>
                    <a:pt x="23572" y="25792"/>
                  </a:cubicBezTo>
                  <a:lnTo>
                    <a:pt x="23572" y="1779"/>
                  </a:lnTo>
                  <a:cubicBezTo>
                    <a:pt x="23064" y="1271"/>
                    <a:pt x="22683" y="635"/>
                    <a:pt x="22683" y="0"/>
                  </a:cubicBezTo>
                  <a:close/>
                </a:path>
              </a:pathLst>
            </a:custGeom>
            <a:solidFill>
              <a:srgbClr val="000000"/>
            </a:solidFill>
            <a:ln w="12704"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CBF55F6C-4F56-4864-BA4B-64BD408A4111}"/>
                </a:ext>
              </a:extLst>
            </p:cNvPr>
            <p:cNvSpPr/>
            <p:nvPr/>
          </p:nvSpPr>
          <p:spPr>
            <a:xfrm>
              <a:off x="10923659" y="5989758"/>
              <a:ext cx="23638" cy="233352"/>
            </a:xfrm>
            <a:custGeom>
              <a:avLst/>
              <a:gdLst>
                <a:gd name="connsiteX0" fmla="*/ 11754 w 23638"/>
                <a:gd name="connsiteY0" fmla="*/ 0 h 233352"/>
                <a:gd name="connsiteX1" fmla="*/ 64 w 23638"/>
                <a:gd name="connsiteY1" fmla="*/ 12070 h 233352"/>
                <a:gd name="connsiteX2" fmla="*/ 64 w 23638"/>
                <a:gd name="connsiteY2" fmla="*/ 220316 h 233352"/>
                <a:gd name="connsiteX3" fmla="*/ 10598 w 23638"/>
                <a:gd name="connsiteY3" fmla="*/ 233289 h 233352"/>
                <a:gd name="connsiteX4" fmla="*/ 23572 w 23638"/>
                <a:gd name="connsiteY4" fmla="*/ 222768 h 233352"/>
                <a:gd name="connsiteX5" fmla="*/ 23572 w 23638"/>
                <a:gd name="connsiteY5" fmla="*/ 220316 h 233352"/>
                <a:gd name="connsiteX6" fmla="*/ 23572 w 23638"/>
                <a:gd name="connsiteY6" fmla="*/ 12070 h 233352"/>
                <a:gd name="connsiteX7" fmla="*/ 11754 w 23638"/>
                <a:gd name="connsiteY7" fmla="*/ 0 h 23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33352">
                  <a:moveTo>
                    <a:pt x="11754" y="0"/>
                  </a:moveTo>
                  <a:cubicBezTo>
                    <a:pt x="5211" y="140"/>
                    <a:pt x="-12" y="5527"/>
                    <a:pt x="64" y="12070"/>
                  </a:cubicBezTo>
                  <a:lnTo>
                    <a:pt x="64" y="220316"/>
                  </a:lnTo>
                  <a:cubicBezTo>
                    <a:pt x="-609" y="226809"/>
                    <a:pt x="4105" y="232615"/>
                    <a:pt x="10598" y="233289"/>
                  </a:cubicBezTo>
                  <a:cubicBezTo>
                    <a:pt x="17092" y="233962"/>
                    <a:pt x="22898" y="229248"/>
                    <a:pt x="23572" y="222768"/>
                  </a:cubicBezTo>
                  <a:cubicBezTo>
                    <a:pt x="23661" y="221955"/>
                    <a:pt x="23661" y="221129"/>
                    <a:pt x="23572" y="220316"/>
                  </a:cubicBezTo>
                  <a:lnTo>
                    <a:pt x="23572" y="12070"/>
                  </a:lnTo>
                  <a:cubicBezTo>
                    <a:pt x="23267" y="5629"/>
                    <a:pt x="18184" y="445"/>
                    <a:pt x="11754" y="0"/>
                  </a:cubicBezTo>
                  <a:close/>
                </a:path>
              </a:pathLst>
            </a:custGeom>
            <a:solidFill>
              <a:srgbClr val="000000"/>
            </a:solidFill>
            <a:ln w="12704"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505EBAF5-1788-40D3-A2FB-27D5201E1D5B}"/>
                </a:ext>
              </a:extLst>
            </p:cNvPr>
            <p:cNvSpPr/>
            <p:nvPr/>
          </p:nvSpPr>
          <p:spPr>
            <a:xfrm>
              <a:off x="3334099" y="6335860"/>
              <a:ext cx="1043908" cy="24013"/>
            </a:xfrm>
            <a:custGeom>
              <a:avLst/>
              <a:gdLst>
                <a:gd name="connsiteX0" fmla="*/ 1032218 w 1043908"/>
                <a:gd name="connsiteY0" fmla="*/ 11943 h 24013"/>
                <a:gd name="connsiteX1" fmla="*/ 1043909 w 1043908"/>
                <a:gd name="connsiteY1" fmla="*/ 0 h 24013"/>
                <a:gd name="connsiteX2" fmla="*/ 1043909 w 1043908"/>
                <a:gd name="connsiteY2" fmla="*/ 0 h 24013"/>
                <a:gd name="connsiteX3" fmla="*/ 10836 w 1043908"/>
                <a:gd name="connsiteY3" fmla="*/ 0 h 24013"/>
                <a:gd name="connsiteX4" fmla="*/ 64 w 1043908"/>
                <a:gd name="connsiteY4" fmla="*/ 13239 h 24013"/>
                <a:gd name="connsiteX5" fmla="*/ 10836 w 1043908"/>
                <a:gd name="connsiteY5" fmla="*/ 24014 h 24013"/>
                <a:gd name="connsiteX6" fmla="*/ 1043909 w 1043908"/>
                <a:gd name="connsiteY6" fmla="*/ 24014 h 24013"/>
                <a:gd name="connsiteX7" fmla="*/ 1032218 w 1043908"/>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908" h="24013">
                  <a:moveTo>
                    <a:pt x="1032218" y="11943"/>
                  </a:moveTo>
                  <a:cubicBezTo>
                    <a:pt x="1032142" y="5413"/>
                    <a:pt x="1037377" y="76"/>
                    <a:pt x="1043909" y="0"/>
                  </a:cubicBezTo>
                  <a:cubicBezTo>
                    <a:pt x="1043909" y="0"/>
                    <a:pt x="1043909" y="0"/>
                    <a:pt x="1043909" y="0"/>
                  </a:cubicBezTo>
                  <a:lnTo>
                    <a:pt x="10836" y="0"/>
                  </a:lnTo>
                  <a:cubicBezTo>
                    <a:pt x="4204" y="686"/>
                    <a:pt x="-618" y="6607"/>
                    <a:pt x="64" y="13239"/>
                  </a:cubicBezTo>
                  <a:cubicBezTo>
                    <a:pt x="651" y="18932"/>
                    <a:pt x="5147" y="23429"/>
                    <a:pt x="10836" y="24014"/>
                  </a:cubicBezTo>
                  <a:lnTo>
                    <a:pt x="1043909" y="24014"/>
                  </a:lnTo>
                  <a:cubicBezTo>
                    <a:pt x="1037365" y="23874"/>
                    <a:pt x="1032142" y="18487"/>
                    <a:pt x="1032218" y="11943"/>
                  </a:cubicBezTo>
                  <a:close/>
                </a:path>
              </a:pathLst>
            </a:custGeom>
            <a:solidFill>
              <a:srgbClr val="000000"/>
            </a:solidFill>
            <a:ln w="12704" cap="flat">
              <a:no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32EB12CB-FA0E-45A3-AAA7-092E91337D44}"/>
                </a:ext>
              </a:extLst>
            </p:cNvPr>
            <p:cNvSpPr/>
            <p:nvPr/>
          </p:nvSpPr>
          <p:spPr>
            <a:xfrm>
              <a:off x="4367169" y="6335860"/>
              <a:ext cx="1083937" cy="24013"/>
            </a:xfrm>
            <a:custGeom>
              <a:avLst/>
              <a:gdLst>
                <a:gd name="connsiteX0" fmla="*/ 1072120 w 1083937"/>
                <a:gd name="connsiteY0" fmla="*/ 11943 h 24013"/>
                <a:gd name="connsiteX1" fmla="*/ 1083938 w 1083937"/>
                <a:gd name="connsiteY1" fmla="*/ 0 h 24013"/>
                <a:gd name="connsiteX2" fmla="*/ 10838 w 1083937"/>
                <a:gd name="connsiteY2" fmla="*/ 0 h 24013"/>
                <a:gd name="connsiteX3" fmla="*/ 63 w 1083937"/>
                <a:gd name="connsiteY3" fmla="*/ 13239 h 24013"/>
                <a:gd name="connsiteX4" fmla="*/ 10838 w 1083937"/>
                <a:gd name="connsiteY4" fmla="*/ 24014 h 24013"/>
                <a:gd name="connsiteX5" fmla="*/ 1083938 w 1083937"/>
                <a:gd name="connsiteY5" fmla="*/ 24014 h 24013"/>
                <a:gd name="connsiteX6" fmla="*/ 1072120 w 1083937"/>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3937" h="24013">
                  <a:moveTo>
                    <a:pt x="1072120" y="11943"/>
                  </a:moveTo>
                  <a:cubicBezTo>
                    <a:pt x="1072120" y="5400"/>
                    <a:pt x="1077394" y="64"/>
                    <a:pt x="1083938" y="0"/>
                  </a:cubicBezTo>
                  <a:lnTo>
                    <a:pt x="10838" y="0"/>
                  </a:lnTo>
                  <a:cubicBezTo>
                    <a:pt x="4205" y="686"/>
                    <a:pt x="-611" y="6607"/>
                    <a:pt x="63" y="13239"/>
                  </a:cubicBezTo>
                  <a:cubicBezTo>
                    <a:pt x="647" y="18932"/>
                    <a:pt x="5146" y="23429"/>
                    <a:pt x="10838" y="24014"/>
                  </a:cubicBezTo>
                  <a:lnTo>
                    <a:pt x="1083938" y="24014"/>
                  </a:lnTo>
                  <a:cubicBezTo>
                    <a:pt x="1077508" y="23569"/>
                    <a:pt x="1072425" y="18385"/>
                    <a:pt x="1072120" y="11943"/>
                  </a:cubicBezTo>
                  <a:close/>
                </a:path>
              </a:pathLst>
            </a:custGeom>
            <a:solidFill>
              <a:srgbClr val="000000"/>
            </a:solidFill>
            <a:ln w="12704"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FCC047C4-47AA-4F9B-9C11-6387E60F2C09}"/>
                </a:ext>
              </a:extLst>
            </p:cNvPr>
            <p:cNvSpPr/>
            <p:nvPr/>
          </p:nvSpPr>
          <p:spPr>
            <a:xfrm>
              <a:off x="5440268" y="6335860"/>
              <a:ext cx="6217534" cy="24013"/>
            </a:xfrm>
            <a:custGeom>
              <a:avLst/>
              <a:gdLst>
                <a:gd name="connsiteX0" fmla="*/ 5504422 w 6217534"/>
                <a:gd name="connsiteY0" fmla="*/ 0 h 24013"/>
                <a:gd name="connsiteX1" fmla="*/ 10838 w 6217534"/>
                <a:gd name="connsiteY1" fmla="*/ 0 h 24013"/>
                <a:gd name="connsiteX2" fmla="*/ 63 w 6217534"/>
                <a:gd name="connsiteY2" fmla="*/ 13239 h 24013"/>
                <a:gd name="connsiteX3" fmla="*/ 10838 w 6217534"/>
                <a:gd name="connsiteY3" fmla="*/ 24014 h 24013"/>
                <a:gd name="connsiteX4" fmla="*/ 6217534 w 6217534"/>
                <a:gd name="connsiteY4" fmla="*/ 24014 h 24013"/>
                <a:gd name="connsiteX5" fmla="*/ 6206759 w 6217534"/>
                <a:gd name="connsiteY5" fmla="*/ 10774 h 24013"/>
                <a:gd name="connsiteX6" fmla="*/ 6217534 w 6217534"/>
                <a:gd name="connsiteY6" fmla="*/ 0 h 24013"/>
                <a:gd name="connsiteX7" fmla="*/ 5504422 w 6217534"/>
                <a:gd name="connsiteY7"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7534" h="24013">
                  <a:moveTo>
                    <a:pt x="5504422" y="0"/>
                  </a:moveTo>
                  <a:lnTo>
                    <a:pt x="10838" y="0"/>
                  </a:lnTo>
                  <a:cubicBezTo>
                    <a:pt x="4205" y="686"/>
                    <a:pt x="-611" y="6607"/>
                    <a:pt x="63" y="13239"/>
                  </a:cubicBezTo>
                  <a:cubicBezTo>
                    <a:pt x="647" y="18932"/>
                    <a:pt x="5146" y="23429"/>
                    <a:pt x="10838" y="24014"/>
                  </a:cubicBezTo>
                  <a:lnTo>
                    <a:pt x="6217534" y="24014"/>
                  </a:lnTo>
                  <a:cubicBezTo>
                    <a:pt x="6210901" y="23328"/>
                    <a:pt x="6206085" y="17407"/>
                    <a:pt x="6206759" y="10774"/>
                  </a:cubicBezTo>
                  <a:cubicBezTo>
                    <a:pt x="6207343" y="5082"/>
                    <a:pt x="6211842" y="585"/>
                    <a:pt x="6217534" y="0"/>
                  </a:cubicBezTo>
                  <a:lnTo>
                    <a:pt x="5504422" y="0"/>
                  </a:lnTo>
                  <a:close/>
                </a:path>
              </a:pathLst>
            </a:custGeom>
            <a:solidFill>
              <a:srgbClr val="000000"/>
            </a:solidFill>
            <a:ln w="12704"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7E7C6FAA-5630-42AD-9FDC-C3B5D42B6382}"/>
                </a:ext>
              </a:extLst>
            </p:cNvPr>
            <p:cNvSpPr/>
            <p:nvPr/>
          </p:nvSpPr>
          <p:spPr>
            <a:xfrm>
              <a:off x="6621858" y="3282816"/>
              <a:ext cx="23638" cy="21168"/>
            </a:xfrm>
            <a:custGeom>
              <a:avLst/>
              <a:gdLst>
                <a:gd name="connsiteX0" fmla="*/ 11754 w 23638"/>
                <a:gd name="connsiteY0" fmla="*/ 12070 h 21168"/>
                <a:gd name="connsiteX1" fmla="*/ 64 w 23638"/>
                <a:gd name="connsiteY1" fmla="*/ 0 h 21168"/>
                <a:gd name="connsiteX2" fmla="*/ 64 w 23638"/>
                <a:gd name="connsiteY2" fmla="*/ 8132 h 21168"/>
                <a:gd name="connsiteX3" fmla="*/ 10598 w 23638"/>
                <a:gd name="connsiteY3" fmla="*/ 21104 h 21168"/>
                <a:gd name="connsiteX4" fmla="*/ 23572 w 23638"/>
                <a:gd name="connsiteY4" fmla="*/ 10584 h 21168"/>
                <a:gd name="connsiteX5" fmla="*/ 23572 w 23638"/>
                <a:gd name="connsiteY5" fmla="*/ 8132 h 21168"/>
                <a:gd name="connsiteX6" fmla="*/ 23572 w 23638"/>
                <a:gd name="connsiteY6" fmla="*/ 0 h 21168"/>
                <a:gd name="connsiteX7" fmla="*/ 11754 w 23638"/>
                <a:gd name="connsiteY7" fmla="*/ 12070 h 2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1168">
                  <a:moveTo>
                    <a:pt x="11754" y="12070"/>
                  </a:moveTo>
                  <a:cubicBezTo>
                    <a:pt x="5210" y="11931"/>
                    <a:pt x="-12" y="6543"/>
                    <a:pt x="64" y="0"/>
                  </a:cubicBezTo>
                  <a:lnTo>
                    <a:pt x="64" y="8132"/>
                  </a:lnTo>
                  <a:cubicBezTo>
                    <a:pt x="-610" y="14624"/>
                    <a:pt x="4105" y="20431"/>
                    <a:pt x="10598" y="21104"/>
                  </a:cubicBezTo>
                  <a:cubicBezTo>
                    <a:pt x="17091" y="21778"/>
                    <a:pt x="22898" y="17064"/>
                    <a:pt x="23572" y="10584"/>
                  </a:cubicBezTo>
                  <a:cubicBezTo>
                    <a:pt x="23661" y="9771"/>
                    <a:pt x="23661" y="8945"/>
                    <a:pt x="23572" y="8132"/>
                  </a:cubicBezTo>
                  <a:lnTo>
                    <a:pt x="23572" y="0"/>
                  </a:lnTo>
                  <a:cubicBezTo>
                    <a:pt x="23267" y="6442"/>
                    <a:pt x="18184" y="11626"/>
                    <a:pt x="11754" y="12070"/>
                  </a:cubicBezTo>
                  <a:close/>
                </a:path>
              </a:pathLst>
            </a:custGeom>
            <a:solidFill>
              <a:srgbClr val="000000"/>
            </a:solidFill>
            <a:ln w="12704"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58CD1EF0-556F-4524-A371-C6C71BCEEF2E}"/>
                </a:ext>
              </a:extLst>
            </p:cNvPr>
            <p:cNvSpPr/>
            <p:nvPr/>
          </p:nvSpPr>
          <p:spPr>
            <a:xfrm>
              <a:off x="10331326" y="2222147"/>
              <a:ext cx="11690" cy="24013"/>
            </a:xfrm>
            <a:custGeom>
              <a:avLst/>
              <a:gdLst>
                <a:gd name="connsiteX0" fmla="*/ 1 w 11690"/>
                <a:gd name="connsiteY0" fmla="*/ 11943 h 24013"/>
                <a:gd name="connsiteX1" fmla="*/ 11691 w 11690"/>
                <a:gd name="connsiteY1" fmla="*/ 0 h 24013"/>
                <a:gd name="connsiteX2" fmla="*/ 11691 w 11690"/>
                <a:gd name="connsiteY2" fmla="*/ 0 h 24013"/>
                <a:gd name="connsiteX3" fmla="*/ 11056 w 11690"/>
                <a:gd name="connsiteY3" fmla="*/ 0 h 24013"/>
                <a:gd name="connsiteX4" fmla="*/ 280 w 11690"/>
                <a:gd name="connsiteY4" fmla="*/ 13239 h 24013"/>
                <a:gd name="connsiteX5" fmla="*/ 11056 w 11690"/>
                <a:gd name="connsiteY5" fmla="*/ 24014 h 24013"/>
                <a:gd name="connsiteX6" fmla="*/ 11691 w 11690"/>
                <a:gd name="connsiteY6" fmla="*/ 24014 h 24013"/>
                <a:gd name="connsiteX7" fmla="*/ 1 w 11690"/>
                <a:gd name="connsiteY7" fmla="*/ 12070 h 24013"/>
                <a:gd name="connsiteX8" fmla="*/ 1 w 11690"/>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0" h="24013">
                  <a:moveTo>
                    <a:pt x="1" y="11943"/>
                  </a:moveTo>
                  <a:cubicBezTo>
                    <a:pt x="-75" y="5413"/>
                    <a:pt x="5160" y="76"/>
                    <a:pt x="11691" y="0"/>
                  </a:cubicBezTo>
                  <a:cubicBezTo>
                    <a:pt x="11691" y="0"/>
                    <a:pt x="11691" y="0"/>
                    <a:pt x="11691" y="0"/>
                  </a:cubicBezTo>
                  <a:lnTo>
                    <a:pt x="11056" y="0"/>
                  </a:lnTo>
                  <a:cubicBezTo>
                    <a:pt x="4423" y="686"/>
                    <a:pt x="-393" y="6607"/>
                    <a:pt x="280" y="13239"/>
                  </a:cubicBezTo>
                  <a:cubicBezTo>
                    <a:pt x="865" y="18931"/>
                    <a:pt x="5363" y="23429"/>
                    <a:pt x="11056" y="24014"/>
                  </a:cubicBezTo>
                  <a:lnTo>
                    <a:pt x="11691" y="24014"/>
                  </a:lnTo>
                  <a:cubicBezTo>
                    <a:pt x="5160" y="23950"/>
                    <a:pt x="-75" y="18601"/>
                    <a:pt x="1" y="12070"/>
                  </a:cubicBezTo>
                  <a:cubicBezTo>
                    <a:pt x="1" y="12032"/>
                    <a:pt x="1" y="11981"/>
                    <a:pt x="1" y="11943"/>
                  </a:cubicBezTo>
                  <a:close/>
                </a:path>
              </a:pathLst>
            </a:custGeom>
            <a:solidFill>
              <a:srgbClr val="000000"/>
            </a:solidFill>
            <a:ln w="12704"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9DE198FA-2905-49D5-B936-D87E95B6D15A}"/>
                </a:ext>
              </a:extLst>
            </p:cNvPr>
            <p:cNvSpPr/>
            <p:nvPr/>
          </p:nvSpPr>
          <p:spPr>
            <a:xfrm>
              <a:off x="8609983" y="3278496"/>
              <a:ext cx="23638" cy="13798"/>
            </a:xfrm>
            <a:custGeom>
              <a:avLst/>
              <a:gdLst>
                <a:gd name="connsiteX0" fmla="*/ 11754 w 23638"/>
                <a:gd name="connsiteY0" fmla="*/ 12706 h 13798"/>
                <a:gd name="connsiteX1" fmla="*/ 38 w 23638"/>
                <a:gd name="connsiteY1" fmla="*/ 534 h 13798"/>
                <a:gd name="connsiteX2" fmla="*/ 64 w 23638"/>
                <a:gd name="connsiteY2" fmla="*/ 0 h 13798"/>
                <a:gd name="connsiteX3" fmla="*/ 64 w 23638"/>
                <a:gd name="connsiteY3" fmla="*/ 762 h 13798"/>
                <a:gd name="connsiteX4" fmla="*/ 10598 w 23638"/>
                <a:gd name="connsiteY4" fmla="*/ 13735 h 13798"/>
                <a:gd name="connsiteX5" fmla="*/ 23572 w 23638"/>
                <a:gd name="connsiteY5" fmla="*/ 3214 h 13798"/>
                <a:gd name="connsiteX6" fmla="*/ 23572 w 23638"/>
                <a:gd name="connsiteY6" fmla="*/ 762 h 13798"/>
                <a:gd name="connsiteX7" fmla="*/ 23572 w 23638"/>
                <a:gd name="connsiteY7" fmla="*/ 0 h 13798"/>
                <a:gd name="connsiteX8" fmla="*/ 11754 w 23638"/>
                <a:gd name="connsiteY8" fmla="*/ 12706 h 1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3798">
                  <a:moveTo>
                    <a:pt x="11754" y="12706"/>
                  </a:moveTo>
                  <a:cubicBezTo>
                    <a:pt x="5160" y="12578"/>
                    <a:pt x="-88" y="7128"/>
                    <a:pt x="38" y="534"/>
                  </a:cubicBezTo>
                  <a:cubicBezTo>
                    <a:pt x="51" y="356"/>
                    <a:pt x="51" y="178"/>
                    <a:pt x="64" y="0"/>
                  </a:cubicBezTo>
                  <a:lnTo>
                    <a:pt x="64" y="762"/>
                  </a:lnTo>
                  <a:cubicBezTo>
                    <a:pt x="-610" y="7255"/>
                    <a:pt x="4105" y="13061"/>
                    <a:pt x="10598" y="13735"/>
                  </a:cubicBezTo>
                  <a:cubicBezTo>
                    <a:pt x="17091" y="14408"/>
                    <a:pt x="22898" y="9694"/>
                    <a:pt x="23572" y="3214"/>
                  </a:cubicBezTo>
                  <a:cubicBezTo>
                    <a:pt x="23661" y="2401"/>
                    <a:pt x="23661" y="1575"/>
                    <a:pt x="23572" y="762"/>
                  </a:cubicBezTo>
                  <a:lnTo>
                    <a:pt x="23572" y="0"/>
                  </a:lnTo>
                  <a:cubicBezTo>
                    <a:pt x="23584" y="6683"/>
                    <a:pt x="18426" y="12236"/>
                    <a:pt x="11754" y="12706"/>
                  </a:cubicBezTo>
                  <a:close/>
                </a:path>
              </a:pathLst>
            </a:custGeom>
            <a:solidFill>
              <a:srgbClr val="000000"/>
            </a:solidFill>
            <a:ln w="12704"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2795E782-A2AC-4E93-8A6C-2DAD998137EB}"/>
                </a:ext>
              </a:extLst>
            </p:cNvPr>
            <p:cNvSpPr/>
            <p:nvPr/>
          </p:nvSpPr>
          <p:spPr>
            <a:xfrm>
              <a:off x="8610023" y="3264774"/>
              <a:ext cx="23532" cy="26427"/>
            </a:xfrm>
            <a:custGeom>
              <a:avLst/>
              <a:gdLst>
                <a:gd name="connsiteX0" fmla="*/ 11715 w 23532"/>
                <a:gd name="connsiteY0" fmla="*/ 26428 h 26427"/>
                <a:gd name="connsiteX1" fmla="*/ 23533 w 23532"/>
                <a:gd name="connsiteY1" fmla="*/ 13722 h 26427"/>
                <a:gd name="connsiteX2" fmla="*/ 23533 w 23532"/>
                <a:gd name="connsiteY2" fmla="*/ 11943 h 26427"/>
                <a:gd name="connsiteX3" fmla="*/ 21118 w 23532"/>
                <a:gd name="connsiteY3" fmla="*/ 5082 h 26427"/>
                <a:gd name="connsiteX4" fmla="*/ 18577 w 23532"/>
                <a:gd name="connsiteY4" fmla="*/ 2541 h 26427"/>
                <a:gd name="connsiteX5" fmla="*/ 11715 w 23532"/>
                <a:gd name="connsiteY5" fmla="*/ 0 h 26427"/>
                <a:gd name="connsiteX6" fmla="*/ 25 w 23532"/>
                <a:gd name="connsiteY6" fmla="*/ 11943 h 26427"/>
                <a:gd name="connsiteX7" fmla="*/ 25 w 23532"/>
                <a:gd name="connsiteY7" fmla="*/ 11943 h 26427"/>
                <a:gd name="connsiteX8" fmla="*/ 25 w 23532"/>
                <a:gd name="connsiteY8" fmla="*/ 13722 h 26427"/>
                <a:gd name="connsiteX9" fmla="*/ 11181 w 23532"/>
                <a:gd name="connsiteY9" fmla="*/ 26402 h 26427"/>
                <a:gd name="connsiteX10" fmla="*/ 11715 w 23532"/>
                <a:gd name="connsiteY10" fmla="*/ 26428 h 2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32" h="26427">
                  <a:moveTo>
                    <a:pt x="11715" y="26428"/>
                  </a:moveTo>
                  <a:cubicBezTo>
                    <a:pt x="18386" y="25958"/>
                    <a:pt x="23545" y="20405"/>
                    <a:pt x="23533" y="13722"/>
                  </a:cubicBezTo>
                  <a:lnTo>
                    <a:pt x="23533" y="11943"/>
                  </a:lnTo>
                  <a:cubicBezTo>
                    <a:pt x="23418" y="9466"/>
                    <a:pt x="22579" y="7090"/>
                    <a:pt x="21118" y="5082"/>
                  </a:cubicBezTo>
                  <a:cubicBezTo>
                    <a:pt x="20470" y="4053"/>
                    <a:pt x="19606" y="3189"/>
                    <a:pt x="18577" y="2541"/>
                  </a:cubicBezTo>
                  <a:cubicBezTo>
                    <a:pt x="16658" y="927"/>
                    <a:pt x="14231" y="25"/>
                    <a:pt x="11715" y="0"/>
                  </a:cubicBezTo>
                  <a:cubicBezTo>
                    <a:pt x="5184" y="76"/>
                    <a:pt x="-52" y="5413"/>
                    <a:pt x="25" y="11943"/>
                  </a:cubicBezTo>
                  <a:cubicBezTo>
                    <a:pt x="25" y="11943"/>
                    <a:pt x="25" y="11943"/>
                    <a:pt x="25" y="11943"/>
                  </a:cubicBezTo>
                  <a:lnTo>
                    <a:pt x="25" y="13722"/>
                  </a:lnTo>
                  <a:cubicBezTo>
                    <a:pt x="-395" y="20304"/>
                    <a:pt x="4599" y="25983"/>
                    <a:pt x="11181" y="26402"/>
                  </a:cubicBezTo>
                  <a:cubicBezTo>
                    <a:pt x="11359" y="26415"/>
                    <a:pt x="11537" y="26428"/>
                    <a:pt x="11715" y="26428"/>
                  </a:cubicBezTo>
                  <a:close/>
                </a:path>
              </a:pathLst>
            </a:custGeom>
            <a:solidFill>
              <a:srgbClr val="000000"/>
            </a:solidFill>
            <a:ln w="12704"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896100D1-F0AE-4C0C-8225-2518E5D6AFC7}"/>
                </a:ext>
              </a:extLst>
            </p:cNvPr>
            <p:cNvSpPr/>
            <p:nvPr/>
          </p:nvSpPr>
          <p:spPr>
            <a:xfrm>
              <a:off x="8626847" y="4847471"/>
              <a:ext cx="112175" cy="24108"/>
            </a:xfrm>
            <a:custGeom>
              <a:avLst/>
              <a:gdLst>
                <a:gd name="connsiteX0" fmla="*/ 9249 w 112175"/>
                <a:gd name="connsiteY0" fmla="*/ 24061 h 24108"/>
                <a:gd name="connsiteX1" fmla="*/ 11410 w 112175"/>
                <a:gd name="connsiteY1" fmla="*/ 24061 h 24108"/>
                <a:gd name="connsiteX2" fmla="*/ 112175 w 112175"/>
                <a:gd name="connsiteY2" fmla="*/ 24061 h 24108"/>
                <a:gd name="connsiteX3" fmla="*/ 101400 w 112175"/>
                <a:gd name="connsiteY3" fmla="*/ 10822 h 24108"/>
                <a:gd name="connsiteX4" fmla="*/ 112175 w 112175"/>
                <a:gd name="connsiteY4" fmla="*/ 48 h 24108"/>
                <a:gd name="connsiteX5" fmla="*/ 11410 w 112175"/>
                <a:gd name="connsiteY5" fmla="*/ 48 h 24108"/>
                <a:gd name="connsiteX6" fmla="*/ 9249 w 112175"/>
                <a:gd name="connsiteY6" fmla="*/ 48 h 24108"/>
                <a:gd name="connsiteX7" fmla="*/ 6708 w 112175"/>
                <a:gd name="connsiteY7" fmla="*/ 48 h 24108"/>
                <a:gd name="connsiteX8" fmla="*/ 1511 w 112175"/>
                <a:gd name="connsiteY8" fmla="*/ 17251 h 24108"/>
                <a:gd name="connsiteX9" fmla="*/ 3150 w 112175"/>
                <a:gd name="connsiteY9" fmla="*/ 19614 h 24108"/>
                <a:gd name="connsiteX10" fmla="*/ 6708 w 112175"/>
                <a:gd name="connsiteY10" fmla="*/ 22028 h 24108"/>
                <a:gd name="connsiteX11" fmla="*/ 9249 w 112175"/>
                <a:gd name="connsiteY11" fmla="*/ 24061 h 2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175" h="24108">
                  <a:moveTo>
                    <a:pt x="9249" y="24061"/>
                  </a:moveTo>
                  <a:cubicBezTo>
                    <a:pt x="9974" y="24125"/>
                    <a:pt x="10685" y="24125"/>
                    <a:pt x="11410" y="24061"/>
                  </a:cubicBezTo>
                  <a:lnTo>
                    <a:pt x="112175" y="24061"/>
                  </a:lnTo>
                  <a:cubicBezTo>
                    <a:pt x="105542" y="23375"/>
                    <a:pt x="100726" y="17454"/>
                    <a:pt x="101400" y="10822"/>
                  </a:cubicBezTo>
                  <a:cubicBezTo>
                    <a:pt x="101984" y="5130"/>
                    <a:pt x="106483" y="632"/>
                    <a:pt x="112175" y="48"/>
                  </a:cubicBezTo>
                  <a:lnTo>
                    <a:pt x="11410" y="48"/>
                  </a:lnTo>
                  <a:cubicBezTo>
                    <a:pt x="10685" y="-16"/>
                    <a:pt x="9974" y="-16"/>
                    <a:pt x="9249" y="48"/>
                  </a:cubicBezTo>
                  <a:lnTo>
                    <a:pt x="6708" y="48"/>
                  </a:lnTo>
                  <a:cubicBezTo>
                    <a:pt x="520" y="3364"/>
                    <a:pt x="-1806" y="11064"/>
                    <a:pt x="1511" y="17251"/>
                  </a:cubicBezTo>
                  <a:cubicBezTo>
                    <a:pt x="1968" y="18102"/>
                    <a:pt x="2515" y="18890"/>
                    <a:pt x="3150" y="19614"/>
                  </a:cubicBezTo>
                  <a:cubicBezTo>
                    <a:pt x="4179" y="20631"/>
                    <a:pt x="5387" y="21457"/>
                    <a:pt x="6708" y="22028"/>
                  </a:cubicBezTo>
                  <a:cubicBezTo>
                    <a:pt x="7407" y="22867"/>
                    <a:pt x="8271" y="23553"/>
                    <a:pt x="9249" y="24061"/>
                  </a:cubicBezTo>
                  <a:close/>
                </a:path>
              </a:pathLst>
            </a:custGeom>
            <a:solidFill>
              <a:srgbClr val="000000"/>
            </a:solidFill>
            <a:ln w="12704"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A261CDB3-8073-41A9-A3C4-5D5DD3D0BA6F}"/>
                </a:ext>
              </a:extLst>
            </p:cNvPr>
            <p:cNvSpPr/>
            <p:nvPr/>
          </p:nvSpPr>
          <p:spPr>
            <a:xfrm>
              <a:off x="8727803" y="4847900"/>
              <a:ext cx="163321" cy="24013"/>
            </a:xfrm>
            <a:custGeom>
              <a:avLst/>
              <a:gdLst>
                <a:gd name="connsiteX0" fmla="*/ 161288 w 163321"/>
                <a:gd name="connsiteY0" fmla="*/ 24014 h 24013"/>
                <a:gd name="connsiteX1" fmla="*/ 163321 w 163321"/>
                <a:gd name="connsiteY1" fmla="*/ 24014 h 24013"/>
                <a:gd name="connsiteX2" fmla="*/ 152546 w 163321"/>
                <a:gd name="connsiteY2" fmla="*/ 10774 h 24013"/>
                <a:gd name="connsiteX3" fmla="*/ 163321 w 163321"/>
                <a:gd name="connsiteY3" fmla="*/ 0 h 24013"/>
                <a:gd name="connsiteX4" fmla="*/ 10838 w 163321"/>
                <a:gd name="connsiteY4" fmla="*/ 0 h 24013"/>
                <a:gd name="connsiteX5" fmla="*/ 63 w 163321"/>
                <a:gd name="connsiteY5" fmla="*/ 13239 h 24013"/>
                <a:gd name="connsiteX6" fmla="*/ 10838 w 163321"/>
                <a:gd name="connsiteY6" fmla="*/ 24014 h 24013"/>
                <a:gd name="connsiteX7" fmla="*/ 160907 w 163321"/>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21" h="24013">
                  <a:moveTo>
                    <a:pt x="161288" y="24014"/>
                  </a:moveTo>
                  <a:lnTo>
                    <a:pt x="163321" y="24014"/>
                  </a:lnTo>
                  <a:cubicBezTo>
                    <a:pt x="156688" y="23328"/>
                    <a:pt x="151872" y="17407"/>
                    <a:pt x="152546" y="10774"/>
                  </a:cubicBezTo>
                  <a:cubicBezTo>
                    <a:pt x="153130" y="5082"/>
                    <a:pt x="157629" y="584"/>
                    <a:pt x="163321" y="0"/>
                  </a:cubicBezTo>
                  <a:lnTo>
                    <a:pt x="10838" y="0"/>
                  </a:lnTo>
                  <a:cubicBezTo>
                    <a:pt x="4205" y="686"/>
                    <a:pt x="-611" y="6607"/>
                    <a:pt x="63" y="13239"/>
                  </a:cubicBezTo>
                  <a:cubicBezTo>
                    <a:pt x="647" y="18931"/>
                    <a:pt x="5146" y="23429"/>
                    <a:pt x="10838" y="24014"/>
                  </a:cubicBezTo>
                  <a:lnTo>
                    <a:pt x="160907" y="24014"/>
                  </a:lnTo>
                  <a:close/>
                </a:path>
              </a:pathLst>
            </a:custGeom>
            <a:solidFill>
              <a:srgbClr val="000000"/>
            </a:solidFill>
            <a:ln w="12704"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3F044F38-D3EF-424A-A370-C9E314B16A09}"/>
                </a:ext>
              </a:extLst>
            </p:cNvPr>
            <p:cNvSpPr/>
            <p:nvPr/>
          </p:nvSpPr>
          <p:spPr>
            <a:xfrm>
              <a:off x="9042464" y="4847900"/>
              <a:ext cx="7878" cy="3303"/>
            </a:xfrm>
            <a:custGeom>
              <a:avLst/>
              <a:gdLst>
                <a:gd name="connsiteX0" fmla="*/ 7878 w 7878"/>
                <a:gd name="connsiteY0" fmla="*/ 0 h 3303"/>
                <a:gd name="connsiteX1" fmla="*/ 0 w 7878"/>
                <a:gd name="connsiteY1" fmla="*/ 0 h 3303"/>
                <a:gd name="connsiteX2" fmla="*/ 7878 w 7878"/>
                <a:gd name="connsiteY2" fmla="*/ 3303 h 3303"/>
              </a:gdLst>
              <a:ahLst/>
              <a:cxnLst>
                <a:cxn ang="0">
                  <a:pos x="connsiteX0" y="connsiteY0"/>
                </a:cxn>
                <a:cxn ang="0">
                  <a:pos x="connsiteX1" y="connsiteY1"/>
                </a:cxn>
                <a:cxn ang="0">
                  <a:pos x="connsiteX2" y="connsiteY2"/>
                </a:cxn>
              </a:cxnLst>
              <a:rect l="l" t="t" r="r" b="b"/>
              <a:pathLst>
                <a:path w="7878" h="3303">
                  <a:moveTo>
                    <a:pt x="7878" y="0"/>
                  </a:moveTo>
                  <a:lnTo>
                    <a:pt x="0" y="0"/>
                  </a:lnTo>
                  <a:cubicBezTo>
                    <a:pt x="2948" y="38"/>
                    <a:pt x="5781" y="1232"/>
                    <a:pt x="7878" y="3303"/>
                  </a:cubicBezTo>
                  <a:close/>
                </a:path>
              </a:pathLst>
            </a:custGeom>
            <a:solidFill>
              <a:srgbClr val="000000"/>
            </a:solidFill>
            <a:ln w="12704"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F4235A3F-65E4-4051-A960-0708F33D06A1}"/>
                </a:ext>
              </a:extLst>
            </p:cNvPr>
            <p:cNvSpPr/>
            <p:nvPr/>
          </p:nvSpPr>
          <p:spPr>
            <a:xfrm>
              <a:off x="9040177" y="4847900"/>
              <a:ext cx="2541" cy="12705"/>
            </a:xfrm>
            <a:custGeom>
              <a:avLst/>
              <a:gdLst>
                <a:gd name="connsiteX0" fmla="*/ 2541 w 2541"/>
                <a:gd name="connsiteY0" fmla="*/ 0 h 12705"/>
                <a:gd name="connsiteX1" fmla="*/ 0 w 2541"/>
                <a:gd name="connsiteY1" fmla="*/ 0 h 12705"/>
                <a:gd name="connsiteX2" fmla="*/ 1270 w 2541"/>
                <a:gd name="connsiteY2" fmla="*/ 0 h 12705"/>
              </a:gdLst>
              <a:ahLst/>
              <a:cxnLst>
                <a:cxn ang="0">
                  <a:pos x="connsiteX0" y="connsiteY0"/>
                </a:cxn>
                <a:cxn ang="0">
                  <a:pos x="connsiteX1" y="connsiteY1"/>
                </a:cxn>
                <a:cxn ang="0">
                  <a:pos x="connsiteX2" y="connsiteY2"/>
                </a:cxn>
              </a:cxnLst>
              <a:rect l="l" t="t" r="r" b="b"/>
              <a:pathLst>
                <a:path w="2541" h="12705">
                  <a:moveTo>
                    <a:pt x="2541" y="0"/>
                  </a:moveTo>
                  <a:lnTo>
                    <a:pt x="0" y="0"/>
                  </a:lnTo>
                  <a:lnTo>
                    <a:pt x="1270" y="0"/>
                  </a:lnTo>
                  <a:close/>
                </a:path>
              </a:pathLst>
            </a:custGeom>
            <a:solidFill>
              <a:srgbClr val="000000"/>
            </a:solidFill>
            <a:ln w="12704"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1C1B7A55-FBAB-4E38-97E6-301B37835896}"/>
                </a:ext>
              </a:extLst>
            </p:cNvPr>
            <p:cNvSpPr/>
            <p:nvPr/>
          </p:nvSpPr>
          <p:spPr>
            <a:xfrm>
              <a:off x="9111971" y="2716017"/>
              <a:ext cx="1905" cy="6352"/>
            </a:xfrm>
            <a:custGeom>
              <a:avLst/>
              <a:gdLst>
                <a:gd name="connsiteX0" fmla="*/ 0 w 1905"/>
                <a:gd name="connsiteY0" fmla="*/ 6353 h 6352"/>
                <a:gd name="connsiteX1" fmla="*/ 1906 w 1905"/>
                <a:gd name="connsiteY1" fmla="*/ 6353 h 6352"/>
                <a:gd name="connsiteX2" fmla="*/ 1906 w 1905"/>
                <a:gd name="connsiteY2" fmla="*/ 0 h 6352"/>
                <a:gd name="connsiteX3" fmla="*/ 0 w 1905"/>
                <a:gd name="connsiteY3" fmla="*/ 6353 h 6352"/>
              </a:gdLst>
              <a:ahLst/>
              <a:cxnLst>
                <a:cxn ang="0">
                  <a:pos x="connsiteX0" y="connsiteY0"/>
                </a:cxn>
                <a:cxn ang="0">
                  <a:pos x="connsiteX1" y="connsiteY1"/>
                </a:cxn>
                <a:cxn ang="0">
                  <a:pos x="connsiteX2" y="connsiteY2"/>
                </a:cxn>
                <a:cxn ang="0">
                  <a:pos x="connsiteX3" y="connsiteY3"/>
                </a:cxn>
              </a:cxnLst>
              <a:rect l="l" t="t" r="r" b="b"/>
              <a:pathLst>
                <a:path w="1905" h="6352">
                  <a:moveTo>
                    <a:pt x="0" y="6353"/>
                  </a:moveTo>
                  <a:lnTo>
                    <a:pt x="1906" y="6353"/>
                  </a:lnTo>
                  <a:lnTo>
                    <a:pt x="1906" y="0"/>
                  </a:lnTo>
                  <a:cubicBezTo>
                    <a:pt x="1842" y="2249"/>
                    <a:pt x="1182" y="4447"/>
                    <a:pt x="0" y="6353"/>
                  </a:cubicBezTo>
                  <a:close/>
                </a:path>
              </a:pathLst>
            </a:custGeom>
            <a:solidFill>
              <a:srgbClr val="000000"/>
            </a:solidFill>
            <a:ln w="12704"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374E9C4C-5B77-442E-A870-ADCD38208FF8}"/>
                </a:ext>
              </a:extLst>
            </p:cNvPr>
            <p:cNvSpPr/>
            <p:nvPr/>
          </p:nvSpPr>
          <p:spPr>
            <a:xfrm>
              <a:off x="9090496" y="2715762"/>
              <a:ext cx="2033" cy="6352"/>
            </a:xfrm>
            <a:custGeom>
              <a:avLst/>
              <a:gdLst>
                <a:gd name="connsiteX0" fmla="*/ 0 w 2033"/>
                <a:gd name="connsiteY0" fmla="*/ 0 h 6352"/>
                <a:gd name="connsiteX1" fmla="*/ 0 w 2033"/>
                <a:gd name="connsiteY1" fmla="*/ 6353 h 6352"/>
                <a:gd name="connsiteX2" fmla="*/ 2033 w 2033"/>
                <a:gd name="connsiteY2" fmla="*/ 6353 h 6352"/>
                <a:gd name="connsiteX3" fmla="*/ 0 w 2033"/>
                <a:gd name="connsiteY3" fmla="*/ 0 h 6352"/>
              </a:gdLst>
              <a:ahLst/>
              <a:cxnLst>
                <a:cxn ang="0">
                  <a:pos x="connsiteX0" y="connsiteY0"/>
                </a:cxn>
                <a:cxn ang="0">
                  <a:pos x="connsiteX1" y="connsiteY1"/>
                </a:cxn>
                <a:cxn ang="0">
                  <a:pos x="connsiteX2" y="connsiteY2"/>
                </a:cxn>
                <a:cxn ang="0">
                  <a:pos x="connsiteX3" y="connsiteY3"/>
                </a:cxn>
              </a:cxnLst>
              <a:rect l="l" t="t" r="r" b="b"/>
              <a:pathLst>
                <a:path w="2033" h="6352">
                  <a:moveTo>
                    <a:pt x="0" y="0"/>
                  </a:moveTo>
                  <a:lnTo>
                    <a:pt x="0" y="6353"/>
                  </a:lnTo>
                  <a:lnTo>
                    <a:pt x="2033" y="6353"/>
                  </a:lnTo>
                  <a:cubicBezTo>
                    <a:pt x="800" y="4460"/>
                    <a:pt x="102" y="2262"/>
                    <a:pt x="0" y="0"/>
                  </a:cubicBezTo>
                  <a:close/>
                </a:path>
              </a:pathLst>
            </a:custGeom>
            <a:solidFill>
              <a:srgbClr val="000000"/>
            </a:solidFill>
            <a:ln w="12704" cap="flat">
              <a:no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7FF9AC34-62B7-41BA-8377-1C61B627F707}"/>
                </a:ext>
              </a:extLst>
            </p:cNvPr>
            <p:cNvSpPr/>
            <p:nvPr/>
          </p:nvSpPr>
          <p:spPr>
            <a:xfrm>
              <a:off x="8609980" y="2143626"/>
              <a:ext cx="23638" cy="356139"/>
            </a:xfrm>
            <a:custGeom>
              <a:avLst/>
              <a:gdLst>
                <a:gd name="connsiteX0" fmla="*/ 11757 w 23638"/>
                <a:gd name="connsiteY0" fmla="*/ 356140 h 356139"/>
                <a:gd name="connsiteX1" fmla="*/ 23575 w 23638"/>
                <a:gd name="connsiteY1" fmla="*/ 344196 h 356139"/>
                <a:gd name="connsiteX2" fmla="*/ 23575 w 23638"/>
                <a:gd name="connsiteY2" fmla="*/ 0 h 356139"/>
                <a:gd name="connsiteX3" fmla="*/ 13041 w 23638"/>
                <a:gd name="connsiteY3" fmla="*/ 12972 h 356139"/>
                <a:gd name="connsiteX4" fmla="*/ 67 w 23638"/>
                <a:gd name="connsiteY4" fmla="*/ 2452 h 356139"/>
                <a:gd name="connsiteX5" fmla="*/ 67 w 23638"/>
                <a:gd name="connsiteY5" fmla="*/ 0 h 356139"/>
                <a:gd name="connsiteX6" fmla="*/ 67 w 23638"/>
                <a:gd name="connsiteY6" fmla="*/ 344196 h 356139"/>
                <a:gd name="connsiteX7" fmla="*/ 11757 w 23638"/>
                <a:gd name="connsiteY7" fmla="*/ 356140 h 356139"/>
                <a:gd name="connsiteX8" fmla="*/ 11757 w 23638"/>
                <a:gd name="connsiteY8" fmla="*/ 356140 h 35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356139">
                  <a:moveTo>
                    <a:pt x="11757" y="356140"/>
                  </a:moveTo>
                  <a:cubicBezTo>
                    <a:pt x="18301" y="356076"/>
                    <a:pt x="23575" y="350740"/>
                    <a:pt x="23575" y="344196"/>
                  </a:cubicBezTo>
                  <a:lnTo>
                    <a:pt x="23575" y="0"/>
                  </a:lnTo>
                  <a:cubicBezTo>
                    <a:pt x="24248" y="6493"/>
                    <a:pt x="19534" y="12299"/>
                    <a:pt x="13041" y="12972"/>
                  </a:cubicBezTo>
                  <a:cubicBezTo>
                    <a:pt x="6547" y="13646"/>
                    <a:pt x="740" y="8932"/>
                    <a:pt x="67" y="2452"/>
                  </a:cubicBezTo>
                  <a:cubicBezTo>
                    <a:pt x="-22" y="1639"/>
                    <a:pt x="-22" y="813"/>
                    <a:pt x="67" y="0"/>
                  </a:cubicBezTo>
                  <a:lnTo>
                    <a:pt x="67" y="344196"/>
                  </a:lnTo>
                  <a:cubicBezTo>
                    <a:pt x="-10" y="350727"/>
                    <a:pt x="5226" y="356064"/>
                    <a:pt x="11757" y="356140"/>
                  </a:cubicBezTo>
                  <a:cubicBezTo>
                    <a:pt x="11757" y="356140"/>
                    <a:pt x="11757" y="356140"/>
                    <a:pt x="11757" y="356140"/>
                  </a:cubicBezTo>
                  <a:close/>
                </a:path>
              </a:pathLst>
            </a:custGeom>
            <a:solidFill>
              <a:srgbClr val="000000"/>
            </a:solidFill>
            <a:ln w="12704"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4B636F33-B770-4217-818F-611998C827C5}"/>
                </a:ext>
              </a:extLst>
            </p:cNvPr>
            <p:cNvSpPr/>
            <p:nvPr/>
          </p:nvSpPr>
          <p:spPr>
            <a:xfrm>
              <a:off x="8564490" y="4918848"/>
              <a:ext cx="23641" cy="560650"/>
            </a:xfrm>
            <a:custGeom>
              <a:avLst/>
              <a:gdLst>
                <a:gd name="connsiteX0" fmla="*/ 67 w 23641"/>
                <a:gd name="connsiteY0" fmla="*/ 12910 h 560650"/>
                <a:gd name="connsiteX1" fmla="*/ 67 w 23641"/>
                <a:gd name="connsiteY1" fmla="*/ 560651 h 560650"/>
                <a:gd name="connsiteX2" fmla="*/ 10601 w 23641"/>
                <a:gd name="connsiteY2" fmla="*/ 547678 h 560650"/>
                <a:gd name="connsiteX3" fmla="*/ 23574 w 23641"/>
                <a:gd name="connsiteY3" fmla="*/ 558199 h 560650"/>
                <a:gd name="connsiteX4" fmla="*/ 23574 w 23641"/>
                <a:gd name="connsiteY4" fmla="*/ 560651 h 560650"/>
                <a:gd name="connsiteX5" fmla="*/ 23574 w 23641"/>
                <a:gd name="connsiteY5" fmla="*/ 13036 h 560650"/>
                <a:gd name="connsiteX6" fmla="*/ 13040 w 23641"/>
                <a:gd name="connsiteY6" fmla="*/ 64 h 560650"/>
                <a:gd name="connsiteX7" fmla="*/ 67 w 23641"/>
                <a:gd name="connsiteY7" fmla="*/ 10584 h 560650"/>
                <a:gd name="connsiteX8" fmla="*/ 67 w 23641"/>
                <a:gd name="connsiteY8" fmla="*/ 13036 h 5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560650">
                  <a:moveTo>
                    <a:pt x="67" y="12910"/>
                  </a:moveTo>
                  <a:lnTo>
                    <a:pt x="67" y="560651"/>
                  </a:lnTo>
                  <a:cubicBezTo>
                    <a:pt x="-607" y="554158"/>
                    <a:pt x="4108" y="548352"/>
                    <a:pt x="10601" y="547678"/>
                  </a:cubicBezTo>
                  <a:cubicBezTo>
                    <a:pt x="17094" y="547005"/>
                    <a:pt x="22901" y="551719"/>
                    <a:pt x="23574" y="558199"/>
                  </a:cubicBezTo>
                  <a:cubicBezTo>
                    <a:pt x="23664" y="559012"/>
                    <a:pt x="23664" y="559838"/>
                    <a:pt x="23574" y="560651"/>
                  </a:cubicBezTo>
                  <a:lnTo>
                    <a:pt x="23574" y="13036"/>
                  </a:lnTo>
                  <a:cubicBezTo>
                    <a:pt x="24248" y="6544"/>
                    <a:pt x="19534" y="738"/>
                    <a:pt x="13040" y="64"/>
                  </a:cubicBezTo>
                  <a:cubicBezTo>
                    <a:pt x="6547" y="-609"/>
                    <a:pt x="740" y="4104"/>
                    <a:pt x="67" y="10584"/>
                  </a:cubicBezTo>
                  <a:cubicBezTo>
                    <a:pt x="-22" y="11397"/>
                    <a:pt x="-22" y="12223"/>
                    <a:pt x="67" y="13036"/>
                  </a:cubicBezTo>
                  <a:close/>
                </a:path>
              </a:pathLst>
            </a:custGeom>
            <a:solidFill>
              <a:srgbClr val="000000"/>
            </a:solidFill>
            <a:ln w="12704"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3375622B-4458-4539-BE19-30506F9139A8}"/>
                </a:ext>
              </a:extLst>
            </p:cNvPr>
            <p:cNvSpPr/>
            <p:nvPr/>
          </p:nvSpPr>
          <p:spPr>
            <a:xfrm>
              <a:off x="8564490" y="5466462"/>
              <a:ext cx="23641" cy="102306"/>
            </a:xfrm>
            <a:custGeom>
              <a:avLst/>
              <a:gdLst>
                <a:gd name="connsiteX0" fmla="*/ 67 w 23641"/>
                <a:gd name="connsiteY0" fmla="*/ 59285 h 102306"/>
                <a:gd name="connsiteX1" fmla="*/ 67 w 23641"/>
                <a:gd name="connsiteY1" fmla="*/ 89270 h 102306"/>
                <a:gd name="connsiteX2" fmla="*/ 10601 w 23641"/>
                <a:gd name="connsiteY2" fmla="*/ 102243 h 102306"/>
                <a:gd name="connsiteX3" fmla="*/ 23574 w 23641"/>
                <a:gd name="connsiteY3" fmla="*/ 91723 h 102306"/>
                <a:gd name="connsiteX4" fmla="*/ 23574 w 23641"/>
                <a:gd name="connsiteY4" fmla="*/ 89270 h 102306"/>
                <a:gd name="connsiteX5" fmla="*/ 23574 w 23641"/>
                <a:gd name="connsiteY5" fmla="*/ 13036 h 102306"/>
                <a:gd name="connsiteX6" fmla="*/ 13040 w 23641"/>
                <a:gd name="connsiteY6" fmla="*/ 64 h 102306"/>
                <a:gd name="connsiteX7" fmla="*/ 67 w 23641"/>
                <a:gd name="connsiteY7" fmla="*/ 10584 h 102306"/>
                <a:gd name="connsiteX8" fmla="*/ 67 w 23641"/>
                <a:gd name="connsiteY8" fmla="*/ 13036 h 102306"/>
                <a:gd name="connsiteX9" fmla="*/ 67 w 23641"/>
                <a:gd name="connsiteY9" fmla="*/ 59412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41" h="102306">
                  <a:moveTo>
                    <a:pt x="67" y="59285"/>
                  </a:moveTo>
                  <a:lnTo>
                    <a:pt x="67" y="89270"/>
                  </a:lnTo>
                  <a:cubicBezTo>
                    <a:pt x="-607" y="95763"/>
                    <a:pt x="4108" y="101569"/>
                    <a:pt x="10601" y="102243"/>
                  </a:cubicBezTo>
                  <a:cubicBezTo>
                    <a:pt x="17094" y="102916"/>
                    <a:pt x="22901" y="98203"/>
                    <a:pt x="23574" y="91723"/>
                  </a:cubicBezTo>
                  <a:cubicBezTo>
                    <a:pt x="23664" y="90909"/>
                    <a:pt x="23664" y="90084"/>
                    <a:pt x="23574" y="89270"/>
                  </a:cubicBezTo>
                  <a:lnTo>
                    <a:pt x="23574" y="13036"/>
                  </a:lnTo>
                  <a:cubicBezTo>
                    <a:pt x="24248" y="6544"/>
                    <a:pt x="19534" y="738"/>
                    <a:pt x="13040" y="64"/>
                  </a:cubicBezTo>
                  <a:cubicBezTo>
                    <a:pt x="6547" y="-609"/>
                    <a:pt x="740" y="4104"/>
                    <a:pt x="67" y="10584"/>
                  </a:cubicBezTo>
                  <a:cubicBezTo>
                    <a:pt x="-22" y="11397"/>
                    <a:pt x="-22" y="12223"/>
                    <a:pt x="67" y="13036"/>
                  </a:cubicBezTo>
                  <a:lnTo>
                    <a:pt x="67" y="59412"/>
                  </a:lnTo>
                  <a:close/>
                </a:path>
              </a:pathLst>
            </a:custGeom>
            <a:solidFill>
              <a:srgbClr val="000000"/>
            </a:solidFill>
            <a:ln w="12704"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2C11A472-BDFA-4428-B83F-CD6DACE7E4B4}"/>
                </a:ext>
              </a:extLst>
            </p:cNvPr>
            <p:cNvSpPr/>
            <p:nvPr/>
          </p:nvSpPr>
          <p:spPr>
            <a:xfrm>
              <a:off x="11945931" y="4260499"/>
              <a:ext cx="23638" cy="262262"/>
            </a:xfrm>
            <a:custGeom>
              <a:avLst/>
              <a:gdLst>
                <a:gd name="connsiteX0" fmla="*/ 64 w 23638"/>
                <a:gd name="connsiteY0" fmla="*/ 11961 h 262262"/>
                <a:gd name="connsiteX1" fmla="*/ 64 w 23638"/>
                <a:gd name="connsiteY1" fmla="*/ 262263 h 262262"/>
                <a:gd name="connsiteX2" fmla="*/ 10598 w 23638"/>
                <a:gd name="connsiteY2" fmla="*/ 249290 h 262262"/>
                <a:gd name="connsiteX3" fmla="*/ 23571 w 23638"/>
                <a:gd name="connsiteY3" fmla="*/ 259810 h 262262"/>
                <a:gd name="connsiteX4" fmla="*/ 23571 w 23638"/>
                <a:gd name="connsiteY4" fmla="*/ 262263 h 262262"/>
                <a:gd name="connsiteX5" fmla="*/ 23571 w 23638"/>
                <a:gd name="connsiteY5" fmla="*/ 11961 h 262262"/>
                <a:gd name="connsiteX6" fmla="*/ 23571 w 23638"/>
                <a:gd name="connsiteY6" fmla="*/ 10436 h 262262"/>
                <a:gd name="connsiteX7" fmla="*/ 23571 w 23638"/>
                <a:gd name="connsiteY7" fmla="*/ 8022 h 262262"/>
                <a:gd name="connsiteX8" fmla="*/ 22556 w 23638"/>
                <a:gd name="connsiteY8" fmla="*/ 5989 h 262262"/>
                <a:gd name="connsiteX9" fmla="*/ 21284 w 23638"/>
                <a:gd name="connsiteY9" fmla="*/ 4084 h 262262"/>
                <a:gd name="connsiteX10" fmla="*/ 19379 w 23638"/>
                <a:gd name="connsiteY10" fmla="*/ 2432 h 262262"/>
                <a:gd name="connsiteX11" fmla="*/ 12644 w 23638"/>
                <a:gd name="connsiteY11" fmla="*/ 18 h 262262"/>
                <a:gd name="connsiteX12" fmla="*/ 76 w 23638"/>
                <a:gd name="connsiteY12" fmla="*/ 11313 h 262262"/>
                <a:gd name="connsiteX13" fmla="*/ 64 w 23638"/>
                <a:gd name="connsiteY13" fmla="*/ 11961 h 2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262262">
                  <a:moveTo>
                    <a:pt x="64" y="11961"/>
                  </a:moveTo>
                  <a:lnTo>
                    <a:pt x="64" y="262263"/>
                  </a:lnTo>
                  <a:cubicBezTo>
                    <a:pt x="-609" y="255770"/>
                    <a:pt x="4105" y="249963"/>
                    <a:pt x="10598" y="249290"/>
                  </a:cubicBezTo>
                  <a:cubicBezTo>
                    <a:pt x="17091" y="248617"/>
                    <a:pt x="22898" y="253331"/>
                    <a:pt x="23571" y="259810"/>
                  </a:cubicBezTo>
                  <a:cubicBezTo>
                    <a:pt x="23661" y="260624"/>
                    <a:pt x="23661" y="261449"/>
                    <a:pt x="23571" y="262263"/>
                  </a:cubicBezTo>
                  <a:lnTo>
                    <a:pt x="23571" y="11961"/>
                  </a:lnTo>
                  <a:cubicBezTo>
                    <a:pt x="23571" y="11961"/>
                    <a:pt x="23571" y="10945"/>
                    <a:pt x="23571" y="10436"/>
                  </a:cubicBezTo>
                  <a:cubicBezTo>
                    <a:pt x="23648" y="9636"/>
                    <a:pt x="23648" y="8823"/>
                    <a:pt x="23571" y="8022"/>
                  </a:cubicBezTo>
                  <a:cubicBezTo>
                    <a:pt x="23305" y="7311"/>
                    <a:pt x="22974" y="6624"/>
                    <a:pt x="22556" y="5989"/>
                  </a:cubicBezTo>
                  <a:lnTo>
                    <a:pt x="21284" y="4084"/>
                  </a:lnTo>
                  <a:cubicBezTo>
                    <a:pt x="20713" y="3461"/>
                    <a:pt x="20064" y="2915"/>
                    <a:pt x="19379" y="2432"/>
                  </a:cubicBezTo>
                  <a:cubicBezTo>
                    <a:pt x="17447" y="932"/>
                    <a:pt x="15084" y="81"/>
                    <a:pt x="12644" y="18"/>
                  </a:cubicBezTo>
                  <a:cubicBezTo>
                    <a:pt x="6061" y="-338"/>
                    <a:pt x="432" y="4719"/>
                    <a:pt x="76" y="11313"/>
                  </a:cubicBezTo>
                  <a:cubicBezTo>
                    <a:pt x="64" y="11529"/>
                    <a:pt x="64" y="11745"/>
                    <a:pt x="64" y="11961"/>
                  </a:cubicBezTo>
                  <a:close/>
                </a:path>
              </a:pathLst>
            </a:custGeom>
            <a:solidFill>
              <a:srgbClr val="000000"/>
            </a:solidFill>
            <a:ln w="12704"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D27B53DC-AE40-4936-9964-819846990595}"/>
                </a:ext>
              </a:extLst>
            </p:cNvPr>
            <p:cNvSpPr/>
            <p:nvPr/>
          </p:nvSpPr>
          <p:spPr>
            <a:xfrm>
              <a:off x="11945931" y="4510056"/>
              <a:ext cx="23638" cy="61699"/>
            </a:xfrm>
            <a:custGeom>
              <a:avLst/>
              <a:gdLst>
                <a:gd name="connsiteX0" fmla="*/ 11881 w 23638"/>
                <a:gd name="connsiteY0" fmla="*/ 0 h 61699"/>
                <a:gd name="connsiteX1" fmla="*/ 64 w 23638"/>
                <a:gd name="connsiteY1" fmla="*/ 12070 h 61699"/>
                <a:gd name="connsiteX2" fmla="*/ 64 w 23638"/>
                <a:gd name="connsiteY2" fmla="*/ 48663 h 61699"/>
                <a:gd name="connsiteX3" fmla="*/ 10598 w 23638"/>
                <a:gd name="connsiteY3" fmla="*/ 61635 h 61699"/>
                <a:gd name="connsiteX4" fmla="*/ 23571 w 23638"/>
                <a:gd name="connsiteY4" fmla="*/ 51115 h 61699"/>
                <a:gd name="connsiteX5" fmla="*/ 23571 w 23638"/>
                <a:gd name="connsiteY5" fmla="*/ 48663 h 61699"/>
                <a:gd name="connsiteX6" fmla="*/ 23571 w 23638"/>
                <a:gd name="connsiteY6" fmla="*/ 12070 h 61699"/>
                <a:gd name="connsiteX7" fmla="*/ 11881 w 23638"/>
                <a:gd name="connsiteY7" fmla="*/ 0 h 6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61699">
                  <a:moveTo>
                    <a:pt x="11881" y="0"/>
                  </a:moveTo>
                  <a:cubicBezTo>
                    <a:pt x="5452" y="444"/>
                    <a:pt x="369" y="5629"/>
                    <a:pt x="64" y="12070"/>
                  </a:cubicBezTo>
                  <a:lnTo>
                    <a:pt x="64" y="48663"/>
                  </a:lnTo>
                  <a:cubicBezTo>
                    <a:pt x="-609" y="55155"/>
                    <a:pt x="4105" y="60961"/>
                    <a:pt x="10598" y="61635"/>
                  </a:cubicBezTo>
                  <a:cubicBezTo>
                    <a:pt x="17091" y="62308"/>
                    <a:pt x="22898" y="57595"/>
                    <a:pt x="23571" y="51115"/>
                  </a:cubicBezTo>
                  <a:cubicBezTo>
                    <a:pt x="23661" y="50302"/>
                    <a:pt x="23661" y="49476"/>
                    <a:pt x="23571" y="48663"/>
                  </a:cubicBezTo>
                  <a:lnTo>
                    <a:pt x="23571" y="12070"/>
                  </a:lnTo>
                  <a:cubicBezTo>
                    <a:pt x="23648" y="5527"/>
                    <a:pt x="18426" y="140"/>
                    <a:pt x="11881" y="0"/>
                  </a:cubicBezTo>
                  <a:close/>
                </a:path>
              </a:pathLst>
            </a:custGeom>
            <a:solidFill>
              <a:srgbClr val="000000"/>
            </a:solidFill>
            <a:ln w="12704"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EBFBA50D-8979-4E1C-B682-8144E7512002}"/>
                </a:ext>
              </a:extLst>
            </p:cNvPr>
            <p:cNvSpPr/>
            <p:nvPr/>
          </p:nvSpPr>
          <p:spPr>
            <a:xfrm>
              <a:off x="9329894" y="2714619"/>
              <a:ext cx="23634" cy="7750"/>
            </a:xfrm>
            <a:custGeom>
              <a:avLst/>
              <a:gdLst>
                <a:gd name="connsiteX0" fmla="*/ 0 w 23634"/>
                <a:gd name="connsiteY0" fmla="*/ 7751 h 7750"/>
                <a:gd name="connsiteX1" fmla="*/ 12707 w 23634"/>
                <a:gd name="connsiteY1" fmla="*/ 7751 h 7750"/>
                <a:gd name="connsiteX2" fmla="*/ 23635 w 23634"/>
                <a:gd name="connsiteY2" fmla="*/ 0 h 7750"/>
                <a:gd name="connsiteX3" fmla="*/ 10928 w 23634"/>
                <a:gd name="connsiteY3" fmla="*/ 0 h 7750"/>
                <a:gd name="connsiteX4" fmla="*/ 0 w 23634"/>
                <a:gd name="connsiteY4" fmla="*/ 7751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4" h="7750">
                  <a:moveTo>
                    <a:pt x="0" y="7751"/>
                  </a:moveTo>
                  <a:lnTo>
                    <a:pt x="12707" y="7751"/>
                  </a:lnTo>
                  <a:cubicBezTo>
                    <a:pt x="14333" y="3101"/>
                    <a:pt x="18717" y="0"/>
                    <a:pt x="23635" y="0"/>
                  </a:cubicBezTo>
                  <a:lnTo>
                    <a:pt x="10928" y="0"/>
                  </a:lnTo>
                  <a:cubicBezTo>
                    <a:pt x="5997" y="-38"/>
                    <a:pt x="1588" y="3075"/>
                    <a:pt x="0" y="7751"/>
                  </a:cubicBezTo>
                  <a:close/>
                </a:path>
              </a:pathLst>
            </a:custGeom>
            <a:solidFill>
              <a:srgbClr val="000000"/>
            </a:solidFill>
            <a:ln w="12704"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BBCC5D38-0004-4902-9F83-62FE5D73586D}"/>
                </a:ext>
              </a:extLst>
            </p:cNvPr>
            <p:cNvSpPr/>
            <p:nvPr/>
          </p:nvSpPr>
          <p:spPr>
            <a:xfrm>
              <a:off x="9341458" y="2714619"/>
              <a:ext cx="121351" cy="7750"/>
            </a:xfrm>
            <a:custGeom>
              <a:avLst/>
              <a:gdLst>
                <a:gd name="connsiteX0" fmla="*/ 0 w 121351"/>
                <a:gd name="connsiteY0" fmla="*/ 7750 h 7750"/>
                <a:gd name="connsiteX1" fmla="*/ 121351 w 121351"/>
                <a:gd name="connsiteY1" fmla="*/ 7750 h 7750"/>
                <a:gd name="connsiteX2" fmla="*/ 110423 w 121351"/>
                <a:gd name="connsiteY2" fmla="*/ 0 h 7750"/>
                <a:gd name="connsiteX3" fmla="*/ 10928 w 121351"/>
                <a:gd name="connsiteY3" fmla="*/ 0 h 7750"/>
                <a:gd name="connsiteX4" fmla="*/ 0 w 121351"/>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51" h="7750">
                  <a:moveTo>
                    <a:pt x="0" y="7750"/>
                  </a:moveTo>
                  <a:lnTo>
                    <a:pt x="121351" y="7750"/>
                  </a:lnTo>
                  <a:cubicBezTo>
                    <a:pt x="119724" y="3100"/>
                    <a:pt x="115341" y="0"/>
                    <a:pt x="110423" y="0"/>
                  </a:cubicBezTo>
                  <a:lnTo>
                    <a:pt x="10928" y="0"/>
                  </a:lnTo>
                  <a:cubicBezTo>
                    <a:pt x="6010" y="0"/>
                    <a:pt x="1626" y="3100"/>
                    <a:pt x="0" y="7750"/>
                  </a:cubicBezTo>
                  <a:close/>
                </a:path>
              </a:pathLst>
            </a:custGeom>
            <a:solidFill>
              <a:srgbClr val="000000"/>
            </a:solidFill>
            <a:ln w="12704"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AE2DB7EE-5269-405A-A0C0-E2D4362EEF19}"/>
                </a:ext>
              </a:extLst>
            </p:cNvPr>
            <p:cNvSpPr/>
            <p:nvPr/>
          </p:nvSpPr>
          <p:spPr>
            <a:xfrm>
              <a:off x="9328462" y="2132318"/>
              <a:ext cx="24431" cy="24013"/>
            </a:xfrm>
            <a:custGeom>
              <a:avLst/>
              <a:gdLst>
                <a:gd name="connsiteX0" fmla="*/ 35 w 24431"/>
                <a:gd name="connsiteY0" fmla="*/ 11308 h 24013"/>
                <a:gd name="connsiteX1" fmla="*/ 10924 w 24431"/>
                <a:gd name="connsiteY1" fmla="*/ 23976 h 24013"/>
                <a:gd name="connsiteX2" fmla="*/ 11725 w 24431"/>
                <a:gd name="connsiteY2" fmla="*/ 24014 h 24013"/>
                <a:gd name="connsiteX3" fmla="*/ 24432 w 24431"/>
                <a:gd name="connsiteY3" fmla="*/ 24014 h 24013"/>
                <a:gd name="connsiteX4" fmla="*/ 13656 w 24431"/>
                <a:gd name="connsiteY4" fmla="*/ 10774 h 24013"/>
                <a:gd name="connsiteX5" fmla="*/ 24432 w 24431"/>
                <a:gd name="connsiteY5" fmla="*/ 0 h 24013"/>
                <a:gd name="connsiteX6" fmla="*/ 11725 w 24431"/>
                <a:gd name="connsiteY6" fmla="*/ 0 h 24013"/>
                <a:gd name="connsiteX7" fmla="*/ 35 w 24431"/>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1" h="24013">
                  <a:moveTo>
                    <a:pt x="35" y="11308"/>
                  </a:moveTo>
                  <a:cubicBezTo>
                    <a:pt x="-461" y="17813"/>
                    <a:pt x="4418" y="23493"/>
                    <a:pt x="10924" y="23976"/>
                  </a:cubicBezTo>
                  <a:cubicBezTo>
                    <a:pt x="11191" y="24001"/>
                    <a:pt x="11458" y="24014"/>
                    <a:pt x="11725" y="24014"/>
                  </a:cubicBezTo>
                  <a:lnTo>
                    <a:pt x="24432" y="24014"/>
                  </a:lnTo>
                  <a:cubicBezTo>
                    <a:pt x="17799" y="23328"/>
                    <a:pt x="12983" y="17407"/>
                    <a:pt x="13656" y="10774"/>
                  </a:cubicBezTo>
                  <a:cubicBezTo>
                    <a:pt x="14241" y="5082"/>
                    <a:pt x="18739" y="585"/>
                    <a:pt x="24432" y="0"/>
                  </a:cubicBezTo>
                  <a:lnTo>
                    <a:pt x="11725" y="0"/>
                  </a:lnTo>
                  <a:cubicBezTo>
                    <a:pt x="5435" y="64"/>
                    <a:pt x="301" y="5031"/>
                    <a:pt x="35" y="11308"/>
                  </a:cubicBezTo>
                  <a:close/>
                </a:path>
              </a:pathLst>
            </a:custGeom>
            <a:solidFill>
              <a:srgbClr val="000000"/>
            </a:solidFill>
            <a:ln w="12704"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3EF210F0-CB34-4FB5-BEDF-FC9BBDF003F4}"/>
                </a:ext>
              </a:extLst>
            </p:cNvPr>
            <p:cNvSpPr/>
            <p:nvPr/>
          </p:nvSpPr>
          <p:spPr>
            <a:xfrm>
              <a:off x="9340533" y="2133080"/>
              <a:ext cx="81372" cy="23251"/>
            </a:xfrm>
            <a:custGeom>
              <a:avLst/>
              <a:gdLst>
                <a:gd name="connsiteX0" fmla="*/ 35 w 81372"/>
                <a:gd name="connsiteY0" fmla="*/ 10546 h 23251"/>
                <a:gd name="connsiteX1" fmla="*/ 10924 w 81372"/>
                <a:gd name="connsiteY1" fmla="*/ 23214 h 23251"/>
                <a:gd name="connsiteX2" fmla="*/ 11852 w 81372"/>
                <a:gd name="connsiteY2" fmla="*/ 23252 h 23251"/>
                <a:gd name="connsiteX3" fmla="*/ 69542 w 81372"/>
                <a:gd name="connsiteY3" fmla="*/ 23252 h 23251"/>
                <a:gd name="connsiteX4" fmla="*/ 81372 w 81372"/>
                <a:gd name="connsiteY4" fmla="*/ 11448 h 23251"/>
                <a:gd name="connsiteX5" fmla="*/ 78691 w 81372"/>
                <a:gd name="connsiteY5" fmla="*/ 3939 h 23251"/>
                <a:gd name="connsiteX6" fmla="*/ 77039 w 81372"/>
                <a:gd name="connsiteY6" fmla="*/ 2160 h 23251"/>
                <a:gd name="connsiteX7" fmla="*/ 75260 w 81372"/>
                <a:gd name="connsiteY7" fmla="*/ 890 h 23251"/>
                <a:gd name="connsiteX8" fmla="*/ 73226 w 81372"/>
                <a:gd name="connsiteY8" fmla="*/ 0 h 23251"/>
                <a:gd name="connsiteX9" fmla="*/ 70939 w 81372"/>
                <a:gd name="connsiteY9" fmla="*/ 0 h 23251"/>
                <a:gd name="connsiteX10" fmla="*/ 69542 w 81372"/>
                <a:gd name="connsiteY10" fmla="*/ 0 h 23251"/>
                <a:gd name="connsiteX11" fmla="*/ 11852 w 81372"/>
                <a:gd name="connsiteY11" fmla="*/ 0 h 23251"/>
                <a:gd name="connsiteX12" fmla="*/ 35 w 81372"/>
                <a:gd name="connsiteY12" fmla="*/ 10546 h 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72" h="23251">
                  <a:moveTo>
                    <a:pt x="35" y="10546"/>
                  </a:moveTo>
                  <a:cubicBezTo>
                    <a:pt x="-461" y="17051"/>
                    <a:pt x="4419" y="22731"/>
                    <a:pt x="10924" y="23214"/>
                  </a:cubicBezTo>
                  <a:cubicBezTo>
                    <a:pt x="11242" y="23239"/>
                    <a:pt x="11547" y="23252"/>
                    <a:pt x="11852" y="23252"/>
                  </a:cubicBezTo>
                  <a:lnTo>
                    <a:pt x="69542" y="23252"/>
                  </a:lnTo>
                  <a:cubicBezTo>
                    <a:pt x="76073" y="23264"/>
                    <a:pt x="81359" y="17979"/>
                    <a:pt x="81372" y="11448"/>
                  </a:cubicBezTo>
                  <a:cubicBezTo>
                    <a:pt x="81372" y="8716"/>
                    <a:pt x="80431" y="6061"/>
                    <a:pt x="78691" y="3939"/>
                  </a:cubicBezTo>
                  <a:cubicBezTo>
                    <a:pt x="78208" y="3291"/>
                    <a:pt x="77649" y="2694"/>
                    <a:pt x="77039" y="2160"/>
                  </a:cubicBezTo>
                  <a:cubicBezTo>
                    <a:pt x="76505" y="1665"/>
                    <a:pt x="75895" y="1245"/>
                    <a:pt x="75260" y="890"/>
                  </a:cubicBezTo>
                  <a:lnTo>
                    <a:pt x="73226" y="0"/>
                  </a:lnTo>
                  <a:lnTo>
                    <a:pt x="70939" y="0"/>
                  </a:lnTo>
                  <a:lnTo>
                    <a:pt x="69542" y="0"/>
                  </a:lnTo>
                  <a:lnTo>
                    <a:pt x="11852" y="0"/>
                  </a:lnTo>
                  <a:cubicBezTo>
                    <a:pt x="5791" y="-38"/>
                    <a:pt x="683" y="4523"/>
                    <a:pt x="35" y="10546"/>
                  </a:cubicBezTo>
                  <a:close/>
                </a:path>
              </a:pathLst>
            </a:custGeom>
            <a:solidFill>
              <a:srgbClr val="000000"/>
            </a:solidFill>
            <a:ln w="12704"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289DC86A-D2E7-4330-8DDA-DC0CFD327FE4}"/>
                </a:ext>
              </a:extLst>
            </p:cNvPr>
            <p:cNvSpPr/>
            <p:nvPr/>
          </p:nvSpPr>
          <p:spPr>
            <a:xfrm>
              <a:off x="11236946" y="3391450"/>
              <a:ext cx="23383" cy="13086"/>
            </a:xfrm>
            <a:custGeom>
              <a:avLst/>
              <a:gdLst>
                <a:gd name="connsiteX0" fmla="*/ 11693 w 23383"/>
                <a:gd name="connsiteY0" fmla="*/ 13087 h 13086"/>
                <a:gd name="connsiteX1" fmla="*/ 23383 w 23383"/>
                <a:gd name="connsiteY1" fmla="*/ 1143 h 13086"/>
                <a:gd name="connsiteX2" fmla="*/ 23383 w 23383"/>
                <a:gd name="connsiteY2" fmla="*/ 1143 h 13086"/>
                <a:gd name="connsiteX3" fmla="*/ 23383 w 23383"/>
                <a:gd name="connsiteY3" fmla="*/ 0 h 13086"/>
                <a:gd name="connsiteX4" fmla="*/ 11693 w 23383"/>
                <a:gd name="connsiteY4" fmla="*/ 11689 h 13086"/>
                <a:gd name="connsiteX5" fmla="*/ 3 w 23383"/>
                <a:gd name="connsiteY5" fmla="*/ 0 h 13086"/>
                <a:gd name="connsiteX6" fmla="*/ 3 w 23383"/>
                <a:gd name="connsiteY6" fmla="*/ 1016 h 13086"/>
                <a:gd name="connsiteX7" fmla="*/ 3 w 23383"/>
                <a:gd name="connsiteY7" fmla="*/ 1016 h 13086"/>
                <a:gd name="connsiteX8" fmla="*/ 11566 w 23383"/>
                <a:gd name="connsiteY8" fmla="*/ 13087 h 13086"/>
                <a:gd name="connsiteX9" fmla="*/ 11693 w 23383"/>
                <a:gd name="connsiteY9"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83" h="13086">
                  <a:moveTo>
                    <a:pt x="11693" y="13087"/>
                  </a:moveTo>
                  <a:cubicBezTo>
                    <a:pt x="18224" y="13023"/>
                    <a:pt x="23447" y="7674"/>
                    <a:pt x="23383" y="1143"/>
                  </a:cubicBezTo>
                  <a:cubicBezTo>
                    <a:pt x="23383" y="1143"/>
                    <a:pt x="23383" y="1143"/>
                    <a:pt x="23383" y="1143"/>
                  </a:cubicBezTo>
                  <a:lnTo>
                    <a:pt x="23383" y="0"/>
                  </a:lnTo>
                  <a:cubicBezTo>
                    <a:pt x="23383" y="6454"/>
                    <a:pt x="18148" y="11689"/>
                    <a:pt x="11693" y="11689"/>
                  </a:cubicBezTo>
                  <a:cubicBezTo>
                    <a:pt x="5238" y="11689"/>
                    <a:pt x="3" y="6454"/>
                    <a:pt x="3" y="0"/>
                  </a:cubicBezTo>
                  <a:lnTo>
                    <a:pt x="3" y="1016"/>
                  </a:lnTo>
                  <a:lnTo>
                    <a:pt x="3" y="1016"/>
                  </a:lnTo>
                  <a:cubicBezTo>
                    <a:pt x="-138" y="7547"/>
                    <a:pt x="5035" y="12947"/>
                    <a:pt x="11566" y="13087"/>
                  </a:cubicBezTo>
                  <a:cubicBezTo>
                    <a:pt x="11604" y="13087"/>
                    <a:pt x="11655" y="13087"/>
                    <a:pt x="11693" y="13087"/>
                  </a:cubicBezTo>
                  <a:close/>
                </a:path>
              </a:pathLst>
            </a:custGeom>
            <a:solidFill>
              <a:srgbClr val="000000"/>
            </a:solidFill>
            <a:ln w="12704"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980D40E7-258C-4040-9015-152ECE853E0D}"/>
                </a:ext>
              </a:extLst>
            </p:cNvPr>
            <p:cNvSpPr/>
            <p:nvPr/>
          </p:nvSpPr>
          <p:spPr>
            <a:xfrm>
              <a:off x="9050532" y="2935697"/>
              <a:ext cx="23638" cy="357106"/>
            </a:xfrm>
            <a:custGeom>
              <a:avLst/>
              <a:gdLst>
                <a:gd name="connsiteX0" fmla="*/ 11755 w 23638"/>
                <a:gd name="connsiteY0" fmla="*/ 11943 h 357106"/>
                <a:gd name="connsiteX1" fmla="*/ 64 w 23638"/>
                <a:gd name="connsiteY1" fmla="*/ 0 h 357106"/>
                <a:gd name="connsiteX2" fmla="*/ 64 w 23638"/>
                <a:gd name="connsiteY2" fmla="*/ 0 h 357106"/>
                <a:gd name="connsiteX3" fmla="*/ 64 w 23638"/>
                <a:gd name="connsiteY3" fmla="*/ 0 h 357106"/>
                <a:gd name="connsiteX4" fmla="*/ 64 w 23638"/>
                <a:gd name="connsiteY4" fmla="*/ 344069 h 357106"/>
                <a:gd name="connsiteX5" fmla="*/ 10598 w 23638"/>
                <a:gd name="connsiteY5" fmla="*/ 357042 h 357106"/>
                <a:gd name="connsiteX6" fmla="*/ 23572 w 23638"/>
                <a:gd name="connsiteY6" fmla="*/ 346522 h 357106"/>
                <a:gd name="connsiteX7" fmla="*/ 23572 w 23638"/>
                <a:gd name="connsiteY7" fmla="*/ 344069 h 357106"/>
                <a:gd name="connsiteX8" fmla="*/ 23572 w 23638"/>
                <a:gd name="connsiteY8" fmla="*/ 0 h 357106"/>
                <a:gd name="connsiteX9" fmla="*/ 11755 w 23638"/>
                <a:gd name="connsiteY9" fmla="*/ 11943 h 35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357106">
                  <a:moveTo>
                    <a:pt x="11755" y="11943"/>
                  </a:moveTo>
                  <a:cubicBezTo>
                    <a:pt x="5223" y="11880"/>
                    <a:pt x="-12" y="6531"/>
                    <a:pt x="64" y="0"/>
                  </a:cubicBezTo>
                  <a:cubicBezTo>
                    <a:pt x="64" y="0"/>
                    <a:pt x="64" y="0"/>
                    <a:pt x="64" y="0"/>
                  </a:cubicBezTo>
                  <a:lnTo>
                    <a:pt x="64" y="0"/>
                  </a:lnTo>
                  <a:lnTo>
                    <a:pt x="64" y="344069"/>
                  </a:lnTo>
                  <a:cubicBezTo>
                    <a:pt x="-609" y="350562"/>
                    <a:pt x="4105" y="356369"/>
                    <a:pt x="10598" y="357042"/>
                  </a:cubicBezTo>
                  <a:cubicBezTo>
                    <a:pt x="17091" y="357715"/>
                    <a:pt x="22898" y="353002"/>
                    <a:pt x="23572" y="346522"/>
                  </a:cubicBezTo>
                  <a:cubicBezTo>
                    <a:pt x="23661" y="345708"/>
                    <a:pt x="23661" y="344883"/>
                    <a:pt x="23572" y="344069"/>
                  </a:cubicBezTo>
                  <a:lnTo>
                    <a:pt x="23572" y="0"/>
                  </a:lnTo>
                  <a:cubicBezTo>
                    <a:pt x="23572" y="6543"/>
                    <a:pt x="18298" y="11880"/>
                    <a:pt x="11755" y="11943"/>
                  </a:cubicBezTo>
                  <a:close/>
                </a:path>
              </a:pathLst>
            </a:custGeom>
            <a:solidFill>
              <a:srgbClr val="000000"/>
            </a:solidFill>
            <a:ln w="12704"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1162D5FE-255C-4BA6-97EA-6A01B1559912}"/>
                </a:ext>
              </a:extLst>
            </p:cNvPr>
            <p:cNvSpPr/>
            <p:nvPr/>
          </p:nvSpPr>
          <p:spPr>
            <a:xfrm>
              <a:off x="9050278" y="2921594"/>
              <a:ext cx="23638" cy="27139"/>
            </a:xfrm>
            <a:custGeom>
              <a:avLst/>
              <a:gdLst>
                <a:gd name="connsiteX0" fmla="*/ 64 w 23638"/>
                <a:gd name="connsiteY0" fmla="*/ 14103 h 27139"/>
                <a:gd name="connsiteX1" fmla="*/ 10598 w 23638"/>
                <a:gd name="connsiteY1" fmla="*/ 27076 h 27139"/>
                <a:gd name="connsiteX2" fmla="*/ 23572 w 23638"/>
                <a:gd name="connsiteY2" fmla="*/ 16556 h 27139"/>
                <a:gd name="connsiteX3" fmla="*/ 23572 w 23638"/>
                <a:gd name="connsiteY3" fmla="*/ 14103 h 27139"/>
                <a:gd name="connsiteX4" fmla="*/ 23572 w 23638"/>
                <a:gd name="connsiteY4" fmla="*/ 12071 h 27139"/>
                <a:gd name="connsiteX5" fmla="*/ 11755 w 23638"/>
                <a:gd name="connsiteY5" fmla="*/ 0 h 27139"/>
                <a:gd name="connsiteX6" fmla="*/ 445 w 23638"/>
                <a:gd name="connsiteY6" fmla="*/ 9911 h 27139"/>
                <a:gd name="connsiteX7" fmla="*/ 445 w 23638"/>
                <a:gd name="connsiteY7" fmla="*/ 12071 h 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7139">
                  <a:moveTo>
                    <a:pt x="64" y="14103"/>
                  </a:moveTo>
                  <a:cubicBezTo>
                    <a:pt x="-610" y="20596"/>
                    <a:pt x="4105" y="26402"/>
                    <a:pt x="10598" y="27076"/>
                  </a:cubicBezTo>
                  <a:cubicBezTo>
                    <a:pt x="17091" y="27749"/>
                    <a:pt x="22898" y="23035"/>
                    <a:pt x="23572" y="16556"/>
                  </a:cubicBezTo>
                  <a:cubicBezTo>
                    <a:pt x="23661" y="15742"/>
                    <a:pt x="23661" y="14917"/>
                    <a:pt x="23572" y="14103"/>
                  </a:cubicBezTo>
                  <a:lnTo>
                    <a:pt x="23572" y="12071"/>
                  </a:lnTo>
                  <a:cubicBezTo>
                    <a:pt x="23267" y="5629"/>
                    <a:pt x="18184" y="445"/>
                    <a:pt x="11755" y="0"/>
                  </a:cubicBezTo>
                  <a:cubicBezTo>
                    <a:pt x="6074" y="114"/>
                    <a:pt x="1309" y="4295"/>
                    <a:pt x="445" y="9911"/>
                  </a:cubicBezTo>
                  <a:cubicBezTo>
                    <a:pt x="382" y="10635"/>
                    <a:pt x="382" y="11346"/>
                    <a:pt x="445" y="12071"/>
                  </a:cubicBezTo>
                  <a:close/>
                </a:path>
              </a:pathLst>
            </a:custGeom>
            <a:solidFill>
              <a:srgbClr val="000000"/>
            </a:solidFill>
            <a:ln w="12704"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EB225A94-0DC5-4D2D-9142-2881B43B25F1}"/>
                </a:ext>
              </a:extLst>
            </p:cNvPr>
            <p:cNvSpPr/>
            <p:nvPr/>
          </p:nvSpPr>
          <p:spPr>
            <a:xfrm>
              <a:off x="10813552" y="5619007"/>
              <a:ext cx="29736" cy="24013"/>
            </a:xfrm>
            <a:custGeom>
              <a:avLst/>
              <a:gdLst>
                <a:gd name="connsiteX0" fmla="*/ 3 w 29736"/>
                <a:gd name="connsiteY0" fmla="*/ 11943 h 24013"/>
                <a:gd name="connsiteX1" fmla="*/ 11566 w 29736"/>
                <a:gd name="connsiteY1" fmla="*/ 24014 h 24013"/>
                <a:gd name="connsiteX2" fmla="*/ 11693 w 29736"/>
                <a:gd name="connsiteY2" fmla="*/ 24014 h 24013"/>
                <a:gd name="connsiteX3" fmla="*/ 29737 w 29736"/>
                <a:gd name="connsiteY3" fmla="*/ 24014 h 24013"/>
                <a:gd name="connsiteX4" fmla="*/ 18962 w 29736"/>
                <a:gd name="connsiteY4" fmla="*/ 10774 h 24013"/>
                <a:gd name="connsiteX5" fmla="*/ 29737 w 29736"/>
                <a:gd name="connsiteY5" fmla="*/ 0 h 24013"/>
                <a:gd name="connsiteX6" fmla="*/ 11693 w 29736"/>
                <a:gd name="connsiteY6" fmla="*/ 0 h 24013"/>
                <a:gd name="connsiteX7" fmla="*/ 3 w 29736"/>
                <a:gd name="connsiteY7" fmla="*/ 11943 h 24013"/>
                <a:gd name="connsiteX8" fmla="*/ 3 w 29736"/>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36" h="24013">
                  <a:moveTo>
                    <a:pt x="3" y="11943"/>
                  </a:moveTo>
                  <a:cubicBezTo>
                    <a:pt x="-137" y="18474"/>
                    <a:pt x="5035" y="23874"/>
                    <a:pt x="11566" y="24014"/>
                  </a:cubicBezTo>
                  <a:cubicBezTo>
                    <a:pt x="11604" y="24014"/>
                    <a:pt x="11655" y="24014"/>
                    <a:pt x="11693" y="24014"/>
                  </a:cubicBezTo>
                  <a:lnTo>
                    <a:pt x="29737" y="24014"/>
                  </a:lnTo>
                  <a:cubicBezTo>
                    <a:pt x="23104" y="23328"/>
                    <a:pt x="18288" y="17407"/>
                    <a:pt x="18962" y="10774"/>
                  </a:cubicBezTo>
                  <a:cubicBezTo>
                    <a:pt x="19546" y="5082"/>
                    <a:pt x="24044" y="584"/>
                    <a:pt x="29737" y="0"/>
                  </a:cubicBezTo>
                  <a:lnTo>
                    <a:pt x="11693" y="0"/>
                  </a:lnTo>
                  <a:cubicBezTo>
                    <a:pt x="5162" y="76"/>
                    <a:pt x="-61" y="5413"/>
                    <a:pt x="3" y="11943"/>
                  </a:cubicBezTo>
                  <a:cubicBezTo>
                    <a:pt x="3" y="11943"/>
                    <a:pt x="3" y="11943"/>
                    <a:pt x="3" y="11943"/>
                  </a:cubicBezTo>
                  <a:close/>
                </a:path>
              </a:pathLst>
            </a:custGeom>
            <a:solidFill>
              <a:srgbClr val="000000"/>
            </a:solidFill>
            <a:ln w="12704"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676EB069-E7B8-4E25-A377-8200B316AE18}"/>
                </a:ext>
              </a:extLst>
            </p:cNvPr>
            <p:cNvSpPr/>
            <p:nvPr/>
          </p:nvSpPr>
          <p:spPr>
            <a:xfrm>
              <a:off x="10832450" y="5619261"/>
              <a:ext cx="27394" cy="24013"/>
            </a:xfrm>
            <a:custGeom>
              <a:avLst/>
              <a:gdLst>
                <a:gd name="connsiteX0" fmla="*/ 16556 w 27394"/>
                <a:gd name="connsiteY0" fmla="*/ 0 h 24013"/>
                <a:gd name="connsiteX1" fmla="*/ 10838 w 27394"/>
                <a:gd name="connsiteY1" fmla="*/ 0 h 24013"/>
                <a:gd name="connsiteX2" fmla="*/ 63 w 27394"/>
                <a:gd name="connsiteY2" fmla="*/ 13239 h 24013"/>
                <a:gd name="connsiteX3" fmla="*/ 10838 w 27394"/>
                <a:gd name="connsiteY3" fmla="*/ 24014 h 24013"/>
                <a:gd name="connsiteX4" fmla="*/ 16556 w 27394"/>
                <a:gd name="connsiteY4" fmla="*/ 24014 h 24013"/>
                <a:gd name="connsiteX5" fmla="*/ 27332 w 27394"/>
                <a:gd name="connsiteY5" fmla="*/ 10774 h 24013"/>
                <a:gd name="connsiteX6" fmla="*/ 16556 w 27394"/>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94" h="24013">
                  <a:moveTo>
                    <a:pt x="16556" y="0"/>
                  </a:moveTo>
                  <a:lnTo>
                    <a:pt x="10838" y="0"/>
                  </a:lnTo>
                  <a:cubicBezTo>
                    <a:pt x="4205" y="686"/>
                    <a:pt x="-611" y="6607"/>
                    <a:pt x="63" y="13239"/>
                  </a:cubicBezTo>
                  <a:cubicBezTo>
                    <a:pt x="647" y="18931"/>
                    <a:pt x="5145" y="23429"/>
                    <a:pt x="10838" y="24014"/>
                  </a:cubicBezTo>
                  <a:lnTo>
                    <a:pt x="16556" y="24014"/>
                  </a:lnTo>
                  <a:cubicBezTo>
                    <a:pt x="23190" y="23328"/>
                    <a:pt x="28005" y="17407"/>
                    <a:pt x="27332" y="10774"/>
                  </a:cubicBezTo>
                  <a:cubicBezTo>
                    <a:pt x="26747" y="5082"/>
                    <a:pt x="22249" y="584"/>
                    <a:pt x="16556" y="0"/>
                  </a:cubicBezTo>
                  <a:close/>
                </a:path>
              </a:pathLst>
            </a:custGeom>
            <a:solidFill>
              <a:srgbClr val="000000"/>
            </a:solidFill>
            <a:ln w="12704"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A41B0875-0973-4E96-84D0-7121ACBFEDA4}"/>
                </a:ext>
              </a:extLst>
            </p:cNvPr>
            <p:cNvSpPr/>
            <p:nvPr/>
          </p:nvSpPr>
          <p:spPr>
            <a:xfrm>
              <a:off x="9808563" y="3267188"/>
              <a:ext cx="544238" cy="24013"/>
            </a:xfrm>
            <a:custGeom>
              <a:avLst/>
              <a:gdLst>
                <a:gd name="connsiteX0" fmla="*/ 1 w 544238"/>
                <a:gd name="connsiteY0" fmla="*/ 11943 h 24013"/>
                <a:gd name="connsiteX1" fmla="*/ 763 w 544238"/>
                <a:gd name="connsiteY1" fmla="*/ 16136 h 24013"/>
                <a:gd name="connsiteX2" fmla="*/ 763 w 544238"/>
                <a:gd name="connsiteY2" fmla="*/ 17026 h 24013"/>
                <a:gd name="connsiteX3" fmla="*/ 11310 w 544238"/>
                <a:gd name="connsiteY3" fmla="*/ 24014 h 24013"/>
                <a:gd name="connsiteX4" fmla="*/ 544238 w 544238"/>
                <a:gd name="connsiteY4" fmla="*/ 24014 h 24013"/>
                <a:gd name="connsiteX5" fmla="*/ 533462 w 544238"/>
                <a:gd name="connsiteY5" fmla="*/ 10774 h 24013"/>
                <a:gd name="connsiteX6" fmla="*/ 544238 w 544238"/>
                <a:gd name="connsiteY6" fmla="*/ 0 h 24013"/>
                <a:gd name="connsiteX7" fmla="*/ 11692 w 544238"/>
                <a:gd name="connsiteY7" fmla="*/ 0 h 24013"/>
                <a:gd name="connsiteX8" fmla="*/ 1 w 544238"/>
                <a:gd name="connsiteY8" fmla="*/ 11943 h 24013"/>
                <a:gd name="connsiteX9" fmla="*/ 1 w 544238"/>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238" h="24013">
                  <a:moveTo>
                    <a:pt x="1" y="11943"/>
                  </a:moveTo>
                  <a:cubicBezTo>
                    <a:pt x="-12" y="13379"/>
                    <a:pt x="243" y="14802"/>
                    <a:pt x="763" y="16136"/>
                  </a:cubicBezTo>
                  <a:lnTo>
                    <a:pt x="763" y="17026"/>
                  </a:lnTo>
                  <a:cubicBezTo>
                    <a:pt x="2606" y="21218"/>
                    <a:pt x="6722" y="23950"/>
                    <a:pt x="11310" y="24014"/>
                  </a:cubicBezTo>
                  <a:lnTo>
                    <a:pt x="544238" y="24014"/>
                  </a:lnTo>
                  <a:cubicBezTo>
                    <a:pt x="537606" y="23328"/>
                    <a:pt x="532789" y="17407"/>
                    <a:pt x="533462" y="10774"/>
                  </a:cubicBezTo>
                  <a:cubicBezTo>
                    <a:pt x="534047" y="5082"/>
                    <a:pt x="538546" y="584"/>
                    <a:pt x="544238" y="0"/>
                  </a:cubicBezTo>
                  <a:lnTo>
                    <a:pt x="11692" y="0"/>
                  </a:lnTo>
                  <a:cubicBezTo>
                    <a:pt x="5160" y="63"/>
                    <a:pt x="-63" y="5413"/>
                    <a:pt x="1" y="11943"/>
                  </a:cubicBezTo>
                  <a:cubicBezTo>
                    <a:pt x="1" y="11943"/>
                    <a:pt x="1" y="11943"/>
                    <a:pt x="1" y="11943"/>
                  </a:cubicBezTo>
                  <a:close/>
                </a:path>
              </a:pathLst>
            </a:custGeom>
            <a:solidFill>
              <a:srgbClr val="000000"/>
            </a:solidFill>
            <a:ln w="12704"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37F44265-96E9-4028-86E8-094FDE757470}"/>
                </a:ext>
              </a:extLst>
            </p:cNvPr>
            <p:cNvSpPr/>
            <p:nvPr/>
          </p:nvSpPr>
          <p:spPr>
            <a:xfrm>
              <a:off x="10342344" y="3267188"/>
              <a:ext cx="17318" cy="24013"/>
            </a:xfrm>
            <a:custGeom>
              <a:avLst/>
              <a:gdLst>
                <a:gd name="connsiteX0" fmla="*/ 5628 w 17318"/>
                <a:gd name="connsiteY0" fmla="*/ 11943 h 24013"/>
                <a:gd name="connsiteX1" fmla="*/ 17318 w 17318"/>
                <a:gd name="connsiteY1" fmla="*/ 0 h 24013"/>
                <a:gd name="connsiteX2" fmla="*/ 17318 w 17318"/>
                <a:gd name="connsiteY2" fmla="*/ 0 h 24013"/>
                <a:gd name="connsiteX3" fmla="*/ 10839 w 17318"/>
                <a:gd name="connsiteY3" fmla="*/ 0 h 24013"/>
                <a:gd name="connsiteX4" fmla="*/ 63 w 17318"/>
                <a:gd name="connsiteY4" fmla="*/ 13239 h 24013"/>
                <a:gd name="connsiteX5" fmla="*/ 10839 w 17318"/>
                <a:gd name="connsiteY5" fmla="*/ 24014 h 24013"/>
                <a:gd name="connsiteX6" fmla="*/ 16810 w 17318"/>
                <a:gd name="connsiteY6" fmla="*/ 24014 h 24013"/>
                <a:gd name="connsiteX7" fmla="*/ 5628 w 17318"/>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18" h="24013">
                  <a:moveTo>
                    <a:pt x="5628" y="11943"/>
                  </a:moveTo>
                  <a:cubicBezTo>
                    <a:pt x="5552" y="5413"/>
                    <a:pt x="10787" y="76"/>
                    <a:pt x="17318" y="0"/>
                  </a:cubicBezTo>
                  <a:cubicBezTo>
                    <a:pt x="17318" y="0"/>
                    <a:pt x="17318" y="0"/>
                    <a:pt x="17318" y="0"/>
                  </a:cubicBezTo>
                  <a:lnTo>
                    <a:pt x="10839" y="0"/>
                  </a:lnTo>
                  <a:cubicBezTo>
                    <a:pt x="4205" y="686"/>
                    <a:pt x="-610" y="6607"/>
                    <a:pt x="63" y="13239"/>
                  </a:cubicBezTo>
                  <a:cubicBezTo>
                    <a:pt x="648" y="18931"/>
                    <a:pt x="5145" y="23429"/>
                    <a:pt x="10839" y="24014"/>
                  </a:cubicBezTo>
                  <a:lnTo>
                    <a:pt x="16810" y="24014"/>
                  </a:lnTo>
                  <a:cubicBezTo>
                    <a:pt x="10469" y="23607"/>
                    <a:pt x="5552" y="18296"/>
                    <a:pt x="5628" y="11943"/>
                  </a:cubicBezTo>
                  <a:close/>
                </a:path>
              </a:pathLst>
            </a:custGeom>
            <a:solidFill>
              <a:srgbClr val="000000"/>
            </a:solidFill>
            <a:ln w="12704"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635F3869-BD27-4E73-91C6-B295206C1491}"/>
                </a:ext>
              </a:extLst>
            </p:cNvPr>
            <p:cNvSpPr/>
            <p:nvPr/>
          </p:nvSpPr>
          <p:spPr>
            <a:xfrm>
              <a:off x="10347948" y="3267823"/>
              <a:ext cx="342094" cy="24013"/>
            </a:xfrm>
            <a:custGeom>
              <a:avLst/>
              <a:gdLst>
                <a:gd name="connsiteX0" fmla="*/ 25 w 342094"/>
                <a:gd name="connsiteY0" fmla="*/ 11308 h 24013"/>
                <a:gd name="connsiteX1" fmla="*/ 11181 w 342094"/>
                <a:gd name="connsiteY1" fmla="*/ 23988 h 24013"/>
                <a:gd name="connsiteX2" fmla="*/ 11715 w 342094"/>
                <a:gd name="connsiteY2" fmla="*/ 24014 h 24013"/>
                <a:gd name="connsiteX3" fmla="*/ 342095 w 342094"/>
                <a:gd name="connsiteY3" fmla="*/ 24014 h 24013"/>
                <a:gd name="connsiteX4" fmla="*/ 331320 w 342094"/>
                <a:gd name="connsiteY4" fmla="*/ 10774 h 24013"/>
                <a:gd name="connsiteX5" fmla="*/ 342095 w 342094"/>
                <a:gd name="connsiteY5" fmla="*/ 0 h 24013"/>
                <a:gd name="connsiteX6" fmla="*/ 11207 w 342094"/>
                <a:gd name="connsiteY6" fmla="*/ 0 h 24013"/>
                <a:gd name="connsiteX7" fmla="*/ 25 w 342094"/>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94" h="24013">
                  <a:moveTo>
                    <a:pt x="25" y="11308"/>
                  </a:moveTo>
                  <a:cubicBezTo>
                    <a:pt x="-395" y="17890"/>
                    <a:pt x="4599" y="23569"/>
                    <a:pt x="11181" y="23988"/>
                  </a:cubicBezTo>
                  <a:cubicBezTo>
                    <a:pt x="11360" y="24001"/>
                    <a:pt x="11537" y="24014"/>
                    <a:pt x="11715" y="24014"/>
                  </a:cubicBezTo>
                  <a:lnTo>
                    <a:pt x="342095" y="24014"/>
                  </a:lnTo>
                  <a:cubicBezTo>
                    <a:pt x="335462" y="23328"/>
                    <a:pt x="330646" y="17407"/>
                    <a:pt x="331320" y="10774"/>
                  </a:cubicBezTo>
                  <a:cubicBezTo>
                    <a:pt x="331904" y="5082"/>
                    <a:pt x="336402" y="585"/>
                    <a:pt x="342095" y="0"/>
                  </a:cubicBezTo>
                  <a:lnTo>
                    <a:pt x="11207" y="0"/>
                  </a:lnTo>
                  <a:cubicBezTo>
                    <a:pt x="5120" y="318"/>
                    <a:pt x="279" y="5222"/>
                    <a:pt x="25" y="11308"/>
                  </a:cubicBezTo>
                  <a:close/>
                </a:path>
              </a:pathLst>
            </a:custGeom>
            <a:solidFill>
              <a:srgbClr val="000000"/>
            </a:solidFill>
            <a:ln w="12704"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31EBE420-1123-4B25-8550-8422C6979B0F}"/>
                </a:ext>
              </a:extLst>
            </p:cNvPr>
            <p:cNvSpPr/>
            <p:nvPr/>
          </p:nvSpPr>
          <p:spPr>
            <a:xfrm>
              <a:off x="10678455" y="3267823"/>
              <a:ext cx="167502" cy="24013"/>
            </a:xfrm>
            <a:custGeom>
              <a:avLst/>
              <a:gdLst>
                <a:gd name="connsiteX0" fmla="*/ 25 w 167502"/>
                <a:gd name="connsiteY0" fmla="*/ 11308 h 24013"/>
                <a:gd name="connsiteX1" fmla="*/ 11181 w 167502"/>
                <a:gd name="connsiteY1" fmla="*/ 23988 h 24013"/>
                <a:gd name="connsiteX2" fmla="*/ 11715 w 167502"/>
                <a:gd name="connsiteY2" fmla="*/ 24014 h 24013"/>
                <a:gd name="connsiteX3" fmla="*/ 155812 w 167502"/>
                <a:gd name="connsiteY3" fmla="*/ 24014 h 24013"/>
                <a:gd name="connsiteX4" fmla="*/ 162419 w 167502"/>
                <a:gd name="connsiteY4" fmla="*/ 21600 h 24013"/>
                <a:gd name="connsiteX5" fmla="*/ 167502 w 167502"/>
                <a:gd name="connsiteY5" fmla="*/ 11943 h 24013"/>
                <a:gd name="connsiteX6" fmla="*/ 164071 w 167502"/>
                <a:gd name="connsiteY6" fmla="*/ 3431 h 24013"/>
                <a:gd name="connsiteX7" fmla="*/ 156320 w 167502"/>
                <a:gd name="connsiteY7" fmla="*/ 0 h 24013"/>
                <a:gd name="connsiteX8" fmla="*/ 11715 w 167502"/>
                <a:gd name="connsiteY8" fmla="*/ 0 h 24013"/>
                <a:gd name="connsiteX9" fmla="*/ 25 w 167502"/>
                <a:gd name="connsiteY9"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502" h="24013">
                  <a:moveTo>
                    <a:pt x="25" y="11308"/>
                  </a:moveTo>
                  <a:cubicBezTo>
                    <a:pt x="-395" y="17890"/>
                    <a:pt x="4599" y="23569"/>
                    <a:pt x="11181" y="23988"/>
                  </a:cubicBezTo>
                  <a:cubicBezTo>
                    <a:pt x="11359" y="24001"/>
                    <a:pt x="11537" y="24014"/>
                    <a:pt x="11715" y="24014"/>
                  </a:cubicBezTo>
                  <a:lnTo>
                    <a:pt x="155812" y="24014"/>
                  </a:lnTo>
                  <a:cubicBezTo>
                    <a:pt x="158213" y="23950"/>
                    <a:pt x="160539" y="23099"/>
                    <a:pt x="162419" y="21600"/>
                  </a:cubicBezTo>
                  <a:cubicBezTo>
                    <a:pt x="165609" y="19414"/>
                    <a:pt x="167502" y="15806"/>
                    <a:pt x="167502" y="11943"/>
                  </a:cubicBezTo>
                  <a:cubicBezTo>
                    <a:pt x="167540" y="8767"/>
                    <a:pt x="166307" y="5692"/>
                    <a:pt x="164071" y="3431"/>
                  </a:cubicBezTo>
                  <a:cubicBezTo>
                    <a:pt x="162000" y="1372"/>
                    <a:pt x="159242" y="140"/>
                    <a:pt x="156320" y="0"/>
                  </a:cubicBezTo>
                  <a:lnTo>
                    <a:pt x="11715" y="0"/>
                  </a:lnTo>
                  <a:cubicBezTo>
                    <a:pt x="5425" y="64"/>
                    <a:pt x="291" y="5032"/>
                    <a:pt x="25" y="11308"/>
                  </a:cubicBezTo>
                  <a:close/>
                </a:path>
              </a:pathLst>
            </a:custGeom>
            <a:solidFill>
              <a:srgbClr val="000000"/>
            </a:solidFill>
            <a:ln w="12704"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0A039533-10D2-4169-B316-D787A4B43F50}"/>
                </a:ext>
              </a:extLst>
            </p:cNvPr>
            <p:cNvSpPr/>
            <p:nvPr/>
          </p:nvSpPr>
          <p:spPr>
            <a:xfrm>
              <a:off x="9049198" y="4087847"/>
              <a:ext cx="12834" cy="16898"/>
            </a:xfrm>
            <a:custGeom>
              <a:avLst/>
              <a:gdLst>
                <a:gd name="connsiteX0" fmla="*/ 1144 w 12834"/>
                <a:gd name="connsiteY0" fmla="*/ 11943 h 16898"/>
                <a:gd name="connsiteX1" fmla="*/ 12834 w 12834"/>
                <a:gd name="connsiteY1" fmla="*/ 0 h 16898"/>
                <a:gd name="connsiteX2" fmla="*/ 12834 w 12834"/>
                <a:gd name="connsiteY2" fmla="*/ 0 h 16898"/>
                <a:gd name="connsiteX3" fmla="*/ 11817 w 12834"/>
                <a:gd name="connsiteY3" fmla="*/ 0 h 16898"/>
                <a:gd name="connsiteX4" fmla="*/ 0 w 12834"/>
                <a:gd name="connsiteY4" fmla="*/ 11943 h 16898"/>
                <a:gd name="connsiteX5" fmla="*/ 1144 w 12834"/>
                <a:gd name="connsiteY5" fmla="*/ 16898 h 1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4" h="16898">
                  <a:moveTo>
                    <a:pt x="1144" y="11943"/>
                  </a:moveTo>
                  <a:cubicBezTo>
                    <a:pt x="1067" y="5413"/>
                    <a:pt x="6303" y="76"/>
                    <a:pt x="12834" y="0"/>
                  </a:cubicBezTo>
                  <a:cubicBezTo>
                    <a:pt x="12834" y="0"/>
                    <a:pt x="12834" y="0"/>
                    <a:pt x="12834" y="0"/>
                  </a:cubicBezTo>
                  <a:lnTo>
                    <a:pt x="11817" y="0"/>
                  </a:lnTo>
                  <a:cubicBezTo>
                    <a:pt x="5273" y="64"/>
                    <a:pt x="0" y="5400"/>
                    <a:pt x="0" y="11943"/>
                  </a:cubicBezTo>
                  <a:cubicBezTo>
                    <a:pt x="38" y="13659"/>
                    <a:pt x="432" y="15336"/>
                    <a:pt x="1144" y="16898"/>
                  </a:cubicBezTo>
                  <a:close/>
                </a:path>
              </a:pathLst>
            </a:custGeom>
            <a:solidFill>
              <a:srgbClr val="000000"/>
            </a:solidFill>
            <a:ln w="12704"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C199D9B1-5F4D-4DEE-B60B-E128D4256A26}"/>
                </a:ext>
              </a:extLst>
            </p:cNvPr>
            <p:cNvSpPr/>
            <p:nvPr/>
          </p:nvSpPr>
          <p:spPr>
            <a:xfrm>
              <a:off x="9062287" y="4087847"/>
              <a:ext cx="1797558" cy="24013"/>
            </a:xfrm>
            <a:custGeom>
              <a:avLst/>
              <a:gdLst>
                <a:gd name="connsiteX0" fmla="*/ 11817 w 1797558"/>
                <a:gd name="connsiteY0" fmla="*/ 11943 h 24013"/>
                <a:gd name="connsiteX1" fmla="*/ 11817 w 1797558"/>
                <a:gd name="connsiteY1" fmla="*/ 24014 h 24013"/>
                <a:gd name="connsiteX2" fmla="*/ 1786720 w 1797558"/>
                <a:gd name="connsiteY2" fmla="*/ 24014 h 24013"/>
                <a:gd name="connsiteX3" fmla="*/ 1797496 w 1797558"/>
                <a:gd name="connsiteY3" fmla="*/ 10774 h 24013"/>
                <a:gd name="connsiteX4" fmla="*/ 1786720 w 1797558"/>
                <a:gd name="connsiteY4" fmla="*/ 0 h 24013"/>
                <a:gd name="connsiteX5" fmla="*/ 0 w 1797558"/>
                <a:gd name="connsiteY5" fmla="*/ 0 h 24013"/>
                <a:gd name="connsiteX6" fmla="*/ 11817 w 1797558"/>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7558" h="24013">
                  <a:moveTo>
                    <a:pt x="11817" y="11943"/>
                  </a:moveTo>
                  <a:lnTo>
                    <a:pt x="11817" y="24014"/>
                  </a:lnTo>
                  <a:lnTo>
                    <a:pt x="1786720" y="24014"/>
                  </a:lnTo>
                  <a:cubicBezTo>
                    <a:pt x="1793353" y="23328"/>
                    <a:pt x="1798169" y="17407"/>
                    <a:pt x="1797496" y="10774"/>
                  </a:cubicBezTo>
                  <a:cubicBezTo>
                    <a:pt x="1796911" y="5082"/>
                    <a:pt x="1792413" y="584"/>
                    <a:pt x="1786720" y="0"/>
                  </a:cubicBezTo>
                  <a:lnTo>
                    <a:pt x="0" y="0"/>
                  </a:lnTo>
                  <a:cubicBezTo>
                    <a:pt x="6544" y="64"/>
                    <a:pt x="11817" y="5400"/>
                    <a:pt x="11817" y="11943"/>
                  </a:cubicBezTo>
                  <a:close/>
                </a:path>
              </a:pathLst>
            </a:custGeom>
            <a:solidFill>
              <a:srgbClr val="000000"/>
            </a:solidFill>
            <a:ln w="12704"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7BBE4BAD-5F85-44E1-8BC4-2A1935EF1895}"/>
                </a:ext>
              </a:extLst>
            </p:cNvPr>
            <p:cNvSpPr/>
            <p:nvPr/>
          </p:nvSpPr>
          <p:spPr>
            <a:xfrm>
              <a:off x="9052502" y="5472764"/>
              <a:ext cx="21601" cy="24649"/>
            </a:xfrm>
            <a:custGeom>
              <a:avLst/>
              <a:gdLst>
                <a:gd name="connsiteX0" fmla="*/ 9784 w 21601"/>
                <a:gd name="connsiteY0" fmla="*/ 12325 h 24649"/>
                <a:gd name="connsiteX1" fmla="*/ 1906 w 21601"/>
                <a:gd name="connsiteY1" fmla="*/ 9021 h 24649"/>
                <a:gd name="connsiteX2" fmla="*/ 1906 w 21601"/>
                <a:gd name="connsiteY2" fmla="*/ 12706 h 24649"/>
                <a:gd name="connsiteX3" fmla="*/ 0 w 21601"/>
                <a:gd name="connsiteY3" fmla="*/ 18931 h 24649"/>
                <a:gd name="connsiteX4" fmla="*/ 9784 w 21601"/>
                <a:gd name="connsiteY4" fmla="*/ 24649 h 24649"/>
                <a:gd name="connsiteX5" fmla="*/ 21602 w 21601"/>
                <a:gd name="connsiteY5" fmla="*/ 12706 h 24649"/>
                <a:gd name="connsiteX6" fmla="*/ 21602 w 21601"/>
                <a:gd name="connsiteY6" fmla="*/ 0 h 24649"/>
                <a:gd name="connsiteX7" fmla="*/ 9784 w 21601"/>
                <a:gd name="connsiteY7" fmla="*/ 12325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1" h="24649">
                  <a:moveTo>
                    <a:pt x="9784" y="12325"/>
                  </a:moveTo>
                  <a:cubicBezTo>
                    <a:pt x="6823" y="12312"/>
                    <a:pt x="3990" y="11117"/>
                    <a:pt x="1906" y="9021"/>
                  </a:cubicBezTo>
                  <a:lnTo>
                    <a:pt x="1906" y="12706"/>
                  </a:lnTo>
                  <a:cubicBezTo>
                    <a:pt x="1855" y="14917"/>
                    <a:pt x="1194" y="17076"/>
                    <a:pt x="0" y="18931"/>
                  </a:cubicBezTo>
                  <a:cubicBezTo>
                    <a:pt x="2008" y="22451"/>
                    <a:pt x="5731" y="24636"/>
                    <a:pt x="9784" y="24649"/>
                  </a:cubicBezTo>
                  <a:cubicBezTo>
                    <a:pt x="16328" y="24585"/>
                    <a:pt x="21602" y="19249"/>
                    <a:pt x="21602" y="12706"/>
                  </a:cubicBezTo>
                  <a:lnTo>
                    <a:pt x="21602" y="0"/>
                  </a:lnTo>
                  <a:cubicBezTo>
                    <a:pt x="21424" y="6531"/>
                    <a:pt x="16303" y="11867"/>
                    <a:pt x="9784" y="12325"/>
                  </a:cubicBezTo>
                  <a:close/>
                </a:path>
              </a:pathLst>
            </a:custGeom>
            <a:solidFill>
              <a:srgbClr val="000000"/>
            </a:solidFill>
            <a:ln w="12704"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D1792DB3-CFF3-445C-8D94-130F37BCCC60}"/>
                </a:ext>
              </a:extLst>
            </p:cNvPr>
            <p:cNvSpPr/>
            <p:nvPr/>
          </p:nvSpPr>
          <p:spPr>
            <a:xfrm>
              <a:off x="8154212" y="1829542"/>
              <a:ext cx="87969" cy="24013"/>
            </a:xfrm>
            <a:custGeom>
              <a:avLst/>
              <a:gdLst>
                <a:gd name="connsiteX0" fmla="*/ 76152 w 87969"/>
                <a:gd name="connsiteY0" fmla="*/ 12706 h 24013"/>
                <a:gd name="connsiteX1" fmla="*/ 87309 w 87969"/>
                <a:gd name="connsiteY1" fmla="*/ 25 h 24013"/>
                <a:gd name="connsiteX2" fmla="*/ 87969 w 87969"/>
                <a:gd name="connsiteY2" fmla="*/ 0 h 24013"/>
                <a:gd name="connsiteX3" fmla="*/ 10838 w 87969"/>
                <a:gd name="connsiteY3" fmla="*/ 0 h 24013"/>
                <a:gd name="connsiteX4" fmla="*/ 63 w 87969"/>
                <a:gd name="connsiteY4" fmla="*/ 13239 h 24013"/>
                <a:gd name="connsiteX5" fmla="*/ 10838 w 87969"/>
                <a:gd name="connsiteY5" fmla="*/ 24014 h 24013"/>
                <a:gd name="connsiteX6" fmla="*/ 87969 w 87969"/>
                <a:gd name="connsiteY6" fmla="*/ 24014 h 24013"/>
                <a:gd name="connsiteX7" fmla="*/ 76152 w 87969"/>
                <a:gd name="connsiteY7" fmla="*/ 12706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69" h="24013">
                  <a:moveTo>
                    <a:pt x="76152" y="12706"/>
                  </a:moveTo>
                  <a:cubicBezTo>
                    <a:pt x="75733" y="6124"/>
                    <a:pt x="80726" y="445"/>
                    <a:pt x="87309" y="25"/>
                  </a:cubicBezTo>
                  <a:cubicBezTo>
                    <a:pt x="87525" y="13"/>
                    <a:pt x="87753" y="0"/>
                    <a:pt x="87969" y="0"/>
                  </a:cubicBezTo>
                  <a:lnTo>
                    <a:pt x="10838" y="0"/>
                  </a:lnTo>
                  <a:cubicBezTo>
                    <a:pt x="4206" y="686"/>
                    <a:pt x="-611" y="6607"/>
                    <a:pt x="63" y="13239"/>
                  </a:cubicBezTo>
                  <a:cubicBezTo>
                    <a:pt x="648" y="18931"/>
                    <a:pt x="5146" y="23429"/>
                    <a:pt x="10838" y="24014"/>
                  </a:cubicBezTo>
                  <a:lnTo>
                    <a:pt x="87969" y="24014"/>
                  </a:lnTo>
                  <a:cubicBezTo>
                    <a:pt x="81667" y="23950"/>
                    <a:pt x="76482" y="19008"/>
                    <a:pt x="76152" y="12706"/>
                  </a:cubicBezTo>
                  <a:close/>
                </a:path>
              </a:pathLst>
            </a:custGeom>
            <a:solidFill>
              <a:srgbClr val="000000"/>
            </a:solidFill>
            <a:ln w="12704"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E3EB1D3E-3E78-4159-9C9F-EA3E25145FF8}"/>
                </a:ext>
              </a:extLst>
            </p:cNvPr>
            <p:cNvSpPr/>
            <p:nvPr/>
          </p:nvSpPr>
          <p:spPr>
            <a:xfrm>
              <a:off x="5969609" y="4127616"/>
              <a:ext cx="23638" cy="19947"/>
            </a:xfrm>
            <a:custGeom>
              <a:avLst/>
              <a:gdLst>
                <a:gd name="connsiteX0" fmla="*/ 11757 w 23638"/>
                <a:gd name="connsiteY0" fmla="*/ 19948 h 19947"/>
                <a:gd name="connsiteX1" fmla="*/ 23575 w 23638"/>
                <a:gd name="connsiteY1" fmla="*/ 7877 h 19947"/>
                <a:gd name="connsiteX2" fmla="*/ 23575 w 23638"/>
                <a:gd name="connsiteY2" fmla="*/ 7877 h 19947"/>
                <a:gd name="connsiteX3" fmla="*/ 23575 w 23638"/>
                <a:gd name="connsiteY3" fmla="*/ 0 h 19947"/>
                <a:gd name="connsiteX4" fmla="*/ 13040 w 23638"/>
                <a:gd name="connsiteY4" fmla="*/ 12972 h 19947"/>
                <a:gd name="connsiteX5" fmla="*/ 67 w 23638"/>
                <a:gd name="connsiteY5" fmla="*/ 2452 h 19947"/>
                <a:gd name="connsiteX6" fmla="*/ 67 w 23638"/>
                <a:gd name="connsiteY6" fmla="*/ 0 h 19947"/>
                <a:gd name="connsiteX7" fmla="*/ 67 w 23638"/>
                <a:gd name="connsiteY7" fmla="*/ 7877 h 19947"/>
                <a:gd name="connsiteX8" fmla="*/ 11630 w 23638"/>
                <a:gd name="connsiteY8" fmla="*/ 19948 h 19947"/>
                <a:gd name="connsiteX9" fmla="*/ 11757 w 23638"/>
                <a:gd name="connsiteY9" fmla="*/ 19948 h 1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9947">
                  <a:moveTo>
                    <a:pt x="11757" y="19948"/>
                  </a:moveTo>
                  <a:cubicBezTo>
                    <a:pt x="18352" y="19884"/>
                    <a:pt x="23638" y="14472"/>
                    <a:pt x="23575" y="7877"/>
                  </a:cubicBezTo>
                  <a:cubicBezTo>
                    <a:pt x="23575" y="7877"/>
                    <a:pt x="23575" y="7877"/>
                    <a:pt x="23575" y="7877"/>
                  </a:cubicBezTo>
                  <a:lnTo>
                    <a:pt x="23575" y="0"/>
                  </a:lnTo>
                  <a:cubicBezTo>
                    <a:pt x="24248" y="6492"/>
                    <a:pt x="19534" y="12299"/>
                    <a:pt x="13040" y="12972"/>
                  </a:cubicBezTo>
                  <a:cubicBezTo>
                    <a:pt x="6547" y="13646"/>
                    <a:pt x="740" y="8932"/>
                    <a:pt x="67" y="2452"/>
                  </a:cubicBezTo>
                  <a:cubicBezTo>
                    <a:pt x="-22" y="1639"/>
                    <a:pt x="-22" y="813"/>
                    <a:pt x="67" y="0"/>
                  </a:cubicBezTo>
                  <a:lnTo>
                    <a:pt x="67" y="7877"/>
                  </a:lnTo>
                  <a:cubicBezTo>
                    <a:pt x="-73" y="14408"/>
                    <a:pt x="5099" y="19808"/>
                    <a:pt x="11630" y="19948"/>
                  </a:cubicBezTo>
                  <a:cubicBezTo>
                    <a:pt x="11668" y="19948"/>
                    <a:pt x="11719" y="19948"/>
                    <a:pt x="11757" y="19948"/>
                  </a:cubicBezTo>
                  <a:close/>
                </a:path>
              </a:pathLst>
            </a:custGeom>
            <a:solidFill>
              <a:srgbClr val="000000"/>
            </a:solidFill>
            <a:ln w="12704"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E1E94EAE-E6B6-407A-96D4-8C958A742B2B}"/>
                </a:ext>
              </a:extLst>
            </p:cNvPr>
            <p:cNvSpPr/>
            <p:nvPr/>
          </p:nvSpPr>
          <p:spPr>
            <a:xfrm>
              <a:off x="5969609" y="2315457"/>
              <a:ext cx="23638" cy="1824101"/>
            </a:xfrm>
            <a:custGeom>
              <a:avLst/>
              <a:gdLst>
                <a:gd name="connsiteX0" fmla="*/ 11757 w 23638"/>
                <a:gd name="connsiteY0" fmla="*/ 1824102 h 1824101"/>
                <a:gd name="connsiteX1" fmla="*/ 23575 w 23638"/>
                <a:gd name="connsiteY1" fmla="*/ 1812159 h 1824101"/>
                <a:gd name="connsiteX2" fmla="*/ 23575 w 23638"/>
                <a:gd name="connsiteY2" fmla="*/ 13036 h 1824101"/>
                <a:gd name="connsiteX3" fmla="*/ 13040 w 23638"/>
                <a:gd name="connsiteY3" fmla="*/ 64 h 1824101"/>
                <a:gd name="connsiteX4" fmla="*/ 67 w 23638"/>
                <a:gd name="connsiteY4" fmla="*/ 10584 h 1824101"/>
                <a:gd name="connsiteX5" fmla="*/ 67 w 23638"/>
                <a:gd name="connsiteY5" fmla="*/ 13036 h 1824101"/>
                <a:gd name="connsiteX6" fmla="*/ 67 w 23638"/>
                <a:gd name="connsiteY6" fmla="*/ 1812159 h 1824101"/>
                <a:gd name="connsiteX7" fmla="*/ 11757 w 23638"/>
                <a:gd name="connsiteY7" fmla="*/ 1824102 h 1824101"/>
                <a:gd name="connsiteX8" fmla="*/ 11757 w 23638"/>
                <a:gd name="connsiteY8" fmla="*/ 1824102 h 182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824101">
                  <a:moveTo>
                    <a:pt x="11757" y="1824102"/>
                  </a:moveTo>
                  <a:cubicBezTo>
                    <a:pt x="18301" y="1824038"/>
                    <a:pt x="23575" y="1818702"/>
                    <a:pt x="23575" y="1812159"/>
                  </a:cubicBezTo>
                  <a:lnTo>
                    <a:pt x="23575" y="13036"/>
                  </a:lnTo>
                  <a:cubicBezTo>
                    <a:pt x="24248" y="6544"/>
                    <a:pt x="19534" y="737"/>
                    <a:pt x="13040" y="64"/>
                  </a:cubicBezTo>
                  <a:cubicBezTo>
                    <a:pt x="6547" y="-609"/>
                    <a:pt x="740" y="4104"/>
                    <a:pt x="67" y="10584"/>
                  </a:cubicBezTo>
                  <a:cubicBezTo>
                    <a:pt x="-22" y="11397"/>
                    <a:pt x="-22" y="12223"/>
                    <a:pt x="67" y="13036"/>
                  </a:cubicBezTo>
                  <a:lnTo>
                    <a:pt x="67" y="1812159"/>
                  </a:lnTo>
                  <a:cubicBezTo>
                    <a:pt x="-9" y="1818689"/>
                    <a:pt x="5226" y="1824026"/>
                    <a:pt x="11757" y="1824102"/>
                  </a:cubicBezTo>
                  <a:cubicBezTo>
                    <a:pt x="11757" y="1824102"/>
                    <a:pt x="11757" y="1824102"/>
                    <a:pt x="11757" y="1824102"/>
                  </a:cubicBezTo>
                  <a:close/>
                </a:path>
              </a:pathLst>
            </a:custGeom>
            <a:solidFill>
              <a:srgbClr val="000000"/>
            </a:solidFill>
            <a:ln w="12704"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B14C18FB-30D0-4F27-83A5-7EF328AE2F35}"/>
                </a:ext>
              </a:extLst>
            </p:cNvPr>
            <p:cNvSpPr/>
            <p:nvPr/>
          </p:nvSpPr>
          <p:spPr>
            <a:xfrm>
              <a:off x="11994345" y="3393991"/>
              <a:ext cx="23638" cy="1140537"/>
            </a:xfrm>
            <a:custGeom>
              <a:avLst/>
              <a:gdLst>
                <a:gd name="connsiteX0" fmla="*/ 11754 w 23638"/>
                <a:gd name="connsiteY0" fmla="*/ 12706 h 1140537"/>
                <a:gd name="connsiteX1" fmla="*/ 38 w 23638"/>
                <a:gd name="connsiteY1" fmla="*/ 534 h 1140537"/>
                <a:gd name="connsiteX2" fmla="*/ 64 w 23638"/>
                <a:gd name="connsiteY2" fmla="*/ 0 h 1140537"/>
                <a:gd name="connsiteX3" fmla="*/ 64 w 23638"/>
                <a:gd name="connsiteY3" fmla="*/ 1127501 h 1140537"/>
                <a:gd name="connsiteX4" fmla="*/ 10598 w 23638"/>
                <a:gd name="connsiteY4" fmla="*/ 1140473 h 1140537"/>
                <a:gd name="connsiteX5" fmla="*/ 23571 w 23638"/>
                <a:gd name="connsiteY5" fmla="*/ 1129953 h 1140537"/>
                <a:gd name="connsiteX6" fmla="*/ 23571 w 23638"/>
                <a:gd name="connsiteY6" fmla="*/ 1127501 h 1140537"/>
                <a:gd name="connsiteX7" fmla="*/ 23571 w 23638"/>
                <a:gd name="connsiteY7" fmla="*/ 635 h 1140537"/>
                <a:gd name="connsiteX8" fmla="*/ 11754 w 23638"/>
                <a:gd name="connsiteY8" fmla="*/ 12706 h 114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140537">
                  <a:moveTo>
                    <a:pt x="11754" y="12706"/>
                  </a:moveTo>
                  <a:cubicBezTo>
                    <a:pt x="5159" y="12579"/>
                    <a:pt x="-89" y="7128"/>
                    <a:pt x="38" y="534"/>
                  </a:cubicBezTo>
                  <a:cubicBezTo>
                    <a:pt x="38" y="356"/>
                    <a:pt x="52" y="178"/>
                    <a:pt x="64" y="0"/>
                  </a:cubicBezTo>
                  <a:lnTo>
                    <a:pt x="64" y="1127501"/>
                  </a:lnTo>
                  <a:cubicBezTo>
                    <a:pt x="-609" y="1133993"/>
                    <a:pt x="4105" y="1139800"/>
                    <a:pt x="10598" y="1140473"/>
                  </a:cubicBezTo>
                  <a:cubicBezTo>
                    <a:pt x="17092" y="1141147"/>
                    <a:pt x="22898" y="1136433"/>
                    <a:pt x="23571" y="1129953"/>
                  </a:cubicBezTo>
                  <a:cubicBezTo>
                    <a:pt x="23661" y="1129140"/>
                    <a:pt x="23661" y="1128314"/>
                    <a:pt x="23571" y="1127501"/>
                  </a:cubicBezTo>
                  <a:lnTo>
                    <a:pt x="23571" y="635"/>
                  </a:lnTo>
                  <a:cubicBezTo>
                    <a:pt x="23267" y="7077"/>
                    <a:pt x="18184" y="12261"/>
                    <a:pt x="11754" y="12706"/>
                  </a:cubicBezTo>
                  <a:close/>
                </a:path>
              </a:pathLst>
            </a:custGeom>
            <a:solidFill>
              <a:srgbClr val="000000"/>
            </a:solidFill>
            <a:ln w="12704"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05BBC4AC-3B57-46DE-95A9-27B6D2886D1D}"/>
                </a:ext>
              </a:extLst>
            </p:cNvPr>
            <p:cNvSpPr/>
            <p:nvPr/>
          </p:nvSpPr>
          <p:spPr>
            <a:xfrm>
              <a:off x="6806995" y="3281419"/>
              <a:ext cx="23638" cy="13467"/>
            </a:xfrm>
            <a:custGeom>
              <a:avLst/>
              <a:gdLst>
                <a:gd name="connsiteX0" fmla="*/ 11757 w 23638"/>
                <a:gd name="connsiteY0" fmla="*/ 13468 h 13467"/>
                <a:gd name="connsiteX1" fmla="*/ 23574 w 23638"/>
                <a:gd name="connsiteY1" fmla="*/ 1398 h 13467"/>
                <a:gd name="connsiteX2" fmla="*/ 23574 w 23638"/>
                <a:gd name="connsiteY2" fmla="*/ 0 h 13467"/>
                <a:gd name="connsiteX3" fmla="*/ 13040 w 23638"/>
                <a:gd name="connsiteY3" fmla="*/ 12972 h 13467"/>
                <a:gd name="connsiteX4" fmla="*/ 67 w 23638"/>
                <a:gd name="connsiteY4" fmla="*/ 2452 h 13467"/>
                <a:gd name="connsiteX5" fmla="*/ 67 w 23638"/>
                <a:gd name="connsiteY5" fmla="*/ 0 h 13467"/>
                <a:gd name="connsiteX6" fmla="*/ 67 w 23638"/>
                <a:gd name="connsiteY6" fmla="*/ 2033 h 13467"/>
                <a:gd name="connsiteX7" fmla="*/ 11757 w 23638"/>
                <a:gd name="connsiteY7" fmla="*/ 134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3467">
                  <a:moveTo>
                    <a:pt x="11757" y="13468"/>
                  </a:moveTo>
                  <a:cubicBezTo>
                    <a:pt x="18187" y="13023"/>
                    <a:pt x="23270" y="7839"/>
                    <a:pt x="23574" y="1398"/>
                  </a:cubicBezTo>
                  <a:lnTo>
                    <a:pt x="23574" y="0"/>
                  </a:lnTo>
                  <a:cubicBezTo>
                    <a:pt x="24248" y="6493"/>
                    <a:pt x="19534" y="12299"/>
                    <a:pt x="13040" y="12972"/>
                  </a:cubicBezTo>
                  <a:cubicBezTo>
                    <a:pt x="6547" y="13646"/>
                    <a:pt x="740" y="8932"/>
                    <a:pt x="67" y="2452"/>
                  </a:cubicBezTo>
                  <a:cubicBezTo>
                    <a:pt x="-22" y="1639"/>
                    <a:pt x="-22" y="813"/>
                    <a:pt x="67" y="0"/>
                  </a:cubicBezTo>
                  <a:lnTo>
                    <a:pt x="67" y="2033"/>
                  </a:lnTo>
                  <a:cubicBezTo>
                    <a:pt x="333" y="8335"/>
                    <a:pt x="5454" y="13341"/>
                    <a:pt x="11757" y="13468"/>
                  </a:cubicBezTo>
                  <a:close/>
                </a:path>
              </a:pathLst>
            </a:custGeom>
            <a:solidFill>
              <a:srgbClr val="000000"/>
            </a:solidFill>
            <a:ln w="12704"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727F642C-F956-4A32-A3BD-527E23107E30}"/>
                </a:ext>
              </a:extLst>
            </p:cNvPr>
            <p:cNvSpPr/>
            <p:nvPr/>
          </p:nvSpPr>
          <p:spPr>
            <a:xfrm>
              <a:off x="6806995" y="2045333"/>
              <a:ext cx="23638" cy="1247393"/>
            </a:xfrm>
            <a:custGeom>
              <a:avLst/>
              <a:gdLst>
                <a:gd name="connsiteX0" fmla="*/ 11757 w 23638"/>
                <a:gd name="connsiteY0" fmla="*/ 1247394 h 1247393"/>
                <a:gd name="connsiteX1" fmla="*/ 23574 w 23638"/>
                <a:gd name="connsiteY1" fmla="*/ 1235451 h 1247393"/>
                <a:gd name="connsiteX2" fmla="*/ 23574 w 23638"/>
                <a:gd name="connsiteY2" fmla="*/ 13039 h 1247393"/>
                <a:gd name="connsiteX3" fmla="*/ 13040 w 23638"/>
                <a:gd name="connsiteY3" fmla="*/ 66 h 1247393"/>
                <a:gd name="connsiteX4" fmla="*/ 67 w 23638"/>
                <a:gd name="connsiteY4" fmla="*/ 10586 h 1247393"/>
                <a:gd name="connsiteX5" fmla="*/ 67 w 23638"/>
                <a:gd name="connsiteY5" fmla="*/ 13039 h 1247393"/>
                <a:gd name="connsiteX6" fmla="*/ 67 w 23638"/>
                <a:gd name="connsiteY6" fmla="*/ 1236086 h 1247393"/>
                <a:gd name="connsiteX7" fmla="*/ 11757 w 23638"/>
                <a:gd name="connsiteY7" fmla="*/ 1247394 h 124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247393">
                  <a:moveTo>
                    <a:pt x="11757" y="1247394"/>
                  </a:moveTo>
                  <a:cubicBezTo>
                    <a:pt x="18301" y="1247330"/>
                    <a:pt x="23574" y="1241994"/>
                    <a:pt x="23574" y="1235451"/>
                  </a:cubicBezTo>
                  <a:lnTo>
                    <a:pt x="23574" y="13039"/>
                  </a:lnTo>
                  <a:cubicBezTo>
                    <a:pt x="24248" y="6546"/>
                    <a:pt x="19534" y="740"/>
                    <a:pt x="13040" y="66"/>
                  </a:cubicBezTo>
                  <a:cubicBezTo>
                    <a:pt x="6547" y="-620"/>
                    <a:pt x="740" y="4107"/>
                    <a:pt x="67" y="10586"/>
                  </a:cubicBezTo>
                  <a:cubicBezTo>
                    <a:pt x="-22" y="11400"/>
                    <a:pt x="-22" y="12226"/>
                    <a:pt x="67" y="13039"/>
                  </a:cubicBezTo>
                  <a:lnTo>
                    <a:pt x="67" y="1236086"/>
                  </a:lnTo>
                  <a:cubicBezTo>
                    <a:pt x="333" y="1242363"/>
                    <a:pt x="5467" y="1247330"/>
                    <a:pt x="11757" y="1247394"/>
                  </a:cubicBezTo>
                  <a:close/>
                </a:path>
              </a:pathLst>
            </a:custGeom>
            <a:solidFill>
              <a:srgbClr val="000000"/>
            </a:solidFill>
            <a:ln w="12704"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92364CC7-4569-47D5-95DD-599CBBFD9086}"/>
                </a:ext>
              </a:extLst>
            </p:cNvPr>
            <p:cNvSpPr/>
            <p:nvPr/>
          </p:nvSpPr>
          <p:spPr>
            <a:xfrm>
              <a:off x="8002274" y="3294124"/>
              <a:ext cx="23382" cy="14360"/>
            </a:xfrm>
            <a:custGeom>
              <a:avLst/>
              <a:gdLst>
                <a:gd name="connsiteX0" fmla="*/ 11692 w 23382"/>
                <a:gd name="connsiteY0" fmla="*/ 14357 h 14360"/>
                <a:gd name="connsiteX1" fmla="*/ 23382 w 23382"/>
                <a:gd name="connsiteY1" fmla="*/ 2414 h 14360"/>
                <a:gd name="connsiteX2" fmla="*/ 23382 w 23382"/>
                <a:gd name="connsiteY2" fmla="*/ 2414 h 14360"/>
                <a:gd name="connsiteX3" fmla="*/ 23382 w 23382"/>
                <a:gd name="connsiteY3" fmla="*/ 0 h 14360"/>
                <a:gd name="connsiteX4" fmla="*/ 11692 w 23382"/>
                <a:gd name="connsiteY4" fmla="*/ 11689 h 14360"/>
                <a:gd name="connsiteX5" fmla="*/ 1 w 23382"/>
                <a:gd name="connsiteY5" fmla="*/ 0 h 14360"/>
                <a:gd name="connsiteX6" fmla="*/ 1 w 23382"/>
                <a:gd name="connsiteY6" fmla="*/ 2922 h 14360"/>
                <a:gd name="connsiteX7" fmla="*/ 891 w 23382"/>
                <a:gd name="connsiteY7" fmla="*/ 7369 h 14360"/>
                <a:gd name="connsiteX8" fmla="*/ 11692 w 23382"/>
                <a:gd name="connsiteY8" fmla="*/ 14357 h 1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 h="14360">
                  <a:moveTo>
                    <a:pt x="11692" y="14357"/>
                  </a:moveTo>
                  <a:cubicBezTo>
                    <a:pt x="18223" y="14294"/>
                    <a:pt x="23459" y="8945"/>
                    <a:pt x="23382" y="2414"/>
                  </a:cubicBezTo>
                  <a:cubicBezTo>
                    <a:pt x="23382" y="2414"/>
                    <a:pt x="23382" y="2414"/>
                    <a:pt x="23382" y="2414"/>
                  </a:cubicBezTo>
                  <a:lnTo>
                    <a:pt x="23382" y="0"/>
                  </a:lnTo>
                  <a:cubicBezTo>
                    <a:pt x="23382" y="6454"/>
                    <a:pt x="18147" y="11689"/>
                    <a:pt x="11692" y="11689"/>
                  </a:cubicBezTo>
                  <a:cubicBezTo>
                    <a:pt x="5237" y="11689"/>
                    <a:pt x="1" y="6454"/>
                    <a:pt x="1" y="0"/>
                  </a:cubicBezTo>
                  <a:lnTo>
                    <a:pt x="1" y="2922"/>
                  </a:lnTo>
                  <a:cubicBezTo>
                    <a:pt x="-24" y="4447"/>
                    <a:pt x="281" y="5972"/>
                    <a:pt x="891" y="7369"/>
                  </a:cubicBezTo>
                  <a:cubicBezTo>
                    <a:pt x="2721" y="11689"/>
                    <a:pt x="7003" y="14472"/>
                    <a:pt x="11692" y="14357"/>
                  </a:cubicBezTo>
                  <a:close/>
                </a:path>
              </a:pathLst>
            </a:custGeom>
            <a:solidFill>
              <a:srgbClr val="000000"/>
            </a:solidFill>
            <a:ln w="12704"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D575DEAD-C753-44C2-85D8-E0187828E6E9}"/>
                </a:ext>
              </a:extLst>
            </p:cNvPr>
            <p:cNvSpPr/>
            <p:nvPr/>
          </p:nvSpPr>
          <p:spPr>
            <a:xfrm>
              <a:off x="8003037" y="3267093"/>
              <a:ext cx="22666" cy="38466"/>
            </a:xfrm>
            <a:custGeom>
              <a:avLst/>
              <a:gdLst>
                <a:gd name="connsiteX0" fmla="*/ 10929 w 22666"/>
                <a:gd name="connsiteY0" fmla="*/ 38466 h 38466"/>
                <a:gd name="connsiteX1" fmla="*/ 22619 w 22666"/>
                <a:gd name="connsiteY1" fmla="*/ 26523 h 38466"/>
                <a:gd name="connsiteX2" fmla="*/ 22619 w 22666"/>
                <a:gd name="connsiteY2" fmla="*/ 26523 h 38466"/>
                <a:gd name="connsiteX3" fmla="*/ 22619 w 22666"/>
                <a:gd name="connsiteY3" fmla="*/ 12039 h 38466"/>
                <a:gd name="connsiteX4" fmla="*/ 22619 w 22666"/>
                <a:gd name="connsiteY4" fmla="*/ 9879 h 38466"/>
                <a:gd name="connsiteX5" fmla="*/ 11310 w 22666"/>
                <a:gd name="connsiteY5" fmla="*/ 95 h 38466"/>
                <a:gd name="connsiteX6" fmla="*/ 8895 w 22666"/>
                <a:gd name="connsiteY6" fmla="*/ 95 h 38466"/>
                <a:gd name="connsiteX7" fmla="*/ 6608 w 22666"/>
                <a:gd name="connsiteY7" fmla="*/ 95 h 38466"/>
                <a:gd name="connsiteX8" fmla="*/ 6608 w 22666"/>
                <a:gd name="connsiteY8" fmla="*/ 95 h 38466"/>
                <a:gd name="connsiteX9" fmla="*/ 0 w 22666"/>
                <a:gd name="connsiteY9" fmla="*/ 10895 h 38466"/>
                <a:gd name="connsiteX10" fmla="*/ 0 w 22666"/>
                <a:gd name="connsiteY10" fmla="*/ 27031 h 38466"/>
                <a:gd name="connsiteX11" fmla="*/ 10929 w 22666"/>
                <a:gd name="connsiteY11" fmla="*/ 38466 h 3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66" h="38466">
                  <a:moveTo>
                    <a:pt x="10929" y="38466"/>
                  </a:moveTo>
                  <a:cubicBezTo>
                    <a:pt x="17460" y="38403"/>
                    <a:pt x="22695" y="33054"/>
                    <a:pt x="22619" y="26523"/>
                  </a:cubicBezTo>
                  <a:cubicBezTo>
                    <a:pt x="22619" y="26523"/>
                    <a:pt x="22619" y="26523"/>
                    <a:pt x="22619" y="26523"/>
                  </a:cubicBezTo>
                  <a:lnTo>
                    <a:pt x="22619" y="12039"/>
                  </a:lnTo>
                  <a:cubicBezTo>
                    <a:pt x="22682" y="11314"/>
                    <a:pt x="22682" y="10603"/>
                    <a:pt x="22619" y="9879"/>
                  </a:cubicBezTo>
                  <a:cubicBezTo>
                    <a:pt x="21755" y="4288"/>
                    <a:pt x="16964" y="146"/>
                    <a:pt x="11310" y="95"/>
                  </a:cubicBezTo>
                  <a:cubicBezTo>
                    <a:pt x="10509" y="-32"/>
                    <a:pt x="9696" y="-32"/>
                    <a:pt x="8895" y="95"/>
                  </a:cubicBezTo>
                  <a:cubicBezTo>
                    <a:pt x="8133" y="-32"/>
                    <a:pt x="7371" y="-32"/>
                    <a:pt x="6608" y="95"/>
                  </a:cubicBezTo>
                  <a:lnTo>
                    <a:pt x="6608" y="95"/>
                  </a:lnTo>
                  <a:cubicBezTo>
                    <a:pt x="2517" y="2141"/>
                    <a:pt x="-38" y="6334"/>
                    <a:pt x="0" y="10895"/>
                  </a:cubicBezTo>
                  <a:lnTo>
                    <a:pt x="0" y="27031"/>
                  </a:lnTo>
                  <a:cubicBezTo>
                    <a:pt x="178" y="33079"/>
                    <a:pt x="4893" y="38009"/>
                    <a:pt x="10929" y="38466"/>
                  </a:cubicBezTo>
                  <a:close/>
                </a:path>
              </a:pathLst>
            </a:custGeom>
            <a:solidFill>
              <a:srgbClr val="000000"/>
            </a:solidFill>
            <a:ln w="12704"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51E6C524-1E92-4CDE-B0C9-B710778886C2}"/>
                </a:ext>
              </a:extLst>
            </p:cNvPr>
            <p:cNvSpPr/>
            <p:nvPr/>
          </p:nvSpPr>
          <p:spPr>
            <a:xfrm>
              <a:off x="11939539" y="4622581"/>
              <a:ext cx="93244" cy="77679"/>
            </a:xfrm>
            <a:custGeom>
              <a:avLst/>
              <a:gdLst>
                <a:gd name="connsiteX0" fmla="*/ 74692 w 93244"/>
                <a:gd name="connsiteY0" fmla="*/ 44517 h 77679"/>
                <a:gd name="connsiteX1" fmla="*/ 18528 w 93244"/>
                <a:gd name="connsiteY1" fmla="*/ 2334 h 77679"/>
                <a:gd name="connsiteX2" fmla="*/ 2339 w 93244"/>
                <a:gd name="connsiteY2" fmla="*/ 4609 h 77679"/>
                <a:gd name="connsiteX3" fmla="*/ 2135 w 93244"/>
                <a:gd name="connsiteY3" fmla="*/ 4876 h 77679"/>
                <a:gd name="connsiteX4" fmla="*/ 4677 w 93244"/>
                <a:gd name="connsiteY4" fmla="*/ 21774 h 77679"/>
                <a:gd name="connsiteX5" fmla="*/ 79266 w 93244"/>
                <a:gd name="connsiteY5" fmla="*/ 77679 h 77679"/>
                <a:gd name="connsiteX6" fmla="*/ 76852 w 93244"/>
                <a:gd name="connsiteY6" fmla="*/ 60908 h 77679"/>
                <a:gd name="connsiteX7" fmla="*/ 92978 w 93244"/>
                <a:gd name="connsiteY7" fmla="*/ 58163 h 77679"/>
                <a:gd name="connsiteX8" fmla="*/ 93245 w 93244"/>
                <a:gd name="connsiteY8" fmla="*/ 58367 h 77679"/>
                <a:gd name="connsiteX9" fmla="*/ 84350 w 93244"/>
                <a:gd name="connsiteY9" fmla="*/ 51760 h 7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4" h="77679">
                  <a:moveTo>
                    <a:pt x="74692" y="44517"/>
                  </a:moveTo>
                  <a:lnTo>
                    <a:pt x="18528" y="2334"/>
                  </a:lnTo>
                  <a:cubicBezTo>
                    <a:pt x="13432" y="-1515"/>
                    <a:pt x="6176" y="-499"/>
                    <a:pt x="2339" y="4609"/>
                  </a:cubicBezTo>
                  <a:cubicBezTo>
                    <a:pt x="2263" y="4698"/>
                    <a:pt x="2199" y="4787"/>
                    <a:pt x="2135" y="4876"/>
                  </a:cubicBezTo>
                  <a:cubicBezTo>
                    <a:pt x="-1498" y="10326"/>
                    <a:pt x="-393" y="17632"/>
                    <a:pt x="4677" y="21774"/>
                  </a:cubicBezTo>
                  <a:lnTo>
                    <a:pt x="79266" y="77679"/>
                  </a:lnTo>
                  <a:cubicBezTo>
                    <a:pt x="74311" y="73524"/>
                    <a:pt x="73269" y="66295"/>
                    <a:pt x="76852" y="60908"/>
                  </a:cubicBezTo>
                  <a:cubicBezTo>
                    <a:pt x="80550" y="55698"/>
                    <a:pt x="87768" y="54479"/>
                    <a:pt x="92978" y="58163"/>
                  </a:cubicBezTo>
                  <a:cubicBezTo>
                    <a:pt x="93066" y="58240"/>
                    <a:pt x="93155" y="58303"/>
                    <a:pt x="93245" y="58367"/>
                  </a:cubicBezTo>
                  <a:lnTo>
                    <a:pt x="84350" y="51760"/>
                  </a:lnTo>
                  <a:close/>
                </a:path>
              </a:pathLst>
            </a:custGeom>
            <a:solidFill>
              <a:srgbClr val="000000"/>
            </a:solidFill>
            <a:ln w="12704"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B80F0CC3-3984-444A-AF59-19020CF38468}"/>
                </a:ext>
              </a:extLst>
            </p:cNvPr>
            <p:cNvSpPr/>
            <p:nvPr/>
          </p:nvSpPr>
          <p:spPr>
            <a:xfrm>
              <a:off x="12014266" y="4678613"/>
              <a:ext cx="179641" cy="153150"/>
            </a:xfrm>
            <a:custGeom>
              <a:avLst/>
              <a:gdLst>
                <a:gd name="connsiteX0" fmla="*/ 18518 w 179641"/>
                <a:gd name="connsiteY0" fmla="*/ 2335 h 153150"/>
                <a:gd name="connsiteX1" fmla="*/ 2329 w 179641"/>
                <a:gd name="connsiteY1" fmla="*/ 4609 h 153150"/>
                <a:gd name="connsiteX2" fmla="*/ 2125 w 179641"/>
                <a:gd name="connsiteY2" fmla="*/ 4876 h 153150"/>
                <a:gd name="connsiteX3" fmla="*/ 4540 w 179641"/>
                <a:gd name="connsiteY3" fmla="*/ 21648 h 153150"/>
                <a:gd name="connsiteX4" fmla="*/ 174686 w 179641"/>
                <a:gd name="connsiteY4" fmla="*/ 149466 h 153150"/>
                <a:gd name="connsiteX5" fmla="*/ 179641 w 179641"/>
                <a:gd name="connsiteY5" fmla="*/ 153151 h 153150"/>
                <a:gd name="connsiteX6" fmla="*/ 179641 w 179641"/>
                <a:gd name="connsiteY6" fmla="*/ 123420 h 153150"/>
                <a:gd name="connsiteX7" fmla="*/ 53207 w 179641"/>
                <a:gd name="connsiteY7" fmla="*/ 28508 h 15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641" h="153150">
                  <a:moveTo>
                    <a:pt x="18518" y="2335"/>
                  </a:moveTo>
                  <a:cubicBezTo>
                    <a:pt x="13422" y="-1515"/>
                    <a:pt x="6166" y="-499"/>
                    <a:pt x="2329" y="4609"/>
                  </a:cubicBezTo>
                  <a:cubicBezTo>
                    <a:pt x="2253" y="4698"/>
                    <a:pt x="2189" y="4787"/>
                    <a:pt x="2125" y="4876"/>
                  </a:cubicBezTo>
                  <a:cubicBezTo>
                    <a:pt x="-1458" y="10263"/>
                    <a:pt x="-416" y="17492"/>
                    <a:pt x="4540" y="21648"/>
                  </a:cubicBezTo>
                  <a:lnTo>
                    <a:pt x="174686" y="149466"/>
                  </a:lnTo>
                  <a:lnTo>
                    <a:pt x="179641" y="153151"/>
                  </a:lnTo>
                  <a:lnTo>
                    <a:pt x="179641" y="123420"/>
                  </a:lnTo>
                  <a:lnTo>
                    <a:pt x="53207" y="28508"/>
                  </a:lnTo>
                  <a:close/>
                </a:path>
              </a:pathLst>
            </a:custGeom>
            <a:solidFill>
              <a:srgbClr val="000000"/>
            </a:solidFill>
            <a:ln w="12704"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34EC9874-3227-472C-978E-2E530442B560}"/>
                </a:ext>
              </a:extLst>
            </p:cNvPr>
            <p:cNvSpPr/>
            <p:nvPr/>
          </p:nvSpPr>
          <p:spPr>
            <a:xfrm>
              <a:off x="11061654" y="3955581"/>
              <a:ext cx="23638" cy="644558"/>
            </a:xfrm>
            <a:custGeom>
              <a:avLst/>
              <a:gdLst>
                <a:gd name="connsiteX0" fmla="*/ 11757 w 23638"/>
                <a:gd name="connsiteY0" fmla="*/ 644559 h 644558"/>
                <a:gd name="connsiteX1" fmla="*/ 23575 w 23638"/>
                <a:gd name="connsiteY1" fmla="*/ 632615 h 644558"/>
                <a:gd name="connsiteX2" fmla="*/ 23575 w 23638"/>
                <a:gd name="connsiteY2" fmla="*/ 0 h 644558"/>
                <a:gd name="connsiteX3" fmla="*/ 13040 w 23638"/>
                <a:gd name="connsiteY3" fmla="*/ 12972 h 644558"/>
                <a:gd name="connsiteX4" fmla="*/ 66 w 23638"/>
                <a:gd name="connsiteY4" fmla="*/ 2452 h 644558"/>
                <a:gd name="connsiteX5" fmla="*/ 66 w 23638"/>
                <a:gd name="connsiteY5" fmla="*/ 0 h 644558"/>
                <a:gd name="connsiteX6" fmla="*/ 66 w 23638"/>
                <a:gd name="connsiteY6" fmla="*/ 632615 h 644558"/>
                <a:gd name="connsiteX7" fmla="*/ 11757 w 23638"/>
                <a:gd name="connsiteY7" fmla="*/ 644559 h 644558"/>
                <a:gd name="connsiteX8" fmla="*/ 11757 w 23638"/>
                <a:gd name="connsiteY8" fmla="*/ 644559 h 6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644558">
                  <a:moveTo>
                    <a:pt x="11757" y="644559"/>
                  </a:moveTo>
                  <a:cubicBezTo>
                    <a:pt x="18301" y="644495"/>
                    <a:pt x="23575" y="639158"/>
                    <a:pt x="23575" y="632615"/>
                  </a:cubicBezTo>
                  <a:lnTo>
                    <a:pt x="23575" y="0"/>
                  </a:lnTo>
                  <a:cubicBezTo>
                    <a:pt x="24248" y="6493"/>
                    <a:pt x="19534" y="12299"/>
                    <a:pt x="13040" y="12972"/>
                  </a:cubicBezTo>
                  <a:cubicBezTo>
                    <a:pt x="6547" y="13646"/>
                    <a:pt x="740" y="8932"/>
                    <a:pt x="66" y="2452"/>
                  </a:cubicBezTo>
                  <a:cubicBezTo>
                    <a:pt x="-22" y="1639"/>
                    <a:pt x="-22" y="813"/>
                    <a:pt x="66" y="0"/>
                  </a:cubicBezTo>
                  <a:lnTo>
                    <a:pt x="66" y="632615"/>
                  </a:lnTo>
                  <a:cubicBezTo>
                    <a:pt x="-10" y="639146"/>
                    <a:pt x="5225" y="644482"/>
                    <a:pt x="11757" y="644559"/>
                  </a:cubicBezTo>
                  <a:cubicBezTo>
                    <a:pt x="11757" y="644559"/>
                    <a:pt x="11757" y="644559"/>
                    <a:pt x="11757" y="644559"/>
                  </a:cubicBezTo>
                  <a:close/>
                </a:path>
              </a:pathLst>
            </a:custGeom>
            <a:solidFill>
              <a:srgbClr val="000000"/>
            </a:solidFill>
            <a:ln w="12704"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69A102D9-0C7A-4B25-B20B-A7D9B999D9A4}"/>
                </a:ext>
              </a:extLst>
            </p:cNvPr>
            <p:cNvSpPr/>
            <p:nvPr/>
          </p:nvSpPr>
          <p:spPr>
            <a:xfrm>
              <a:off x="11646964" y="6335860"/>
              <a:ext cx="547070" cy="24013"/>
            </a:xfrm>
            <a:custGeom>
              <a:avLst/>
              <a:gdLst>
                <a:gd name="connsiteX0" fmla="*/ 10839 w 547070"/>
                <a:gd name="connsiteY0" fmla="*/ 0 h 24013"/>
                <a:gd name="connsiteX1" fmla="*/ 63 w 547070"/>
                <a:gd name="connsiteY1" fmla="*/ 13239 h 24013"/>
                <a:gd name="connsiteX2" fmla="*/ 10839 w 547070"/>
                <a:gd name="connsiteY2" fmla="*/ 24014 h 24013"/>
                <a:gd name="connsiteX3" fmla="*/ 547071 w 547070"/>
                <a:gd name="connsiteY3" fmla="*/ 24014 h 24013"/>
                <a:gd name="connsiteX4" fmla="*/ 547071 w 547070"/>
                <a:gd name="connsiteY4" fmla="*/ 0 h 24013"/>
                <a:gd name="connsiteX5" fmla="*/ 10839 w 547070"/>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070" h="24013">
                  <a:moveTo>
                    <a:pt x="10839" y="0"/>
                  </a:moveTo>
                  <a:cubicBezTo>
                    <a:pt x="4205" y="686"/>
                    <a:pt x="-610" y="6607"/>
                    <a:pt x="63" y="13239"/>
                  </a:cubicBezTo>
                  <a:cubicBezTo>
                    <a:pt x="648" y="18932"/>
                    <a:pt x="5146" y="23429"/>
                    <a:pt x="10839" y="24014"/>
                  </a:cubicBezTo>
                  <a:lnTo>
                    <a:pt x="547071" y="24014"/>
                  </a:lnTo>
                  <a:lnTo>
                    <a:pt x="547071" y="0"/>
                  </a:lnTo>
                  <a:lnTo>
                    <a:pt x="10839" y="0"/>
                  </a:lnTo>
                  <a:close/>
                </a:path>
              </a:pathLst>
            </a:custGeom>
            <a:solidFill>
              <a:srgbClr val="000000"/>
            </a:solidFill>
            <a:ln w="12704"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ABCBEF99-E945-467D-A850-3CF6597AD145}"/>
                </a:ext>
              </a:extLst>
            </p:cNvPr>
            <p:cNvSpPr/>
            <p:nvPr/>
          </p:nvSpPr>
          <p:spPr>
            <a:xfrm>
              <a:off x="6621856" y="3281419"/>
              <a:ext cx="23638" cy="13467"/>
            </a:xfrm>
            <a:custGeom>
              <a:avLst/>
              <a:gdLst>
                <a:gd name="connsiteX0" fmla="*/ 11757 w 23638"/>
                <a:gd name="connsiteY0" fmla="*/ 13468 h 13467"/>
                <a:gd name="connsiteX1" fmla="*/ 23574 w 23638"/>
                <a:gd name="connsiteY1" fmla="*/ 1398 h 13467"/>
                <a:gd name="connsiteX2" fmla="*/ 23574 w 23638"/>
                <a:gd name="connsiteY2" fmla="*/ 0 h 13467"/>
                <a:gd name="connsiteX3" fmla="*/ 13041 w 23638"/>
                <a:gd name="connsiteY3" fmla="*/ 12972 h 13467"/>
                <a:gd name="connsiteX4" fmla="*/ 67 w 23638"/>
                <a:gd name="connsiteY4" fmla="*/ 2452 h 13467"/>
                <a:gd name="connsiteX5" fmla="*/ 67 w 23638"/>
                <a:gd name="connsiteY5" fmla="*/ 0 h 13467"/>
                <a:gd name="connsiteX6" fmla="*/ 67 w 23638"/>
                <a:gd name="connsiteY6" fmla="*/ 1525 h 13467"/>
                <a:gd name="connsiteX7" fmla="*/ 11757 w 23638"/>
                <a:gd name="connsiteY7" fmla="*/ 134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3467">
                  <a:moveTo>
                    <a:pt x="11757" y="13468"/>
                  </a:moveTo>
                  <a:cubicBezTo>
                    <a:pt x="18187" y="13023"/>
                    <a:pt x="23270" y="7839"/>
                    <a:pt x="23574" y="1398"/>
                  </a:cubicBezTo>
                  <a:lnTo>
                    <a:pt x="23574" y="0"/>
                  </a:lnTo>
                  <a:cubicBezTo>
                    <a:pt x="24248" y="6493"/>
                    <a:pt x="19534" y="12299"/>
                    <a:pt x="13041" y="12972"/>
                  </a:cubicBezTo>
                  <a:cubicBezTo>
                    <a:pt x="6547" y="13646"/>
                    <a:pt x="740" y="8932"/>
                    <a:pt x="67" y="2452"/>
                  </a:cubicBezTo>
                  <a:cubicBezTo>
                    <a:pt x="-22" y="1639"/>
                    <a:pt x="-22" y="813"/>
                    <a:pt x="67" y="0"/>
                  </a:cubicBezTo>
                  <a:lnTo>
                    <a:pt x="67" y="1525"/>
                  </a:lnTo>
                  <a:cubicBezTo>
                    <a:pt x="67" y="8017"/>
                    <a:pt x="5264" y="13328"/>
                    <a:pt x="11757" y="13468"/>
                  </a:cubicBezTo>
                  <a:close/>
                </a:path>
              </a:pathLst>
            </a:custGeom>
            <a:solidFill>
              <a:srgbClr val="000000"/>
            </a:solidFill>
            <a:ln w="12704"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33AC696B-2A45-4631-889E-B75541D1F24F}"/>
                </a:ext>
              </a:extLst>
            </p:cNvPr>
            <p:cNvSpPr/>
            <p:nvPr/>
          </p:nvSpPr>
          <p:spPr>
            <a:xfrm>
              <a:off x="6621858" y="2349450"/>
              <a:ext cx="23638" cy="945005"/>
            </a:xfrm>
            <a:custGeom>
              <a:avLst/>
              <a:gdLst>
                <a:gd name="connsiteX0" fmla="*/ 64 w 23638"/>
                <a:gd name="connsiteY0" fmla="*/ 12079 h 945005"/>
                <a:gd name="connsiteX1" fmla="*/ 64 w 23638"/>
                <a:gd name="connsiteY1" fmla="*/ 931969 h 945005"/>
                <a:gd name="connsiteX2" fmla="*/ 10598 w 23638"/>
                <a:gd name="connsiteY2" fmla="*/ 944941 h 945005"/>
                <a:gd name="connsiteX3" fmla="*/ 23572 w 23638"/>
                <a:gd name="connsiteY3" fmla="*/ 934421 h 945005"/>
                <a:gd name="connsiteX4" fmla="*/ 23572 w 23638"/>
                <a:gd name="connsiteY4" fmla="*/ 931969 h 945005"/>
                <a:gd name="connsiteX5" fmla="*/ 23572 w 23638"/>
                <a:gd name="connsiteY5" fmla="*/ 12079 h 945005"/>
                <a:gd name="connsiteX6" fmla="*/ 23572 w 23638"/>
                <a:gd name="connsiteY6" fmla="*/ 11189 h 945005"/>
                <a:gd name="connsiteX7" fmla="*/ 23572 w 23638"/>
                <a:gd name="connsiteY7" fmla="*/ 8775 h 945005"/>
                <a:gd name="connsiteX8" fmla="*/ 22809 w 23638"/>
                <a:gd name="connsiteY8" fmla="*/ 6615 h 945005"/>
                <a:gd name="connsiteX9" fmla="*/ 21666 w 23638"/>
                <a:gd name="connsiteY9" fmla="*/ 4836 h 945005"/>
                <a:gd name="connsiteX10" fmla="*/ 20141 w 23638"/>
                <a:gd name="connsiteY10" fmla="*/ 3058 h 945005"/>
                <a:gd name="connsiteX11" fmla="*/ 18362 w 23638"/>
                <a:gd name="connsiteY11" fmla="*/ 1914 h 945005"/>
                <a:gd name="connsiteX12" fmla="*/ 16202 w 23638"/>
                <a:gd name="connsiteY12" fmla="*/ 771 h 945005"/>
                <a:gd name="connsiteX13" fmla="*/ 1563 w 23638"/>
                <a:gd name="connsiteY13" fmla="*/ 7225 h 945005"/>
                <a:gd name="connsiteX14" fmla="*/ 826 w 23638"/>
                <a:gd name="connsiteY14" fmla="*/ 12079 h 9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38" h="945005">
                  <a:moveTo>
                    <a:pt x="64" y="12079"/>
                  </a:moveTo>
                  <a:lnTo>
                    <a:pt x="64" y="931969"/>
                  </a:lnTo>
                  <a:cubicBezTo>
                    <a:pt x="-610" y="938461"/>
                    <a:pt x="4105" y="944268"/>
                    <a:pt x="10598" y="944941"/>
                  </a:cubicBezTo>
                  <a:cubicBezTo>
                    <a:pt x="17091" y="945615"/>
                    <a:pt x="22898" y="940901"/>
                    <a:pt x="23572" y="934421"/>
                  </a:cubicBezTo>
                  <a:cubicBezTo>
                    <a:pt x="23661" y="933608"/>
                    <a:pt x="23661" y="932782"/>
                    <a:pt x="23572" y="931969"/>
                  </a:cubicBezTo>
                  <a:lnTo>
                    <a:pt x="23572" y="12079"/>
                  </a:lnTo>
                  <a:cubicBezTo>
                    <a:pt x="23572" y="12079"/>
                    <a:pt x="23572" y="12079"/>
                    <a:pt x="23572" y="11189"/>
                  </a:cubicBezTo>
                  <a:cubicBezTo>
                    <a:pt x="23648" y="10389"/>
                    <a:pt x="23648" y="9576"/>
                    <a:pt x="23572" y="8775"/>
                  </a:cubicBezTo>
                  <a:cubicBezTo>
                    <a:pt x="23432" y="8026"/>
                    <a:pt x="23178" y="7289"/>
                    <a:pt x="22809" y="6615"/>
                  </a:cubicBezTo>
                  <a:cubicBezTo>
                    <a:pt x="22504" y="5980"/>
                    <a:pt x="22123" y="5383"/>
                    <a:pt x="21666" y="4836"/>
                  </a:cubicBezTo>
                  <a:lnTo>
                    <a:pt x="20141" y="3058"/>
                  </a:lnTo>
                  <a:cubicBezTo>
                    <a:pt x="19607" y="2587"/>
                    <a:pt x="19010" y="2206"/>
                    <a:pt x="18362" y="1914"/>
                  </a:cubicBezTo>
                  <a:cubicBezTo>
                    <a:pt x="17701" y="1431"/>
                    <a:pt x="16977" y="1050"/>
                    <a:pt x="16202" y="771"/>
                  </a:cubicBezTo>
                  <a:cubicBezTo>
                    <a:pt x="10382" y="-1491"/>
                    <a:pt x="3825" y="1393"/>
                    <a:pt x="1563" y="7225"/>
                  </a:cubicBezTo>
                  <a:cubicBezTo>
                    <a:pt x="966" y="8763"/>
                    <a:pt x="712" y="10427"/>
                    <a:pt x="826" y="12079"/>
                  </a:cubicBezTo>
                  <a:close/>
                </a:path>
              </a:pathLst>
            </a:custGeom>
            <a:solidFill>
              <a:srgbClr val="000000"/>
            </a:solidFill>
            <a:ln w="12704"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43C7D442-5E20-4877-8E62-163F4164D057}"/>
                </a:ext>
              </a:extLst>
            </p:cNvPr>
            <p:cNvSpPr/>
            <p:nvPr/>
          </p:nvSpPr>
          <p:spPr>
            <a:xfrm>
              <a:off x="10332433" y="2222147"/>
              <a:ext cx="12998" cy="24013"/>
            </a:xfrm>
            <a:custGeom>
              <a:avLst/>
              <a:gdLst>
                <a:gd name="connsiteX0" fmla="*/ 1308 w 12998"/>
                <a:gd name="connsiteY0" fmla="*/ 11943 h 24013"/>
                <a:gd name="connsiteX1" fmla="*/ 12999 w 12998"/>
                <a:gd name="connsiteY1" fmla="*/ 0 h 24013"/>
                <a:gd name="connsiteX2" fmla="*/ 12999 w 12998"/>
                <a:gd name="connsiteY2" fmla="*/ 0 h 24013"/>
                <a:gd name="connsiteX3" fmla="*/ 10839 w 12998"/>
                <a:gd name="connsiteY3" fmla="*/ 0 h 24013"/>
                <a:gd name="connsiteX4" fmla="*/ 63 w 12998"/>
                <a:gd name="connsiteY4" fmla="*/ 13239 h 24013"/>
                <a:gd name="connsiteX5" fmla="*/ 10839 w 12998"/>
                <a:gd name="connsiteY5" fmla="*/ 24014 h 24013"/>
                <a:gd name="connsiteX6" fmla="*/ 12999 w 12998"/>
                <a:gd name="connsiteY6" fmla="*/ 24014 h 24013"/>
                <a:gd name="connsiteX7" fmla="*/ 1308 w 12998"/>
                <a:gd name="connsiteY7" fmla="*/ 12070 h 24013"/>
                <a:gd name="connsiteX8" fmla="*/ 1308 w 12998"/>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98" h="24013">
                  <a:moveTo>
                    <a:pt x="1308" y="11943"/>
                  </a:moveTo>
                  <a:cubicBezTo>
                    <a:pt x="1232" y="5413"/>
                    <a:pt x="6467" y="76"/>
                    <a:pt x="12999" y="0"/>
                  </a:cubicBezTo>
                  <a:cubicBezTo>
                    <a:pt x="12999" y="0"/>
                    <a:pt x="12999" y="0"/>
                    <a:pt x="12999" y="0"/>
                  </a:cubicBezTo>
                  <a:lnTo>
                    <a:pt x="10839" y="0"/>
                  </a:lnTo>
                  <a:cubicBezTo>
                    <a:pt x="4206" y="686"/>
                    <a:pt x="-610" y="6607"/>
                    <a:pt x="63" y="13239"/>
                  </a:cubicBezTo>
                  <a:cubicBezTo>
                    <a:pt x="648" y="18931"/>
                    <a:pt x="5146" y="23429"/>
                    <a:pt x="10839" y="24014"/>
                  </a:cubicBezTo>
                  <a:lnTo>
                    <a:pt x="12999" y="24014"/>
                  </a:lnTo>
                  <a:cubicBezTo>
                    <a:pt x="6467" y="23950"/>
                    <a:pt x="1232" y="18601"/>
                    <a:pt x="1308" y="12070"/>
                  </a:cubicBezTo>
                  <a:cubicBezTo>
                    <a:pt x="1308" y="12032"/>
                    <a:pt x="1308" y="11981"/>
                    <a:pt x="1308" y="11943"/>
                  </a:cubicBezTo>
                  <a:close/>
                </a:path>
              </a:pathLst>
            </a:custGeom>
            <a:solidFill>
              <a:srgbClr val="000000"/>
            </a:solidFill>
            <a:ln w="12704"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0C759ECE-3D46-43F1-9331-6E41C199F160}"/>
                </a:ext>
              </a:extLst>
            </p:cNvPr>
            <p:cNvSpPr/>
            <p:nvPr/>
          </p:nvSpPr>
          <p:spPr>
            <a:xfrm>
              <a:off x="10334339" y="2223497"/>
              <a:ext cx="29847" cy="24061"/>
            </a:xfrm>
            <a:custGeom>
              <a:avLst/>
              <a:gdLst>
                <a:gd name="connsiteX0" fmla="*/ 21004 w 29847"/>
                <a:gd name="connsiteY0" fmla="*/ 22283 h 24061"/>
                <a:gd name="connsiteX1" fmla="*/ 23291 w 29847"/>
                <a:gd name="connsiteY1" fmla="*/ 22283 h 24061"/>
                <a:gd name="connsiteX2" fmla="*/ 28259 w 29847"/>
                <a:gd name="connsiteY2" fmla="*/ 5015 h 24061"/>
                <a:gd name="connsiteX3" fmla="*/ 23291 w 29847"/>
                <a:gd name="connsiteY3" fmla="*/ 48 h 24061"/>
                <a:gd name="connsiteX4" fmla="*/ 21004 w 29847"/>
                <a:gd name="connsiteY4" fmla="*/ 48 h 24061"/>
                <a:gd name="connsiteX5" fmla="*/ 18844 w 29847"/>
                <a:gd name="connsiteY5" fmla="*/ 48 h 24061"/>
                <a:gd name="connsiteX6" fmla="*/ 10839 w 29847"/>
                <a:gd name="connsiteY6" fmla="*/ 48 h 24061"/>
                <a:gd name="connsiteX7" fmla="*/ 63 w 29847"/>
                <a:gd name="connsiteY7" fmla="*/ 13287 h 24061"/>
                <a:gd name="connsiteX8" fmla="*/ 10839 w 29847"/>
                <a:gd name="connsiteY8" fmla="*/ 24061 h 24061"/>
                <a:gd name="connsiteX9" fmla="*/ 18844 w 29847"/>
                <a:gd name="connsiteY9" fmla="*/ 24061 h 24061"/>
                <a:gd name="connsiteX10" fmla="*/ 21004 w 29847"/>
                <a:gd name="connsiteY10" fmla="*/ 22283 h 2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47" h="24061">
                  <a:moveTo>
                    <a:pt x="21004" y="22283"/>
                  </a:moveTo>
                  <a:lnTo>
                    <a:pt x="23291" y="22283"/>
                  </a:lnTo>
                  <a:cubicBezTo>
                    <a:pt x="29428" y="18890"/>
                    <a:pt x="31652" y="11152"/>
                    <a:pt x="28259" y="5015"/>
                  </a:cubicBezTo>
                  <a:cubicBezTo>
                    <a:pt x="27103" y="2919"/>
                    <a:pt x="25375" y="1204"/>
                    <a:pt x="23291" y="48"/>
                  </a:cubicBezTo>
                  <a:lnTo>
                    <a:pt x="21004" y="48"/>
                  </a:lnTo>
                  <a:cubicBezTo>
                    <a:pt x="20280" y="-16"/>
                    <a:pt x="19568" y="-16"/>
                    <a:pt x="18844" y="48"/>
                  </a:cubicBezTo>
                  <a:lnTo>
                    <a:pt x="10839" y="48"/>
                  </a:lnTo>
                  <a:cubicBezTo>
                    <a:pt x="4205" y="734"/>
                    <a:pt x="-610" y="6654"/>
                    <a:pt x="63" y="13287"/>
                  </a:cubicBezTo>
                  <a:cubicBezTo>
                    <a:pt x="648" y="18979"/>
                    <a:pt x="5146" y="23477"/>
                    <a:pt x="10839" y="24061"/>
                  </a:cubicBezTo>
                  <a:lnTo>
                    <a:pt x="18844" y="24061"/>
                  </a:lnTo>
                  <a:cubicBezTo>
                    <a:pt x="19631" y="23553"/>
                    <a:pt x="20356" y="22956"/>
                    <a:pt x="21004" y="22283"/>
                  </a:cubicBezTo>
                  <a:close/>
                </a:path>
              </a:pathLst>
            </a:custGeom>
            <a:solidFill>
              <a:srgbClr val="000000"/>
            </a:solidFill>
            <a:ln w="12704"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CB6A27B4-3A0F-4494-BE5C-54B4275B9AC3}"/>
                </a:ext>
              </a:extLst>
            </p:cNvPr>
            <p:cNvSpPr/>
            <p:nvPr/>
          </p:nvSpPr>
          <p:spPr>
            <a:xfrm>
              <a:off x="8880286" y="4847900"/>
              <a:ext cx="65859" cy="24013"/>
            </a:xfrm>
            <a:custGeom>
              <a:avLst/>
              <a:gdLst>
                <a:gd name="connsiteX0" fmla="*/ 63826 w 65859"/>
                <a:gd name="connsiteY0" fmla="*/ 24014 h 24013"/>
                <a:gd name="connsiteX1" fmla="*/ 65859 w 65859"/>
                <a:gd name="connsiteY1" fmla="*/ 24014 h 24013"/>
                <a:gd name="connsiteX2" fmla="*/ 55084 w 65859"/>
                <a:gd name="connsiteY2" fmla="*/ 10774 h 24013"/>
                <a:gd name="connsiteX3" fmla="*/ 65859 w 65859"/>
                <a:gd name="connsiteY3" fmla="*/ 0 h 24013"/>
                <a:gd name="connsiteX4" fmla="*/ 10838 w 65859"/>
                <a:gd name="connsiteY4" fmla="*/ 0 h 24013"/>
                <a:gd name="connsiteX5" fmla="*/ 63 w 65859"/>
                <a:gd name="connsiteY5" fmla="*/ 13239 h 24013"/>
                <a:gd name="connsiteX6" fmla="*/ 10838 w 65859"/>
                <a:gd name="connsiteY6" fmla="*/ 24014 h 24013"/>
                <a:gd name="connsiteX7" fmla="*/ 63826 w 65859"/>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59" h="24013">
                  <a:moveTo>
                    <a:pt x="63826" y="24014"/>
                  </a:moveTo>
                  <a:lnTo>
                    <a:pt x="65859" y="24014"/>
                  </a:lnTo>
                  <a:cubicBezTo>
                    <a:pt x="59226" y="23328"/>
                    <a:pt x="54410" y="17407"/>
                    <a:pt x="55084" y="10774"/>
                  </a:cubicBezTo>
                  <a:cubicBezTo>
                    <a:pt x="55668" y="5082"/>
                    <a:pt x="60166" y="584"/>
                    <a:pt x="65859" y="0"/>
                  </a:cubicBezTo>
                  <a:lnTo>
                    <a:pt x="10838" y="0"/>
                  </a:lnTo>
                  <a:cubicBezTo>
                    <a:pt x="4205" y="686"/>
                    <a:pt x="-611" y="6607"/>
                    <a:pt x="63" y="13239"/>
                  </a:cubicBezTo>
                  <a:cubicBezTo>
                    <a:pt x="647" y="18931"/>
                    <a:pt x="5146" y="23429"/>
                    <a:pt x="10838" y="24014"/>
                  </a:cubicBezTo>
                  <a:lnTo>
                    <a:pt x="63826" y="24014"/>
                  </a:lnTo>
                  <a:close/>
                </a:path>
              </a:pathLst>
            </a:custGeom>
            <a:solidFill>
              <a:srgbClr val="000000"/>
            </a:solidFill>
            <a:ln w="12704"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13A59382-61B1-444F-95D2-EE09EB8C5002}"/>
                </a:ext>
              </a:extLst>
            </p:cNvPr>
            <p:cNvSpPr/>
            <p:nvPr/>
          </p:nvSpPr>
          <p:spPr>
            <a:xfrm>
              <a:off x="8934454" y="4848154"/>
              <a:ext cx="106992" cy="23759"/>
            </a:xfrm>
            <a:custGeom>
              <a:avLst/>
              <a:gdLst>
                <a:gd name="connsiteX0" fmla="*/ 1 w 106992"/>
                <a:gd name="connsiteY0" fmla="*/ 11816 h 23759"/>
                <a:gd name="connsiteX1" fmla="*/ 11691 w 106992"/>
                <a:gd name="connsiteY1" fmla="*/ 23760 h 23759"/>
                <a:gd name="connsiteX2" fmla="*/ 11691 w 106992"/>
                <a:gd name="connsiteY2" fmla="*/ 23760 h 23759"/>
                <a:gd name="connsiteX3" fmla="*/ 96446 w 106992"/>
                <a:gd name="connsiteY3" fmla="*/ 23760 h 23759"/>
                <a:gd name="connsiteX4" fmla="*/ 96446 w 106992"/>
                <a:gd name="connsiteY4" fmla="*/ 11816 h 23759"/>
                <a:gd name="connsiteX5" fmla="*/ 106993 w 106992"/>
                <a:gd name="connsiteY5" fmla="*/ 0 h 23759"/>
                <a:gd name="connsiteX6" fmla="*/ 105723 w 106992"/>
                <a:gd name="connsiteY6" fmla="*/ 0 h 23759"/>
                <a:gd name="connsiteX7" fmla="*/ 11691 w 106992"/>
                <a:gd name="connsiteY7" fmla="*/ 0 h 23759"/>
                <a:gd name="connsiteX8" fmla="*/ 1 w 106992"/>
                <a:gd name="connsiteY8" fmla="*/ 11816 h 2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992" h="23759">
                  <a:moveTo>
                    <a:pt x="1" y="11816"/>
                  </a:moveTo>
                  <a:cubicBezTo>
                    <a:pt x="-76" y="18347"/>
                    <a:pt x="5160" y="23684"/>
                    <a:pt x="11691" y="23760"/>
                  </a:cubicBezTo>
                  <a:cubicBezTo>
                    <a:pt x="11691" y="23760"/>
                    <a:pt x="11691" y="23760"/>
                    <a:pt x="11691" y="23760"/>
                  </a:cubicBezTo>
                  <a:lnTo>
                    <a:pt x="96446" y="23760"/>
                  </a:lnTo>
                  <a:lnTo>
                    <a:pt x="96446" y="11816"/>
                  </a:lnTo>
                  <a:cubicBezTo>
                    <a:pt x="96408" y="5756"/>
                    <a:pt x="100970" y="648"/>
                    <a:pt x="106993" y="0"/>
                  </a:cubicBezTo>
                  <a:lnTo>
                    <a:pt x="105723" y="0"/>
                  </a:lnTo>
                  <a:lnTo>
                    <a:pt x="11691" y="0"/>
                  </a:lnTo>
                  <a:cubicBezTo>
                    <a:pt x="5249" y="140"/>
                    <a:pt x="64" y="5362"/>
                    <a:pt x="1" y="11816"/>
                  </a:cubicBezTo>
                  <a:close/>
                </a:path>
              </a:pathLst>
            </a:custGeom>
            <a:solidFill>
              <a:srgbClr val="000000"/>
            </a:solidFill>
            <a:ln w="12704"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F391F2E0-537B-4C69-8056-3B96C5734BB1}"/>
                </a:ext>
              </a:extLst>
            </p:cNvPr>
            <p:cNvSpPr/>
            <p:nvPr/>
          </p:nvSpPr>
          <p:spPr>
            <a:xfrm>
              <a:off x="9090432" y="2545870"/>
              <a:ext cx="23667" cy="135587"/>
            </a:xfrm>
            <a:custGeom>
              <a:avLst/>
              <a:gdLst>
                <a:gd name="connsiteX0" fmla="*/ 64 w 23667"/>
                <a:gd name="connsiteY0" fmla="*/ 11961 h 135587"/>
                <a:gd name="connsiteX1" fmla="*/ 64 w 23667"/>
                <a:gd name="connsiteY1" fmla="*/ 135587 h 135587"/>
                <a:gd name="connsiteX2" fmla="*/ 10598 w 23667"/>
                <a:gd name="connsiteY2" fmla="*/ 122615 h 135587"/>
                <a:gd name="connsiteX3" fmla="*/ 23572 w 23667"/>
                <a:gd name="connsiteY3" fmla="*/ 133135 h 135587"/>
                <a:gd name="connsiteX4" fmla="*/ 23572 w 23667"/>
                <a:gd name="connsiteY4" fmla="*/ 135587 h 135587"/>
                <a:gd name="connsiteX5" fmla="*/ 23572 w 23667"/>
                <a:gd name="connsiteY5" fmla="*/ 11961 h 135587"/>
                <a:gd name="connsiteX6" fmla="*/ 23572 w 23667"/>
                <a:gd name="connsiteY6" fmla="*/ 10945 h 135587"/>
                <a:gd name="connsiteX7" fmla="*/ 23572 w 23667"/>
                <a:gd name="connsiteY7" fmla="*/ 8530 h 135587"/>
                <a:gd name="connsiteX8" fmla="*/ 22810 w 23667"/>
                <a:gd name="connsiteY8" fmla="*/ 6371 h 135587"/>
                <a:gd name="connsiteX9" fmla="*/ 21539 w 23667"/>
                <a:gd name="connsiteY9" fmla="*/ 4592 h 135587"/>
                <a:gd name="connsiteX10" fmla="*/ 19887 w 23667"/>
                <a:gd name="connsiteY10" fmla="*/ 2813 h 135587"/>
                <a:gd name="connsiteX11" fmla="*/ 12644 w 23667"/>
                <a:gd name="connsiteY11" fmla="*/ 18 h 135587"/>
                <a:gd name="connsiteX12" fmla="*/ 77 w 23667"/>
                <a:gd name="connsiteY12" fmla="*/ 11313 h 135587"/>
                <a:gd name="connsiteX13" fmla="*/ 64 w 23667"/>
                <a:gd name="connsiteY13" fmla="*/ 11961 h 13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67" h="135587">
                  <a:moveTo>
                    <a:pt x="64" y="11961"/>
                  </a:moveTo>
                  <a:lnTo>
                    <a:pt x="64" y="135587"/>
                  </a:lnTo>
                  <a:cubicBezTo>
                    <a:pt x="-610" y="129094"/>
                    <a:pt x="4105" y="123288"/>
                    <a:pt x="10598" y="122615"/>
                  </a:cubicBezTo>
                  <a:cubicBezTo>
                    <a:pt x="17091" y="121941"/>
                    <a:pt x="22898" y="126655"/>
                    <a:pt x="23572" y="133135"/>
                  </a:cubicBezTo>
                  <a:cubicBezTo>
                    <a:pt x="23661" y="133948"/>
                    <a:pt x="23661" y="134774"/>
                    <a:pt x="23572" y="135587"/>
                  </a:cubicBezTo>
                  <a:lnTo>
                    <a:pt x="23572" y="11961"/>
                  </a:lnTo>
                  <a:cubicBezTo>
                    <a:pt x="23623" y="11631"/>
                    <a:pt x="23623" y="11275"/>
                    <a:pt x="23572" y="10945"/>
                  </a:cubicBezTo>
                  <a:cubicBezTo>
                    <a:pt x="23699" y="10144"/>
                    <a:pt x="23699" y="9331"/>
                    <a:pt x="23572" y="8530"/>
                  </a:cubicBezTo>
                  <a:cubicBezTo>
                    <a:pt x="23432" y="7781"/>
                    <a:pt x="23178" y="7044"/>
                    <a:pt x="22810" y="6371"/>
                  </a:cubicBezTo>
                  <a:cubicBezTo>
                    <a:pt x="22454" y="5723"/>
                    <a:pt x="22034" y="5125"/>
                    <a:pt x="21539" y="4592"/>
                  </a:cubicBezTo>
                  <a:cubicBezTo>
                    <a:pt x="21056" y="3944"/>
                    <a:pt x="20497" y="3346"/>
                    <a:pt x="19887" y="2813"/>
                  </a:cubicBezTo>
                  <a:cubicBezTo>
                    <a:pt x="17866" y="1060"/>
                    <a:pt x="15312" y="81"/>
                    <a:pt x="12644" y="18"/>
                  </a:cubicBezTo>
                  <a:cubicBezTo>
                    <a:pt x="6062" y="-338"/>
                    <a:pt x="432" y="4719"/>
                    <a:pt x="77" y="11313"/>
                  </a:cubicBezTo>
                  <a:cubicBezTo>
                    <a:pt x="64" y="11529"/>
                    <a:pt x="64" y="11745"/>
                    <a:pt x="64" y="11961"/>
                  </a:cubicBezTo>
                  <a:close/>
                </a:path>
              </a:pathLst>
            </a:custGeom>
            <a:solidFill>
              <a:srgbClr val="000000"/>
            </a:solidFill>
            <a:ln w="12704"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F27ACA5B-2FF2-40D9-8FE9-B3F64B3002FD}"/>
                </a:ext>
              </a:extLst>
            </p:cNvPr>
            <p:cNvSpPr/>
            <p:nvPr/>
          </p:nvSpPr>
          <p:spPr>
            <a:xfrm>
              <a:off x="8609980" y="761169"/>
              <a:ext cx="23638" cy="1081714"/>
            </a:xfrm>
            <a:custGeom>
              <a:avLst/>
              <a:gdLst>
                <a:gd name="connsiteX0" fmla="*/ 11757 w 23638"/>
                <a:gd name="connsiteY0" fmla="*/ 1069009 h 1081714"/>
                <a:gd name="connsiteX1" fmla="*/ 23600 w 23638"/>
                <a:gd name="connsiteY1" fmla="*/ 1081054 h 1081714"/>
                <a:gd name="connsiteX2" fmla="*/ 23575 w 23638"/>
                <a:gd name="connsiteY2" fmla="*/ 1081714 h 1081714"/>
                <a:gd name="connsiteX3" fmla="*/ 23575 w 23638"/>
                <a:gd name="connsiteY3" fmla="*/ 13041 h 1081714"/>
                <a:gd name="connsiteX4" fmla="*/ 13041 w 23638"/>
                <a:gd name="connsiteY4" fmla="*/ 64 h 1081714"/>
                <a:gd name="connsiteX5" fmla="*/ 67 w 23638"/>
                <a:gd name="connsiteY5" fmla="*/ 10594 h 1081714"/>
                <a:gd name="connsiteX6" fmla="*/ 67 w 23638"/>
                <a:gd name="connsiteY6" fmla="*/ 13041 h 1081714"/>
                <a:gd name="connsiteX7" fmla="*/ 67 w 23638"/>
                <a:gd name="connsiteY7" fmla="*/ 1081079 h 1081714"/>
                <a:gd name="connsiteX8" fmla="*/ 11630 w 23638"/>
                <a:gd name="connsiteY8" fmla="*/ 1069009 h 1081714"/>
                <a:gd name="connsiteX9" fmla="*/ 11757 w 23638"/>
                <a:gd name="connsiteY9" fmla="*/ 1069009 h 10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081714">
                  <a:moveTo>
                    <a:pt x="11757" y="1069009"/>
                  </a:moveTo>
                  <a:cubicBezTo>
                    <a:pt x="18352" y="1069059"/>
                    <a:pt x="23651" y="1074459"/>
                    <a:pt x="23600" y="1081054"/>
                  </a:cubicBezTo>
                  <a:cubicBezTo>
                    <a:pt x="23600" y="1081270"/>
                    <a:pt x="23587" y="1081498"/>
                    <a:pt x="23575" y="1081714"/>
                  </a:cubicBezTo>
                  <a:lnTo>
                    <a:pt x="23575" y="13041"/>
                  </a:lnTo>
                  <a:cubicBezTo>
                    <a:pt x="24248" y="6549"/>
                    <a:pt x="19534" y="740"/>
                    <a:pt x="13041" y="64"/>
                  </a:cubicBezTo>
                  <a:cubicBezTo>
                    <a:pt x="6547" y="-611"/>
                    <a:pt x="740" y="4102"/>
                    <a:pt x="67" y="10594"/>
                  </a:cubicBezTo>
                  <a:cubicBezTo>
                    <a:pt x="-22" y="11407"/>
                    <a:pt x="-22" y="12228"/>
                    <a:pt x="67" y="13041"/>
                  </a:cubicBezTo>
                  <a:lnTo>
                    <a:pt x="67" y="1081079"/>
                  </a:lnTo>
                  <a:cubicBezTo>
                    <a:pt x="-73" y="1074548"/>
                    <a:pt x="5099" y="1069148"/>
                    <a:pt x="11630" y="1069009"/>
                  </a:cubicBezTo>
                  <a:cubicBezTo>
                    <a:pt x="11668" y="1069009"/>
                    <a:pt x="11719" y="1069009"/>
                    <a:pt x="11757" y="1069009"/>
                  </a:cubicBezTo>
                  <a:close/>
                </a:path>
              </a:pathLst>
            </a:custGeom>
            <a:solidFill>
              <a:srgbClr val="000000"/>
            </a:solidFill>
            <a:ln w="12704"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51751CEA-97E6-4E1B-B512-54762AA18EB3}"/>
                </a:ext>
              </a:extLst>
            </p:cNvPr>
            <p:cNvSpPr/>
            <p:nvPr/>
          </p:nvSpPr>
          <p:spPr>
            <a:xfrm>
              <a:off x="8609980" y="1829211"/>
              <a:ext cx="23641" cy="327451"/>
            </a:xfrm>
            <a:custGeom>
              <a:avLst/>
              <a:gdLst>
                <a:gd name="connsiteX0" fmla="*/ 67 w 23641"/>
                <a:gd name="connsiteY0" fmla="*/ 314415 h 327451"/>
                <a:gd name="connsiteX1" fmla="*/ 10601 w 23641"/>
                <a:gd name="connsiteY1" fmla="*/ 327387 h 327451"/>
                <a:gd name="connsiteX2" fmla="*/ 23575 w 23641"/>
                <a:gd name="connsiteY2" fmla="*/ 316867 h 327451"/>
                <a:gd name="connsiteX3" fmla="*/ 23575 w 23641"/>
                <a:gd name="connsiteY3" fmla="*/ 314415 h 327451"/>
                <a:gd name="connsiteX4" fmla="*/ 23575 w 23641"/>
                <a:gd name="connsiteY4" fmla="*/ 13037 h 327451"/>
                <a:gd name="connsiteX5" fmla="*/ 13041 w 23641"/>
                <a:gd name="connsiteY5" fmla="*/ 64 h 327451"/>
                <a:gd name="connsiteX6" fmla="*/ 67 w 23641"/>
                <a:gd name="connsiteY6" fmla="*/ 10584 h 327451"/>
                <a:gd name="connsiteX7" fmla="*/ 67 w 23641"/>
                <a:gd name="connsiteY7" fmla="*/ 13037 h 327451"/>
                <a:gd name="connsiteX8" fmla="*/ 67 w 23641"/>
                <a:gd name="connsiteY8" fmla="*/ 314415 h 3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327451">
                  <a:moveTo>
                    <a:pt x="67" y="314415"/>
                  </a:moveTo>
                  <a:cubicBezTo>
                    <a:pt x="-607" y="320907"/>
                    <a:pt x="4108" y="326714"/>
                    <a:pt x="10601" y="327387"/>
                  </a:cubicBezTo>
                  <a:cubicBezTo>
                    <a:pt x="17094" y="328061"/>
                    <a:pt x="22901" y="323347"/>
                    <a:pt x="23575" y="316867"/>
                  </a:cubicBezTo>
                  <a:cubicBezTo>
                    <a:pt x="23664" y="316054"/>
                    <a:pt x="23664" y="315228"/>
                    <a:pt x="23575" y="314415"/>
                  </a:cubicBezTo>
                  <a:lnTo>
                    <a:pt x="23575" y="13037"/>
                  </a:lnTo>
                  <a:cubicBezTo>
                    <a:pt x="24248" y="6544"/>
                    <a:pt x="19534" y="737"/>
                    <a:pt x="13041" y="64"/>
                  </a:cubicBezTo>
                  <a:cubicBezTo>
                    <a:pt x="6547" y="-609"/>
                    <a:pt x="740" y="4104"/>
                    <a:pt x="67" y="10584"/>
                  </a:cubicBezTo>
                  <a:cubicBezTo>
                    <a:pt x="-22" y="11397"/>
                    <a:pt x="-22" y="12223"/>
                    <a:pt x="67" y="13037"/>
                  </a:cubicBezTo>
                  <a:lnTo>
                    <a:pt x="67" y="314415"/>
                  </a:lnTo>
                  <a:close/>
                </a:path>
              </a:pathLst>
            </a:custGeom>
            <a:solidFill>
              <a:srgbClr val="000000"/>
            </a:solidFill>
            <a:ln w="12704"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5D51F598-3E22-4270-AEDB-3EBBE0CEFB56}"/>
                </a:ext>
              </a:extLst>
            </p:cNvPr>
            <p:cNvSpPr/>
            <p:nvPr/>
          </p:nvSpPr>
          <p:spPr>
            <a:xfrm>
              <a:off x="11236925" y="3389163"/>
              <a:ext cx="23432" cy="14357"/>
            </a:xfrm>
            <a:custGeom>
              <a:avLst/>
              <a:gdLst>
                <a:gd name="connsiteX0" fmla="*/ 11715 w 23432"/>
                <a:gd name="connsiteY0" fmla="*/ 14357 h 14357"/>
                <a:gd name="connsiteX1" fmla="*/ 23431 w 23432"/>
                <a:gd name="connsiteY1" fmla="*/ 2185 h 14357"/>
                <a:gd name="connsiteX2" fmla="*/ 23405 w 23432"/>
                <a:gd name="connsiteY2" fmla="*/ 1652 h 14357"/>
                <a:gd name="connsiteX3" fmla="*/ 23405 w 23432"/>
                <a:gd name="connsiteY3" fmla="*/ 0 h 14357"/>
                <a:gd name="connsiteX4" fmla="*/ 11715 w 23432"/>
                <a:gd name="connsiteY4" fmla="*/ 11689 h 14357"/>
                <a:gd name="connsiteX5" fmla="*/ 25 w 23432"/>
                <a:gd name="connsiteY5" fmla="*/ 0 h 14357"/>
                <a:gd name="connsiteX6" fmla="*/ 25 w 23432"/>
                <a:gd name="connsiteY6" fmla="*/ 1652 h 14357"/>
                <a:gd name="connsiteX7" fmla="*/ 11181 w 23432"/>
                <a:gd name="connsiteY7" fmla="*/ 14332 h 14357"/>
                <a:gd name="connsiteX8" fmla="*/ 11715 w 23432"/>
                <a:gd name="connsiteY8" fmla="*/ 14357 h 1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32" h="14357">
                  <a:moveTo>
                    <a:pt x="11715" y="14357"/>
                  </a:moveTo>
                  <a:cubicBezTo>
                    <a:pt x="18309" y="14230"/>
                    <a:pt x="23558" y="8780"/>
                    <a:pt x="23431" y="2185"/>
                  </a:cubicBezTo>
                  <a:cubicBezTo>
                    <a:pt x="23431" y="2008"/>
                    <a:pt x="23418" y="1830"/>
                    <a:pt x="23405" y="1652"/>
                  </a:cubicBezTo>
                  <a:lnTo>
                    <a:pt x="23405" y="0"/>
                  </a:lnTo>
                  <a:cubicBezTo>
                    <a:pt x="23405" y="6455"/>
                    <a:pt x="18170" y="11689"/>
                    <a:pt x="11715" y="11689"/>
                  </a:cubicBezTo>
                  <a:cubicBezTo>
                    <a:pt x="5260" y="11689"/>
                    <a:pt x="25" y="6455"/>
                    <a:pt x="25" y="0"/>
                  </a:cubicBezTo>
                  <a:lnTo>
                    <a:pt x="25" y="1652"/>
                  </a:lnTo>
                  <a:cubicBezTo>
                    <a:pt x="-395" y="8233"/>
                    <a:pt x="4599" y="13913"/>
                    <a:pt x="11181" y="14332"/>
                  </a:cubicBezTo>
                  <a:cubicBezTo>
                    <a:pt x="11359" y="14345"/>
                    <a:pt x="11537" y="14357"/>
                    <a:pt x="11715" y="14357"/>
                  </a:cubicBezTo>
                  <a:close/>
                </a:path>
              </a:pathLst>
            </a:custGeom>
            <a:solidFill>
              <a:srgbClr val="000000"/>
            </a:solidFill>
            <a:ln w="12704" cap="flat">
              <a:no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E5604A8B-1884-4CAB-9EF3-A025C896DFF4}"/>
                </a:ext>
              </a:extLst>
            </p:cNvPr>
            <p:cNvSpPr/>
            <p:nvPr/>
          </p:nvSpPr>
          <p:spPr>
            <a:xfrm>
              <a:off x="8610023" y="2722751"/>
              <a:ext cx="459506" cy="24013"/>
            </a:xfrm>
            <a:custGeom>
              <a:avLst/>
              <a:gdLst>
                <a:gd name="connsiteX0" fmla="*/ 25 w 459506"/>
                <a:gd name="connsiteY0" fmla="*/ 11308 h 24013"/>
                <a:gd name="connsiteX1" fmla="*/ 11181 w 459506"/>
                <a:gd name="connsiteY1" fmla="*/ 23988 h 24013"/>
                <a:gd name="connsiteX2" fmla="*/ 11715 w 459506"/>
                <a:gd name="connsiteY2" fmla="*/ 24014 h 24013"/>
                <a:gd name="connsiteX3" fmla="*/ 459507 w 459506"/>
                <a:gd name="connsiteY3" fmla="*/ 24014 h 24013"/>
                <a:gd name="connsiteX4" fmla="*/ 448731 w 459506"/>
                <a:gd name="connsiteY4" fmla="*/ 10774 h 24013"/>
                <a:gd name="connsiteX5" fmla="*/ 459507 w 459506"/>
                <a:gd name="connsiteY5" fmla="*/ 0 h 24013"/>
                <a:gd name="connsiteX6" fmla="*/ 11715 w 459506"/>
                <a:gd name="connsiteY6" fmla="*/ 0 h 24013"/>
                <a:gd name="connsiteX7" fmla="*/ 25 w 459506"/>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506" h="24013">
                  <a:moveTo>
                    <a:pt x="25" y="11308"/>
                  </a:moveTo>
                  <a:cubicBezTo>
                    <a:pt x="-395" y="17890"/>
                    <a:pt x="4599" y="23569"/>
                    <a:pt x="11181" y="23988"/>
                  </a:cubicBezTo>
                  <a:cubicBezTo>
                    <a:pt x="11359" y="24001"/>
                    <a:pt x="11537" y="24014"/>
                    <a:pt x="11715" y="24014"/>
                  </a:cubicBezTo>
                  <a:lnTo>
                    <a:pt x="459507" y="24014"/>
                  </a:lnTo>
                  <a:cubicBezTo>
                    <a:pt x="452874" y="23328"/>
                    <a:pt x="448058" y="17407"/>
                    <a:pt x="448731" y="10774"/>
                  </a:cubicBezTo>
                  <a:cubicBezTo>
                    <a:pt x="449316" y="5082"/>
                    <a:pt x="453814" y="585"/>
                    <a:pt x="459507" y="0"/>
                  </a:cubicBezTo>
                  <a:lnTo>
                    <a:pt x="11715" y="0"/>
                  </a:lnTo>
                  <a:cubicBezTo>
                    <a:pt x="5425" y="64"/>
                    <a:pt x="291" y="5031"/>
                    <a:pt x="25" y="11308"/>
                  </a:cubicBezTo>
                  <a:close/>
                </a:path>
              </a:pathLst>
            </a:custGeom>
            <a:solidFill>
              <a:srgbClr val="000000"/>
            </a:solidFill>
            <a:ln w="12704" cap="flat">
              <a:no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DF96C324-925F-45F5-8DE4-D5DE3162BEF8}"/>
                </a:ext>
              </a:extLst>
            </p:cNvPr>
            <p:cNvSpPr/>
            <p:nvPr/>
          </p:nvSpPr>
          <p:spPr>
            <a:xfrm>
              <a:off x="9340187" y="2743899"/>
              <a:ext cx="12706" cy="2229"/>
            </a:xfrm>
            <a:custGeom>
              <a:avLst/>
              <a:gdLst>
                <a:gd name="connsiteX0" fmla="*/ 0 w 12706"/>
                <a:gd name="connsiteY0" fmla="*/ 2230 h 2229"/>
                <a:gd name="connsiteX1" fmla="*/ 12707 w 12706"/>
                <a:gd name="connsiteY1" fmla="*/ 2230 h 2229"/>
                <a:gd name="connsiteX2" fmla="*/ 0 w 12706"/>
                <a:gd name="connsiteY2" fmla="*/ 2230 h 2229"/>
              </a:gdLst>
              <a:ahLst/>
              <a:cxnLst>
                <a:cxn ang="0">
                  <a:pos x="connsiteX0" y="connsiteY0"/>
                </a:cxn>
                <a:cxn ang="0">
                  <a:pos x="connsiteX1" y="connsiteY1"/>
                </a:cxn>
                <a:cxn ang="0">
                  <a:pos x="connsiteX2" y="connsiteY2"/>
                </a:cxn>
              </a:cxnLst>
              <a:rect l="l" t="t" r="r" b="b"/>
              <a:pathLst>
                <a:path w="12706" h="2229">
                  <a:moveTo>
                    <a:pt x="0" y="2230"/>
                  </a:moveTo>
                  <a:lnTo>
                    <a:pt x="12707" y="2230"/>
                  </a:lnTo>
                  <a:cubicBezTo>
                    <a:pt x="8997" y="-743"/>
                    <a:pt x="3710" y="-743"/>
                    <a:pt x="0" y="2230"/>
                  </a:cubicBezTo>
                  <a:close/>
                </a:path>
              </a:pathLst>
            </a:custGeom>
            <a:solidFill>
              <a:srgbClr val="000000"/>
            </a:solidFill>
            <a:ln w="12704" cap="flat">
              <a:no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7BB54048-A5F9-46FC-AB4C-C0DDA2AD184F}"/>
                </a:ext>
              </a:extLst>
            </p:cNvPr>
            <p:cNvSpPr/>
            <p:nvPr/>
          </p:nvSpPr>
          <p:spPr>
            <a:xfrm>
              <a:off x="9340187" y="2722369"/>
              <a:ext cx="12706" cy="2096"/>
            </a:xfrm>
            <a:custGeom>
              <a:avLst/>
              <a:gdLst>
                <a:gd name="connsiteX0" fmla="*/ 0 w 12706"/>
                <a:gd name="connsiteY0" fmla="*/ 0 h 2096"/>
                <a:gd name="connsiteX1" fmla="*/ 12707 w 12706"/>
                <a:gd name="connsiteY1" fmla="*/ 0 h 2096"/>
                <a:gd name="connsiteX2" fmla="*/ 0 w 12706"/>
                <a:gd name="connsiteY2" fmla="*/ 0 h 2096"/>
              </a:gdLst>
              <a:ahLst/>
              <a:cxnLst>
                <a:cxn ang="0">
                  <a:pos x="connsiteX0" y="connsiteY0"/>
                </a:cxn>
                <a:cxn ang="0">
                  <a:pos x="connsiteX1" y="connsiteY1"/>
                </a:cxn>
                <a:cxn ang="0">
                  <a:pos x="connsiteX2" y="connsiteY2"/>
                </a:cxn>
              </a:cxnLst>
              <a:rect l="l" t="t" r="r" b="b"/>
              <a:pathLst>
                <a:path w="12706" h="2096">
                  <a:moveTo>
                    <a:pt x="0" y="0"/>
                  </a:moveTo>
                  <a:cubicBezTo>
                    <a:pt x="3774" y="2795"/>
                    <a:pt x="8933" y="2795"/>
                    <a:pt x="12707" y="0"/>
                  </a:cubicBezTo>
                  <a:lnTo>
                    <a:pt x="0" y="0"/>
                  </a:lnTo>
                  <a:close/>
                </a:path>
              </a:pathLst>
            </a:custGeom>
            <a:solidFill>
              <a:srgbClr val="000000"/>
            </a:solidFill>
            <a:ln w="12704"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EB7ADBDD-E252-496D-85F6-8DD166274A66}"/>
                </a:ext>
              </a:extLst>
            </p:cNvPr>
            <p:cNvSpPr/>
            <p:nvPr/>
          </p:nvSpPr>
          <p:spPr>
            <a:xfrm>
              <a:off x="9050275" y="4086754"/>
              <a:ext cx="23638" cy="773216"/>
            </a:xfrm>
            <a:custGeom>
              <a:avLst/>
              <a:gdLst>
                <a:gd name="connsiteX0" fmla="*/ 67 w 23638"/>
                <a:gd name="connsiteY0" fmla="*/ 13036 h 773216"/>
                <a:gd name="connsiteX1" fmla="*/ 67 w 23638"/>
                <a:gd name="connsiteY1" fmla="*/ 764449 h 773216"/>
                <a:gd name="connsiteX2" fmla="*/ 1973 w 23638"/>
                <a:gd name="connsiteY2" fmla="*/ 766991 h 773216"/>
                <a:gd name="connsiteX3" fmla="*/ 11757 w 23638"/>
                <a:gd name="connsiteY3" fmla="*/ 761146 h 773216"/>
                <a:gd name="connsiteX4" fmla="*/ 23574 w 23638"/>
                <a:gd name="connsiteY4" fmla="*/ 773216 h 773216"/>
                <a:gd name="connsiteX5" fmla="*/ 23574 w 23638"/>
                <a:gd name="connsiteY5" fmla="*/ 13036 h 773216"/>
                <a:gd name="connsiteX6" fmla="*/ 13040 w 23638"/>
                <a:gd name="connsiteY6" fmla="*/ 64 h 773216"/>
                <a:gd name="connsiteX7" fmla="*/ 67 w 23638"/>
                <a:gd name="connsiteY7" fmla="*/ 10584 h 773216"/>
                <a:gd name="connsiteX8" fmla="*/ 67 w 23638"/>
                <a:gd name="connsiteY8" fmla="*/ 13036 h 77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773216">
                  <a:moveTo>
                    <a:pt x="67" y="13036"/>
                  </a:moveTo>
                  <a:lnTo>
                    <a:pt x="67" y="764449"/>
                  </a:lnTo>
                  <a:cubicBezTo>
                    <a:pt x="778" y="765237"/>
                    <a:pt x="1413" y="766088"/>
                    <a:pt x="1973" y="766991"/>
                  </a:cubicBezTo>
                  <a:cubicBezTo>
                    <a:pt x="3968" y="763446"/>
                    <a:pt x="7691" y="761210"/>
                    <a:pt x="11757" y="761146"/>
                  </a:cubicBezTo>
                  <a:cubicBezTo>
                    <a:pt x="18187" y="761591"/>
                    <a:pt x="23269" y="766775"/>
                    <a:pt x="23574" y="773216"/>
                  </a:cubicBezTo>
                  <a:lnTo>
                    <a:pt x="23574" y="13036"/>
                  </a:lnTo>
                  <a:cubicBezTo>
                    <a:pt x="24248" y="6544"/>
                    <a:pt x="19534" y="737"/>
                    <a:pt x="13040" y="64"/>
                  </a:cubicBezTo>
                  <a:cubicBezTo>
                    <a:pt x="6547" y="-609"/>
                    <a:pt x="740" y="4104"/>
                    <a:pt x="67" y="10584"/>
                  </a:cubicBezTo>
                  <a:cubicBezTo>
                    <a:pt x="-22" y="11397"/>
                    <a:pt x="-22" y="12223"/>
                    <a:pt x="67" y="13036"/>
                  </a:cubicBezTo>
                  <a:close/>
                </a:path>
              </a:pathLst>
            </a:custGeom>
            <a:solidFill>
              <a:srgbClr val="000000"/>
            </a:solidFill>
            <a:ln w="12704"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21738B9E-E058-4071-BE0B-F6E7BD6F1A16}"/>
                </a:ext>
              </a:extLst>
            </p:cNvPr>
            <p:cNvSpPr/>
            <p:nvPr/>
          </p:nvSpPr>
          <p:spPr>
            <a:xfrm>
              <a:off x="9052502" y="4847900"/>
              <a:ext cx="21601" cy="637188"/>
            </a:xfrm>
            <a:custGeom>
              <a:avLst/>
              <a:gdLst>
                <a:gd name="connsiteX0" fmla="*/ 1906 w 21601"/>
                <a:gd name="connsiteY0" fmla="*/ 633885 h 637188"/>
                <a:gd name="connsiteX1" fmla="*/ 9784 w 21601"/>
                <a:gd name="connsiteY1" fmla="*/ 637189 h 637188"/>
                <a:gd name="connsiteX2" fmla="*/ 21602 w 21601"/>
                <a:gd name="connsiteY2" fmla="*/ 625118 h 637188"/>
                <a:gd name="connsiteX3" fmla="*/ 21602 w 21601"/>
                <a:gd name="connsiteY3" fmla="*/ 12070 h 637188"/>
                <a:gd name="connsiteX4" fmla="*/ 9784 w 21601"/>
                <a:gd name="connsiteY4" fmla="*/ 0 h 637188"/>
                <a:gd name="connsiteX5" fmla="*/ 0 w 21601"/>
                <a:gd name="connsiteY5" fmla="*/ 5844 h 637188"/>
                <a:gd name="connsiteX6" fmla="*/ 1906 w 21601"/>
                <a:gd name="connsiteY6" fmla="*/ 12070 h 6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637188">
                  <a:moveTo>
                    <a:pt x="1906" y="633885"/>
                  </a:moveTo>
                  <a:cubicBezTo>
                    <a:pt x="3990" y="635982"/>
                    <a:pt x="6823" y="637176"/>
                    <a:pt x="9784" y="637189"/>
                  </a:cubicBezTo>
                  <a:cubicBezTo>
                    <a:pt x="16214" y="636744"/>
                    <a:pt x="21297" y="631560"/>
                    <a:pt x="21602" y="625118"/>
                  </a:cubicBezTo>
                  <a:lnTo>
                    <a:pt x="21602" y="12070"/>
                  </a:lnTo>
                  <a:cubicBezTo>
                    <a:pt x="21297" y="5629"/>
                    <a:pt x="16214" y="445"/>
                    <a:pt x="9784" y="0"/>
                  </a:cubicBezTo>
                  <a:cubicBezTo>
                    <a:pt x="5718" y="64"/>
                    <a:pt x="1995" y="2300"/>
                    <a:pt x="0" y="5844"/>
                  </a:cubicBezTo>
                  <a:cubicBezTo>
                    <a:pt x="1220" y="7699"/>
                    <a:pt x="1880" y="9860"/>
                    <a:pt x="1906" y="12070"/>
                  </a:cubicBezTo>
                  <a:close/>
                </a:path>
              </a:pathLst>
            </a:custGeom>
            <a:solidFill>
              <a:srgbClr val="000000"/>
            </a:solidFill>
            <a:ln w="12704"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FE928D91-00F3-4FF5-BDF6-16E20E33FF85}"/>
                </a:ext>
              </a:extLst>
            </p:cNvPr>
            <p:cNvSpPr/>
            <p:nvPr/>
          </p:nvSpPr>
          <p:spPr>
            <a:xfrm>
              <a:off x="8230364" y="1830178"/>
              <a:ext cx="210045" cy="24013"/>
            </a:xfrm>
            <a:custGeom>
              <a:avLst/>
              <a:gdLst>
                <a:gd name="connsiteX0" fmla="*/ 1 w 210045"/>
                <a:gd name="connsiteY0" fmla="*/ 12070 h 24013"/>
                <a:gd name="connsiteX1" fmla="*/ 11818 w 210045"/>
                <a:gd name="connsiteY1" fmla="*/ 24014 h 24013"/>
                <a:gd name="connsiteX2" fmla="*/ 210046 w 210045"/>
                <a:gd name="connsiteY2" fmla="*/ 24014 h 24013"/>
                <a:gd name="connsiteX3" fmla="*/ 199271 w 210045"/>
                <a:gd name="connsiteY3" fmla="*/ 10774 h 24013"/>
                <a:gd name="connsiteX4" fmla="*/ 210046 w 210045"/>
                <a:gd name="connsiteY4" fmla="*/ 0 h 24013"/>
                <a:gd name="connsiteX5" fmla="*/ 11818 w 210045"/>
                <a:gd name="connsiteY5" fmla="*/ 0 h 24013"/>
                <a:gd name="connsiteX6" fmla="*/ 1 w 210045"/>
                <a:gd name="connsiteY6" fmla="*/ 12070 h 24013"/>
                <a:gd name="connsiteX7" fmla="*/ 1 w 210045"/>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045" h="24013">
                  <a:moveTo>
                    <a:pt x="1" y="12070"/>
                  </a:moveTo>
                  <a:cubicBezTo>
                    <a:pt x="1" y="18614"/>
                    <a:pt x="5274" y="23950"/>
                    <a:pt x="11818" y="24014"/>
                  </a:cubicBezTo>
                  <a:lnTo>
                    <a:pt x="210046" y="24014"/>
                  </a:lnTo>
                  <a:cubicBezTo>
                    <a:pt x="203413" y="23328"/>
                    <a:pt x="198597" y="17407"/>
                    <a:pt x="199271" y="10774"/>
                  </a:cubicBezTo>
                  <a:cubicBezTo>
                    <a:pt x="199855" y="5082"/>
                    <a:pt x="204353" y="584"/>
                    <a:pt x="210046" y="0"/>
                  </a:cubicBezTo>
                  <a:lnTo>
                    <a:pt x="11818" y="0"/>
                  </a:lnTo>
                  <a:cubicBezTo>
                    <a:pt x="5223" y="64"/>
                    <a:pt x="-63" y="5476"/>
                    <a:pt x="1" y="12070"/>
                  </a:cubicBezTo>
                  <a:cubicBezTo>
                    <a:pt x="1" y="12070"/>
                    <a:pt x="1" y="12070"/>
                    <a:pt x="1" y="12070"/>
                  </a:cubicBezTo>
                  <a:close/>
                </a:path>
              </a:pathLst>
            </a:custGeom>
            <a:solidFill>
              <a:srgbClr val="000000"/>
            </a:solidFill>
            <a:ln w="12704"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B7895081-CCC6-40AB-814A-6541D38CFBB4}"/>
                </a:ext>
              </a:extLst>
            </p:cNvPr>
            <p:cNvSpPr/>
            <p:nvPr/>
          </p:nvSpPr>
          <p:spPr>
            <a:xfrm>
              <a:off x="8427698" y="1830143"/>
              <a:ext cx="88482" cy="24048"/>
            </a:xfrm>
            <a:custGeom>
              <a:avLst/>
              <a:gdLst>
                <a:gd name="connsiteX0" fmla="*/ 5 w 88482"/>
                <a:gd name="connsiteY0" fmla="*/ 12105 h 24048"/>
                <a:gd name="connsiteX1" fmla="*/ 11696 w 88482"/>
                <a:gd name="connsiteY1" fmla="*/ 24048 h 24048"/>
                <a:gd name="connsiteX2" fmla="*/ 11696 w 88482"/>
                <a:gd name="connsiteY2" fmla="*/ 24048 h 24048"/>
                <a:gd name="connsiteX3" fmla="*/ 77644 w 88482"/>
                <a:gd name="connsiteY3" fmla="*/ 24048 h 24048"/>
                <a:gd name="connsiteX4" fmla="*/ 88420 w 88482"/>
                <a:gd name="connsiteY4" fmla="*/ 10809 h 24048"/>
                <a:gd name="connsiteX5" fmla="*/ 77644 w 88482"/>
                <a:gd name="connsiteY5" fmla="*/ 35 h 24048"/>
                <a:gd name="connsiteX6" fmla="*/ 12712 w 88482"/>
                <a:gd name="connsiteY6" fmla="*/ 35 h 24048"/>
                <a:gd name="connsiteX7" fmla="*/ 31 w 88482"/>
                <a:gd name="connsiteY7" fmla="*/ 10923 h 24048"/>
                <a:gd name="connsiteX8" fmla="*/ 5 w 88482"/>
                <a:gd name="connsiteY8" fmla="*/ 12105 h 2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82" h="24048">
                  <a:moveTo>
                    <a:pt x="5" y="12105"/>
                  </a:moveTo>
                  <a:cubicBezTo>
                    <a:pt x="-71" y="18636"/>
                    <a:pt x="5164" y="23972"/>
                    <a:pt x="11696" y="24048"/>
                  </a:cubicBezTo>
                  <a:cubicBezTo>
                    <a:pt x="11696" y="24048"/>
                    <a:pt x="11696" y="24048"/>
                    <a:pt x="11696" y="24048"/>
                  </a:cubicBezTo>
                  <a:lnTo>
                    <a:pt x="77644" y="24048"/>
                  </a:lnTo>
                  <a:cubicBezTo>
                    <a:pt x="84277" y="23362"/>
                    <a:pt x="89093" y="17441"/>
                    <a:pt x="88420" y="10809"/>
                  </a:cubicBezTo>
                  <a:cubicBezTo>
                    <a:pt x="87835" y="5117"/>
                    <a:pt x="83337" y="619"/>
                    <a:pt x="77644" y="35"/>
                  </a:cubicBezTo>
                  <a:lnTo>
                    <a:pt x="12712" y="35"/>
                  </a:lnTo>
                  <a:cubicBezTo>
                    <a:pt x="6206" y="-461"/>
                    <a:pt x="526" y="4418"/>
                    <a:pt x="31" y="10923"/>
                  </a:cubicBezTo>
                  <a:cubicBezTo>
                    <a:pt x="5" y="11317"/>
                    <a:pt x="-8" y="11711"/>
                    <a:pt x="5" y="12105"/>
                  </a:cubicBezTo>
                  <a:close/>
                </a:path>
              </a:pathLst>
            </a:custGeom>
            <a:solidFill>
              <a:srgbClr val="000000"/>
            </a:solidFill>
            <a:ln w="12704"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4D3808DA-7EF3-4FCB-A3F4-F0E673F3B47F}"/>
                </a:ext>
              </a:extLst>
            </p:cNvPr>
            <p:cNvSpPr/>
            <p:nvPr/>
          </p:nvSpPr>
          <p:spPr>
            <a:xfrm>
              <a:off x="11994342" y="3391958"/>
              <a:ext cx="23638" cy="14738"/>
            </a:xfrm>
            <a:custGeom>
              <a:avLst/>
              <a:gdLst>
                <a:gd name="connsiteX0" fmla="*/ 11757 w 23638"/>
                <a:gd name="connsiteY0" fmla="*/ 14739 h 14738"/>
                <a:gd name="connsiteX1" fmla="*/ 23574 w 23638"/>
                <a:gd name="connsiteY1" fmla="*/ 2033 h 14738"/>
                <a:gd name="connsiteX2" fmla="*/ 23574 w 23638"/>
                <a:gd name="connsiteY2" fmla="*/ 0 h 14738"/>
                <a:gd name="connsiteX3" fmla="*/ 13041 w 23638"/>
                <a:gd name="connsiteY3" fmla="*/ 12972 h 14738"/>
                <a:gd name="connsiteX4" fmla="*/ 67 w 23638"/>
                <a:gd name="connsiteY4" fmla="*/ 2452 h 14738"/>
                <a:gd name="connsiteX5" fmla="*/ 67 w 23638"/>
                <a:gd name="connsiteY5" fmla="*/ 0 h 14738"/>
                <a:gd name="connsiteX6" fmla="*/ 67 w 23638"/>
                <a:gd name="connsiteY6" fmla="*/ 2033 h 14738"/>
                <a:gd name="connsiteX7" fmla="*/ 11223 w 23638"/>
                <a:gd name="connsiteY7" fmla="*/ 14713 h 14738"/>
                <a:gd name="connsiteX8" fmla="*/ 11757 w 23638"/>
                <a:gd name="connsiteY8" fmla="*/ 14739 h 1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4738">
                  <a:moveTo>
                    <a:pt x="11757" y="14739"/>
                  </a:moveTo>
                  <a:cubicBezTo>
                    <a:pt x="18428" y="14268"/>
                    <a:pt x="23588" y="8716"/>
                    <a:pt x="23574" y="2033"/>
                  </a:cubicBezTo>
                  <a:lnTo>
                    <a:pt x="23574" y="0"/>
                  </a:lnTo>
                  <a:cubicBezTo>
                    <a:pt x="24248" y="6493"/>
                    <a:pt x="19534" y="12299"/>
                    <a:pt x="13041" y="12972"/>
                  </a:cubicBezTo>
                  <a:cubicBezTo>
                    <a:pt x="6548" y="13646"/>
                    <a:pt x="740" y="8932"/>
                    <a:pt x="67" y="2452"/>
                  </a:cubicBezTo>
                  <a:cubicBezTo>
                    <a:pt x="-22" y="1639"/>
                    <a:pt x="-22" y="813"/>
                    <a:pt x="67" y="0"/>
                  </a:cubicBezTo>
                  <a:lnTo>
                    <a:pt x="67" y="2033"/>
                  </a:lnTo>
                  <a:cubicBezTo>
                    <a:pt x="-353" y="8615"/>
                    <a:pt x="4641" y="14294"/>
                    <a:pt x="11223" y="14713"/>
                  </a:cubicBezTo>
                  <a:cubicBezTo>
                    <a:pt x="11401" y="14726"/>
                    <a:pt x="11579" y="14739"/>
                    <a:pt x="11757" y="14739"/>
                  </a:cubicBezTo>
                  <a:close/>
                </a:path>
              </a:pathLst>
            </a:custGeom>
            <a:solidFill>
              <a:srgbClr val="000000"/>
            </a:solidFill>
            <a:ln w="12704"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D0564D90-88BF-43F8-9068-0992843B0276}"/>
                </a:ext>
              </a:extLst>
            </p:cNvPr>
            <p:cNvSpPr/>
            <p:nvPr/>
          </p:nvSpPr>
          <p:spPr>
            <a:xfrm>
              <a:off x="11061654" y="3919751"/>
              <a:ext cx="23638" cy="47773"/>
            </a:xfrm>
            <a:custGeom>
              <a:avLst/>
              <a:gdLst>
                <a:gd name="connsiteX0" fmla="*/ 11757 w 23638"/>
                <a:gd name="connsiteY0" fmla="*/ 47773 h 47773"/>
                <a:gd name="connsiteX1" fmla="*/ 23575 w 23638"/>
                <a:gd name="connsiteY1" fmla="*/ 35703 h 47773"/>
                <a:gd name="connsiteX2" fmla="*/ 23575 w 23638"/>
                <a:gd name="connsiteY2" fmla="*/ 0 h 47773"/>
                <a:gd name="connsiteX3" fmla="*/ 13040 w 23638"/>
                <a:gd name="connsiteY3" fmla="*/ 12972 h 47773"/>
                <a:gd name="connsiteX4" fmla="*/ 66 w 23638"/>
                <a:gd name="connsiteY4" fmla="*/ 2452 h 47773"/>
                <a:gd name="connsiteX5" fmla="*/ 66 w 23638"/>
                <a:gd name="connsiteY5" fmla="*/ 0 h 47773"/>
                <a:gd name="connsiteX6" fmla="*/ 66 w 23638"/>
                <a:gd name="connsiteY6" fmla="*/ 35703 h 47773"/>
                <a:gd name="connsiteX7" fmla="*/ 11757 w 23638"/>
                <a:gd name="connsiteY7" fmla="*/ 47773 h 4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47773">
                  <a:moveTo>
                    <a:pt x="11757" y="47773"/>
                  </a:moveTo>
                  <a:cubicBezTo>
                    <a:pt x="18187" y="47329"/>
                    <a:pt x="23270" y="42145"/>
                    <a:pt x="23575" y="35703"/>
                  </a:cubicBezTo>
                  <a:lnTo>
                    <a:pt x="23575" y="0"/>
                  </a:lnTo>
                  <a:cubicBezTo>
                    <a:pt x="24248" y="6493"/>
                    <a:pt x="19534" y="12299"/>
                    <a:pt x="13040" y="12972"/>
                  </a:cubicBezTo>
                  <a:cubicBezTo>
                    <a:pt x="6547" y="13646"/>
                    <a:pt x="740" y="8932"/>
                    <a:pt x="66" y="2452"/>
                  </a:cubicBezTo>
                  <a:cubicBezTo>
                    <a:pt x="-22" y="1639"/>
                    <a:pt x="-22" y="813"/>
                    <a:pt x="66" y="0"/>
                  </a:cubicBezTo>
                  <a:lnTo>
                    <a:pt x="66" y="35703"/>
                  </a:lnTo>
                  <a:cubicBezTo>
                    <a:pt x="-10" y="42246"/>
                    <a:pt x="5213" y="47634"/>
                    <a:pt x="11757" y="47773"/>
                  </a:cubicBezTo>
                  <a:close/>
                </a:path>
              </a:pathLst>
            </a:custGeom>
            <a:solidFill>
              <a:srgbClr val="000000"/>
            </a:solidFill>
            <a:ln w="12704"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065C12B6-CB1E-4EE1-B798-34AF57A3ED13}"/>
                </a:ext>
              </a:extLst>
            </p:cNvPr>
            <p:cNvSpPr/>
            <p:nvPr/>
          </p:nvSpPr>
          <p:spPr>
            <a:xfrm>
              <a:off x="9090496" y="2712459"/>
              <a:ext cx="5463" cy="9910"/>
            </a:xfrm>
            <a:custGeom>
              <a:avLst/>
              <a:gdLst>
                <a:gd name="connsiteX0" fmla="*/ 5464 w 5463"/>
                <a:gd name="connsiteY0" fmla="*/ 9910 h 9910"/>
                <a:gd name="connsiteX1" fmla="*/ 0 w 5463"/>
                <a:gd name="connsiteY1" fmla="*/ 0 h 9910"/>
                <a:gd name="connsiteX2" fmla="*/ 0 w 5463"/>
                <a:gd name="connsiteY2" fmla="*/ 3558 h 9910"/>
                <a:gd name="connsiteX3" fmla="*/ 2033 w 5463"/>
                <a:gd name="connsiteY3" fmla="*/ 9910 h 9910"/>
              </a:gdLst>
              <a:ahLst/>
              <a:cxnLst>
                <a:cxn ang="0">
                  <a:pos x="connsiteX0" y="connsiteY0"/>
                </a:cxn>
                <a:cxn ang="0">
                  <a:pos x="connsiteX1" y="connsiteY1"/>
                </a:cxn>
                <a:cxn ang="0">
                  <a:pos x="connsiteX2" y="connsiteY2"/>
                </a:cxn>
                <a:cxn ang="0">
                  <a:pos x="connsiteX3" y="connsiteY3"/>
                </a:cxn>
              </a:cxnLst>
              <a:rect l="l" t="t" r="r" b="b"/>
              <a:pathLst>
                <a:path w="5463" h="9910">
                  <a:moveTo>
                    <a:pt x="5464" y="9910"/>
                  </a:moveTo>
                  <a:cubicBezTo>
                    <a:pt x="2186" y="7649"/>
                    <a:pt x="165" y="3977"/>
                    <a:pt x="0" y="0"/>
                  </a:cubicBezTo>
                  <a:lnTo>
                    <a:pt x="0" y="3558"/>
                  </a:lnTo>
                  <a:cubicBezTo>
                    <a:pt x="102" y="5819"/>
                    <a:pt x="800" y="8017"/>
                    <a:pt x="2033" y="9910"/>
                  </a:cubicBezTo>
                  <a:close/>
                </a:path>
              </a:pathLst>
            </a:custGeom>
            <a:solidFill>
              <a:srgbClr val="000000"/>
            </a:solidFill>
            <a:ln w="12704"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CE0A791B-0514-4CF3-9ACF-5EF87397BCC3}"/>
                </a:ext>
              </a:extLst>
            </p:cNvPr>
            <p:cNvSpPr/>
            <p:nvPr/>
          </p:nvSpPr>
          <p:spPr>
            <a:xfrm>
              <a:off x="9108413" y="2712205"/>
              <a:ext cx="5463" cy="9910"/>
            </a:xfrm>
            <a:custGeom>
              <a:avLst/>
              <a:gdLst>
                <a:gd name="connsiteX0" fmla="*/ 5464 w 5463"/>
                <a:gd name="connsiteY0" fmla="*/ 3558 h 9910"/>
                <a:gd name="connsiteX1" fmla="*/ 5464 w 5463"/>
                <a:gd name="connsiteY1" fmla="*/ 0 h 9910"/>
                <a:gd name="connsiteX2" fmla="*/ 0 w 5463"/>
                <a:gd name="connsiteY2" fmla="*/ 9910 h 9910"/>
                <a:gd name="connsiteX3" fmla="*/ 3431 w 5463"/>
                <a:gd name="connsiteY3" fmla="*/ 9910 h 9910"/>
                <a:gd name="connsiteX4" fmla="*/ 5464 w 5463"/>
                <a:gd name="connsiteY4" fmla="*/ 3558 h 9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3" h="9910">
                  <a:moveTo>
                    <a:pt x="5464" y="3558"/>
                  </a:moveTo>
                  <a:lnTo>
                    <a:pt x="5464" y="0"/>
                  </a:lnTo>
                  <a:cubicBezTo>
                    <a:pt x="5299" y="3977"/>
                    <a:pt x="3278" y="7649"/>
                    <a:pt x="0" y="9910"/>
                  </a:cubicBezTo>
                  <a:lnTo>
                    <a:pt x="3431" y="9910"/>
                  </a:lnTo>
                  <a:cubicBezTo>
                    <a:pt x="4663" y="8017"/>
                    <a:pt x="5362" y="5819"/>
                    <a:pt x="5464" y="3558"/>
                  </a:cubicBezTo>
                  <a:close/>
                </a:path>
              </a:pathLst>
            </a:custGeom>
            <a:solidFill>
              <a:srgbClr val="000000"/>
            </a:solidFill>
            <a:ln w="12704"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CA39EBC1-9A0D-40BB-BE06-10FE90957D13}"/>
                </a:ext>
              </a:extLst>
            </p:cNvPr>
            <p:cNvSpPr/>
            <p:nvPr/>
          </p:nvSpPr>
          <p:spPr>
            <a:xfrm>
              <a:off x="9090556" y="2668675"/>
              <a:ext cx="23638" cy="53694"/>
            </a:xfrm>
            <a:custGeom>
              <a:avLst/>
              <a:gdLst>
                <a:gd name="connsiteX0" fmla="*/ 5404 w 23638"/>
                <a:gd name="connsiteY0" fmla="*/ 53695 h 53694"/>
                <a:gd name="connsiteX1" fmla="*/ 18111 w 23638"/>
                <a:gd name="connsiteY1" fmla="*/ 53695 h 53694"/>
                <a:gd name="connsiteX2" fmla="*/ 23574 w 23638"/>
                <a:gd name="connsiteY2" fmla="*/ 43784 h 53694"/>
                <a:gd name="connsiteX3" fmla="*/ 23574 w 23638"/>
                <a:gd name="connsiteY3" fmla="*/ 13036 h 53694"/>
                <a:gd name="connsiteX4" fmla="*/ 13041 w 23638"/>
                <a:gd name="connsiteY4" fmla="*/ 64 h 53694"/>
                <a:gd name="connsiteX5" fmla="*/ 67 w 23638"/>
                <a:gd name="connsiteY5" fmla="*/ 10584 h 53694"/>
                <a:gd name="connsiteX6" fmla="*/ 67 w 23638"/>
                <a:gd name="connsiteY6" fmla="*/ 13036 h 53694"/>
                <a:gd name="connsiteX7" fmla="*/ 67 w 23638"/>
                <a:gd name="connsiteY7" fmla="*/ 43784 h 53694"/>
                <a:gd name="connsiteX8" fmla="*/ 5404 w 23638"/>
                <a:gd name="connsiteY8" fmla="*/ 53695 h 5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53694">
                  <a:moveTo>
                    <a:pt x="5404" y="53695"/>
                  </a:moveTo>
                  <a:lnTo>
                    <a:pt x="18111" y="53695"/>
                  </a:lnTo>
                  <a:cubicBezTo>
                    <a:pt x="21389" y="51433"/>
                    <a:pt x="23409" y="47761"/>
                    <a:pt x="23574" y="43784"/>
                  </a:cubicBezTo>
                  <a:lnTo>
                    <a:pt x="23574" y="13036"/>
                  </a:lnTo>
                  <a:cubicBezTo>
                    <a:pt x="24248" y="6544"/>
                    <a:pt x="19534" y="737"/>
                    <a:pt x="13041" y="64"/>
                  </a:cubicBezTo>
                  <a:cubicBezTo>
                    <a:pt x="6547" y="-609"/>
                    <a:pt x="740" y="4104"/>
                    <a:pt x="67" y="10584"/>
                  </a:cubicBezTo>
                  <a:cubicBezTo>
                    <a:pt x="-22" y="11397"/>
                    <a:pt x="-22" y="12223"/>
                    <a:pt x="67" y="13036"/>
                  </a:cubicBezTo>
                  <a:lnTo>
                    <a:pt x="67" y="43784"/>
                  </a:lnTo>
                  <a:cubicBezTo>
                    <a:pt x="206" y="47736"/>
                    <a:pt x="2176" y="51408"/>
                    <a:pt x="5404" y="53695"/>
                  </a:cubicBezTo>
                  <a:close/>
                </a:path>
              </a:pathLst>
            </a:custGeom>
            <a:solidFill>
              <a:srgbClr val="000000"/>
            </a:solidFill>
            <a:ln w="12704"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1917DA6D-5484-49D7-A327-74558EFFE472}"/>
                </a:ext>
              </a:extLst>
            </p:cNvPr>
            <p:cNvSpPr/>
            <p:nvPr/>
          </p:nvSpPr>
          <p:spPr>
            <a:xfrm>
              <a:off x="9102313" y="2722115"/>
              <a:ext cx="243973" cy="24013"/>
            </a:xfrm>
            <a:custGeom>
              <a:avLst/>
              <a:gdLst>
                <a:gd name="connsiteX0" fmla="*/ 238255 w 243973"/>
                <a:gd name="connsiteY0" fmla="*/ 11943 h 24013"/>
                <a:gd name="connsiteX1" fmla="*/ 243973 w 243973"/>
                <a:gd name="connsiteY1" fmla="*/ 1906 h 24013"/>
                <a:gd name="connsiteX2" fmla="*/ 237874 w 243973"/>
                <a:gd name="connsiteY2" fmla="*/ 0 h 24013"/>
                <a:gd name="connsiteX3" fmla="*/ 0 w 243973"/>
                <a:gd name="connsiteY3" fmla="*/ 0 h 24013"/>
                <a:gd name="connsiteX4" fmla="*/ 10775 w 243973"/>
                <a:gd name="connsiteY4" fmla="*/ 13239 h 24013"/>
                <a:gd name="connsiteX5" fmla="*/ 0 w 243973"/>
                <a:gd name="connsiteY5" fmla="*/ 24014 h 24013"/>
                <a:gd name="connsiteX6" fmla="*/ 237874 w 243973"/>
                <a:gd name="connsiteY6" fmla="*/ 24014 h 24013"/>
                <a:gd name="connsiteX7" fmla="*/ 243973 w 243973"/>
                <a:gd name="connsiteY7" fmla="*/ 21981 h 24013"/>
                <a:gd name="connsiteX8" fmla="*/ 238255 w 243973"/>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973" h="24013">
                  <a:moveTo>
                    <a:pt x="238255" y="11943"/>
                  </a:moveTo>
                  <a:cubicBezTo>
                    <a:pt x="238446" y="7878"/>
                    <a:pt x="240568" y="4142"/>
                    <a:pt x="243973" y="1906"/>
                  </a:cubicBezTo>
                  <a:cubicBezTo>
                    <a:pt x="242169" y="686"/>
                    <a:pt x="240046" y="25"/>
                    <a:pt x="237874" y="0"/>
                  </a:cubicBezTo>
                  <a:lnTo>
                    <a:pt x="0" y="0"/>
                  </a:lnTo>
                  <a:cubicBezTo>
                    <a:pt x="6633" y="686"/>
                    <a:pt x="11449" y="6607"/>
                    <a:pt x="10775" y="13239"/>
                  </a:cubicBezTo>
                  <a:cubicBezTo>
                    <a:pt x="10191" y="18932"/>
                    <a:pt x="5693" y="23429"/>
                    <a:pt x="0" y="24014"/>
                  </a:cubicBezTo>
                  <a:lnTo>
                    <a:pt x="237874" y="24014"/>
                  </a:lnTo>
                  <a:cubicBezTo>
                    <a:pt x="240059" y="23938"/>
                    <a:pt x="242181" y="23239"/>
                    <a:pt x="243973" y="21981"/>
                  </a:cubicBezTo>
                  <a:cubicBezTo>
                    <a:pt x="240453" y="19859"/>
                    <a:pt x="238280" y="16060"/>
                    <a:pt x="238255" y="11943"/>
                  </a:cubicBezTo>
                  <a:close/>
                </a:path>
              </a:pathLst>
            </a:custGeom>
            <a:solidFill>
              <a:srgbClr val="000000"/>
            </a:solidFill>
            <a:ln w="12704"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855005C3-DD5A-45F8-BD87-6C01A9BF5580}"/>
                </a:ext>
              </a:extLst>
            </p:cNvPr>
            <p:cNvSpPr/>
            <p:nvPr/>
          </p:nvSpPr>
          <p:spPr>
            <a:xfrm>
              <a:off x="11994342" y="3391450"/>
              <a:ext cx="23638" cy="13086"/>
            </a:xfrm>
            <a:custGeom>
              <a:avLst/>
              <a:gdLst>
                <a:gd name="connsiteX0" fmla="*/ 11757 w 23638"/>
                <a:gd name="connsiteY0" fmla="*/ 13087 h 13086"/>
                <a:gd name="connsiteX1" fmla="*/ 23574 w 23638"/>
                <a:gd name="connsiteY1" fmla="*/ 1143 h 13086"/>
                <a:gd name="connsiteX2" fmla="*/ 23574 w 23638"/>
                <a:gd name="connsiteY2" fmla="*/ 0 h 13086"/>
                <a:gd name="connsiteX3" fmla="*/ 13041 w 23638"/>
                <a:gd name="connsiteY3" fmla="*/ 12972 h 13086"/>
                <a:gd name="connsiteX4" fmla="*/ 67 w 23638"/>
                <a:gd name="connsiteY4" fmla="*/ 2452 h 13086"/>
                <a:gd name="connsiteX5" fmla="*/ 67 w 23638"/>
                <a:gd name="connsiteY5" fmla="*/ 0 h 13086"/>
                <a:gd name="connsiteX6" fmla="*/ 67 w 23638"/>
                <a:gd name="connsiteY6" fmla="*/ 1143 h 13086"/>
                <a:gd name="connsiteX7" fmla="*/ 11757 w 23638"/>
                <a:gd name="connsiteY7" fmla="*/ 13087 h 13086"/>
                <a:gd name="connsiteX8" fmla="*/ 11757 w 23638"/>
                <a:gd name="connsiteY8"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3086">
                  <a:moveTo>
                    <a:pt x="11757" y="13087"/>
                  </a:moveTo>
                  <a:cubicBezTo>
                    <a:pt x="18301" y="13023"/>
                    <a:pt x="23574" y="7687"/>
                    <a:pt x="23574" y="1143"/>
                  </a:cubicBezTo>
                  <a:lnTo>
                    <a:pt x="23574" y="0"/>
                  </a:lnTo>
                  <a:cubicBezTo>
                    <a:pt x="24248" y="6493"/>
                    <a:pt x="19534" y="12299"/>
                    <a:pt x="13041" y="12972"/>
                  </a:cubicBezTo>
                  <a:cubicBezTo>
                    <a:pt x="6548" y="13646"/>
                    <a:pt x="740" y="8932"/>
                    <a:pt x="67" y="2452"/>
                  </a:cubicBezTo>
                  <a:cubicBezTo>
                    <a:pt x="-22" y="1639"/>
                    <a:pt x="-22" y="813"/>
                    <a:pt x="67" y="0"/>
                  </a:cubicBezTo>
                  <a:lnTo>
                    <a:pt x="67" y="1143"/>
                  </a:lnTo>
                  <a:cubicBezTo>
                    <a:pt x="-9" y="7674"/>
                    <a:pt x="5226" y="13011"/>
                    <a:pt x="11757" y="13087"/>
                  </a:cubicBezTo>
                  <a:cubicBezTo>
                    <a:pt x="11757" y="13087"/>
                    <a:pt x="11757" y="13087"/>
                    <a:pt x="11757" y="13087"/>
                  </a:cubicBezTo>
                  <a:close/>
                </a:path>
              </a:pathLst>
            </a:custGeom>
            <a:solidFill>
              <a:srgbClr val="000000"/>
            </a:solidFill>
            <a:ln w="12704"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A770849D-72D8-49A7-9E79-369909757AA1}"/>
                </a:ext>
              </a:extLst>
            </p:cNvPr>
            <p:cNvSpPr/>
            <p:nvPr/>
          </p:nvSpPr>
          <p:spPr>
            <a:xfrm>
              <a:off x="11061654" y="3266857"/>
              <a:ext cx="23640" cy="127387"/>
            </a:xfrm>
            <a:custGeom>
              <a:avLst/>
              <a:gdLst>
                <a:gd name="connsiteX0" fmla="*/ 66 w 23640"/>
                <a:gd name="connsiteY0" fmla="*/ 13037 h 127387"/>
                <a:gd name="connsiteX1" fmla="*/ 66 w 23640"/>
                <a:gd name="connsiteY1" fmla="*/ 127388 h 127387"/>
                <a:gd name="connsiteX2" fmla="*/ 10601 w 23640"/>
                <a:gd name="connsiteY2" fmla="*/ 114415 h 127387"/>
                <a:gd name="connsiteX3" fmla="*/ 23575 w 23640"/>
                <a:gd name="connsiteY3" fmla="*/ 124935 h 127387"/>
                <a:gd name="connsiteX4" fmla="*/ 23575 w 23640"/>
                <a:gd name="connsiteY4" fmla="*/ 127388 h 127387"/>
                <a:gd name="connsiteX5" fmla="*/ 23575 w 23640"/>
                <a:gd name="connsiteY5" fmla="*/ 13037 h 127387"/>
                <a:gd name="connsiteX6" fmla="*/ 13040 w 23640"/>
                <a:gd name="connsiteY6" fmla="*/ 64 h 127387"/>
                <a:gd name="connsiteX7" fmla="*/ 66 w 23640"/>
                <a:gd name="connsiteY7" fmla="*/ 10584 h 127387"/>
                <a:gd name="connsiteX8" fmla="*/ 66 w 23640"/>
                <a:gd name="connsiteY8" fmla="*/ 13037 h 12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0" h="127387">
                  <a:moveTo>
                    <a:pt x="66" y="13037"/>
                  </a:moveTo>
                  <a:lnTo>
                    <a:pt x="66" y="127388"/>
                  </a:lnTo>
                  <a:cubicBezTo>
                    <a:pt x="-607" y="120895"/>
                    <a:pt x="4107" y="115089"/>
                    <a:pt x="10601" y="114415"/>
                  </a:cubicBezTo>
                  <a:cubicBezTo>
                    <a:pt x="17094" y="113742"/>
                    <a:pt x="22901" y="118456"/>
                    <a:pt x="23575" y="124935"/>
                  </a:cubicBezTo>
                  <a:cubicBezTo>
                    <a:pt x="23663" y="125749"/>
                    <a:pt x="23663" y="126574"/>
                    <a:pt x="23575" y="127388"/>
                  </a:cubicBezTo>
                  <a:lnTo>
                    <a:pt x="23575" y="13037"/>
                  </a:lnTo>
                  <a:cubicBezTo>
                    <a:pt x="24248" y="6544"/>
                    <a:pt x="19534" y="738"/>
                    <a:pt x="13040" y="64"/>
                  </a:cubicBezTo>
                  <a:cubicBezTo>
                    <a:pt x="6547" y="-609"/>
                    <a:pt x="740" y="4105"/>
                    <a:pt x="66" y="10584"/>
                  </a:cubicBezTo>
                  <a:cubicBezTo>
                    <a:pt x="-22" y="11398"/>
                    <a:pt x="-22" y="12223"/>
                    <a:pt x="66" y="13037"/>
                  </a:cubicBezTo>
                  <a:close/>
                </a:path>
              </a:pathLst>
            </a:custGeom>
            <a:solidFill>
              <a:srgbClr val="000000"/>
            </a:solidFill>
            <a:ln w="12704"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C87936F7-CA55-4913-9389-C58B47EF2828}"/>
                </a:ext>
              </a:extLst>
            </p:cNvPr>
            <p:cNvSpPr/>
            <p:nvPr/>
          </p:nvSpPr>
          <p:spPr>
            <a:xfrm>
              <a:off x="11061654" y="3381590"/>
              <a:ext cx="23638" cy="550359"/>
            </a:xfrm>
            <a:custGeom>
              <a:avLst/>
              <a:gdLst>
                <a:gd name="connsiteX0" fmla="*/ 11757 w 23638"/>
                <a:gd name="connsiteY0" fmla="*/ 550359 h 550359"/>
                <a:gd name="connsiteX1" fmla="*/ 23575 w 23638"/>
                <a:gd name="connsiteY1" fmla="*/ 538289 h 550359"/>
                <a:gd name="connsiteX2" fmla="*/ 23575 w 23638"/>
                <a:gd name="connsiteY2" fmla="*/ 538289 h 550359"/>
                <a:gd name="connsiteX3" fmla="*/ 23575 w 23638"/>
                <a:gd name="connsiteY3" fmla="*/ 13036 h 550359"/>
                <a:gd name="connsiteX4" fmla="*/ 13040 w 23638"/>
                <a:gd name="connsiteY4" fmla="*/ 64 h 550359"/>
                <a:gd name="connsiteX5" fmla="*/ 66 w 23638"/>
                <a:gd name="connsiteY5" fmla="*/ 10584 h 550359"/>
                <a:gd name="connsiteX6" fmla="*/ 66 w 23638"/>
                <a:gd name="connsiteY6" fmla="*/ 13036 h 550359"/>
                <a:gd name="connsiteX7" fmla="*/ 66 w 23638"/>
                <a:gd name="connsiteY7" fmla="*/ 538289 h 550359"/>
                <a:gd name="connsiteX8" fmla="*/ 11630 w 23638"/>
                <a:gd name="connsiteY8" fmla="*/ 550359 h 550359"/>
                <a:gd name="connsiteX9" fmla="*/ 11757 w 23638"/>
                <a:gd name="connsiteY9" fmla="*/ 550359 h 55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550359">
                  <a:moveTo>
                    <a:pt x="11757" y="550359"/>
                  </a:moveTo>
                  <a:cubicBezTo>
                    <a:pt x="18352" y="550296"/>
                    <a:pt x="23651" y="544883"/>
                    <a:pt x="23575" y="538289"/>
                  </a:cubicBezTo>
                  <a:cubicBezTo>
                    <a:pt x="23575" y="538289"/>
                    <a:pt x="23575" y="538289"/>
                    <a:pt x="23575" y="538289"/>
                  </a:cubicBezTo>
                  <a:lnTo>
                    <a:pt x="23575" y="13036"/>
                  </a:lnTo>
                  <a:cubicBezTo>
                    <a:pt x="24248" y="6544"/>
                    <a:pt x="19534" y="737"/>
                    <a:pt x="13040" y="64"/>
                  </a:cubicBezTo>
                  <a:cubicBezTo>
                    <a:pt x="6547" y="-609"/>
                    <a:pt x="740" y="4104"/>
                    <a:pt x="66" y="10584"/>
                  </a:cubicBezTo>
                  <a:cubicBezTo>
                    <a:pt x="-22" y="11397"/>
                    <a:pt x="-22" y="12223"/>
                    <a:pt x="66" y="13036"/>
                  </a:cubicBezTo>
                  <a:lnTo>
                    <a:pt x="66" y="538289"/>
                  </a:lnTo>
                  <a:cubicBezTo>
                    <a:pt x="-73" y="544819"/>
                    <a:pt x="5098" y="550219"/>
                    <a:pt x="11630" y="550359"/>
                  </a:cubicBezTo>
                  <a:cubicBezTo>
                    <a:pt x="11668" y="550359"/>
                    <a:pt x="11718" y="550359"/>
                    <a:pt x="11757" y="550359"/>
                  </a:cubicBezTo>
                  <a:close/>
                </a:path>
              </a:pathLst>
            </a:custGeom>
            <a:solidFill>
              <a:srgbClr val="000000"/>
            </a:solidFill>
            <a:ln w="12704"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5A858497-5169-42A8-9239-42B0E763AD8E}"/>
                </a:ext>
              </a:extLst>
            </p:cNvPr>
            <p:cNvSpPr/>
            <p:nvPr/>
          </p:nvSpPr>
          <p:spPr>
            <a:xfrm>
              <a:off x="9058691" y="2722115"/>
              <a:ext cx="22147" cy="24013"/>
            </a:xfrm>
            <a:custGeom>
              <a:avLst/>
              <a:gdLst>
                <a:gd name="connsiteX0" fmla="*/ 10330 w 22147"/>
                <a:gd name="connsiteY0" fmla="*/ 11943 h 24013"/>
                <a:gd name="connsiteX1" fmla="*/ 22148 w 22147"/>
                <a:gd name="connsiteY1" fmla="*/ 0 h 24013"/>
                <a:gd name="connsiteX2" fmla="*/ 10839 w 22147"/>
                <a:gd name="connsiteY2" fmla="*/ 0 h 24013"/>
                <a:gd name="connsiteX3" fmla="*/ 63 w 22147"/>
                <a:gd name="connsiteY3" fmla="*/ 13239 h 24013"/>
                <a:gd name="connsiteX4" fmla="*/ 10839 w 22147"/>
                <a:gd name="connsiteY4" fmla="*/ 24014 h 24013"/>
                <a:gd name="connsiteX5" fmla="*/ 22148 w 22147"/>
                <a:gd name="connsiteY5" fmla="*/ 24014 h 24013"/>
                <a:gd name="connsiteX6" fmla="*/ 10330 w 22147"/>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47" h="24013">
                  <a:moveTo>
                    <a:pt x="10330" y="11943"/>
                  </a:moveTo>
                  <a:cubicBezTo>
                    <a:pt x="10330" y="5400"/>
                    <a:pt x="15604" y="64"/>
                    <a:pt x="22148" y="0"/>
                  </a:cubicBezTo>
                  <a:lnTo>
                    <a:pt x="10839" y="0"/>
                  </a:lnTo>
                  <a:cubicBezTo>
                    <a:pt x="4205" y="686"/>
                    <a:pt x="-610" y="6607"/>
                    <a:pt x="63" y="13239"/>
                  </a:cubicBezTo>
                  <a:cubicBezTo>
                    <a:pt x="648" y="18932"/>
                    <a:pt x="5146" y="23429"/>
                    <a:pt x="10839" y="24014"/>
                  </a:cubicBezTo>
                  <a:lnTo>
                    <a:pt x="22148" y="24014"/>
                  </a:lnTo>
                  <a:cubicBezTo>
                    <a:pt x="15718" y="23569"/>
                    <a:pt x="10635" y="18385"/>
                    <a:pt x="10330" y="11943"/>
                  </a:cubicBezTo>
                  <a:close/>
                </a:path>
              </a:pathLst>
            </a:custGeom>
            <a:solidFill>
              <a:srgbClr val="000000"/>
            </a:solidFill>
            <a:ln w="12704"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E3272407-421C-4EDE-B21A-F9D933AFBAE7}"/>
                </a:ext>
              </a:extLst>
            </p:cNvPr>
            <p:cNvSpPr/>
            <p:nvPr/>
          </p:nvSpPr>
          <p:spPr>
            <a:xfrm>
              <a:off x="9070000" y="2722115"/>
              <a:ext cx="43877" cy="24013"/>
            </a:xfrm>
            <a:custGeom>
              <a:avLst/>
              <a:gdLst>
                <a:gd name="connsiteX0" fmla="*/ 43876 w 43877"/>
                <a:gd name="connsiteY0" fmla="*/ 11943 h 24013"/>
                <a:gd name="connsiteX1" fmla="*/ 32186 w 43877"/>
                <a:gd name="connsiteY1" fmla="*/ 0 h 24013"/>
                <a:gd name="connsiteX2" fmla="*/ 32186 w 43877"/>
                <a:gd name="connsiteY2" fmla="*/ 0 h 24013"/>
                <a:gd name="connsiteX3" fmla="*/ 10838 w 43877"/>
                <a:gd name="connsiteY3" fmla="*/ 0 h 24013"/>
                <a:gd name="connsiteX4" fmla="*/ 63 w 43877"/>
                <a:gd name="connsiteY4" fmla="*/ 13239 h 24013"/>
                <a:gd name="connsiteX5" fmla="*/ 10838 w 43877"/>
                <a:gd name="connsiteY5" fmla="*/ 24014 h 24013"/>
                <a:gd name="connsiteX6" fmla="*/ 32313 w 43877"/>
                <a:gd name="connsiteY6" fmla="*/ 24014 h 24013"/>
                <a:gd name="connsiteX7" fmla="*/ 43876 w 43877"/>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77" h="24013">
                  <a:moveTo>
                    <a:pt x="43876" y="11943"/>
                  </a:moveTo>
                  <a:cubicBezTo>
                    <a:pt x="43953" y="5413"/>
                    <a:pt x="38717" y="76"/>
                    <a:pt x="32186" y="0"/>
                  </a:cubicBezTo>
                  <a:cubicBezTo>
                    <a:pt x="32186" y="0"/>
                    <a:pt x="32186" y="0"/>
                    <a:pt x="32186" y="0"/>
                  </a:cubicBezTo>
                  <a:lnTo>
                    <a:pt x="10838" y="0"/>
                  </a:lnTo>
                  <a:cubicBezTo>
                    <a:pt x="4205" y="686"/>
                    <a:pt x="-611" y="6607"/>
                    <a:pt x="63" y="13239"/>
                  </a:cubicBezTo>
                  <a:cubicBezTo>
                    <a:pt x="647" y="18932"/>
                    <a:pt x="5146" y="23429"/>
                    <a:pt x="10838" y="24014"/>
                  </a:cubicBezTo>
                  <a:lnTo>
                    <a:pt x="32313" y="24014"/>
                  </a:lnTo>
                  <a:cubicBezTo>
                    <a:pt x="38806" y="23811"/>
                    <a:pt x="43953" y="18449"/>
                    <a:pt x="43876" y="11943"/>
                  </a:cubicBezTo>
                  <a:close/>
                </a:path>
              </a:pathLst>
            </a:custGeom>
            <a:solidFill>
              <a:srgbClr val="000000"/>
            </a:solidFill>
            <a:ln w="12704"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40DDE72F-AEC2-4AB2-8236-C2990D51C477}"/>
                </a:ext>
              </a:extLst>
            </p:cNvPr>
            <p:cNvSpPr/>
            <p:nvPr/>
          </p:nvSpPr>
          <p:spPr>
            <a:xfrm>
              <a:off x="9340568" y="2722115"/>
              <a:ext cx="111312" cy="24013"/>
            </a:xfrm>
            <a:custGeom>
              <a:avLst/>
              <a:gdLst>
                <a:gd name="connsiteX0" fmla="*/ 99622 w 111312"/>
                <a:gd name="connsiteY0" fmla="*/ 11943 h 24013"/>
                <a:gd name="connsiteX1" fmla="*/ 111312 w 111312"/>
                <a:gd name="connsiteY1" fmla="*/ 0 h 24013"/>
                <a:gd name="connsiteX2" fmla="*/ 111312 w 111312"/>
                <a:gd name="connsiteY2" fmla="*/ 0 h 24013"/>
                <a:gd name="connsiteX3" fmla="*/ 11817 w 111312"/>
                <a:gd name="connsiteY3" fmla="*/ 0 h 24013"/>
                <a:gd name="connsiteX4" fmla="*/ 5718 w 111312"/>
                <a:gd name="connsiteY4" fmla="*/ 1906 h 24013"/>
                <a:gd name="connsiteX5" fmla="*/ 0 w 111312"/>
                <a:gd name="connsiteY5" fmla="*/ 11943 h 24013"/>
                <a:gd name="connsiteX6" fmla="*/ 5718 w 111312"/>
                <a:gd name="connsiteY6" fmla="*/ 21981 h 24013"/>
                <a:gd name="connsiteX7" fmla="*/ 11817 w 111312"/>
                <a:gd name="connsiteY7" fmla="*/ 24014 h 24013"/>
                <a:gd name="connsiteX8" fmla="*/ 111312 w 111312"/>
                <a:gd name="connsiteY8" fmla="*/ 24014 h 24013"/>
                <a:gd name="connsiteX9" fmla="*/ 99622 w 111312"/>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312" h="24013">
                  <a:moveTo>
                    <a:pt x="99622" y="11943"/>
                  </a:moveTo>
                  <a:cubicBezTo>
                    <a:pt x="99546" y="5413"/>
                    <a:pt x="104781" y="76"/>
                    <a:pt x="111312" y="0"/>
                  </a:cubicBezTo>
                  <a:cubicBezTo>
                    <a:pt x="111312" y="0"/>
                    <a:pt x="111312" y="0"/>
                    <a:pt x="111312" y="0"/>
                  </a:cubicBezTo>
                  <a:lnTo>
                    <a:pt x="11817" y="0"/>
                  </a:lnTo>
                  <a:cubicBezTo>
                    <a:pt x="9645" y="25"/>
                    <a:pt x="7523" y="686"/>
                    <a:pt x="5718" y="1906"/>
                  </a:cubicBezTo>
                  <a:cubicBezTo>
                    <a:pt x="2313" y="4142"/>
                    <a:pt x="191" y="7878"/>
                    <a:pt x="0" y="11943"/>
                  </a:cubicBezTo>
                  <a:cubicBezTo>
                    <a:pt x="26" y="16060"/>
                    <a:pt x="2198" y="19859"/>
                    <a:pt x="5718" y="21981"/>
                  </a:cubicBezTo>
                  <a:cubicBezTo>
                    <a:pt x="7510" y="23239"/>
                    <a:pt x="9632" y="23938"/>
                    <a:pt x="11817" y="24014"/>
                  </a:cubicBezTo>
                  <a:lnTo>
                    <a:pt x="111312" y="24014"/>
                  </a:lnTo>
                  <a:cubicBezTo>
                    <a:pt x="104769" y="23874"/>
                    <a:pt x="99546" y="18487"/>
                    <a:pt x="99622" y="11943"/>
                  </a:cubicBezTo>
                  <a:close/>
                </a:path>
              </a:pathLst>
            </a:custGeom>
            <a:solidFill>
              <a:srgbClr val="000000"/>
            </a:solidFill>
            <a:ln w="12704"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D3C936FA-D9A1-4DD0-8644-B424D4552931}"/>
                </a:ext>
              </a:extLst>
            </p:cNvPr>
            <p:cNvSpPr/>
            <p:nvPr/>
          </p:nvSpPr>
          <p:spPr>
            <a:xfrm>
              <a:off x="9441043" y="2722369"/>
              <a:ext cx="23544" cy="24013"/>
            </a:xfrm>
            <a:custGeom>
              <a:avLst/>
              <a:gdLst>
                <a:gd name="connsiteX0" fmla="*/ 10838 w 23544"/>
                <a:gd name="connsiteY0" fmla="*/ 0 h 24013"/>
                <a:gd name="connsiteX1" fmla="*/ 63 w 23544"/>
                <a:gd name="connsiteY1" fmla="*/ 13239 h 24013"/>
                <a:gd name="connsiteX2" fmla="*/ 10838 w 23544"/>
                <a:gd name="connsiteY2" fmla="*/ 24014 h 24013"/>
                <a:gd name="connsiteX3" fmla="*/ 23545 w 23544"/>
                <a:gd name="connsiteY3" fmla="*/ 24014 h 24013"/>
                <a:gd name="connsiteX4" fmla="*/ 12770 w 23544"/>
                <a:gd name="connsiteY4" fmla="*/ 10774 h 24013"/>
                <a:gd name="connsiteX5" fmla="*/ 23545 w 23544"/>
                <a:gd name="connsiteY5" fmla="*/ 0 h 24013"/>
                <a:gd name="connsiteX6" fmla="*/ 10838 w 23544"/>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44" h="24013">
                  <a:moveTo>
                    <a:pt x="10838" y="0"/>
                  </a:moveTo>
                  <a:cubicBezTo>
                    <a:pt x="4205" y="686"/>
                    <a:pt x="-611" y="6607"/>
                    <a:pt x="63" y="13239"/>
                  </a:cubicBezTo>
                  <a:cubicBezTo>
                    <a:pt x="647" y="18932"/>
                    <a:pt x="5145" y="23429"/>
                    <a:pt x="10838" y="24014"/>
                  </a:cubicBezTo>
                  <a:lnTo>
                    <a:pt x="23545" y="24014"/>
                  </a:lnTo>
                  <a:cubicBezTo>
                    <a:pt x="16912" y="23328"/>
                    <a:pt x="12096" y="17407"/>
                    <a:pt x="12770" y="10774"/>
                  </a:cubicBezTo>
                  <a:cubicBezTo>
                    <a:pt x="13354" y="5082"/>
                    <a:pt x="17852" y="585"/>
                    <a:pt x="23545" y="0"/>
                  </a:cubicBezTo>
                  <a:lnTo>
                    <a:pt x="10838" y="0"/>
                  </a:lnTo>
                  <a:close/>
                </a:path>
              </a:pathLst>
            </a:custGeom>
            <a:solidFill>
              <a:srgbClr val="000000"/>
            </a:solidFill>
            <a:ln w="12704"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9CAD1754-6A02-45C7-84E0-05F8A34DEA53}"/>
                </a:ext>
              </a:extLst>
            </p:cNvPr>
            <p:cNvSpPr/>
            <p:nvPr/>
          </p:nvSpPr>
          <p:spPr>
            <a:xfrm>
              <a:off x="9453127" y="2722751"/>
              <a:ext cx="280593" cy="24013"/>
            </a:xfrm>
            <a:custGeom>
              <a:avLst/>
              <a:gdLst>
                <a:gd name="connsiteX0" fmla="*/ 25 w 280593"/>
                <a:gd name="connsiteY0" fmla="*/ 11308 h 24013"/>
                <a:gd name="connsiteX1" fmla="*/ 11181 w 280593"/>
                <a:gd name="connsiteY1" fmla="*/ 23988 h 24013"/>
                <a:gd name="connsiteX2" fmla="*/ 11715 w 280593"/>
                <a:gd name="connsiteY2" fmla="*/ 24014 h 24013"/>
                <a:gd name="connsiteX3" fmla="*/ 280594 w 280593"/>
                <a:gd name="connsiteY3" fmla="*/ 24014 h 24013"/>
                <a:gd name="connsiteX4" fmla="*/ 269818 w 280593"/>
                <a:gd name="connsiteY4" fmla="*/ 10774 h 24013"/>
                <a:gd name="connsiteX5" fmla="*/ 280594 w 280593"/>
                <a:gd name="connsiteY5" fmla="*/ 0 h 24013"/>
                <a:gd name="connsiteX6" fmla="*/ 11715 w 280593"/>
                <a:gd name="connsiteY6" fmla="*/ 0 h 24013"/>
                <a:gd name="connsiteX7" fmla="*/ 25 w 280593"/>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593" h="24013">
                  <a:moveTo>
                    <a:pt x="25" y="11308"/>
                  </a:moveTo>
                  <a:cubicBezTo>
                    <a:pt x="-395" y="17890"/>
                    <a:pt x="4599" y="23569"/>
                    <a:pt x="11181" y="23988"/>
                  </a:cubicBezTo>
                  <a:cubicBezTo>
                    <a:pt x="11359" y="24001"/>
                    <a:pt x="11537" y="24014"/>
                    <a:pt x="11715" y="24014"/>
                  </a:cubicBezTo>
                  <a:lnTo>
                    <a:pt x="280594" y="24014"/>
                  </a:lnTo>
                  <a:cubicBezTo>
                    <a:pt x="273960" y="23328"/>
                    <a:pt x="269145" y="17407"/>
                    <a:pt x="269818" y="10774"/>
                  </a:cubicBezTo>
                  <a:cubicBezTo>
                    <a:pt x="270403" y="5082"/>
                    <a:pt x="274900" y="585"/>
                    <a:pt x="280594" y="0"/>
                  </a:cubicBezTo>
                  <a:lnTo>
                    <a:pt x="11715" y="0"/>
                  </a:lnTo>
                  <a:cubicBezTo>
                    <a:pt x="5425" y="64"/>
                    <a:pt x="291" y="5031"/>
                    <a:pt x="25" y="11308"/>
                  </a:cubicBezTo>
                  <a:close/>
                </a:path>
              </a:pathLst>
            </a:custGeom>
            <a:solidFill>
              <a:srgbClr val="000000"/>
            </a:solidFill>
            <a:ln w="12704"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5E5540F0-CF05-4748-9C44-435AF8B51DAC}"/>
                </a:ext>
              </a:extLst>
            </p:cNvPr>
            <p:cNvSpPr/>
            <p:nvPr/>
          </p:nvSpPr>
          <p:spPr>
            <a:xfrm>
              <a:off x="11994342" y="3389163"/>
              <a:ext cx="23638" cy="14357"/>
            </a:xfrm>
            <a:custGeom>
              <a:avLst/>
              <a:gdLst>
                <a:gd name="connsiteX0" fmla="*/ 11757 w 23638"/>
                <a:gd name="connsiteY0" fmla="*/ 14357 h 14357"/>
                <a:gd name="connsiteX1" fmla="*/ 23574 w 23638"/>
                <a:gd name="connsiteY1" fmla="*/ 1652 h 14357"/>
                <a:gd name="connsiteX2" fmla="*/ 23574 w 23638"/>
                <a:gd name="connsiteY2" fmla="*/ 0 h 14357"/>
                <a:gd name="connsiteX3" fmla="*/ 13041 w 23638"/>
                <a:gd name="connsiteY3" fmla="*/ 12973 h 14357"/>
                <a:gd name="connsiteX4" fmla="*/ 67 w 23638"/>
                <a:gd name="connsiteY4" fmla="*/ 2452 h 14357"/>
                <a:gd name="connsiteX5" fmla="*/ 67 w 23638"/>
                <a:gd name="connsiteY5" fmla="*/ 0 h 14357"/>
                <a:gd name="connsiteX6" fmla="*/ 67 w 23638"/>
                <a:gd name="connsiteY6" fmla="*/ 1652 h 14357"/>
                <a:gd name="connsiteX7" fmla="*/ 11223 w 23638"/>
                <a:gd name="connsiteY7" fmla="*/ 14332 h 14357"/>
                <a:gd name="connsiteX8" fmla="*/ 11757 w 23638"/>
                <a:gd name="connsiteY8" fmla="*/ 14357 h 1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4357">
                  <a:moveTo>
                    <a:pt x="11757" y="14357"/>
                  </a:moveTo>
                  <a:cubicBezTo>
                    <a:pt x="18428" y="13887"/>
                    <a:pt x="23588" y="8335"/>
                    <a:pt x="23574" y="1652"/>
                  </a:cubicBezTo>
                  <a:lnTo>
                    <a:pt x="23574" y="0"/>
                  </a:lnTo>
                  <a:cubicBezTo>
                    <a:pt x="24248" y="6493"/>
                    <a:pt x="19534" y="12299"/>
                    <a:pt x="13041" y="12973"/>
                  </a:cubicBezTo>
                  <a:cubicBezTo>
                    <a:pt x="6548" y="13646"/>
                    <a:pt x="740" y="8932"/>
                    <a:pt x="67" y="2452"/>
                  </a:cubicBezTo>
                  <a:cubicBezTo>
                    <a:pt x="-22" y="1639"/>
                    <a:pt x="-22" y="813"/>
                    <a:pt x="67" y="0"/>
                  </a:cubicBezTo>
                  <a:lnTo>
                    <a:pt x="67" y="1652"/>
                  </a:lnTo>
                  <a:cubicBezTo>
                    <a:pt x="-353" y="8233"/>
                    <a:pt x="4641" y="13913"/>
                    <a:pt x="11223" y="14332"/>
                  </a:cubicBezTo>
                  <a:cubicBezTo>
                    <a:pt x="11401" y="14345"/>
                    <a:pt x="11579" y="14357"/>
                    <a:pt x="11757" y="14357"/>
                  </a:cubicBezTo>
                  <a:close/>
                </a:path>
              </a:pathLst>
            </a:custGeom>
            <a:solidFill>
              <a:srgbClr val="000000"/>
            </a:solidFill>
            <a:ln w="12704"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C5C96147-5347-4B73-9732-47FB9CBFB3E6}"/>
                </a:ext>
              </a:extLst>
            </p:cNvPr>
            <p:cNvSpPr/>
            <p:nvPr/>
          </p:nvSpPr>
          <p:spPr>
            <a:xfrm>
              <a:off x="11994345" y="3243175"/>
              <a:ext cx="23638" cy="159659"/>
            </a:xfrm>
            <a:custGeom>
              <a:avLst/>
              <a:gdLst>
                <a:gd name="connsiteX0" fmla="*/ 64 w 23638"/>
                <a:gd name="connsiteY0" fmla="*/ 146623 h 159659"/>
                <a:gd name="connsiteX1" fmla="*/ 10598 w 23638"/>
                <a:gd name="connsiteY1" fmla="*/ 159596 h 159659"/>
                <a:gd name="connsiteX2" fmla="*/ 23571 w 23638"/>
                <a:gd name="connsiteY2" fmla="*/ 149076 h 159659"/>
                <a:gd name="connsiteX3" fmla="*/ 23571 w 23638"/>
                <a:gd name="connsiteY3" fmla="*/ 146623 h 159659"/>
                <a:gd name="connsiteX4" fmla="*/ 23571 w 23638"/>
                <a:gd name="connsiteY4" fmla="*/ 11943 h 159659"/>
                <a:gd name="connsiteX5" fmla="*/ 23571 w 23638"/>
                <a:gd name="connsiteY5" fmla="*/ 10037 h 159659"/>
                <a:gd name="connsiteX6" fmla="*/ 12136 w 23638"/>
                <a:gd name="connsiteY6" fmla="*/ 0 h 159659"/>
                <a:gd name="connsiteX7" fmla="*/ 445 w 23638"/>
                <a:gd name="connsiteY7" fmla="*/ 11943 h 159659"/>
                <a:gd name="connsiteX8" fmla="*/ 445 w 23638"/>
                <a:gd name="connsiteY8" fmla="*/ 11943 h 159659"/>
                <a:gd name="connsiteX9" fmla="*/ 445 w 23638"/>
                <a:gd name="connsiteY9" fmla="*/ 146623 h 1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59659">
                  <a:moveTo>
                    <a:pt x="64" y="146623"/>
                  </a:moveTo>
                  <a:cubicBezTo>
                    <a:pt x="-609" y="153116"/>
                    <a:pt x="4105" y="158922"/>
                    <a:pt x="10598" y="159596"/>
                  </a:cubicBezTo>
                  <a:cubicBezTo>
                    <a:pt x="17092" y="160269"/>
                    <a:pt x="22898" y="155555"/>
                    <a:pt x="23571" y="149076"/>
                  </a:cubicBezTo>
                  <a:cubicBezTo>
                    <a:pt x="23661" y="148262"/>
                    <a:pt x="23661" y="147436"/>
                    <a:pt x="23571" y="146623"/>
                  </a:cubicBezTo>
                  <a:lnTo>
                    <a:pt x="23571" y="11943"/>
                  </a:lnTo>
                  <a:cubicBezTo>
                    <a:pt x="23635" y="11308"/>
                    <a:pt x="23635" y="10673"/>
                    <a:pt x="23571" y="10037"/>
                  </a:cubicBezTo>
                  <a:cubicBezTo>
                    <a:pt x="22809" y="4307"/>
                    <a:pt x="17917" y="13"/>
                    <a:pt x="12136" y="0"/>
                  </a:cubicBezTo>
                  <a:cubicBezTo>
                    <a:pt x="5604" y="63"/>
                    <a:pt x="369" y="5413"/>
                    <a:pt x="445" y="11943"/>
                  </a:cubicBezTo>
                  <a:cubicBezTo>
                    <a:pt x="445" y="11943"/>
                    <a:pt x="445" y="11943"/>
                    <a:pt x="445" y="11943"/>
                  </a:cubicBezTo>
                  <a:lnTo>
                    <a:pt x="445" y="146623"/>
                  </a:lnTo>
                  <a:close/>
                </a:path>
              </a:pathLst>
            </a:custGeom>
            <a:solidFill>
              <a:srgbClr val="000000"/>
            </a:solidFill>
            <a:ln w="12704"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91F6F7A1-BEEF-4C9C-81F2-57DA7BE59E0D}"/>
                </a:ext>
              </a:extLst>
            </p:cNvPr>
            <p:cNvSpPr/>
            <p:nvPr/>
          </p:nvSpPr>
          <p:spPr>
            <a:xfrm>
              <a:off x="9722005" y="2722738"/>
              <a:ext cx="78045" cy="24025"/>
            </a:xfrm>
            <a:custGeom>
              <a:avLst/>
              <a:gdLst>
                <a:gd name="connsiteX0" fmla="*/ 25 w 78045"/>
                <a:gd name="connsiteY0" fmla="*/ 11320 h 24025"/>
                <a:gd name="connsiteX1" fmla="*/ 11181 w 78045"/>
                <a:gd name="connsiteY1" fmla="*/ 24000 h 24025"/>
                <a:gd name="connsiteX2" fmla="*/ 11715 w 78045"/>
                <a:gd name="connsiteY2" fmla="*/ 24026 h 24025"/>
                <a:gd name="connsiteX3" fmla="*/ 78045 w 78045"/>
                <a:gd name="connsiteY3" fmla="*/ 24026 h 24025"/>
                <a:gd name="connsiteX4" fmla="*/ 67269 w 78045"/>
                <a:gd name="connsiteY4" fmla="*/ 10787 h 24025"/>
                <a:gd name="connsiteX5" fmla="*/ 78045 w 78045"/>
                <a:gd name="connsiteY5" fmla="*/ 12 h 24025"/>
                <a:gd name="connsiteX6" fmla="*/ 12351 w 78045"/>
                <a:gd name="connsiteY6" fmla="*/ 12 h 24025"/>
                <a:gd name="connsiteX7" fmla="*/ 25 w 78045"/>
                <a:gd name="connsiteY7" fmla="*/ 11295 h 24025"/>
                <a:gd name="connsiteX8" fmla="*/ 25 w 78045"/>
                <a:gd name="connsiteY8" fmla="*/ 11320 h 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45" h="24025">
                  <a:moveTo>
                    <a:pt x="25" y="11320"/>
                  </a:moveTo>
                  <a:cubicBezTo>
                    <a:pt x="-394" y="17902"/>
                    <a:pt x="4599" y="23581"/>
                    <a:pt x="11181" y="24000"/>
                  </a:cubicBezTo>
                  <a:cubicBezTo>
                    <a:pt x="11359" y="24013"/>
                    <a:pt x="11537" y="24026"/>
                    <a:pt x="11715" y="24026"/>
                  </a:cubicBezTo>
                  <a:lnTo>
                    <a:pt x="78045" y="24026"/>
                  </a:lnTo>
                  <a:cubicBezTo>
                    <a:pt x="71413" y="23340"/>
                    <a:pt x="66596" y="17419"/>
                    <a:pt x="67269" y="10787"/>
                  </a:cubicBezTo>
                  <a:cubicBezTo>
                    <a:pt x="67854" y="5094"/>
                    <a:pt x="72353" y="597"/>
                    <a:pt x="78045" y="12"/>
                  </a:cubicBezTo>
                  <a:lnTo>
                    <a:pt x="12351" y="12"/>
                  </a:lnTo>
                  <a:cubicBezTo>
                    <a:pt x="5832" y="-280"/>
                    <a:pt x="317" y="4777"/>
                    <a:pt x="25" y="11295"/>
                  </a:cubicBezTo>
                  <a:cubicBezTo>
                    <a:pt x="25" y="11307"/>
                    <a:pt x="25" y="11307"/>
                    <a:pt x="25" y="11320"/>
                  </a:cubicBezTo>
                  <a:close/>
                </a:path>
              </a:pathLst>
            </a:custGeom>
            <a:solidFill>
              <a:srgbClr val="000000"/>
            </a:solidFill>
            <a:ln w="12704"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FFD0C289-6416-4AD3-BBEF-9ED4ED6D858D}"/>
                </a:ext>
              </a:extLst>
            </p:cNvPr>
            <p:cNvSpPr/>
            <p:nvPr/>
          </p:nvSpPr>
          <p:spPr>
            <a:xfrm>
              <a:off x="9787319" y="2722716"/>
              <a:ext cx="17305" cy="24048"/>
            </a:xfrm>
            <a:custGeom>
              <a:avLst/>
              <a:gdLst>
                <a:gd name="connsiteX0" fmla="*/ 25 w 17305"/>
                <a:gd name="connsiteY0" fmla="*/ 11343 h 24048"/>
                <a:gd name="connsiteX1" fmla="*/ 11181 w 17305"/>
                <a:gd name="connsiteY1" fmla="*/ 24023 h 24048"/>
                <a:gd name="connsiteX2" fmla="*/ 11715 w 17305"/>
                <a:gd name="connsiteY2" fmla="*/ 24048 h 24048"/>
                <a:gd name="connsiteX3" fmla="*/ 17306 w 17305"/>
                <a:gd name="connsiteY3" fmla="*/ 24048 h 24048"/>
                <a:gd name="connsiteX4" fmla="*/ 6531 w 17305"/>
                <a:gd name="connsiteY4" fmla="*/ 10809 h 24048"/>
                <a:gd name="connsiteX5" fmla="*/ 17306 w 17305"/>
                <a:gd name="connsiteY5" fmla="*/ 35 h 24048"/>
                <a:gd name="connsiteX6" fmla="*/ 12732 w 17305"/>
                <a:gd name="connsiteY6" fmla="*/ 35 h 24048"/>
                <a:gd name="connsiteX7" fmla="*/ 50 w 17305"/>
                <a:gd name="connsiteY7" fmla="*/ 10923 h 24048"/>
                <a:gd name="connsiteX8" fmla="*/ 25 w 17305"/>
                <a:gd name="connsiteY8" fmla="*/ 11343 h 2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05" h="24048">
                  <a:moveTo>
                    <a:pt x="25" y="11343"/>
                  </a:moveTo>
                  <a:cubicBezTo>
                    <a:pt x="-395" y="17924"/>
                    <a:pt x="4599" y="23604"/>
                    <a:pt x="11181" y="24023"/>
                  </a:cubicBezTo>
                  <a:cubicBezTo>
                    <a:pt x="11360" y="24036"/>
                    <a:pt x="11537" y="24048"/>
                    <a:pt x="11715" y="24048"/>
                  </a:cubicBezTo>
                  <a:lnTo>
                    <a:pt x="17306" y="24048"/>
                  </a:lnTo>
                  <a:cubicBezTo>
                    <a:pt x="10673" y="23362"/>
                    <a:pt x="5857" y="17441"/>
                    <a:pt x="6531" y="10809"/>
                  </a:cubicBezTo>
                  <a:cubicBezTo>
                    <a:pt x="7115" y="5117"/>
                    <a:pt x="11613" y="619"/>
                    <a:pt x="17306" y="35"/>
                  </a:cubicBezTo>
                  <a:lnTo>
                    <a:pt x="12732" y="35"/>
                  </a:lnTo>
                  <a:cubicBezTo>
                    <a:pt x="6225" y="-461"/>
                    <a:pt x="546" y="4405"/>
                    <a:pt x="50" y="10923"/>
                  </a:cubicBezTo>
                  <a:cubicBezTo>
                    <a:pt x="37" y="11063"/>
                    <a:pt x="25" y="11203"/>
                    <a:pt x="25" y="11343"/>
                  </a:cubicBezTo>
                  <a:close/>
                </a:path>
              </a:pathLst>
            </a:custGeom>
            <a:solidFill>
              <a:srgbClr val="000000"/>
            </a:solidFill>
            <a:ln w="12704"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29CDA043-C346-4F54-BE7A-CCE8F8BF0A81}"/>
                </a:ext>
              </a:extLst>
            </p:cNvPr>
            <p:cNvSpPr/>
            <p:nvPr/>
          </p:nvSpPr>
          <p:spPr>
            <a:xfrm>
              <a:off x="9793189" y="2722878"/>
              <a:ext cx="37104" cy="23886"/>
            </a:xfrm>
            <a:custGeom>
              <a:avLst/>
              <a:gdLst>
                <a:gd name="connsiteX0" fmla="*/ 0 w 37104"/>
                <a:gd name="connsiteY0" fmla="*/ 11181 h 23886"/>
                <a:gd name="connsiteX1" fmla="*/ 11817 w 37104"/>
                <a:gd name="connsiteY1" fmla="*/ 23887 h 23886"/>
                <a:gd name="connsiteX2" fmla="*/ 25287 w 37104"/>
                <a:gd name="connsiteY2" fmla="*/ 23887 h 23886"/>
                <a:gd name="connsiteX3" fmla="*/ 37104 w 37104"/>
                <a:gd name="connsiteY3" fmla="*/ 11181 h 23886"/>
                <a:gd name="connsiteX4" fmla="*/ 36342 w 37104"/>
                <a:gd name="connsiteY4" fmla="*/ 7750 h 23886"/>
                <a:gd name="connsiteX5" fmla="*/ 34817 w 37104"/>
                <a:gd name="connsiteY5" fmla="*/ 4447 h 23886"/>
                <a:gd name="connsiteX6" fmla="*/ 33165 w 37104"/>
                <a:gd name="connsiteY6" fmla="*/ 2414 h 23886"/>
                <a:gd name="connsiteX7" fmla="*/ 31386 w 37104"/>
                <a:gd name="connsiteY7" fmla="*/ 1144 h 23886"/>
                <a:gd name="connsiteX8" fmla="*/ 29353 w 37104"/>
                <a:gd name="connsiteY8" fmla="*/ 0 h 23886"/>
                <a:gd name="connsiteX9" fmla="*/ 26939 w 37104"/>
                <a:gd name="connsiteY9" fmla="*/ 0 h 23886"/>
                <a:gd name="connsiteX10" fmla="*/ 25287 w 37104"/>
                <a:gd name="connsiteY10" fmla="*/ 0 h 23886"/>
                <a:gd name="connsiteX11" fmla="*/ 11817 w 37104"/>
                <a:gd name="connsiteY11" fmla="*/ 0 h 23886"/>
                <a:gd name="connsiteX12" fmla="*/ 0 w 37104"/>
                <a:gd name="connsiteY12" fmla="*/ 11181 h 2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04" h="23886">
                  <a:moveTo>
                    <a:pt x="0" y="11181"/>
                  </a:moveTo>
                  <a:cubicBezTo>
                    <a:pt x="-13" y="17864"/>
                    <a:pt x="5146" y="23417"/>
                    <a:pt x="11817" y="23887"/>
                  </a:cubicBezTo>
                  <a:lnTo>
                    <a:pt x="25287" y="23887"/>
                  </a:lnTo>
                  <a:cubicBezTo>
                    <a:pt x="31957" y="23417"/>
                    <a:pt x="37116" y="17864"/>
                    <a:pt x="37104" y="11181"/>
                  </a:cubicBezTo>
                  <a:cubicBezTo>
                    <a:pt x="37040" y="9999"/>
                    <a:pt x="36786" y="8843"/>
                    <a:pt x="36342" y="7750"/>
                  </a:cubicBezTo>
                  <a:cubicBezTo>
                    <a:pt x="35999" y="6582"/>
                    <a:pt x="35478" y="5464"/>
                    <a:pt x="34817" y="4447"/>
                  </a:cubicBezTo>
                  <a:cubicBezTo>
                    <a:pt x="34334" y="3710"/>
                    <a:pt x="33788" y="3037"/>
                    <a:pt x="33165" y="2414"/>
                  </a:cubicBezTo>
                  <a:cubicBezTo>
                    <a:pt x="32631" y="1919"/>
                    <a:pt x="32034" y="1499"/>
                    <a:pt x="31386" y="1144"/>
                  </a:cubicBezTo>
                  <a:cubicBezTo>
                    <a:pt x="30751" y="686"/>
                    <a:pt x="30064" y="305"/>
                    <a:pt x="29353" y="0"/>
                  </a:cubicBezTo>
                  <a:lnTo>
                    <a:pt x="26939" y="0"/>
                  </a:lnTo>
                  <a:lnTo>
                    <a:pt x="25287" y="0"/>
                  </a:lnTo>
                  <a:lnTo>
                    <a:pt x="11817" y="0"/>
                  </a:lnTo>
                  <a:cubicBezTo>
                    <a:pt x="5552" y="51"/>
                    <a:pt x="394" y="4930"/>
                    <a:pt x="0" y="11181"/>
                  </a:cubicBezTo>
                  <a:close/>
                </a:path>
              </a:pathLst>
            </a:custGeom>
            <a:solidFill>
              <a:srgbClr val="000000"/>
            </a:solidFill>
            <a:ln w="12704"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DA451869-2B76-4611-8732-D808D753CC40}"/>
                </a:ext>
              </a:extLst>
            </p:cNvPr>
            <p:cNvSpPr/>
            <p:nvPr/>
          </p:nvSpPr>
          <p:spPr>
            <a:xfrm>
              <a:off x="11540899" y="4857810"/>
              <a:ext cx="653136" cy="4319"/>
            </a:xfrm>
            <a:custGeom>
              <a:avLst/>
              <a:gdLst>
                <a:gd name="connsiteX0" fmla="*/ 0 w 653136"/>
                <a:gd name="connsiteY0" fmla="*/ 2160 h 4319"/>
                <a:gd name="connsiteX1" fmla="*/ 0 w 653136"/>
                <a:gd name="connsiteY1" fmla="*/ 4320 h 4319"/>
                <a:gd name="connsiteX2" fmla="*/ 653136 w 653136"/>
                <a:gd name="connsiteY2" fmla="*/ 4320 h 4319"/>
                <a:gd name="connsiteX3" fmla="*/ 653136 w 653136"/>
                <a:gd name="connsiteY3" fmla="*/ 0 h 4319"/>
                <a:gd name="connsiteX4" fmla="*/ 0 w 653136"/>
                <a:gd name="connsiteY4" fmla="*/ 0 h 4319"/>
                <a:gd name="connsiteX5" fmla="*/ 0 w 653136"/>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36" h="4319">
                  <a:moveTo>
                    <a:pt x="0" y="2160"/>
                  </a:moveTo>
                  <a:lnTo>
                    <a:pt x="0" y="4320"/>
                  </a:lnTo>
                  <a:lnTo>
                    <a:pt x="653136" y="4320"/>
                  </a:lnTo>
                  <a:lnTo>
                    <a:pt x="653136" y="0"/>
                  </a:lnTo>
                  <a:lnTo>
                    <a:pt x="0" y="0"/>
                  </a:lnTo>
                  <a:cubicBezTo>
                    <a:pt x="64" y="724"/>
                    <a:pt x="64" y="1436"/>
                    <a:pt x="0" y="2160"/>
                  </a:cubicBezTo>
                  <a:close/>
                </a:path>
              </a:pathLst>
            </a:custGeom>
            <a:solidFill>
              <a:srgbClr val="000000"/>
            </a:solidFill>
            <a:ln w="12704"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50F180CF-DBC0-42A9-B44C-609D59D1012D}"/>
                </a:ext>
              </a:extLst>
            </p:cNvPr>
            <p:cNvSpPr/>
            <p:nvPr/>
          </p:nvSpPr>
          <p:spPr>
            <a:xfrm>
              <a:off x="11411537" y="4857794"/>
              <a:ext cx="106235" cy="4335"/>
            </a:xfrm>
            <a:custGeom>
              <a:avLst/>
              <a:gdLst>
                <a:gd name="connsiteX0" fmla="*/ 5 w 106235"/>
                <a:gd name="connsiteY0" fmla="*/ 2176 h 4335"/>
                <a:gd name="connsiteX1" fmla="*/ 2038 w 106235"/>
                <a:gd name="connsiteY1" fmla="*/ 4336 h 4335"/>
                <a:gd name="connsiteX2" fmla="*/ 106235 w 106235"/>
                <a:gd name="connsiteY2" fmla="*/ 4336 h 4335"/>
                <a:gd name="connsiteX3" fmla="*/ 106235 w 106235"/>
                <a:gd name="connsiteY3" fmla="*/ 2176 h 4335"/>
                <a:gd name="connsiteX4" fmla="*/ 106235 w 106235"/>
                <a:gd name="connsiteY4" fmla="*/ 16 h 4335"/>
                <a:gd name="connsiteX5" fmla="*/ 2293 w 106235"/>
                <a:gd name="connsiteY5" fmla="*/ 16 h 4335"/>
                <a:gd name="connsiteX6" fmla="*/ 18 w 106235"/>
                <a:gd name="connsiteY6" fmla="*/ 1769 h 4335"/>
                <a:gd name="connsiteX7" fmla="*/ 5 w 106235"/>
                <a:gd name="connsiteY7" fmla="*/ 2176 h 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35" h="4335">
                  <a:moveTo>
                    <a:pt x="5" y="2176"/>
                  </a:moveTo>
                  <a:cubicBezTo>
                    <a:pt x="5" y="3319"/>
                    <a:pt x="895" y="4272"/>
                    <a:pt x="2038" y="4336"/>
                  </a:cubicBezTo>
                  <a:lnTo>
                    <a:pt x="106235" y="4336"/>
                  </a:lnTo>
                  <a:lnTo>
                    <a:pt x="106235" y="2176"/>
                  </a:lnTo>
                  <a:cubicBezTo>
                    <a:pt x="106172" y="1452"/>
                    <a:pt x="106172" y="740"/>
                    <a:pt x="106235" y="16"/>
                  </a:cubicBezTo>
                  <a:lnTo>
                    <a:pt x="2293" y="16"/>
                  </a:lnTo>
                  <a:cubicBezTo>
                    <a:pt x="1174" y="-124"/>
                    <a:pt x="157" y="664"/>
                    <a:pt x="18" y="1769"/>
                  </a:cubicBezTo>
                  <a:cubicBezTo>
                    <a:pt x="5" y="1909"/>
                    <a:pt x="-8" y="2036"/>
                    <a:pt x="5" y="2176"/>
                  </a:cubicBezTo>
                  <a:close/>
                </a:path>
              </a:pathLst>
            </a:custGeom>
            <a:solidFill>
              <a:srgbClr val="000000"/>
            </a:solidFill>
            <a:ln w="12704"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E1B4B883-E791-496A-94C7-A68B8EAC75E5}"/>
                </a:ext>
              </a:extLst>
            </p:cNvPr>
            <p:cNvSpPr/>
            <p:nvPr/>
          </p:nvSpPr>
          <p:spPr>
            <a:xfrm>
              <a:off x="11298286" y="4578031"/>
              <a:ext cx="633604" cy="24013"/>
            </a:xfrm>
            <a:custGeom>
              <a:avLst/>
              <a:gdLst>
                <a:gd name="connsiteX0" fmla="*/ 633605 w 633604"/>
                <a:gd name="connsiteY0" fmla="*/ 12071 h 24013"/>
                <a:gd name="connsiteX1" fmla="*/ 621788 w 633604"/>
                <a:gd name="connsiteY1" fmla="*/ 0 h 24013"/>
                <a:gd name="connsiteX2" fmla="*/ 10839 w 633604"/>
                <a:gd name="connsiteY2" fmla="*/ 0 h 24013"/>
                <a:gd name="connsiteX3" fmla="*/ 63 w 633604"/>
                <a:gd name="connsiteY3" fmla="*/ 13240 h 24013"/>
                <a:gd name="connsiteX4" fmla="*/ 10839 w 633604"/>
                <a:gd name="connsiteY4" fmla="*/ 24014 h 24013"/>
                <a:gd name="connsiteX5" fmla="*/ 621788 w 633604"/>
                <a:gd name="connsiteY5" fmla="*/ 24014 h 24013"/>
                <a:gd name="connsiteX6" fmla="*/ 633605 w 633604"/>
                <a:gd name="connsiteY6" fmla="*/ 12071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604" h="24013">
                  <a:moveTo>
                    <a:pt x="633605" y="12071"/>
                  </a:moveTo>
                  <a:cubicBezTo>
                    <a:pt x="633299" y="5629"/>
                    <a:pt x="628217" y="445"/>
                    <a:pt x="621788" y="0"/>
                  </a:cubicBezTo>
                  <a:lnTo>
                    <a:pt x="10839" y="0"/>
                  </a:lnTo>
                  <a:cubicBezTo>
                    <a:pt x="4205" y="686"/>
                    <a:pt x="-610" y="6607"/>
                    <a:pt x="63" y="13240"/>
                  </a:cubicBezTo>
                  <a:cubicBezTo>
                    <a:pt x="648" y="18932"/>
                    <a:pt x="5146" y="23430"/>
                    <a:pt x="10839" y="24014"/>
                  </a:cubicBezTo>
                  <a:lnTo>
                    <a:pt x="621788" y="24014"/>
                  </a:lnTo>
                  <a:cubicBezTo>
                    <a:pt x="628179" y="23582"/>
                    <a:pt x="633237" y="18461"/>
                    <a:pt x="633605" y="12071"/>
                  </a:cubicBezTo>
                  <a:close/>
                </a:path>
              </a:pathLst>
            </a:custGeom>
            <a:solidFill>
              <a:srgbClr val="000000"/>
            </a:solidFill>
            <a:ln w="12704"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82C8EA44-08C3-467B-8338-E2CCABD1AC36}"/>
                </a:ext>
              </a:extLst>
            </p:cNvPr>
            <p:cNvSpPr/>
            <p:nvPr/>
          </p:nvSpPr>
          <p:spPr>
            <a:xfrm>
              <a:off x="11237330" y="2249083"/>
              <a:ext cx="23381" cy="1152403"/>
            </a:xfrm>
            <a:custGeom>
              <a:avLst/>
              <a:gdLst>
                <a:gd name="connsiteX0" fmla="*/ 0 w 23381"/>
                <a:gd name="connsiteY0" fmla="*/ 11689 h 1152403"/>
                <a:gd name="connsiteX1" fmla="*/ 0 w 23381"/>
                <a:gd name="connsiteY1" fmla="*/ 1140715 h 1152403"/>
                <a:gd name="connsiteX2" fmla="*/ 11691 w 23381"/>
                <a:gd name="connsiteY2" fmla="*/ 1152404 h 1152403"/>
                <a:gd name="connsiteX3" fmla="*/ 23381 w 23381"/>
                <a:gd name="connsiteY3" fmla="*/ 1140715 h 1152403"/>
                <a:gd name="connsiteX4" fmla="*/ 23381 w 23381"/>
                <a:gd name="connsiteY4" fmla="*/ 11689 h 1152403"/>
                <a:gd name="connsiteX5" fmla="*/ 11691 w 23381"/>
                <a:gd name="connsiteY5" fmla="*/ 0 h 1152403"/>
                <a:gd name="connsiteX6" fmla="*/ 0 w 23381"/>
                <a:gd name="connsiteY6" fmla="*/ 11689 h 115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1" h="1152403">
                  <a:moveTo>
                    <a:pt x="0" y="11689"/>
                  </a:moveTo>
                  <a:lnTo>
                    <a:pt x="0" y="1140715"/>
                  </a:lnTo>
                  <a:cubicBezTo>
                    <a:pt x="0" y="1147169"/>
                    <a:pt x="5235" y="1152404"/>
                    <a:pt x="11691" y="1152404"/>
                  </a:cubicBezTo>
                  <a:cubicBezTo>
                    <a:pt x="18146" y="1152404"/>
                    <a:pt x="23381" y="1147169"/>
                    <a:pt x="23381" y="1140715"/>
                  </a:cubicBezTo>
                  <a:lnTo>
                    <a:pt x="23381" y="11689"/>
                  </a:lnTo>
                  <a:cubicBezTo>
                    <a:pt x="23381" y="5235"/>
                    <a:pt x="18146" y="0"/>
                    <a:pt x="11691" y="0"/>
                  </a:cubicBezTo>
                  <a:cubicBezTo>
                    <a:pt x="5235" y="0"/>
                    <a:pt x="0" y="5235"/>
                    <a:pt x="0" y="11689"/>
                  </a:cubicBezTo>
                  <a:close/>
                </a:path>
              </a:pathLst>
            </a:custGeom>
            <a:solidFill>
              <a:srgbClr val="000000"/>
            </a:solidFill>
            <a:ln w="12704"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6FA7E8F6-10D5-4783-B8A8-EC12017472BC}"/>
                </a:ext>
              </a:extLst>
            </p:cNvPr>
            <p:cNvSpPr/>
            <p:nvPr/>
          </p:nvSpPr>
          <p:spPr>
            <a:xfrm>
              <a:off x="10831549" y="5675738"/>
              <a:ext cx="115050" cy="314022"/>
            </a:xfrm>
            <a:custGeom>
              <a:avLst/>
              <a:gdLst>
                <a:gd name="connsiteX0" fmla="*/ 8054 w 115050"/>
                <a:gd name="connsiteY0" fmla="*/ 444 h 314022"/>
                <a:gd name="connsiteX1" fmla="*/ 6275 w 115050"/>
                <a:gd name="connsiteY1" fmla="*/ 1460 h 314022"/>
                <a:gd name="connsiteX2" fmla="*/ 557 w 115050"/>
                <a:gd name="connsiteY2" fmla="*/ 15564 h 314022"/>
                <a:gd name="connsiteX3" fmla="*/ 90903 w 115050"/>
                <a:gd name="connsiteY3" fmla="*/ 299916 h 314022"/>
                <a:gd name="connsiteX4" fmla="*/ 92174 w 115050"/>
                <a:gd name="connsiteY4" fmla="*/ 303982 h 314022"/>
                <a:gd name="connsiteX5" fmla="*/ 92174 w 115050"/>
                <a:gd name="connsiteY5" fmla="*/ 305761 h 314022"/>
                <a:gd name="connsiteX6" fmla="*/ 103356 w 115050"/>
                <a:gd name="connsiteY6" fmla="*/ 314020 h 314022"/>
                <a:gd name="connsiteX7" fmla="*/ 115046 w 115050"/>
                <a:gd name="connsiteY7" fmla="*/ 302852 h 314022"/>
                <a:gd name="connsiteX8" fmla="*/ 114793 w 115050"/>
                <a:gd name="connsiteY8" fmla="*/ 300171 h 314022"/>
                <a:gd name="connsiteX9" fmla="*/ 114793 w 115050"/>
                <a:gd name="connsiteY9" fmla="*/ 298265 h 314022"/>
                <a:gd name="connsiteX10" fmla="*/ 23175 w 115050"/>
                <a:gd name="connsiteY10" fmla="*/ 8194 h 314022"/>
                <a:gd name="connsiteX11" fmla="*/ 9833 w 115050"/>
                <a:gd name="connsiteY11" fmla="*/ 190 h 3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050" h="314022">
                  <a:moveTo>
                    <a:pt x="8054" y="444"/>
                  </a:moveTo>
                  <a:lnTo>
                    <a:pt x="6275" y="1460"/>
                  </a:lnTo>
                  <a:cubicBezTo>
                    <a:pt x="1231" y="4179"/>
                    <a:pt x="-1171" y="10100"/>
                    <a:pt x="557" y="15564"/>
                  </a:cubicBezTo>
                  <a:lnTo>
                    <a:pt x="90903" y="299916"/>
                  </a:lnTo>
                  <a:lnTo>
                    <a:pt x="92174" y="303982"/>
                  </a:lnTo>
                  <a:lnTo>
                    <a:pt x="92174" y="305761"/>
                  </a:lnTo>
                  <a:cubicBezTo>
                    <a:pt x="93712" y="310653"/>
                    <a:pt x="98235" y="313982"/>
                    <a:pt x="103356" y="314020"/>
                  </a:cubicBezTo>
                  <a:cubicBezTo>
                    <a:pt x="109671" y="314159"/>
                    <a:pt x="114907" y="309154"/>
                    <a:pt x="115046" y="302852"/>
                  </a:cubicBezTo>
                  <a:cubicBezTo>
                    <a:pt x="115072" y="301949"/>
                    <a:pt x="114983" y="301047"/>
                    <a:pt x="114793" y="300171"/>
                  </a:cubicBezTo>
                  <a:cubicBezTo>
                    <a:pt x="114856" y="299535"/>
                    <a:pt x="114856" y="298900"/>
                    <a:pt x="114793" y="298265"/>
                  </a:cubicBezTo>
                  <a:lnTo>
                    <a:pt x="23175" y="8194"/>
                  </a:lnTo>
                  <a:cubicBezTo>
                    <a:pt x="21358" y="2566"/>
                    <a:pt x="15653" y="-865"/>
                    <a:pt x="9833" y="190"/>
                  </a:cubicBezTo>
                  <a:close/>
                </a:path>
              </a:pathLst>
            </a:custGeom>
            <a:solidFill>
              <a:srgbClr val="000000"/>
            </a:solidFill>
            <a:ln w="12704"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BAE1D49D-6BF1-4A5D-A56B-AE956BCA19A5}"/>
                </a:ext>
              </a:extLst>
            </p:cNvPr>
            <p:cNvSpPr/>
            <p:nvPr/>
          </p:nvSpPr>
          <p:spPr>
            <a:xfrm>
              <a:off x="9030900" y="4847900"/>
              <a:ext cx="23508" cy="649005"/>
            </a:xfrm>
            <a:custGeom>
              <a:avLst/>
              <a:gdLst>
                <a:gd name="connsiteX0" fmla="*/ 21602 w 23508"/>
                <a:gd name="connsiteY0" fmla="*/ 644304 h 649005"/>
                <a:gd name="connsiteX1" fmla="*/ 23508 w 23508"/>
                <a:gd name="connsiteY1" fmla="*/ 638078 h 649005"/>
                <a:gd name="connsiteX2" fmla="*/ 23508 w 23508"/>
                <a:gd name="connsiteY2" fmla="*/ 12070 h 649005"/>
                <a:gd name="connsiteX3" fmla="*/ 21602 w 23508"/>
                <a:gd name="connsiteY3" fmla="*/ 5844 h 649005"/>
                <a:gd name="connsiteX4" fmla="*/ 19696 w 23508"/>
                <a:gd name="connsiteY4" fmla="*/ 3303 h 649005"/>
                <a:gd name="connsiteX5" fmla="*/ 11818 w 23508"/>
                <a:gd name="connsiteY5" fmla="*/ 0 h 649005"/>
                <a:gd name="connsiteX6" fmla="*/ 10547 w 23508"/>
                <a:gd name="connsiteY6" fmla="*/ 0 h 649005"/>
                <a:gd name="connsiteX7" fmla="*/ 0 w 23508"/>
                <a:gd name="connsiteY7" fmla="*/ 11816 h 649005"/>
                <a:gd name="connsiteX8" fmla="*/ 0 w 23508"/>
                <a:gd name="connsiteY8" fmla="*/ 637316 h 649005"/>
                <a:gd name="connsiteX9" fmla="*/ 10547 w 23508"/>
                <a:gd name="connsiteY9" fmla="*/ 649005 h 649005"/>
                <a:gd name="connsiteX10" fmla="*/ 11818 w 23508"/>
                <a:gd name="connsiteY10" fmla="*/ 649005 h 649005"/>
                <a:gd name="connsiteX11" fmla="*/ 19696 w 23508"/>
                <a:gd name="connsiteY11" fmla="*/ 645829 h 649005"/>
                <a:gd name="connsiteX12" fmla="*/ 21602 w 23508"/>
                <a:gd name="connsiteY12" fmla="*/ 644304 h 64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08" h="649005">
                  <a:moveTo>
                    <a:pt x="21602" y="644304"/>
                  </a:moveTo>
                  <a:cubicBezTo>
                    <a:pt x="22797" y="642449"/>
                    <a:pt x="23457" y="640289"/>
                    <a:pt x="23508" y="638078"/>
                  </a:cubicBezTo>
                  <a:lnTo>
                    <a:pt x="23508" y="12070"/>
                  </a:lnTo>
                  <a:cubicBezTo>
                    <a:pt x="23483" y="9860"/>
                    <a:pt x="22822" y="7699"/>
                    <a:pt x="21602" y="5844"/>
                  </a:cubicBezTo>
                  <a:cubicBezTo>
                    <a:pt x="21043" y="4942"/>
                    <a:pt x="20407" y="4091"/>
                    <a:pt x="19696" y="3303"/>
                  </a:cubicBezTo>
                  <a:cubicBezTo>
                    <a:pt x="17599" y="1219"/>
                    <a:pt x="14778" y="38"/>
                    <a:pt x="11818" y="0"/>
                  </a:cubicBezTo>
                  <a:lnTo>
                    <a:pt x="10547" y="0"/>
                  </a:lnTo>
                  <a:cubicBezTo>
                    <a:pt x="4524" y="648"/>
                    <a:pt x="-38" y="5756"/>
                    <a:pt x="0" y="11816"/>
                  </a:cubicBezTo>
                  <a:lnTo>
                    <a:pt x="0" y="637316"/>
                  </a:lnTo>
                  <a:cubicBezTo>
                    <a:pt x="-25" y="643351"/>
                    <a:pt x="4537" y="648421"/>
                    <a:pt x="10547" y="649005"/>
                  </a:cubicBezTo>
                  <a:lnTo>
                    <a:pt x="11818" y="649005"/>
                  </a:lnTo>
                  <a:cubicBezTo>
                    <a:pt x="14740" y="648954"/>
                    <a:pt x="17549" y="647824"/>
                    <a:pt x="19696" y="645829"/>
                  </a:cubicBezTo>
                  <a:cubicBezTo>
                    <a:pt x="20369" y="645359"/>
                    <a:pt x="21005" y="644850"/>
                    <a:pt x="21602" y="644304"/>
                  </a:cubicBezTo>
                  <a:close/>
                </a:path>
              </a:pathLst>
            </a:custGeom>
            <a:solidFill>
              <a:srgbClr val="000000"/>
            </a:solidFill>
            <a:ln w="12704"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5326A838-5F56-432A-A1FC-F88941DA6C00}"/>
                </a:ext>
              </a:extLst>
            </p:cNvPr>
            <p:cNvSpPr/>
            <p:nvPr/>
          </p:nvSpPr>
          <p:spPr>
            <a:xfrm>
              <a:off x="11517766" y="4848076"/>
              <a:ext cx="23434" cy="1122369"/>
            </a:xfrm>
            <a:custGeom>
              <a:avLst/>
              <a:gdLst>
                <a:gd name="connsiteX0" fmla="*/ 6 w 23434"/>
                <a:gd name="connsiteY0" fmla="*/ 14055 h 1122369"/>
                <a:gd name="connsiteX1" fmla="*/ 6 w 23434"/>
                <a:gd name="connsiteY1" fmla="*/ 1121734 h 1122369"/>
                <a:gd name="connsiteX2" fmla="*/ 6 w 23434"/>
                <a:gd name="connsiteY2" fmla="*/ 1122370 h 1122369"/>
                <a:gd name="connsiteX3" fmla="*/ 5979 w 23434"/>
                <a:gd name="connsiteY3" fmla="*/ 1111189 h 1122369"/>
                <a:gd name="connsiteX4" fmla="*/ 21862 w 23434"/>
                <a:gd name="connsiteY4" fmla="*/ 1115776 h 1122369"/>
                <a:gd name="connsiteX5" fmla="*/ 21989 w 23434"/>
                <a:gd name="connsiteY5" fmla="*/ 1116017 h 1122369"/>
                <a:gd name="connsiteX6" fmla="*/ 23387 w 23434"/>
                <a:gd name="connsiteY6" fmla="*/ 1118685 h 1122369"/>
                <a:gd name="connsiteX7" fmla="*/ 23387 w 23434"/>
                <a:gd name="connsiteY7" fmla="*/ 11895 h 1122369"/>
                <a:gd name="connsiteX8" fmla="*/ 23387 w 23434"/>
                <a:gd name="connsiteY8" fmla="*/ 9735 h 1122369"/>
                <a:gd name="connsiteX9" fmla="*/ 10375 w 23434"/>
                <a:gd name="connsiteY9" fmla="*/ 129 h 1122369"/>
                <a:gd name="connsiteX10" fmla="*/ 768 w 23434"/>
                <a:gd name="connsiteY10" fmla="*/ 9735 h 1122369"/>
                <a:gd name="connsiteX11" fmla="*/ 768 w 23434"/>
                <a:gd name="connsiteY11" fmla="*/ 11895 h 112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34" h="1122369">
                  <a:moveTo>
                    <a:pt x="6" y="14055"/>
                  </a:moveTo>
                  <a:lnTo>
                    <a:pt x="6" y="1121734"/>
                  </a:lnTo>
                  <a:cubicBezTo>
                    <a:pt x="6" y="1121734"/>
                    <a:pt x="6" y="1121734"/>
                    <a:pt x="6" y="1122370"/>
                  </a:cubicBezTo>
                  <a:cubicBezTo>
                    <a:pt x="-134" y="1117846"/>
                    <a:pt x="2141" y="1113590"/>
                    <a:pt x="5979" y="1111189"/>
                  </a:cubicBezTo>
                  <a:cubicBezTo>
                    <a:pt x="11633" y="1108076"/>
                    <a:pt x="18736" y="1110121"/>
                    <a:pt x="21862" y="1115776"/>
                  </a:cubicBezTo>
                  <a:cubicBezTo>
                    <a:pt x="21900" y="1115852"/>
                    <a:pt x="21951" y="1115941"/>
                    <a:pt x="21989" y="1116017"/>
                  </a:cubicBezTo>
                  <a:lnTo>
                    <a:pt x="23387" y="1118685"/>
                  </a:lnTo>
                  <a:lnTo>
                    <a:pt x="23387" y="11895"/>
                  </a:lnTo>
                  <a:cubicBezTo>
                    <a:pt x="23451" y="11171"/>
                    <a:pt x="23451" y="10459"/>
                    <a:pt x="23387" y="9735"/>
                  </a:cubicBezTo>
                  <a:cubicBezTo>
                    <a:pt x="22446" y="3484"/>
                    <a:pt x="16627" y="-811"/>
                    <a:pt x="10375" y="129"/>
                  </a:cubicBezTo>
                  <a:cubicBezTo>
                    <a:pt x="5406" y="879"/>
                    <a:pt x="1518" y="4767"/>
                    <a:pt x="768" y="9735"/>
                  </a:cubicBezTo>
                  <a:cubicBezTo>
                    <a:pt x="705" y="10459"/>
                    <a:pt x="705" y="11171"/>
                    <a:pt x="768" y="11895"/>
                  </a:cubicBezTo>
                  <a:close/>
                </a:path>
              </a:pathLst>
            </a:custGeom>
            <a:solidFill>
              <a:srgbClr val="000000"/>
            </a:solidFill>
            <a:ln w="12704"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A27770C4-7731-418B-BDC7-6214FB9274CB}"/>
                </a:ext>
              </a:extLst>
            </p:cNvPr>
            <p:cNvSpPr/>
            <p:nvPr/>
          </p:nvSpPr>
          <p:spPr>
            <a:xfrm>
              <a:off x="7986137" y="2676502"/>
              <a:ext cx="23380" cy="37862"/>
            </a:xfrm>
            <a:custGeom>
              <a:avLst/>
              <a:gdLst>
                <a:gd name="connsiteX0" fmla="*/ 22237 w 23380"/>
                <a:gd name="connsiteY0" fmla="*/ 6988 h 37862"/>
                <a:gd name="connsiteX1" fmla="*/ 18806 w 23380"/>
                <a:gd name="connsiteY1" fmla="*/ 2795 h 37862"/>
                <a:gd name="connsiteX2" fmla="*/ 11563 w 23380"/>
                <a:gd name="connsiteY2" fmla="*/ 0 h 37862"/>
                <a:gd name="connsiteX3" fmla="*/ 1016 w 23380"/>
                <a:gd name="connsiteY3" fmla="*/ 6988 h 37862"/>
                <a:gd name="connsiteX4" fmla="*/ 0 w 23380"/>
                <a:gd name="connsiteY4" fmla="*/ 10927 h 37862"/>
                <a:gd name="connsiteX5" fmla="*/ 0 w 23380"/>
                <a:gd name="connsiteY5" fmla="*/ 12070 h 37862"/>
                <a:gd name="connsiteX6" fmla="*/ 0 w 23380"/>
                <a:gd name="connsiteY6" fmla="*/ 26174 h 37862"/>
                <a:gd name="connsiteX7" fmla="*/ 11691 w 23380"/>
                <a:gd name="connsiteY7" fmla="*/ 37863 h 37862"/>
                <a:gd name="connsiteX8" fmla="*/ 23381 w 23380"/>
                <a:gd name="connsiteY8" fmla="*/ 26174 h 37862"/>
                <a:gd name="connsiteX9" fmla="*/ 23381 w 23380"/>
                <a:gd name="connsiteY9" fmla="*/ 12070 h 37862"/>
                <a:gd name="connsiteX10" fmla="*/ 22237 w 23380"/>
                <a:gd name="connsiteY10" fmla="*/ 6988 h 3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80" h="37862">
                  <a:moveTo>
                    <a:pt x="22237" y="6988"/>
                  </a:moveTo>
                  <a:cubicBezTo>
                    <a:pt x="21386" y="5375"/>
                    <a:pt x="20217" y="3952"/>
                    <a:pt x="18806" y="2795"/>
                  </a:cubicBezTo>
                  <a:cubicBezTo>
                    <a:pt x="16786" y="1042"/>
                    <a:pt x="14232" y="64"/>
                    <a:pt x="11563" y="0"/>
                  </a:cubicBezTo>
                  <a:cubicBezTo>
                    <a:pt x="7052" y="292"/>
                    <a:pt x="3037" y="2948"/>
                    <a:pt x="1016" y="6988"/>
                  </a:cubicBezTo>
                  <a:cubicBezTo>
                    <a:pt x="483" y="8246"/>
                    <a:pt x="140" y="9567"/>
                    <a:pt x="0" y="10927"/>
                  </a:cubicBezTo>
                  <a:cubicBezTo>
                    <a:pt x="0" y="10927"/>
                    <a:pt x="0" y="11689"/>
                    <a:pt x="0" y="12070"/>
                  </a:cubicBezTo>
                  <a:lnTo>
                    <a:pt x="0" y="26174"/>
                  </a:lnTo>
                  <a:cubicBezTo>
                    <a:pt x="0" y="32628"/>
                    <a:pt x="5235" y="37863"/>
                    <a:pt x="11691" y="37863"/>
                  </a:cubicBezTo>
                  <a:cubicBezTo>
                    <a:pt x="18146" y="37863"/>
                    <a:pt x="23381" y="32628"/>
                    <a:pt x="23381" y="26174"/>
                  </a:cubicBezTo>
                  <a:lnTo>
                    <a:pt x="23381" y="12070"/>
                  </a:lnTo>
                  <a:cubicBezTo>
                    <a:pt x="23317" y="10317"/>
                    <a:pt x="22936" y="8602"/>
                    <a:pt x="22237" y="6988"/>
                  </a:cubicBezTo>
                  <a:close/>
                </a:path>
              </a:pathLst>
            </a:custGeom>
            <a:solidFill>
              <a:srgbClr val="000000"/>
            </a:solidFill>
            <a:ln w="12704"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9FC7C867-3D1F-4455-94BC-BD04C952EA55}"/>
                </a:ext>
              </a:extLst>
            </p:cNvPr>
            <p:cNvSpPr/>
            <p:nvPr/>
          </p:nvSpPr>
          <p:spPr>
            <a:xfrm>
              <a:off x="11517814" y="5957968"/>
              <a:ext cx="85966" cy="143600"/>
            </a:xfrm>
            <a:custGeom>
              <a:avLst/>
              <a:gdLst>
                <a:gd name="connsiteX0" fmla="*/ 6057 w 85966"/>
                <a:gd name="connsiteY0" fmla="*/ 1297 h 143600"/>
                <a:gd name="connsiteX1" fmla="*/ 86 w 85966"/>
                <a:gd name="connsiteY1" fmla="*/ 12478 h 143600"/>
                <a:gd name="connsiteX2" fmla="*/ 86 w 85966"/>
                <a:gd name="connsiteY2" fmla="*/ 14765 h 143600"/>
                <a:gd name="connsiteX3" fmla="*/ 86 w 85966"/>
                <a:gd name="connsiteY3" fmla="*/ 17052 h 143600"/>
                <a:gd name="connsiteX4" fmla="*/ 86 w 85966"/>
                <a:gd name="connsiteY4" fmla="*/ 17687 h 143600"/>
                <a:gd name="connsiteX5" fmla="*/ 60062 w 85966"/>
                <a:gd name="connsiteY5" fmla="*/ 130005 h 143600"/>
                <a:gd name="connsiteX6" fmla="*/ 62223 w 85966"/>
                <a:gd name="connsiteY6" fmla="*/ 134198 h 143600"/>
                <a:gd name="connsiteX7" fmla="*/ 64255 w 85966"/>
                <a:gd name="connsiteY7" fmla="*/ 137883 h 143600"/>
                <a:gd name="connsiteX8" fmla="*/ 66162 w 85966"/>
                <a:gd name="connsiteY8" fmla="*/ 140551 h 143600"/>
                <a:gd name="connsiteX9" fmla="*/ 66162 w 85966"/>
                <a:gd name="connsiteY9" fmla="*/ 140551 h 143600"/>
                <a:gd name="connsiteX10" fmla="*/ 69338 w 85966"/>
                <a:gd name="connsiteY10" fmla="*/ 142711 h 143600"/>
                <a:gd name="connsiteX11" fmla="*/ 70354 w 85966"/>
                <a:gd name="connsiteY11" fmla="*/ 142711 h 143600"/>
                <a:gd name="connsiteX12" fmla="*/ 74421 w 85966"/>
                <a:gd name="connsiteY12" fmla="*/ 143600 h 143600"/>
                <a:gd name="connsiteX13" fmla="*/ 74421 w 85966"/>
                <a:gd name="connsiteY13" fmla="*/ 143600 h 143600"/>
                <a:gd name="connsiteX14" fmla="*/ 80012 w 85966"/>
                <a:gd name="connsiteY14" fmla="*/ 142076 h 143600"/>
                <a:gd name="connsiteX15" fmla="*/ 84713 w 85966"/>
                <a:gd name="connsiteY15" fmla="*/ 125812 h 143600"/>
                <a:gd name="connsiteX16" fmla="*/ 81283 w 85966"/>
                <a:gd name="connsiteY16" fmla="*/ 119587 h 143600"/>
                <a:gd name="connsiteX17" fmla="*/ 23085 w 85966"/>
                <a:gd name="connsiteY17" fmla="*/ 8793 h 143600"/>
                <a:gd name="connsiteX18" fmla="*/ 21687 w 85966"/>
                <a:gd name="connsiteY18" fmla="*/ 6125 h 143600"/>
                <a:gd name="connsiteX19" fmla="*/ 6057 w 85966"/>
                <a:gd name="connsiteY19" fmla="*/ 1297 h 1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966" h="143600">
                  <a:moveTo>
                    <a:pt x="6057" y="1297"/>
                  </a:moveTo>
                  <a:cubicBezTo>
                    <a:pt x="2220" y="3698"/>
                    <a:pt x="-54" y="7955"/>
                    <a:pt x="86" y="12478"/>
                  </a:cubicBezTo>
                  <a:cubicBezTo>
                    <a:pt x="-29" y="13240"/>
                    <a:pt x="-29" y="14003"/>
                    <a:pt x="86" y="14765"/>
                  </a:cubicBezTo>
                  <a:cubicBezTo>
                    <a:pt x="22" y="15527"/>
                    <a:pt x="22" y="16290"/>
                    <a:pt x="86" y="17052"/>
                  </a:cubicBezTo>
                  <a:lnTo>
                    <a:pt x="86" y="17687"/>
                  </a:lnTo>
                  <a:lnTo>
                    <a:pt x="60062" y="130005"/>
                  </a:lnTo>
                  <a:lnTo>
                    <a:pt x="62223" y="134198"/>
                  </a:lnTo>
                  <a:lnTo>
                    <a:pt x="64255" y="137883"/>
                  </a:lnTo>
                  <a:cubicBezTo>
                    <a:pt x="64738" y="138874"/>
                    <a:pt x="65386" y="139776"/>
                    <a:pt x="66162" y="140551"/>
                  </a:cubicBezTo>
                  <a:lnTo>
                    <a:pt x="66162" y="140551"/>
                  </a:lnTo>
                  <a:cubicBezTo>
                    <a:pt x="67102" y="141428"/>
                    <a:pt x="68182" y="142152"/>
                    <a:pt x="69338" y="142711"/>
                  </a:cubicBezTo>
                  <a:lnTo>
                    <a:pt x="70354" y="142711"/>
                  </a:lnTo>
                  <a:cubicBezTo>
                    <a:pt x="71638" y="143257"/>
                    <a:pt x="73023" y="143562"/>
                    <a:pt x="74421" y="143600"/>
                  </a:cubicBezTo>
                  <a:lnTo>
                    <a:pt x="74421" y="143600"/>
                  </a:lnTo>
                  <a:cubicBezTo>
                    <a:pt x="76391" y="143588"/>
                    <a:pt x="78309" y="143067"/>
                    <a:pt x="80012" y="142076"/>
                  </a:cubicBezTo>
                  <a:cubicBezTo>
                    <a:pt x="85489" y="138645"/>
                    <a:pt x="87509" y="131644"/>
                    <a:pt x="84713" y="125812"/>
                  </a:cubicBezTo>
                  <a:lnTo>
                    <a:pt x="81283" y="119587"/>
                  </a:lnTo>
                  <a:lnTo>
                    <a:pt x="23085" y="8793"/>
                  </a:lnTo>
                  <a:lnTo>
                    <a:pt x="21687" y="6125"/>
                  </a:lnTo>
                  <a:cubicBezTo>
                    <a:pt x="18663" y="535"/>
                    <a:pt x="11712" y="-1613"/>
                    <a:pt x="6057" y="1297"/>
                  </a:cubicBezTo>
                  <a:close/>
                </a:path>
              </a:pathLst>
            </a:custGeom>
            <a:solidFill>
              <a:srgbClr val="000000"/>
            </a:solidFill>
            <a:ln w="12704" cap="flat">
              <a:noFill/>
              <a:prstDash val="solid"/>
              <a:miter/>
            </a:ln>
          </p:spPr>
          <p:txBody>
            <a:bodyPr rtlCol="0" anchor="ctr"/>
            <a:lstStyle/>
            <a:p>
              <a:endParaRPr lang="en-US"/>
            </a:p>
          </p:txBody>
        </p:sp>
      </p:gr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8569738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CA106-0FC3-4FE9-9338-4AC3D15608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BF6510-D603-481E-B685-9095150A28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43757-ABC3-44BF-87D3-5E323E9B00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A79566-C1F8-443D-A135-C668898477AE}"/>
              </a:ext>
            </a:extLst>
          </p:cNvPr>
          <p:cNvSpPr>
            <a:spLocks noGrp="1"/>
          </p:cNvSpPr>
          <p:nvPr>
            <p:ph type="dt" sz="half" idx="10"/>
          </p:nvPr>
        </p:nvSpPr>
        <p:spPr/>
        <p:txBody>
          <a:bodyPr/>
          <a:lstStyle/>
          <a:p>
            <a:r>
              <a:rPr lang="en-US"/>
              <a:t>7/1/20XX</a:t>
            </a:r>
          </a:p>
        </p:txBody>
      </p:sp>
      <p:sp>
        <p:nvSpPr>
          <p:cNvPr id="6" name="Footer Placeholder 5">
            <a:extLst>
              <a:ext uri="{FF2B5EF4-FFF2-40B4-BE49-F238E27FC236}">
                <a16:creationId xmlns:a16="http://schemas.microsoft.com/office/drawing/2014/main" id="{035CF363-F733-460B-9E71-BF70442AC396}"/>
              </a:ext>
            </a:extLst>
          </p:cNvPr>
          <p:cNvSpPr>
            <a:spLocks noGrp="1"/>
          </p:cNvSpPr>
          <p:nvPr>
            <p:ph type="ftr" sz="quarter" idx="11"/>
          </p:nvPr>
        </p:nvSpPr>
        <p:spPr/>
        <p:txBody>
          <a:bodyPr/>
          <a:lstStyle/>
          <a:p>
            <a:r>
              <a:rPr lang="en-US"/>
              <a:t>Pitch deck title</a:t>
            </a:r>
          </a:p>
        </p:txBody>
      </p:sp>
      <p:sp>
        <p:nvSpPr>
          <p:cNvPr id="7" name="Slide Number Placeholder 6">
            <a:extLst>
              <a:ext uri="{FF2B5EF4-FFF2-40B4-BE49-F238E27FC236}">
                <a16:creationId xmlns:a16="http://schemas.microsoft.com/office/drawing/2014/main" id="{A3B0FA47-58F4-4B95-AD52-4EFE7977ACEC}"/>
              </a:ext>
            </a:extLst>
          </p:cNvPr>
          <p:cNvSpPr>
            <a:spLocks noGrp="1"/>
          </p:cNvSpPr>
          <p:nvPr>
            <p:ph type="sldNum" sz="quarter" idx="12"/>
          </p:nvPr>
        </p:nvSpPr>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489493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4411E-20EA-4627-8A68-17038DCE18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74E5B2-1EB9-4222-8FAB-65BDC9A950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197C18-82B5-4EB5-9010-63FFB7F531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32AD86-1F8B-4DE6-9736-793E1781772C}"/>
              </a:ext>
            </a:extLst>
          </p:cNvPr>
          <p:cNvSpPr>
            <a:spLocks noGrp="1"/>
          </p:cNvSpPr>
          <p:nvPr>
            <p:ph type="dt" sz="half" idx="10"/>
          </p:nvPr>
        </p:nvSpPr>
        <p:spPr/>
        <p:txBody>
          <a:bodyPr/>
          <a:lstStyle/>
          <a:p>
            <a:r>
              <a:rPr lang="en-US"/>
              <a:t>7/1/20XX</a:t>
            </a:r>
          </a:p>
        </p:txBody>
      </p:sp>
      <p:sp>
        <p:nvSpPr>
          <p:cNvPr id="6" name="Footer Placeholder 5">
            <a:extLst>
              <a:ext uri="{FF2B5EF4-FFF2-40B4-BE49-F238E27FC236}">
                <a16:creationId xmlns:a16="http://schemas.microsoft.com/office/drawing/2014/main" id="{FA60A3B3-8B02-4D8B-A982-7C7CA03A9290}"/>
              </a:ext>
            </a:extLst>
          </p:cNvPr>
          <p:cNvSpPr>
            <a:spLocks noGrp="1"/>
          </p:cNvSpPr>
          <p:nvPr>
            <p:ph type="ftr" sz="quarter" idx="11"/>
          </p:nvPr>
        </p:nvSpPr>
        <p:spPr/>
        <p:txBody>
          <a:bodyPr/>
          <a:lstStyle/>
          <a:p>
            <a:r>
              <a:rPr lang="en-US"/>
              <a:t>Pitch deck title</a:t>
            </a:r>
          </a:p>
        </p:txBody>
      </p:sp>
      <p:sp>
        <p:nvSpPr>
          <p:cNvPr id="7" name="Slide Number Placeholder 6">
            <a:extLst>
              <a:ext uri="{FF2B5EF4-FFF2-40B4-BE49-F238E27FC236}">
                <a16:creationId xmlns:a16="http://schemas.microsoft.com/office/drawing/2014/main" id="{989C9CBB-7187-447C-9F33-04CFDCD0B2D0}"/>
              </a:ext>
            </a:extLst>
          </p:cNvPr>
          <p:cNvSpPr>
            <a:spLocks noGrp="1"/>
          </p:cNvSpPr>
          <p:nvPr>
            <p:ph type="sldNum" sz="quarter" idx="12"/>
          </p:nvPr>
        </p:nvSpPr>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2988813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Problem">
    <p:spTree>
      <p:nvGrpSpPr>
        <p:cNvPr id="1" name=""/>
        <p:cNvGrpSpPr/>
        <p:nvPr/>
      </p:nvGrpSpPr>
      <p:grpSpPr>
        <a:xfrm>
          <a:off x="0" y="0"/>
          <a:ext cx="0" cy="0"/>
          <a:chOff x="0" y="0"/>
          <a:chExt cx="0" cy="0"/>
        </a:xfrm>
      </p:grpSpPr>
      <p:grpSp>
        <p:nvGrpSpPr>
          <p:cNvPr id="20" name="Picture Placeholder 57" descr="abstract colorful illustration of buildings">
            <a:extLst>
              <a:ext uri="{FF2B5EF4-FFF2-40B4-BE49-F238E27FC236}">
                <a16:creationId xmlns:a16="http://schemas.microsoft.com/office/drawing/2014/main" id="{1DD1F8B0-C735-4424-AEEE-89EF4992D4BE}"/>
              </a:ext>
            </a:extLst>
          </p:cNvPr>
          <p:cNvGrpSpPr/>
          <p:nvPr userDrawn="1"/>
        </p:nvGrpSpPr>
        <p:grpSpPr>
          <a:xfrm>
            <a:off x="8485632" y="182880"/>
            <a:ext cx="3734545" cy="6674797"/>
            <a:chOff x="8485632" y="182880"/>
            <a:chExt cx="3734545" cy="6674797"/>
          </a:xfrm>
        </p:grpSpPr>
        <p:sp>
          <p:nvSpPr>
            <p:cNvPr id="21" name="Freeform: Shape 20">
              <a:extLst>
                <a:ext uri="{FF2B5EF4-FFF2-40B4-BE49-F238E27FC236}">
                  <a16:creationId xmlns:a16="http://schemas.microsoft.com/office/drawing/2014/main" id="{89A81CD6-5D93-4594-9E02-67A5952F15CD}"/>
                </a:ext>
              </a:extLst>
            </p:cNvPr>
            <p:cNvSpPr/>
            <p:nvPr/>
          </p:nvSpPr>
          <p:spPr>
            <a:xfrm>
              <a:off x="10104398" y="3236782"/>
              <a:ext cx="1101520" cy="880131"/>
            </a:xfrm>
            <a:custGeom>
              <a:avLst/>
              <a:gdLst>
                <a:gd name="connsiteX0" fmla="*/ 481836 w 1101520"/>
                <a:gd name="connsiteY0" fmla="*/ 880131 h 880131"/>
                <a:gd name="connsiteX1" fmla="*/ 497012 w 1101520"/>
                <a:gd name="connsiteY1" fmla="*/ 872544 h 880131"/>
                <a:gd name="connsiteX2" fmla="*/ 875146 w 1101520"/>
                <a:gd name="connsiteY2" fmla="*/ 695506 h 880131"/>
                <a:gd name="connsiteX3" fmla="*/ 875146 w 1101520"/>
                <a:gd name="connsiteY3" fmla="*/ 695506 h 880131"/>
                <a:gd name="connsiteX4" fmla="*/ 876411 w 1101520"/>
                <a:gd name="connsiteY4" fmla="*/ 695506 h 880131"/>
                <a:gd name="connsiteX5" fmla="*/ 880205 w 1101520"/>
                <a:gd name="connsiteY5" fmla="*/ 695506 h 880131"/>
                <a:gd name="connsiteX6" fmla="*/ 1101520 w 1101520"/>
                <a:gd name="connsiteY6" fmla="*/ 804258 h 880131"/>
                <a:gd name="connsiteX7" fmla="*/ 972525 w 1101520"/>
                <a:gd name="connsiteY7" fmla="*/ 0 h 880131"/>
                <a:gd name="connsiteX8" fmla="*/ 0 w 1101520"/>
                <a:gd name="connsiteY8" fmla="*/ 422362 h 880131"/>
                <a:gd name="connsiteX9" fmla="*/ 45528 w 1101520"/>
                <a:gd name="connsiteY9" fmla="*/ 652511 h 880131"/>
                <a:gd name="connsiteX10" fmla="*/ 481836 w 1101520"/>
                <a:gd name="connsiteY10" fmla="*/ 880131 h 880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520" h="880131">
                  <a:moveTo>
                    <a:pt x="481836" y="880131"/>
                  </a:moveTo>
                  <a:lnTo>
                    <a:pt x="497012" y="872544"/>
                  </a:lnTo>
                  <a:lnTo>
                    <a:pt x="875146" y="695506"/>
                  </a:lnTo>
                  <a:lnTo>
                    <a:pt x="875146" y="695506"/>
                  </a:lnTo>
                  <a:lnTo>
                    <a:pt x="876411" y="695506"/>
                  </a:lnTo>
                  <a:lnTo>
                    <a:pt x="880205" y="695506"/>
                  </a:lnTo>
                  <a:lnTo>
                    <a:pt x="1101520" y="804258"/>
                  </a:lnTo>
                  <a:lnTo>
                    <a:pt x="972525" y="0"/>
                  </a:lnTo>
                  <a:lnTo>
                    <a:pt x="0" y="422362"/>
                  </a:lnTo>
                  <a:lnTo>
                    <a:pt x="45528" y="652511"/>
                  </a:lnTo>
                  <a:lnTo>
                    <a:pt x="481836" y="880131"/>
                  </a:lnTo>
                  <a:close/>
                </a:path>
              </a:pathLst>
            </a:custGeom>
            <a:solidFill>
              <a:schemeClr val="accent2">
                <a:lumMod val="75000"/>
              </a:schemeClr>
            </a:solidFill>
            <a:ln w="126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F7AA70F-B66A-45A2-B251-4B30ED5E9627}"/>
                </a:ext>
              </a:extLst>
            </p:cNvPr>
            <p:cNvSpPr/>
            <p:nvPr/>
          </p:nvSpPr>
          <p:spPr>
            <a:xfrm>
              <a:off x="10608998" y="3943669"/>
              <a:ext cx="489424" cy="891512"/>
            </a:xfrm>
            <a:custGeom>
              <a:avLst/>
              <a:gdLst>
                <a:gd name="connsiteX0" fmla="*/ 489424 w 489424"/>
                <a:gd name="connsiteY0" fmla="*/ 710681 h 891512"/>
                <a:gd name="connsiteX1" fmla="*/ 369281 w 489424"/>
                <a:gd name="connsiteY1" fmla="*/ 0 h 891512"/>
                <a:gd name="connsiteX2" fmla="*/ 0 w 489424"/>
                <a:gd name="connsiteY2" fmla="*/ 171980 h 891512"/>
                <a:gd name="connsiteX3" fmla="*/ 131525 w 489424"/>
                <a:gd name="connsiteY3" fmla="*/ 891512 h 891512"/>
              </a:gdLst>
              <a:ahLst/>
              <a:cxnLst>
                <a:cxn ang="0">
                  <a:pos x="connsiteX0" y="connsiteY0"/>
                </a:cxn>
                <a:cxn ang="0">
                  <a:pos x="connsiteX1" y="connsiteY1"/>
                </a:cxn>
                <a:cxn ang="0">
                  <a:pos x="connsiteX2" y="connsiteY2"/>
                </a:cxn>
                <a:cxn ang="0">
                  <a:pos x="connsiteX3" y="connsiteY3"/>
                </a:cxn>
              </a:cxnLst>
              <a:rect l="l" t="t" r="r" b="b"/>
              <a:pathLst>
                <a:path w="489424" h="891512">
                  <a:moveTo>
                    <a:pt x="489424" y="710681"/>
                  </a:moveTo>
                  <a:lnTo>
                    <a:pt x="369281" y="0"/>
                  </a:lnTo>
                  <a:lnTo>
                    <a:pt x="0" y="171980"/>
                  </a:lnTo>
                  <a:lnTo>
                    <a:pt x="131525" y="891512"/>
                  </a:lnTo>
                  <a:close/>
                </a:path>
              </a:pathLst>
            </a:custGeom>
            <a:solidFill>
              <a:schemeClr val="accent1"/>
            </a:solidFill>
            <a:ln w="126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2A3011B5-3181-4160-A071-F73460529704}"/>
                </a:ext>
              </a:extLst>
            </p:cNvPr>
            <p:cNvSpPr/>
            <p:nvPr/>
          </p:nvSpPr>
          <p:spPr>
            <a:xfrm>
              <a:off x="10591293" y="4120707"/>
              <a:ext cx="140377" cy="722061"/>
            </a:xfrm>
            <a:custGeom>
              <a:avLst/>
              <a:gdLst>
                <a:gd name="connsiteX0" fmla="*/ 140378 w 140377"/>
                <a:gd name="connsiteY0" fmla="*/ 718268 h 722061"/>
                <a:gd name="connsiteX1" fmla="*/ 8853 w 140377"/>
                <a:gd name="connsiteY1" fmla="*/ 0 h 722061"/>
                <a:gd name="connsiteX2" fmla="*/ 0 w 140377"/>
                <a:gd name="connsiteY2" fmla="*/ 3794 h 722061"/>
                <a:gd name="connsiteX3" fmla="*/ 131525 w 140377"/>
                <a:gd name="connsiteY3" fmla="*/ 722062 h 722061"/>
              </a:gdLst>
              <a:ahLst/>
              <a:cxnLst>
                <a:cxn ang="0">
                  <a:pos x="connsiteX0" y="connsiteY0"/>
                </a:cxn>
                <a:cxn ang="0">
                  <a:pos x="connsiteX1" y="connsiteY1"/>
                </a:cxn>
                <a:cxn ang="0">
                  <a:pos x="connsiteX2" y="connsiteY2"/>
                </a:cxn>
                <a:cxn ang="0">
                  <a:pos x="connsiteX3" y="connsiteY3"/>
                </a:cxn>
              </a:cxnLst>
              <a:rect l="l" t="t" r="r" b="b"/>
              <a:pathLst>
                <a:path w="140377" h="722061">
                  <a:moveTo>
                    <a:pt x="140378" y="718268"/>
                  </a:moveTo>
                  <a:lnTo>
                    <a:pt x="8853" y="0"/>
                  </a:lnTo>
                  <a:lnTo>
                    <a:pt x="0" y="3794"/>
                  </a:lnTo>
                  <a:lnTo>
                    <a:pt x="131525" y="722062"/>
                  </a:lnTo>
                  <a:close/>
                </a:path>
              </a:pathLst>
            </a:custGeom>
            <a:solidFill>
              <a:srgbClr val="66B2B0"/>
            </a:solidFill>
            <a:ln w="126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B0AAB3A-ED5A-4BE4-AA17-19D69D3C7ED5}"/>
                </a:ext>
              </a:extLst>
            </p:cNvPr>
            <p:cNvSpPr/>
            <p:nvPr/>
          </p:nvSpPr>
          <p:spPr>
            <a:xfrm>
              <a:off x="10152456" y="3901939"/>
              <a:ext cx="561509" cy="939564"/>
            </a:xfrm>
            <a:custGeom>
              <a:avLst/>
              <a:gdLst>
                <a:gd name="connsiteX0" fmla="*/ 429985 w 561509"/>
                <a:gd name="connsiteY0" fmla="*/ 222562 h 939564"/>
                <a:gd name="connsiteX1" fmla="*/ 0 w 561509"/>
                <a:gd name="connsiteY1" fmla="*/ 0 h 939564"/>
                <a:gd name="connsiteX2" fmla="*/ 139113 w 561509"/>
                <a:gd name="connsiteY2" fmla="*/ 699299 h 939564"/>
                <a:gd name="connsiteX3" fmla="*/ 561510 w 561509"/>
                <a:gd name="connsiteY3" fmla="*/ 939565 h 939564"/>
              </a:gdLst>
              <a:ahLst/>
              <a:cxnLst>
                <a:cxn ang="0">
                  <a:pos x="connsiteX0" y="connsiteY0"/>
                </a:cxn>
                <a:cxn ang="0">
                  <a:pos x="connsiteX1" y="connsiteY1"/>
                </a:cxn>
                <a:cxn ang="0">
                  <a:pos x="connsiteX2" y="connsiteY2"/>
                </a:cxn>
                <a:cxn ang="0">
                  <a:pos x="connsiteX3" y="connsiteY3"/>
                </a:cxn>
              </a:cxnLst>
              <a:rect l="l" t="t" r="r" b="b"/>
              <a:pathLst>
                <a:path w="561509" h="939564">
                  <a:moveTo>
                    <a:pt x="429985" y="222562"/>
                  </a:moveTo>
                  <a:lnTo>
                    <a:pt x="0" y="0"/>
                  </a:lnTo>
                  <a:lnTo>
                    <a:pt x="139113" y="699299"/>
                  </a:lnTo>
                  <a:lnTo>
                    <a:pt x="561510" y="939565"/>
                  </a:lnTo>
                  <a:close/>
                </a:path>
              </a:pathLst>
            </a:custGeom>
            <a:solidFill>
              <a:schemeClr val="bg2"/>
            </a:solidFill>
            <a:ln w="126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6FFE60A7-2DA7-4C31-9BD0-896F9D2FF18F}"/>
                </a:ext>
              </a:extLst>
            </p:cNvPr>
            <p:cNvSpPr/>
            <p:nvPr/>
          </p:nvSpPr>
          <p:spPr>
            <a:xfrm>
              <a:off x="10614057" y="314393"/>
              <a:ext cx="939643" cy="4584015"/>
            </a:xfrm>
            <a:custGeom>
              <a:avLst/>
              <a:gdLst>
                <a:gd name="connsiteX0" fmla="*/ 600714 w 939643"/>
                <a:gd name="connsiteY0" fmla="*/ 3734234 h 4584015"/>
                <a:gd name="connsiteX1" fmla="*/ 600714 w 939643"/>
                <a:gd name="connsiteY1" fmla="*/ 3734234 h 4584015"/>
                <a:gd name="connsiteX2" fmla="*/ 600714 w 939643"/>
                <a:gd name="connsiteY2" fmla="*/ 3735499 h 4584015"/>
                <a:gd name="connsiteX3" fmla="*/ 600714 w 939643"/>
                <a:gd name="connsiteY3" fmla="*/ 3735499 h 4584015"/>
                <a:gd name="connsiteX4" fmla="*/ 600714 w 939643"/>
                <a:gd name="connsiteY4" fmla="*/ 3735499 h 4584015"/>
                <a:gd name="connsiteX5" fmla="*/ 599450 w 939643"/>
                <a:gd name="connsiteY5" fmla="*/ 3736763 h 4584015"/>
                <a:gd name="connsiteX6" fmla="*/ 599450 w 939643"/>
                <a:gd name="connsiteY6" fmla="*/ 3736763 h 4584015"/>
                <a:gd name="connsiteX7" fmla="*/ 598185 w 939643"/>
                <a:gd name="connsiteY7" fmla="*/ 3736763 h 4584015"/>
                <a:gd name="connsiteX8" fmla="*/ 596920 w 939643"/>
                <a:gd name="connsiteY8" fmla="*/ 3736763 h 4584015"/>
                <a:gd name="connsiteX9" fmla="*/ 595656 w 939643"/>
                <a:gd name="connsiteY9" fmla="*/ 3736763 h 4584015"/>
                <a:gd name="connsiteX10" fmla="*/ 594391 w 939643"/>
                <a:gd name="connsiteY10" fmla="*/ 3736763 h 4584015"/>
                <a:gd name="connsiteX11" fmla="*/ 594391 w 939643"/>
                <a:gd name="connsiteY11" fmla="*/ 3736763 h 4584015"/>
                <a:gd name="connsiteX12" fmla="*/ 374340 w 939643"/>
                <a:gd name="connsiteY12" fmla="*/ 3628011 h 4584015"/>
                <a:gd name="connsiteX13" fmla="*/ 493218 w 939643"/>
                <a:gd name="connsiteY13" fmla="*/ 4339957 h 4584015"/>
                <a:gd name="connsiteX14" fmla="*/ 493218 w 939643"/>
                <a:gd name="connsiteY14" fmla="*/ 4339957 h 4584015"/>
                <a:gd name="connsiteX15" fmla="*/ 493218 w 939643"/>
                <a:gd name="connsiteY15" fmla="*/ 4341221 h 4584015"/>
                <a:gd name="connsiteX16" fmla="*/ 493218 w 939643"/>
                <a:gd name="connsiteY16" fmla="*/ 4342486 h 4584015"/>
                <a:gd name="connsiteX17" fmla="*/ 493218 w 939643"/>
                <a:gd name="connsiteY17" fmla="*/ 4343750 h 4584015"/>
                <a:gd name="connsiteX18" fmla="*/ 493218 w 939643"/>
                <a:gd name="connsiteY18" fmla="*/ 4343750 h 4584015"/>
                <a:gd name="connsiteX19" fmla="*/ 939644 w 939643"/>
                <a:gd name="connsiteY19" fmla="*/ 4584016 h 4584015"/>
                <a:gd name="connsiteX20" fmla="*/ 878940 w 939643"/>
                <a:gd name="connsiteY20" fmla="*/ 4205914 h 4584015"/>
                <a:gd name="connsiteX21" fmla="*/ 824559 w 939643"/>
                <a:gd name="connsiteY21" fmla="*/ 3851838 h 4584015"/>
                <a:gd name="connsiteX22" fmla="*/ 247874 w 939643"/>
                <a:gd name="connsiteY22" fmla="*/ 58170 h 4584015"/>
                <a:gd name="connsiteX23" fmla="*/ 0 w 939643"/>
                <a:gd name="connsiteY23" fmla="*/ 0 h 4584015"/>
                <a:gd name="connsiteX24" fmla="*/ 466660 w 939643"/>
                <a:gd name="connsiteY24" fmla="*/ 2916066 h 4584015"/>
                <a:gd name="connsiteX25" fmla="*/ 600714 w 939643"/>
                <a:gd name="connsiteY25" fmla="*/ 3734234 h 4584015"/>
                <a:gd name="connsiteX26" fmla="*/ 600714 w 939643"/>
                <a:gd name="connsiteY26" fmla="*/ 3734234 h 458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39643" h="4584015">
                  <a:moveTo>
                    <a:pt x="600714" y="3734234"/>
                  </a:moveTo>
                  <a:lnTo>
                    <a:pt x="600714" y="3734234"/>
                  </a:lnTo>
                  <a:cubicBezTo>
                    <a:pt x="600714" y="3735499"/>
                    <a:pt x="600714" y="3735499"/>
                    <a:pt x="600714" y="3735499"/>
                  </a:cubicBezTo>
                  <a:cubicBezTo>
                    <a:pt x="600714" y="3735499"/>
                    <a:pt x="600714" y="3735499"/>
                    <a:pt x="600714" y="3735499"/>
                  </a:cubicBezTo>
                  <a:lnTo>
                    <a:pt x="600714" y="3735499"/>
                  </a:lnTo>
                  <a:lnTo>
                    <a:pt x="599450" y="3736763"/>
                  </a:lnTo>
                  <a:lnTo>
                    <a:pt x="599450" y="3736763"/>
                  </a:lnTo>
                  <a:lnTo>
                    <a:pt x="598185" y="3736763"/>
                  </a:lnTo>
                  <a:lnTo>
                    <a:pt x="596920" y="3736763"/>
                  </a:lnTo>
                  <a:lnTo>
                    <a:pt x="595656" y="3736763"/>
                  </a:lnTo>
                  <a:lnTo>
                    <a:pt x="594391" y="3736763"/>
                  </a:lnTo>
                  <a:lnTo>
                    <a:pt x="594391" y="3736763"/>
                  </a:lnTo>
                  <a:lnTo>
                    <a:pt x="374340" y="3628011"/>
                  </a:lnTo>
                  <a:lnTo>
                    <a:pt x="493218" y="4339957"/>
                  </a:lnTo>
                  <a:lnTo>
                    <a:pt x="493218" y="4339957"/>
                  </a:lnTo>
                  <a:cubicBezTo>
                    <a:pt x="493218" y="4339957"/>
                    <a:pt x="493218" y="4341221"/>
                    <a:pt x="493218" y="4341221"/>
                  </a:cubicBezTo>
                  <a:cubicBezTo>
                    <a:pt x="493218" y="4341221"/>
                    <a:pt x="493218" y="4341221"/>
                    <a:pt x="493218" y="4342486"/>
                  </a:cubicBezTo>
                  <a:cubicBezTo>
                    <a:pt x="493218" y="4342486"/>
                    <a:pt x="493218" y="4342486"/>
                    <a:pt x="493218" y="4343750"/>
                  </a:cubicBezTo>
                  <a:lnTo>
                    <a:pt x="493218" y="4343750"/>
                  </a:lnTo>
                  <a:lnTo>
                    <a:pt x="939644" y="4584016"/>
                  </a:lnTo>
                  <a:lnTo>
                    <a:pt x="878940" y="4205914"/>
                  </a:lnTo>
                  <a:lnTo>
                    <a:pt x="824559" y="3851838"/>
                  </a:lnTo>
                  <a:lnTo>
                    <a:pt x="247874" y="58170"/>
                  </a:lnTo>
                  <a:lnTo>
                    <a:pt x="0" y="0"/>
                  </a:lnTo>
                  <a:lnTo>
                    <a:pt x="466660" y="2916066"/>
                  </a:lnTo>
                  <a:lnTo>
                    <a:pt x="600714" y="3734234"/>
                  </a:lnTo>
                  <a:lnTo>
                    <a:pt x="600714" y="3734234"/>
                  </a:lnTo>
                  <a:close/>
                </a:path>
              </a:pathLst>
            </a:custGeom>
            <a:solidFill>
              <a:schemeClr val="accent6">
                <a:lumMod val="60000"/>
                <a:lumOff val="40000"/>
              </a:schemeClr>
            </a:solidFill>
            <a:ln w="126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D621BD3-AD98-439D-AA20-82BDABBC6058}"/>
                </a:ext>
              </a:extLst>
            </p:cNvPr>
            <p:cNvSpPr/>
            <p:nvPr/>
          </p:nvSpPr>
          <p:spPr>
            <a:xfrm>
              <a:off x="9991844" y="4660111"/>
              <a:ext cx="1561857" cy="835169"/>
            </a:xfrm>
            <a:custGeom>
              <a:avLst/>
              <a:gdLst>
                <a:gd name="connsiteX0" fmla="*/ 1114167 w 1561857"/>
                <a:gd name="connsiteY0" fmla="*/ 562 h 835169"/>
                <a:gd name="connsiteX1" fmla="*/ 1114167 w 1561857"/>
                <a:gd name="connsiteY1" fmla="*/ 562 h 835169"/>
                <a:gd name="connsiteX2" fmla="*/ 1114167 w 1561857"/>
                <a:gd name="connsiteY2" fmla="*/ 562 h 835169"/>
                <a:gd name="connsiteX3" fmla="*/ 746151 w 1561857"/>
                <a:gd name="connsiteY3" fmla="*/ 185187 h 835169"/>
                <a:gd name="connsiteX4" fmla="*/ 729710 w 1561857"/>
                <a:gd name="connsiteY4" fmla="*/ 194039 h 835169"/>
                <a:gd name="connsiteX5" fmla="*/ 510923 w 1561857"/>
                <a:gd name="connsiteY5" fmla="*/ 304056 h 835169"/>
                <a:gd name="connsiteX6" fmla="*/ 359164 w 1561857"/>
                <a:gd name="connsiteY6" fmla="*/ 379929 h 835169"/>
                <a:gd name="connsiteX7" fmla="*/ 221316 w 1561857"/>
                <a:gd name="connsiteY7" fmla="*/ 449479 h 835169"/>
                <a:gd name="connsiteX8" fmla="*/ 0 w 1561857"/>
                <a:gd name="connsiteY8" fmla="*/ 562025 h 835169"/>
                <a:gd name="connsiteX9" fmla="*/ 432514 w 1561857"/>
                <a:gd name="connsiteY9" fmla="*/ 835169 h 835169"/>
                <a:gd name="connsiteX10" fmla="*/ 1561857 w 1561857"/>
                <a:gd name="connsiteY10" fmla="*/ 240828 h 835169"/>
                <a:gd name="connsiteX11" fmla="*/ 1561857 w 1561857"/>
                <a:gd name="connsiteY11" fmla="*/ 240828 h 835169"/>
                <a:gd name="connsiteX12" fmla="*/ 1114167 w 1561857"/>
                <a:gd name="connsiteY12" fmla="*/ 562 h 835169"/>
                <a:gd name="connsiteX13" fmla="*/ 1114167 w 1561857"/>
                <a:gd name="connsiteY13" fmla="*/ 562 h 835169"/>
                <a:gd name="connsiteX14" fmla="*/ 1114167 w 1561857"/>
                <a:gd name="connsiteY14" fmla="*/ 562 h 83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857" h="835169">
                  <a:moveTo>
                    <a:pt x="1114167" y="562"/>
                  </a:moveTo>
                  <a:cubicBezTo>
                    <a:pt x="1114167" y="562"/>
                    <a:pt x="1114167" y="562"/>
                    <a:pt x="1114167" y="562"/>
                  </a:cubicBezTo>
                  <a:lnTo>
                    <a:pt x="1114167" y="562"/>
                  </a:lnTo>
                  <a:lnTo>
                    <a:pt x="746151" y="185187"/>
                  </a:lnTo>
                  <a:lnTo>
                    <a:pt x="729710" y="194039"/>
                  </a:lnTo>
                  <a:lnTo>
                    <a:pt x="510923" y="304056"/>
                  </a:lnTo>
                  <a:lnTo>
                    <a:pt x="359164" y="379929"/>
                  </a:lnTo>
                  <a:lnTo>
                    <a:pt x="221316" y="449479"/>
                  </a:lnTo>
                  <a:lnTo>
                    <a:pt x="0" y="562025"/>
                  </a:lnTo>
                  <a:lnTo>
                    <a:pt x="432514" y="835169"/>
                  </a:lnTo>
                  <a:lnTo>
                    <a:pt x="1561857" y="240828"/>
                  </a:lnTo>
                  <a:lnTo>
                    <a:pt x="1561857" y="240828"/>
                  </a:lnTo>
                  <a:lnTo>
                    <a:pt x="1114167" y="562"/>
                  </a:lnTo>
                  <a:lnTo>
                    <a:pt x="1114167" y="562"/>
                  </a:lnTo>
                  <a:cubicBezTo>
                    <a:pt x="1115432" y="-703"/>
                    <a:pt x="1114167" y="562"/>
                    <a:pt x="1114167" y="562"/>
                  </a:cubicBezTo>
                  <a:close/>
                </a:path>
              </a:pathLst>
            </a:custGeom>
            <a:solidFill>
              <a:schemeClr val="accent1"/>
            </a:solidFill>
            <a:ln w="126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9E99753-FB92-4947-B5C3-A9A1024F6F0D}"/>
                </a:ext>
              </a:extLst>
            </p:cNvPr>
            <p:cNvSpPr/>
            <p:nvPr/>
          </p:nvSpPr>
          <p:spPr>
            <a:xfrm>
              <a:off x="10191660" y="5104532"/>
              <a:ext cx="1058521" cy="924390"/>
            </a:xfrm>
            <a:custGeom>
              <a:avLst/>
              <a:gdLst>
                <a:gd name="connsiteX0" fmla="*/ 235227 w 1058521"/>
                <a:gd name="connsiteY0" fmla="*/ 399599 h 924390"/>
                <a:gd name="connsiteX1" fmla="*/ 0 w 1058521"/>
                <a:gd name="connsiteY1" fmla="*/ 523526 h 924390"/>
                <a:gd name="connsiteX2" fmla="*/ 84732 w 1058521"/>
                <a:gd name="connsiteY2" fmla="*/ 924390 h 924390"/>
                <a:gd name="connsiteX3" fmla="*/ 1058522 w 1058521"/>
                <a:gd name="connsiteY3" fmla="*/ 390748 h 924390"/>
                <a:gd name="connsiteX4" fmla="*/ 992759 w 1058521"/>
                <a:gd name="connsiteY4" fmla="*/ 0 h 92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521" h="924390">
                  <a:moveTo>
                    <a:pt x="235227" y="399599"/>
                  </a:moveTo>
                  <a:lnTo>
                    <a:pt x="0" y="523526"/>
                  </a:lnTo>
                  <a:lnTo>
                    <a:pt x="84732" y="924390"/>
                  </a:lnTo>
                  <a:lnTo>
                    <a:pt x="1058522" y="390748"/>
                  </a:lnTo>
                  <a:lnTo>
                    <a:pt x="992759" y="0"/>
                  </a:lnTo>
                  <a:close/>
                </a:path>
              </a:pathLst>
            </a:custGeom>
            <a:solidFill>
              <a:schemeClr val="bg2"/>
            </a:solidFill>
            <a:ln w="126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216CA164-B6F8-4C2C-A1B6-FE23C993EBFF}"/>
                </a:ext>
              </a:extLst>
            </p:cNvPr>
            <p:cNvSpPr/>
            <p:nvPr/>
          </p:nvSpPr>
          <p:spPr>
            <a:xfrm>
              <a:off x="11198331" y="4912319"/>
              <a:ext cx="465395" cy="412245"/>
            </a:xfrm>
            <a:custGeom>
              <a:avLst/>
              <a:gdLst>
                <a:gd name="connsiteX0" fmla="*/ 390780 w 465395"/>
                <a:gd name="connsiteY0" fmla="*/ 21498 h 412245"/>
                <a:gd name="connsiteX1" fmla="*/ 390780 w 465395"/>
                <a:gd name="connsiteY1" fmla="*/ 21498 h 412245"/>
                <a:gd name="connsiteX2" fmla="*/ 390780 w 465395"/>
                <a:gd name="connsiteY2" fmla="*/ 21498 h 412245"/>
                <a:gd name="connsiteX3" fmla="*/ 390780 w 465395"/>
                <a:gd name="connsiteY3" fmla="*/ 21498 h 412245"/>
                <a:gd name="connsiteX4" fmla="*/ 390780 w 465395"/>
                <a:gd name="connsiteY4" fmla="*/ 21498 h 412245"/>
                <a:gd name="connsiteX5" fmla="*/ 389516 w 465395"/>
                <a:gd name="connsiteY5" fmla="*/ 20233 h 412245"/>
                <a:gd name="connsiteX6" fmla="*/ 389516 w 465395"/>
                <a:gd name="connsiteY6" fmla="*/ 18968 h 412245"/>
                <a:gd name="connsiteX7" fmla="*/ 389516 w 465395"/>
                <a:gd name="connsiteY7" fmla="*/ 17704 h 412245"/>
                <a:gd name="connsiteX8" fmla="*/ 389516 w 465395"/>
                <a:gd name="connsiteY8" fmla="*/ 17704 h 412245"/>
                <a:gd name="connsiteX9" fmla="*/ 389516 w 465395"/>
                <a:gd name="connsiteY9" fmla="*/ 17704 h 412245"/>
                <a:gd name="connsiteX10" fmla="*/ 389516 w 465395"/>
                <a:gd name="connsiteY10" fmla="*/ 17704 h 412245"/>
                <a:gd name="connsiteX11" fmla="*/ 360429 w 465395"/>
                <a:gd name="connsiteY11" fmla="*/ 0 h 412245"/>
                <a:gd name="connsiteX12" fmla="*/ 0 w 465395"/>
                <a:gd name="connsiteY12" fmla="*/ 189683 h 412245"/>
                <a:gd name="connsiteX13" fmla="*/ 30352 w 465395"/>
                <a:gd name="connsiteY13" fmla="*/ 207387 h 412245"/>
                <a:gd name="connsiteX14" fmla="*/ 392045 w 465395"/>
                <a:gd name="connsiteY14" fmla="*/ 412245 h 412245"/>
                <a:gd name="connsiteX15" fmla="*/ 465396 w 465395"/>
                <a:gd name="connsiteY15" fmla="*/ 371779 h 412245"/>
                <a:gd name="connsiteX16" fmla="*/ 414809 w 465395"/>
                <a:gd name="connsiteY16" fmla="*/ 35407 h 412245"/>
                <a:gd name="connsiteX17" fmla="*/ 390780 w 465395"/>
                <a:gd name="connsiteY17" fmla="*/ 21498 h 412245"/>
                <a:gd name="connsiteX18" fmla="*/ 390780 w 465395"/>
                <a:gd name="connsiteY18" fmla="*/ 21498 h 41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5395" h="412245">
                  <a:moveTo>
                    <a:pt x="390780" y="21498"/>
                  </a:moveTo>
                  <a:lnTo>
                    <a:pt x="390780" y="21498"/>
                  </a:lnTo>
                  <a:cubicBezTo>
                    <a:pt x="390780" y="21498"/>
                    <a:pt x="390780" y="21498"/>
                    <a:pt x="390780" y="21498"/>
                  </a:cubicBezTo>
                  <a:lnTo>
                    <a:pt x="390780" y="21498"/>
                  </a:lnTo>
                  <a:lnTo>
                    <a:pt x="390780" y="21498"/>
                  </a:lnTo>
                  <a:cubicBezTo>
                    <a:pt x="389516" y="20233"/>
                    <a:pt x="389516" y="20233"/>
                    <a:pt x="389516" y="20233"/>
                  </a:cubicBezTo>
                  <a:lnTo>
                    <a:pt x="389516" y="18968"/>
                  </a:lnTo>
                  <a:lnTo>
                    <a:pt x="389516" y="17704"/>
                  </a:lnTo>
                  <a:lnTo>
                    <a:pt x="389516" y="17704"/>
                  </a:lnTo>
                  <a:lnTo>
                    <a:pt x="389516" y="17704"/>
                  </a:lnTo>
                  <a:lnTo>
                    <a:pt x="389516" y="17704"/>
                  </a:lnTo>
                  <a:lnTo>
                    <a:pt x="360429" y="0"/>
                  </a:lnTo>
                  <a:lnTo>
                    <a:pt x="0" y="189683"/>
                  </a:lnTo>
                  <a:lnTo>
                    <a:pt x="30352" y="207387"/>
                  </a:lnTo>
                  <a:lnTo>
                    <a:pt x="392045" y="412245"/>
                  </a:lnTo>
                  <a:lnTo>
                    <a:pt x="465396" y="371779"/>
                  </a:lnTo>
                  <a:lnTo>
                    <a:pt x="414809" y="35407"/>
                  </a:lnTo>
                  <a:lnTo>
                    <a:pt x="390780" y="21498"/>
                  </a:lnTo>
                  <a:lnTo>
                    <a:pt x="390780" y="21498"/>
                  </a:lnTo>
                  <a:close/>
                </a:path>
              </a:pathLst>
            </a:custGeom>
            <a:solidFill>
              <a:schemeClr val="tx2"/>
            </a:solidFill>
            <a:ln w="126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C9DF8CAE-04AC-48EC-8136-A1F775294502}"/>
                </a:ext>
              </a:extLst>
            </p:cNvPr>
            <p:cNvSpPr/>
            <p:nvPr/>
          </p:nvSpPr>
          <p:spPr>
            <a:xfrm>
              <a:off x="11195802" y="5110855"/>
              <a:ext cx="85997" cy="379366"/>
            </a:xfrm>
            <a:custGeom>
              <a:avLst/>
              <a:gdLst>
                <a:gd name="connsiteX0" fmla="*/ 63233 w 85997"/>
                <a:gd name="connsiteY0" fmla="*/ 379367 h 379366"/>
                <a:gd name="connsiteX1" fmla="*/ 85997 w 85997"/>
                <a:gd name="connsiteY1" fmla="*/ 367986 h 379366"/>
                <a:gd name="connsiteX2" fmla="*/ 26558 w 85997"/>
                <a:gd name="connsiteY2" fmla="*/ 15174 h 379366"/>
                <a:gd name="connsiteX3" fmla="*/ 0 w 85997"/>
                <a:gd name="connsiteY3" fmla="*/ 0 h 379366"/>
              </a:gdLst>
              <a:ahLst/>
              <a:cxnLst>
                <a:cxn ang="0">
                  <a:pos x="connsiteX0" y="connsiteY0"/>
                </a:cxn>
                <a:cxn ang="0">
                  <a:pos x="connsiteX1" y="connsiteY1"/>
                </a:cxn>
                <a:cxn ang="0">
                  <a:pos x="connsiteX2" y="connsiteY2"/>
                </a:cxn>
                <a:cxn ang="0">
                  <a:pos x="connsiteX3" y="connsiteY3"/>
                </a:cxn>
              </a:cxnLst>
              <a:rect l="l" t="t" r="r" b="b"/>
              <a:pathLst>
                <a:path w="85997" h="379366">
                  <a:moveTo>
                    <a:pt x="63233" y="379367"/>
                  </a:moveTo>
                  <a:lnTo>
                    <a:pt x="85997" y="367986"/>
                  </a:lnTo>
                  <a:lnTo>
                    <a:pt x="26558" y="15174"/>
                  </a:lnTo>
                  <a:lnTo>
                    <a:pt x="0" y="0"/>
                  </a:lnTo>
                  <a:close/>
                </a:path>
              </a:pathLst>
            </a:custGeom>
            <a:solidFill>
              <a:schemeClr val="accent4"/>
            </a:solidFill>
            <a:ln w="126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5F5A395F-5763-4325-BCD6-1599FA7A5EA6}"/>
                </a:ext>
              </a:extLst>
            </p:cNvPr>
            <p:cNvSpPr/>
            <p:nvPr/>
          </p:nvSpPr>
          <p:spPr>
            <a:xfrm>
              <a:off x="11565083" y="4883235"/>
              <a:ext cx="45527" cy="39200"/>
            </a:xfrm>
            <a:custGeom>
              <a:avLst/>
              <a:gdLst>
                <a:gd name="connsiteX0" fmla="*/ 32881 w 45527"/>
                <a:gd name="connsiteY0" fmla="*/ 39201 h 39200"/>
                <a:gd name="connsiteX1" fmla="*/ 45528 w 45527"/>
                <a:gd name="connsiteY1" fmla="*/ 31614 h 39200"/>
                <a:gd name="connsiteX2" fmla="*/ 40469 w 45527"/>
                <a:gd name="connsiteY2" fmla="*/ 0 h 39200"/>
                <a:gd name="connsiteX3" fmla="*/ 0 w 45527"/>
                <a:gd name="connsiteY3" fmla="*/ 21497 h 39200"/>
              </a:gdLst>
              <a:ahLst/>
              <a:cxnLst>
                <a:cxn ang="0">
                  <a:pos x="connsiteX0" y="connsiteY0"/>
                </a:cxn>
                <a:cxn ang="0">
                  <a:pos x="connsiteX1" y="connsiteY1"/>
                </a:cxn>
                <a:cxn ang="0">
                  <a:pos x="connsiteX2" y="connsiteY2"/>
                </a:cxn>
                <a:cxn ang="0">
                  <a:pos x="connsiteX3" y="connsiteY3"/>
                </a:cxn>
              </a:cxnLst>
              <a:rect l="l" t="t" r="r" b="b"/>
              <a:pathLst>
                <a:path w="45527" h="39200">
                  <a:moveTo>
                    <a:pt x="32881" y="39201"/>
                  </a:moveTo>
                  <a:lnTo>
                    <a:pt x="45528" y="31614"/>
                  </a:lnTo>
                  <a:lnTo>
                    <a:pt x="40469" y="0"/>
                  </a:lnTo>
                  <a:lnTo>
                    <a:pt x="0" y="21497"/>
                  </a:lnTo>
                  <a:close/>
                </a:path>
              </a:pathLst>
            </a:custGeom>
            <a:solidFill>
              <a:schemeClr val="accent6">
                <a:lumMod val="75000"/>
              </a:schemeClr>
            </a:solidFill>
            <a:ln w="126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2FEDFD59-C4DF-4F4E-ADCE-25A0095C59BC}"/>
                </a:ext>
              </a:extLst>
            </p:cNvPr>
            <p:cNvSpPr/>
            <p:nvPr/>
          </p:nvSpPr>
          <p:spPr>
            <a:xfrm>
              <a:off x="9755352" y="5349856"/>
              <a:ext cx="601978" cy="1107751"/>
            </a:xfrm>
            <a:custGeom>
              <a:avLst/>
              <a:gdLst>
                <a:gd name="connsiteX0" fmla="*/ 427456 w 601978"/>
                <a:gd name="connsiteY0" fmla="*/ 278202 h 1107751"/>
                <a:gd name="connsiteX1" fmla="*/ 0 w 601978"/>
                <a:gd name="connsiteY1" fmla="*/ 0 h 1107751"/>
                <a:gd name="connsiteX2" fmla="*/ 182111 w 601978"/>
                <a:gd name="connsiteY2" fmla="*/ 811845 h 1107751"/>
                <a:gd name="connsiteX3" fmla="*/ 601979 w 601978"/>
                <a:gd name="connsiteY3" fmla="*/ 1107751 h 1107751"/>
                <a:gd name="connsiteX4" fmla="*/ 513453 w 601978"/>
                <a:gd name="connsiteY4" fmla="*/ 686654 h 1107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978" h="1107751">
                  <a:moveTo>
                    <a:pt x="427456" y="278202"/>
                  </a:moveTo>
                  <a:lnTo>
                    <a:pt x="0" y="0"/>
                  </a:lnTo>
                  <a:lnTo>
                    <a:pt x="182111" y="811845"/>
                  </a:lnTo>
                  <a:lnTo>
                    <a:pt x="601979" y="1107751"/>
                  </a:lnTo>
                  <a:lnTo>
                    <a:pt x="513453" y="686654"/>
                  </a:lnTo>
                  <a:close/>
                </a:path>
              </a:pathLst>
            </a:custGeom>
            <a:solidFill>
              <a:schemeClr val="accent1"/>
            </a:solidFill>
            <a:ln w="126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981DE40-2F55-4519-946F-9349960DA6B9}"/>
                </a:ext>
              </a:extLst>
            </p:cNvPr>
            <p:cNvSpPr/>
            <p:nvPr/>
          </p:nvSpPr>
          <p:spPr>
            <a:xfrm>
              <a:off x="9829967" y="5193051"/>
              <a:ext cx="87261" cy="91047"/>
            </a:xfrm>
            <a:custGeom>
              <a:avLst/>
              <a:gdLst>
                <a:gd name="connsiteX0" fmla="*/ 0 w 87261"/>
                <a:gd name="connsiteY0" fmla="*/ 0 h 91047"/>
                <a:gd name="connsiteX1" fmla="*/ 18970 w 87261"/>
                <a:gd name="connsiteY1" fmla="*/ 91048 h 91047"/>
                <a:gd name="connsiteX2" fmla="*/ 87262 w 87261"/>
                <a:gd name="connsiteY2" fmla="*/ 55640 h 91047"/>
              </a:gdLst>
              <a:ahLst/>
              <a:cxnLst>
                <a:cxn ang="0">
                  <a:pos x="connsiteX0" y="connsiteY0"/>
                </a:cxn>
                <a:cxn ang="0">
                  <a:pos x="connsiteX1" y="connsiteY1"/>
                </a:cxn>
                <a:cxn ang="0">
                  <a:pos x="connsiteX2" y="connsiteY2"/>
                </a:cxn>
              </a:cxnLst>
              <a:rect l="l" t="t" r="r" b="b"/>
              <a:pathLst>
                <a:path w="87261" h="91047">
                  <a:moveTo>
                    <a:pt x="0" y="0"/>
                  </a:moveTo>
                  <a:lnTo>
                    <a:pt x="18970" y="91048"/>
                  </a:lnTo>
                  <a:lnTo>
                    <a:pt x="87262" y="55640"/>
                  </a:lnTo>
                  <a:close/>
                </a:path>
              </a:pathLst>
            </a:custGeom>
            <a:solidFill>
              <a:schemeClr val="accent2"/>
            </a:solidFill>
            <a:ln w="126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BC3D8F5-80C4-4697-B45F-D626E920C2E9}"/>
                </a:ext>
              </a:extLst>
            </p:cNvPr>
            <p:cNvSpPr/>
            <p:nvPr/>
          </p:nvSpPr>
          <p:spPr>
            <a:xfrm>
              <a:off x="9231782" y="2481842"/>
              <a:ext cx="975054" cy="2761790"/>
            </a:xfrm>
            <a:custGeom>
              <a:avLst/>
              <a:gdLst>
                <a:gd name="connsiteX0" fmla="*/ 748680 w 975054"/>
                <a:gd name="connsiteY0" fmla="*/ 2735235 h 2761790"/>
                <a:gd name="connsiteX1" fmla="*/ 975054 w 975054"/>
                <a:gd name="connsiteY1" fmla="*/ 2621425 h 2761790"/>
                <a:gd name="connsiteX2" fmla="*/ 938379 w 975054"/>
                <a:gd name="connsiteY2" fmla="*/ 2439329 h 2761790"/>
                <a:gd name="connsiteX3" fmla="*/ 700623 w 975054"/>
                <a:gd name="connsiteY3" fmla="*/ 2296434 h 2761790"/>
                <a:gd name="connsiteX4" fmla="*/ 700623 w 975054"/>
                <a:gd name="connsiteY4" fmla="*/ 2296434 h 2761790"/>
                <a:gd name="connsiteX5" fmla="*/ 700623 w 975054"/>
                <a:gd name="connsiteY5" fmla="*/ 2296434 h 2761790"/>
                <a:gd name="connsiteX6" fmla="*/ 700623 w 975054"/>
                <a:gd name="connsiteY6" fmla="*/ 2296434 h 2761790"/>
                <a:gd name="connsiteX7" fmla="*/ 700623 w 975054"/>
                <a:gd name="connsiteY7" fmla="*/ 2296434 h 2761790"/>
                <a:gd name="connsiteX8" fmla="*/ 700623 w 975054"/>
                <a:gd name="connsiteY8" fmla="*/ 2296434 h 2761790"/>
                <a:gd name="connsiteX9" fmla="*/ 700623 w 975054"/>
                <a:gd name="connsiteY9" fmla="*/ 2296434 h 2761790"/>
                <a:gd name="connsiteX10" fmla="*/ 700623 w 975054"/>
                <a:gd name="connsiteY10" fmla="*/ 2296434 h 2761790"/>
                <a:gd name="connsiteX11" fmla="*/ 700623 w 975054"/>
                <a:gd name="connsiteY11" fmla="*/ 2296434 h 2761790"/>
                <a:gd name="connsiteX12" fmla="*/ 700623 w 975054"/>
                <a:gd name="connsiteY12" fmla="*/ 2296434 h 2761790"/>
                <a:gd name="connsiteX13" fmla="*/ 232698 w 975054"/>
                <a:gd name="connsiteY13" fmla="*/ 101164 h 2761790"/>
                <a:gd name="connsiteX14" fmla="*/ 0 w 975054"/>
                <a:gd name="connsiteY14" fmla="*/ 0 h 2761790"/>
                <a:gd name="connsiteX15" fmla="*/ 541275 w 975054"/>
                <a:gd name="connsiteY15" fmla="*/ 2449445 h 2761790"/>
                <a:gd name="connsiteX16" fmla="*/ 548863 w 975054"/>
                <a:gd name="connsiteY16" fmla="*/ 2483588 h 2761790"/>
                <a:gd name="connsiteX17" fmla="*/ 594391 w 975054"/>
                <a:gd name="connsiteY17" fmla="*/ 2698563 h 2761790"/>
                <a:gd name="connsiteX18" fmla="*/ 695564 w 975054"/>
                <a:gd name="connsiteY18" fmla="*/ 2761791 h 2761790"/>
                <a:gd name="connsiteX19" fmla="*/ 748680 w 975054"/>
                <a:gd name="connsiteY19" fmla="*/ 2735235 h 276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5054" h="2761790">
                  <a:moveTo>
                    <a:pt x="748680" y="2735235"/>
                  </a:moveTo>
                  <a:lnTo>
                    <a:pt x="975054" y="2621425"/>
                  </a:lnTo>
                  <a:lnTo>
                    <a:pt x="938379" y="2439329"/>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232698" y="101164"/>
                  </a:lnTo>
                  <a:lnTo>
                    <a:pt x="0" y="0"/>
                  </a:lnTo>
                  <a:lnTo>
                    <a:pt x="541275" y="2449445"/>
                  </a:lnTo>
                  <a:lnTo>
                    <a:pt x="548863" y="2483588"/>
                  </a:lnTo>
                  <a:lnTo>
                    <a:pt x="594391" y="2698563"/>
                  </a:lnTo>
                  <a:lnTo>
                    <a:pt x="695564" y="2761791"/>
                  </a:lnTo>
                  <a:lnTo>
                    <a:pt x="748680" y="2735235"/>
                  </a:lnTo>
                  <a:close/>
                </a:path>
              </a:pathLst>
            </a:custGeom>
            <a:solidFill>
              <a:schemeClr val="accent5"/>
            </a:solidFill>
            <a:ln w="126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70ED148-8525-41D3-B3EE-C8089A3C4D5F}"/>
                </a:ext>
              </a:extLst>
            </p:cNvPr>
            <p:cNvSpPr/>
            <p:nvPr/>
          </p:nvSpPr>
          <p:spPr>
            <a:xfrm>
              <a:off x="10179013" y="4856679"/>
              <a:ext cx="165670" cy="242794"/>
            </a:xfrm>
            <a:custGeom>
              <a:avLst/>
              <a:gdLst>
                <a:gd name="connsiteX0" fmla="*/ 130260 w 165670"/>
                <a:gd name="connsiteY0" fmla="*/ 0 h 242794"/>
                <a:gd name="connsiteX1" fmla="*/ 0 w 165670"/>
                <a:gd name="connsiteY1" fmla="*/ 64492 h 242794"/>
                <a:gd name="connsiteX2" fmla="*/ 36675 w 165670"/>
                <a:gd name="connsiteY2" fmla="*/ 242795 h 242794"/>
                <a:gd name="connsiteX3" fmla="*/ 165671 w 165670"/>
                <a:gd name="connsiteY3" fmla="*/ 177038 h 242794"/>
              </a:gdLst>
              <a:ahLst/>
              <a:cxnLst>
                <a:cxn ang="0">
                  <a:pos x="connsiteX0" y="connsiteY0"/>
                </a:cxn>
                <a:cxn ang="0">
                  <a:pos x="connsiteX1" y="connsiteY1"/>
                </a:cxn>
                <a:cxn ang="0">
                  <a:pos x="connsiteX2" y="connsiteY2"/>
                </a:cxn>
                <a:cxn ang="0">
                  <a:pos x="connsiteX3" y="connsiteY3"/>
                </a:cxn>
              </a:cxnLst>
              <a:rect l="l" t="t" r="r" b="b"/>
              <a:pathLst>
                <a:path w="165670" h="242794">
                  <a:moveTo>
                    <a:pt x="130260" y="0"/>
                  </a:moveTo>
                  <a:lnTo>
                    <a:pt x="0" y="64492"/>
                  </a:lnTo>
                  <a:lnTo>
                    <a:pt x="36675" y="242795"/>
                  </a:lnTo>
                  <a:lnTo>
                    <a:pt x="165671" y="177038"/>
                  </a:lnTo>
                  <a:close/>
                </a:path>
              </a:pathLst>
            </a:custGeom>
            <a:solidFill>
              <a:schemeClr val="accent6">
                <a:lumMod val="75000"/>
              </a:schemeClr>
            </a:solidFill>
            <a:ln w="126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1CC5D806-C8C4-444A-882B-41D5955C5AA7}"/>
                </a:ext>
              </a:extLst>
            </p:cNvPr>
            <p:cNvSpPr/>
            <p:nvPr/>
          </p:nvSpPr>
          <p:spPr>
            <a:xfrm>
              <a:off x="9945051" y="4608826"/>
              <a:ext cx="766384" cy="345223"/>
            </a:xfrm>
            <a:custGeom>
              <a:avLst/>
              <a:gdLst>
                <a:gd name="connsiteX0" fmla="*/ 366752 w 766384"/>
                <a:gd name="connsiteY0" fmla="*/ 236472 h 345223"/>
                <a:gd name="connsiteX1" fmla="*/ 369281 w 766384"/>
                <a:gd name="connsiteY1" fmla="*/ 236472 h 345223"/>
                <a:gd name="connsiteX2" fmla="*/ 370546 w 766384"/>
                <a:gd name="connsiteY2" fmla="*/ 236472 h 345223"/>
                <a:gd name="connsiteX3" fmla="*/ 370546 w 766384"/>
                <a:gd name="connsiteY3" fmla="*/ 236472 h 345223"/>
                <a:gd name="connsiteX4" fmla="*/ 557716 w 766384"/>
                <a:gd name="connsiteY4" fmla="*/ 345224 h 345223"/>
                <a:gd name="connsiteX5" fmla="*/ 766385 w 766384"/>
                <a:gd name="connsiteY5" fmla="*/ 240266 h 345223"/>
                <a:gd name="connsiteX6" fmla="*/ 343988 w 766384"/>
                <a:gd name="connsiteY6" fmla="*/ 0 h 345223"/>
                <a:gd name="connsiteX7" fmla="*/ 0 w 766384"/>
                <a:gd name="connsiteY7" fmla="*/ 165657 h 345223"/>
                <a:gd name="connsiteX8" fmla="*/ 230168 w 766384"/>
                <a:gd name="connsiteY8" fmla="*/ 303493 h 345223"/>
                <a:gd name="connsiteX9" fmla="*/ 366752 w 766384"/>
                <a:gd name="connsiteY9" fmla="*/ 236472 h 345223"/>
                <a:gd name="connsiteX10" fmla="*/ 366752 w 766384"/>
                <a:gd name="connsiteY10" fmla="*/ 236472 h 34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6384" h="345223">
                  <a:moveTo>
                    <a:pt x="366752" y="236472"/>
                  </a:moveTo>
                  <a:lnTo>
                    <a:pt x="369281" y="236472"/>
                  </a:lnTo>
                  <a:lnTo>
                    <a:pt x="370546" y="236472"/>
                  </a:lnTo>
                  <a:lnTo>
                    <a:pt x="370546" y="236472"/>
                  </a:lnTo>
                  <a:lnTo>
                    <a:pt x="557716" y="345224"/>
                  </a:lnTo>
                  <a:lnTo>
                    <a:pt x="766385" y="240266"/>
                  </a:lnTo>
                  <a:lnTo>
                    <a:pt x="343988" y="0"/>
                  </a:lnTo>
                  <a:lnTo>
                    <a:pt x="0" y="165657"/>
                  </a:lnTo>
                  <a:lnTo>
                    <a:pt x="230168" y="303493"/>
                  </a:lnTo>
                  <a:lnTo>
                    <a:pt x="366752" y="236472"/>
                  </a:lnTo>
                  <a:lnTo>
                    <a:pt x="366752" y="236472"/>
                  </a:lnTo>
                  <a:close/>
                </a:path>
              </a:pathLst>
            </a:custGeom>
            <a:solidFill>
              <a:schemeClr val="bg2"/>
            </a:solidFill>
            <a:ln w="126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1D88732-D54E-4DE5-A67E-42B508EE1919}"/>
                </a:ext>
              </a:extLst>
            </p:cNvPr>
            <p:cNvSpPr/>
            <p:nvPr/>
          </p:nvSpPr>
          <p:spPr>
            <a:xfrm>
              <a:off x="10319391" y="4859208"/>
              <a:ext cx="171994" cy="170715"/>
            </a:xfrm>
            <a:custGeom>
              <a:avLst/>
              <a:gdLst>
                <a:gd name="connsiteX0" fmla="*/ 34146 w 171994"/>
                <a:gd name="connsiteY0" fmla="*/ 170715 h 170715"/>
                <a:gd name="connsiteX1" fmla="*/ 171994 w 171994"/>
                <a:gd name="connsiteY1" fmla="*/ 101164 h 170715"/>
                <a:gd name="connsiteX2" fmla="*/ 0 w 171994"/>
                <a:gd name="connsiteY2" fmla="*/ 0 h 170715"/>
              </a:gdLst>
              <a:ahLst/>
              <a:cxnLst>
                <a:cxn ang="0">
                  <a:pos x="connsiteX0" y="connsiteY0"/>
                </a:cxn>
                <a:cxn ang="0">
                  <a:pos x="connsiteX1" y="connsiteY1"/>
                </a:cxn>
                <a:cxn ang="0">
                  <a:pos x="connsiteX2" y="connsiteY2"/>
                </a:cxn>
              </a:cxnLst>
              <a:rect l="l" t="t" r="r" b="b"/>
              <a:pathLst>
                <a:path w="171994" h="170715">
                  <a:moveTo>
                    <a:pt x="34146" y="170715"/>
                  </a:moveTo>
                  <a:lnTo>
                    <a:pt x="171994" y="101164"/>
                  </a:lnTo>
                  <a:lnTo>
                    <a:pt x="0" y="0"/>
                  </a:lnTo>
                  <a:close/>
                </a:path>
              </a:pathLst>
            </a:custGeom>
            <a:solidFill>
              <a:srgbClr val="F4F5F3"/>
            </a:solidFill>
            <a:ln w="126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9E241F14-722A-46E0-9B6B-7239268D3309}"/>
                </a:ext>
              </a:extLst>
            </p:cNvPr>
            <p:cNvSpPr/>
            <p:nvPr/>
          </p:nvSpPr>
          <p:spPr>
            <a:xfrm>
              <a:off x="9757881" y="5227194"/>
              <a:ext cx="657624" cy="393277"/>
            </a:xfrm>
            <a:custGeom>
              <a:avLst/>
              <a:gdLst>
                <a:gd name="connsiteX0" fmla="*/ 657624 w 657624"/>
                <a:gd name="connsiteY0" fmla="*/ 273144 h 393277"/>
                <a:gd name="connsiteX1" fmla="*/ 223845 w 657624"/>
                <a:gd name="connsiteY1" fmla="*/ 0 h 393277"/>
                <a:gd name="connsiteX2" fmla="*/ 171994 w 657624"/>
                <a:gd name="connsiteY2" fmla="*/ 26556 h 393277"/>
                <a:gd name="connsiteX3" fmla="*/ 91056 w 657624"/>
                <a:gd name="connsiteY3" fmla="*/ 67022 h 393277"/>
                <a:gd name="connsiteX4" fmla="*/ 0 w 657624"/>
                <a:gd name="connsiteY4" fmla="*/ 113810 h 393277"/>
                <a:gd name="connsiteX5" fmla="*/ 428720 w 657624"/>
                <a:gd name="connsiteY5" fmla="*/ 393277 h 39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624" h="393277">
                  <a:moveTo>
                    <a:pt x="657624" y="273144"/>
                  </a:moveTo>
                  <a:lnTo>
                    <a:pt x="223845" y="0"/>
                  </a:lnTo>
                  <a:lnTo>
                    <a:pt x="171994" y="26556"/>
                  </a:lnTo>
                  <a:lnTo>
                    <a:pt x="91056" y="67022"/>
                  </a:lnTo>
                  <a:lnTo>
                    <a:pt x="0" y="113810"/>
                  </a:lnTo>
                  <a:lnTo>
                    <a:pt x="428720" y="393277"/>
                  </a:lnTo>
                  <a:close/>
                </a:path>
              </a:pathLst>
            </a:custGeom>
            <a:solidFill>
              <a:schemeClr val="tx2"/>
            </a:solidFill>
            <a:ln w="126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7A41D3E-5721-41C2-90F0-AB660DF5DDBA}"/>
                </a:ext>
              </a:extLst>
            </p:cNvPr>
            <p:cNvSpPr/>
            <p:nvPr/>
          </p:nvSpPr>
          <p:spPr>
            <a:xfrm>
              <a:off x="10276393" y="5506661"/>
              <a:ext cx="975054" cy="956004"/>
            </a:xfrm>
            <a:custGeom>
              <a:avLst/>
              <a:gdLst>
                <a:gd name="connsiteX0" fmla="*/ 327547 w 975054"/>
                <a:gd name="connsiteY0" fmla="*/ 362928 h 956004"/>
                <a:gd name="connsiteX1" fmla="*/ 327547 w 975054"/>
                <a:gd name="connsiteY1" fmla="*/ 362928 h 956004"/>
                <a:gd name="connsiteX2" fmla="*/ 327547 w 975054"/>
                <a:gd name="connsiteY2" fmla="*/ 360398 h 956004"/>
                <a:gd name="connsiteX3" fmla="*/ 327547 w 975054"/>
                <a:gd name="connsiteY3" fmla="*/ 359134 h 956004"/>
                <a:gd name="connsiteX4" fmla="*/ 327547 w 975054"/>
                <a:gd name="connsiteY4" fmla="*/ 359134 h 956004"/>
                <a:gd name="connsiteX5" fmla="*/ 327547 w 975054"/>
                <a:gd name="connsiteY5" fmla="*/ 359134 h 956004"/>
                <a:gd name="connsiteX6" fmla="*/ 327547 w 975054"/>
                <a:gd name="connsiteY6" fmla="*/ 359134 h 956004"/>
                <a:gd name="connsiteX7" fmla="*/ 328812 w 975054"/>
                <a:gd name="connsiteY7" fmla="*/ 359134 h 956004"/>
                <a:gd name="connsiteX8" fmla="*/ 328812 w 975054"/>
                <a:gd name="connsiteY8" fmla="*/ 359134 h 956004"/>
                <a:gd name="connsiteX9" fmla="*/ 328812 w 975054"/>
                <a:gd name="connsiteY9" fmla="*/ 359134 h 956004"/>
                <a:gd name="connsiteX10" fmla="*/ 975054 w 975054"/>
                <a:gd name="connsiteY10" fmla="*/ 5058 h 956004"/>
                <a:gd name="connsiteX11" fmla="*/ 973790 w 975054"/>
                <a:gd name="connsiteY11" fmla="*/ 0 h 956004"/>
                <a:gd name="connsiteX12" fmla="*/ 0 w 975054"/>
                <a:gd name="connsiteY12" fmla="*/ 533643 h 956004"/>
                <a:gd name="connsiteX13" fmla="*/ 88526 w 975054"/>
                <a:gd name="connsiteY13" fmla="*/ 956004 h 956004"/>
                <a:gd name="connsiteX14" fmla="*/ 405956 w 975054"/>
                <a:gd name="connsiteY14" fmla="*/ 775173 h 956004"/>
                <a:gd name="connsiteX15" fmla="*/ 325018 w 975054"/>
                <a:gd name="connsiteY15" fmla="*/ 365457 h 956004"/>
                <a:gd name="connsiteX16" fmla="*/ 327547 w 975054"/>
                <a:gd name="connsiteY16" fmla="*/ 362928 h 95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5054" h="956004">
                  <a:moveTo>
                    <a:pt x="327547" y="362928"/>
                  </a:moveTo>
                  <a:lnTo>
                    <a:pt x="327547" y="362928"/>
                  </a:lnTo>
                  <a:lnTo>
                    <a:pt x="327547" y="360398"/>
                  </a:lnTo>
                  <a:cubicBezTo>
                    <a:pt x="327547" y="360398"/>
                    <a:pt x="327547" y="360398"/>
                    <a:pt x="327547" y="359134"/>
                  </a:cubicBezTo>
                  <a:lnTo>
                    <a:pt x="327547" y="359134"/>
                  </a:lnTo>
                  <a:lnTo>
                    <a:pt x="327547" y="359134"/>
                  </a:lnTo>
                  <a:lnTo>
                    <a:pt x="327547" y="359134"/>
                  </a:lnTo>
                  <a:lnTo>
                    <a:pt x="328812" y="359134"/>
                  </a:lnTo>
                  <a:lnTo>
                    <a:pt x="328812" y="359134"/>
                  </a:lnTo>
                  <a:lnTo>
                    <a:pt x="328812" y="359134"/>
                  </a:lnTo>
                  <a:lnTo>
                    <a:pt x="975054" y="5058"/>
                  </a:lnTo>
                  <a:lnTo>
                    <a:pt x="973790" y="0"/>
                  </a:lnTo>
                  <a:lnTo>
                    <a:pt x="0" y="533643"/>
                  </a:lnTo>
                  <a:lnTo>
                    <a:pt x="88526" y="956004"/>
                  </a:lnTo>
                  <a:lnTo>
                    <a:pt x="405956" y="775173"/>
                  </a:lnTo>
                  <a:lnTo>
                    <a:pt x="325018" y="365457"/>
                  </a:lnTo>
                  <a:lnTo>
                    <a:pt x="327547" y="362928"/>
                  </a:lnTo>
                  <a:close/>
                </a:path>
              </a:pathLst>
            </a:custGeom>
            <a:solidFill>
              <a:schemeClr val="accent6">
                <a:lumMod val="60000"/>
                <a:lumOff val="40000"/>
              </a:schemeClr>
            </a:solidFill>
            <a:ln w="126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2C2E32D1-E6D4-4F93-9BD0-4C52A4EF8249}"/>
                </a:ext>
              </a:extLst>
            </p:cNvPr>
            <p:cNvSpPr/>
            <p:nvPr/>
          </p:nvSpPr>
          <p:spPr>
            <a:xfrm>
              <a:off x="11506908" y="4526630"/>
              <a:ext cx="97379" cy="369250"/>
            </a:xfrm>
            <a:custGeom>
              <a:avLst/>
              <a:gdLst>
                <a:gd name="connsiteX0" fmla="*/ 48057 w 97379"/>
                <a:gd name="connsiteY0" fmla="*/ 25291 h 369250"/>
                <a:gd name="connsiteX1" fmla="*/ 0 w 97379"/>
                <a:gd name="connsiteY1" fmla="*/ 0 h 369250"/>
                <a:gd name="connsiteX2" fmla="*/ 55645 w 97379"/>
                <a:gd name="connsiteY2" fmla="*/ 369251 h 369250"/>
                <a:gd name="connsiteX3" fmla="*/ 97379 w 97379"/>
                <a:gd name="connsiteY3" fmla="*/ 346488 h 369250"/>
              </a:gdLst>
              <a:ahLst/>
              <a:cxnLst>
                <a:cxn ang="0">
                  <a:pos x="connsiteX0" y="connsiteY0"/>
                </a:cxn>
                <a:cxn ang="0">
                  <a:pos x="connsiteX1" y="connsiteY1"/>
                </a:cxn>
                <a:cxn ang="0">
                  <a:pos x="connsiteX2" y="connsiteY2"/>
                </a:cxn>
                <a:cxn ang="0">
                  <a:pos x="connsiteX3" y="connsiteY3"/>
                </a:cxn>
              </a:cxnLst>
              <a:rect l="l" t="t" r="r" b="b"/>
              <a:pathLst>
                <a:path w="97379" h="369250">
                  <a:moveTo>
                    <a:pt x="48057" y="25291"/>
                  </a:moveTo>
                  <a:lnTo>
                    <a:pt x="0" y="0"/>
                  </a:lnTo>
                  <a:lnTo>
                    <a:pt x="55645" y="369251"/>
                  </a:lnTo>
                  <a:lnTo>
                    <a:pt x="97379" y="346488"/>
                  </a:lnTo>
                  <a:close/>
                </a:path>
              </a:pathLst>
            </a:custGeom>
            <a:solidFill>
              <a:schemeClr val="accent1"/>
            </a:solidFill>
            <a:ln w="126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2F743DF4-15B7-4319-BC16-009A831534DF}"/>
                </a:ext>
              </a:extLst>
            </p:cNvPr>
            <p:cNvSpPr/>
            <p:nvPr/>
          </p:nvSpPr>
          <p:spPr>
            <a:xfrm>
              <a:off x="11451263" y="4145998"/>
              <a:ext cx="102437" cy="394541"/>
            </a:xfrm>
            <a:custGeom>
              <a:avLst/>
              <a:gdLst>
                <a:gd name="connsiteX0" fmla="*/ 42998 w 102437"/>
                <a:gd name="connsiteY0" fmla="*/ 0 h 394541"/>
                <a:gd name="connsiteX1" fmla="*/ 0 w 102437"/>
                <a:gd name="connsiteY1" fmla="*/ 21498 h 394541"/>
                <a:gd name="connsiteX2" fmla="*/ 53116 w 102437"/>
                <a:gd name="connsiteY2" fmla="*/ 369251 h 394541"/>
                <a:gd name="connsiteX3" fmla="*/ 102438 w 102437"/>
                <a:gd name="connsiteY3" fmla="*/ 394542 h 394541"/>
              </a:gdLst>
              <a:ahLst/>
              <a:cxnLst>
                <a:cxn ang="0">
                  <a:pos x="connsiteX0" y="connsiteY0"/>
                </a:cxn>
                <a:cxn ang="0">
                  <a:pos x="connsiteX1" y="connsiteY1"/>
                </a:cxn>
                <a:cxn ang="0">
                  <a:pos x="connsiteX2" y="connsiteY2"/>
                </a:cxn>
                <a:cxn ang="0">
                  <a:pos x="connsiteX3" y="connsiteY3"/>
                </a:cxn>
              </a:cxnLst>
              <a:rect l="l" t="t" r="r" b="b"/>
              <a:pathLst>
                <a:path w="102437" h="394541">
                  <a:moveTo>
                    <a:pt x="42998" y="0"/>
                  </a:moveTo>
                  <a:lnTo>
                    <a:pt x="0" y="21498"/>
                  </a:lnTo>
                  <a:lnTo>
                    <a:pt x="53116" y="369251"/>
                  </a:lnTo>
                  <a:lnTo>
                    <a:pt x="102438" y="394542"/>
                  </a:lnTo>
                  <a:close/>
                </a:path>
              </a:pathLst>
            </a:custGeom>
            <a:solidFill>
              <a:schemeClr val="accent2"/>
            </a:solidFill>
            <a:ln w="126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9F2414EA-04ED-49FC-B9E8-D93418098B85}"/>
                </a:ext>
              </a:extLst>
            </p:cNvPr>
            <p:cNvSpPr/>
            <p:nvPr/>
          </p:nvSpPr>
          <p:spPr>
            <a:xfrm>
              <a:off x="10873313" y="251166"/>
              <a:ext cx="795472" cy="3906213"/>
            </a:xfrm>
            <a:custGeom>
              <a:avLst/>
              <a:gdLst>
                <a:gd name="connsiteX0" fmla="*/ 576686 w 795472"/>
                <a:gd name="connsiteY0" fmla="*/ 3906214 h 3906213"/>
                <a:gd name="connsiteX1" fmla="*/ 619684 w 795472"/>
                <a:gd name="connsiteY1" fmla="*/ 3885981 h 3906213"/>
                <a:gd name="connsiteX2" fmla="*/ 534952 w 795472"/>
                <a:gd name="connsiteY2" fmla="*/ 3321989 h 3906213"/>
                <a:gd name="connsiteX3" fmla="*/ 534952 w 795472"/>
                <a:gd name="connsiteY3" fmla="*/ 3321989 h 3906213"/>
                <a:gd name="connsiteX4" fmla="*/ 534952 w 795472"/>
                <a:gd name="connsiteY4" fmla="*/ 3321989 h 3906213"/>
                <a:gd name="connsiteX5" fmla="*/ 534952 w 795472"/>
                <a:gd name="connsiteY5" fmla="*/ 3321989 h 3906213"/>
                <a:gd name="connsiteX6" fmla="*/ 534952 w 795472"/>
                <a:gd name="connsiteY6" fmla="*/ 3320724 h 3906213"/>
                <a:gd name="connsiteX7" fmla="*/ 534952 w 795472"/>
                <a:gd name="connsiteY7" fmla="*/ 3320724 h 3906213"/>
                <a:gd name="connsiteX8" fmla="*/ 534952 w 795472"/>
                <a:gd name="connsiteY8" fmla="*/ 3320724 h 3906213"/>
                <a:gd name="connsiteX9" fmla="*/ 534952 w 795472"/>
                <a:gd name="connsiteY9" fmla="*/ 3320724 h 3906213"/>
                <a:gd name="connsiteX10" fmla="*/ 534952 w 795472"/>
                <a:gd name="connsiteY10" fmla="*/ 3320724 h 3906213"/>
                <a:gd name="connsiteX11" fmla="*/ 534952 w 795472"/>
                <a:gd name="connsiteY11" fmla="*/ 3320724 h 3906213"/>
                <a:gd name="connsiteX12" fmla="*/ 534952 w 795472"/>
                <a:gd name="connsiteY12" fmla="*/ 3320724 h 3906213"/>
                <a:gd name="connsiteX13" fmla="*/ 536217 w 795472"/>
                <a:gd name="connsiteY13" fmla="*/ 3320724 h 3906213"/>
                <a:gd name="connsiteX14" fmla="*/ 536217 w 795472"/>
                <a:gd name="connsiteY14" fmla="*/ 3320724 h 3906213"/>
                <a:gd name="connsiteX15" fmla="*/ 733504 w 795472"/>
                <a:gd name="connsiteY15" fmla="*/ 3229676 h 3906213"/>
                <a:gd name="connsiteX16" fmla="*/ 689241 w 795472"/>
                <a:gd name="connsiteY16" fmla="*/ 2914802 h 3906213"/>
                <a:gd name="connsiteX17" fmla="*/ 689241 w 795472"/>
                <a:gd name="connsiteY17" fmla="*/ 2914802 h 3906213"/>
                <a:gd name="connsiteX18" fmla="*/ 689241 w 795472"/>
                <a:gd name="connsiteY18" fmla="*/ 2914802 h 3906213"/>
                <a:gd name="connsiteX19" fmla="*/ 689241 w 795472"/>
                <a:gd name="connsiteY19" fmla="*/ 2914802 h 3906213"/>
                <a:gd name="connsiteX20" fmla="*/ 689241 w 795472"/>
                <a:gd name="connsiteY20" fmla="*/ 2914802 h 3906213"/>
                <a:gd name="connsiteX21" fmla="*/ 689241 w 795472"/>
                <a:gd name="connsiteY21" fmla="*/ 2913537 h 3906213"/>
                <a:gd name="connsiteX22" fmla="*/ 689241 w 795472"/>
                <a:gd name="connsiteY22" fmla="*/ 2913537 h 3906213"/>
                <a:gd name="connsiteX23" fmla="*/ 689241 w 795472"/>
                <a:gd name="connsiteY23" fmla="*/ 2913537 h 3906213"/>
                <a:gd name="connsiteX24" fmla="*/ 689241 w 795472"/>
                <a:gd name="connsiteY24" fmla="*/ 2913537 h 3906213"/>
                <a:gd name="connsiteX25" fmla="*/ 689241 w 795472"/>
                <a:gd name="connsiteY25" fmla="*/ 2913537 h 3906213"/>
                <a:gd name="connsiteX26" fmla="*/ 689241 w 795472"/>
                <a:gd name="connsiteY26" fmla="*/ 2913537 h 3906213"/>
                <a:gd name="connsiteX27" fmla="*/ 689241 w 795472"/>
                <a:gd name="connsiteY27" fmla="*/ 2913537 h 3906213"/>
                <a:gd name="connsiteX28" fmla="*/ 690505 w 795472"/>
                <a:gd name="connsiteY28" fmla="*/ 2913537 h 3906213"/>
                <a:gd name="connsiteX29" fmla="*/ 690505 w 795472"/>
                <a:gd name="connsiteY29" fmla="*/ 2913537 h 3906213"/>
                <a:gd name="connsiteX30" fmla="*/ 795472 w 795472"/>
                <a:gd name="connsiteY30" fmla="*/ 2866749 h 3906213"/>
                <a:gd name="connsiteX31" fmla="*/ 660153 w 795472"/>
                <a:gd name="connsiteY31" fmla="*/ 1899363 h 3906213"/>
                <a:gd name="connsiteX32" fmla="*/ 637389 w 795472"/>
                <a:gd name="connsiteY32" fmla="*/ 1729913 h 3906213"/>
                <a:gd name="connsiteX33" fmla="*/ 402162 w 795472"/>
                <a:gd name="connsiteY33" fmla="*/ 0 h 3906213"/>
                <a:gd name="connsiteX34" fmla="*/ 0 w 795472"/>
                <a:gd name="connsiteY34" fmla="*/ 120133 h 3906213"/>
                <a:gd name="connsiteX35" fmla="*/ 576686 w 795472"/>
                <a:gd name="connsiteY35" fmla="*/ 3906214 h 390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95472" h="3906213">
                  <a:moveTo>
                    <a:pt x="576686" y="3906214"/>
                  </a:moveTo>
                  <a:lnTo>
                    <a:pt x="619684" y="3885981"/>
                  </a:lnTo>
                  <a:lnTo>
                    <a:pt x="534952" y="3321989"/>
                  </a:lnTo>
                  <a:lnTo>
                    <a:pt x="534952" y="3321989"/>
                  </a:lnTo>
                  <a:lnTo>
                    <a:pt x="534952" y="3321989"/>
                  </a:lnTo>
                  <a:cubicBezTo>
                    <a:pt x="534952" y="3321989"/>
                    <a:pt x="534952" y="3321989"/>
                    <a:pt x="534952" y="3321989"/>
                  </a:cubicBezTo>
                  <a:cubicBezTo>
                    <a:pt x="534952" y="3321989"/>
                    <a:pt x="534952" y="3321989"/>
                    <a:pt x="534952" y="3320724"/>
                  </a:cubicBezTo>
                  <a:lnTo>
                    <a:pt x="534952" y="3320724"/>
                  </a:lnTo>
                  <a:lnTo>
                    <a:pt x="534952" y="3320724"/>
                  </a:lnTo>
                  <a:lnTo>
                    <a:pt x="534952" y="3320724"/>
                  </a:lnTo>
                  <a:lnTo>
                    <a:pt x="534952" y="3320724"/>
                  </a:lnTo>
                  <a:lnTo>
                    <a:pt x="534952" y="3320724"/>
                  </a:lnTo>
                  <a:lnTo>
                    <a:pt x="534952" y="3320724"/>
                  </a:lnTo>
                  <a:lnTo>
                    <a:pt x="536217" y="3320724"/>
                  </a:lnTo>
                  <a:lnTo>
                    <a:pt x="536217" y="3320724"/>
                  </a:lnTo>
                  <a:lnTo>
                    <a:pt x="733504" y="3229676"/>
                  </a:lnTo>
                  <a:lnTo>
                    <a:pt x="689241" y="2914802"/>
                  </a:lnTo>
                  <a:lnTo>
                    <a:pt x="689241" y="2914802"/>
                  </a:lnTo>
                  <a:lnTo>
                    <a:pt x="689241" y="2914802"/>
                  </a:lnTo>
                  <a:lnTo>
                    <a:pt x="689241" y="2914802"/>
                  </a:lnTo>
                  <a:lnTo>
                    <a:pt x="689241" y="2914802"/>
                  </a:lnTo>
                  <a:cubicBezTo>
                    <a:pt x="689241" y="2914802"/>
                    <a:pt x="689241" y="2914802"/>
                    <a:pt x="689241" y="2913537"/>
                  </a:cubicBezTo>
                  <a:lnTo>
                    <a:pt x="689241" y="2913537"/>
                  </a:lnTo>
                  <a:lnTo>
                    <a:pt x="689241" y="2913537"/>
                  </a:lnTo>
                  <a:lnTo>
                    <a:pt x="689241" y="2913537"/>
                  </a:lnTo>
                  <a:lnTo>
                    <a:pt x="689241" y="2913537"/>
                  </a:lnTo>
                  <a:lnTo>
                    <a:pt x="689241" y="2913537"/>
                  </a:lnTo>
                  <a:lnTo>
                    <a:pt x="689241" y="2913537"/>
                  </a:lnTo>
                  <a:lnTo>
                    <a:pt x="690505" y="2913537"/>
                  </a:lnTo>
                  <a:lnTo>
                    <a:pt x="690505" y="2913537"/>
                  </a:lnTo>
                  <a:lnTo>
                    <a:pt x="795472" y="2866749"/>
                  </a:lnTo>
                  <a:lnTo>
                    <a:pt x="660153" y="1899363"/>
                  </a:lnTo>
                  <a:lnTo>
                    <a:pt x="637389" y="1729913"/>
                  </a:lnTo>
                  <a:lnTo>
                    <a:pt x="402162" y="0"/>
                  </a:lnTo>
                  <a:lnTo>
                    <a:pt x="0" y="120133"/>
                  </a:lnTo>
                  <a:lnTo>
                    <a:pt x="576686" y="3906214"/>
                  </a:lnTo>
                  <a:close/>
                </a:path>
              </a:pathLst>
            </a:custGeom>
            <a:solidFill>
              <a:schemeClr val="accent1"/>
            </a:solidFill>
            <a:ln w="126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55E32A27-6FE6-4843-9523-7CCE772ACBF8}"/>
                </a:ext>
              </a:extLst>
            </p:cNvPr>
            <p:cNvSpPr/>
            <p:nvPr/>
          </p:nvSpPr>
          <p:spPr>
            <a:xfrm>
              <a:off x="11260299" y="5487692"/>
              <a:ext cx="24028" cy="17703"/>
            </a:xfrm>
            <a:custGeom>
              <a:avLst/>
              <a:gdLst>
                <a:gd name="connsiteX0" fmla="*/ 0 w 24028"/>
                <a:gd name="connsiteY0" fmla="*/ 12646 h 17703"/>
                <a:gd name="connsiteX1" fmla="*/ 1265 w 24028"/>
                <a:gd name="connsiteY1" fmla="*/ 17704 h 17703"/>
                <a:gd name="connsiteX2" fmla="*/ 24029 w 24028"/>
                <a:gd name="connsiteY2" fmla="*/ 5058 h 17703"/>
                <a:gd name="connsiteX3" fmla="*/ 22764 w 24028"/>
                <a:gd name="connsiteY3" fmla="*/ 0 h 17703"/>
              </a:gdLst>
              <a:ahLst/>
              <a:cxnLst>
                <a:cxn ang="0">
                  <a:pos x="connsiteX0" y="connsiteY0"/>
                </a:cxn>
                <a:cxn ang="0">
                  <a:pos x="connsiteX1" y="connsiteY1"/>
                </a:cxn>
                <a:cxn ang="0">
                  <a:pos x="connsiteX2" y="connsiteY2"/>
                </a:cxn>
                <a:cxn ang="0">
                  <a:pos x="connsiteX3" y="connsiteY3"/>
                </a:cxn>
              </a:cxnLst>
              <a:rect l="l" t="t" r="r" b="b"/>
              <a:pathLst>
                <a:path w="24028" h="17703">
                  <a:moveTo>
                    <a:pt x="0" y="12646"/>
                  </a:moveTo>
                  <a:lnTo>
                    <a:pt x="1265" y="17704"/>
                  </a:lnTo>
                  <a:lnTo>
                    <a:pt x="24029" y="5058"/>
                  </a:lnTo>
                  <a:lnTo>
                    <a:pt x="22764" y="0"/>
                  </a:lnTo>
                  <a:close/>
                </a:path>
              </a:pathLst>
            </a:custGeom>
            <a:solidFill>
              <a:srgbClr val="F2494C"/>
            </a:solidFill>
            <a:ln w="126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8F9B260-9EE2-4535-A676-3A9A7B8D65F7}"/>
                </a:ext>
              </a:extLst>
            </p:cNvPr>
            <p:cNvSpPr/>
            <p:nvPr/>
          </p:nvSpPr>
          <p:spPr>
            <a:xfrm>
              <a:off x="11233741" y="5132352"/>
              <a:ext cx="830882" cy="815638"/>
            </a:xfrm>
            <a:custGeom>
              <a:avLst/>
              <a:gdLst>
                <a:gd name="connsiteX0" fmla="*/ 0 w 830882"/>
                <a:gd name="connsiteY0" fmla="*/ 0 h 815638"/>
                <a:gd name="connsiteX1" fmla="*/ 56910 w 830882"/>
                <a:gd name="connsiteY1" fmla="*/ 347753 h 815638"/>
                <a:gd name="connsiteX2" fmla="*/ 59439 w 830882"/>
                <a:gd name="connsiteY2" fmla="*/ 360398 h 815638"/>
                <a:gd name="connsiteX3" fmla="*/ 830883 w 830882"/>
                <a:gd name="connsiteY3" fmla="*/ 815639 h 815638"/>
                <a:gd name="connsiteX4" fmla="*/ 779032 w 830882"/>
                <a:gd name="connsiteY4" fmla="*/ 441330 h 815638"/>
                <a:gd name="connsiteX5" fmla="*/ 355370 w 830882"/>
                <a:gd name="connsiteY5" fmla="*/ 201064 h 81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882" h="815638">
                  <a:moveTo>
                    <a:pt x="0" y="0"/>
                  </a:moveTo>
                  <a:lnTo>
                    <a:pt x="56910" y="347753"/>
                  </a:lnTo>
                  <a:lnTo>
                    <a:pt x="59439" y="360398"/>
                  </a:lnTo>
                  <a:lnTo>
                    <a:pt x="830883" y="815639"/>
                  </a:lnTo>
                  <a:lnTo>
                    <a:pt x="779032" y="441330"/>
                  </a:lnTo>
                  <a:lnTo>
                    <a:pt x="355370" y="201064"/>
                  </a:lnTo>
                  <a:close/>
                </a:path>
              </a:pathLst>
            </a:custGeom>
            <a:solidFill>
              <a:schemeClr val="accent5"/>
            </a:solidFill>
            <a:ln w="126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74B5B040-0122-495E-B56A-E773D61FBAE6}"/>
                </a:ext>
              </a:extLst>
            </p:cNvPr>
            <p:cNvSpPr/>
            <p:nvPr/>
          </p:nvSpPr>
          <p:spPr>
            <a:xfrm>
              <a:off x="12022890" y="5462401"/>
              <a:ext cx="194757" cy="486854"/>
            </a:xfrm>
            <a:custGeom>
              <a:avLst/>
              <a:gdLst>
                <a:gd name="connsiteX0" fmla="*/ 0 w 194757"/>
                <a:gd name="connsiteY0" fmla="*/ 111281 h 486854"/>
                <a:gd name="connsiteX1" fmla="*/ 51851 w 194757"/>
                <a:gd name="connsiteY1" fmla="*/ 486854 h 486854"/>
                <a:gd name="connsiteX2" fmla="*/ 194758 w 194757"/>
                <a:gd name="connsiteY2" fmla="*/ 402129 h 486854"/>
                <a:gd name="connsiteX3" fmla="*/ 194758 w 194757"/>
                <a:gd name="connsiteY3" fmla="*/ 0 h 486854"/>
                <a:gd name="connsiteX4" fmla="*/ 75880 w 194757"/>
                <a:gd name="connsiteY4" fmla="*/ 67021 h 486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57" h="486854">
                  <a:moveTo>
                    <a:pt x="0" y="111281"/>
                  </a:moveTo>
                  <a:lnTo>
                    <a:pt x="51851" y="486854"/>
                  </a:lnTo>
                  <a:lnTo>
                    <a:pt x="194758" y="402129"/>
                  </a:lnTo>
                  <a:lnTo>
                    <a:pt x="194758" y="0"/>
                  </a:lnTo>
                  <a:lnTo>
                    <a:pt x="75880" y="67021"/>
                  </a:lnTo>
                  <a:close/>
                </a:path>
              </a:pathLst>
            </a:custGeom>
            <a:solidFill>
              <a:schemeClr val="accent5"/>
            </a:solidFill>
            <a:ln w="126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59DC7F6B-2347-45E0-8421-A83B5307BCE6}"/>
                </a:ext>
              </a:extLst>
            </p:cNvPr>
            <p:cNvSpPr/>
            <p:nvPr/>
          </p:nvSpPr>
          <p:spPr>
            <a:xfrm>
              <a:off x="11600493" y="5291686"/>
              <a:ext cx="486894" cy="274408"/>
            </a:xfrm>
            <a:custGeom>
              <a:avLst/>
              <a:gdLst>
                <a:gd name="connsiteX0" fmla="*/ 0 w 486894"/>
                <a:gd name="connsiteY0" fmla="*/ 37937 h 274408"/>
                <a:gd name="connsiteX1" fmla="*/ 417338 w 486894"/>
                <a:gd name="connsiteY1" fmla="*/ 274409 h 274408"/>
                <a:gd name="connsiteX2" fmla="*/ 486895 w 486894"/>
                <a:gd name="connsiteY2" fmla="*/ 233943 h 274408"/>
                <a:gd name="connsiteX3" fmla="*/ 145436 w 486894"/>
                <a:gd name="connsiteY3" fmla="*/ 42995 h 274408"/>
                <a:gd name="connsiteX4" fmla="*/ 69556 w 486894"/>
                <a:gd name="connsiteY4" fmla="*/ 0 h 274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94" h="274408">
                  <a:moveTo>
                    <a:pt x="0" y="37937"/>
                  </a:moveTo>
                  <a:lnTo>
                    <a:pt x="417338" y="274409"/>
                  </a:lnTo>
                  <a:lnTo>
                    <a:pt x="486895" y="233943"/>
                  </a:lnTo>
                  <a:lnTo>
                    <a:pt x="145436" y="42995"/>
                  </a:lnTo>
                  <a:lnTo>
                    <a:pt x="69556" y="0"/>
                  </a:lnTo>
                  <a:close/>
                </a:path>
              </a:pathLst>
            </a:custGeom>
            <a:solidFill>
              <a:schemeClr val="accent4"/>
            </a:solidFill>
            <a:ln w="126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0FBBD5D9-49A3-4CCD-B680-E9230F628713}"/>
                </a:ext>
              </a:extLst>
            </p:cNvPr>
            <p:cNvSpPr/>
            <p:nvPr/>
          </p:nvSpPr>
          <p:spPr>
            <a:xfrm>
              <a:off x="9469538" y="2436318"/>
              <a:ext cx="813177" cy="2331841"/>
            </a:xfrm>
            <a:custGeom>
              <a:avLst/>
              <a:gdLst>
                <a:gd name="connsiteX0" fmla="*/ 466660 w 813177"/>
                <a:gd name="connsiteY0" fmla="*/ 2331842 h 2331841"/>
                <a:gd name="connsiteX1" fmla="*/ 813178 w 813177"/>
                <a:gd name="connsiteY1" fmla="*/ 2164920 h 2331841"/>
                <a:gd name="connsiteX2" fmla="*/ 671535 w 813177"/>
                <a:gd name="connsiteY2" fmla="*/ 1458033 h 2331841"/>
                <a:gd name="connsiteX3" fmla="*/ 624743 w 813177"/>
                <a:gd name="connsiteY3" fmla="*/ 1221561 h 2331841"/>
                <a:gd name="connsiteX4" fmla="*/ 383192 w 813177"/>
                <a:gd name="connsiteY4" fmla="*/ 0 h 2331841"/>
                <a:gd name="connsiteX5" fmla="*/ 0 w 813177"/>
                <a:gd name="connsiteY5" fmla="*/ 144160 h 233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3177" h="2331841">
                  <a:moveTo>
                    <a:pt x="466660" y="2331842"/>
                  </a:moveTo>
                  <a:lnTo>
                    <a:pt x="813178" y="2164920"/>
                  </a:lnTo>
                  <a:lnTo>
                    <a:pt x="671535" y="1458033"/>
                  </a:lnTo>
                  <a:lnTo>
                    <a:pt x="624743" y="1221561"/>
                  </a:lnTo>
                  <a:lnTo>
                    <a:pt x="383192" y="0"/>
                  </a:lnTo>
                  <a:lnTo>
                    <a:pt x="0" y="144160"/>
                  </a:lnTo>
                  <a:close/>
                </a:path>
              </a:pathLst>
            </a:custGeom>
            <a:solidFill>
              <a:schemeClr val="accent3"/>
            </a:solidFill>
            <a:ln w="126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7D32C74D-87D9-412E-B648-F1C6679A71DD}"/>
                </a:ext>
              </a:extLst>
            </p:cNvPr>
            <p:cNvSpPr/>
            <p:nvPr/>
          </p:nvSpPr>
          <p:spPr>
            <a:xfrm>
              <a:off x="11523349" y="1927967"/>
              <a:ext cx="694299" cy="389483"/>
            </a:xfrm>
            <a:custGeom>
              <a:avLst/>
              <a:gdLst>
                <a:gd name="connsiteX0" fmla="*/ 135319 w 694299"/>
                <a:gd name="connsiteY0" fmla="*/ 21497 h 389483"/>
                <a:gd name="connsiteX1" fmla="*/ 130260 w 694299"/>
                <a:gd name="connsiteY1" fmla="*/ 17704 h 389483"/>
                <a:gd name="connsiteX2" fmla="*/ 130260 w 694299"/>
                <a:gd name="connsiteY2" fmla="*/ 17704 h 389483"/>
                <a:gd name="connsiteX3" fmla="*/ 127731 w 694299"/>
                <a:gd name="connsiteY3" fmla="*/ 0 h 389483"/>
                <a:gd name="connsiteX4" fmla="*/ 0 w 694299"/>
                <a:gd name="connsiteY4" fmla="*/ 49318 h 389483"/>
                <a:gd name="connsiteX5" fmla="*/ 22764 w 694299"/>
                <a:gd name="connsiteY5" fmla="*/ 212445 h 389483"/>
                <a:gd name="connsiteX6" fmla="*/ 532422 w 694299"/>
                <a:gd name="connsiteY6" fmla="*/ 389483 h 389483"/>
                <a:gd name="connsiteX7" fmla="*/ 694299 w 694299"/>
                <a:gd name="connsiteY7" fmla="*/ 322462 h 389483"/>
                <a:gd name="connsiteX8" fmla="*/ 694299 w 694299"/>
                <a:gd name="connsiteY8" fmla="*/ 202329 h 389483"/>
                <a:gd name="connsiteX9" fmla="*/ 139113 w 694299"/>
                <a:gd name="connsiteY9" fmla="*/ 17704 h 389483"/>
                <a:gd name="connsiteX10" fmla="*/ 135319 w 694299"/>
                <a:gd name="connsiteY10" fmla="*/ 21497 h 3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4299" h="389483">
                  <a:moveTo>
                    <a:pt x="135319" y="21497"/>
                  </a:moveTo>
                  <a:cubicBezTo>
                    <a:pt x="132789" y="21497"/>
                    <a:pt x="130260" y="20233"/>
                    <a:pt x="130260" y="17704"/>
                  </a:cubicBezTo>
                  <a:cubicBezTo>
                    <a:pt x="130260" y="17704"/>
                    <a:pt x="130260" y="17704"/>
                    <a:pt x="130260" y="17704"/>
                  </a:cubicBezTo>
                  <a:lnTo>
                    <a:pt x="127731" y="0"/>
                  </a:lnTo>
                  <a:lnTo>
                    <a:pt x="0" y="49318"/>
                  </a:lnTo>
                  <a:lnTo>
                    <a:pt x="22764" y="212445"/>
                  </a:lnTo>
                  <a:lnTo>
                    <a:pt x="532422" y="389483"/>
                  </a:lnTo>
                  <a:lnTo>
                    <a:pt x="694299" y="322462"/>
                  </a:lnTo>
                  <a:lnTo>
                    <a:pt x="694299" y="202329"/>
                  </a:lnTo>
                  <a:lnTo>
                    <a:pt x="139113" y="17704"/>
                  </a:lnTo>
                  <a:cubicBezTo>
                    <a:pt x="137848" y="20233"/>
                    <a:pt x="136584" y="21497"/>
                    <a:pt x="135319" y="21497"/>
                  </a:cubicBezTo>
                  <a:close/>
                </a:path>
              </a:pathLst>
            </a:custGeom>
            <a:solidFill>
              <a:schemeClr val="accent4"/>
            </a:solidFill>
            <a:ln w="126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30EF2501-3F36-42E6-A007-66F0D4BD7E06}"/>
                </a:ext>
              </a:extLst>
            </p:cNvPr>
            <p:cNvSpPr/>
            <p:nvPr/>
          </p:nvSpPr>
          <p:spPr>
            <a:xfrm>
              <a:off x="11606817" y="1539748"/>
              <a:ext cx="609566" cy="591812"/>
            </a:xfrm>
            <a:custGeom>
              <a:avLst/>
              <a:gdLst>
                <a:gd name="connsiteX0" fmla="*/ 51851 w 609566"/>
                <a:gd name="connsiteY0" fmla="*/ 381896 h 591812"/>
                <a:gd name="connsiteX1" fmla="*/ 51851 w 609566"/>
                <a:gd name="connsiteY1" fmla="*/ 381896 h 591812"/>
                <a:gd name="connsiteX2" fmla="*/ 54380 w 609566"/>
                <a:gd name="connsiteY2" fmla="*/ 404658 h 591812"/>
                <a:gd name="connsiteX3" fmla="*/ 54380 w 609566"/>
                <a:gd name="connsiteY3" fmla="*/ 407187 h 591812"/>
                <a:gd name="connsiteX4" fmla="*/ 609567 w 609566"/>
                <a:gd name="connsiteY4" fmla="*/ 591812 h 591812"/>
                <a:gd name="connsiteX5" fmla="*/ 609567 w 609566"/>
                <a:gd name="connsiteY5" fmla="*/ 185890 h 591812"/>
                <a:gd name="connsiteX6" fmla="*/ 0 w 609566"/>
                <a:gd name="connsiteY6" fmla="*/ 0 h 591812"/>
                <a:gd name="connsiteX7" fmla="*/ 51851 w 609566"/>
                <a:gd name="connsiteY7" fmla="*/ 381896 h 59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66" h="591812">
                  <a:moveTo>
                    <a:pt x="51851" y="381896"/>
                  </a:moveTo>
                  <a:lnTo>
                    <a:pt x="51851" y="381896"/>
                  </a:lnTo>
                  <a:lnTo>
                    <a:pt x="54380" y="404658"/>
                  </a:lnTo>
                  <a:cubicBezTo>
                    <a:pt x="54380" y="405922"/>
                    <a:pt x="54380" y="405922"/>
                    <a:pt x="54380" y="407187"/>
                  </a:cubicBezTo>
                  <a:lnTo>
                    <a:pt x="609567" y="591812"/>
                  </a:lnTo>
                  <a:lnTo>
                    <a:pt x="609567" y="185890"/>
                  </a:lnTo>
                  <a:lnTo>
                    <a:pt x="0" y="0"/>
                  </a:lnTo>
                  <a:lnTo>
                    <a:pt x="51851" y="381896"/>
                  </a:lnTo>
                  <a:close/>
                </a:path>
              </a:pathLst>
            </a:custGeom>
            <a:solidFill>
              <a:schemeClr val="accent2">
                <a:lumMod val="75000"/>
              </a:schemeClr>
            </a:solidFill>
            <a:ln w="126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2B30D482-4D81-466B-ACE4-9F71544262AA}"/>
                </a:ext>
              </a:extLst>
            </p:cNvPr>
            <p:cNvSpPr/>
            <p:nvPr/>
          </p:nvSpPr>
          <p:spPr>
            <a:xfrm>
              <a:off x="11548642" y="2150529"/>
              <a:ext cx="617154" cy="1109015"/>
            </a:xfrm>
            <a:custGeom>
              <a:avLst/>
              <a:gdLst>
                <a:gd name="connsiteX0" fmla="*/ 183376 w 617154"/>
                <a:gd name="connsiteY0" fmla="*/ 933242 h 1109015"/>
                <a:gd name="connsiteX1" fmla="*/ 183376 w 617154"/>
                <a:gd name="connsiteY1" fmla="*/ 933242 h 1109015"/>
                <a:gd name="connsiteX2" fmla="*/ 184640 w 617154"/>
                <a:gd name="connsiteY2" fmla="*/ 933242 h 1109015"/>
                <a:gd name="connsiteX3" fmla="*/ 185905 w 617154"/>
                <a:gd name="connsiteY3" fmla="*/ 933242 h 1109015"/>
                <a:gd name="connsiteX4" fmla="*/ 187170 w 617154"/>
                <a:gd name="connsiteY4" fmla="*/ 933242 h 1109015"/>
                <a:gd name="connsiteX5" fmla="*/ 187170 w 617154"/>
                <a:gd name="connsiteY5" fmla="*/ 933242 h 1109015"/>
                <a:gd name="connsiteX6" fmla="*/ 617155 w 617154"/>
                <a:gd name="connsiteY6" fmla="*/ 1109016 h 1109015"/>
                <a:gd name="connsiteX7" fmla="*/ 504600 w 617154"/>
                <a:gd name="connsiteY7" fmla="*/ 175773 h 1109015"/>
                <a:gd name="connsiteX8" fmla="*/ 0 w 617154"/>
                <a:gd name="connsiteY8" fmla="*/ 0 h 1109015"/>
                <a:gd name="connsiteX9" fmla="*/ 132789 w 617154"/>
                <a:gd name="connsiteY9" fmla="*/ 957269 h 1109015"/>
                <a:gd name="connsiteX10" fmla="*/ 183376 w 617154"/>
                <a:gd name="connsiteY10" fmla="*/ 933242 h 110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154" h="1109015">
                  <a:moveTo>
                    <a:pt x="183376" y="933242"/>
                  </a:moveTo>
                  <a:lnTo>
                    <a:pt x="183376" y="933242"/>
                  </a:lnTo>
                  <a:lnTo>
                    <a:pt x="184640" y="933242"/>
                  </a:lnTo>
                  <a:lnTo>
                    <a:pt x="185905" y="933242"/>
                  </a:lnTo>
                  <a:lnTo>
                    <a:pt x="187170" y="933242"/>
                  </a:lnTo>
                  <a:lnTo>
                    <a:pt x="187170" y="933242"/>
                  </a:lnTo>
                  <a:lnTo>
                    <a:pt x="617155" y="1109016"/>
                  </a:lnTo>
                  <a:lnTo>
                    <a:pt x="504600" y="175773"/>
                  </a:lnTo>
                  <a:lnTo>
                    <a:pt x="0" y="0"/>
                  </a:lnTo>
                  <a:lnTo>
                    <a:pt x="132789" y="957269"/>
                  </a:lnTo>
                  <a:lnTo>
                    <a:pt x="183376" y="933242"/>
                  </a:lnTo>
                  <a:close/>
                </a:path>
              </a:pathLst>
            </a:custGeom>
            <a:solidFill>
              <a:schemeClr val="accent6">
                <a:lumMod val="50000"/>
              </a:schemeClr>
            </a:solidFill>
            <a:ln w="126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0BC32813-FAE2-4C6C-B4A6-E02140F604A8}"/>
                </a:ext>
              </a:extLst>
            </p:cNvPr>
            <p:cNvSpPr/>
            <p:nvPr/>
          </p:nvSpPr>
          <p:spPr>
            <a:xfrm>
              <a:off x="12060830" y="2260545"/>
              <a:ext cx="156817" cy="1020496"/>
            </a:xfrm>
            <a:custGeom>
              <a:avLst/>
              <a:gdLst>
                <a:gd name="connsiteX0" fmla="*/ 113820 w 156817"/>
                <a:gd name="connsiteY0" fmla="*/ 1002793 h 1020496"/>
                <a:gd name="connsiteX1" fmla="*/ 156818 w 156817"/>
                <a:gd name="connsiteY1" fmla="*/ 1020497 h 1020496"/>
                <a:gd name="connsiteX2" fmla="*/ 156818 w 156817"/>
                <a:gd name="connsiteY2" fmla="*/ 0 h 1020496"/>
                <a:gd name="connsiteX3" fmla="*/ 0 w 156817"/>
                <a:gd name="connsiteY3" fmla="*/ 64492 h 1020496"/>
              </a:gdLst>
              <a:ahLst/>
              <a:cxnLst>
                <a:cxn ang="0">
                  <a:pos x="connsiteX0" y="connsiteY0"/>
                </a:cxn>
                <a:cxn ang="0">
                  <a:pos x="connsiteX1" y="connsiteY1"/>
                </a:cxn>
                <a:cxn ang="0">
                  <a:pos x="connsiteX2" y="connsiteY2"/>
                </a:cxn>
                <a:cxn ang="0">
                  <a:pos x="connsiteX3" y="connsiteY3"/>
                </a:cxn>
              </a:cxnLst>
              <a:rect l="l" t="t" r="r" b="b"/>
              <a:pathLst>
                <a:path w="156817" h="1020496">
                  <a:moveTo>
                    <a:pt x="113820" y="1002793"/>
                  </a:moveTo>
                  <a:lnTo>
                    <a:pt x="156818" y="1020497"/>
                  </a:lnTo>
                  <a:lnTo>
                    <a:pt x="156818" y="0"/>
                  </a:lnTo>
                  <a:lnTo>
                    <a:pt x="0" y="64492"/>
                  </a:lnTo>
                  <a:close/>
                </a:path>
              </a:pathLst>
            </a:custGeom>
            <a:solidFill>
              <a:schemeClr val="accent2">
                <a:lumMod val="75000"/>
              </a:schemeClr>
            </a:solidFill>
            <a:ln w="126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ECC72CF3-F179-4506-942E-A20AA06D573D}"/>
                </a:ext>
              </a:extLst>
            </p:cNvPr>
            <p:cNvSpPr/>
            <p:nvPr/>
          </p:nvSpPr>
          <p:spPr>
            <a:xfrm>
              <a:off x="10629233" y="191731"/>
              <a:ext cx="632330" cy="170715"/>
            </a:xfrm>
            <a:custGeom>
              <a:avLst/>
              <a:gdLst>
                <a:gd name="connsiteX0" fmla="*/ 632331 w 632330"/>
                <a:gd name="connsiteY0" fmla="*/ 54376 h 170715"/>
                <a:gd name="connsiteX1" fmla="*/ 389516 w 632330"/>
                <a:gd name="connsiteY1" fmla="*/ 0 h 170715"/>
                <a:gd name="connsiteX2" fmla="*/ 0 w 632330"/>
                <a:gd name="connsiteY2" fmla="*/ 113810 h 170715"/>
                <a:gd name="connsiteX3" fmla="*/ 239021 w 632330"/>
                <a:gd name="connsiteY3" fmla="*/ 170715 h 170715"/>
              </a:gdLst>
              <a:ahLst/>
              <a:cxnLst>
                <a:cxn ang="0">
                  <a:pos x="connsiteX0" y="connsiteY0"/>
                </a:cxn>
                <a:cxn ang="0">
                  <a:pos x="connsiteX1" y="connsiteY1"/>
                </a:cxn>
                <a:cxn ang="0">
                  <a:pos x="connsiteX2" y="connsiteY2"/>
                </a:cxn>
                <a:cxn ang="0">
                  <a:pos x="connsiteX3" y="connsiteY3"/>
                </a:cxn>
              </a:cxnLst>
              <a:rect l="l" t="t" r="r" b="b"/>
              <a:pathLst>
                <a:path w="632330" h="170715">
                  <a:moveTo>
                    <a:pt x="632331" y="54376"/>
                  </a:moveTo>
                  <a:lnTo>
                    <a:pt x="389516" y="0"/>
                  </a:lnTo>
                  <a:lnTo>
                    <a:pt x="0" y="113810"/>
                  </a:lnTo>
                  <a:lnTo>
                    <a:pt x="239021" y="170715"/>
                  </a:lnTo>
                  <a:close/>
                </a:path>
              </a:pathLst>
            </a:custGeom>
            <a:solidFill>
              <a:srgbClr val="F4F5F3"/>
            </a:solidFill>
            <a:ln w="126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EF366EF2-C851-4803-BC43-4EB732ED25B1}"/>
                </a:ext>
              </a:extLst>
            </p:cNvPr>
            <p:cNvSpPr/>
            <p:nvPr/>
          </p:nvSpPr>
          <p:spPr>
            <a:xfrm>
              <a:off x="9235576" y="2332625"/>
              <a:ext cx="608302" cy="240265"/>
            </a:xfrm>
            <a:custGeom>
              <a:avLst/>
              <a:gdLst>
                <a:gd name="connsiteX0" fmla="*/ 608302 w 608302"/>
                <a:gd name="connsiteY0" fmla="*/ 97371 h 240265"/>
                <a:gd name="connsiteX1" fmla="*/ 375605 w 608302"/>
                <a:gd name="connsiteY1" fmla="*/ 0 h 240265"/>
                <a:gd name="connsiteX2" fmla="*/ 0 w 608302"/>
                <a:gd name="connsiteY2" fmla="*/ 139101 h 240265"/>
                <a:gd name="connsiteX3" fmla="*/ 228904 w 608302"/>
                <a:gd name="connsiteY3" fmla="*/ 240266 h 240265"/>
              </a:gdLst>
              <a:ahLst/>
              <a:cxnLst>
                <a:cxn ang="0">
                  <a:pos x="connsiteX0" y="connsiteY0"/>
                </a:cxn>
                <a:cxn ang="0">
                  <a:pos x="connsiteX1" y="connsiteY1"/>
                </a:cxn>
                <a:cxn ang="0">
                  <a:pos x="connsiteX2" y="connsiteY2"/>
                </a:cxn>
                <a:cxn ang="0">
                  <a:pos x="connsiteX3" y="connsiteY3"/>
                </a:cxn>
              </a:cxnLst>
              <a:rect l="l" t="t" r="r" b="b"/>
              <a:pathLst>
                <a:path w="608302" h="240265">
                  <a:moveTo>
                    <a:pt x="608302" y="97371"/>
                  </a:moveTo>
                  <a:lnTo>
                    <a:pt x="375605" y="0"/>
                  </a:lnTo>
                  <a:lnTo>
                    <a:pt x="0" y="139101"/>
                  </a:lnTo>
                  <a:lnTo>
                    <a:pt x="228904" y="240266"/>
                  </a:lnTo>
                  <a:close/>
                </a:path>
              </a:pathLst>
            </a:custGeom>
            <a:solidFill>
              <a:schemeClr val="accent1"/>
            </a:solidFill>
            <a:ln w="126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A8A5592C-23FD-4742-B61E-78849BE5E6BD}"/>
                </a:ext>
              </a:extLst>
            </p:cNvPr>
            <p:cNvSpPr/>
            <p:nvPr/>
          </p:nvSpPr>
          <p:spPr>
            <a:xfrm>
              <a:off x="11608081" y="4924965"/>
              <a:ext cx="3794" cy="5058"/>
            </a:xfrm>
            <a:custGeom>
              <a:avLst/>
              <a:gdLst>
                <a:gd name="connsiteX0" fmla="*/ 3794 w 3794"/>
                <a:gd name="connsiteY0" fmla="*/ 5058 h 5058"/>
                <a:gd name="connsiteX1" fmla="*/ 3794 w 3794"/>
                <a:gd name="connsiteY1" fmla="*/ 0 h 5058"/>
                <a:gd name="connsiteX2" fmla="*/ 0 w 3794"/>
                <a:gd name="connsiteY2" fmla="*/ 2529 h 5058"/>
              </a:gdLst>
              <a:ahLst/>
              <a:cxnLst>
                <a:cxn ang="0">
                  <a:pos x="connsiteX0" y="connsiteY0"/>
                </a:cxn>
                <a:cxn ang="0">
                  <a:pos x="connsiteX1" y="connsiteY1"/>
                </a:cxn>
                <a:cxn ang="0">
                  <a:pos x="connsiteX2" y="connsiteY2"/>
                </a:cxn>
              </a:cxnLst>
              <a:rect l="l" t="t" r="r" b="b"/>
              <a:pathLst>
                <a:path w="3794" h="5058">
                  <a:moveTo>
                    <a:pt x="3794" y="5058"/>
                  </a:moveTo>
                  <a:lnTo>
                    <a:pt x="3794" y="0"/>
                  </a:lnTo>
                  <a:lnTo>
                    <a:pt x="0" y="2529"/>
                  </a:lnTo>
                  <a:close/>
                </a:path>
              </a:pathLst>
            </a:custGeom>
            <a:solidFill>
              <a:srgbClr val="0A4054"/>
            </a:solidFill>
            <a:ln w="126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E081EBB2-6885-4685-87D6-054AB7ADCDFE}"/>
                </a:ext>
              </a:extLst>
            </p:cNvPr>
            <p:cNvSpPr/>
            <p:nvPr/>
          </p:nvSpPr>
          <p:spPr>
            <a:xfrm>
              <a:off x="10620380" y="5500338"/>
              <a:ext cx="1597267" cy="1093840"/>
            </a:xfrm>
            <a:custGeom>
              <a:avLst/>
              <a:gdLst>
                <a:gd name="connsiteX0" fmla="*/ 1453096 w 1597267"/>
                <a:gd name="connsiteY0" fmla="*/ 460298 h 1093840"/>
                <a:gd name="connsiteX1" fmla="*/ 1453096 w 1597267"/>
                <a:gd name="connsiteY1" fmla="*/ 460298 h 1093840"/>
                <a:gd name="connsiteX2" fmla="*/ 1453096 w 1597267"/>
                <a:gd name="connsiteY2" fmla="*/ 460298 h 1093840"/>
                <a:gd name="connsiteX3" fmla="*/ 1453096 w 1597267"/>
                <a:gd name="connsiteY3" fmla="*/ 460298 h 1093840"/>
                <a:gd name="connsiteX4" fmla="*/ 1450567 w 1597267"/>
                <a:gd name="connsiteY4" fmla="*/ 460298 h 1093840"/>
                <a:gd name="connsiteX5" fmla="*/ 1450567 w 1597267"/>
                <a:gd name="connsiteY5" fmla="*/ 460298 h 1093840"/>
                <a:gd name="connsiteX6" fmla="*/ 1450567 w 1597267"/>
                <a:gd name="connsiteY6" fmla="*/ 460298 h 1093840"/>
                <a:gd name="connsiteX7" fmla="*/ 671535 w 1597267"/>
                <a:gd name="connsiteY7" fmla="*/ 0 h 1093840"/>
                <a:gd name="connsiteX8" fmla="*/ 642448 w 1597267"/>
                <a:gd name="connsiteY8" fmla="*/ 15175 h 1093840"/>
                <a:gd name="connsiteX9" fmla="*/ 0 w 1597267"/>
                <a:gd name="connsiteY9" fmla="*/ 367986 h 1093840"/>
                <a:gd name="connsiteX10" fmla="*/ 1115432 w 1597267"/>
                <a:gd name="connsiteY10" fmla="*/ 1093841 h 1093840"/>
                <a:gd name="connsiteX11" fmla="*/ 1597268 w 1597267"/>
                <a:gd name="connsiteY11" fmla="*/ 797935 h 1093840"/>
                <a:gd name="connsiteX12" fmla="*/ 1597268 w 1597267"/>
                <a:gd name="connsiteY12" fmla="*/ 375573 h 1093840"/>
                <a:gd name="connsiteX13" fmla="*/ 1453096 w 1597267"/>
                <a:gd name="connsiteY13" fmla="*/ 460298 h 1093840"/>
                <a:gd name="connsiteX14" fmla="*/ 1453096 w 1597267"/>
                <a:gd name="connsiteY14" fmla="*/ 460298 h 109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7267" h="1093840">
                  <a:moveTo>
                    <a:pt x="1453096" y="460298"/>
                  </a:moveTo>
                  <a:lnTo>
                    <a:pt x="1453096" y="460298"/>
                  </a:lnTo>
                  <a:lnTo>
                    <a:pt x="1453096" y="460298"/>
                  </a:lnTo>
                  <a:lnTo>
                    <a:pt x="1453096" y="460298"/>
                  </a:lnTo>
                  <a:lnTo>
                    <a:pt x="1450567" y="460298"/>
                  </a:lnTo>
                  <a:lnTo>
                    <a:pt x="1450567" y="460298"/>
                  </a:lnTo>
                  <a:lnTo>
                    <a:pt x="1450567" y="460298"/>
                  </a:lnTo>
                  <a:lnTo>
                    <a:pt x="671535" y="0"/>
                  </a:lnTo>
                  <a:lnTo>
                    <a:pt x="642448" y="15175"/>
                  </a:lnTo>
                  <a:lnTo>
                    <a:pt x="0" y="367986"/>
                  </a:lnTo>
                  <a:lnTo>
                    <a:pt x="1115432" y="1093841"/>
                  </a:lnTo>
                  <a:lnTo>
                    <a:pt x="1597268" y="797935"/>
                  </a:lnTo>
                  <a:lnTo>
                    <a:pt x="1597268" y="375573"/>
                  </a:lnTo>
                  <a:lnTo>
                    <a:pt x="1453096" y="460298"/>
                  </a:lnTo>
                  <a:lnTo>
                    <a:pt x="1453096" y="460298"/>
                  </a:lnTo>
                  <a:close/>
                </a:path>
              </a:pathLst>
            </a:custGeom>
            <a:solidFill>
              <a:schemeClr val="accent3"/>
            </a:solidFill>
            <a:ln w="126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788D7ED-ED6D-452D-ADD1-807D9C8494DC}"/>
                </a:ext>
              </a:extLst>
            </p:cNvPr>
            <p:cNvSpPr/>
            <p:nvPr/>
          </p:nvSpPr>
          <p:spPr>
            <a:xfrm>
              <a:off x="11418382" y="3579477"/>
              <a:ext cx="323753" cy="1742558"/>
            </a:xfrm>
            <a:custGeom>
              <a:avLst/>
              <a:gdLst>
                <a:gd name="connsiteX0" fmla="*/ 145436 w 323753"/>
                <a:gd name="connsiteY0" fmla="*/ 968650 h 1742558"/>
                <a:gd name="connsiteX1" fmla="*/ 194758 w 323753"/>
                <a:gd name="connsiteY1" fmla="*/ 1296170 h 1742558"/>
                <a:gd name="connsiteX2" fmla="*/ 201081 w 323753"/>
                <a:gd name="connsiteY2" fmla="*/ 1337900 h 1742558"/>
                <a:gd name="connsiteX3" fmla="*/ 201081 w 323753"/>
                <a:gd name="connsiteY3" fmla="*/ 1337900 h 1742558"/>
                <a:gd name="connsiteX4" fmla="*/ 204875 w 323753"/>
                <a:gd name="connsiteY4" fmla="*/ 1358133 h 1742558"/>
                <a:gd name="connsiteX5" fmla="*/ 204875 w 323753"/>
                <a:gd name="connsiteY5" fmla="*/ 1358133 h 1742558"/>
                <a:gd name="connsiteX6" fmla="*/ 204875 w 323753"/>
                <a:gd name="connsiteY6" fmla="*/ 1358133 h 1742558"/>
                <a:gd name="connsiteX7" fmla="*/ 204875 w 323753"/>
                <a:gd name="connsiteY7" fmla="*/ 1364456 h 1742558"/>
                <a:gd name="connsiteX8" fmla="*/ 256726 w 323753"/>
                <a:gd name="connsiteY8" fmla="*/ 1704621 h 1742558"/>
                <a:gd name="connsiteX9" fmla="*/ 323753 w 323753"/>
                <a:gd name="connsiteY9" fmla="*/ 1742558 h 1742558"/>
                <a:gd name="connsiteX10" fmla="*/ 72086 w 323753"/>
                <a:gd name="connsiteY10" fmla="*/ 32879 h 1742558"/>
                <a:gd name="connsiteX11" fmla="*/ 0 w 323753"/>
                <a:gd name="connsiteY11" fmla="*/ 0 h 1742558"/>
                <a:gd name="connsiteX12" fmla="*/ 84732 w 323753"/>
                <a:gd name="connsiteY12" fmla="*/ 558934 h 174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753" h="1742558">
                  <a:moveTo>
                    <a:pt x="145436" y="968650"/>
                  </a:moveTo>
                  <a:lnTo>
                    <a:pt x="194758" y="1296170"/>
                  </a:lnTo>
                  <a:lnTo>
                    <a:pt x="201081" y="1337900"/>
                  </a:lnTo>
                  <a:lnTo>
                    <a:pt x="201081" y="1337900"/>
                  </a:lnTo>
                  <a:lnTo>
                    <a:pt x="204875" y="1358133"/>
                  </a:lnTo>
                  <a:lnTo>
                    <a:pt x="204875" y="1358133"/>
                  </a:lnTo>
                  <a:lnTo>
                    <a:pt x="204875" y="1358133"/>
                  </a:lnTo>
                  <a:lnTo>
                    <a:pt x="204875" y="1364456"/>
                  </a:lnTo>
                  <a:lnTo>
                    <a:pt x="256726" y="1704621"/>
                  </a:lnTo>
                  <a:lnTo>
                    <a:pt x="323753" y="1742558"/>
                  </a:lnTo>
                  <a:lnTo>
                    <a:pt x="72086" y="32879"/>
                  </a:lnTo>
                  <a:lnTo>
                    <a:pt x="0" y="0"/>
                  </a:lnTo>
                  <a:lnTo>
                    <a:pt x="84732" y="558934"/>
                  </a:lnTo>
                  <a:close/>
                </a:path>
              </a:pathLst>
            </a:custGeom>
            <a:solidFill>
              <a:schemeClr val="accent1">
                <a:lumMod val="75000"/>
              </a:schemeClr>
            </a:solidFill>
            <a:ln w="126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3DCE3913-018F-4295-95A6-9375940EA09F}"/>
                </a:ext>
              </a:extLst>
            </p:cNvPr>
            <p:cNvSpPr/>
            <p:nvPr/>
          </p:nvSpPr>
          <p:spPr>
            <a:xfrm>
              <a:off x="11424705" y="3092623"/>
              <a:ext cx="792943" cy="681595"/>
            </a:xfrm>
            <a:custGeom>
              <a:avLst/>
              <a:gdLst>
                <a:gd name="connsiteX0" fmla="*/ 532423 w 792943"/>
                <a:gd name="connsiteY0" fmla="*/ 230149 h 681595"/>
                <a:gd name="connsiteX1" fmla="*/ 532423 w 792943"/>
                <a:gd name="connsiteY1" fmla="*/ 230149 h 681595"/>
                <a:gd name="connsiteX2" fmla="*/ 532423 w 792943"/>
                <a:gd name="connsiteY2" fmla="*/ 230149 h 681595"/>
                <a:gd name="connsiteX3" fmla="*/ 532423 w 792943"/>
                <a:gd name="connsiteY3" fmla="*/ 231414 h 681595"/>
                <a:gd name="connsiteX4" fmla="*/ 531158 w 792943"/>
                <a:gd name="connsiteY4" fmla="*/ 232678 h 681595"/>
                <a:gd name="connsiteX5" fmla="*/ 531158 w 792943"/>
                <a:gd name="connsiteY5" fmla="*/ 232678 h 681595"/>
                <a:gd name="connsiteX6" fmla="*/ 531158 w 792943"/>
                <a:gd name="connsiteY6" fmla="*/ 232678 h 681595"/>
                <a:gd name="connsiteX7" fmla="*/ 190964 w 792943"/>
                <a:gd name="connsiteY7" fmla="*/ 389483 h 681595"/>
                <a:gd name="connsiteX8" fmla="*/ 0 w 792943"/>
                <a:gd name="connsiteY8" fmla="*/ 478002 h 681595"/>
                <a:gd name="connsiteX9" fmla="*/ 70821 w 792943"/>
                <a:gd name="connsiteY9" fmla="*/ 509616 h 681595"/>
                <a:gd name="connsiteX10" fmla="*/ 230169 w 792943"/>
                <a:gd name="connsiteY10" fmla="*/ 435007 h 681595"/>
                <a:gd name="connsiteX11" fmla="*/ 231433 w 792943"/>
                <a:gd name="connsiteY11" fmla="*/ 435007 h 681595"/>
                <a:gd name="connsiteX12" fmla="*/ 231433 w 792943"/>
                <a:gd name="connsiteY12" fmla="*/ 435007 h 681595"/>
                <a:gd name="connsiteX13" fmla="*/ 233962 w 792943"/>
                <a:gd name="connsiteY13" fmla="*/ 435007 h 681595"/>
                <a:gd name="connsiteX14" fmla="*/ 787884 w 792943"/>
                <a:gd name="connsiteY14" fmla="*/ 681596 h 681595"/>
                <a:gd name="connsiteX15" fmla="*/ 792943 w 792943"/>
                <a:gd name="connsiteY15" fmla="*/ 679066 h 681595"/>
                <a:gd name="connsiteX16" fmla="*/ 792943 w 792943"/>
                <a:gd name="connsiteY16" fmla="*/ 198535 h 681595"/>
                <a:gd name="connsiteX17" fmla="*/ 743621 w 792943"/>
                <a:gd name="connsiteY17" fmla="*/ 178302 h 681595"/>
                <a:gd name="connsiteX18" fmla="*/ 308577 w 792943"/>
                <a:gd name="connsiteY18" fmla="*/ 0 h 681595"/>
                <a:gd name="connsiteX19" fmla="*/ 252932 w 792943"/>
                <a:gd name="connsiteY19" fmla="*/ 25291 h 681595"/>
                <a:gd name="connsiteX20" fmla="*/ 155553 w 792943"/>
                <a:gd name="connsiteY20" fmla="*/ 68286 h 681595"/>
                <a:gd name="connsiteX21" fmla="*/ 531158 w 792943"/>
                <a:gd name="connsiteY21" fmla="*/ 225091 h 681595"/>
                <a:gd name="connsiteX22" fmla="*/ 531158 w 792943"/>
                <a:gd name="connsiteY22" fmla="*/ 225091 h 681595"/>
                <a:gd name="connsiteX23" fmla="*/ 532423 w 792943"/>
                <a:gd name="connsiteY23" fmla="*/ 225091 h 681595"/>
                <a:gd name="connsiteX24" fmla="*/ 532423 w 792943"/>
                <a:gd name="connsiteY24" fmla="*/ 226355 h 681595"/>
                <a:gd name="connsiteX25" fmla="*/ 532423 w 792943"/>
                <a:gd name="connsiteY25" fmla="*/ 226355 h 681595"/>
                <a:gd name="connsiteX26" fmla="*/ 532423 w 792943"/>
                <a:gd name="connsiteY26" fmla="*/ 226355 h 681595"/>
                <a:gd name="connsiteX27" fmla="*/ 532423 w 792943"/>
                <a:gd name="connsiteY27" fmla="*/ 227620 h 681595"/>
                <a:gd name="connsiteX28" fmla="*/ 532423 w 792943"/>
                <a:gd name="connsiteY28" fmla="*/ 227620 h 68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2943" h="681595">
                  <a:moveTo>
                    <a:pt x="532423" y="230149"/>
                  </a:moveTo>
                  <a:lnTo>
                    <a:pt x="532423" y="230149"/>
                  </a:lnTo>
                  <a:lnTo>
                    <a:pt x="532423" y="230149"/>
                  </a:lnTo>
                  <a:cubicBezTo>
                    <a:pt x="532423" y="231414"/>
                    <a:pt x="532423" y="231414"/>
                    <a:pt x="532423" y="231414"/>
                  </a:cubicBezTo>
                  <a:cubicBezTo>
                    <a:pt x="532423" y="231414"/>
                    <a:pt x="532423" y="231414"/>
                    <a:pt x="531158" y="232678"/>
                  </a:cubicBezTo>
                  <a:lnTo>
                    <a:pt x="531158" y="232678"/>
                  </a:lnTo>
                  <a:lnTo>
                    <a:pt x="531158" y="232678"/>
                  </a:lnTo>
                  <a:lnTo>
                    <a:pt x="190964" y="389483"/>
                  </a:lnTo>
                  <a:lnTo>
                    <a:pt x="0" y="478002"/>
                  </a:lnTo>
                  <a:lnTo>
                    <a:pt x="70821" y="509616"/>
                  </a:lnTo>
                  <a:lnTo>
                    <a:pt x="230169" y="435007"/>
                  </a:lnTo>
                  <a:lnTo>
                    <a:pt x="231433" y="435007"/>
                  </a:lnTo>
                  <a:lnTo>
                    <a:pt x="231433" y="435007"/>
                  </a:lnTo>
                  <a:lnTo>
                    <a:pt x="233962" y="435007"/>
                  </a:lnTo>
                  <a:lnTo>
                    <a:pt x="787884" y="681596"/>
                  </a:lnTo>
                  <a:lnTo>
                    <a:pt x="792943" y="679066"/>
                  </a:lnTo>
                  <a:lnTo>
                    <a:pt x="792943" y="198535"/>
                  </a:lnTo>
                  <a:lnTo>
                    <a:pt x="743621" y="178302"/>
                  </a:lnTo>
                  <a:lnTo>
                    <a:pt x="308577" y="0"/>
                  </a:lnTo>
                  <a:lnTo>
                    <a:pt x="252932" y="25291"/>
                  </a:lnTo>
                  <a:lnTo>
                    <a:pt x="155553" y="68286"/>
                  </a:lnTo>
                  <a:lnTo>
                    <a:pt x="531158" y="225091"/>
                  </a:lnTo>
                  <a:lnTo>
                    <a:pt x="531158" y="225091"/>
                  </a:lnTo>
                  <a:lnTo>
                    <a:pt x="532423" y="225091"/>
                  </a:lnTo>
                  <a:lnTo>
                    <a:pt x="532423" y="226355"/>
                  </a:lnTo>
                  <a:lnTo>
                    <a:pt x="532423" y="226355"/>
                  </a:lnTo>
                  <a:lnTo>
                    <a:pt x="532423" y="226355"/>
                  </a:lnTo>
                  <a:cubicBezTo>
                    <a:pt x="532423" y="226355"/>
                    <a:pt x="532423" y="227620"/>
                    <a:pt x="532423" y="227620"/>
                  </a:cubicBezTo>
                  <a:lnTo>
                    <a:pt x="532423" y="227620"/>
                  </a:lnTo>
                </a:path>
              </a:pathLst>
            </a:custGeom>
            <a:solidFill>
              <a:schemeClr val="accent2"/>
            </a:solidFill>
            <a:ln w="126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72BA7C6C-9DFE-497D-89FA-34ED8B1EC3EE}"/>
                </a:ext>
              </a:extLst>
            </p:cNvPr>
            <p:cNvSpPr/>
            <p:nvPr/>
          </p:nvSpPr>
          <p:spPr>
            <a:xfrm>
              <a:off x="11616934" y="1406970"/>
              <a:ext cx="600714" cy="307287"/>
            </a:xfrm>
            <a:custGeom>
              <a:avLst/>
              <a:gdLst>
                <a:gd name="connsiteX0" fmla="*/ 0 w 600714"/>
                <a:gd name="connsiteY0" fmla="*/ 125191 h 307287"/>
                <a:gd name="connsiteX1" fmla="*/ 600714 w 600714"/>
                <a:gd name="connsiteY1" fmla="*/ 307287 h 307287"/>
                <a:gd name="connsiteX2" fmla="*/ 600714 w 600714"/>
                <a:gd name="connsiteY2" fmla="*/ 75873 h 307287"/>
                <a:gd name="connsiteX3" fmla="*/ 340194 w 600714"/>
                <a:gd name="connsiteY3" fmla="*/ 0 h 307287"/>
              </a:gdLst>
              <a:ahLst/>
              <a:cxnLst>
                <a:cxn ang="0">
                  <a:pos x="connsiteX0" y="connsiteY0"/>
                </a:cxn>
                <a:cxn ang="0">
                  <a:pos x="connsiteX1" y="connsiteY1"/>
                </a:cxn>
                <a:cxn ang="0">
                  <a:pos x="connsiteX2" y="connsiteY2"/>
                </a:cxn>
                <a:cxn ang="0">
                  <a:pos x="connsiteX3" y="connsiteY3"/>
                </a:cxn>
              </a:cxnLst>
              <a:rect l="l" t="t" r="r" b="b"/>
              <a:pathLst>
                <a:path w="600714" h="307287">
                  <a:moveTo>
                    <a:pt x="0" y="125191"/>
                  </a:moveTo>
                  <a:lnTo>
                    <a:pt x="600714" y="307287"/>
                  </a:lnTo>
                  <a:lnTo>
                    <a:pt x="600714" y="75873"/>
                  </a:lnTo>
                  <a:lnTo>
                    <a:pt x="340194" y="0"/>
                  </a:lnTo>
                  <a:close/>
                </a:path>
              </a:pathLst>
            </a:custGeom>
            <a:solidFill>
              <a:schemeClr val="accent4"/>
            </a:solidFill>
            <a:ln w="126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CC40397-DA9E-4BC1-9002-29D35F66B2C9}"/>
                </a:ext>
              </a:extLst>
            </p:cNvPr>
            <p:cNvSpPr/>
            <p:nvPr/>
          </p:nvSpPr>
          <p:spPr>
            <a:xfrm>
              <a:off x="10615322" y="5878440"/>
              <a:ext cx="1155900" cy="976237"/>
            </a:xfrm>
            <a:custGeom>
              <a:avLst/>
              <a:gdLst>
                <a:gd name="connsiteX0" fmla="*/ 0 w 1155900"/>
                <a:gd name="connsiteY0" fmla="*/ 0 h 976237"/>
                <a:gd name="connsiteX1" fmla="*/ 78409 w 1155900"/>
                <a:gd name="connsiteY1" fmla="*/ 403393 h 976237"/>
                <a:gd name="connsiteX2" fmla="*/ 87262 w 1155900"/>
                <a:gd name="connsiteY2" fmla="*/ 446389 h 976237"/>
                <a:gd name="connsiteX3" fmla="*/ 870087 w 1155900"/>
                <a:gd name="connsiteY3" fmla="*/ 976237 h 976237"/>
                <a:gd name="connsiteX4" fmla="*/ 1155901 w 1155900"/>
                <a:gd name="connsiteY4" fmla="*/ 976237 h 976237"/>
                <a:gd name="connsiteX5" fmla="*/ 1115432 w 1155900"/>
                <a:gd name="connsiteY5" fmla="*/ 723326 h 9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900" h="976237">
                  <a:moveTo>
                    <a:pt x="0" y="0"/>
                  </a:moveTo>
                  <a:lnTo>
                    <a:pt x="78409" y="403393"/>
                  </a:lnTo>
                  <a:lnTo>
                    <a:pt x="87262" y="446389"/>
                  </a:lnTo>
                  <a:lnTo>
                    <a:pt x="870087" y="976237"/>
                  </a:lnTo>
                  <a:lnTo>
                    <a:pt x="1155901" y="976237"/>
                  </a:lnTo>
                  <a:lnTo>
                    <a:pt x="1115432" y="723326"/>
                  </a:lnTo>
                  <a:close/>
                </a:path>
              </a:pathLst>
            </a:custGeom>
            <a:solidFill>
              <a:schemeClr val="accent6">
                <a:lumMod val="60000"/>
                <a:lumOff val="40000"/>
              </a:schemeClr>
            </a:solidFill>
            <a:ln w="126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759F5B8-DD94-4FF1-AEC4-0E5740519829}"/>
                </a:ext>
              </a:extLst>
            </p:cNvPr>
            <p:cNvSpPr/>
            <p:nvPr/>
          </p:nvSpPr>
          <p:spPr>
            <a:xfrm>
              <a:off x="11740871" y="6308389"/>
              <a:ext cx="476777" cy="546287"/>
            </a:xfrm>
            <a:custGeom>
              <a:avLst/>
              <a:gdLst>
                <a:gd name="connsiteX0" fmla="*/ 39205 w 476777"/>
                <a:gd name="connsiteY0" fmla="*/ 546288 h 546287"/>
                <a:gd name="connsiteX1" fmla="*/ 476778 w 476777"/>
                <a:gd name="connsiteY1" fmla="*/ 546288 h 546287"/>
                <a:gd name="connsiteX2" fmla="*/ 476778 w 476777"/>
                <a:gd name="connsiteY2" fmla="*/ 507087 h 546287"/>
                <a:gd name="connsiteX3" fmla="*/ 476778 w 476777"/>
                <a:gd name="connsiteY3" fmla="*/ 0 h 546287"/>
                <a:gd name="connsiteX4" fmla="*/ 0 w 476777"/>
                <a:gd name="connsiteY4" fmla="*/ 293377 h 54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777" h="546287">
                  <a:moveTo>
                    <a:pt x="39205" y="546288"/>
                  </a:moveTo>
                  <a:lnTo>
                    <a:pt x="476778" y="546288"/>
                  </a:lnTo>
                  <a:lnTo>
                    <a:pt x="476778" y="507087"/>
                  </a:lnTo>
                  <a:lnTo>
                    <a:pt x="476778" y="0"/>
                  </a:lnTo>
                  <a:lnTo>
                    <a:pt x="0" y="293377"/>
                  </a:lnTo>
                  <a:close/>
                </a:path>
              </a:pathLst>
            </a:custGeom>
            <a:solidFill>
              <a:schemeClr val="accent2"/>
            </a:solidFill>
            <a:ln w="126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535A48E4-FFB3-4E28-A5CB-63EA26A6490A}"/>
                </a:ext>
              </a:extLst>
            </p:cNvPr>
            <p:cNvSpPr/>
            <p:nvPr/>
          </p:nvSpPr>
          <p:spPr>
            <a:xfrm>
              <a:off x="11662462" y="3541540"/>
              <a:ext cx="555186" cy="1876601"/>
            </a:xfrm>
            <a:custGeom>
              <a:avLst/>
              <a:gdLst>
                <a:gd name="connsiteX0" fmla="*/ 0 w 555186"/>
                <a:gd name="connsiteY0" fmla="*/ 0 h 1876601"/>
                <a:gd name="connsiteX1" fmla="*/ 240286 w 555186"/>
                <a:gd name="connsiteY1" fmla="*/ 1703357 h 1876601"/>
                <a:gd name="connsiteX2" fmla="*/ 555187 w 555186"/>
                <a:gd name="connsiteY2" fmla="*/ 1876601 h 1876601"/>
                <a:gd name="connsiteX3" fmla="*/ 555187 w 555186"/>
                <a:gd name="connsiteY3" fmla="*/ 313610 h 1876601"/>
                <a:gd name="connsiteX4" fmla="*/ 546334 w 555186"/>
                <a:gd name="connsiteY4" fmla="*/ 241530 h 187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186" h="1876601">
                  <a:moveTo>
                    <a:pt x="0" y="0"/>
                  </a:moveTo>
                  <a:lnTo>
                    <a:pt x="240286" y="1703357"/>
                  </a:lnTo>
                  <a:lnTo>
                    <a:pt x="555187" y="1876601"/>
                  </a:lnTo>
                  <a:lnTo>
                    <a:pt x="555187" y="313610"/>
                  </a:lnTo>
                  <a:lnTo>
                    <a:pt x="546334" y="241530"/>
                  </a:lnTo>
                  <a:close/>
                </a:path>
              </a:pathLst>
            </a:custGeom>
            <a:solidFill>
              <a:schemeClr val="accent1"/>
            </a:solidFill>
            <a:ln w="126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F644793-61B0-471D-8676-D52B4446A6A8}"/>
                </a:ext>
              </a:extLst>
            </p:cNvPr>
            <p:cNvSpPr/>
            <p:nvPr/>
          </p:nvSpPr>
          <p:spPr>
            <a:xfrm>
              <a:off x="11758576" y="5252485"/>
              <a:ext cx="459072" cy="268086"/>
            </a:xfrm>
            <a:custGeom>
              <a:avLst/>
              <a:gdLst>
                <a:gd name="connsiteX0" fmla="*/ 0 w 459072"/>
                <a:gd name="connsiteY0" fmla="*/ 78403 h 268086"/>
                <a:gd name="connsiteX1" fmla="*/ 337665 w 459072"/>
                <a:gd name="connsiteY1" fmla="*/ 268086 h 268086"/>
                <a:gd name="connsiteX2" fmla="*/ 459072 w 459072"/>
                <a:gd name="connsiteY2" fmla="*/ 198535 h 268086"/>
                <a:gd name="connsiteX3" fmla="*/ 459072 w 459072"/>
                <a:gd name="connsiteY3" fmla="*/ 175773 h 268086"/>
                <a:gd name="connsiteX4" fmla="*/ 140378 w 459072"/>
                <a:gd name="connsiteY4" fmla="*/ 0 h 26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72" h="268086">
                  <a:moveTo>
                    <a:pt x="0" y="78403"/>
                  </a:moveTo>
                  <a:lnTo>
                    <a:pt x="337665" y="268086"/>
                  </a:lnTo>
                  <a:lnTo>
                    <a:pt x="459072" y="198535"/>
                  </a:lnTo>
                  <a:lnTo>
                    <a:pt x="459072" y="175773"/>
                  </a:lnTo>
                  <a:lnTo>
                    <a:pt x="140378" y="0"/>
                  </a:lnTo>
                  <a:close/>
                </a:path>
              </a:pathLst>
            </a:custGeom>
            <a:solidFill>
              <a:schemeClr val="accent2"/>
            </a:solidFill>
            <a:ln w="12625"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3ECC36AA-98AF-4342-9FB2-83273979DA2D}"/>
                </a:ext>
              </a:extLst>
            </p:cNvPr>
            <p:cNvSpPr/>
            <p:nvPr/>
          </p:nvSpPr>
          <p:spPr>
            <a:xfrm>
              <a:off x="11500585" y="3540276"/>
              <a:ext cx="393309" cy="1783024"/>
            </a:xfrm>
            <a:custGeom>
              <a:avLst/>
              <a:gdLst>
                <a:gd name="connsiteX0" fmla="*/ 393310 w 393309"/>
                <a:gd name="connsiteY0" fmla="*/ 1704621 h 1783024"/>
                <a:gd name="connsiteX1" fmla="*/ 151759 w 393309"/>
                <a:gd name="connsiteY1" fmla="*/ 0 h 1783024"/>
                <a:gd name="connsiteX2" fmla="*/ 0 w 393309"/>
                <a:gd name="connsiteY2" fmla="*/ 70815 h 1783024"/>
                <a:gd name="connsiteX3" fmla="*/ 251668 w 393309"/>
                <a:gd name="connsiteY3" fmla="*/ 1783024 h 1783024"/>
              </a:gdLst>
              <a:ahLst/>
              <a:cxnLst>
                <a:cxn ang="0">
                  <a:pos x="connsiteX0" y="connsiteY0"/>
                </a:cxn>
                <a:cxn ang="0">
                  <a:pos x="connsiteX1" y="connsiteY1"/>
                </a:cxn>
                <a:cxn ang="0">
                  <a:pos x="connsiteX2" y="connsiteY2"/>
                </a:cxn>
                <a:cxn ang="0">
                  <a:pos x="connsiteX3" y="connsiteY3"/>
                </a:cxn>
              </a:cxnLst>
              <a:rect l="l" t="t" r="r" b="b"/>
              <a:pathLst>
                <a:path w="393309" h="1783024">
                  <a:moveTo>
                    <a:pt x="393310" y="1704621"/>
                  </a:moveTo>
                  <a:lnTo>
                    <a:pt x="151759" y="0"/>
                  </a:lnTo>
                  <a:lnTo>
                    <a:pt x="0" y="70815"/>
                  </a:lnTo>
                  <a:lnTo>
                    <a:pt x="251668" y="1783024"/>
                  </a:lnTo>
                  <a:close/>
                </a:path>
              </a:pathLst>
            </a:custGeom>
            <a:solidFill>
              <a:schemeClr val="bg2"/>
            </a:solidFill>
            <a:ln w="12625"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4D97E4D7-5A9D-4AC3-A66F-A87C1AAEF8E3}"/>
                </a:ext>
              </a:extLst>
            </p:cNvPr>
            <p:cNvSpPr/>
            <p:nvPr/>
          </p:nvSpPr>
          <p:spPr>
            <a:xfrm>
              <a:off x="11573935" y="3168496"/>
              <a:ext cx="369281" cy="304758"/>
            </a:xfrm>
            <a:custGeom>
              <a:avLst/>
              <a:gdLst>
                <a:gd name="connsiteX0" fmla="*/ 369281 w 369281"/>
                <a:gd name="connsiteY0" fmla="*/ 155540 h 304758"/>
                <a:gd name="connsiteX1" fmla="*/ 0 w 369281"/>
                <a:gd name="connsiteY1" fmla="*/ 0 h 304758"/>
                <a:gd name="connsiteX2" fmla="*/ 42999 w 369281"/>
                <a:gd name="connsiteY2" fmla="*/ 304758 h 304758"/>
              </a:gdLst>
              <a:ahLst/>
              <a:cxnLst>
                <a:cxn ang="0">
                  <a:pos x="connsiteX0" y="connsiteY0"/>
                </a:cxn>
                <a:cxn ang="0">
                  <a:pos x="connsiteX1" y="connsiteY1"/>
                </a:cxn>
                <a:cxn ang="0">
                  <a:pos x="connsiteX2" y="connsiteY2"/>
                </a:cxn>
              </a:cxnLst>
              <a:rect l="l" t="t" r="r" b="b"/>
              <a:pathLst>
                <a:path w="369281" h="304758">
                  <a:moveTo>
                    <a:pt x="369281" y="155540"/>
                  </a:moveTo>
                  <a:lnTo>
                    <a:pt x="0" y="0"/>
                  </a:lnTo>
                  <a:lnTo>
                    <a:pt x="42999" y="304758"/>
                  </a:lnTo>
                  <a:close/>
                </a:path>
              </a:pathLst>
            </a:custGeom>
            <a:solidFill>
              <a:schemeClr val="accent6">
                <a:lumMod val="75000"/>
              </a:schemeClr>
            </a:solidFill>
            <a:ln w="12625"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FD8AE7B-489C-440A-9466-E15143EE28DE}"/>
                </a:ext>
              </a:extLst>
            </p:cNvPr>
            <p:cNvSpPr/>
            <p:nvPr/>
          </p:nvSpPr>
          <p:spPr>
            <a:xfrm>
              <a:off x="11504379" y="4515249"/>
              <a:ext cx="50586" cy="36672"/>
            </a:xfrm>
            <a:custGeom>
              <a:avLst/>
              <a:gdLst>
                <a:gd name="connsiteX0" fmla="*/ 50586 w 50586"/>
                <a:gd name="connsiteY0" fmla="*/ 35407 h 36672"/>
                <a:gd name="connsiteX1" fmla="*/ 49322 w 50586"/>
                <a:gd name="connsiteY1" fmla="*/ 25291 h 36672"/>
                <a:gd name="connsiteX2" fmla="*/ 0 w 50586"/>
                <a:gd name="connsiteY2" fmla="*/ 0 h 36672"/>
                <a:gd name="connsiteX3" fmla="*/ 1265 w 50586"/>
                <a:gd name="connsiteY3" fmla="*/ 2529 h 36672"/>
                <a:gd name="connsiteX4" fmla="*/ 2529 w 50586"/>
                <a:gd name="connsiteY4" fmla="*/ 11381 h 36672"/>
                <a:gd name="connsiteX5" fmla="*/ 50586 w 50586"/>
                <a:gd name="connsiteY5" fmla="*/ 36672 h 3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86" h="36672">
                  <a:moveTo>
                    <a:pt x="50586" y="35407"/>
                  </a:moveTo>
                  <a:lnTo>
                    <a:pt x="49322" y="25291"/>
                  </a:lnTo>
                  <a:lnTo>
                    <a:pt x="0" y="0"/>
                  </a:lnTo>
                  <a:lnTo>
                    <a:pt x="1265" y="2529"/>
                  </a:lnTo>
                  <a:lnTo>
                    <a:pt x="2529" y="11381"/>
                  </a:lnTo>
                  <a:lnTo>
                    <a:pt x="50586" y="36672"/>
                  </a:lnTo>
                  <a:close/>
                </a:path>
              </a:pathLst>
            </a:custGeom>
            <a:solidFill>
              <a:srgbClr val="000000"/>
            </a:solidFill>
            <a:ln w="12625"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BB80640F-CFE5-4481-AA78-BA83BCA42356}"/>
                </a:ext>
              </a:extLst>
            </p:cNvPr>
            <p:cNvSpPr/>
            <p:nvPr/>
          </p:nvSpPr>
          <p:spPr>
            <a:xfrm>
              <a:off x="8485632" y="5551623"/>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cubicBezTo>
                    <a:pt x="0" y="562"/>
                    <a:pt x="0" y="562"/>
                    <a:pt x="0" y="562"/>
                  </a:cubicBezTo>
                  <a:cubicBezTo>
                    <a:pt x="0" y="-703"/>
                    <a:pt x="0" y="562"/>
                    <a:pt x="0" y="562"/>
                  </a:cubicBezTo>
                  <a:close/>
                </a:path>
              </a:pathLst>
            </a:custGeom>
            <a:solidFill>
              <a:srgbClr val="FFFFFF"/>
            </a:solidFill>
            <a:ln w="12625"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819C4AD-13B4-4003-B6A7-09B15CF5371E}"/>
                </a:ext>
              </a:extLst>
            </p:cNvPr>
            <p:cNvSpPr/>
            <p:nvPr/>
          </p:nvSpPr>
          <p:spPr>
            <a:xfrm>
              <a:off x="8488161" y="4926229"/>
              <a:ext cx="1276043" cy="624690"/>
            </a:xfrm>
            <a:custGeom>
              <a:avLst/>
              <a:gdLst>
                <a:gd name="connsiteX0" fmla="*/ 1272250 w 1276043"/>
                <a:gd name="connsiteY0" fmla="*/ 0 h 624690"/>
                <a:gd name="connsiteX1" fmla="*/ 0 w 1276043"/>
                <a:gd name="connsiteY1" fmla="*/ 619632 h 624690"/>
                <a:gd name="connsiteX2" fmla="*/ 0 w 1276043"/>
                <a:gd name="connsiteY2" fmla="*/ 619632 h 624690"/>
                <a:gd name="connsiteX3" fmla="*/ 5059 w 1276043"/>
                <a:gd name="connsiteY3" fmla="*/ 619632 h 624690"/>
                <a:gd name="connsiteX4" fmla="*/ 11382 w 1276043"/>
                <a:gd name="connsiteY4" fmla="*/ 624691 h 624690"/>
                <a:gd name="connsiteX5" fmla="*/ 1276044 w 1276043"/>
                <a:gd name="connsiteY5" fmla="*/ 10116 h 624690"/>
                <a:gd name="connsiteX6" fmla="*/ 1274779 w 1276043"/>
                <a:gd name="connsiteY6" fmla="*/ 3794 h 624690"/>
                <a:gd name="connsiteX7" fmla="*/ 1272250 w 1276043"/>
                <a:gd name="connsiteY7" fmla="*/ 0 h 62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6043" h="624690">
                  <a:moveTo>
                    <a:pt x="1272250" y="0"/>
                  </a:moveTo>
                  <a:lnTo>
                    <a:pt x="0" y="619632"/>
                  </a:lnTo>
                  <a:lnTo>
                    <a:pt x="0" y="619632"/>
                  </a:lnTo>
                  <a:cubicBezTo>
                    <a:pt x="1265" y="618368"/>
                    <a:pt x="3794" y="618368"/>
                    <a:pt x="5059" y="619632"/>
                  </a:cubicBezTo>
                  <a:lnTo>
                    <a:pt x="11382" y="624691"/>
                  </a:lnTo>
                  <a:lnTo>
                    <a:pt x="1276044" y="10116"/>
                  </a:lnTo>
                  <a:lnTo>
                    <a:pt x="1274779" y="3794"/>
                  </a:lnTo>
                  <a:lnTo>
                    <a:pt x="1272250" y="0"/>
                  </a:lnTo>
                  <a:close/>
                </a:path>
              </a:pathLst>
            </a:custGeom>
            <a:solidFill>
              <a:srgbClr val="FFFFFF"/>
            </a:solidFill>
            <a:ln w="12625"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CB7DB351-770D-4969-B22A-929ED38BE853}"/>
                </a:ext>
              </a:extLst>
            </p:cNvPr>
            <p:cNvSpPr/>
            <p:nvPr/>
          </p:nvSpPr>
          <p:spPr>
            <a:xfrm>
              <a:off x="8486896" y="5544913"/>
              <a:ext cx="1773055" cy="1309763"/>
            </a:xfrm>
            <a:custGeom>
              <a:avLst/>
              <a:gdLst>
                <a:gd name="connsiteX0" fmla="*/ 1265 w 1773055"/>
                <a:gd name="connsiteY0" fmla="*/ 948 h 1309763"/>
                <a:gd name="connsiteX1" fmla="*/ 1265 w 1773055"/>
                <a:gd name="connsiteY1" fmla="*/ 948 h 1309763"/>
                <a:gd name="connsiteX2" fmla="*/ 1265 w 1773055"/>
                <a:gd name="connsiteY2" fmla="*/ 948 h 1309763"/>
                <a:gd name="connsiteX3" fmla="*/ 1265 w 1773055"/>
                <a:gd name="connsiteY3" fmla="*/ 948 h 1309763"/>
                <a:gd name="connsiteX4" fmla="*/ 1265 w 1773055"/>
                <a:gd name="connsiteY4" fmla="*/ 948 h 1309763"/>
                <a:gd name="connsiteX5" fmla="*/ 0 w 1773055"/>
                <a:gd name="connsiteY5" fmla="*/ 3477 h 1309763"/>
                <a:gd name="connsiteX6" fmla="*/ 0 w 1773055"/>
                <a:gd name="connsiteY6" fmla="*/ 4742 h 1309763"/>
                <a:gd name="connsiteX7" fmla="*/ 0 w 1773055"/>
                <a:gd name="connsiteY7" fmla="*/ 6007 h 1309763"/>
                <a:gd name="connsiteX8" fmla="*/ 0 w 1773055"/>
                <a:gd name="connsiteY8" fmla="*/ 7271 h 1309763"/>
                <a:gd name="connsiteX9" fmla="*/ 0 w 1773055"/>
                <a:gd name="connsiteY9" fmla="*/ 7271 h 1309763"/>
                <a:gd name="connsiteX10" fmla="*/ 0 w 1773055"/>
                <a:gd name="connsiteY10" fmla="*/ 8536 h 1309763"/>
                <a:gd name="connsiteX11" fmla="*/ 0 w 1773055"/>
                <a:gd name="connsiteY11" fmla="*/ 8536 h 1309763"/>
                <a:gd name="connsiteX12" fmla="*/ 0 w 1773055"/>
                <a:gd name="connsiteY12" fmla="*/ 8536 h 1309763"/>
                <a:gd name="connsiteX13" fmla="*/ 1757880 w 1773055"/>
                <a:gd name="connsiteY13" fmla="*/ 1309764 h 1309763"/>
                <a:gd name="connsiteX14" fmla="*/ 1773056 w 1773055"/>
                <a:gd name="connsiteY14" fmla="*/ 1309764 h 1309763"/>
                <a:gd name="connsiteX15" fmla="*/ 12647 w 1773055"/>
                <a:gd name="connsiteY15" fmla="*/ 6007 h 1309763"/>
                <a:gd name="connsiteX16" fmla="*/ 6323 w 1773055"/>
                <a:gd name="connsiteY16" fmla="*/ 948 h 1309763"/>
                <a:gd name="connsiteX17" fmla="*/ 1265 w 1773055"/>
                <a:gd name="connsiteY17" fmla="*/ 948 h 130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3055" h="1309763">
                  <a:moveTo>
                    <a:pt x="1265" y="948"/>
                  </a:moveTo>
                  <a:lnTo>
                    <a:pt x="1265" y="948"/>
                  </a:lnTo>
                  <a:lnTo>
                    <a:pt x="1265" y="948"/>
                  </a:lnTo>
                  <a:lnTo>
                    <a:pt x="1265" y="948"/>
                  </a:lnTo>
                  <a:cubicBezTo>
                    <a:pt x="0" y="948"/>
                    <a:pt x="0" y="948"/>
                    <a:pt x="1265" y="948"/>
                  </a:cubicBezTo>
                  <a:cubicBezTo>
                    <a:pt x="0" y="2213"/>
                    <a:pt x="0" y="2213"/>
                    <a:pt x="0" y="3477"/>
                  </a:cubicBezTo>
                  <a:cubicBezTo>
                    <a:pt x="0" y="3477"/>
                    <a:pt x="0" y="3477"/>
                    <a:pt x="0" y="4742"/>
                  </a:cubicBezTo>
                  <a:lnTo>
                    <a:pt x="0" y="6007"/>
                  </a:lnTo>
                  <a:cubicBezTo>
                    <a:pt x="0" y="6007"/>
                    <a:pt x="0" y="7271"/>
                    <a:pt x="0" y="7271"/>
                  </a:cubicBezTo>
                  <a:cubicBezTo>
                    <a:pt x="0" y="7271"/>
                    <a:pt x="0" y="7271"/>
                    <a:pt x="0" y="7271"/>
                  </a:cubicBezTo>
                  <a:lnTo>
                    <a:pt x="0" y="8536"/>
                  </a:lnTo>
                  <a:lnTo>
                    <a:pt x="0" y="8536"/>
                  </a:lnTo>
                  <a:lnTo>
                    <a:pt x="0" y="8536"/>
                  </a:lnTo>
                  <a:lnTo>
                    <a:pt x="1757880" y="1309764"/>
                  </a:lnTo>
                  <a:lnTo>
                    <a:pt x="1773056" y="1309764"/>
                  </a:lnTo>
                  <a:lnTo>
                    <a:pt x="12647" y="6007"/>
                  </a:lnTo>
                  <a:lnTo>
                    <a:pt x="6323" y="948"/>
                  </a:lnTo>
                  <a:cubicBezTo>
                    <a:pt x="5059" y="-316"/>
                    <a:pt x="2529" y="-316"/>
                    <a:pt x="1265" y="948"/>
                  </a:cubicBezTo>
                  <a:close/>
                </a:path>
              </a:pathLst>
            </a:custGeom>
            <a:solidFill>
              <a:srgbClr val="FFFFFF"/>
            </a:solidFill>
            <a:ln w="12625"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6F41C205-D48D-4550-A6F3-0E61FC671EB6}"/>
                </a:ext>
              </a:extLst>
            </p:cNvPr>
            <p:cNvSpPr/>
            <p:nvPr/>
          </p:nvSpPr>
          <p:spPr>
            <a:xfrm>
              <a:off x="10170161" y="4921171"/>
              <a:ext cx="45527" cy="182095"/>
            </a:xfrm>
            <a:custGeom>
              <a:avLst/>
              <a:gdLst>
                <a:gd name="connsiteX0" fmla="*/ 45528 w 45527"/>
                <a:gd name="connsiteY0" fmla="*/ 178302 h 182095"/>
                <a:gd name="connsiteX1" fmla="*/ 8853 w 45527"/>
                <a:gd name="connsiteY1" fmla="*/ 0 h 182095"/>
                <a:gd name="connsiteX2" fmla="*/ 5059 w 45527"/>
                <a:gd name="connsiteY2" fmla="*/ 1264 h 182095"/>
                <a:gd name="connsiteX3" fmla="*/ 5059 w 45527"/>
                <a:gd name="connsiteY3" fmla="*/ 1264 h 182095"/>
                <a:gd name="connsiteX4" fmla="*/ 3794 w 45527"/>
                <a:gd name="connsiteY4" fmla="*/ 1264 h 182095"/>
                <a:gd name="connsiteX5" fmla="*/ 2529 w 45527"/>
                <a:gd name="connsiteY5" fmla="*/ 1264 h 182095"/>
                <a:gd name="connsiteX6" fmla="*/ 1265 w 45527"/>
                <a:gd name="connsiteY6" fmla="*/ 1264 h 182095"/>
                <a:gd name="connsiteX7" fmla="*/ 1265 w 45527"/>
                <a:gd name="connsiteY7" fmla="*/ 1264 h 182095"/>
                <a:gd name="connsiteX8" fmla="*/ 0 w 45527"/>
                <a:gd name="connsiteY8" fmla="*/ 0 h 182095"/>
                <a:gd name="connsiteX9" fmla="*/ 36675 w 45527"/>
                <a:gd name="connsiteY9" fmla="*/ 182096 h 182095"/>
                <a:gd name="connsiteX10" fmla="*/ 40469 w 45527"/>
                <a:gd name="connsiteY10" fmla="*/ 180831 h 182095"/>
                <a:gd name="connsiteX11" fmla="*/ 45528 w 45527"/>
                <a:gd name="connsiteY11" fmla="*/ 178302 h 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27" h="182095">
                  <a:moveTo>
                    <a:pt x="45528" y="178302"/>
                  </a:moveTo>
                  <a:lnTo>
                    <a:pt x="8853" y="0"/>
                  </a:lnTo>
                  <a:lnTo>
                    <a:pt x="5059" y="1264"/>
                  </a:lnTo>
                  <a:lnTo>
                    <a:pt x="5059" y="1264"/>
                  </a:lnTo>
                  <a:lnTo>
                    <a:pt x="3794" y="1264"/>
                  </a:lnTo>
                  <a:lnTo>
                    <a:pt x="2529" y="1264"/>
                  </a:lnTo>
                  <a:lnTo>
                    <a:pt x="1265" y="1264"/>
                  </a:lnTo>
                  <a:lnTo>
                    <a:pt x="1265" y="1264"/>
                  </a:lnTo>
                  <a:lnTo>
                    <a:pt x="0" y="0"/>
                  </a:lnTo>
                  <a:lnTo>
                    <a:pt x="36675" y="182096"/>
                  </a:lnTo>
                  <a:lnTo>
                    <a:pt x="40469" y="180831"/>
                  </a:lnTo>
                  <a:lnTo>
                    <a:pt x="45528" y="178302"/>
                  </a:lnTo>
                  <a:close/>
                </a:path>
              </a:pathLst>
            </a:custGeom>
            <a:solidFill>
              <a:srgbClr val="000000"/>
            </a:solidFill>
            <a:ln w="12625"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9004E5B-F4FF-4C3F-8FED-BE22325414AF}"/>
                </a:ext>
              </a:extLst>
            </p:cNvPr>
            <p:cNvSpPr/>
            <p:nvPr/>
          </p:nvSpPr>
          <p:spPr>
            <a:xfrm>
              <a:off x="9826173" y="5180405"/>
              <a:ext cx="101172" cy="68285"/>
            </a:xfrm>
            <a:custGeom>
              <a:avLst/>
              <a:gdLst>
                <a:gd name="connsiteX0" fmla="*/ 98644 w 101172"/>
                <a:gd name="connsiteY0" fmla="*/ 65757 h 68285"/>
                <a:gd name="connsiteX1" fmla="*/ 101173 w 101172"/>
                <a:gd name="connsiteY1" fmla="*/ 64492 h 68285"/>
                <a:gd name="connsiteX2" fmla="*/ 0 w 101172"/>
                <a:gd name="connsiteY2" fmla="*/ 0 h 68285"/>
                <a:gd name="connsiteX3" fmla="*/ 1265 w 101172"/>
                <a:gd name="connsiteY3" fmla="*/ 2529 h 68285"/>
                <a:gd name="connsiteX4" fmla="*/ 3794 w 101172"/>
                <a:gd name="connsiteY4" fmla="*/ 12646 h 68285"/>
                <a:gd name="connsiteX5" fmla="*/ 91056 w 101172"/>
                <a:gd name="connsiteY5" fmla="*/ 68286 h 6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172" h="68285">
                  <a:moveTo>
                    <a:pt x="98644" y="65757"/>
                  </a:moveTo>
                  <a:lnTo>
                    <a:pt x="101173" y="64492"/>
                  </a:lnTo>
                  <a:lnTo>
                    <a:pt x="0" y="0"/>
                  </a:lnTo>
                  <a:lnTo>
                    <a:pt x="1265" y="2529"/>
                  </a:lnTo>
                  <a:lnTo>
                    <a:pt x="3794" y="12646"/>
                  </a:lnTo>
                  <a:lnTo>
                    <a:pt x="91056" y="68286"/>
                  </a:lnTo>
                  <a:close/>
                </a:path>
              </a:pathLst>
            </a:custGeom>
            <a:solidFill>
              <a:srgbClr val="000000"/>
            </a:solidFill>
            <a:ln w="12625"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E1D9EFE7-1282-450F-AA1E-403406294146}"/>
                </a:ext>
              </a:extLst>
            </p:cNvPr>
            <p:cNvSpPr/>
            <p:nvPr/>
          </p:nvSpPr>
          <p:spPr>
            <a:xfrm>
              <a:off x="9928610" y="477701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D13C893A-6005-408B-B0EE-AD85A35C6110}"/>
                </a:ext>
              </a:extLst>
            </p:cNvPr>
            <p:cNvSpPr/>
            <p:nvPr/>
          </p:nvSpPr>
          <p:spPr>
            <a:xfrm>
              <a:off x="9929875" y="477827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FB080AF4-2481-4CC9-B79D-B3B542693FD6}"/>
                </a:ext>
              </a:extLst>
            </p:cNvPr>
            <p:cNvSpPr/>
            <p:nvPr/>
          </p:nvSpPr>
          <p:spPr>
            <a:xfrm>
              <a:off x="9932404" y="4774483"/>
              <a:ext cx="241550" cy="147952"/>
            </a:xfrm>
            <a:custGeom>
              <a:avLst/>
              <a:gdLst>
                <a:gd name="connsiteX0" fmla="*/ 239021 w 241550"/>
                <a:gd name="connsiteY0" fmla="*/ 147953 h 147952"/>
                <a:gd name="connsiteX1" fmla="*/ 236492 w 241550"/>
                <a:gd name="connsiteY1" fmla="*/ 145424 h 147952"/>
                <a:gd name="connsiteX2" fmla="*/ 239021 w 241550"/>
                <a:gd name="connsiteY2" fmla="*/ 139101 h 147952"/>
                <a:gd name="connsiteX3" fmla="*/ 239021 w 241550"/>
                <a:gd name="connsiteY3" fmla="*/ 139101 h 147952"/>
                <a:gd name="connsiteX4" fmla="*/ 241550 w 241550"/>
                <a:gd name="connsiteY4" fmla="*/ 137837 h 147952"/>
                <a:gd name="connsiteX5" fmla="*/ 11382 w 241550"/>
                <a:gd name="connsiteY5" fmla="*/ 0 h 147952"/>
                <a:gd name="connsiteX6" fmla="*/ 3794 w 241550"/>
                <a:gd name="connsiteY6" fmla="*/ 3794 h 147952"/>
                <a:gd name="connsiteX7" fmla="*/ 3794 w 241550"/>
                <a:gd name="connsiteY7" fmla="*/ 3794 h 147952"/>
                <a:gd name="connsiteX8" fmla="*/ 3794 w 241550"/>
                <a:gd name="connsiteY8" fmla="*/ 3794 h 147952"/>
                <a:gd name="connsiteX9" fmla="*/ 1265 w 241550"/>
                <a:gd name="connsiteY9" fmla="*/ 3794 h 147952"/>
                <a:gd name="connsiteX10" fmla="*/ 0 w 241550"/>
                <a:gd name="connsiteY10" fmla="*/ 3794 h 147952"/>
                <a:gd name="connsiteX11" fmla="*/ 0 w 241550"/>
                <a:gd name="connsiteY11" fmla="*/ 3794 h 147952"/>
                <a:gd name="connsiteX12" fmla="*/ 0 w 241550"/>
                <a:gd name="connsiteY12" fmla="*/ 3794 h 147952"/>
                <a:gd name="connsiteX13" fmla="*/ 239021 w 241550"/>
                <a:gd name="connsiteY13" fmla="*/ 147953 h 147952"/>
                <a:gd name="connsiteX14" fmla="*/ 239021 w 241550"/>
                <a:gd name="connsiteY14" fmla="*/ 147953 h 147952"/>
                <a:gd name="connsiteX15" fmla="*/ 239021 w 241550"/>
                <a:gd name="connsiteY15" fmla="*/ 147953 h 14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550" h="147952">
                  <a:moveTo>
                    <a:pt x="239021" y="147953"/>
                  </a:moveTo>
                  <a:cubicBezTo>
                    <a:pt x="237756" y="147953"/>
                    <a:pt x="237756" y="146689"/>
                    <a:pt x="236492" y="145424"/>
                  </a:cubicBezTo>
                  <a:cubicBezTo>
                    <a:pt x="235227" y="142895"/>
                    <a:pt x="236492" y="140366"/>
                    <a:pt x="239021" y="139101"/>
                  </a:cubicBezTo>
                  <a:cubicBezTo>
                    <a:pt x="239021" y="139101"/>
                    <a:pt x="239021" y="139101"/>
                    <a:pt x="239021" y="139101"/>
                  </a:cubicBezTo>
                  <a:lnTo>
                    <a:pt x="241550" y="137837"/>
                  </a:lnTo>
                  <a:lnTo>
                    <a:pt x="11382" y="0"/>
                  </a:lnTo>
                  <a:lnTo>
                    <a:pt x="3794" y="3794"/>
                  </a:lnTo>
                  <a:lnTo>
                    <a:pt x="3794" y="3794"/>
                  </a:lnTo>
                  <a:lnTo>
                    <a:pt x="3794" y="3794"/>
                  </a:lnTo>
                  <a:lnTo>
                    <a:pt x="1265" y="3794"/>
                  </a:lnTo>
                  <a:lnTo>
                    <a:pt x="0" y="3794"/>
                  </a:lnTo>
                  <a:lnTo>
                    <a:pt x="0" y="3794"/>
                  </a:lnTo>
                  <a:lnTo>
                    <a:pt x="0" y="3794"/>
                  </a:lnTo>
                  <a:lnTo>
                    <a:pt x="239021" y="147953"/>
                  </a:lnTo>
                  <a:lnTo>
                    <a:pt x="239021" y="147953"/>
                  </a:lnTo>
                  <a:lnTo>
                    <a:pt x="239021" y="147953"/>
                  </a:lnTo>
                  <a:close/>
                </a:path>
              </a:pathLst>
            </a:custGeom>
            <a:solidFill>
              <a:srgbClr val="000000"/>
            </a:solidFill>
            <a:ln w="12625"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31D7954-29FC-41B7-A500-C5CD4DAB0FF6}"/>
                </a:ext>
              </a:extLst>
            </p:cNvPr>
            <p:cNvSpPr/>
            <p:nvPr/>
          </p:nvSpPr>
          <p:spPr>
            <a:xfrm>
              <a:off x="10167135" y="4846562"/>
              <a:ext cx="143402" cy="78402"/>
            </a:xfrm>
            <a:custGeom>
              <a:avLst/>
              <a:gdLst>
                <a:gd name="connsiteX0" fmla="*/ 140874 w 143402"/>
                <a:gd name="connsiteY0" fmla="*/ 3794 h 78402"/>
                <a:gd name="connsiteX1" fmla="*/ 140874 w 143402"/>
                <a:gd name="connsiteY1" fmla="*/ 3794 h 78402"/>
                <a:gd name="connsiteX2" fmla="*/ 140874 w 143402"/>
                <a:gd name="connsiteY2" fmla="*/ 2529 h 78402"/>
                <a:gd name="connsiteX3" fmla="*/ 140874 w 143402"/>
                <a:gd name="connsiteY3" fmla="*/ 1265 h 78402"/>
                <a:gd name="connsiteX4" fmla="*/ 140874 w 143402"/>
                <a:gd name="connsiteY4" fmla="*/ 1265 h 78402"/>
                <a:gd name="connsiteX5" fmla="*/ 140874 w 143402"/>
                <a:gd name="connsiteY5" fmla="*/ 1265 h 78402"/>
                <a:gd name="connsiteX6" fmla="*/ 140874 w 143402"/>
                <a:gd name="connsiteY6" fmla="*/ 0 h 78402"/>
                <a:gd name="connsiteX7" fmla="*/ 142138 w 143402"/>
                <a:gd name="connsiteY7" fmla="*/ 0 h 78402"/>
                <a:gd name="connsiteX8" fmla="*/ 143403 w 143402"/>
                <a:gd name="connsiteY8" fmla="*/ 0 h 78402"/>
                <a:gd name="connsiteX9" fmla="*/ 143403 w 143402"/>
                <a:gd name="connsiteY9" fmla="*/ 0 h 78402"/>
                <a:gd name="connsiteX10" fmla="*/ 143403 w 143402"/>
                <a:gd name="connsiteY10" fmla="*/ 0 h 78402"/>
                <a:gd name="connsiteX11" fmla="*/ 5555 w 143402"/>
                <a:gd name="connsiteY11" fmla="*/ 68286 h 78402"/>
                <a:gd name="connsiteX12" fmla="*/ 3025 w 143402"/>
                <a:gd name="connsiteY12" fmla="*/ 69551 h 78402"/>
                <a:gd name="connsiteX13" fmla="*/ 496 w 143402"/>
                <a:gd name="connsiteY13" fmla="*/ 75873 h 78402"/>
                <a:gd name="connsiteX14" fmla="*/ 496 w 143402"/>
                <a:gd name="connsiteY14" fmla="*/ 75873 h 78402"/>
                <a:gd name="connsiteX15" fmla="*/ 3025 w 143402"/>
                <a:gd name="connsiteY15" fmla="*/ 78403 h 78402"/>
                <a:gd name="connsiteX16" fmla="*/ 4290 w 143402"/>
                <a:gd name="connsiteY16" fmla="*/ 78403 h 78402"/>
                <a:gd name="connsiteX17" fmla="*/ 5555 w 143402"/>
                <a:gd name="connsiteY17" fmla="*/ 78403 h 78402"/>
                <a:gd name="connsiteX18" fmla="*/ 6819 w 143402"/>
                <a:gd name="connsiteY18" fmla="*/ 78403 h 78402"/>
                <a:gd name="connsiteX19" fmla="*/ 6819 w 143402"/>
                <a:gd name="connsiteY19" fmla="*/ 78403 h 78402"/>
                <a:gd name="connsiteX20" fmla="*/ 10613 w 143402"/>
                <a:gd name="connsiteY20" fmla="*/ 77138 h 78402"/>
                <a:gd name="connsiteX21" fmla="*/ 142138 w 143402"/>
                <a:gd name="connsiteY21" fmla="*/ 12646 h 78402"/>
                <a:gd name="connsiteX22" fmla="*/ 140874 w 143402"/>
                <a:gd name="connsiteY22" fmla="*/ 3794 h 7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402" h="78402">
                  <a:moveTo>
                    <a:pt x="140874" y="3794"/>
                  </a:moveTo>
                  <a:lnTo>
                    <a:pt x="140874" y="3794"/>
                  </a:lnTo>
                  <a:cubicBezTo>
                    <a:pt x="140874" y="2529"/>
                    <a:pt x="140874" y="2529"/>
                    <a:pt x="140874" y="2529"/>
                  </a:cubicBezTo>
                  <a:cubicBezTo>
                    <a:pt x="140874" y="2529"/>
                    <a:pt x="140874" y="2529"/>
                    <a:pt x="140874" y="1265"/>
                  </a:cubicBezTo>
                  <a:lnTo>
                    <a:pt x="140874" y="1265"/>
                  </a:lnTo>
                  <a:lnTo>
                    <a:pt x="140874" y="1265"/>
                  </a:lnTo>
                  <a:lnTo>
                    <a:pt x="140874" y="0"/>
                  </a:lnTo>
                  <a:lnTo>
                    <a:pt x="142138" y="0"/>
                  </a:lnTo>
                  <a:lnTo>
                    <a:pt x="143403" y="0"/>
                  </a:lnTo>
                  <a:lnTo>
                    <a:pt x="143403" y="0"/>
                  </a:lnTo>
                  <a:lnTo>
                    <a:pt x="143403" y="0"/>
                  </a:lnTo>
                  <a:lnTo>
                    <a:pt x="5555" y="68286"/>
                  </a:lnTo>
                  <a:lnTo>
                    <a:pt x="3025" y="69551"/>
                  </a:lnTo>
                  <a:cubicBezTo>
                    <a:pt x="496" y="70815"/>
                    <a:pt x="-769" y="73344"/>
                    <a:pt x="496" y="75873"/>
                  </a:cubicBezTo>
                  <a:cubicBezTo>
                    <a:pt x="496" y="75873"/>
                    <a:pt x="496" y="75873"/>
                    <a:pt x="496" y="75873"/>
                  </a:cubicBezTo>
                  <a:cubicBezTo>
                    <a:pt x="496" y="77138"/>
                    <a:pt x="1761" y="77138"/>
                    <a:pt x="3025" y="78403"/>
                  </a:cubicBezTo>
                  <a:lnTo>
                    <a:pt x="4290" y="78403"/>
                  </a:lnTo>
                  <a:lnTo>
                    <a:pt x="5555" y="78403"/>
                  </a:lnTo>
                  <a:lnTo>
                    <a:pt x="6819" y="78403"/>
                  </a:lnTo>
                  <a:lnTo>
                    <a:pt x="6819" y="78403"/>
                  </a:lnTo>
                  <a:lnTo>
                    <a:pt x="10613" y="77138"/>
                  </a:lnTo>
                  <a:lnTo>
                    <a:pt x="142138" y="12646"/>
                  </a:lnTo>
                  <a:lnTo>
                    <a:pt x="140874" y="3794"/>
                  </a:lnTo>
                  <a:close/>
                </a:path>
              </a:pathLst>
            </a:custGeom>
            <a:solidFill>
              <a:srgbClr val="000000"/>
            </a:solidFill>
            <a:ln w="12625"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377C8B33-B6C0-4081-BC43-8BE7D518D92D}"/>
                </a:ext>
              </a:extLst>
            </p:cNvPr>
            <p:cNvSpPr/>
            <p:nvPr/>
          </p:nvSpPr>
          <p:spPr>
            <a:xfrm>
              <a:off x="10313068" y="484529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F4EFD38A-956A-4459-9C14-B0925E7F2420}"/>
                </a:ext>
              </a:extLst>
            </p:cNvPr>
            <p:cNvSpPr/>
            <p:nvPr/>
          </p:nvSpPr>
          <p:spPr>
            <a:xfrm>
              <a:off x="10314332" y="484529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FFAC83FA-5655-48B6-8B05-E85B94347F92}"/>
                </a:ext>
              </a:extLst>
            </p:cNvPr>
            <p:cNvSpPr/>
            <p:nvPr/>
          </p:nvSpPr>
          <p:spPr>
            <a:xfrm>
              <a:off x="10600146" y="4115649"/>
              <a:ext cx="140377" cy="723326"/>
            </a:xfrm>
            <a:custGeom>
              <a:avLst/>
              <a:gdLst>
                <a:gd name="connsiteX0" fmla="*/ 134054 w 140377"/>
                <a:gd name="connsiteY0" fmla="*/ 722062 h 723326"/>
                <a:gd name="connsiteX1" fmla="*/ 140378 w 140377"/>
                <a:gd name="connsiteY1" fmla="*/ 719532 h 723326"/>
                <a:gd name="connsiteX2" fmla="*/ 8853 w 140377"/>
                <a:gd name="connsiteY2" fmla="*/ 0 h 723326"/>
                <a:gd name="connsiteX3" fmla="*/ 5059 w 140377"/>
                <a:gd name="connsiteY3" fmla="*/ 2529 h 723326"/>
                <a:gd name="connsiteX4" fmla="*/ 0 w 140377"/>
                <a:gd name="connsiteY4" fmla="*/ 5058 h 723326"/>
                <a:gd name="connsiteX5" fmla="*/ 131525 w 140377"/>
                <a:gd name="connsiteY5" fmla="*/ 723326 h 72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77" h="723326">
                  <a:moveTo>
                    <a:pt x="134054" y="722062"/>
                  </a:moveTo>
                  <a:lnTo>
                    <a:pt x="140378" y="719532"/>
                  </a:lnTo>
                  <a:lnTo>
                    <a:pt x="8853" y="0"/>
                  </a:lnTo>
                  <a:lnTo>
                    <a:pt x="5059" y="2529"/>
                  </a:lnTo>
                  <a:lnTo>
                    <a:pt x="0" y="5058"/>
                  </a:lnTo>
                  <a:lnTo>
                    <a:pt x="131525" y="723326"/>
                  </a:lnTo>
                  <a:close/>
                </a:path>
              </a:pathLst>
            </a:custGeom>
            <a:solidFill>
              <a:srgbClr val="000000"/>
            </a:solidFill>
            <a:ln w="12625"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09A7D6A3-BD12-4BF8-ACCF-9C9CDC13FA66}"/>
                </a:ext>
              </a:extLst>
            </p:cNvPr>
            <p:cNvSpPr/>
            <p:nvPr/>
          </p:nvSpPr>
          <p:spPr>
            <a:xfrm>
              <a:off x="11194537" y="5103267"/>
              <a:ext cx="35410" cy="22761"/>
            </a:xfrm>
            <a:custGeom>
              <a:avLst/>
              <a:gdLst>
                <a:gd name="connsiteX0" fmla="*/ 0 w 35410"/>
                <a:gd name="connsiteY0" fmla="*/ 1265 h 22761"/>
                <a:gd name="connsiteX1" fmla="*/ 1265 w 35410"/>
                <a:gd name="connsiteY1" fmla="*/ 7587 h 22761"/>
                <a:gd name="connsiteX2" fmla="*/ 29087 w 35410"/>
                <a:gd name="connsiteY2" fmla="*/ 22762 h 22761"/>
                <a:gd name="connsiteX3" fmla="*/ 29087 w 35410"/>
                <a:gd name="connsiteY3" fmla="*/ 20233 h 22761"/>
                <a:gd name="connsiteX4" fmla="*/ 29087 w 35410"/>
                <a:gd name="connsiteY4" fmla="*/ 20233 h 22761"/>
                <a:gd name="connsiteX5" fmla="*/ 29087 w 35410"/>
                <a:gd name="connsiteY5" fmla="*/ 18968 h 22761"/>
                <a:gd name="connsiteX6" fmla="*/ 29087 w 35410"/>
                <a:gd name="connsiteY6" fmla="*/ 17704 h 22761"/>
                <a:gd name="connsiteX7" fmla="*/ 29087 w 35410"/>
                <a:gd name="connsiteY7" fmla="*/ 17704 h 22761"/>
                <a:gd name="connsiteX8" fmla="*/ 29087 w 35410"/>
                <a:gd name="connsiteY8" fmla="*/ 17704 h 22761"/>
                <a:gd name="connsiteX9" fmla="*/ 29087 w 35410"/>
                <a:gd name="connsiteY9" fmla="*/ 17704 h 22761"/>
                <a:gd name="connsiteX10" fmla="*/ 30352 w 35410"/>
                <a:gd name="connsiteY10" fmla="*/ 17704 h 22761"/>
                <a:gd name="connsiteX11" fmla="*/ 30352 w 35410"/>
                <a:gd name="connsiteY11" fmla="*/ 17704 h 22761"/>
                <a:gd name="connsiteX12" fmla="*/ 31617 w 35410"/>
                <a:gd name="connsiteY12" fmla="*/ 17704 h 22761"/>
                <a:gd name="connsiteX13" fmla="*/ 32881 w 35410"/>
                <a:gd name="connsiteY13" fmla="*/ 17704 h 22761"/>
                <a:gd name="connsiteX14" fmla="*/ 34146 w 35410"/>
                <a:gd name="connsiteY14" fmla="*/ 17704 h 22761"/>
                <a:gd name="connsiteX15" fmla="*/ 35411 w 35410"/>
                <a:gd name="connsiteY15" fmla="*/ 17704 h 22761"/>
                <a:gd name="connsiteX16" fmla="*/ 6323 w 35410"/>
                <a:gd name="connsiteY16" fmla="*/ 0 h 22761"/>
                <a:gd name="connsiteX17" fmla="*/ 0 w 35410"/>
                <a:gd name="connsiteY17" fmla="*/ 1265 h 2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0" h="22761">
                  <a:moveTo>
                    <a:pt x="0" y="1265"/>
                  </a:moveTo>
                  <a:lnTo>
                    <a:pt x="1265" y="7587"/>
                  </a:lnTo>
                  <a:lnTo>
                    <a:pt x="29087" y="22762"/>
                  </a:lnTo>
                  <a:lnTo>
                    <a:pt x="29087" y="20233"/>
                  </a:lnTo>
                  <a:lnTo>
                    <a:pt x="29087" y="20233"/>
                  </a:lnTo>
                  <a:cubicBezTo>
                    <a:pt x="29087" y="20233"/>
                    <a:pt x="29087" y="20233"/>
                    <a:pt x="29087" y="18968"/>
                  </a:cubicBezTo>
                  <a:cubicBezTo>
                    <a:pt x="29087" y="18968"/>
                    <a:pt x="29087" y="17704"/>
                    <a:pt x="29087" y="17704"/>
                  </a:cubicBezTo>
                  <a:lnTo>
                    <a:pt x="29087" y="17704"/>
                  </a:lnTo>
                  <a:lnTo>
                    <a:pt x="29087" y="17704"/>
                  </a:lnTo>
                  <a:lnTo>
                    <a:pt x="29087" y="17704"/>
                  </a:lnTo>
                  <a:lnTo>
                    <a:pt x="30352" y="17704"/>
                  </a:lnTo>
                  <a:lnTo>
                    <a:pt x="30352" y="17704"/>
                  </a:lnTo>
                  <a:lnTo>
                    <a:pt x="31617" y="17704"/>
                  </a:lnTo>
                  <a:lnTo>
                    <a:pt x="32881" y="17704"/>
                  </a:lnTo>
                  <a:lnTo>
                    <a:pt x="34146" y="17704"/>
                  </a:lnTo>
                  <a:lnTo>
                    <a:pt x="35411" y="17704"/>
                  </a:lnTo>
                  <a:lnTo>
                    <a:pt x="6323" y="0"/>
                  </a:lnTo>
                  <a:lnTo>
                    <a:pt x="0" y="1265"/>
                  </a:lnTo>
                  <a:close/>
                </a:path>
              </a:pathLst>
            </a:custGeom>
            <a:solidFill>
              <a:srgbClr val="000000"/>
            </a:solidFill>
            <a:ln w="126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F464B933-13BC-402D-9C6C-F61A0D3ED9FF}"/>
                </a:ext>
              </a:extLst>
            </p:cNvPr>
            <p:cNvSpPr/>
            <p:nvPr/>
          </p:nvSpPr>
          <p:spPr>
            <a:xfrm>
              <a:off x="10308009" y="4850356"/>
              <a:ext cx="45527" cy="183360"/>
            </a:xfrm>
            <a:custGeom>
              <a:avLst/>
              <a:gdLst>
                <a:gd name="connsiteX0" fmla="*/ 11382 w 45527"/>
                <a:gd name="connsiteY0" fmla="*/ 8852 h 183360"/>
                <a:gd name="connsiteX1" fmla="*/ 2529 w 45527"/>
                <a:gd name="connsiteY1" fmla="*/ 3794 h 183360"/>
                <a:gd name="connsiteX2" fmla="*/ 0 w 45527"/>
                <a:gd name="connsiteY2" fmla="*/ 0 h 183360"/>
                <a:gd name="connsiteX3" fmla="*/ 0 w 45527"/>
                <a:gd name="connsiteY3" fmla="*/ 0 h 183360"/>
                <a:gd name="connsiteX4" fmla="*/ 1265 w 45527"/>
                <a:gd name="connsiteY4" fmla="*/ 6323 h 183360"/>
                <a:gd name="connsiteX5" fmla="*/ 36675 w 45527"/>
                <a:gd name="connsiteY5" fmla="*/ 183361 h 183360"/>
                <a:gd name="connsiteX6" fmla="*/ 40469 w 45527"/>
                <a:gd name="connsiteY6" fmla="*/ 182096 h 183360"/>
                <a:gd name="connsiteX7" fmla="*/ 45528 w 45527"/>
                <a:gd name="connsiteY7" fmla="*/ 179567 h 183360"/>
                <a:gd name="connsiteX8" fmla="*/ 11382 w 45527"/>
                <a:gd name="connsiteY8" fmla="*/ 8852 h 18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27" h="183360">
                  <a:moveTo>
                    <a:pt x="11382" y="8852"/>
                  </a:moveTo>
                  <a:lnTo>
                    <a:pt x="2529" y="3794"/>
                  </a:lnTo>
                  <a:cubicBezTo>
                    <a:pt x="1265" y="2529"/>
                    <a:pt x="0" y="1265"/>
                    <a:pt x="0" y="0"/>
                  </a:cubicBezTo>
                  <a:lnTo>
                    <a:pt x="0" y="0"/>
                  </a:lnTo>
                  <a:lnTo>
                    <a:pt x="1265" y="6323"/>
                  </a:lnTo>
                  <a:lnTo>
                    <a:pt x="36675" y="183361"/>
                  </a:lnTo>
                  <a:lnTo>
                    <a:pt x="40469" y="182096"/>
                  </a:lnTo>
                  <a:lnTo>
                    <a:pt x="45528" y="179567"/>
                  </a:lnTo>
                  <a:lnTo>
                    <a:pt x="11382" y="8852"/>
                  </a:lnTo>
                  <a:close/>
                </a:path>
              </a:pathLst>
            </a:custGeom>
            <a:solidFill>
              <a:srgbClr val="000000"/>
            </a:solidFill>
            <a:ln w="126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B283F884-4524-4DC6-B96A-0D891CEFC91C}"/>
                </a:ext>
              </a:extLst>
            </p:cNvPr>
            <p:cNvSpPr/>
            <p:nvPr/>
          </p:nvSpPr>
          <p:spPr>
            <a:xfrm>
              <a:off x="10311803" y="484529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C5711CD4-BDA4-40BC-AA9C-E29C822575A8}"/>
                </a:ext>
              </a:extLst>
            </p:cNvPr>
            <p:cNvSpPr/>
            <p:nvPr/>
          </p:nvSpPr>
          <p:spPr>
            <a:xfrm>
              <a:off x="10314332" y="484529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CC882F3-59CA-4F4A-B728-C4FC521C8336}"/>
                </a:ext>
              </a:extLst>
            </p:cNvPr>
            <p:cNvSpPr/>
            <p:nvPr/>
          </p:nvSpPr>
          <p:spPr>
            <a:xfrm>
              <a:off x="10308009" y="4846562"/>
              <a:ext cx="193493" cy="113810"/>
            </a:xfrm>
            <a:custGeom>
              <a:avLst/>
              <a:gdLst>
                <a:gd name="connsiteX0" fmla="*/ 11382 w 193493"/>
                <a:gd name="connsiteY0" fmla="*/ 12646 h 113810"/>
                <a:gd name="connsiteX1" fmla="*/ 183376 w 193493"/>
                <a:gd name="connsiteY1" fmla="*/ 113810 h 113810"/>
                <a:gd name="connsiteX2" fmla="*/ 190964 w 193493"/>
                <a:gd name="connsiteY2" fmla="*/ 110017 h 113810"/>
                <a:gd name="connsiteX3" fmla="*/ 193493 w 193493"/>
                <a:gd name="connsiteY3" fmla="*/ 108752 h 113810"/>
                <a:gd name="connsiteX4" fmla="*/ 6323 w 193493"/>
                <a:gd name="connsiteY4" fmla="*/ 0 h 113810"/>
                <a:gd name="connsiteX5" fmla="*/ 6323 w 193493"/>
                <a:gd name="connsiteY5" fmla="*/ 0 h 113810"/>
                <a:gd name="connsiteX6" fmla="*/ 6323 w 193493"/>
                <a:gd name="connsiteY6" fmla="*/ 0 h 113810"/>
                <a:gd name="connsiteX7" fmla="*/ 5059 w 193493"/>
                <a:gd name="connsiteY7" fmla="*/ 0 h 113810"/>
                <a:gd name="connsiteX8" fmla="*/ 2529 w 193493"/>
                <a:gd name="connsiteY8" fmla="*/ 0 h 113810"/>
                <a:gd name="connsiteX9" fmla="*/ 2529 w 193493"/>
                <a:gd name="connsiteY9" fmla="*/ 0 h 113810"/>
                <a:gd name="connsiteX10" fmla="*/ 1265 w 193493"/>
                <a:gd name="connsiteY10" fmla="*/ 0 h 113810"/>
                <a:gd name="connsiteX11" fmla="*/ 0 w 193493"/>
                <a:gd name="connsiteY11" fmla="*/ 0 h 113810"/>
                <a:gd name="connsiteX12" fmla="*/ 0 w 193493"/>
                <a:gd name="connsiteY12" fmla="*/ 1265 h 113810"/>
                <a:gd name="connsiteX13" fmla="*/ 0 w 193493"/>
                <a:gd name="connsiteY13" fmla="*/ 1265 h 113810"/>
                <a:gd name="connsiteX14" fmla="*/ 0 w 193493"/>
                <a:gd name="connsiteY14" fmla="*/ 1265 h 113810"/>
                <a:gd name="connsiteX15" fmla="*/ 0 w 193493"/>
                <a:gd name="connsiteY15" fmla="*/ 2529 h 113810"/>
                <a:gd name="connsiteX16" fmla="*/ 0 w 193493"/>
                <a:gd name="connsiteY16" fmla="*/ 3794 h 113810"/>
                <a:gd name="connsiteX17" fmla="*/ 2529 w 193493"/>
                <a:gd name="connsiteY17" fmla="*/ 7587 h 113810"/>
                <a:gd name="connsiteX18" fmla="*/ 11382 w 193493"/>
                <a:gd name="connsiteY18" fmla="*/ 12646 h 11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493" h="113810">
                  <a:moveTo>
                    <a:pt x="11382" y="12646"/>
                  </a:moveTo>
                  <a:lnTo>
                    <a:pt x="183376" y="113810"/>
                  </a:lnTo>
                  <a:lnTo>
                    <a:pt x="190964" y="110017"/>
                  </a:lnTo>
                  <a:lnTo>
                    <a:pt x="193493" y="108752"/>
                  </a:lnTo>
                  <a:lnTo>
                    <a:pt x="6323" y="0"/>
                  </a:lnTo>
                  <a:lnTo>
                    <a:pt x="6323" y="0"/>
                  </a:lnTo>
                  <a:lnTo>
                    <a:pt x="6323" y="0"/>
                  </a:lnTo>
                  <a:lnTo>
                    <a:pt x="5059" y="0"/>
                  </a:lnTo>
                  <a:lnTo>
                    <a:pt x="2529" y="0"/>
                  </a:lnTo>
                  <a:lnTo>
                    <a:pt x="2529" y="0"/>
                  </a:lnTo>
                  <a:lnTo>
                    <a:pt x="1265" y="0"/>
                  </a:lnTo>
                  <a:lnTo>
                    <a:pt x="0" y="0"/>
                  </a:lnTo>
                  <a:lnTo>
                    <a:pt x="0" y="1265"/>
                  </a:lnTo>
                  <a:lnTo>
                    <a:pt x="0" y="1265"/>
                  </a:lnTo>
                  <a:lnTo>
                    <a:pt x="0" y="1265"/>
                  </a:lnTo>
                  <a:cubicBezTo>
                    <a:pt x="0" y="1265"/>
                    <a:pt x="0" y="1265"/>
                    <a:pt x="0" y="2529"/>
                  </a:cubicBezTo>
                  <a:cubicBezTo>
                    <a:pt x="0" y="2529"/>
                    <a:pt x="0" y="3794"/>
                    <a:pt x="0" y="3794"/>
                  </a:cubicBezTo>
                  <a:cubicBezTo>
                    <a:pt x="0" y="5059"/>
                    <a:pt x="1265" y="6323"/>
                    <a:pt x="2529" y="7587"/>
                  </a:cubicBezTo>
                  <a:lnTo>
                    <a:pt x="11382" y="12646"/>
                  </a:lnTo>
                  <a:close/>
                </a:path>
              </a:pathLst>
            </a:custGeom>
            <a:solidFill>
              <a:srgbClr val="000000"/>
            </a:solidFill>
            <a:ln w="126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2184B79C-7B5C-444C-9CB7-DC252386E593}"/>
                </a:ext>
              </a:extLst>
            </p:cNvPr>
            <p:cNvSpPr/>
            <p:nvPr/>
          </p:nvSpPr>
          <p:spPr>
            <a:xfrm>
              <a:off x="11194537" y="4911055"/>
              <a:ext cx="365487" cy="194741"/>
            </a:xfrm>
            <a:custGeom>
              <a:avLst/>
              <a:gdLst>
                <a:gd name="connsiteX0" fmla="*/ 365487 w 365487"/>
                <a:gd name="connsiteY0" fmla="*/ 1265 h 194741"/>
                <a:gd name="connsiteX1" fmla="*/ 362958 w 365487"/>
                <a:gd name="connsiteY1" fmla="*/ 0 h 194741"/>
                <a:gd name="connsiteX2" fmla="*/ 362958 w 365487"/>
                <a:gd name="connsiteY2" fmla="*/ 0 h 194741"/>
                <a:gd name="connsiteX3" fmla="*/ 361693 w 365487"/>
                <a:gd name="connsiteY3" fmla="*/ 0 h 194741"/>
                <a:gd name="connsiteX4" fmla="*/ 361693 w 365487"/>
                <a:gd name="connsiteY4" fmla="*/ 0 h 194741"/>
                <a:gd name="connsiteX5" fmla="*/ 0 w 365487"/>
                <a:gd name="connsiteY5" fmla="*/ 190948 h 194741"/>
                <a:gd name="connsiteX6" fmla="*/ 0 w 365487"/>
                <a:gd name="connsiteY6" fmla="*/ 190948 h 194741"/>
                <a:gd name="connsiteX7" fmla="*/ 1265 w 365487"/>
                <a:gd name="connsiteY7" fmla="*/ 194742 h 194741"/>
                <a:gd name="connsiteX8" fmla="*/ 6323 w 365487"/>
                <a:gd name="connsiteY8" fmla="*/ 192213 h 194741"/>
                <a:gd name="connsiteX9" fmla="*/ 365487 w 365487"/>
                <a:gd name="connsiteY9" fmla="*/ 1265 h 19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487" h="194741">
                  <a:moveTo>
                    <a:pt x="365487" y="1265"/>
                  </a:moveTo>
                  <a:lnTo>
                    <a:pt x="362958" y="0"/>
                  </a:lnTo>
                  <a:lnTo>
                    <a:pt x="362958" y="0"/>
                  </a:lnTo>
                  <a:lnTo>
                    <a:pt x="361693" y="0"/>
                  </a:lnTo>
                  <a:lnTo>
                    <a:pt x="361693" y="0"/>
                  </a:lnTo>
                  <a:lnTo>
                    <a:pt x="0" y="190948"/>
                  </a:lnTo>
                  <a:cubicBezTo>
                    <a:pt x="0" y="190948"/>
                    <a:pt x="0" y="190948"/>
                    <a:pt x="0" y="190948"/>
                  </a:cubicBezTo>
                  <a:lnTo>
                    <a:pt x="1265" y="194742"/>
                  </a:lnTo>
                  <a:lnTo>
                    <a:pt x="6323" y="192213"/>
                  </a:lnTo>
                  <a:lnTo>
                    <a:pt x="365487" y="1265"/>
                  </a:lnTo>
                  <a:close/>
                </a:path>
              </a:pathLst>
            </a:custGeom>
            <a:solidFill>
              <a:srgbClr val="000000"/>
            </a:solidFill>
            <a:ln w="126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5742FB3F-6A78-4DD2-9D10-BD062F6E783C}"/>
                </a:ext>
              </a:extLst>
            </p:cNvPr>
            <p:cNvSpPr/>
            <p:nvPr/>
          </p:nvSpPr>
          <p:spPr>
            <a:xfrm>
              <a:off x="11733283" y="6601766"/>
              <a:ext cx="48057" cy="252910"/>
            </a:xfrm>
            <a:custGeom>
              <a:avLst/>
              <a:gdLst>
                <a:gd name="connsiteX0" fmla="*/ 5059 w 48057"/>
                <a:gd name="connsiteY0" fmla="*/ 1265 h 252910"/>
                <a:gd name="connsiteX1" fmla="*/ 5059 w 48057"/>
                <a:gd name="connsiteY1" fmla="*/ 1265 h 252910"/>
                <a:gd name="connsiteX2" fmla="*/ 5059 w 48057"/>
                <a:gd name="connsiteY2" fmla="*/ 1265 h 252910"/>
                <a:gd name="connsiteX3" fmla="*/ 5059 w 48057"/>
                <a:gd name="connsiteY3" fmla="*/ 1265 h 252910"/>
                <a:gd name="connsiteX4" fmla="*/ 2529 w 48057"/>
                <a:gd name="connsiteY4" fmla="*/ 1265 h 252910"/>
                <a:gd name="connsiteX5" fmla="*/ 1265 w 48057"/>
                <a:gd name="connsiteY5" fmla="*/ 1265 h 252910"/>
                <a:gd name="connsiteX6" fmla="*/ 1265 w 48057"/>
                <a:gd name="connsiteY6" fmla="*/ 1265 h 252910"/>
                <a:gd name="connsiteX7" fmla="*/ 0 w 48057"/>
                <a:gd name="connsiteY7" fmla="*/ 0 h 252910"/>
                <a:gd name="connsiteX8" fmla="*/ 39205 w 48057"/>
                <a:gd name="connsiteY8" fmla="*/ 252911 h 252910"/>
                <a:gd name="connsiteX9" fmla="*/ 48057 w 48057"/>
                <a:gd name="connsiteY9" fmla="*/ 252911 h 252910"/>
                <a:gd name="connsiteX10" fmla="*/ 8853 w 48057"/>
                <a:gd name="connsiteY10" fmla="*/ 0 h 252910"/>
                <a:gd name="connsiteX11" fmla="*/ 5059 w 48057"/>
                <a:gd name="connsiteY11" fmla="*/ 1265 h 25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057" h="252910">
                  <a:moveTo>
                    <a:pt x="5059" y="1265"/>
                  </a:moveTo>
                  <a:lnTo>
                    <a:pt x="5059" y="1265"/>
                  </a:lnTo>
                  <a:lnTo>
                    <a:pt x="5059" y="1265"/>
                  </a:lnTo>
                  <a:lnTo>
                    <a:pt x="5059" y="1265"/>
                  </a:lnTo>
                  <a:lnTo>
                    <a:pt x="2529" y="1265"/>
                  </a:lnTo>
                  <a:lnTo>
                    <a:pt x="1265" y="1265"/>
                  </a:lnTo>
                  <a:lnTo>
                    <a:pt x="1265" y="1265"/>
                  </a:lnTo>
                  <a:lnTo>
                    <a:pt x="0" y="0"/>
                  </a:lnTo>
                  <a:lnTo>
                    <a:pt x="39205" y="252911"/>
                  </a:lnTo>
                  <a:lnTo>
                    <a:pt x="48057" y="252911"/>
                  </a:lnTo>
                  <a:lnTo>
                    <a:pt x="8853" y="0"/>
                  </a:lnTo>
                  <a:lnTo>
                    <a:pt x="5059" y="1265"/>
                  </a:lnTo>
                  <a:close/>
                </a:path>
              </a:pathLst>
            </a:custGeom>
            <a:solidFill>
              <a:srgbClr val="000000"/>
            </a:solidFill>
            <a:ln w="126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873C42DD-8298-4452-AC9F-0974CC345149}"/>
                </a:ext>
              </a:extLst>
            </p:cNvPr>
            <p:cNvSpPr/>
            <p:nvPr/>
          </p:nvSpPr>
          <p:spPr>
            <a:xfrm>
              <a:off x="10983338"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EE791905-E294-4FE8-936E-319C4D08B27F}"/>
                </a:ext>
              </a:extLst>
            </p:cNvPr>
            <p:cNvSpPr/>
            <p:nvPr/>
          </p:nvSpPr>
          <p:spPr>
            <a:xfrm>
              <a:off x="10982074"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1DFFF5F8-97A6-4E20-AA5F-7C866258E724}"/>
                </a:ext>
              </a:extLst>
            </p:cNvPr>
            <p:cNvSpPr/>
            <p:nvPr/>
          </p:nvSpPr>
          <p:spPr>
            <a:xfrm>
              <a:off x="10601411" y="3933553"/>
              <a:ext cx="378133" cy="184625"/>
            </a:xfrm>
            <a:custGeom>
              <a:avLst/>
              <a:gdLst>
                <a:gd name="connsiteX0" fmla="*/ 6323 w 378133"/>
                <a:gd name="connsiteY0" fmla="*/ 178302 h 184625"/>
                <a:gd name="connsiteX1" fmla="*/ 3794 w 378133"/>
                <a:gd name="connsiteY1" fmla="*/ 184625 h 184625"/>
                <a:gd name="connsiteX2" fmla="*/ 7588 w 378133"/>
                <a:gd name="connsiteY2" fmla="*/ 183361 h 184625"/>
                <a:gd name="connsiteX3" fmla="*/ 376869 w 378133"/>
                <a:gd name="connsiteY3" fmla="*/ 10116 h 184625"/>
                <a:gd name="connsiteX4" fmla="*/ 375605 w 378133"/>
                <a:gd name="connsiteY4" fmla="*/ 3794 h 184625"/>
                <a:gd name="connsiteX5" fmla="*/ 375605 w 378133"/>
                <a:gd name="connsiteY5" fmla="*/ 3794 h 184625"/>
                <a:gd name="connsiteX6" fmla="*/ 375605 w 378133"/>
                <a:gd name="connsiteY6" fmla="*/ 2529 h 184625"/>
                <a:gd name="connsiteX7" fmla="*/ 375605 w 378133"/>
                <a:gd name="connsiteY7" fmla="*/ 1265 h 184625"/>
                <a:gd name="connsiteX8" fmla="*/ 375605 w 378133"/>
                <a:gd name="connsiteY8" fmla="*/ 1265 h 184625"/>
                <a:gd name="connsiteX9" fmla="*/ 375605 w 378133"/>
                <a:gd name="connsiteY9" fmla="*/ 1265 h 184625"/>
                <a:gd name="connsiteX10" fmla="*/ 375605 w 378133"/>
                <a:gd name="connsiteY10" fmla="*/ 0 h 184625"/>
                <a:gd name="connsiteX11" fmla="*/ 376869 w 378133"/>
                <a:gd name="connsiteY11" fmla="*/ 0 h 184625"/>
                <a:gd name="connsiteX12" fmla="*/ 378134 w 378133"/>
                <a:gd name="connsiteY12" fmla="*/ 0 h 184625"/>
                <a:gd name="connsiteX13" fmla="*/ 378134 w 378133"/>
                <a:gd name="connsiteY13" fmla="*/ 0 h 184625"/>
                <a:gd name="connsiteX14" fmla="*/ 0 w 378133"/>
                <a:gd name="connsiteY14" fmla="*/ 177038 h 184625"/>
                <a:gd name="connsiteX15" fmla="*/ 6323 w 378133"/>
                <a:gd name="connsiteY15" fmla="*/ 178302 h 184625"/>
                <a:gd name="connsiteX16" fmla="*/ 6323 w 378133"/>
                <a:gd name="connsiteY16" fmla="*/ 178302 h 18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8133" h="184625">
                  <a:moveTo>
                    <a:pt x="6323" y="178302"/>
                  </a:moveTo>
                  <a:cubicBezTo>
                    <a:pt x="7588" y="180831"/>
                    <a:pt x="6323" y="183361"/>
                    <a:pt x="3794" y="184625"/>
                  </a:cubicBezTo>
                  <a:lnTo>
                    <a:pt x="7588" y="183361"/>
                  </a:lnTo>
                  <a:lnTo>
                    <a:pt x="376869" y="10116"/>
                  </a:lnTo>
                  <a:lnTo>
                    <a:pt x="375605" y="3794"/>
                  </a:lnTo>
                  <a:lnTo>
                    <a:pt x="375605" y="3794"/>
                  </a:lnTo>
                  <a:cubicBezTo>
                    <a:pt x="375605" y="3794"/>
                    <a:pt x="375605" y="2529"/>
                    <a:pt x="375605" y="2529"/>
                  </a:cubicBezTo>
                  <a:cubicBezTo>
                    <a:pt x="375605" y="2529"/>
                    <a:pt x="375605" y="2529"/>
                    <a:pt x="375605" y="1265"/>
                  </a:cubicBezTo>
                  <a:lnTo>
                    <a:pt x="375605" y="1265"/>
                  </a:lnTo>
                  <a:lnTo>
                    <a:pt x="375605" y="1265"/>
                  </a:lnTo>
                  <a:lnTo>
                    <a:pt x="375605" y="0"/>
                  </a:lnTo>
                  <a:lnTo>
                    <a:pt x="376869" y="0"/>
                  </a:lnTo>
                  <a:lnTo>
                    <a:pt x="378134" y="0"/>
                  </a:lnTo>
                  <a:lnTo>
                    <a:pt x="378134" y="0"/>
                  </a:lnTo>
                  <a:lnTo>
                    <a:pt x="0" y="177038"/>
                  </a:lnTo>
                  <a:cubicBezTo>
                    <a:pt x="0" y="175773"/>
                    <a:pt x="3794" y="175773"/>
                    <a:pt x="6323" y="178302"/>
                  </a:cubicBezTo>
                  <a:cubicBezTo>
                    <a:pt x="5059" y="177038"/>
                    <a:pt x="6323" y="177038"/>
                    <a:pt x="6323" y="178302"/>
                  </a:cubicBezTo>
                  <a:close/>
                </a:path>
              </a:pathLst>
            </a:custGeom>
            <a:solidFill>
              <a:srgbClr val="000000"/>
            </a:solidFill>
            <a:ln w="126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67EC6BC-55F4-4E87-8A9A-B1D16EA33B96}"/>
                </a:ext>
              </a:extLst>
            </p:cNvPr>
            <p:cNvSpPr/>
            <p:nvPr/>
          </p:nvSpPr>
          <p:spPr>
            <a:xfrm>
              <a:off x="10584970" y="4108830"/>
              <a:ext cx="23260" cy="15670"/>
            </a:xfrm>
            <a:custGeom>
              <a:avLst/>
              <a:gdLst>
                <a:gd name="connsiteX0" fmla="*/ 3794 w 23260"/>
                <a:gd name="connsiteY0" fmla="*/ 9348 h 15670"/>
                <a:gd name="connsiteX1" fmla="*/ 3794 w 23260"/>
                <a:gd name="connsiteY1" fmla="*/ 9348 h 15670"/>
                <a:gd name="connsiteX2" fmla="*/ 3794 w 23260"/>
                <a:gd name="connsiteY2" fmla="*/ 9348 h 15670"/>
                <a:gd name="connsiteX3" fmla="*/ 5059 w 23260"/>
                <a:gd name="connsiteY3" fmla="*/ 10612 h 15670"/>
                <a:gd name="connsiteX4" fmla="*/ 5059 w 23260"/>
                <a:gd name="connsiteY4" fmla="*/ 11877 h 15670"/>
                <a:gd name="connsiteX5" fmla="*/ 5059 w 23260"/>
                <a:gd name="connsiteY5" fmla="*/ 11877 h 15670"/>
                <a:gd name="connsiteX6" fmla="*/ 6323 w 23260"/>
                <a:gd name="connsiteY6" fmla="*/ 15671 h 15670"/>
                <a:gd name="connsiteX7" fmla="*/ 15176 w 23260"/>
                <a:gd name="connsiteY7" fmla="*/ 11877 h 15670"/>
                <a:gd name="connsiteX8" fmla="*/ 20235 w 23260"/>
                <a:gd name="connsiteY8" fmla="*/ 9348 h 15670"/>
                <a:gd name="connsiteX9" fmla="*/ 22764 w 23260"/>
                <a:gd name="connsiteY9" fmla="*/ 3025 h 15670"/>
                <a:gd name="connsiteX10" fmla="*/ 16441 w 23260"/>
                <a:gd name="connsiteY10" fmla="*/ 496 h 15670"/>
                <a:gd name="connsiteX11" fmla="*/ 0 w 23260"/>
                <a:gd name="connsiteY11" fmla="*/ 6819 h 15670"/>
                <a:gd name="connsiteX12" fmla="*/ 2529 w 23260"/>
                <a:gd name="connsiteY12" fmla="*/ 8084 h 15670"/>
                <a:gd name="connsiteX13" fmla="*/ 3794 w 23260"/>
                <a:gd name="connsiteY13" fmla="*/ 9348 h 1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60" h="15670">
                  <a:moveTo>
                    <a:pt x="3794" y="9348"/>
                  </a:moveTo>
                  <a:lnTo>
                    <a:pt x="3794" y="9348"/>
                  </a:lnTo>
                  <a:lnTo>
                    <a:pt x="3794" y="9348"/>
                  </a:lnTo>
                  <a:lnTo>
                    <a:pt x="5059" y="10612"/>
                  </a:lnTo>
                  <a:lnTo>
                    <a:pt x="5059" y="11877"/>
                  </a:lnTo>
                  <a:lnTo>
                    <a:pt x="5059" y="11877"/>
                  </a:lnTo>
                  <a:lnTo>
                    <a:pt x="6323" y="15671"/>
                  </a:lnTo>
                  <a:lnTo>
                    <a:pt x="15176" y="11877"/>
                  </a:lnTo>
                  <a:lnTo>
                    <a:pt x="20235" y="9348"/>
                  </a:lnTo>
                  <a:cubicBezTo>
                    <a:pt x="22764" y="8084"/>
                    <a:pt x="24028" y="5554"/>
                    <a:pt x="22764" y="3025"/>
                  </a:cubicBezTo>
                  <a:cubicBezTo>
                    <a:pt x="21499" y="496"/>
                    <a:pt x="18970" y="-769"/>
                    <a:pt x="16441" y="496"/>
                  </a:cubicBezTo>
                  <a:lnTo>
                    <a:pt x="0" y="6819"/>
                  </a:lnTo>
                  <a:lnTo>
                    <a:pt x="2529" y="8084"/>
                  </a:lnTo>
                  <a:cubicBezTo>
                    <a:pt x="1265" y="8084"/>
                    <a:pt x="3794" y="8084"/>
                    <a:pt x="3794" y="9348"/>
                  </a:cubicBezTo>
                  <a:close/>
                </a:path>
              </a:pathLst>
            </a:custGeom>
            <a:solidFill>
              <a:srgbClr val="000000"/>
            </a:solidFill>
            <a:ln w="126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D989A2C-B640-4813-AD82-A6CA267292D7}"/>
                </a:ext>
              </a:extLst>
            </p:cNvPr>
            <p:cNvSpPr/>
            <p:nvPr/>
          </p:nvSpPr>
          <p:spPr>
            <a:xfrm>
              <a:off x="10103134" y="3226666"/>
              <a:ext cx="972524" cy="432478"/>
            </a:xfrm>
            <a:custGeom>
              <a:avLst/>
              <a:gdLst>
                <a:gd name="connsiteX0" fmla="*/ 1265 w 972524"/>
                <a:gd name="connsiteY0" fmla="*/ 432478 h 432478"/>
                <a:gd name="connsiteX1" fmla="*/ 972525 w 972524"/>
                <a:gd name="connsiteY1" fmla="*/ 8852 h 432478"/>
                <a:gd name="connsiteX2" fmla="*/ 971260 w 972524"/>
                <a:gd name="connsiteY2" fmla="*/ 3794 h 432478"/>
                <a:gd name="connsiteX3" fmla="*/ 971260 w 972524"/>
                <a:gd name="connsiteY3" fmla="*/ 0 h 432478"/>
                <a:gd name="connsiteX4" fmla="*/ 0 w 972524"/>
                <a:gd name="connsiteY4" fmla="*/ 423626 h 432478"/>
                <a:gd name="connsiteX5" fmla="*/ 1265 w 972524"/>
                <a:gd name="connsiteY5" fmla="*/ 428685 h 43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2524" h="432478">
                  <a:moveTo>
                    <a:pt x="1265" y="432478"/>
                  </a:moveTo>
                  <a:lnTo>
                    <a:pt x="972525" y="8852"/>
                  </a:lnTo>
                  <a:lnTo>
                    <a:pt x="971260" y="3794"/>
                  </a:lnTo>
                  <a:lnTo>
                    <a:pt x="971260" y="0"/>
                  </a:lnTo>
                  <a:lnTo>
                    <a:pt x="0" y="423626"/>
                  </a:lnTo>
                  <a:lnTo>
                    <a:pt x="1265" y="428685"/>
                  </a:lnTo>
                  <a:close/>
                </a:path>
              </a:pathLst>
            </a:custGeom>
            <a:solidFill>
              <a:srgbClr val="000000"/>
            </a:solidFill>
            <a:ln w="12625"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4947C583-E94D-4D18-9AF3-1AD4D5525AF6}"/>
                </a:ext>
              </a:extLst>
            </p:cNvPr>
            <p:cNvSpPr/>
            <p:nvPr/>
          </p:nvSpPr>
          <p:spPr>
            <a:xfrm>
              <a:off x="10582441" y="4120707"/>
              <a:ext cx="141642" cy="724590"/>
            </a:xfrm>
            <a:custGeom>
              <a:avLst/>
              <a:gdLst>
                <a:gd name="connsiteX0" fmla="*/ 137848 w 141642"/>
                <a:gd name="connsiteY0" fmla="*/ 724591 h 724590"/>
                <a:gd name="connsiteX1" fmla="*/ 141642 w 141642"/>
                <a:gd name="connsiteY1" fmla="*/ 723326 h 724590"/>
                <a:gd name="connsiteX2" fmla="*/ 10117 w 141642"/>
                <a:gd name="connsiteY2" fmla="*/ 3794 h 724590"/>
                <a:gd name="connsiteX3" fmla="*/ 8853 w 141642"/>
                <a:gd name="connsiteY3" fmla="*/ 0 h 724590"/>
                <a:gd name="connsiteX4" fmla="*/ 8853 w 141642"/>
                <a:gd name="connsiteY4" fmla="*/ 0 h 724590"/>
                <a:gd name="connsiteX5" fmla="*/ 8853 w 141642"/>
                <a:gd name="connsiteY5" fmla="*/ 3794 h 724590"/>
                <a:gd name="connsiteX6" fmla="*/ 2529 w 141642"/>
                <a:gd name="connsiteY6" fmla="*/ 6323 h 724590"/>
                <a:gd name="connsiteX7" fmla="*/ 2529 w 141642"/>
                <a:gd name="connsiteY7" fmla="*/ 6323 h 724590"/>
                <a:gd name="connsiteX8" fmla="*/ 0 w 141642"/>
                <a:gd name="connsiteY8" fmla="*/ 5058 h 724590"/>
                <a:gd name="connsiteX9" fmla="*/ 131525 w 141642"/>
                <a:gd name="connsiteY9" fmla="*/ 722062 h 724590"/>
                <a:gd name="connsiteX10" fmla="*/ 137848 w 141642"/>
                <a:gd name="connsiteY10" fmla="*/ 724591 h 72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42" h="724590">
                  <a:moveTo>
                    <a:pt x="137848" y="724591"/>
                  </a:moveTo>
                  <a:lnTo>
                    <a:pt x="141642" y="723326"/>
                  </a:lnTo>
                  <a:lnTo>
                    <a:pt x="10117" y="3794"/>
                  </a:lnTo>
                  <a:lnTo>
                    <a:pt x="8853" y="0"/>
                  </a:lnTo>
                  <a:lnTo>
                    <a:pt x="8853" y="0"/>
                  </a:lnTo>
                  <a:cubicBezTo>
                    <a:pt x="8853" y="1265"/>
                    <a:pt x="8853" y="2529"/>
                    <a:pt x="8853" y="3794"/>
                  </a:cubicBezTo>
                  <a:cubicBezTo>
                    <a:pt x="7588" y="6323"/>
                    <a:pt x="5059" y="6323"/>
                    <a:pt x="2529" y="6323"/>
                  </a:cubicBezTo>
                  <a:cubicBezTo>
                    <a:pt x="2529" y="6323"/>
                    <a:pt x="2529" y="6323"/>
                    <a:pt x="2529" y="6323"/>
                  </a:cubicBezTo>
                  <a:lnTo>
                    <a:pt x="0" y="5058"/>
                  </a:lnTo>
                  <a:lnTo>
                    <a:pt x="131525" y="722062"/>
                  </a:lnTo>
                  <a:lnTo>
                    <a:pt x="137848" y="724591"/>
                  </a:lnTo>
                  <a:close/>
                </a:path>
              </a:pathLst>
            </a:custGeom>
            <a:solidFill>
              <a:srgbClr val="000000"/>
            </a:solidFill>
            <a:ln w="12625"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F73C9466-CA74-4025-94EC-F5B728FD7A3E}"/>
                </a:ext>
              </a:extLst>
            </p:cNvPr>
            <p:cNvSpPr/>
            <p:nvPr/>
          </p:nvSpPr>
          <p:spPr>
            <a:xfrm>
              <a:off x="9817320" y="5182934"/>
              <a:ext cx="31616" cy="104958"/>
            </a:xfrm>
            <a:custGeom>
              <a:avLst/>
              <a:gdLst>
                <a:gd name="connsiteX0" fmla="*/ 31617 w 31616"/>
                <a:gd name="connsiteY0" fmla="*/ 101164 h 104958"/>
                <a:gd name="connsiteX1" fmla="*/ 11382 w 31616"/>
                <a:gd name="connsiteY1" fmla="*/ 11381 h 104958"/>
                <a:gd name="connsiteX2" fmla="*/ 8853 w 31616"/>
                <a:gd name="connsiteY2" fmla="*/ 0 h 104958"/>
                <a:gd name="connsiteX3" fmla="*/ 5059 w 31616"/>
                <a:gd name="connsiteY3" fmla="*/ 5058 h 104958"/>
                <a:gd name="connsiteX4" fmla="*/ 5059 w 31616"/>
                <a:gd name="connsiteY4" fmla="*/ 5058 h 104958"/>
                <a:gd name="connsiteX5" fmla="*/ 0 w 31616"/>
                <a:gd name="connsiteY5" fmla="*/ 1265 h 104958"/>
                <a:gd name="connsiteX6" fmla="*/ 0 w 31616"/>
                <a:gd name="connsiteY6" fmla="*/ 1265 h 104958"/>
                <a:gd name="connsiteX7" fmla="*/ 22764 w 31616"/>
                <a:gd name="connsiteY7" fmla="*/ 104958 h 104958"/>
                <a:gd name="connsiteX8" fmla="*/ 26558 w 31616"/>
                <a:gd name="connsiteY8" fmla="*/ 103694 h 104958"/>
                <a:gd name="connsiteX9" fmla="*/ 31617 w 31616"/>
                <a:gd name="connsiteY9" fmla="*/ 101164 h 1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6" h="104958">
                  <a:moveTo>
                    <a:pt x="31617" y="101164"/>
                  </a:moveTo>
                  <a:lnTo>
                    <a:pt x="11382" y="11381"/>
                  </a:lnTo>
                  <a:lnTo>
                    <a:pt x="8853" y="0"/>
                  </a:lnTo>
                  <a:cubicBezTo>
                    <a:pt x="8853" y="2529"/>
                    <a:pt x="7588" y="5058"/>
                    <a:pt x="5059" y="5058"/>
                  </a:cubicBezTo>
                  <a:cubicBezTo>
                    <a:pt x="5059" y="5058"/>
                    <a:pt x="5059" y="5058"/>
                    <a:pt x="5059" y="5058"/>
                  </a:cubicBezTo>
                  <a:cubicBezTo>
                    <a:pt x="2529" y="5058"/>
                    <a:pt x="0" y="3794"/>
                    <a:pt x="0" y="1265"/>
                  </a:cubicBezTo>
                  <a:cubicBezTo>
                    <a:pt x="0" y="1265"/>
                    <a:pt x="0" y="1265"/>
                    <a:pt x="0" y="1265"/>
                  </a:cubicBezTo>
                  <a:lnTo>
                    <a:pt x="22764" y="104958"/>
                  </a:lnTo>
                  <a:lnTo>
                    <a:pt x="26558" y="103694"/>
                  </a:lnTo>
                  <a:lnTo>
                    <a:pt x="31617" y="101164"/>
                  </a:lnTo>
                  <a:close/>
                </a:path>
              </a:pathLst>
            </a:custGeom>
            <a:solidFill>
              <a:srgbClr val="000000"/>
            </a:solidFill>
            <a:ln w="12625"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570D80E9-85C7-4BCE-A4A6-AA10B9443A62}"/>
                </a:ext>
              </a:extLst>
            </p:cNvPr>
            <p:cNvSpPr/>
            <p:nvPr/>
          </p:nvSpPr>
          <p:spPr>
            <a:xfrm>
              <a:off x="11184419" y="5100738"/>
              <a:ext cx="74615" cy="395806"/>
            </a:xfrm>
            <a:custGeom>
              <a:avLst/>
              <a:gdLst>
                <a:gd name="connsiteX0" fmla="*/ 11382 w 74615"/>
                <a:gd name="connsiteY0" fmla="*/ 10117 h 395806"/>
                <a:gd name="connsiteX1" fmla="*/ 10117 w 74615"/>
                <a:gd name="connsiteY1" fmla="*/ 3794 h 395806"/>
                <a:gd name="connsiteX2" fmla="*/ 8853 w 74615"/>
                <a:gd name="connsiteY2" fmla="*/ 0 h 395806"/>
                <a:gd name="connsiteX3" fmla="*/ 8853 w 74615"/>
                <a:gd name="connsiteY3" fmla="*/ 0 h 395806"/>
                <a:gd name="connsiteX4" fmla="*/ 0 w 74615"/>
                <a:gd name="connsiteY4" fmla="*/ 5058 h 395806"/>
                <a:gd name="connsiteX5" fmla="*/ 65763 w 74615"/>
                <a:gd name="connsiteY5" fmla="*/ 395806 h 395806"/>
                <a:gd name="connsiteX6" fmla="*/ 68292 w 74615"/>
                <a:gd name="connsiteY6" fmla="*/ 394542 h 395806"/>
                <a:gd name="connsiteX7" fmla="*/ 74615 w 74615"/>
                <a:gd name="connsiteY7" fmla="*/ 390748 h 395806"/>
                <a:gd name="connsiteX8" fmla="*/ 11382 w 74615"/>
                <a:gd name="connsiteY8" fmla="*/ 10117 h 39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615" h="395806">
                  <a:moveTo>
                    <a:pt x="11382" y="10117"/>
                  </a:moveTo>
                  <a:lnTo>
                    <a:pt x="10117" y="3794"/>
                  </a:lnTo>
                  <a:lnTo>
                    <a:pt x="8853" y="0"/>
                  </a:lnTo>
                  <a:cubicBezTo>
                    <a:pt x="8853" y="0"/>
                    <a:pt x="8853" y="0"/>
                    <a:pt x="8853" y="0"/>
                  </a:cubicBezTo>
                  <a:lnTo>
                    <a:pt x="0" y="5058"/>
                  </a:lnTo>
                  <a:lnTo>
                    <a:pt x="65763" y="395806"/>
                  </a:lnTo>
                  <a:lnTo>
                    <a:pt x="68292" y="394542"/>
                  </a:lnTo>
                  <a:lnTo>
                    <a:pt x="74615" y="390748"/>
                  </a:lnTo>
                  <a:lnTo>
                    <a:pt x="11382" y="10117"/>
                  </a:lnTo>
                  <a:close/>
                </a:path>
              </a:pathLst>
            </a:custGeom>
            <a:solidFill>
              <a:srgbClr val="000000"/>
            </a:solidFill>
            <a:ln w="126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C39B436B-529B-44B5-A950-D1CE124F3279}"/>
                </a:ext>
              </a:extLst>
            </p:cNvPr>
            <p:cNvSpPr/>
            <p:nvPr/>
          </p:nvSpPr>
          <p:spPr>
            <a:xfrm>
              <a:off x="11449998" y="4137146"/>
              <a:ext cx="44263" cy="30349"/>
            </a:xfrm>
            <a:custGeom>
              <a:avLst/>
              <a:gdLst>
                <a:gd name="connsiteX0" fmla="*/ 1265 w 44263"/>
                <a:gd name="connsiteY0" fmla="*/ 30349 h 30349"/>
                <a:gd name="connsiteX1" fmla="*/ 44263 w 44263"/>
                <a:gd name="connsiteY1" fmla="*/ 8852 h 30349"/>
                <a:gd name="connsiteX2" fmla="*/ 44263 w 44263"/>
                <a:gd name="connsiteY2" fmla="*/ 3794 h 30349"/>
                <a:gd name="connsiteX3" fmla="*/ 42999 w 44263"/>
                <a:gd name="connsiteY3" fmla="*/ 0 h 30349"/>
                <a:gd name="connsiteX4" fmla="*/ 0 w 44263"/>
                <a:gd name="connsiteY4" fmla="*/ 21497 h 30349"/>
                <a:gd name="connsiteX5" fmla="*/ 1265 w 44263"/>
                <a:gd name="connsiteY5" fmla="*/ 26555 h 3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63" h="30349">
                  <a:moveTo>
                    <a:pt x="1265" y="30349"/>
                  </a:moveTo>
                  <a:lnTo>
                    <a:pt x="44263" y="8852"/>
                  </a:lnTo>
                  <a:lnTo>
                    <a:pt x="44263" y="3794"/>
                  </a:lnTo>
                  <a:lnTo>
                    <a:pt x="42999" y="0"/>
                  </a:lnTo>
                  <a:lnTo>
                    <a:pt x="0" y="21497"/>
                  </a:lnTo>
                  <a:lnTo>
                    <a:pt x="1265" y="26555"/>
                  </a:lnTo>
                  <a:close/>
                </a:path>
              </a:pathLst>
            </a:custGeom>
            <a:solidFill>
              <a:srgbClr val="000000"/>
            </a:solidFill>
            <a:ln w="126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947E7AD0-3359-4B88-B849-85B776ED5FF0}"/>
                </a:ext>
              </a:extLst>
            </p:cNvPr>
            <p:cNvSpPr/>
            <p:nvPr/>
          </p:nvSpPr>
          <p:spPr>
            <a:xfrm>
              <a:off x="11214771" y="4049892"/>
              <a:ext cx="12646" cy="948"/>
            </a:xfrm>
            <a:custGeom>
              <a:avLst/>
              <a:gdLst>
                <a:gd name="connsiteX0" fmla="*/ 0 w 12646"/>
                <a:gd name="connsiteY0" fmla="*/ 0 h 948"/>
                <a:gd name="connsiteX1" fmla="*/ 0 w 12646"/>
                <a:gd name="connsiteY1" fmla="*/ 0 h 948"/>
                <a:gd name="connsiteX2" fmla="*/ 0 w 12646"/>
                <a:gd name="connsiteY2" fmla="*/ 0 h 948"/>
                <a:gd name="connsiteX3" fmla="*/ 0 w 12646"/>
                <a:gd name="connsiteY3" fmla="*/ 0 h 948"/>
              </a:gdLst>
              <a:ahLst/>
              <a:cxnLst>
                <a:cxn ang="0">
                  <a:pos x="connsiteX0" y="connsiteY0"/>
                </a:cxn>
                <a:cxn ang="0">
                  <a:pos x="connsiteX1" y="connsiteY1"/>
                </a:cxn>
                <a:cxn ang="0">
                  <a:pos x="connsiteX2" y="connsiteY2"/>
                </a:cxn>
                <a:cxn ang="0">
                  <a:pos x="connsiteX3" y="connsiteY3"/>
                </a:cxn>
              </a:cxnLst>
              <a:rect l="l" t="t" r="r" b="b"/>
              <a:pathLst>
                <a:path w="12646" h="948">
                  <a:moveTo>
                    <a:pt x="0" y="0"/>
                  </a:moveTo>
                  <a:lnTo>
                    <a:pt x="0" y="0"/>
                  </a:lnTo>
                  <a:lnTo>
                    <a:pt x="0" y="0"/>
                  </a:lnTo>
                  <a:cubicBezTo>
                    <a:pt x="0" y="1265"/>
                    <a:pt x="0" y="1265"/>
                    <a:pt x="0" y="0"/>
                  </a:cubicBezTo>
                  <a:close/>
                </a:path>
              </a:pathLst>
            </a:custGeom>
            <a:solidFill>
              <a:srgbClr val="000000"/>
            </a:solidFill>
            <a:ln w="126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2C41B442-9954-453D-80F1-ECA1218A00A4}"/>
                </a:ext>
              </a:extLst>
            </p:cNvPr>
            <p:cNvSpPr/>
            <p:nvPr/>
          </p:nvSpPr>
          <p:spPr>
            <a:xfrm>
              <a:off x="10984603" y="3931024"/>
              <a:ext cx="223845" cy="121397"/>
            </a:xfrm>
            <a:custGeom>
              <a:avLst/>
              <a:gdLst>
                <a:gd name="connsiteX0" fmla="*/ 2529 w 223845"/>
                <a:gd name="connsiteY0" fmla="*/ 5058 h 121397"/>
                <a:gd name="connsiteX1" fmla="*/ 3794 w 223845"/>
                <a:gd name="connsiteY1" fmla="*/ 13910 h 121397"/>
                <a:gd name="connsiteX2" fmla="*/ 223845 w 223845"/>
                <a:gd name="connsiteY2" fmla="*/ 121397 h 121397"/>
                <a:gd name="connsiteX3" fmla="*/ 223845 w 223845"/>
                <a:gd name="connsiteY3" fmla="*/ 121397 h 121397"/>
                <a:gd name="connsiteX4" fmla="*/ 221316 w 223845"/>
                <a:gd name="connsiteY4" fmla="*/ 117604 h 121397"/>
                <a:gd name="connsiteX5" fmla="*/ 220051 w 223845"/>
                <a:gd name="connsiteY5" fmla="*/ 108752 h 121397"/>
                <a:gd name="connsiteX6" fmla="*/ 0 w 223845"/>
                <a:gd name="connsiteY6" fmla="*/ 0 h 121397"/>
                <a:gd name="connsiteX7" fmla="*/ 0 w 223845"/>
                <a:gd name="connsiteY7" fmla="*/ 0 h 121397"/>
                <a:gd name="connsiteX8" fmla="*/ 2529 w 223845"/>
                <a:gd name="connsiteY8" fmla="*/ 5058 h 12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45" h="121397">
                  <a:moveTo>
                    <a:pt x="2529" y="5058"/>
                  </a:moveTo>
                  <a:lnTo>
                    <a:pt x="3794" y="13910"/>
                  </a:lnTo>
                  <a:lnTo>
                    <a:pt x="223845" y="121397"/>
                  </a:lnTo>
                  <a:lnTo>
                    <a:pt x="223845" y="121397"/>
                  </a:lnTo>
                  <a:cubicBezTo>
                    <a:pt x="222580" y="121397"/>
                    <a:pt x="221316" y="120133"/>
                    <a:pt x="221316" y="117604"/>
                  </a:cubicBezTo>
                  <a:lnTo>
                    <a:pt x="220051" y="108752"/>
                  </a:lnTo>
                  <a:lnTo>
                    <a:pt x="0" y="0"/>
                  </a:lnTo>
                  <a:lnTo>
                    <a:pt x="0" y="0"/>
                  </a:lnTo>
                  <a:cubicBezTo>
                    <a:pt x="1265" y="1265"/>
                    <a:pt x="1265" y="2529"/>
                    <a:pt x="2529" y="5058"/>
                  </a:cubicBezTo>
                  <a:close/>
                </a:path>
              </a:pathLst>
            </a:custGeom>
            <a:solidFill>
              <a:srgbClr val="000000"/>
            </a:solidFill>
            <a:ln w="126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3A6A6689-DAE2-416A-A9D3-C4F66229AFE3}"/>
                </a:ext>
              </a:extLst>
            </p:cNvPr>
            <p:cNvSpPr/>
            <p:nvPr/>
          </p:nvSpPr>
          <p:spPr>
            <a:xfrm>
              <a:off x="10982074"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98D1E467-CADB-41DA-BFBD-130617E0EC7E}"/>
                </a:ext>
              </a:extLst>
            </p:cNvPr>
            <p:cNvSpPr/>
            <p:nvPr/>
          </p:nvSpPr>
          <p:spPr>
            <a:xfrm>
              <a:off x="10980809" y="393228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0643B74-4147-4BAE-87F5-CE3292D80FA0}"/>
                </a:ext>
              </a:extLst>
            </p:cNvPr>
            <p:cNvSpPr/>
            <p:nvPr/>
          </p:nvSpPr>
          <p:spPr>
            <a:xfrm>
              <a:off x="10978280" y="3934255"/>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cubicBezTo>
                    <a:pt x="0" y="562"/>
                    <a:pt x="0" y="-703"/>
                    <a:pt x="0" y="562"/>
                  </a:cubicBezTo>
                  <a:lnTo>
                    <a:pt x="0" y="562"/>
                  </a:lnTo>
                  <a:close/>
                </a:path>
              </a:pathLst>
            </a:custGeom>
            <a:solidFill>
              <a:srgbClr val="000000"/>
            </a:solidFill>
            <a:ln w="126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AE0F5BC0-95AF-41EC-A47E-1653D6E66160}"/>
                </a:ext>
              </a:extLst>
            </p:cNvPr>
            <p:cNvSpPr/>
            <p:nvPr/>
          </p:nvSpPr>
          <p:spPr>
            <a:xfrm>
              <a:off x="9743970" y="5338475"/>
              <a:ext cx="12646" cy="948"/>
            </a:xfrm>
            <a:custGeom>
              <a:avLst/>
              <a:gdLst>
                <a:gd name="connsiteX0" fmla="*/ 0 w 12646"/>
                <a:gd name="connsiteY0" fmla="*/ 0 h 948"/>
                <a:gd name="connsiteX1" fmla="*/ 0 w 12646"/>
                <a:gd name="connsiteY1" fmla="*/ 0 h 948"/>
                <a:gd name="connsiteX2" fmla="*/ 0 w 12646"/>
                <a:gd name="connsiteY2" fmla="*/ 0 h 948"/>
              </a:gdLst>
              <a:ahLst/>
              <a:cxnLst>
                <a:cxn ang="0">
                  <a:pos x="connsiteX0" y="connsiteY0"/>
                </a:cxn>
                <a:cxn ang="0">
                  <a:pos x="connsiteX1" y="connsiteY1"/>
                </a:cxn>
                <a:cxn ang="0">
                  <a:pos x="connsiteX2" y="connsiteY2"/>
                </a:cxn>
              </a:cxnLst>
              <a:rect l="l" t="t" r="r" b="b"/>
              <a:pathLst>
                <a:path w="12646" h="948">
                  <a:moveTo>
                    <a:pt x="0" y="0"/>
                  </a:moveTo>
                  <a:cubicBezTo>
                    <a:pt x="0" y="1264"/>
                    <a:pt x="0" y="1264"/>
                    <a:pt x="0" y="0"/>
                  </a:cubicBezTo>
                  <a:cubicBezTo>
                    <a:pt x="0" y="1264"/>
                    <a:pt x="0" y="1264"/>
                    <a:pt x="0" y="0"/>
                  </a:cubicBezTo>
                  <a:close/>
                </a:path>
              </a:pathLst>
            </a:custGeom>
            <a:solidFill>
              <a:srgbClr val="000000"/>
            </a:solidFill>
            <a:ln w="126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DAEFD4A6-82AA-43B0-846D-95545C182534}"/>
                </a:ext>
              </a:extLst>
            </p:cNvPr>
            <p:cNvSpPr/>
            <p:nvPr/>
          </p:nvSpPr>
          <p:spPr>
            <a:xfrm>
              <a:off x="9743970" y="5337210"/>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2938AC6B-2CF2-4650-AD2A-B02E1E74685F}"/>
                </a:ext>
              </a:extLst>
            </p:cNvPr>
            <p:cNvSpPr/>
            <p:nvPr/>
          </p:nvSpPr>
          <p:spPr>
            <a:xfrm>
              <a:off x="9745235" y="5335945"/>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1959058E-A9E8-4CFD-849F-AFDA210B1ECD}"/>
                </a:ext>
              </a:extLst>
            </p:cNvPr>
            <p:cNvSpPr/>
            <p:nvPr/>
          </p:nvSpPr>
          <p:spPr>
            <a:xfrm>
              <a:off x="9743970" y="5343533"/>
              <a:ext cx="193493" cy="824490"/>
            </a:xfrm>
            <a:custGeom>
              <a:avLst/>
              <a:gdLst>
                <a:gd name="connsiteX0" fmla="*/ 185905 w 193493"/>
                <a:gd name="connsiteY0" fmla="*/ 818168 h 824490"/>
                <a:gd name="connsiteX1" fmla="*/ 192229 w 193493"/>
                <a:gd name="connsiteY1" fmla="*/ 816903 h 824490"/>
                <a:gd name="connsiteX2" fmla="*/ 192229 w 193493"/>
                <a:gd name="connsiteY2" fmla="*/ 816903 h 824490"/>
                <a:gd name="connsiteX3" fmla="*/ 193493 w 193493"/>
                <a:gd name="connsiteY3" fmla="*/ 818168 h 824490"/>
                <a:gd name="connsiteX4" fmla="*/ 11382 w 193493"/>
                <a:gd name="connsiteY4" fmla="*/ 7587 h 824490"/>
                <a:gd name="connsiteX5" fmla="*/ 1265 w 193493"/>
                <a:gd name="connsiteY5" fmla="*/ 1265 h 824490"/>
                <a:gd name="connsiteX6" fmla="*/ 1265 w 193493"/>
                <a:gd name="connsiteY6" fmla="*/ 1265 h 824490"/>
                <a:gd name="connsiteX7" fmla="*/ 0 w 193493"/>
                <a:gd name="connsiteY7" fmla="*/ 0 h 824490"/>
                <a:gd name="connsiteX8" fmla="*/ 0 w 193493"/>
                <a:gd name="connsiteY8" fmla="*/ 0 h 824490"/>
                <a:gd name="connsiteX9" fmla="*/ 0 w 193493"/>
                <a:gd name="connsiteY9" fmla="*/ 0 h 824490"/>
                <a:gd name="connsiteX10" fmla="*/ 0 w 193493"/>
                <a:gd name="connsiteY10" fmla="*/ 0 h 824490"/>
                <a:gd name="connsiteX11" fmla="*/ 0 w 193493"/>
                <a:gd name="connsiteY11" fmla="*/ 0 h 824490"/>
                <a:gd name="connsiteX12" fmla="*/ 0 w 193493"/>
                <a:gd name="connsiteY12" fmla="*/ 0 h 824490"/>
                <a:gd name="connsiteX13" fmla="*/ 185905 w 193493"/>
                <a:gd name="connsiteY13" fmla="*/ 823226 h 824490"/>
                <a:gd name="connsiteX14" fmla="*/ 185905 w 193493"/>
                <a:gd name="connsiteY14" fmla="*/ 824490 h 824490"/>
                <a:gd name="connsiteX15" fmla="*/ 185905 w 193493"/>
                <a:gd name="connsiteY15" fmla="*/ 818168 h 8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493" h="824490">
                  <a:moveTo>
                    <a:pt x="185905" y="818168"/>
                  </a:moveTo>
                  <a:cubicBezTo>
                    <a:pt x="187170" y="815639"/>
                    <a:pt x="189699" y="815639"/>
                    <a:pt x="192229" y="816903"/>
                  </a:cubicBezTo>
                  <a:cubicBezTo>
                    <a:pt x="192229" y="816903"/>
                    <a:pt x="192229" y="816903"/>
                    <a:pt x="192229" y="816903"/>
                  </a:cubicBezTo>
                  <a:lnTo>
                    <a:pt x="193493" y="818168"/>
                  </a:lnTo>
                  <a:lnTo>
                    <a:pt x="11382" y="7587"/>
                  </a:lnTo>
                  <a:lnTo>
                    <a:pt x="1265" y="1265"/>
                  </a:lnTo>
                  <a:lnTo>
                    <a:pt x="1265" y="1265"/>
                  </a:lnTo>
                  <a:lnTo>
                    <a:pt x="0" y="0"/>
                  </a:lnTo>
                  <a:lnTo>
                    <a:pt x="0" y="0"/>
                  </a:lnTo>
                  <a:lnTo>
                    <a:pt x="0" y="0"/>
                  </a:lnTo>
                  <a:cubicBezTo>
                    <a:pt x="0" y="0"/>
                    <a:pt x="0" y="0"/>
                    <a:pt x="0" y="0"/>
                  </a:cubicBezTo>
                  <a:cubicBezTo>
                    <a:pt x="0" y="0"/>
                    <a:pt x="0" y="0"/>
                    <a:pt x="0" y="0"/>
                  </a:cubicBezTo>
                  <a:lnTo>
                    <a:pt x="0" y="0"/>
                  </a:lnTo>
                  <a:lnTo>
                    <a:pt x="185905" y="823226"/>
                  </a:lnTo>
                  <a:cubicBezTo>
                    <a:pt x="185905" y="823226"/>
                    <a:pt x="185905" y="823226"/>
                    <a:pt x="185905" y="824490"/>
                  </a:cubicBezTo>
                  <a:cubicBezTo>
                    <a:pt x="184641" y="821961"/>
                    <a:pt x="184641" y="819432"/>
                    <a:pt x="185905" y="818168"/>
                  </a:cubicBezTo>
                  <a:close/>
                </a:path>
              </a:pathLst>
            </a:custGeom>
            <a:solidFill>
              <a:srgbClr val="000000"/>
            </a:solidFill>
            <a:ln w="126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C85F0943-E7DE-451C-A91A-9274AA7C0AFE}"/>
                </a:ext>
              </a:extLst>
            </p:cNvPr>
            <p:cNvSpPr/>
            <p:nvPr/>
          </p:nvSpPr>
          <p:spPr>
            <a:xfrm>
              <a:off x="9745235" y="5342268"/>
              <a:ext cx="442631" cy="288318"/>
            </a:xfrm>
            <a:custGeom>
              <a:avLst/>
              <a:gdLst>
                <a:gd name="connsiteX0" fmla="*/ 437573 w 442631"/>
                <a:gd name="connsiteY0" fmla="*/ 284525 h 288318"/>
                <a:gd name="connsiteX1" fmla="*/ 437573 w 442631"/>
                <a:gd name="connsiteY1" fmla="*/ 284525 h 288318"/>
                <a:gd name="connsiteX2" fmla="*/ 437573 w 442631"/>
                <a:gd name="connsiteY2" fmla="*/ 284525 h 288318"/>
                <a:gd name="connsiteX3" fmla="*/ 437573 w 442631"/>
                <a:gd name="connsiteY3" fmla="*/ 283260 h 288318"/>
                <a:gd name="connsiteX4" fmla="*/ 437573 w 442631"/>
                <a:gd name="connsiteY4" fmla="*/ 281996 h 288318"/>
                <a:gd name="connsiteX5" fmla="*/ 437573 w 442631"/>
                <a:gd name="connsiteY5" fmla="*/ 280732 h 288318"/>
                <a:gd name="connsiteX6" fmla="*/ 438838 w 442631"/>
                <a:gd name="connsiteY6" fmla="*/ 280732 h 288318"/>
                <a:gd name="connsiteX7" fmla="*/ 440102 w 442631"/>
                <a:gd name="connsiteY7" fmla="*/ 280732 h 288318"/>
                <a:gd name="connsiteX8" fmla="*/ 440102 w 442631"/>
                <a:gd name="connsiteY8" fmla="*/ 280732 h 288318"/>
                <a:gd name="connsiteX9" fmla="*/ 442632 w 442631"/>
                <a:gd name="connsiteY9" fmla="*/ 279467 h 288318"/>
                <a:gd name="connsiteX10" fmla="*/ 12647 w 442631"/>
                <a:gd name="connsiteY10" fmla="*/ 0 h 288318"/>
                <a:gd name="connsiteX11" fmla="*/ 5059 w 442631"/>
                <a:gd name="connsiteY11" fmla="*/ 3794 h 288318"/>
                <a:gd name="connsiteX12" fmla="*/ 0 w 442631"/>
                <a:gd name="connsiteY12" fmla="*/ 3794 h 288318"/>
                <a:gd name="connsiteX13" fmla="*/ 0 w 442631"/>
                <a:gd name="connsiteY13" fmla="*/ 3794 h 288318"/>
                <a:gd name="connsiteX14" fmla="*/ 10117 w 442631"/>
                <a:gd name="connsiteY14" fmla="*/ 10116 h 288318"/>
                <a:gd name="connsiteX15" fmla="*/ 437573 w 442631"/>
                <a:gd name="connsiteY15" fmla="*/ 288319 h 288318"/>
                <a:gd name="connsiteX16" fmla="*/ 437573 w 442631"/>
                <a:gd name="connsiteY16" fmla="*/ 284525 h 28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631" h="288318">
                  <a:moveTo>
                    <a:pt x="437573" y="284525"/>
                  </a:moveTo>
                  <a:lnTo>
                    <a:pt x="437573" y="284525"/>
                  </a:lnTo>
                  <a:cubicBezTo>
                    <a:pt x="437573" y="284525"/>
                    <a:pt x="437573" y="283260"/>
                    <a:pt x="437573" y="284525"/>
                  </a:cubicBezTo>
                  <a:lnTo>
                    <a:pt x="437573" y="283260"/>
                  </a:lnTo>
                  <a:lnTo>
                    <a:pt x="437573" y="281996"/>
                  </a:lnTo>
                  <a:lnTo>
                    <a:pt x="437573" y="280732"/>
                  </a:lnTo>
                  <a:lnTo>
                    <a:pt x="438838" y="280732"/>
                  </a:lnTo>
                  <a:cubicBezTo>
                    <a:pt x="438838" y="280732"/>
                    <a:pt x="438838" y="280732"/>
                    <a:pt x="440102" y="280732"/>
                  </a:cubicBezTo>
                  <a:cubicBezTo>
                    <a:pt x="441367" y="280732"/>
                    <a:pt x="440102" y="280732"/>
                    <a:pt x="440102" y="280732"/>
                  </a:cubicBezTo>
                  <a:lnTo>
                    <a:pt x="442632" y="279467"/>
                  </a:lnTo>
                  <a:lnTo>
                    <a:pt x="12647" y="0"/>
                  </a:lnTo>
                  <a:lnTo>
                    <a:pt x="5059" y="3794"/>
                  </a:lnTo>
                  <a:cubicBezTo>
                    <a:pt x="3794" y="5058"/>
                    <a:pt x="1265" y="5058"/>
                    <a:pt x="0" y="3794"/>
                  </a:cubicBezTo>
                  <a:lnTo>
                    <a:pt x="0" y="3794"/>
                  </a:lnTo>
                  <a:lnTo>
                    <a:pt x="10117" y="10116"/>
                  </a:lnTo>
                  <a:lnTo>
                    <a:pt x="437573" y="288319"/>
                  </a:lnTo>
                  <a:lnTo>
                    <a:pt x="437573" y="284525"/>
                  </a:lnTo>
                  <a:close/>
                </a:path>
              </a:pathLst>
            </a:custGeom>
            <a:solidFill>
              <a:srgbClr val="000000"/>
            </a:solidFill>
            <a:ln w="126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781CC6BE-D9AF-4606-B25C-593CA30C6592}"/>
                </a:ext>
              </a:extLst>
            </p:cNvPr>
            <p:cNvSpPr/>
            <p:nvPr/>
          </p:nvSpPr>
          <p:spPr>
            <a:xfrm>
              <a:off x="9742705" y="5339739"/>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lnTo>
                    <a:pt x="0" y="0"/>
                  </a:lnTo>
                  <a:cubicBezTo>
                    <a:pt x="1265" y="0"/>
                    <a:pt x="1265" y="0"/>
                    <a:pt x="0" y="0"/>
                  </a:cubicBezTo>
                  <a:cubicBezTo>
                    <a:pt x="1265" y="0"/>
                    <a:pt x="1265" y="0"/>
                    <a:pt x="0" y="0"/>
                  </a:cubicBezTo>
                  <a:close/>
                </a:path>
              </a:pathLst>
            </a:custGeom>
            <a:solidFill>
              <a:srgbClr val="000000"/>
            </a:solidFill>
            <a:ln w="126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6C70DEDB-3B0D-4986-8E3F-E9C1252CACF2}"/>
                </a:ext>
              </a:extLst>
            </p:cNvPr>
            <p:cNvSpPr/>
            <p:nvPr/>
          </p:nvSpPr>
          <p:spPr>
            <a:xfrm>
              <a:off x="9743970" y="533721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D185D106-0A13-49DF-8756-5818253783CA}"/>
                </a:ext>
              </a:extLst>
            </p:cNvPr>
            <p:cNvSpPr/>
            <p:nvPr/>
          </p:nvSpPr>
          <p:spPr>
            <a:xfrm>
              <a:off x="9743970" y="534100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C85EB70F-EDDF-4465-BC2F-F433299307DE}"/>
                </a:ext>
              </a:extLst>
            </p:cNvPr>
            <p:cNvSpPr/>
            <p:nvPr/>
          </p:nvSpPr>
          <p:spPr>
            <a:xfrm>
              <a:off x="9745235" y="5335945"/>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2B20A7D1-0404-4777-AB79-A711D279C620}"/>
                </a:ext>
              </a:extLst>
            </p:cNvPr>
            <p:cNvSpPr/>
            <p:nvPr/>
          </p:nvSpPr>
          <p:spPr>
            <a:xfrm>
              <a:off x="10181543" y="5628058"/>
              <a:ext cx="93584" cy="409716"/>
            </a:xfrm>
            <a:custGeom>
              <a:avLst/>
              <a:gdLst>
                <a:gd name="connsiteX0" fmla="*/ 87262 w 93584"/>
                <a:gd name="connsiteY0" fmla="*/ 407187 h 409716"/>
                <a:gd name="connsiteX1" fmla="*/ 87262 w 93584"/>
                <a:gd name="connsiteY1" fmla="*/ 407187 h 409716"/>
                <a:gd name="connsiteX2" fmla="*/ 87262 w 93584"/>
                <a:gd name="connsiteY2" fmla="*/ 405923 h 409716"/>
                <a:gd name="connsiteX3" fmla="*/ 88526 w 93584"/>
                <a:gd name="connsiteY3" fmla="*/ 404658 h 409716"/>
                <a:gd name="connsiteX4" fmla="*/ 88526 w 93584"/>
                <a:gd name="connsiteY4" fmla="*/ 404658 h 409716"/>
                <a:gd name="connsiteX5" fmla="*/ 88526 w 93584"/>
                <a:gd name="connsiteY5" fmla="*/ 404658 h 409716"/>
                <a:gd name="connsiteX6" fmla="*/ 93585 w 93584"/>
                <a:gd name="connsiteY6" fmla="*/ 402129 h 409716"/>
                <a:gd name="connsiteX7" fmla="*/ 8853 w 93584"/>
                <a:gd name="connsiteY7" fmla="*/ 1265 h 409716"/>
                <a:gd name="connsiteX8" fmla="*/ 6323 w 93584"/>
                <a:gd name="connsiteY8" fmla="*/ 2529 h 409716"/>
                <a:gd name="connsiteX9" fmla="*/ 0 w 93584"/>
                <a:gd name="connsiteY9" fmla="*/ 1265 h 409716"/>
                <a:gd name="connsiteX10" fmla="*/ 0 w 93584"/>
                <a:gd name="connsiteY10" fmla="*/ 0 h 409716"/>
                <a:gd name="connsiteX11" fmla="*/ 0 w 93584"/>
                <a:gd name="connsiteY11" fmla="*/ 0 h 409716"/>
                <a:gd name="connsiteX12" fmla="*/ 0 w 93584"/>
                <a:gd name="connsiteY12" fmla="*/ 1265 h 409716"/>
                <a:gd name="connsiteX13" fmla="*/ 85997 w 93584"/>
                <a:gd name="connsiteY13" fmla="*/ 409716 h 409716"/>
                <a:gd name="connsiteX14" fmla="*/ 85997 w 93584"/>
                <a:gd name="connsiteY14" fmla="*/ 409716 h 409716"/>
                <a:gd name="connsiteX15" fmla="*/ 85997 w 93584"/>
                <a:gd name="connsiteY15" fmla="*/ 408451 h 409716"/>
                <a:gd name="connsiteX16" fmla="*/ 87262 w 93584"/>
                <a:gd name="connsiteY16" fmla="*/ 407187 h 40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584" h="409716">
                  <a:moveTo>
                    <a:pt x="87262" y="407187"/>
                  </a:moveTo>
                  <a:lnTo>
                    <a:pt x="87262" y="407187"/>
                  </a:lnTo>
                  <a:lnTo>
                    <a:pt x="87262" y="405923"/>
                  </a:lnTo>
                  <a:lnTo>
                    <a:pt x="88526" y="404658"/>
                  </a:lnTo>
                  <a:lnTo>
                    <a:pt x="88526" y="404658"/>
                  </a:lnTo>
                  <a:lnTo>
                    <a:pt x="88526" y="404658"/>
                  </a:lnTo>
                  <a:lnTo>
                    <a:pt x="93585" y="402129"/>
                  </a:lnTo>
                  <a:lnTo>
                    <a:pt x="8853" y="1265"/>
                  </a:lnTo>
                  <a:lnTo>
                    <a:pt x="6323" y="2529"/>
                  </a:lnTo>
                  <a:cubicBezTo>
                    <a:pt x="3794" y="3794"/>
                    <a:pt x="1265" y="2529"/>
                    <a:pt x="0" y="1265"/>
                  </a:cubicBezTo>
                  <a:cubicBezTo>
                    <a:pt x="0" y="1265"/>
                    <a:pt x="0" y="0"/>
                    <a:pt x="0" y="0"/>
                  </a:cubicBezTo>
                  <a:lnTo>
                    <a:pt x="0" y="0"/>
                  </a:lnTo>
                  <a:lnTo>
                    <a:pt x="0" y="1265"/>
                  </a:lnTo>
                  <a:lnTo>
                    <a:pt x="85997" y="409716"/>
                  </a:lnTo>
                  <a:lnTo>
                    <a:pt x="85997" y="409716"/>
                  </a:lnTo>
                  <a:cubicBezTo>
                    <a:pt x="85997" y="409716"/>
                    <a:pt x="85997" y="409716"/>
                    <a:pt x="85997" y="408451"/>
                  </a:cubicBezTo>
                  <a:lnTo>
                    <a:pt x="87262" y="407187"/>
                  </a:lnTo>
                  <a:close/>
                </a:path>
              </a:pathLst>
            </a:custGeom>
            <a:solidFill>
              <a:srgbClr val="000000"/>
            </a:solidFill>
            <a:ln w="1262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CF916049-7D3D-40FD-9D6B-348C5F75B172}"/>
                </a:ext>
              </a:extLst>
            </p:cNvPr>
            <p:cNvSpPr/>
            <p:nvPr/>
          </p:nvSpPr>
          <p:spPr>
            <a:xfrm>
              <a:off x="10361125" y="647151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44B0776E-C654-45B2-BBD3-EDDF415E2F97}"/>
                </a:ext>
              </a:extLst>
            </p:cNvPr>
            <p:cNvSpPr/>
            <p:nvPr/>
          </p:nvSpPr>
          <p:spPr>
            <a:xfrm>
              <a:off x="10364919" y="6472781"/>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0A833F4B-39B7-43AC-AEBE-06A81FEC7AE7}"/>
                </a:ext>
              </a:extLst>
            </p:cNvPr>
            <p:cNvSpPr/>
            <p:nvPr/>
          </p:nvSpPr>
          <p:spPr>
            <a:xfrm>
              <a:off x="10268804" y="6037774"/>
              <a:ext cx="98643" cy="424890"/>
            </a:xfrm>
            <a:custGeom>
              <a:avLst/>
              <a:gdLst>
                <a:gd name="connsiteX0" fmla="*/ 6323 w 98643"/>
                <a:gd name="connsiteY0" fmla="*/ 2529 h 424890"/>
                <a:gd name="connsiteX1" fmla="*/ 0 w 98643"/>
                <a:gd name="connsiteY1" fmla="*/ 1265 h 424890"/>
                <a:gd name="connsiteX2" fmla="*/ 0 w 98643"/>
                <a:gd name="connsiteY2" fmla="*/ 0 h 424890"/>
                <a:gd name="connsiteX3" fmla="*/ 0 w 98643"/>
                <a:gd name="connsiteY3" fmla="*/ 0 h 424890"/>
                <a:gd name="connsiteX4" fmla="*/ 88526 w 98643"/>
                <a:gd name="connsiteY4" fmla="*/ 419833 h 424890"/>
                <a:gd name="connsiteX5" fmla="*/ 96114 w 98643"/>
                <a:gd name="connsiteY5" fmla="*/ 424891 h 424890"/>
                <a:gd name="connsiteX6" fmla="*/ 98644 w 98643"/>
                <a:gd name="connsiteY6" fmla="*/ 423626 h 424890"/>
                <a:gd name="connsiteX7" fmla="*/ 10117 w 98643"/>
                <a:gd name="connsiteY7" fmla="*/ 1265 h 424890"/>
                <a:gd name="connsiteX8" fmla="*/ 6323 w 98643"/>
                <a:gd name="connsiteY8" fmla="*/ 2529 h 42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43" h="424890">
                  <a:moveTo>
                    <a:pt x="6323" y="2529"/>
                  </a:moveTo>
                  <a:cubicBezTo>
                    <a:pt x="3794" y="3794"/>
                    <a:pt x="1265" y="2529"/>
                    <a:pt x="0" y="1265"/>
                  </a:cubicBezTo>
                  <a:cubicBezTo>
                    <a:pt x="0" y="1265"/>
                    <a:pt x="0" y="0"/>
                    <a:pt x="0" y="0"/>
                  </a:cubicBezTo>
                  <a:lnTo>
                    <a:pt x="0" y="0"/>
                  </a:lnTo>
                  <a:lnTo>
                    <a:pt x="88526" y="419833"/>
                  </a:lnTo>
                  <a:lnTo>
                    <a:pt x="96114" y="424891"/>
                  </a:lnTo>
                  <a:lnTo>
                    <a:pt x="98644" y="423626"/>
                  </a:lnTo>
                  <a:lnTo>
                    <a:pt x="10117" y="1265"/>
                  </a:lnTo>
                  <a:lnTo>
                    <a:pt x="6323" y="2529"/>
                  </a:lnTo>
                  <a:close/>
                </a:path>
              </a:pathLst>
            </a:custGeom>
            <a:solidFill>
              <a:srgbClr val="000000"/>
            </a:solidFill>
            <a:ln w="1262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778D4242-0672-4B3F-8DE4-2B9F2DE45922}"/>
                </a:ext>
              </a:extLst>
            </p:cNvPr>
            <p:cNvSpPr/>
            <p:nvPr/>
          </p:nvSpPr>
          <p:spPr>
            <a:xfrm>
              <a:off x="11562553" y="4873118"/>
              <a:ext cx="42998" cy="30349"/>
            </a:xfrm>
            <a:custGeom>
              <a:avLst/>
              <a:gdLst>
                <a:gd name="connsiteX0" fmla="*/ 42998 w 42998"/>
                <a:gd name="connsiteY0" fmla="*/ 10117 h 30349"/>
                <a:gd name="connsiteX1" fmla="*/ 41734 w 42998"/>
                <a:gd name="connsiteY1" fmla="*/ 3794 h 30349"/>
                <a:gd name="connsiteX2" fmla="*/ 41734 w 42998"/>
                <a:gd name="connsiteY2" fmla="*/ 0 h 30349"/>
                <a:gd name="connsiteX3" fmla="*/ 0 w 42998"/>
                <a:gd name="connsiteY3" fmla="*/ 21498 h 30349"/>
                <a:gd name="connsiteX4" fmla="*/ 1265 w 42998"/>
                <a:gd name="connsiteY4" fmla="*/ 27820 h 30349"/>
                <a:gd name="connsiteX5" fmla="*/ 1265 w 42998"/>
                <a:gd name="connsiteY5" fmla="*/ 27820 h 30349"/>
                <a:gd name="connsiteX6" fmla="*/ 1265 w 42998"/>
                <a:gd name="connsiteY6" fmla="*/ 29085 h 30349"/>
                <a:gd name="connsiteX7" fmla="*/ 1265 w 42998"/>
                <a:gd name="connsiteY7" fmla="*/ 29085 h 30349"/>
                <a:gd name="connsiteX8" fmla="*/ 2529 w 42998"/>
                <a:gd name="connsiteY8" fmla="*/ 30349 h 30349"/>
                <a:gd name="connsiteX9" fmla="*/ 42998 w 42998"/>
                <a:gd name="connsiteY9" fmla="*/ 10117 h 3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98" h="30349">
                  <a:moveTo>
                    <a:pt x="42998" y="10117"/>
                  </a:moveTo>
                  <a:lnTo>
                    <a:pt x="41734" y="3794"/>
                  </a:lnTo>
                  <a:lnTo>
                    <a:pt x="41734" y="0"/>
                  </a:lnTo>
                  <a:lnTo>
                    <a:pt x="0" y="21498"/>
                  </a:lnTo>
                  <a:lnTo>
                    <a:pt x="1265" y="27820"/>
                  </a:lnTo>
                  <a:lnTo>
                    <a:pt x="1265" y="27820"/>
                  </a:lnTo>
                  <a:cubicBezTo>
                    <a:pt x="1265" y="27820"/>
                    <a:pt x="1265" y="27820"/>
                    <a:pt x="1265" y="29085"/>
                  </a:cubicBezTo>
                  <a:lnTo>
                    <a:pt x="1265" y="29085"/>
                  </a:lnTo>
                  <a:lnTo>
                    <a:pt x="2529" y="30349"/>
                  </a:lnTo>
                  <a:lnTo>
                    <a:pt x="42998" y="10117"/>
                  </a:lnTo>
                  <a:close/>
                </a:path>
              </a:pathLst>
            </a:custGeom>
            <a:solidFill>
              <a:srgbClr val="000000"/>
            </a:solidFill>
            <a:ln w="1262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5013DE24-5708-4E87-A72D-8933EBF9D6F9}"/>
                </a:ext>
              </a:extLst>
            </p:cNvPr>
            <p:cNvSpPr/>
            <p:nvPr/>
          </p:nvSpPr>
          <p:spPr>
            <a:xfrm>
              <a:off x="11107275" y="4659408"/>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E16A862A-2489-4EDA-871D-0F57F85F0010}"/>
                </a:ext>
              </a:extLst>
            </p:cNvPr>
            <p:cNvSpPr/>
            <p:nvPr/>
          </p:nvSpPr>
          <p:spPr>
            <a:xfrm>
              <a:off x="10978280" y="3931024"/>
              <a:ext cx="128995" cy="724590"/>
            </a:xfrm>
            <a:custGeom>
              <a:avLst/>
              <a:gdLst>
                <a:gd name="connsiteX0" fmla="*/ 1265 w 128995"/>
                <a:gd name="connsiteY0" fmla="*/ 1265 h 724590"/>
                <a:gd name="connsiteX1" fmla="*/ 1265 w 128995"/>
                <a:gd name="connsiteY1" fmla="*/ 1265 h 724590"/>
                <a:gd name="connsiteX2" fmla="*/ 1265 w 128995"/>
                <a:gd name="connsiteY2" fmla="*/ 1265 h 724590"/>
                <a:gd name="connsiteX3" fmla="*/ 0 w 128995"/>
                <a:gd name="connsiteY3" fmla="*/ 2529 h 724590"/>
                <a:gd name="connsiteX4" fmla="*/ 0 w 128995"/>
                <a:gd name="connsiteY4" fmla="*/ 3794 h 724590"/>
                <a:gd name="connsiteX5" fmla="*/ 0 w 128995"/>
                <a:gd name="connsiteY5" fmla="*/ 5058 h 724590"/>
                <a:gd name="connsiteX6" fmla="*/ 0 w 128995"/>
                <a:gd name="connsiteY6" fmla="*/ 5058 h 724590"/>
                <a:gd name="connsiteX7" fmla="*/ 1265 w 128995"/>
                <a:gd name="connsiteY7" fmla="*/ 11381 h 724590"/>
                <a:gd name="connsiteX8" fmla="*/ 120143 w 128995"/>
                <a:gd name="connsiteY8" fmla="*/ 722062 h 724590"/>
                <a:gd name="connsiteX9" fmla="*/ 122672 w 128995"/>
                <a:gd name="connsiteY9" fmla="*/ 720797 h 724590"/>
                <a:gd name="connsiteX10" fmla="*/ 128995 w 128995"/>
                <a:gd name="connsiteY10" fmla="*/ 723326 h 724590"/>
                <a:gd name="connsiteX11" fmla="*/ 128995 w 128995"/>
                <a:gd name="connsiteY11" fmla="*/ 723326 h 724590"/>
                <a:gd name="connsiteX12" fmla="*/ 128995 w 128995"/>
                <a:gd name="connsiteY12" fmla="*/ 724591 h 724590"/>
                <a:gd name="connsiteX13" fmla="*/ 128995 w 128995"/>
                <a:gd name="connsiteY13" fmla="*/ 724591 h 724590"/>
                <a:gd name="connsiteX14" fmla="*/ 10117 w 128995"/>
                <a:gd name="connsiteY14" fmla="*/ 12646 h 724590"/>
                <a:gd name="connsiteX15" fmla="*/ 8853 w 128995"/>
                <a:gd name="connsiteY15" fmla="*/ 3794 h 724590"/>
                <a:gd name="connsiteX16" fmla="*/ 6323 w 128995"/>
                <a:gd name="connsiteY16" fmla="*/ 0 h 724590"/>
                <a:gd name="connsiteX17" fmla="*/ 3794 w 128995"/>
                <a:gd name="connsiteY17" fmla="*/ 0 h 724590"/>
                <a:gd name="connsiteX18" fmla="*/ 2529 w 128995"/>
                <a:gd name="connsiteY18" fmla="*/ 0 h 724590"/>
                <a:gd name="connsiteX19" fmla="*/ 1265 w 128995"/>
                <a:gd name="connsiteY19" fmla="*/ 1265 h 72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995" h="724590">
                  <a:moveTo>
                    <a:pt x="1265" y="1265"/>
                  </a:moveTo>
                  <a:lnTo>
                    <a:pt x="1265" y="1265"/>
                  </a:lnTo>
                  <a:lnTo>
                    <a:pt x="1265" y="1265"/>
                  </a:lnTo>
                  <a:cubicBezTo>
                    <a:pt x="0" y="2529"/>
                    <a:pt x="0" y="2529"/>
                    <a:pt x="0" y="2529"/>
                  </a:cubicBezTo>
                  <a:cubicBezTo>
                    <a:pt x="0" y="2529"/>
                    <a:pt x="0" y="2529"/>
                    <a:pt x="0" y="3794"/>
                  </a:cubicBezTo>
                  <a:cubicBezTo>
                    <a:pt x="0" y="3794"/>
                    <a:pt x="0" y="5058"/>
                    <a:pt x="0" y="5058"/>
                  </a:cubicBezTo>
                  <a:lnTo>
                    <a:pt x="0" y="5058"/>
                  </a:lnTo>
                  <a:lnTo>
                    <a:pt x="1265" y="11381"/>
                  </a:lnTo>
                  <a:lnTo>
                    <a:pt x="120143" y="722062"/>
                  </a:lnTo>
                  <a:lnTo>
                    <a:pt x="122672" y="720797"/>
                  </a:lnTo>
                  <a:cubicBezTo>
                    <a:pt x="125201" y="719532"/>
                    <a:pt x="127731" y="720797"/>
                    <a:pt x="128995" y="723326"/>
                  </a:cubicBezTo>
                  <a:cubicBezTo>
                    <a:pt x="128995" y="723326"/>
                    <a:pt x="128995" y="723326"/>
                    <a:pt x="128995" y="723326"/>
                  </a:cubicBezTo>
                  <a:cubicBezTo>
                    <a:pt x="128995" y="723326"/>
                    <a:pt x="128995" y="724591"/>
                    <a:pt x="128995" y="724591"/>
                  </a:cubicBezTo>
                  <a:lnTo>
                    <a:pt x="128995" y="724591"/>
                  </a:lnTo>
                  <a:lnTo>
                    <a:pt x="10117" y="12646"/>
                  </a:lnTo>
                  <a:lnTo>
                    <a:pt x="8853" y="3794"/>
                  </a:lnTo>
                  <a:cubicBezTo>
                    <a:pt x="8853" y="2529"/>
                    <a:pt x="7588" y="1265"/>
                    <a:pt x="6323" y="0"/>
                  </a:cubicBezTo>
                  <a:lnTo>
                    <a:pt x="3794" y="0"/>
                  </a:lnTo>
                  <a:lnTo>
                    <a:pt x="2529" y="0"/>
                  </a:lnTo>
                  <a:lnTo>
                    <a:pt x="1265" y="1265"/>
                  </a:lnTo>
                  <a:close/>
                </a:path>
              </a:pathLst>
            </a:custGeom>
            <a:solidFill>
              <a:srgbClr val="000000"/>
            </a:solidFill>
            <a:ln w="12625"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19F6166C-C375-4C8B-8E19-25139C3AEA96}"/>
                </a:ext>
              </a:extLst>
            </p:cNvPr>
            <p:cNvSpPr/>
            <p:nvPr/>
          </p:nvSpPr>
          <p:spPr>
            <a:xfrm>
              <a:off x="11252711" y="5500338"/>
              <a:ext cx="8852" cy="10116"/>
            </a:xfrm>
            <a:custGeom>
              <a:avLst/>
              <a:gdLst>
                <a:gd name="connsiteX0" fmla="*/ 5059 w 8852"/>
                <a:gd name="connsiteY0" fmla="*/ 1265 h 10116"/>
                <a:gd name="connsiteX1" fmla="*/ 0 w 8852"/>
                <a:gd name="connsiteY1" fmla="*/ 5058 h 10116"/>
                <a:gd name="connsiteX2" fmla="*/ 0 w 8852"/>
                <a:gd name="connsiteY2" fmla="*/ 10116 h 10116"/>
                <a:gd name="connsiteX3" fmla="*/ 3794 w 8852"/>
                <a:gd name="connsiteY3" fmla="*/ 7587 h 10116"/>
                <a:gd name="connsiteX4" fmla="*/ 8853 w 8852"/>
                <a:gd name="connsiteY4" fmla="*/ 5058 h 10116"/>
                <a:gd name="connsiteX5" fmla="*/ 7588 w 8852"/>
                <a:gd name="connsiteY5" fmla="*/ 0 h 1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2" h="10116">
                  <a:moveTo>
                    <a:pt x="5059" y="1265"/>
                  </a:moveTo>
                  <a:lnTo>
                    <a:pt x="0" y="5058"/>
                  </a:lnTo>
                  <a:lnTo>
                    <a:pt x="0" y="10116"/>
                  </a:lnTo>
                  <a:lnTo>
                    <a:pt x="3794" y="7587"/>
                  </a:lnTo>
                  <a:lnTo>
                    <a:pt x="8853" y="5058"/>
                  </a:lnTo>
                  <a:lnTo>
                    <a:pt x="7588" y="0"/>
                  </a:lnTo>
                  <a:close/>
                </a:path>
              </a:pathLst>
            </a:custGeom>
            <a:solidFill>
              <a:srgbClr val="000000"/>
            </a:solidFill>
            <a:ln w="126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C1C2460-965E-423A-A8E4-5BE02E57F220}"/>
                </a:ext>
              </a:extLst>
            </p:cNvPr>
            <p:cNvSpPr/>
            <p:nvPr/>
          </p:nvSpPr>
          <p:spPr>
            <a:xfrm>
              <a:off x="10735465" y="4652611"/>
              <a:ext cx="373075" cy="193951"/>
            </a:xfrm>
            <a:custGeom>
              <a:avLst/>
              <a:gdLst>
                <a:gd name="connsiteX0" fmla="*/ 365487 w 373075"/>
                <a:gd name="connsiteY0" fmla="*/ 474 h 193951"/>
                <a:gd name="connsiteX1" fmla="*/ 362958 w 373075"/>
                <a:gd name="connsiteY1" fmla="*/ 1739 h 193951"/>
                <a:gd name="connsiteX2" fmla="*/ 5059 w 373075"/>
                <a:gd name="connsiteY2" fmla="*/ 182570 h 193951"/>
                <a:gd name="connsiteX3" fmla="*/ 0 w 373075"/>
                <a:gd name="connsiteY3" fmla="*/ 185100 h 193951"/>
                <a:gd name="connsiteX4" fmla="*/ 6323 w 373075"/>
                <a:gd name="connsiteY4" fmla="*/ 187628 h 193951"/>
                <a:gd name="connsiteX5" fmla="*/ 3794 w 373075"/>
                <a:gd name="connsiteY5" fmla="*/ 193951 h 193951"/>
                <a:gd name="connsiteX6" fmla="*/ 370546 w 373075"/>
                <a:gd name="connsiteY6" fmla="*/ 9326 h 193951"/>
                <a:gd name="connsiteX7" fmla="*/ 370546 w 373075"/>
                <a:gd name="connsiteY7" fmla="*/ 9326 h 193951"/>
                <a:gd name="connsiteX8" fmla="*/ 371811 w 373075"/>
                <a:gd name="connsiteY8" fmla="*/ 9326 h 193951"/>
                <a:gd name="connsiteX9" fmla="*/ 373075 w 373075"/>
                <a:gd name="connsiteY9" fmla="*/ 9326 h 193951"/>
                <a:gd name="connsiteX10" fmla="*/ 373075 w 373075"/>
                <a:gd name="connsiteY10" fmla="*/ 9326 h 193951"/>
                <a:gd name="connsiteX11" fmla="*/ 373075 w 373075"/>
                <a:gd name="connsiteY11" fmla="*/ 8062 h 193951"/>
                <a:gd name="connsiteX12" fmla="*/ 373075 w 373075"/>
                <a:gd name="connsiteY12" fmla="*/ 6797 h 193951"/>
                <a:gd name="connsiteX13" fmla="*/ 373075 w 373075"/>
                <a:gd name="connsiteY13" fmla="*/ 5532 h 193951"/>
                <a:gd name="connsiteX14" fmla="*/ 373075 w 373075"/>
                <a:gd name="connsiteY14" fmla="*/ 4268 h 193951"/>
                <a:gd name="connsiteX15" fmla="*/ 365487 w 373075"/>
                <a:gd name="connsiteY15" fmla="*/ 474 h 193951"/>
                <a:gd name="connsiteX16" fmla="*/ 365487 w 373075"/>
                <a:gd name="connsiteY16" fmla="*/ 474 h 19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3075" h="193951">
                  <a:moveTo>
                    <a:pt x="365487" y="474"/>
                  </a:moveTo>
                  <a:lnTo>
                    <a:pt x="362958" y="1739"/>
                  </a:lnTo>
                  <a:lnTo>
                    <a:pt x="5059" y="182570"/>
                  </a:lnTo>
                  <a:lnTo>
                    <a:pt x="0" y="185100"/>
                  </a:lnTo>
                  <a:cubicBezTo>
                    <a:pt x="2529" y="183835"/>
                    <a:pt x="5059" y="185100"/>
                    <a:pt x="6323" y="187628"/>
                  </a:cubicBezTo>
                  <a:cubicBezTo>
                    <a:pt x="7588" y="190158"/>
                    <a:pt x="6323" y="192687"/>
                    <a:pt x="3794" y="193951"/>
                  </a:cubicBezTo>
                  <a:lnTo>
                    <a:pt x="370546" y="9326"/>
                  </a:lnTo>
                  <a:lnTo>
                    <a:pt x="370546" y="9326"/>
                  </a:lnTo>
                  <a:cubicBezTo>
                    <a:pt x="370546" y="9326"/>
                    <a:pt x="370546" y="9326"/>
                    <a:pt x="371811" y="9326"/>
                  </a:cubicBezTo>
                  <a:cubicBezTo>
                    <a:pt x="371811" y="9326"/>
                    <a:pt x="371811" y="9326"/>
                    <a:pt x="373075" y="9326"/>
                  </a:cubicBezTo>
                  <a:lnTo>
                    <a:pt x="373075" y="9326"/>
                  </a:lnTo>
                  <a:cubicBezTo>
                    <a:pt x="373075" y="9326"/>
                    <a:pt x="373075" y="9326"/>
                    <a:pt x="373075" y="8062"/>
                  </a:cubicBezTo>
                  <a:cubicBezTo>
                    <a:pt x="373075" y="8062"/>
                    <a:pt x="373075" y="8062"/>
                    <a:pt x="373075" y="6797"/>
                  </a:cubicBezTo>
                  <a:cubicBezTo>
                    <a:pt x="373075" y="6797"/>
                    <a:pt x="373075" y="5532"/>
                    <a:pt x="373075" y="5532"/>
                  </a:cubicBezTo>
                  <a:cubicBezTo>
                    <a:pt x="373075" y="5532"/>
                    <a:pt x="373075" y="4268"/>
                    <a:pt x="373075" y="4268"/>
                  </a:cubicBezTo>
                  <a:cubicBezTo>
                    <a:pt x="370546" y="474"/>
                    <a:pt x="368017" y="-790"/>
                    <a:pt x="365487" y="474"/>
                  </a:cubicBezTo>
                  <a:cubicBezTo>
                    <a:pt x="365487" y="474"/>
                    <a:pt x="365487" y="474"/>
                    <a:pt x="365487" y="474"/>
                  </a:cubicBezTo>
                  <a:close/>
                </a:path>
              </a:pathLst>
            </a:custGeom>
            <a:solidFill>
              <a:srgbClr val="000000"/>
            </a:solidFill>
            <a:ln w="1262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39ECA219-A58D-4895-A4D0-C4F9417C2C68}"/>
                </a:ext>
              </a:extLst>
            </p:cNvPr>
            <p:cNvSpPr/>
            <p:nvPr/>
          </p:nvSpPr>
          <p:spPr>
            <a:xfrm>
              <a:off x="10424358" y="4899674"/>
              <a:ext cx="1130607" cy="601928"/>
            </a:xfrm>
            <a:custGeom>
              <a:avLst/>
              <a:gdLst>
                <a:gd name="connsiteX0" fmla="*/ 768914 w 1130607"/>
                <a:gd name="connsiteY0" fmla="*/ 201064 h 601928"/>
                <a:gd name="connsiteX1" fmla="*/ 1130608 w 1130607"/>
                <a:gd name="connsiteY1" fmla="*/ 10116 h 601928"/>
                <a:gd name="connsiteX2" fmla="*/ 1129343 w 1130607"/>
                <a:gd name="connsiteY2" fmla="*/ 3794 h 601928"/>
                <a:gd name="connsiteX3" fmla="*/ 1129343 w 1130607"/>
                <a:gd name="connsiteY3" fmla="*/ 0 h 601928"/>
                <a:gd name="connsiteX4" fmla="*/ 0 w 1130607"/>
                <a:gd name="connsiteY4" fmla="*/ 594341 h 601928"/>
                <a:gd name="connsiteX5" fmla="*/ 2529 w 1130607"/>
                <a:gd name="connsiteY5" fmla="*/ 595606 h 601928"/>
                <a:gd name="connsiteX6" fmla="*/ 2529 w 1130607"/>
                <a:gd name="connsiteY6" fmla="*/ 595606 h 601928"/>
                <a:gd name="connsiteX7" fmla="*/ 2529 w 1130607"/>
                <a:gd name="connsiteY7" fmla="*/ 595606 h 601928"/>
                <a:gd name="connsiteX8" fmla="*/ 3794 w 1130607"/>
                <a:gd name="connsiteY8" fmla="*/ 596871 h 601928"/>
                <a:gd name="connsiteX9" fmla="*/ 3794 w 1130607"/>
                <a:gd name="connsiteY9" fmla="*/ 596871 h 601928"/>
                <a:gd name="connsiteX10" fmla="*/ 3794 w 1130607"/>
                <a:gd name="connsiteY10" fmla="*/ 596871 h 601928"/>
                <a:gd name="connsiteX11" fmla="*/ 3794 w 1130607"/>
                <a:gd name="connsiteY11" fmla="*/ 598135 h 601928"/>
                <a:gd name="connsiteX12" fmla="*/ 3794 w 1130607"/>
                <a:gd name="connsiteY12" fmla="*/ 599400 h 601928"/>
                <a:gd name="connsiteX13" fmla="*/ 3794 w 1130607"/>
                <a:gd name="connsiteY13" fmla="*/ 600664 h 601928"/>
                <a:gd name="connsiteX14" fmla="*/ 3794 w 1130607"/>
                <a:gd name="connsiteY14" fmla="*/ 601929 h 601928"/>
                <a:gd name="connsiteX15" fmla="*/ 3794 w 1130607"/>
                <a:gd name="connsiteY15" fmla="*/ 601929 h 601928"/>
                <a:gd name="connsiteX16" fmla="*/ 3794 w 1130607"/>
                <a:gd name="connsiteY16" fmla="*/ 601929 h 601928"/>
                <a:gd name="connsiteX17" fmla="*/ 3794 w 1130607"/>
                <a:gd name="connsiteY17" fmla="*/ 601929 h 601928"/>
                <a:gd name="connsiteX18" fmla="*/ 2529 w 1130607"/>
                <a:gd name="connsiteY18" fmla="*/ 601929 h 601928"/>
                <a:gd name="connsiteX19" fmla="*/ 2529 w 1130607"/>
                <a:gd name="connsiteY19" fmla="*/ 601929 h 601928"/>
                <a:gd name="connsiteX20" fmla="*/ 760062 w 1130607"/>
                <a:gd name="connsiteY20" fmla="*/ 202329 h 601928"/>
                <a:gd name="connsiteX21" fmla="*/ 768914 w 1130607"/>
                <a:gd name="connsiteY21" fmla="*/ 201064 h 60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607" h="601928">
                  <a:moveTo>
                    <a:pt x="768914" y="201064"/>
                  </a:moveTo>
                  <a:lnTo>
                    <a:pt x="1130608" y="10116"/>
                  </a:lnTo>
                  <a:cubicBezTo>
                    <a:pt x="1130608" y="7587"/>
                    <a:pt x="1130608" y="6323"/>
                    <a:pt x="1129343" y="3794"/>
                  </a:cubicBezTo>
                  <a:lnTo>
                    <a:pt x="1129343" y="0"/>
                  </a:lnTo>
                  <a:lnTo>
                    <a:pt x="0" y="594341"/>
                  </a:lnTo>
                  <a:lnTo>
                    <a:pt x="2529" y="595606"/>
                  </a:lnTo>
                  <a:lnTo>
                    <a:pt x="2529" y="595606"/>
                  </a:lnTo>
                  <a:lnTo>
                    <a:pt x="2529" y="595606"/>
                  </a:lnTo>
                  <a:lnTo>
                    <a:pt x="3794" y="596871"/>
                  </a:lnTo>
                  <a:lnTo>
                    <a:pt x="3794" y="596871"/>
                  </a:lnTo>
                  <a:lnTo>
                    <a:pt x="3794" y="596871"/>
                  </a:lnTo>
                  <a:cubicBezTo>
                    <a:pt x="3794" y="596871"/>
                    <a:pt x="3794" y="596871"/>
                    <a:pt x="3794" y="598135"/>
                  </a:cubicBezTo>
                  <a:cubicBezTo>
                    <a:pt x="3794" y="598135"/>
                    <a:pt x="3794" y="598135"/>
                    <a:pt x="3794" y="599400"/>
                  </a:cubicBezTo>
                  <a:cubicBezTo>
                    <a:pt x="3794" y="599400"/>
                    <a:pt x="3794" y="599400"/>
                    <a:pt x="3794" y="600664"/>
                  </a:cubicBezTo>
                  <a:lnTo>
                    <a:pt x="3794" y="601929"/>
                  </a:lnTo>
                  <a:lnTo>
                    <a:pt x="3794" y="601929"/>
                  </a:lnTo>
                  <a:lnTo>
                    <a:pt x="3794" y="601929"/>
                  </a:lnTo>
                  <a:cubicBezTo>
                    <a:pt x="3794" y="601929"/>
                    <a:pt x="3794" y="601929"/>
                    <a:pt x="3794" y="601929"/>
                  </a:cubicBezTo>
                  <a:cubicBezTo>
                    <a:pt x="3794" y="601929"/>
                    <a:pt x="3794" y="601929"/>
                    <a:pt x="2529" y="601929"/>
                  </a:cubicBezTo>
                  <a:lnTo>
                    <a:pt x="2529" y="601929"/>
                  </a:lnTo>
                  <a:lnTo>
                    <a:pt x="760062" y="202329"/>
                  </a:lnTo>
                  <a:lnTo>
                    <a:pt x="768914" y="201064"/>
                  </a:lnTo>
                  <a:close/>
                </a:path>
              </a:pathLst>
            </a:custGeom>
            <a:solidFill>
              <a:srgbClr val="000000"/>
            </a:solidFill>
            <a:ln w="1262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3E84A8EA-4ABB-43FA-9D2E-69034A465429}"/>
                </a:ext>
              </a:extLst>
            </p:cNvPr>
            <p:cNvSpPr/>
            <p:nvPr/>
          </p:nvSpPr>
          <p:spPr>
            <a:xfrm>
              <a:off x="11252711" y="5477576"/>
              <a:ext cx="29087" cy="24026"/>
            </a:xfrm>
            <a:custGeom>
              <a:avLst/>
              <a:gdLst>
                <a:gd name="connsiteX0" fmla="*/ 6323 w 29087"/>
                <a:gd name="connsiteY0" fmla="*/ 12646 h 24026"/>
                <a:gd name="connsiteX1" fmla="*/ 0 w 29087"/>
                <a:gd name="connsiteY1" fmla="*/ 16439 h 24026"/>
                <a:gd name="connsiteX2" fmla="*/ 6323 w 29087"/>
                <a:gd name="connsiteY2" fmla="*/ 17704 h 24026"/>
                <a:gd name="connsiteX3" fmla="*/ 5059 w 29087"/>
                <a:gd name="connsiteY3" fmla="*/ 24026 h 24026"/>
                <a:gd name="connsiteX4" fmla="*/ 3794 w 29087"/>
                <a:gd name="connsiteY4" fmla="*/ 24026 h 24026"/>
                <a:gd name="connsiteX5" fmla="*/ 6323 w 29087"/>
                <a:gd name="connsiteY5" fmla="*/ 22762 h 24026"/>
                <a:gd name="connsiteX6" fmla="*/ 29087 w 29087"/>
                <a:gd name="connsiteY6" fmla="*/ 10116 h 24026"/>
                <a:gd name="connsiteX7" fmla="*/ 27823 w 29087"/>
                <a:gd name="connsiteY7" fmla="*/ 3794 h 24026"/>
                <a:gd name="connsiteX8" fmla="*/ 27823 w 29087"/>
                <a:gd name="connsiteY8" fmla="*/ 0 h 24026"/>
                <a:gd name="connsiteX9" fmla="*/ 6323 w 29087"/>
                <a:gd name="connsiteY9" fmla="*/ 12646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87" h="24026">
                  <a:moveTo>
                    <a:pt x="6323" y="12646"/>
                  </a:moveTo>
                  <a:lnTo>
                    <a:pt x="0" y="16439"/>
                  </a:lnTo>
                  <a:cubicBezTo>
                    <a:pt x="2529" y="15174"/>
                    <a:pt x="5059" y="15174"/>
                    <a:pt x="6323" y="17704"/>
                  </a:cubicBezTo>
                  <a:cubicBezTo>
                    <a:pt x="7588" y="20233"/>
                    <a:pt x="7588" y="22762"/>
                    <a:pt x="5059" y="24026"/>
                  </a:cubicBezTo>
                  <a:cubicBezTo>
                    <a:pt x="5059" y="24026"/>
                    <a:pt x="3794" y="24026"/>
                    <a:pt x="3794" y="24026"/>
                  </a:cubicBezTo>
                  <a:lnTo>
                    <a:pt x="6323" y="22762"/>
                  </a:lnTo>
                  <a:lnTo>
                    <a:pt x="29087" y="10116"/>
                  </a:lnTo>
                  <a:lnTo>
                    <a:pt x="27823" y="3794"/>
                  </a:lnTo>
                  <a:lnTo>
                    <a:pt x="27823" y="0"/>
                  </a:lnTo>
                  <a:lnTo>
                    <a:pt x="6323" y="12646"/>
                  </a:lnTo>
                  <a:close/>
                </a:path>
              </a:pathLst>
            </a:custGeom>
            <a:solidFill>
              <a:srgbClr val="000000"/>
            </a:solidFill>
            <a:ln w="1262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94442DB2-247B-4F6C-AE2E-E989FC7FE81A}"/>
                </a:ext>
              </a:extLst>
            </p:cNvPr>
            <p:cNvSpPr/>
            <p:nvPr/>
          </p:nvSpPr>
          <p:spPr>
            <a:xfrm>
              <a:off x="10720289" y="4832156"/>
              <a:ext cx="21995" cy="18199"/>
            </a:xfrm>
            <a:custGeom>
              <a:avLst/>
              <a:gdLst>
                <a:gd name="connsiteX0" fmla="*/ 3794 w 21995"/>
                <a:gd name="connsiteY0" fmla="*/ 10612 h 18199"/>
                <a:gd name="connsiteX1" fmla="*/ 0 w 21995"/>
                <a:gd name="connsiteY1" fmla="*/ 11877 h 18199"/>
                <a:gd name="connsiteX2" fmla="*/ 2529 w 21995"/>
                <a:gd name="connsiteY2" fmla="*/ 13142 h 18199"/>
                <a:gd name="connsiteX3" fmla="*/ 2529 w 21995"/>
                <a:gd name="connsiteY3" fmla="*/ 13142 h 18199"/>
                <a:gd name="connsiteX4" fmla="*/ 3794 w 21995"/>
                <a:gd name="connsiteY4" fmla="*/ 13142 h 18199"/>
                <a:gd name="connsiteX5" fmla="*/ 3794 w 21995"/>
                <a:gd name="connsiteY5" fmla="*/ 13142 h 18199"/>
                <a:gd name="connsiteX6" fmla="*/ 3794 w 21995"/>
                <a:gd name="connsiteY6" fmla="*/ 13142 h 18199"/>
                <a:gd name="connsiteX7" fmla="*/ 3794 w 21995"/>
                <a:gd name="connsiteY7" fmla="*/ 13142 h 18199"/>
                <a:gd name="connsiteX8" fmla="*/ 3794 w 21995"/>
                <a:gd name="connsiteY8" fmla="*/ 14406 h 18199"/>
                <a:gd name="connsiteX9" fmla="*/ 3794 w 21995"/>
                <a:gd name="connsiteY9" fmla="*/ 15671 h 18199"/>
                <a:gd name="connsiteX10" fmla="*/ 3794 w 21995"/>
                <a:gd name="connsiteY10" fmla="*/ 16935 h 18199"/>
                <a:gd name="connsiteX11" fmla="*/ 3794 w 21995"/>
                <a:gd name="connsiteY11" fmla="*/ 18200 h 18199"/>
                <a:gd name="connsiteX12" fmla="*/ 3794 w 21995"/>
                <a:gd name="connsiteY12" fmla="*/ 18200 h 18199"/>
                <a:gd name="connsiteX13" fmla="*/ 3794 w 21995"/>
                <a:gd name="connsiteY13" fmla="*/ 18200 h 18199"/>
                <a:gd name="connsiteX14" fmla="*/ 3794 w 21995"/>
                <a:gd name="connsiteY14" fmla="*/ 18200 h 18199"/>
                <a:gd name="connsiteX15" fmla="*/ 2529 w 21995"/>
                <a:gd name="connsiteY15" fmla="*/ 18200 h 18199"/>
                <a:gd name="connsiteX16" fmla="*/ 2529 w 21995"/>
                <a:gd name="connsiteY16" fmla="*/ 18200 h 18199"/>
                <a:gd name="connsiteX17" fmla="*/ 18970 w 21995"/>
                <a:gd name="connsiteY17" fmla="*/ 9348 h 18199"/>
                <a:gd name="connsiteX18" fmla="*/ 21499 w 21995"/>
                <a:gd name="connsiteY18" fmla="*/ 3025 h 18199"/>
                <a:gd name="connsiteX19" fmla="*/ 15176 w 21995"/>
                <a:gd name="connsiteY19" fmla="*/ 496 h 18199"/>
                <a:gd name="connsiteX20" fmla="*/ 15176 w 21995"/>
                <a:gd name="connsiteY20" fmla="*/ 496 h 18199"/>
                <a:gd name="connsiteX21" fmla="*/ 11382 w 21995"/>
                <a:gd name="connsiteY21" fmla="*/ 1760 h 18199"/>
                <a:gd name="connsiteX22" fmla="*/ 3794 w 21995"/>
                <a:gd name="connsiteY22" fmla="*/ 10612 h 1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995" h="18199">
                  <a:moveTo>
                    <a:pt x="3794" y="10612"/>
                  </a:moveTo>
                  <a:lnTo>
                    <a:pt x="0" y="11877"/>
                  </a:lnTo>
                  <a:lnTo>
                    <a:pt x="2529" y="13142"/>
                  </a:lnTo>
                  <a:lnTo>
                    <a:pt x="2529" y="13142"/>
                  </a:lnTo>
                  <a:lnTo>
                    <a:pt x="3794" y="13142"/>
                  </a:lnTo>
                  <a:cubicBezTo>
                    <a:pt x="3794" y="13142"/>
                    <a:pt x="3794" y="13142"/>
                    <a:pt x="3794" y="13142"/>
                  </a:cubicBezTo>
                  <a:lnTo>
                    <a:pt x="3794" y="13142"/>
                  </a:lnTo>
                  <a:lnTo>
                    <a:pt x="3794" y="13142"/>
                  </a:lnTo>
                  <a:cubicBezTo>
                    <a:pt x="3794" y="13142"/>
                    <a:pt x="3794" y="13142"/>
                    <a:pt x="3794" y="14406"/>
                  </a:cubicBezTo>
                  <a:cubicBezTo>
                    <a:pt x="3794" y="14406"/>
                    <a:pt x="3794" y="14406"/>
                    <a:pt x="3794" y="15671"/>
                  </a:cubicBezTo>
                  <a:cubicBezTo>
                    <a:pt x="3794" y="15671"/>
                    <a:pt x="3794" y="15671"/>
                    <a:pt x="3794" y="16935"/>
                  </a:cubicBezTo>
                  <a:cubicBezTo>
                    <a:pt x="3794" y="16935"/>
                    <a:pt x="3794" y="16935"/>
                    <a:pt x="3794" y="18200"/>
                  </a:cubicBezTo>
                  <a:lnTo>
                    <a:pt x="3794" y="18200"/>
                  </a:lnTo>
                  <a:lnTo>
                    <a:pt x="3794" y="18200"/>
                  </a:lnTo>
                  <a:lnTo>
                    <a:pt x="3794" y="18200"/>
                  </a:lnTo>
                  <a:lnTo>
                    <a:pt x="2529" y="18200"/>
                  </a:lnTo>
                  <a:lnTo>
                    <a:pt x="2529" y="18200"/>
                  </a:lnTo>
                  <a:lnTo>
                    <a:pt x="18970" y="9348"/>
                  </a:lnTo>
                  <a:cubicBezTo>
                    <a:pt x="21499" y="8083"/>
                    <a:pt x="22764" y="5554"/>
                    <a:pt x="21499" y="3025"/>
                  </a:cubicBezTo>
                  <a:cubicBezTo>
                    <a:pt x="20235" y="496"/>
                    <a:pt x="17705" y="-769"/>
                    <a:pt x="15176" y="496"/>
                  </a:cubicBezTo>
                  <a:lnTo>
                    <a:pt x="15176" y="496"/>
                  </a:lnTo>
                  <a:lnTo>
                    <a:pt x="11382" y="1760"/>
                  </a:lnTo>
                  <a:lnTo>
                    <a:pt x="3794" y="10612"/>
                  </a:lnTo>
                  <a:close/>
                </a:path>
              </a:pathLst>
            </a:custGeom>
            <a:solidFill>
              <a:srgbClr val="000000"/>
            </a:solidFill>
            <a:ln w="1262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86F05C06-D1EB-472E-8E57-F01633E528B3}"/>
                </a:ext>
              </a:extLst>
            </p:cNvPr>
            <p:cNvSpPr/>
            <p:nvPr/>
          </p:nvSpPr>
          <p:spPr>
            <a:xfrm>
              <a:off x="10271334" y="5493184"/>
              <a:ext cx="988965" cy="547949"/>
            </a:xfrm>
            <a:custGeom>
              <a:avLst/>
              <a:gdLst>
                <a:gd name="connsiteX0" fmla="*/ 988965 w 988965"/>
                <a:gd name="connsiteY0" fmla="*/ 2095 h 547949"/>
                <a:gd name="connsiteX1" fmla="*/ 982642 w 988965"/>
                <a:gd name="connsiteY1" fmla="*/ 831 h 547949"/>
                <a:gd name="connsiteX2" fmla="*/ 980113 w 988965"/>
                <a:gd name="connsiteY2" fmla="*/ 2095 h 547949"/>
                <a:gd name="connsiteX3" fmla="*/ 6323 w 988965"/>
                <a:gd name="connsiteY3" fmla="*/ 535738 h 547949"/>
                <a:gd name="connsiteX4" fmla="*/ 1265 w 988965"/>
                <a:gd name="connsiteY4" fmla="*/ 538267 h 547949"/>
                <a:gd name="connsiteX5" fmla="*/ 1265 w 988965"/>
                <a:gd name="connsiteY5" fmla="*/ 538267 h 547949"/>
                <a:gd name="connsiteX6" fmla="*/ 1265 w 988965"/>
                <a:gd name="connsiteY6" fmla="*/ 538267 h 547949"/>
                <a:gd name="connsiteX7" fmla="*/ 0 w 988965"/>
                <a:gd name="connsiteY7" fmla="*/ 539532 h 547949"/>
                <a:gd name="connsiteX8" fmla="*/ 0 w 988965"/>
                <a:gd name="connsiteY8" fmla="*/ 540796 h 547949"/>
                <a:gd name="connsiteX9" fmla="*/ 0 w 988965"/>
                <a:gd name="connsiteY9" fmla="*/ 542061 h 547949"/>
                <a:gd name="connsiteX10" fmla="*/ 0 w 988965"/>
                <a:gd name="connsiteY10" fmla="*/ 543325 h 547949"/>
                <a:gd name="connsiteX11" fmla="*/ 0 w 988965"/>
                <a:gd name="connsiteY11" fmla="*/ 544590 h 547949"/>
                <a:gd name="connsiteX12" fmla="*/ 0 w 988965"/>
                <a:gd name="connsiteY12" fmla="*/ 545854 h 547949"/>
                <a:gd name="connsiteX13" fmla="*/ 6323 w 988965"/>
                <a:gd name="connsiteY13" fmla="*/ 547119 h 547949"/>
                <a:gd name="connsiteX14" fmla="*/ 8853 w 988965"/>
                <a:gd name="connsiteY14" fmla="*/ 545854 h 547949"/>
                <a:gd name="connsiteX15" fmla="*/ 982642 w 988965"/>
                <a:gd name="connsiteY15" fmla="*/ 12212 h 547949"/>
                <a:gd name="connsiteX16" fmla="*/ 988965 w 988965"/>
                <a:gd name="connsiteY16" fmla="*/ 8418 h 547949"/>
                <a:gd name="connsiteX17" fmla="*/ 988965 w 988965"/>
                <a:gd name="connsiteY17" fmla="*/ 2095 h 54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8965" h="547949">
                  <a:moveTo>
                    <a:pt x="988965" y="2095"/>
                  </a:moveTo>
                  <a:cubicBezTo>
                    <a:pt x="987701" y="-434"/>
                    <a:pt x="985172" y="-434"/>
                    <a:pt x="982642" y="831"/>
                  </a:cubicBezTo>
                  <a:lnTo>
                    <a:pt x="980113" y="2095"/>
                  </a:lnTo>
                  <a:lnTo>
                    <a:pt x="6323" y="535738"/>
                  </a:lnTo>
                  <a:lnTo>
                    <a:pt x="1265" y="538267"/>
                  </a:lnTo>
                  <a:lnTo>
                    <a:pt x="1265" y="538267"/>
                  </a:lnTo>
                  <a:lnTo>
                    <a:pt x="1265" y="538267"/>
                  </a:lnTo>
                  <a:lnTo>
                    <a:pt x="0" y="539532"/>
                  </a:lnTo>
                  <a:lnTo>
                    <a:pt x="0" y="540796"/>
                  </a:lnTo>
                  <a:lnTo>
                    <a:pt x="0" y="542061"/>
                  </a:lnTo>
                  <a:lnTo>
                    <a:pt x="0" y="543325"/>
                  </a:lnTo>
                  <a:cubicBezTo>
                    <a:pt x="0" y="543325"/>
                    <a:pt x="0" y="543325"/>
                    <a:pt x="0" y="544590"/>
                  </a:cubicBezTo>
                  <a:cubicBezTo>
                    <a:pt x="0" y="544590"/>
                    <a:pt x="0" y="545854"/>
                    <a:pt x="0" y="545854"/>
                  </a:cubicBezTo>
                  <a:cubicBezTo>
                    <a:pt x="1265" y="548383"/>
                    <a:pt x="3794" y="548383"/>
                    <a:pt x="6323" y="547119"/>
                  </a:cubicBezTo>
                  <a:lnTo>
                    <a:pt x="8853" y="545854"/>
                  </a:lnTo>
                  <a:lnTo>
                    <a:pt x="982642" y="12212"/>
                  </a:lnTo>
                  <a:lnTo>
                    <a:pt x="988965" y="8418"/>
                  </a:lnTo>
                  <a:cubicBezTo>
                    <a:pt x="988965" y="7153"/>
                    <a:pt x="988965" y="4624"/>
                    <a:pt x="988965" y="2095"/>
                  </a:cubicBezTo>
                  <a:close/>
                </a:path>
              </a:pathLst>
            </a:custGeom>
            <a:solidFill>
              <a:srgbClr val="000000"/>
            </a:solidFill>
            <a:ln w="12625"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80A45588-668D-475A-B79F-E113595B8144}"/>
                </a:ext>
              </a:extLst>
            </p:cNvPr>
            <p:cNvSpPr/>
            <p:nvPr/>
          </p:nvSpPr>
          <p:spPr>
            <a:xfrm>
              <a:off x="10724083" y="484782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cubicBezTo>
                    <a:pt x="0" y="0"/>
                    <a:pt x="0" y="0"/>
                    <a:pt x="0" y="0"/>
                  </a:cubicBezTo>
                  <a:lnTo>
                    <a:pt x="0" y="0"/>
                  </a:lnTo>
                  <a:cubicBezTo>
                    <a:pt x="0" y="0"/>
                    <a:pt x="0" y="0"/>
                    <a:pt x="0" y="0"/>
                  </a:cubicBezTo>
                  <a:close/>
                </a:path>
              </a:pathLst>
            </a:custGeom>
            <a:solidFill>
              <a:srgbClr val="000000"/>
            </a:solidFill>
            <a:ln w="1262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2F84E816-E5F5-4E04-AAB0-7B84484B9863}"/>
                </a:ext>
              </a:extLst>
            </p:cNvPr>
            <p:cNvSpPr/>
            <p:nvPr/>
          </p:nvSpPr>
          <p:spPr>
            <a:xfrm>
              <a:off x="10498973" y="4850356"/>
              <a:ext cx="222580" cy="115074"/>
            </a:xfrm>
            <a:custGeom>
              <a:avLst/>
              <a:gdLst>
                <a:gd name="connsiteX0" fmla="*/ 218787 w 222580"/>
                <a:gd name="connsiteY0" fmla="*/ 3794 h 115074"/>
                <a:gd name="connsiteX1" fmla="*/ 211198 w 222580"/>
                <a:gd name="connsiteY1" fmla="*/ 0 h 115074"/>
                <a:gd name="connsiteX2" fmla="*/ 2529 w 222580"/>
                <a:gd name="connsiteY2" fmla="*/ 104958 h 115074"/>
                <a:gd name="connsiteX3" fmla="*/ 0 w 222580"/>
                <a:gd name="connsiteY3" fmla="*/ 106223 h 115074"/>
                <a:gd name="connsiteX4" fmla="*/ 6323 w 222580"/>
                <a:gd name="connsiteY4" fmla="*/ 108752 h 115074"/>
                <a:gd name="connsiteX5" fmla="*/ 3794 w 222580"/>
                <a:gd name="connsiteY5" fmla="*/ 115075 h 115074"/>
                <a:gd name="connsiteX6" fmla="*/ 3794 w 222580"/>
                <a:gd name="connsiteY6" fmla="*/ 115075 h 115074"/>
                <a:gd name="connsiteX7" fmla="*/ 222581 w 222580"/>
                <a:gd name="connsiteY7" fmla="*/ 5058 h 115074"/>
                <a:gd name="connsiteX8" fmla="*/ 222581 w 222580"/>
                <a:gd name="connsiteY8" fmla="*/ 5058 h 115074"/>
                <a:gd name="connsiteX9" fmla="*/ 218787 w 222580"/>
                <a:gd name="connsiteY9" fmla="*/ 3794 h 11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80" h="115074">
                  <a:moveTo>
                    <a:pt x="218787" y="3794"/>
                  </a:moveTo>
                  <a:lnTo>
                    <a:pt x="211198" y="0"/>
                  </a:lnTo>
                  <a:lnTo>
                    <a:pt x="2529" y="104958"/>
                  </a:lnTo>
                  <a:lnTo>
                    <a:pt x="0" y="106223"/>
                  </a:lnTo>
                  <a:cubicBezTo>
                    <a:pt x="2529" y="104958"/>
                    <a:pt x="5059" y="106223"/>
                    <a:pt x="6323" y="108752"/>
                  </a:cubicBezTo>
                  <a:cubicBezTo>
                    <a:pt x="7588" y="111281"/>
                    <a:pt x="6323" y="113810"/>
                    <a:pt x="3794" y="115075"/>
                  </a:cubicBezTo>
                  <a:cubicBezTo>
                    <a:pt x="3794" y="115075"/>
                    <a:pt x="3794" y="115075"/>
                    <a:pt x="3794" y="115075"/>
                  </a:cubicBezTo>
                  <a:lnTo>
                    <a:pt x="222581" y="5058"/>
                  </a:lnTo>
                  <a:lnTo>
                    <a:pt x="222581" y="5058"/>
                  </a:lnTo>
                  <a:cubicBezTo>
                    <a:pt x="221316" y="5058"/>
                    <a:pt x="220051" y="5058"/>
                    <a:pt x="218787" y="3794"/>
                  </a:cubicBezTo>
                  <a:close/>
                </a:path>
              </a:pathLst>
            </a:custGeom>
            <a:solidFill>
              <a:srgbClr val="000000"/>
            </a:solidFill>
            <a:ln w="1262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297EB405-2AF7-4BDD-8B33-381393928162}"/>
                </a:ext>
              </a:extLst>
            </p:cNvPr>
            <p:cNvSpPr/>
            <p:nvPr/>
          </p:nvSpPr>
          <p:spPr>
            <a:xfrm>
              <a:off x="8714535" y="5480105"/>
              <a:ext cx="1922285" cy="1375837"/>
            </a:xfrm>
            <a:custGeom>
              <a:avLst/>
              <a:gdLst>
                <a:gd name="connsiteX0" fmla="*/ 0 w 1922285"/>
                <a:gd name="connsiteY0" fmla="*/ 2529 h 1375837"/>
                <a:gd name="connsiteX1" fmla="*/ 0 w 1922285"/>
                <a:gd name="connsiteY1" fmla="*/ 2529 h 1375837"/>
                <a:gd name="connsiteX2" fmla="*/ 1905845 w 1922285"/>
                <a:gd name="connsiteY2" fmla="*/ 1375837 h 1375837"/>
                <a:gd name="connsiteX3" fmla="*/ 1922286 w 1922285"/>
                <a:gd name="connsiteY3" fmla="*/ 1375837 h 1375837"/>
                <a:gd name="connsiteX4" fmla="*/ 11382 w 1922285"/>
                <a:gd name="connsiteY4" fmla="*/ 0 h 1375837"/>
                <a:gd name="connsiteX5" fmla="*/ 5059 w 1922285"/>
                <a:gd name="connsiteY5" fmla="*/ 3794 h 1375837"/>
                <a:gd name="connsiteX6" fmla="*/ 0 w 1922285"/>
                <a:gd name="connsiteY6" fmla="*/ 2529 h 137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2285" h="1375837">
                  <a:moveTo>
                    <a:pt x="0" y="2529"/>
                  </a:moveTo>
                  <a:lnTo>
                    <a:pt x="0" y="2529"/>
                  </a:lnTo>
                  <a:lnTo>
                    <a:pt x="1905845" y="1375837"/>
                  </a:lnTo>
                  <a:lnTo>
                    <a:pt x="1922286" y="1375837"/>
                  </a:lnTo>
                  <a:lnTo>
                    <a:pt x="11382" y="0"/>
                  </a:lnTo>
                  <a:lnTo>
                    <a:pt x="5059" y="3794"/>
                  </a:lnTo>
                  <a:cubicBezTo>
                    <a:pt x="2529" y="3794"/>
                    <a:pt x="1265" y="3794"/>
                    <a:pt x="0" y="2529"/>
                  </a:cubicBezTo>
                  <a:close/>
                </a:path>
              </a:pathLst>
            </a:custGeom>
            <a:solidFill>
              <a:srgbClr val="000000"/>
            </a:solidFill>
            <a:ln w="1262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4658B5A4-FCA1-4599-8834-59AA8E9B6D6F}"/>
                </a:ext>
              </a:extLst>
            </p:cNvPr>
            <p:cNvSpPr/>
            <p:nvPr/>
          </p:nvSpPr>
          <p:spPr>
            <a:xfrm>
              <a:off x="8713271" y="547631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B52F9744-12A6-4F6C-83BA-1C34001F6A36}"/>
                </a:ext>
              </a:extLst>
            </p:cNvPr>
            <p:cNvSpPr/>
            <p:nvPr/>
          </p:nvSpPr>
          <p:spPr>
            <a:xfrm>
              <a:off x="8713271" y="4960372"/>
              <a:ext cx="1055992" cy="520681"/>
            </a:xfrm>
            <a:custGeom>
              <a:avLst/>
              <a:gdLst>
                <a:gd name="connsiteX0" fmla="*/ 1054728 w 1055992"/>
                <a:gd name="connsiteY0" fmla="*/ 0 h 520681"/>
                <a:gd name="connsiteX1" fmla="*/ 1265 w 1055992"/>
                <a:gd name="connsiteY1" fmla="*/ 513410 h 520681"/>
                <a:gd name="connsiteX2" fmla="*/ 1265 w 1055992"/>
                <a:gd name="connsiteY2" fmla="*/ 513410 h 520681"/>
                <a:gd name="connsiteX3" fmla="*/ 1265 w 1055992"/>
                <a:gd name="connsiteY3" fmla="*/ 513410 h 520681"/>
                <a:gd name="connsiteX4" fmla="*/ 0 w 1055992"/>
                <a:gd name="connsiteY4" fmla="*/ 513410 h 520681"/>
                <a:gd name="connsiteX5" fmla="*/ 0 w 1055992"/>
                <a:gd name="connsiteY5" fmla="*/ 513410 h 520681"/>
                <a:gd name="connsiteX6" fmla="*/ 0 w 1055992"/>
                <a:gd name="connsiteY6" fmla="*/ 514674 h 520681"/>
                <a:gd name="connsiteX7" fmla="*/ 0 w 1055992"/>
                <a:gd name="connsiteY7" fmla="*/ 515939 h 520681"/>
                <a:gd name="connsiteX8" fmla="*/ 0 w 1055992"/>
                <a:gd name="connsiteY8" fmla="*/ 517204 h 520681"/>
                <a:gd name="connsiteX9" fmla="*/ 0 w 1055992"/>
                <a:gd name="connsiteY9" fmla="*/ 518468 h 520681"/>
                <a:gd name="connsiteX10" fmla="*/ 0 w 1055992"/>
                <a:gd name="connsiteY10" fmla="*/ 518468 h 520681"/>
                <a:gd name="connsiteX11" fmla="*/ 0 w 1055992"/>
                <a:gd name="connsiteY11" fmla="*/ 518468 h 520681"/>
                <a:gd name="connsiteX12" fmla="*/ 0 w 1055992"/>
                <a:gd name="connsiteY12" fmla="*/ 519733 h 520681"/>
                <a:gd name="connsiteX13" fmla="*/ 0 w 1055992"/>
                <a:gd name="connsiteY13" fmla="*/ 519733 h 520681"/>
                <a:gd name="connsiteX14" fmla="*/ 5059 w 1055992"/>
                <a:gd name="connsiteY14" fmla="*/ 519733 h 520681"/>
                <a:gd name="connsiteX15" fmla="*/ 11382 w 1055992"/>
                <a:gd name="connsiteY15" fmla="*/ 515939 h 520681"/>
                <a:gd name="connsiteX16" fmla="*/ 1055993 w 1055992"/>
                <a:gd name="connsiteY16" fmla="*/ 6323 h 520681"/>
                <a:gd name="connsiteX17" fmla="*/ 1054728 w 1055992"/>
                <a:gd name="connsiteY17" fmla="*/ 0 h 520681"/>
                <a:gd name="connsiteX18" fmla="*/ 1054728 w 1055992"/>
                <a:gd name="connsiteY18" fmla="*/ 0 h 52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92" h="520681">
                  <a:moveTo>
                    <a:pt x="1054728" y="0"/>
                  </a:moveTo>
                  <a:lnTo>
                    <a:pt x="1265" y="513410"/>
                  </a:lnTo>
                  <a:lnTo>
                    <a:pt x="1265" y="513410"/>
                  </a:lnTo>
                  <a:lnTo>
                    <a:pt x="1265" y="513410"/>
                  </a:lnTo>
                  <a:lnTo>
                    <a:pt x="0" y="513410"/>
                  </a:lnTo>
                  <a:lnTo>
                    <a:pt x="0" y="513410"/>
                  </a:lnTo>
                  <a:cubicBezTo>
                    <a:pt x="0" y="513410"/>
                    <a:pt x="0" y="513410"/>
                    <a:pt x="0" y="514674"/>
                  </a:cubicBezTo>
                  <a:cubicBezTo>
                    <a:pt x="0" y="514674"/>
                    <a:pt x="0" y="514674"/>
                    <a:pt x="0" y="515939"/>
                  </a:cubicBezTo>
                  <a:cubicBezTo>
                    <a:pt x="0" y="515939"/>
                    <a:pt x="0" y="515939"/>
                    <a:pt x="0" y="517204"/>
                  </a:cubicBezTo>
                  <a:cubicBezTo>
                    <a:pt x="0" y="517204"/>
                    <a:pt x="0" y="518468"/>
                    <a:pt x="0" y="518468"/>
                  </a:cubicBezTo>
                  <a:lnTo>
                    <a:pt x="0" y="518468"/>
                  </a:lnTo>
                  <a:lnTo>
                    <a:pt x="0" y="518468"/>
                  </a:lnTo>
                  <a:lnTo>
                    <a:pt x="0" y="519733"/>
                  </a:lnTo>
                  <a:lnTo>
                    <a:pt x="0" y="519733"/>
                  </a:lnTo>
                  <a:cubicBezTo>
                    <a:pt x="1265" y="520997"/>
                    <a:pt x="3794" y="520997"/>
                    <a:pt x="5059" y="519733"/>
                  </a:cubicBezTo>
                  <a:lnTo>
                    <a:pt x="11382" y="515939"/>
                  </a:lnTo>
                  <a:lnTo>
                    <a:pt x="1055993" y="6323"/>
                  </a:lnTo>
                  <a:lnTo>
                    <a:pt x="1054728" y="0"/>
                  </a:lnTo>
                  <a:lnTo>
                    <a:pt x="1054728" y="0"/>
                  </a:lnTo>
                  <a:close/>
                </a:path>
              </a:pathLst>
            </a:custGeom>
            <a:solidFill>
              <a:srgbClr val="000000"/>
            </a:solidFill>
            <a:ln w="126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BBC9079-ACC2-4AB2-AEB5-FDE4B0A83D73}"/>
                </a:ext>
              </a:extLst>
            </p:cNvPr>
            <p:cNvSpPr/>
            <p:nvPr/>
          </p:nvSpPr>
          <p:spPr>
            <a:xfrm>
              <a:off x="12017831" y="5525629"/>
              <a:ext cx="80938" cy="46788"/>
            </a:xfrm>
            <a:custGeom>
              <a:avLst/>
              <a:gdLst>
                <a:gd name="connsiteX0" fmla="*/ 69556 w 80938"/>
                <a:gd name="connsiteY0" fmla="*/ 0 h 46788"/>
                <a:gd name="connsiteX1" fmla="*/ 0 w 80938"/>
                <a:gd name="connsiteY1" fmla="*/ 40466 h 46788"/>
                <a:gd name="connsiteX2" fmla="*/ 2529 w 80938"/>
                <a:gd name="connsiteY2" fmla="*/ 41730 h 46788"/>
                <a:gd name="connsiteX3" fmla="*/ 2529 w 80938"/>
                <a:gd name="connsiteY3" fmla="*/ 41730 h 46788"/>
                <a:gd name="connsiteX4" fmla="*/ 3794 w 80938"/>
                <a:gd name="connsiteY4" fmla="*/ 41730 h 46788"/>
                <a:gd name="connsiteX5" fmla="*/ 3794 w 80938"/>
                <a:gd name="connsiteY5" fmla="*/ 41730 h 46788"/>
                <a:gd name="connsiteX6" fmla="*/ 3794 w 80938"/>
                <a:gd name="connsiteY6" fmla="*/ 42995 h 46788"/>
                <a:gd name="connsiteX7" fmla="*/ 3794 w 80938"/>
                <a:gd name="connsiteY7" fmla="*/ 44259 h 46788"/>
                <a:gd name="connsiteX8" fmla="*/ 3794 w 80938"/>
                <a:gd name="connsiteY8" fmla="*/ 44259 h 46788"/>
                <a:gd name="connsiteX9" fmla="*/ 3794 w 80938"/>
                <a:gd name="connsiteY9" fmla="*/ 46789 h 46788"/>
                <a:gd name="connsiteX10" fmla="*/ 80939 w 80938"/>
                <a:gd name="connsiteY10" fmla="*/ 2529 h 46788"/>
                <a:gd name="connsiteX11" fmla="*/ 80939 w 80938"/>
                <a:gd name="connsiteY11" fmla="*/ 2529 h 46788"/>
                <a:gd name="connsiteX12" fmla="*/ 79674 w 80938"/>
                <a:gd name="connsiteY12" fmla="*/ 2529 h 46788"/>
                <a:gd name="connsiteX13" fmla="*/ 78409 w 80938"/>
                <a:gd name="connsiteY13" fmla="*/ 2529 h 46788"/>
                <a:gd name="connsiteX14" fmla="*/ 77144 w 80938"/>
                <a:gd name="connsiteY14" fmla="*/ 2529 h 46788"/>
                <a:gd name="connsiteX15" fmla="*/ 77144 w 80938"/>
                <a:gd name="connsiteY15" fmla="*/ 2529 h 46788"/>
                <a:gd name="connsiteX16" fmla="*/ 69556 w 80938"/>
                <a:gd name="connsiteY16" fmla="*/ 0 h 4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938" h="46788">
                  <a:moveTo>
                    <a:pt x="69556" y="0"/>
                  </a:moveTo>
                  <a:lnTo>
                    <a:pt x="0" y="40466"/>
                  </a:lnTo>
                  <a:lnTo>
                    <a:pt x="2529" y="41730"/>
                  </a:lnTo>
                  <a:lnTo>
                    <a:pt x="2529" y="41730"/>
                  </a:lnTo>
                  <a:lnTo>
                    <a:pt x="3794" y="41730"/>
                  </a:lnTo>
                  <a:lnTo>
                    <a:pt x="3794" y="41730"/>
                  </a:lnTo>
                  <a:lnTo>
                    <a:pt x="3794" y="42995"/>
                  </a:lnTo>
                  <a:lnTo>
                    <a:pt x="3794" y="44259"/>
                  </a:lnTo>
                  <a:lnTo>
                    <a:pt x="3794" y="44259"/>
                  </a:lnTo>
                  <a:lnTo>
                    <a:pt x="3794" y="46789"/>
                  </a:lnTo>
                  <a:lnTo>
                    <a:pt x="80939" y="2529"/>
                  </a:lnTo>
                  <a:lnTo>
                    <a:pt x="80939" y="2529"/>
                  </a:lnTo>
                  <a:lnTo>
                    <a:pt x="79674" y="2529"/>
                  </a:lnTo>
                  <a:lnTo>
                    <a:pt x="78409" y="2529"/>
                  </a:lnTo>
                  <a:lnTo>
                    <a:pt x="77144" y="2529"/>
                  </a:lnTo>
                  <a:lnTo>
                    <a:pt x="77144" y="2529"/>
                  </a:lnTo>
                  <a:lnTo>
                    <a:pt x="69556" y="0"/>
                  </a:lnTo>
                  <a:close/>
                </a:path>
              </a:pathLst>
            </a:custGeom>
            <a:solidFill>
              <a:srgbClr val="000000"/>
            </a:solidFill>
            <a:ln w="1262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F2E8EF1D-5FB6-4BD8-A236-105E82184168}"/>
                </a:ext>
              </a:extLst>
            </p:cNvPr>
            <p:cNvSpPr/>
            <p:nvPr/>
          </p:nvSpPr>
          <p:spPr>
            <a:xfrm>
              <a:off x="12068418" y="5961901"/>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B2EF745E-CA55-4B89-9E54-1D04CE1A745B}"/>
                </a:ext>
              </a:extLst>
            </p:cNvPr>
            <p:cNvSpPr/>
            <p:nvPr/>
          </p:nvSpPr>
          <p:spPr>
            <a:xfrm>
              <a:off x="12070947"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B5C67F27-5A12-4CFB-9980-4CC027813238}"/>
                </a:ext>
              </a:extLst>
            </p:cNvPr>
            <p:cNvSpPr/>
            <p:nvPr/>
          </p:nvSpPr>
          <p:spPr>
            <a:xfrm>
              <a:off x="12072212"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B9FD6053-8124-400A-8B4F-4203A057F1D3}"/>
                </a:ext>
              </a:extLst>
            </p:cNvPr>
            <p:cNvSpPr/>
            <p:nvPr/>
          </p:nvSpPr>
          <p:spPr>
            <a:xfrm>
              <a:off x="12012773" y="5569888"/>
              <a:ext cx="61968" cy="381896"/>
            </a:xfrm>
            <a:custGeom>
              <a:avLst/>
              <a:gdLst>
                <a:gd name="connsiteX0" fmla="*/ 8853 w 61968"/>
                <a:gd name="connsiteY0" fmla="*/ 0 h 381896"/>
                <a:gd name="connsiteX1" fmla="*/ 5059 w 61968"/>
                <a:gd name="connsiteY1" fmla="*/ 5058 h 381896"/>
                <a:gd name="connsiteX2" fmla="*/ 2529 w 61968"/>
                <a:gd name="connsiteY2" fmla="*/ 5058 h 381896"/>
                <a:gd name="connsiteX3" fmla="*/ 0 w 61968"/>
                <a:gd name="connsiteY3" fmla="*/ 3794 h 381896"/>
                <a:gd name="connsiteX4" fmla="*/ 51851 w 61968"/>
                <a:gd name="connsiteY4" fmla="*/ 378102 h 381896"/>
                <a:gd name="connsiteX5" fmla="*/ 58175 w 61968"/>
                <a:gd name="connsiteY5" fmla="*/ 381896 h 381896"/>
                <a:gd name="connsiteX6" fmla="*/ 61968 w 61968"/>
                <a:gd name="connsiteY6" fmla="*/ 379367 h 381896"/>
                <a:gd name="connsiteX7" fmla="*/ 10118 w 61968"/>
                <a:gd name="connsiteY7" fmla="*/ 3794 h 381896"/>
                <a:gd name="connsiteX8" fmla="*/ 8853 w 61968"/>
                <a:gd name="connsiteY8" fmla="*/ 0 h 381896"/>
                <a:gd name="connsiteX9" fmla="*/ 8853 w 61968"/>
                <a:gd name="connsiteY9" fmla="*/ 0 h 38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968" h="381896">
                  <a:moveTo>
                    <a:pt x="8853" y="0"/>
                  </a:moveTo>
                  <a:cubicBezTo>
                    <a:pt x="8853" y="2529"/>
                    <a:pt x="7588" y="5058"/>
                    <a:pt x="5059" y="5058"/>
                  </a:cubicBezTo>
                  <a:cubicBezTo>
                    <a:pt x="3794" y="5058"/>
                    <a:pt x="2529" y="5058"/>
                    <a:pt x="2529" y="5058"/>
                  </a:cubicBezTo>
                  <a:lnTo>
                    <a:pt x="0" y="3794"/>
                  </a:lnTo>
                  <a:lnTo>
                    <a:pt x="51851" y="378102"/>
                  </a:lnTo>
                  <a:lnTo>
                    <a:pt x="58175" y="381896"/>
                  </a:lnTo>
                  <a:lnTo>
                    <a:pt x="61968" y="379367"/>
                  </a:lnTo>
                  <a:lnTo>
                    <a:pt x="10118" y="3794"/>
                  </a:lnTo>
                  <a:lnTo>
                    <a:pt x="8853" y="0"/>
                  </a:lnTo>
                  <a:lnTo>
                    <a:pt x="8853" y="0"/>
                  </a:lnTo>
                  <a:close/>
                </a:path>
              </a:pathLst>
            </a:custGeom>
            <a:solidFill>
              <a:srgbClr val="000000"/>
            </a:solidFill>
            <a:ln w="12625"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DB29627B-0673-49C2-BE95-1D15DD02A329}"/>
                </a:ext>
              </a:extLst>
            </p:cNvPr>
            <p:cNvSpPr/>
            <p:nvPr/>
          </p:nvSpPr>
          <p:spPr>
            <a:xfrm>
              <a:off x="11228683" y="5119706"/>
              <a:ext cx="362958" cy="216239"/>
            </a:xfrm>
            <a:custGeom>
              <a:avLst/>
              <a:gdLst>
                <a:gd name="connsiteX0" fmla="*/ 359164 w 362958"/>
                <a:gd name="connsiteY0" fmla="*/ 212446 h 216239"/>
                <a:gd name="connsiteX1" fmla="*/ 359164 w 362958"/>
                <a:gd name="connsiteY1" fmla="*/ 212446 h 216239"/>
                <a:gd name="connsiteX2" fmla="*/ 359164 w 362958"/>
                <a:gd name="connsiteY2" fmla="*/ 212446 h 216239"/>
                <a:gd name="connsiteX3" fmla="*/ 359164 w 362958"/>
                <a:gd name="connsiteY3" fmla="*/ 212446 h 216239"/>
                <a:gd name="connsiteX4" fmla="*/ 359164 w 362958"/>
                <a:gd name="connsiteY4" fmla="*/ 209916 h 216239"/>
                <a:gd name="connsiteX5" fmla="*/ 359164 w 362958"/>
                <a:gd name="connsiteY5" fmla="*/ 208652 h 216239"/>
                <a:gd name="connsiteX6" fmla="*/ 359164 w 362958"/>
                <a:gd name="connsiteY6" fmla="*/ 208652 h 216239"/>
                <a:gd name="connsiteX7" fmla="*/ 359164 w 362958"/>
                <a:gd name="connsiteY7" fmla="*/ 208652 h 216239"/>
                <a:gd name="connsiteX8" fmla="*/ 360429 w 362958"/>
                <a:gd name="connsiteY8" fmla="*/ 208652 h 216239"/>
                <a:gd name="connsiteX9" fmla="*/ 360429 w 362958"/>
                <a:gd name="connsiteY9" fmla="*/ 208652 h 216239"/>
                <a:gd name="connsiteX10" fmla="*/ 360429 w 362958"/>
                <a:gd name="connsiteY10" fmla="*/ 208652 h 216239"/>
                <a:gd name="connsiteX11" fmla="*/ 362958 w 362958"/>
                <a:gd name="connsiteY11" fmla="*/ 207387 h 216239"/>
                <a:gd name="connsiteX12" fmla="*/ 1265 w 362958"/>
                <a:gd name="connsiteY12" fmla="*/ 0 h 216239"/>
                <a:gd name="connsiteX13" fmla="*/ 0 w 362958"/>
                <a:gd name="connsiteY13" fmla="*/ 0 h 216239"/>
                <a:gd name="connsiteX14" fmla="*/ 2529 w 362958"/>
                <a:gd name="connsiteY14" fmla="*/ 3794 h 216239"/>
                <a:gd name="connsiteX15" fmla="*/ 3794 w 362958"/>
                <a:gd name="connsiteY15" fmla="*/ 13910 h 216239"/>
                <a:gd name="connsiteX16" fmla="*/ 359164 w 362958"/>
                <a:gd name="connsiteY16" fmla="*/ 216239 h 216239"/>
                <a:gd name="connsiteX17" fmla="*/ 359164 w 362958"/>
                <a:gd name="connsiteY17" fmla="*/ 216239 h 216239"/>
                <a:gd name="connsiteX18" fmla="*/ 359164 w 362958"/>
                <a:gd name="connsiteY18" fmla="*/ 216239 h 216239"/>
                <a:gd name="connsiteX19" fmla="*/ 359164 w 362958"/>
                <a:gd name="connsiteY19" fmla="*/ 212446 h 21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958" h="216239">
                  <a:moveTo>
                    <a:pt x="359164" y="212446"/>
                  </a:moveTo>
                  <a:lnTo>
                    <a:pt x="359164" y="212446"/>
                  </a:lnTo>
                  <a:lnTo>
                    <a:pt x="359164" y="212446"/>
                  </a:lnTo>
                  <a:cubicBezTo>
                    <a:pt x="359164" y="212446"/>
                    <a:pt x="359164" y="212446"/>
                    <a:pt x="359164" y="212446"/>
                  </a:cubicBezTo>
                  <a:lnTo>
                    <a:pt x="359164" y="209916"/>
                  </a:lnTo>
                  <a:lnTo>
                    <a:pt x="359164" y="208652"/>
                  </a:lnTo>
                  <a:lnTo>
                    <a:pt x="359164" y="208652"/>
                  </a:lnTo>
                  <a:lnTo>
                    <a:pt x="359164" y="208652"/>
                  </a:lnTo>
                  <a:lnTo>
                    <a:pt x="360429" y="208652"/>
                  </a:lnTo>
                  <a:lnTo>
                    <a:pt x="360429" y="208652"/>
                  </a:lnTo>
                  <a:lnTo>
                    <a:pt x="360429" y="208652"/>
                  </a:lnTo>
                  <a:lnTo>
                    <a:pt x="362958" y="207387"/>
                  </a:lnTo>
                  <a:lnTo>
                    <a:pt x="1265" y="0"/>
                  </a:lnTo>
                  <a:lnTo>
                    <a:pt x="0" y="0"/>
                  </a:lnTo>
                  <a:cubicBezTo>
                    <a:pt x="1265" y="0"/>
                    <a:pt x="2529" y="2529"/>
                    <a:pt x="2529" y="3794"/>
                  </a:cubicBezTo>
                  <a:lnTo>
                    <a:pt x="3794" y="13910"/>
                  </a:lnTo>
                  <a:lnTo>
                    <a:pt x="359164" y="216239"/>
                  </a:lnTo>
                  <a:lnTo>
                    <a:pt x="359164" y="216239"/>
                  </a:lnTo>
                  <a:lnTo>
                    <a:pt x="359164" y="216239"/>
                  </a:lnTo>
                  <a:lnTo>
                    <a:pt x="359164" y="212446"/>
                  </a:lnTo>
                  <a:close/>
                </a:path>
              </a:pathLst>
            </a:custGeom>
            <a:solidFill>
              <a:srgbClr val="000000"/>
            </a:solidFill>
            <a:ln w="12625"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4D756B47-CACD-4380-9550-9D968429188B}"/>
                </a:ext>
              </a:extLst>
            </p:cNvPr>
            <p:cNvSpPr/>
            <p:nvPr/>
          </p:nvSpPr>
          <p:spPr>
            <a:xfrm>
              <a:off x="11222359" y="5120971"/>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lnTo>
                    <a:pt x="0" y="0"/>
                  </a:lnTo>
                  <a:lnTo>
                    <a:pt x="0" y="0"/>
                  </a:lnTo>
                  <a:cubicBezTo>
                    <a:pt x="1265" y="0"/>
                    <a:pt x="1265" y="0"/>
                    <a:pt x="0" y="0"/>
                  </a:cubicBezTo>
                  <a:close/>
                </a:path>
              </a:pathLst>
            </a:custGeom>
            <a:solidFill>
              <a:srgbClr val="000000"/>
            </a:solidFill>
            <a:ln w="12625"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5BC669A9-10A2-4BCB-922B-1DA27769B8D8}"/>
                </a:ext>
              </a:extLst>
            </p:cNvPr>
            <p:cNvSpPr/>
            <p:nvPr/>
          </p:nvSpPr>
          <p:spPr>
            <a:xfrm>
              <a:off x="11601758" y="4927494"/>
              <a:ext cx="11382" cy="8851"/>
            </a:xfrm>
            <a:custGeom>
              <a:avLst/>
              <a:gdLst>
                <a:gd name="connsiteX0" fmla="*/ 0 w 11382"/>
                <a:gd name="connsiteY0" fmla="*/ 2529 h 8851"/>
                <a:gd name="connsiteX1" fmla="*/ 11382 w 11382"/>
                <a:gd name="connsiteY1" fmla="*/ 8852 h 8851"/>
                <a:gd name="connsiteX2" fmla="*/ 10117 w 11382"/>
                <a:gd name="connsiteY2" fmla="*/ 2529 h 8851"/>
                <a:gd name="connsiteX3" fmla="*/ 6323 w 11382"/>
                <a:gd name="connsiteY3" fmla="*/ 0 h 8851"/>
              </a:gdLst>
              <a:ahLst/>
              <a:cxnLst>
                <a:cxn ang="0">
                  <a:pos x="connsiteX0" y="connsiteY0"/>
                </a:cxn>
                <a:cxn ang="0">
                  <a:pos x="connsiteX1" y="connsiteY1"/>
                </a:cxn>
                <a:cxn ang="0">
                  <a:pos x="connsiteX2" y="connsiteY2"/>
                </a:cxn>
                <a:cxn ang="0">
                  <a:pos x="connsiteX3" y="connsiteY3"/>
                </a:cxn>
              </a:cxnLst>
              <a:rect l="l" t="t" r="r" b="b"/>
              <a:pathLst>
                <a:path w="11382" h="8851">
                  <a:moveTo>
                    <a:pt x="0" y="2529"/>
                  </a:moveTo>
                  <a:lnTo>
                    <a:pt x="11382" y="8852"/>
                  </a:lnTo>
                  <a:lnTo>
                    <a:pt x="10117" y="2529"/>
                  </a:lnTo>
                  <a:lnTo>
                    <a:pt x="6323" y="0"/>
                  </a:lnTo>
                  <a:close/>
                </a:path>
              </a:pathLst>
            </a:custGeom>
            <a:solidFill>
              <a:srgbClr val="000000"/>
            </a:solidFill>
            <a:ln w="12625"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6FF7AAA5-4842-4188-900F-F9F3AB3CD5BF}"/>
                </a:ext>
              </a:extLst>
            </p:cNvPr>
            <p:cNvSpPr/>
            <p:nvPr/>
          </p:nvSpPr>
          <p:spPr>
            <a:xfrm>
              <a:off x="11589111" y="5330887"/>
              <a:ext cx="433076" cy="244582"/>
            </a:xfrm>
            <a:custGeom>
              <a:avLst/>
              <a:gdLst>
                <a:gd name="connsiteX0" fmla="*/ 5059 w 433076"/>
                <a:gd name="connsiteY0" fmla="*/ 2529 h 244582"/>
                <a:gd name="connsiteX1" fmla="*/ 0 w 433076"/>
                <a:gd name="connsiteY1" fmla="*/ 2529 h 244582"/>
                <a:gd name="connsiteX2" fmla="*/ 0 w 433076"/>
                <a:gd name="connsiteY2" fmla="*/ 2529 h 244582"/>
                <a:gd name="connsiteX3" fmla="*/ 423662 w 433076"/>
                <a:gd name="connsiteY3" fmla="*/ 242795 h 244582"/>
                <a:gd name="connsiteX4" fmla="*/ 426191 w 433076"/>
                <a:gd name="connsiteY4" fmla="*/ 244059 h 244582"/>
                <a:gd name="connsiteX5" fmla="*/ 432514 w 433076"/>
                <a:gd name="connsiteY5" fmla="*/ 242795 h 244582"/>
                <a:gd name="connsiteX6" fmla="*/ 432514 w 433076"/>
                <a:gd name="connsiteY6" fmla="*/ 240266 h 244582"/>
                <a:gd name="connsiteX7" fmla="*/ 432514 w 433076"/>
                <a:gd name="connsiteY7" fmla="*/ 239001 h 244582"/>
                <a:gd name="connsiteX8" fmla="*/ 432514 w 433076"/>
                <a:gd name="connsiteY8" fmla="*/ 237736 h 244582"/>
                <a:gd name="connsiteX9" fmla="*/ 432514 w 433076"/>
                <a:gd name="connsiteY9" fmla="*/ 237736 h 244582"/>
                <a:gd name="connsiteX10" fmla="*/ 431250 w 433076"/>
                <a:gd name="connsiteY10" fmla="*/ 237736 h 244582"/>
                <a:gd name="connsiteX11" fmla="*/ 431250 w 433076"/>
                <a:gd name="connsiteY11" fmla="*/ 237736 h 244582"/>
                <a:gd name="connsiteX12" fmla="*/ 428720 w 433076"/>
                <a:gd name="connsiteY12" fmla="*/ 236472 h 244582"/>
                <a:gd name="connsiteX13" fmla="*/ 11382 w 433076"/>
                <a:gd name="connsiteY13" fmla="*/ 0 h 244582"/>
                <a:gd name="connsiteX14" fmla="*/ 5059 w 433076"/>
                <a:gd name="connsiteY14" fmla="*/ 2529 h 24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3076" h="244582">
                  <a:moveTo>
                    <a:pt x="5059" y="2529"/>
                  </a:moveTo>
                  <a:cubicBezTo>
                    <a:pt x="3794" y="3794"/>
                    <a:pt x="1265" y="3794"/>
                    <a:pt x="0" y="2529"/>
                  </a:cubicBezTo>
                  <a:lnTo>
                    <a:pt x="0" y="2529"/>
                  </a:lnTo>
                  <a:lnTo>
                    <a:pt x="423662" y="242795"/>
                  </a:lnTo>
                  <a:lnTo>
                    <a:pt x="426191" y="244059"/>
                  </a:lnTo>
                  <a:cubicBezTo>
                    <a:pt x="428720" y="245324"/>
                    <a:pt x="431250" y="244059"/>
                    <a:pt x="432514" y="242795"/>
                  </a:cubicBezTo>
                  <a:cubicBezTo>
                    <a:pt x="432514" y="241530"/>
                    <a:pt x="433779" y="240266"/>
                    <a:pt x="432514" y="240266"/>
                  </a:cubicBezTo>
                  <a:lnTo>
                    <a:pt x="432514" y="239001"/>
                  </a:lnTo>
                  <a:lnTo>
                    <a:pt x="432514" y="237736"/>
                  </a:lnTo>
                  <a:lnTo>
                    <a:pt x="432514" y="237736"/>
                  </a:lnTo>
                  <a:lnTo>
                    <a:pt x="431250" y="237736"/>
                  </a:lnTo>
                  <a:lnTo>
                    <a:pt x="431250" y="237736"/>
                  </a:lnTo>
                  <a:lnTo>
                    <a:pt x="428720" y="236472"/>
                  </a:lnTo>
                  <a:lnTo>
                    <a:pt x="11382" y="0"/>
                  </a:lnTo>
                  <a:lnTo>
                    <a:pt x="5059" y="2529"/>
                  </a:lnTo>
                  <a:close/>
                </a:path>
              </a:pathLst>
            </a:custGeom>
            <a:solidFill>
              <a:srgbClr val="000000"/>
            </a:solidFill>
            <a:ln w="12625"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550C6AD8-3CB7-40D4-AB53-617373E203E3}"/>
                </a:ext>
              </a:extLst>
            </p:cNvPr>
            <p:cNvSpPr/>
            <p:nvPr/>
          </p:nvSpPr>
          <p:spPr>
            <a:xfrm>
              <a:off x="11586898" y="5327796"/>
              <a:ext cx="948" cy="562"/>
            </a:xfrm>
            <a:custGeom>
              <a:avLst/>
              <a:gdLst>
                <a:gd name="connsiteX0" fmla="*/ 949 w 948"/>
                <a:gd name="connsiteY0" fmla="*/ 562 h 562"/>
                <a:gd name="connsiteX1" fmla="*/ 949 w 948"/>
                <a:gd name="connsiteY1" fmla="*/ 562 h 562"/>
                <a:gd name="connsiteX2" fmla="*/ 949 w 948"/>
                <a:gd name="connsiteY2" fmla="*/ 562 h 562"/>
                <a:gd name="connsiteX3" fmla="*/ 949 w 948"/>
                <a:gd name="connsiteY3" fmla="*/ 562 h 562"/>
              </a:gdLst>
              <a:ahLst/>
              <a:cxnLst>
                <a:cxn ang="0">
                  <a:pos x="connsiteX0" y="connsiteY0"/>
                </a:cxn>
                <a:cxn ang="0">
                  <a:pos x="connsiteX1" y="connsiteY1"/>
                </a:cxn>
                <a:cxn ang="0">
                  <a:pos x="connsiteX2" y="connsiteY2"/>
                </a:cxn>
                <a:cxn ang="0">
                  <a:pos x="connsiteX3" y="connsiteY3"/>
                </a:cxn>
              </a:cxnLst>
              <a:rect l="l" t="t" r="r" b="b"/>
              <a:pathLst>
                <a:path w="948" h="562">
                  <a:moveTo>
                    <a:pt x="949" y="562"/>
                  </a:moveTo>
                  <a:cubicBezTo>
                    <a:pt x="949" y="562"/>
                    <a:pt x="949" y="562"/>
                    <a:pt x="949" y="562"/>
                  </a:cubicBezTo>
                  <a:lnTo>
                    <a:pt x="949" y="562"/>
                  </a:lnTo>
                  <a:cubicBezTo>
                    <a:pt x="-316" y="-703"/>
                    <a:pt x="-316" y="562"/>
                    <a:pt x="949" y="562"/>
                  </a:cubicBezTo>
                  <a:close/>
                </a:path>
              </a:pathLst>
            </a:custGeom>
            <a:solidFill>
              <a:srgbClr val="000000"/>
            </a:solidFill>
            <a:ln w="12625"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F4C7BD07-C5BB-43CF-92CC-EE1835242D65}"/>
                </a:ext>
              </a:extLst>
            </p:cNvPr>
            <p:cNvSpPr/>
            <p:nvPr/>
          </p:nvSpPr>
          <p:spPr>
            <a:xfrm>
              <a:off x="10181543" y="5500338"/>
              <a:ext cx="245344" cy="129508"/>
            </a:xfrm>
            <a:custGeom>
              <a:avLst/>
              <a:gdLst>
                <a:gd name="connsiteX0" fmla="*/ 7588 w 245344"/>
                <a:gd name="connsiteY0" fmla="*/ 128985 h 129508"/>
                <a:gd name="connsiteX1" fmla="*/ 10117 w 245344"/>
                <a:gd name="connsiteY1" fmla="*/ 127720 h 129508"/>
                <a:gd name="connsiteX2" fmla="*/ 245344 w 245344"/>
                <a:gd name="connsiteY2" fmla="*/ 3794 h 129508"/>
                <a:gd name="connsiteX3" fmla="*/ 245344 w 245344"/>
                <a:gd name="connsiteY3" fmla="*/ 3794 h 129508"/>
                <a:gd name="connsiteX4" fmla="*/ 240286 w 245344"/>
                <a:gd name="connsiteY4" fmla="*/ 3794 h 129508"/>
                <a:gd name="connsiteX5" fmla="*/ 233962 w 245344"/>
                <a:gd name="connsiteY5" fmla="*/ 0 h 129508"/>
                <a:gd name="connsiteX6" fmla="*/ 5059 w 245344"/>
                <a:gd name="connsiteY6" fmla="*/ 120133 h 129508"/>
                <a:gd name="connsiteX7" fmla="*/ 2529 w 245344"/>
                <a:gd name="connsiteY7" fmla="*/ 121397 h 129508"/>
                <a:gd name="connsiteX8" fmla="*/ 2529 w 245344"/>
                <a:gd name="connsiteY8" fmla="*/ 121397 h 129508"/>
                <a:gd name="connsiteX9" fmla="*/ 1265 w 245344"/>
                <a:gd name="connsiteY9" fmla="*/ 121397 h 129508"/>
                <a:gd name="connsiteX10" fmla="*/ 0 w 245344"/>
                <a:gd name="connsiteY10" fmla="*/ 121397 h 129508"/>
                <a:gd name="connsiteX11" fmla="*/ 0 w 245344"/>
                <a:gd name="connsiteY11" fmla="*/ 122662 h 129508"/>
                <a:gd name="connsiteX12" fmla="*/ 0 w 245344"/>
                <a:gd name="connsiteY12" fmla="*/ 123926 h 129508"/>
                <a:gd name="connsiteX13" fmla="*/ 0 w 245344"/>
                <a:gd name="connsiteY13" fmla="*/ 125191 h 129508"/>
                <a:gd name="connsiteX14" fmla="*/ 0 w 245344"/>
                <a:gd name="connsiteY14" fmla="*/ 126456 h 129508"/>
                <a:gd name="connsiteX15" fmla="*/ 0 w 245344"/>
                <a:gd name="connsiteY15" fmla="*/ 127720 h 129508"/>
                <a:gd name="connsiteX16" fmla="*/ 7588 w 245344"/>
                <a:gd name="connsiteY16" fmla="*/ 128985 h 12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344" h="129508">
                  <a:moveTo>
                    <a:pt x="7588" y="128985"/>
                  </a:moveTo>
                  <a:lnTo>
                    <a:pt x="10117" y="127720"/>
                  </a:lnTo>
                  <a:lnTo>
                    <a:pt x="245344" y="3794"/>
                  </a:lnTo>
                  <a:lnTo>
                    <a:pt x="245344" y="3794"/>
                  </a:lnTo>
                  <a:cubicBezTo>
                    <a:pt x="244080" y="5058"/>
                    <a:pt x="241550" y="5058"/>
                    <a:pt x="240286" y="3794"/>
                  </a:cubicBezTo>
                  <a:lnTo>
                    <a:pt x="233962" y="0"/>
                  </a:lnTo>
                  <a:lnTo>
                    <a:pt x="5059" y="120133"/>
                  </a:lnTo>
                  <a:lnTo>
                    <a:pt x="2529" y="121397"/>
                  </a:lnTo>
                  <a:lnTo>
                    <a:pt x="2529" y="121397"/>
                  </a:lnTo>
                  <a:cubicBezTo>
                    <a:pt x="2529" y="121397"/>
                    <a:pt x="2529" y="121397"/>
                    <a:pt x="1265" y="121397"/>
                  </a:cubicBezTo>
                  <a:lnTo>
                    <a:pt x="0" y="121397"/>
                  </a:lnTo>
                  <a:lnTo>
                    <a:pt x="0" y="122662"/>
                  </a:lnTo>
                  <a:lnTo>
                    <a:pt x="0" y="123926"/>
                  </a:lnTo>
                  <a:lnTo>
                    <a:pt x="0" y="125191"/>
                  </a:lnTo>
                  <a:cubicBezTo>
                    <a:pt x="0" y="125191"/>
                    <a:pt x="0" y="126456"/>
                    <a:pt x="0" y="126456"/>
                  </a:cubicBezTo>
                  <a:cubicBezTo>
                    <a:pt x="0" y="126456"/>
                    <a:pt x="0" y="127720"/>
                    <a:pt x="0" y="127720"/>
                  </a:cubicBezTo>
                  <a:cubicBezTo>
                    <a:pt x="2529" y="128985"/>
                    <a:pt x="5059" y="130249"/>
                    <a:pt x="7588" y="128985"/>
                  </a:cubicBezTo>
                  <a:close/>
                </a:path>
              </a:pathLst>
            </a:custGeom>
            <a:solidFill>
              <a:srgbClr val="000000"/>
            </a:solidFill>
            <a:ln w="12625"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62E42A45-4E6D-4E38-BE7A-E87E6E259C4C}"/>
                </a:ext>
              </a:extLst>
            </p:cNvPr>
            <p:cNvSpPr/>
            <p:nvPr/>
          </p:nvSpPr>
          <p:spPr>
            <a:xfrm>
              <a:off x="10428152" y="5497808"/>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cubicBezTo>
                    <a:pt x="1265" y="0"/>
                    <a:pt x="1265" y="0"/>
                    <a:pt x="0" y="0"/>
                  </a:cubicBez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C300EE9-F97E-4E6D-9431-8D3C178CE3FE}"/>
                </a:ext>
              </a:extLst>
            </p:cNvPr>
            <p:cNvSpPr/>
            <p:nvPr/>
          </p:nvSpPr>
          <p:spPr>
            <a:xfrm>
              <a:off x="9981726" y="5220871"/>
              <a:ext cx="446425" cy="284525"/>
            </a:xfrm>
            <a:custGeom>
              <a:avLst/>
              <a:gdLst>
                <a:gd name="connsiteX0" fmla="*/ 445161 w 446425"/>
                <a:gd name="connsiteY0" fmla="*/ 283260 h 284525"/>
                <a:gd name="connsiteX1" fmla="*/ 445161 w 446425"/>
                <a:gd name="connsiteY1" fmla="*/ 283260 h 284525"/>
                <a:gd name="connsiteX2" fmla="*/ 445161 w 446425"/>
                <a:gd name="connsiteY2" fmla="*/ 283260 h 284525"/>
                <a:gd name="connsiteX3" fmla="*/ 445161 w 446425"/>
                <a:gd name="connsiteY3" fmla="*/ 283260 h 284525"/>
                <a:gd name="connsiteX4" fmla="*/ 445161 w 446425"/>
                <a:gd name="connsiteY4" fmla="*/ 283260 h 284525"/>
                <a:gd name="connsiteX5" fmla="*/ 446426 w 446425"/>
                <a:gd name="connsiteY5" fmla="*/ 280732 h 284525"/>
                <a:gd name="connsiteX6" fmla="*/ 446426 w 446425"/>
                <a:gd name="connsiteY6" fmla="*/ 279467 h 284525"/>
                <a:gd name="connsiteX7" fmla="*/ 446426 w 446425"/>
                <a:gd name="connsiteY7" fmla="*/ 278202 h 284525"/>
                <a:gd name="connsiteX8" fmla="*/ 446426 w 446425"/>
                <a:gd name="connsiteY8" fmla="*/ 276938 h 284525"/>
                <a:gd name="connsiteX9" fmla="*/ 446426 w 446425"/>
                <a:gd name="connsiteY9" fmla="*/ 275673 h 284525"/>
                <a:gd name="connsiteX10" fmla="*/ 445161 w 446425"/>
                <a:gd name="connsiteY10" fmla="*/ 274409 h 284525"/>
                <a:gd name="connsiteX11" fmla="*/ 445161 w 446425"/>
                <a:gd name="connsiteY11" fmla="*/ 274409 h 284525"/>
                <a:gd name="connsiteX12" fmla="*/ 445161 w 446425"/>
                <a:gd name="connsiteY12" fmla="*/ 274409 h 284525"/>
                <a:gd name="connsiteX13" fmla="*/ 442632 w 446425"/>
                <a:gd name="connsiteY13" fmla="*/ 273144 h 284525"/>
                <a:gd name="connsiteX14" fmla="*/ 10117 w 446425"/>
                <a:gd name="connsiteY14" fmla="*/ 0 h 284525"/>
                <a:gd name="connsiteX15" fmla="*/ 2529 w 446425"/>
                <a:gd name="connsiteY15" fmla="*/ 3794 h 284525"/>
                <a:gd name="connsiteX16" fmla="*/ 0 w 446425"/>
                <a:gd name="connsiteY16" fmla="*/ 5058 h 284525"/>
                <a:gd name="connsiteX17" fmla="*/ 433779 w 446425"/>
                <a:gd name="connsiteY17" fmla="*/ 278202 h 284525"/>
                <a:gd name="connsiteX18" fmla="*/ 440102 w 446425"/>
                <a:gd name="connsiteY18" fmla="*/ 281996 h 284525"/>
                <a:gd name="connsiteX19" fmla="*/ 445161 w 446425"/>
                <a:gd name="connsiteY19" fmla="*/ 283260 h 2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425" h="284525">
                  <a:moveTo>
                    <a:pt x="445161" y="283260"/>
                  </a:moveTo>
                  <a:cubicBezTo>
                    <a:pt x="445161" y="283260"/>
                    <a:pt x="445161" y="283260"/>
                    <a:pt x="445161" y="283260"/>
                  </a:cubicBezTo>
                  <a:cubicBezTo>
                    <a:pt x="446426" y="281996"/>
                    <a:pt x="446426" y="281996"/>
                    <a:pt x="445161" y="283260"/>
                  </a:cubicBezTo>
                  <a:lnTo>
                    <a:pt x="445161" y="283260"/>
                  </a:lnTo>
                  <a:lnTo>
                    <a:pt x="445161" y="283260"/>
                  </a:lnTo>
                  <a:lnTo>
                    <a:pt x="446426" y="280732"/>
                  </a:lnTo>
                  <a:cubicBezTo>
                    <a:pt x="446426" y="280732"/>
                    <a:pt x="446426" y="280732"/>
                    <a:pt x="446426" y="279467"/>
                  </a:cubicBezTo>
                  <a:cubicBezTo>
                    <a:pt x="446426" y="279467"/>
                    <a:pt x="446426" y="279467"/>
                    <a:pt x="446426" y="278202"/>
                  </a:cubicBezTo>
                  <a:cubicBezTo>
                    <a:pt x="446426" y="278202"/>
                    <a:pt x="446426" y="278202"/>
                    <a:pt x="446426" y="276938"/>
                  </a:cubicBezTo>
                  <a:cubicBezTo>
                    <a:pt x="446426" y="276938"/>
                    <a:pt x="446426" y="276938"/>
                    <a:pt x="446426" y="275673"/>
                  </a:cubicBezTo>
                  <a:lnTo>
                    <a:pt x="445161" y="274409"/>
                  </a:lnTo>
                  <a:lnTo>
                    <a:pt x="445161" y="274409"/>
                  </a:lnTo>
                  <a:lnTo>
                    <a:pt x="445161" y="274409"/>
                  </a:lnTo>
                  <a:lnTo>
                    <a:pt x="442632" y="273144"/>
                  </a:lnTo>
                  <a:lnTo>
                    <a:pt x="10117" y="0"/>
                  </a:lnTo>
                  <a:lnTo>
                    <a:pt x="2529" y="3794"/>
                  </a:lnTo>
                  <a:lnTo>
                    <a:pt x="0" y="5058"/>
                  </a:lnTo>
                  <a:lnTo>
                    <a:pt x="433779" y="278202"/>
                  </a:lnTo>
                  <a:lnTo>
                    <a:pt x="440102" y="281996"/>
                  </a:lnTo>
                  <a:cubicBezTo>
                    <a:pt x="442632" y="285790"/>
                    <a:pt x="443896" y="284525"/>
                    <a:pt x="445161" y="283260"/>
                  </a:cubicBezTo>
                  <a:close/>
                </a:path>
              </a:pathLst>
            </a:custGeom>
            <a:solidFill>
              <a:srgbClr val="000000"/>
            </a:solidFill>
            <a:ln w="12625"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346A1C2C-5814-42DD-BBB1-1679A5F59253}"/>
                </a:ext>
              </a:extLst>
            </p:cNvPr>
            <p:cNvSpPr/>
            <p:nvPr/>
          </p:nvSpPr>
          <p:spPr>
            <a:xfrm>
              <a:off x="10287774" y="4602503"/>
              <a:ext cx="436308" cy="252595"/>
            </a:xfrm>
            <a:custGeom>
              <a:avLst/>
              <a:gdLst>
                <a:gd name="connsiteX0" fmla="*/ 429985 w 436308"/>
                <a:gd name="connsiteY0" fmla="*/ 251647 h 252595"/>
                <a:gd name="connsiteX1" fmla="*/ 435044 w 436308"/>
                <a:gd name="connsiteY1" fmla="*/ 251647 h 252595"/>
                <a:gd name="connsiteX2" fmla="*/ 436308 w 436308"/>
                <a:gd name="connsiteY2" fmla="*/ 251647 h 252595"/>
                <a:gd name="connsiteX3" fmla="*/ 436308 w 436308"/>
                <a:gd name="connsiteY3" fmla="*/ 251647 h 252595"/>
                <a:gd name="connsiteX4" fmla="*/ 436308 w 436308"/>
                <a:gd name="connsiteY4" fmla="*/ 251647 h 252595"/>
                <a:gd name="connsiteX5" fmla="*/ 436308 w 436308"/>
                <a:gd name="connsiteY5" fmla="*/ 251647 h 252595"/>
                <a:gd name="connsiteX6" fmla="*/ 436308 w 436308"/>
                <a:gd name="connsiteY6" fmla="*/ 250382 h 252595"/>
                <a:gd name="connsiteX7" fmla="*/ 436308 w 436308"/>
                <a:gd name="connsiteY7" fmla="*/ 249118 h 252595"/>
                <a:gd name="connsiteX8" fmla="*/ 436308 w 436308"/>
                <a:gd name="connsiteY8" fmla="*/ 247853 h 252595"/>
                <a:gd name="connsiteX9" fmla="*/ 436308 w 436308"/>
                <a:gd name="connsiteY9" fmla="*/ 246588 h 252595"/>
                <a:gd name="connsiteX10" fmla="*/ 436308 w 436308"/>
                <a:gd name="connsiteY10" fmla="*/ 245324 h 252595"/>
                <a:gd name="connsiteX11" fmla="*/ 436308 w 436308"/>
                <a:gd name="connsiteY11" fmla="*/ 245324 h 252595"/>
                <a:gd name="connsiteX12" fmla="*/ 435044 w 436308"/>
                <a:gd name="connsiteY12" fmla="*/ 245324 h 252595"/>
                <a:gd name="connsiteX13" fmla="*/ 435044 w 436308"/>
                <a:gd name="connsiteY13" fmla="*/ 245324 h 252595"/>
                <a:gd name="connsiteX14" fmla="*/ 432514 w 436308"/>
                <a:gd name="connsiteY14" fmla="*/ 244059 h 252595"/>
                <a:gd name="connsiteX15" fmla="*/ 426191 w 436308"/>
                <a:gd name="connsiteY15" fmla="*/ 240266 h 252595"/>
                <a:gd name="connsiteX16" fmla="*/ 3794 w 436308"/>
                <a:gd name="connsiteY16" fmla="*/ 0 h 252595"/>
                <a:gd name="connsiteX17" fmla="*/ 3794 w 436308"/>
                <a:gd name="connsiteY17" fmla="*/ 2529 h 252595"/>
                <a:gd name="connsiteX18" fmla="*/ 3794 w 436308"/>
                <a:gd name="connsiteY18" fmla="*/ 2529 h 252595"/>
                <a:gd name="connsiteX19" fmla="*/ 3794 w 436308"/>
                <a:gd name="connsiteY19" fmla="*/ 3794 h 252595"/>
                <a:gd name="connsiteX20" fmla="*/ 3794 w 436308"/>
                <a:gd name="connsiteY20" fmla="*/ 5058 h 252595"/>
                <a:gd name="connsiteX21" fmla="*/ 3794 w 436308"/>
                <a:gd name="connsiteY21" fmla="*/ 6323 h 252595"/>
                <a:gd name="connsiteX22" fmla="*/ 3794 w 436308"/>
                <a:gd name="connsiteY22" fmla="*/ 7587 h 252595"/>
                <a:gd name="connsiteX23" fmla="*/ 3794 w 436308"/>
                <a:gd name="connsiteY23" fmla="*/ 7587 h 252595"/>
                <a:gd name="connsiteX24" fmla="*/ 2529 w 436308"/>
                <a:gd name="connsiteY24" fmla="*/ 7587 h 252595"/>
                <a:gd name="connsiteX25" fmla="*/ 2529 w 436308"/>
                <a:gd name="connsiteY25" fmla="*/ 7587 h 252595"/>
                <a:gd name="connsiteX26" fmla="*/ 0 w 436308"/>
                <a:gd name="connsiteY26" fmla="*/ 8852 h 252595"/>
                <a:gd name="connsiteX27" fmla="*/ 422397 w 436308"/>
                <a:gd name="connsiteY27" fmla="*/ 249118 h 252595"/>
                <a:gd name="connsiteX28" fmla="*/ 429985 w 436308"/>
                <a:gd name="connsiteY28" fmla="*/ 251647 h 25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6308" h="252595">
                  <a:moveTo>
                    <a:pt x="429985" y="251647"/>
                  </a:moveTo>
                  <a:cubicBezTo>
                    <a:pt x="431250" y="252911"/>
                    <a:pt x="433779" y="252911"/>
                    <a:pt x="435044" y="251647"/>
                  </a:cubicBezTo>
                  <a:lnTo>
                    <a:pt x="436308" y="251647"/>
                  </a:lnTo>
                  <a:lnTo>
                    <a:pt x="436308" y="251647"/>
                  </a:lnTo>
                  <a:lnTo>
                    <a:pt x="436308" y="251647"/>
                  </a:lnTo>
                  <a:lnTo>
                    <a:pt x="436308" y="251647"/>
                  </a:lnTo>
                  <a:cubicBezTo>
                    <a:pt x="436308" y="251647"/>
                    <a:pt x="436308" y="251647"/>
                    <a:pt x="436308" y="250382"/>
                  </a:cubicBezTo>
                  <a:cubicBezTo>
                    <a:pt x="436308" y="250382"/>
                    <a:pt x="436308" y="250382"/>
                    <a:pt x="436308" y="249118"/>
                  </a:cubicBezTo>
                  <a:cubicBezTo>
                    <a:pt x="436308" y="249118"/>
                    <a:pt x="436308" y="249118"/>
                    <a:pt x="436308" y="247853"/>
                  </a:cubicBezTo>
                  <a:cubicBezTo>
                    <a:pt x="436308" y="247853"/>
                    <a:pt x="436308" y="247853"/>
                    <a:pt x="436308" y="246588"/>
                  </a:cubicBezTo>
                  <a:cubicBezTo>
                    <a:pt x="436308" y="246588"/>
                    <a:pt x="436308" y="246588"/>
                    <a:pt x="436308" y="245324"/>
                  </a:cubicBezTo>
                  <a:cubicBezTo>
                    <a:pt x="436308" y="245324"/>
                    <a:pt x="436308" y="245324"/>
                    <a:pt x="436308" y="245324"/>
                  </a:cubicBezTo>
                  <a:lnTo>
                    <a:pt x="435044" y="245324"/>
                  </a:lnTo>
                  <a:lnTo>
                    <a:pt x="435044" y="245324"/>
                  </a:lnTo>
                  <a:lnTo>
                    <a:pt x="432514" y="244059"/>
                  </a:lnTo>
                  <a:lnTo>
                    <a:pt x="426191" y="240266"/>
                  </a:lnTo>
                  <a:lnTo>
                    <a:pt x="3794" y="0"/>
                  </a:lnTo>
                  <a:lnTo>
                    <a:pt x="3794" y="2529"/>
                  </a:lnTo>
                  <a:lnTo>
                    <a:pt x="3794" y="2529"/>
                  </a:lnTo>
                  <a:lnTo>
                    <a:pt x="3794" y="3794"/>
                  </a:lnTo>
                  <a:cubicBezTo>
                    <a:pt x="3794" y="3794"/>
                    <a:pt x="3794" y="3794"/>
                    <a:pt x="3794" y="5058"/>
                  </a:cubicBezTo>
                  <a:lnTo>
                    <a:pt x="3794" y="6323"/>
                  </a:lnTo>
                  <a:cubicBezTo>
                    <a:pt x="3794" y="6323"/>
                    <a:pt x="3794" y="6323"/>
                    <a:pt x="3794" y="7587"/>
                  </a:cubicBezTo>
                  <a:lnTo>
                    <a:pt x="3794" y="7587"/>
                  </a:lnTo>
                  <a:lnTo>
                    <a:pt x="2529" y="7587"/>
                  </a:lnTo>
                  <a:lnTo>
                    <a:pt x="2529" y="7587"/>
                  </a:lnTo>
                  <a:lnTo>
                    <a:pt x="0" y="8852"/>
                  </a:lnTo>
                  <a:lnTo>
                    <a:pt x="422397" y="249118"/>
                  </a:lnTo>
                  <a:lnTo>
                    <a:pt x="429985" y="251647"/>
                  </a:lnTo>
                  <a:close/>
                </a:path>
              </a:pathLst>
            </a:custGeom>
            <a:solidFill>
              <a:srgbClr val="000000"/>
            </a:solidFill>
            <a:ln w="12625"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701A608B-C2A2-460A-BEA8-F55068DBA166}"/>
                </a:ext>
              </a:extLst>
            </p:cNvPr>
            <p:cNvSpPr/>
            <p:nvPr/>
          </p:nvSpPr>
          <p:spPr>
            <a:xfrm>
              <a:off x="9929875" y="477827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529C5330-27E2-4C88-99A4-183E45289CA4}"/>
                </a:ext>
              </a:extLst>
            </p:cNvPr>
            <p:cNvSpPr/>
            <p:nvPr/>
          </p:nvSpPr>
          <p:spPr>
            <a:xfrm>
              <a:off x="9928610" y="4777012"/>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C6708AF7-1B31-4F52-8773-7A9D09F8540E}"/>
                </a:ext>
              </a:extLst>
            </p:cNvPr>
            <p:cNvSpPr/>
            <p:nvPr/>
          </p:nvSpPr>
          <p:spPr>
            <a:xfrm>
              <a:off x="9934934" y="4601238"/>
              <a:ext cx="354105" cy="178302"/>
            </a:xfrm>
            <a:custGeom>
              <a:avLst/>
              <a:gdLst>
                <a:gd name="connsiteX0" fmla="*/ 0 w 354105"/>
                <a:gd name="connsiteY0" fmla="*/ 178302 h 178302"/>
                <a:gd name="connsiteX1" fmla="*/ 0 w 354105"/>
                <a:gd name="connsiteY1" fmla="*/ 178302 h 178302"/>
                <a:gd name="connsiteX2" fmla="*/ 7588 w 354105"/>
                <a:gd name="connsiteY2" fmla="*/ 174509 h 178302"/>
                <a:gd name="connsiteX3" fmla="*/ 351576 w 354105"/>
                <a:gd name="connsiteY3" fmla="*/ 8852 h 178302"/>
                <a:gd name="connsiteX4" fmla="*/ 354105 w 354105"/>
                <a:gd name="connsiteY4" fmla="*/ 7587 h 178302"/>
                <a:gd name="connsiteX5" fmla="*/ 354105 w 354105"/>
                <a:gd name="connsiteY5" fmla="*/ 7587 h 178302"/>
                <a:gd name="connsiteX6" fmla="*/ 352841 w 354105"/>
                <a:gd name="connsiteY6" fmla="*/ 7587 h 178302"/>
                <a:gd name="connsiteX7" fmla="*/ 347782 w 354105"/>
                <a:gd name="connsiteY7" fmla="*/ 3794 h 178302"/>
                <a:gd name="connsiteX8" fmla="*/ 347782 w 354105"/>
                <a:gd name="connsiteY8" fmla="*/ 3794 h 178302"/>
                <a:gd name="connsiteX9" fmla="*/ 346517 w 354105"/>
                <a:gd name="connsiteY9" fmla="*/ 0 h 178302"/>
                <a:gd name="connsiteX10" fmla="*/ 1265 w 354105"/>
                <a:gd name="connsiteY10" fmla="*/ 166922 h 178302"/>
                <a:gd name="connsiteX11" fmla="*/ 2529 w 354105"/>
                <a:gd name="connsiteY11" fmla="*/ 173244 h 178302"/>
                <a:gd name="connsiteX12" fmla="*/ 0 w 354105"/>
                <a:gd name="connsiteY12" fmla="*/ 178302 h 17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105" h="178302">
                  <a:moveTo>
                    <a:pt x="0" y="178302"/>
                  </a:moveTo>
                  <a:lnTo>
                    <a:pt x="0" y="178302"/>
                  </a:lnTo>
                  <a:lnTo>
                    <a:pt x="7588" y="174509"/>
                  </a:lnTo>
                  <a:lnTo>
                    <a:pt x="351576" y="8852"/>
                  </a:lnTo>
                  <a:lnTo>
                    <a:pt x="354105" y="7587"/>
                  </a:lnTo>
                  <a:lnTo>
                    <a:pt x="354105" y="7587"/>
                  </a:lnTo>
                  <a:cubicBezTo>
                    <a:pt x="354105" y="7587"/>
                    <a:pt x="352841" y="7587"/>
                    <a:pt x="352841" y="7587"/>
                  </a:cubicBezTo>
                  <a:cubicBezTo>
                    <a:pt x="350311" y="7587"/>
                    <a:pt x="347782" y="6323"/>
                    <a:pt x="347782" y="3794"/>
                  </a:cubicBezTo>
                  <a:cubicBezTo>
                    <a:pt x="347782" y="3794"/>
                    <a:pt x="347782" y="3794"/>
                    <a:pt x="347782" y="3794"/>
                  </a:cubicBezTo>
                  <a:lnTo>
                    <a:pt x="346517" y="0"/>
                  </a:lnTo>
                  <a:lnTo>
                    <a:pt x="1265" y="166922"/>
                  </a:lnTo>
                  <a:lnTo>
                    <a:pt x="2529" y="173244"/>
                  </a:lnTo>
                  <a:cubicBezTo>
                    <a:pt x="2529" y="175773"/>
                    <a:pt x="1265" y="177038"/>
                    <a:pt x="0" y="178302"/>
                  </a:cubicBezTo>
                  <a:close/>
                </a:path>
              </a:pathLst>
            </a:custGeom>
            <a:solidFill>
              <a:srgbClr val="000000"/>
            </a:solidFill>
            <a:ln w="12625"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7949C869-C5A3-4A74-912A-7E176F0F924A}"/>
                </a:ext>
              </a:extLst>
            </p:cNvPr>
            <p:cNvSpPr/>
            <p:nvPr/>
          </p:nvSpPr>
          <p:spPr>
            <a:xfrm>
              <a:off x="11544848" y="2140412"/>
              <a:ext cx="509658" cy="184625"/>
            </a:xfrm>
            <a:custGeom>
              <a:avLst/>
              <a:gdLst>
                <a:gd name="connsiteX0" fmla="*/ 507129 w 509658"/>
                <a:gd name="connsiteY0" fmla="*/ 180832 h 184625"/>
                <a:gd name="connsiteX1" fmla="*/ 507129 w 509658"/>
                <a:gd name="connsiteY1" fmla="*/ 180832 h 184625"/>
                <a:gd name="connsiteX2" fmla="*/ 507129 w 509658"/>
                <a:gd name="connsiteY2" fmla="*/ 179567 h 184625"/>
                <a:gd name="connsiteX3" fmla="*/ 507129 w 509658"/>
                <a:gd name="connsiteY3" fmla="*/ 179567 h 184625"/>
                <a:gd name="connsiteX4" fmla="*/ 508394 w 509658"/>
                <a:gd name="connsiteY4" fmla="*/ 178302 h 184625"/>
                <a:gd name="connsiteX5" fmla="*/ 508394 w 509658"/>
                <a:gd name="connsiteY5" fmla="*/ 178302 h 184625"/>
                <a:gd name="connsiteX6" fmla="*/ 509659 w 509658"/>
                <a:gd name="connsiteY6" fmla="*/ 177038 h 184625"/>
                <a:gd name="connsiteX7" fmla="*/ 0 w 509658"/>
                <a:gd name="connsiteY7" fmla="*/ 0 h 184625"/>
                <a:gd name="connsiteX8" fmla="*/ 0 w 509658"/>
                <a:gd name="connsiteY8" fmla="*/ 2529 h 184625"/>
                <a:gd name="connsiteX9" fmla="*/ 2529 w 509658"/>
                <a:gd name="connsiteY9" fmla="*/ 8852 h 184625"/>
                <a:gd name="connsiteX10" fmla="*/ 507129 w 509658"/>
                <a:gd name="connsiteY10" fmla="*/ 184625 h 184625"/>
                <a:gd name="connsiteX11" fmla="*/ 507129 w 509658"/>
                <a:gd name="connsiteY11" fmla="*/ 182096 h 184625"/>
                <a:gd name="connsiteX12" fmla="*/ 507129 w 509658"/>
                <a:gd name="connsiteY12" fmla="*/ 182096 h 18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9658" h="184625">
                  <a:moveTo>
                    <a:pt x="507129" y="180832"/>
                  </a:moveTo>
                  <a:lnTo>
                    <a:pt x="507129" y="180832"/>
                  </a:lnTo>
                  <a:cubicBezTo>
                    <a:pt x="507129" y="179567"/>
                    <a:pt x="507129" y="179567"/>
                    <a:pt x="507129" y="179567"/>
                  </a:cubicBezTo>
                  <a:cubicBezTo>
                    <a:pt x="507129" y="179567"/>
                    <a:pt x="507129" y="179567"/>
                    <a:pt x="507129" y="179567"/>
                  </a:cubicBezTo>
                  <a:lnTo>
                    <a:pt x="508394" y="178302"/>
                  </a:lnTo>
                  <a:lnTo>
                    <a:pt x="508394" y="178302"/>
                  </a:lnTo>
                  <a:lnTo>
                    <a:pt x="509659" y="177038"/>
                  </a:lnTo>
                  <a:lnTo>
                    <a:pt x="0" y="0"/>
                  </a:lnTo>
                  <a:lnTo>
                    <a:pt x="0" y="2529"/>
                  </a:lnTo>
                  <a:lnTo>
                    <a:pt x="2529" y="8852"/>
                  </a:lnTo>
                  <a:lnTo>
                    <a:pt x="507129" y="184625"/>
                  </a:lnTo>
                  <a:lnTo>
                    <a:pt x="507129" y="182096"/>
                  </a:lnTo>
                  <a:lnTo>
                    <a:pt x="507129" y="182096"/>
                  </a:lnTo>
                </a:path>
              </a:pathLst>
            </a:custGeom>
            <a:solidFill>
              <a:srgbClr val="000000"/>
            </a:solidFill>
            <a:ln w="12625"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A085354F-6939-4CA3-A8E5-1D20F7C4BEA6}"/>
                </a:ext>
              </a:extLst>
            </p:cNvPr>
            <p:cNvSpPr/>
            <p:nvPr/>
          </p:nvSpPr>
          <p:spPr>
            <a:xfrm>
              <a:off x="11522084" y="1919115"/>
              <a:ext cx="128995" cy="58169"/>
            </a:xfrm>
            <a:custGeom>
              <a:avLst/>
              <a:gdLst>
                <a:gd name="connsiteX0" fmla="*/ 1265 w 128995"/>
                <a:gd name="connsiteY0" fmla="*/ 58169 h 58169"/>
                <a:gd name="connsiteX1" fmla="*/ 128995 w 128995"/>
                <a:gd name="connsiteY1" fmla="*/ 8852 h 58169"/>
                <a:gd name="connsiteX2" fmla="*/ 127731 w 128995"/>
                <a:gd name="connsiteY2" fmla="*/ 3794 h 58169"/>
                <a:gd name="connsiteX3" fmla="*/ 127731 w 128995"/>
                <a:gd name="connsiteY3" fmla="*/ 0 h 58169"/>
                <a:gd name="connsiteX4" fmla="*/ 0 w 128995"/>
                <a:gd name="connsiteY4" fmla="*/ 49318 h 58169"/>
                <a:gd name="connsiteX5" fmla="*/ 1265 w 128995"/>
                <a:gd name="connsiteY5" fmla="*/ 54376 h 5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995" h="58169">
                  <a:moveTo>
                    <a:pt x="1265" y="58169"/>
                  </a:moveTo>
                  <a:lnTo>
                    <a:pt x="128995" y="8852"/>
                  </a:lnTo>
                  <a:lnTo>
                    <a:pt x="127731" y="3794"/>
                  </a:lnTo>
                  <a:lnTo>
                    <a:pt x="127731" y="0"/>
                  </a:lnTo>
                  <a:lnTo>
                    <a:pt x="0" y="49318"/>
                  </a:lnTo>
                  <a:lnTo>
                    <a:pt x="1265" y="54376"/>
                  </a:lnTo>
                  <a:close/>
                </a:path>
              </a:pathLst>
            </a:custGeom>
            <a:solidFill>
              <a:srgbClr val="000000"/>
            </a:solidFill>
            <a:ln w="12625"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F72EF7BB-B9D5-4118-867D-28C07869E8C1}"/>
                </a:ext>
              </a:extLst>
            </p:cNvPr>
            <p:cNvSpPr/>
            <p:nvPr/>
          </p:nvSpPr>
          <p:spPr>
            <a:xfrm>
              <a:off x="12050713" y="2322508"/>
              <a:ext cx="123937" cy="940829"/>
            </a:xfrm>
            <a:custGeom>
              <a:avLst/>
              <a:gdLst>
                <a:gd name="connsiteX0" fmla="*/ 1265 w 123937"/>
                <a:gd name="connsiteY0" fmla="*/ 3794 h 940829"/>
                <a:gd name="connsiteX1" fmla="*/ 113820 w 123937"/>
                <a:gd name="connsiteY1" fmla="*/ 937036 h 940829"/>
                <a:gd name="connsiteX2" fmla="*/ 121408 w 123937"/>
                <a:gd name="connsiteY2" fmla="*/ 939565 h 940829"/>
                <a:gd name="connsiteX3" fmla="*/ 123937 w 123937"/>
                <a:gd name="connsiteY3" fmla="*/ 940830 h 940829"/>
                <a:gd name="connsiteX4" fmla="*/ 10118 w 123937"/>
                <a:gd name="connsiteY4" fmla="*/ 2529 h 940829"/>
                <a:gd name="connsiteX5" fmla="*/ 6323 w 123937"/>
                <a:gd name="connsiteY5" fmla="*/ 3794 h 940829"/>
                <a:gd name="connsiteX6" fmla="*/ 0 w 123937"/>
                <a:gd name="connsiteY6" fmla="*/ 1265 h 940829"/>
                <a:gd name="connsiteX7" fmla="*/ 0 w 123937"/>
                <a:gd name="connsiteY7" fmla="*/ 0 h 940829"/>
                <a:gd name="connsiteX8" fmla="*/ 0 w 123937"/>
                <a:gd name="connsiteY8" fmla="*/ 0 h 940829"/>
                <a:gd name="connsiteX9" fmla="*/ 1265 w 123937"/>
                <a:gd name="connsiteY9" fmla="*/ 3794 h 94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937" h="940829">
                  <a:moveTo>
                    <a:pt x="1265" y="3794"/>
                  </a:moveTo>
                  <a:lnTo>
                    <a:pt x="113820" y="937036"/>
                  </a:lnTo>
                  <a:lnTo>
                    <a:pt x="121408" y="939565"/>
                  </a:lnTo>
                  <a:lnTo>
                    <a:pt x="123937" y="940830"/>
                  </a:lnTo>
                  <a:lnTo>
                    <a:pt x="10118" y="2529"/>
                  </a:lnTo>
                  <a:lnTo>
                    <a:pt x="6323" y="3794"/>
                  </a:lnTo>
                  <a:cubicBezTo>
                    <a:pt x="3794" y="5058"/>
                    <a:pt x="1265" y="3794"/>
                    <a:pt x="0" y="1265"/>
                  </a:cubicBezTo>
                  <a:cubicBezTo>
                    <a:pt x="0" y="1265"/>
                    <a:pt x="0" y="0"/>
                    <a:pt x="0" y="0"/>
                  </a:cubicBezTo>
                  <a:lnTo>
                    <a:pt x="0" y="0"/>
                  </a:lnTo>
                  <a:lnTo>
                    <a:pt x="1265" y="3794"/>
                  </a:lnTo>
                  <a:close/>
                </a:path>
              </a:pathLst>
            </a:custGeom>
            <a:solidFill>
              <a:srgbClr val="000000"/>
            </a:solidFill>
            <a:ln w="12625"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8D425C0-ACA9-4DA0-9C01-E36D35C3FCEC}"/>
                </a:ext>
              </a:extLst>
            </p:cNvPr>
            <p:cNvSpPr/>
            <p:nvPr/>
          </p:nvSpPr>
          <p:spPr>
            <a:xfrm>
              <a:off x="10606469" y="30554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B95B9AB2-C26E-4501-AA0D-6D5052593E80}"/>
                </a:ext>
              </a:extLst>
            </p:cNvPr>
            <p:cNvSpPr/>
            <p:nvPr/>
          </p:nvSpPr>
          <p:spPr>
            <a:xfrm>
              <a:off x="10608998" y="30174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6203AA5B-50BB-4E35-BFAC-D8766D1CCD1D}"/>
                </a:ext>
              </a:extLst>
            </p:cNvPr>
            <p:cNvSpPr/>
            <p:nvPr/>
          </p:nvSpPr>
          <p:spPr>
            <a:xfrm>
              <a:off x="10615322" y="305541"/>
              <a:ext cx="252932" cy="64492"/>
            </a:xfrm>
            <a:custGeom>
              <a:avLst/>
              <a:gdLst>
                <a:gd name="connsiteX0" fmla="*/ 249139 w 252932"/>
                <a:gd name="connsiteY0" fmla="*/ 61963 h 64492"/>
                <a:gd name="connsiteX1" fmla="*/ 249139 w 252932"/>
                <a:gd name="connsiteY1" fmla="*/ 61963 h 64492"/>
                <a:gd name="connsiteX2" fmla="*/ 249139 w 252932"/>
                <a:gd name="connsiteY2" fmla="*/ 60699 h 64492"/>
                <a:gd name="connsiteX3" fmla="*/ 249139 w 252932"/>
                <a:gd name="connsiteY3" fmla="*/ 59434 h 64492"/>
                <a:gd name="connsiteX4" fmla="*/ 249139 w 252932"/>
                <a:gd name="connsiteY4" fmla="*/ 58170 h 64492"/>
                <a:gd name="connsiteX5" fmla="*/ 249139 w 252932"/>
                <a:gd name="connsiteY5" fmla="*/ 56905 h 64492"/>
                <a:gd name="connsiteX6" fmla="*/ 250403 w 252932"/>
                <a:gd name="connsiteY6" fmla="*/ 56905 h 64492"/>
                <a:gd name="connsiteX7" fmla="*/ 251668 w 252932"/>
                <a:gd name="connsiteY7" fmla="*/ 56905 h 64492"/>
                <a:gd name="connsiteX8" fmla="*/ 251668 w 252932"/>
                <a:gd name="connsiteY8" fmla="*/ 56905 h 64492"/>
                <a:gd name="connsiteX9" fmla="*/ 252932 w 252932"/>
                <a:gd name="connsiteY9" fmla="*/ 56905 h 64492"/>
                <a:gd name="connsiteX10" fmla="*/ 12647 w 252932"/>
                <a:gd name="connsiteY10" fmla="*/ 0 h 64492"/>
                <a:gd name="connsiteX11" fmla="*/ 0 w 252932"/>
                <a:gd name="connsiteY11" fmla="*/ 3794 h 64492"/>
                <a:gd name="connsiteX12" fmla="*/ 0 w 252932"/>
                <a:gd name="connsiteY12" fmla="*/ 6323 h 64492"/>
                <a:gd name="connsiteX13" fmla="*/ 247874 w 252932"/>
                <a:gd name="connsiteY13" fmla="*/ 64492 h 64492"/>
                <a:gd name="connsiteX14" fmla="*/ 249139 w 252932"/>
                <a:gd name="connsiteY14" fmla="*/ 61963 h 6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2932" h="64492">
                  <a:moveTo>
                    <a:pt x="249139" y="61963"/>
                  </a:moveTo>
                  <a:lnTo>
                    <a:pt x="249139" y="61963"/>
                  </a:lnTo>
                  <a:cubicBezTo>
                    <a:pt x="249139" y="60699"/>
                    <a:pt x="249139" y="60699"/>
                    <a:pt x="249139" y="60699"/>
                  </a:cubicBezTo>
                  <a:cubicBezTo>
                    <a:pt x="249139" y="60699"/>
                    <a:pt x="249139" y="60699"/>
                    <a:pt x="249139" y="59434"/>
                  </a:cubicBezTo>
                  <a:cubicBezTo>
                    <a:pt x="249139" y="59434"/>
                    <a:pt x="249139" y="59434"/>
                    <a:pt x="249139" y="58170"/>
                  </a:cubicBezTo>
                  <a:cubicBezTo>
                    <a:pt x="249139" y="58170"/>
                    <a:pt x="249139" y="58170"/>
                    <a:pt x="249139" y="56905"/>
                  </a:cubicBezTo>
                  <a:cubicBezTo>
                    <a:pt x="249139" y="56905"/>
                    <a:pt x="249139" y="56905"/>
                    <a:pt x="250403" y="56905"/>
                  </a:cubicBezTo>
                  <a:lnTo>
                    <a:pt x="251668" y="56905"/>
                  </a:lnTo>
                  <a:lnTo>
                    <a:pt x="251668" y="56905"/>
                  </a:lnTo>
                  <a:lnTo>
                    <a:pt x="252932" y="56905"/>
                  </a:lnTo>
                  <a:lnTo>
                    <a:pt x="12647" y="0"/>
                  </a:lnTo>
                  <a:lnTo>
                    <a:pt x="0" y="3794"/>
                  </a:lnTo>
                  <a:lnTo>
                    <a:pt x="0" y="6323"/>
                  </a:lnTo>
                  <a:lnTo>
                    <a:pt x="247874" y="64492"/>
                  </a:lnTo>
                  <a:lnTo>
                    <a:pt x="249139" y="61963"/>
                  </a:lnTo>
                  <a:close/>
                </a:path>
              </a:pathLst>
            </a:custGeom>
            <a:solidFill>
              <a:srgbClr val="000000"/>
            </a:solidFill>
            <a:ln w="12625"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2A95263A-807B-438A-8C12-52BBB65E0240}"/>
                </a:ext>
              </a:extLst>
            </p:cNvPr>
            <p:cNvSpPr/>
            <p:nvPr/>
          </p:nvSpPr>
          <p:spPr>
            <a:xfrm>
              <a:off x="10606469" y="30554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878BA0F7-1F00-4859-92FE-D060EB791F84}"/>
                </a:ext>
              </a:extLst>
            </p:cNvPr>
            <p:cNvSpPr/>
            <p:nvPr/>
          </p:nvSpPr>
          <p:spPr>
            <a:xfrm>
              <a:off x="10610263" y="182880"/>
              <a:ext cx="408485" cy="126455"/>
            </a:xfrm>
            <a:custGeom>
              <a:avLst/>
              <a:gdLst>
                <a:gd name="connsiteX0" fmla="*/ 0 w 408485"/>
                <a:gd name="connsiteY0" fmla="*/ 118868 h 126455"/>
                <a:gd name="connsiteX1" fmla="*/ 5059 w 408485"/>
                <a:gd name="connsiteY1" fmla="*/ 122662 h 126455"/>
                <a:gd name="connsiteX2" fmla="*/ 5059 w 408485"/>
                <a:gd name="connsiteY2" fmla="*/ 122662 h 126455"/>
                <a:gd name="connsiteX3" fmla="*/ 6323 w 408485"/>
                <a:gd name="connsiteY3" fmla="*/ 126456 h 126455"/>
                <a:gd name="connsiteX4" fmla="*/ 18970 w 408485"/>
                <a:gd name="connsiteY4" fmla="*/ 122662 h 126455"/>
                <a:gd name="connsiteX5" fmla="*/ 408486 w 408485"/>
                <a:gd name="connsiteY5" fmla="*/ 8852 h 126455"/>
                <a:gd name="connsiteX6" fmla="*/ 407221 w 408485"/>
                <a:gd name="connsiteY6" fmla="*/ 8852 h 126455"/>
                <a:gd name="connsiteX7" fmla="*/ 403427 w 408485"/>
                <a:gd name="connsiteY7" fmla="*/ 3794 h 126455"/>
                <a:gd name="connsiteX8" fmla="*/ 407221 w 408485"/>
                <a:gd name="connsiteY8" fmla="*/ 0 h 126455"/>
                <a:gd name="connsiteX9" fmla="*/ 407221 w 408485"/>
                <a:gd name="connsiteY9" fmla="*/ 0 h 126455"/>
                <a:gd name="connsiteX10" fmla="*/ 0 w 408485"/>
                <a:gd name="connsiteY10" fmla="*/ 118868 h 126455"/>
                <a:gd name="connsiteX11" fmla="*/ 0 w 408485"/>
                <a:gd name="connsiteY11" fmla="*/ 118868 h 126455"/>
                <a:gd name="connsiteX12" fmla="*/ 0 w 408485"/>
                <a:gd name="connsiteY12" fmla="*/ 118868 h 126455"/>
                <a:gd name="connsiteX13" fmla="*/ 0 w 408485"/>
                <a:gd name="connsiteY13" fmla="*/ 118868 h 1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8485" h="126455">
                  <a:moveTo>
                    <a:pt x="0" y="118868"/>
                  </a:moveTo>
                  <a:cubicBezTo>
                    <a:pt x="2529" y="118868"/>
                    <a:pt x="5059" y="120133"/>
                    <a:pt x="5059" y="122662"/>
                  </a:cubicBezTo>
                  <a:cubicBezTo>
                    <a:pt x="5059" y="122662"/>
                    <a:pt x="5059" y="122662"/>
                    <a:pt x="5059" y="122662"/>
                  </a:cubicBezTo>
                  <a:lnTo>
                    <a:pt x="6323" y="126456"/>
                  </a:lnTo>
                  <a:lnTo>
                    <a:pt x="18970" y="122662"/>
                  </a:lnTo>
                  <a:lnTo>
                    <a:pt x="408486" y="8852"/>
                  </a:lnTo>
                  <a:lnTo>
                    <a:pt x="407221" y="8852"/>
                  </a:lnTo>
                  <a:cubicBezTo>
                    <a:pt x="404692" y="8852"/>
                    <a:pt x="403427" y="6323"/>
                    <a:pt x="403427" y="3794"/>
                  </a:cubicBezTo>
                  <a:cubicBezTo>
                    <a:pt x="403427" y="2529"/>
                    <a:pt x="404692" y="1265"/>
                    <a:pt x="407221" y="0"/>
                  </a:cubicBezTo>
                  <a:lnTo>
                    <a:pt x="407221" y="0"/>
                  </a:lnTo>
                  <a:lnTo>
                    <a:pt x="0" y="118868"/>
                  </a:lnTo>
                  <a:lnTo>
                    <a:pt x="0" y="118868"/>
                  </a:lnTo>
                  <a:lnTo>
                    <a:pt x="0" y="118868"/>
                  </a:lnTo>
                  <a:lnTo>
                    <a:pt x="0" y="118868"/>
                  </a:lnTo>
                  <a:close/>
                </a:path>
              </a:pathLst>
            </a:custGeom>
            <a:solidFill>
              <a:srgbClr val="000000"/>
            </a:solidFill>
            <a:ln w="12625"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48102ACB-6B14-4418-A562-0C3092A57277}"/>
                </a:ext>
              </a:extLst>
            </p:cNvPr>
            <p:cNvSpPr/>
            <p:nvPr/>
          </p:nvSpPr>
          <p:spPr>
            <a:xfrm>
              <a:off x="11284328" y="244843"/>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9403E1B8-DC3F-458E-AF46-251D5206D4DE}"/>
                </a:ext>
              </a:extLst>
            </p:cNvPr>
            <p:cNvSpPr/>
            <p:nvPr/>
          </p:nvSpPr>
          <p:spPr>
            <a:xfrm>
              <a:off x="11281799" y="241049"/>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D2A264B2-7D25-44AB-9CFD-546F85E50CB3}"/>
                </a:ext>
              </a:extLst>
            </p:cNvPr>
            <p:cNvSpPr/>
            <p:nvPr/>
          </p:nvSpPr>
          <p:spPr>
            <a:xfrm>
              <a:off x="11283063" y="24231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6C6E7DD1-647B-4243-A05E-3890C6BC8B0A}"/>
                </a:ext>
              </a:extLst>
            </p:cNvPr>
            <p:cNvSpPr/>
            <p:nvPr/>
          </p:nvSpPr>
          <p:spPr>
            <a:xfrm>
              <a:off x="11013690" y="182880"/>
              <a:ext cx="268108" cy="63227"/>
            </a:xfrm>
            <a:custGeom>
              <a:avLst/>
              <a:gdLst>
                <a:gd name="connsiteX0" fmla="*/ 0 w 268108"/>
                <a:gd name="connsiteY0" fmla="*/ 3794 h 63227"/>
                <a:gd name="connsiteX1" fmla="*/ 3794 w 268108"/>
                <a:gd name="connsiteY1" fmla="*/ 8852 h 63227"/>
                <a:gd name="connsiteX2" fmla="*/ 5059 w 268108"/>
                <a:gd name="connsiteY2" fmla="*/ 8852 h 63227"/>
                <a:gd name="connsiteX3" fmla="*/ 247874 w 268108"/>
                <a:gd name="connsiteY3" fmla="*/ 63228 h 63227"/>
                <a:gd name="connsiteX4" fmla="*/ 265579 w 268108"/>
                <a:gd name="connsiteY4" fmla="*/ 58170 h 63227"/>
                <a:gd name="connsiteX5" fmla="*/ 268108 w 268108"/>
                <a:gd name="connsiteY5" fmla="*/ 58170 h 63227"/>
                <a:gd name="connsiteX6" fmla="*/ 6323 w 268108"/>
                <a:gd name="connsiteY6" fmla="*/ 0 h 63227"/>
                <a:gd name="connsiteX7" fmla="*/ 3794 w 268108"/>
                <a:gd name="connsiteY7" fmla="*/ 0 h 63227"/>
                <a:gd name="connsiteX8" fmla="*/ 0 w 268108"/>
                <a:gd name="connsiteY8" fmla="*/ 3794 h 6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108" h="63227">
                  <a:moveTo>
                    <a:pt x="0" y="3794"/>
                  </a:moveTo>
                  <a:cubicBezTo>
                    <a:pt x="0" y="6323"/>
                    <a:pt x="1265" y="8852"/>
                    <a:pt x="3794" y="8852"/>
                  </a:cubicBezTo>
                  <a:lnTo>
                    <a:pt x="5059" y="8852"/>
                  </a:lnTo>
                  <a:lnTo>
                    <a:pt x="247874" y="63228"/>
                  </a:lnTo>
                  <a:lnTo>
                    <a:pt x="265579" y="58170"/>
                  </a:lnTo>
                  <a:lnTo>
                    <a:pt x="268108" y="58170"/>
                  </a:lnTo>
                  <a:lnTo>
                    <a:pt x="6323" y="0"/>
                  </a:lnTo>
                  <a:lnTo>
                    <a:pt x="3794" y="0"/>
                  </a:lnTo>
                  <a:cubicBezTo>
                    <a:pt x="2529" y="0"/>
                    <a:pt x="1265" y="1265"/>
                    <a:pt x="0" y="3794"/>
                  </a:cubicBezTo>
                  <a:close/>
                </a:path>
              </a:pathLst>
            </a:custGeom>
            <a:solidFill>
              <a:srgbClr val="000000"/>
            </a:solidFill>
            <a:ln w="126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3C1C3463-0CDE-4AF9-AFF8-AF889464435A}"/>
                </a:ext>
              </a:extLst>
            </p:cNvPr>
            <p:cNvSpPr/>
            <p:nvPr/>
          </p:nvSpPr>
          <p:spPr>
            <a:xfrm>
              <a:off x="10868254" y="241049"/>
              <a:ext cx="411015" cy="128984"/>
            </a:xfrm>
            <a:custGeom>
              <a:avLst/>
              <a:gdLst>
                <a:gd name="connsiteX0" fmla="*/ 0 w 411015"/>
                <a:gd name="connsiteY0" fmla="*/ 121397 h 128984"/>
                <a:gd name="connsiteX1" fmla="*/ 0 w 411015"/>
                <a:gd name="connsiteY1" fmla="*/ 121397 h 128984"/>
                <a:gd name="connsiteX2" fmla="*/ 0 w 411015"/>
                <a:gd name="connsiteY2" fmla="*/ 121397 h 128984"/>
                <a:gd name="connsiteX3" fmla="*/ 6323 w 411015"/>
                <a:gd name="connsiteY3" fmla="*/ 125191 h 128984"/>
                <a:gd name="connsiteX4" fmla="*/ 6323 w 411015"/>
                <a:gd name="connsiteY4" fmla="*/ 125191 h 128984"/>
                <a:gd name="connsiteX5" fmla="*/ 7588 w 411015"/>
                <a:gd name="connsiteY5" fmla="*/ 128985 h 128984"/>
                <a:gd name="connsiteX6" fmla="*/ 409751 w 411015"/>
                <a:gd name="connsiteY6" fmla="*/ 8852 h 128984"/>
                <a:gd name="connsiteX7" fmla="*/ 407221 w 411015"/>
                <a:gd name="connsiteY7" fmla="*/ 5058 h 128984"/>
                <a:gd name="connsiteX8" fmla="*/ 411015 w 411015"/>
                <a:gd name="connsiteY8" fmla="*/ 0 h 128984"/>
                <a:gd name="connsiteX9" fmla="*/ 411015 w 411015"/>
                <a:gd name="connsiteY9" fmla="*/ 0 h 128984"/>
                <a:gd name="connsiteX10" fmla="*/ 393310 w 411015"/>
                <a:gd name="connsiteY10" fmla="*/ 5058 h 128984"/>
                <a:gd name="connsiteX11" fmla="*/ 1265 w 411015"/>
                <a:gd name="connsiteY11" fmla="*/ 121397 h 128984"/>
                <a:gd name="connsiteX12" fmla="*/ 0 w 411015"/>
                <a:gd name="connsiteY12" fmla="*/ 121397 h 12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1015" h="128984">
                  <a:moveTo>
                    <a:pt x="0" y="121397"/>
                  </a:moveTo>
                  <a:lnTo>
                    <a:pt x="0" y="121397"/>
                  </a:lnTo>
                  <a:lnTo>
                    <a:pt x="0" y="121397"/>
                  </a:lnTo>
                  <a:cubicBezTo>
                    <a:pt x="3794" y="121397"/>
                    <a:pt x="6323" y="122662"/>
                    <a:pt x="6323" y="125191"/>
                  </a:cubicBezTo>
                  <a:cubicBezTo>
                    <a:pt x="6323" y="125191"/>
                    <a:pt x="6323" y="125191"/>
                    <a:pt x="6323" y="125191"/>
                  </a:cubicBezTo>
                  <a:lnTo>
                    <a:pt x="7588" y="128985"/>
                  </a:lnTo>
                  <a:lnTo>
                    <a:pt x="409751" y="8852"/>
                  </a:lnTo>
                  <a:lnTo>
                    <a:pt x="407221" y="5058"/>
                  </a:lnTo>
                  <a:cubicBezTo>
                    <a:pt x="407221" y="2529"/>
                    <a:pt x="408486" y="0"/>
                    <a:pt x="411015" y="0"/>
                  </a:cubicBezTo>
                  <a:lnTo>
                    <a:pt x="411015" y="0"/>
                  </a:lnTo>
                  <a:lnTo>
                    <a:pt x="393310" y="5058"/>
                  </a:lnTo>
                  <a:lnTo>
                    <a:pt x="1265" y="121397"/>
                  </a:lnTo>
                  <a:lnTo>
                    <a:pt x="0" y="121397"/>
                  </a:lnTo>
                  <a:close/>
                </a:path>
              </a:pathLst>
            </a:custGeom>
            <a:solidFill>
              <a:srgbClr val="000000"/>
            </a:solidFill>
            <a:ln w="12625"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A74BBFC9-3ADE-416B-93CB-BFCB167A8EC5}"/>
                </a:ext>
              </a:extLst>
            </p:cNvPr>
            <p:cNvSpPr/>
            <p:nvPr/>
          </p:nvSpPr>
          <p:spPr>
            <a:xfrm>
              <a:off x="11284328" y="24357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51F054F3-A6DC-46D1-96EF-FAA0A7630F37}"/>
                </a:ext>
              </a:extLst>
            </p:cNvPr>
            <p:cNvSpPr/>
            <p:nvPr/>
          </p:nvSpPr>
          <p:spPr>
            <a:xfrm>
              <a:off x="11281799" y="241049"/>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028277E0-1AF6-4FE7-B8E3-2E77A9261918}"/>
                </a:ext>
              </a:extLst>
            </p:cNvPr>
            <p:cNvSpPr/>
            <p:nvPr/>
          </p:nvSpPr>
          <p:spPr>
            <a:xfrm>
              <a:off x="11283063" y="24231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C3E0C87D-A04E-4446-80E8-C03951024E59}"/>
                </a:ext>
              </a:extLst>
            </p:cNvPr>
            <p:cNvSpPr/>
            <p:nvPr/>
          </p:nvSpPr>
          <p:spPr>
            <a:xfrm>
              <a:off x="10864460" y="363711"/>
              <a:ext cx="586802" cy="3802520"/>
            </a:xfrm>
            <a:custGeom>
              <a:avLst/>
              <a:gdLst>
                <a:gd name="connsiteX0" fmla="*/ 581744 w 586802"/>
                <a:gd name="connsiteY0" fmla="*/ 3796197 h 3802520"/>
                <a:gd name="connsiteX1" fmla="*/ 586803 w 586802"/>
                <a:gd name="connsiteY1" fmla="*/ 3799991 h 3802520"/>
                <a:gd name="connsiteX2" fmla="*/ 586803 w 586802"/>
                <a:gd name="connsiteY2" fmla="*/ 3799991 h 3802520"/>
                <a:gd name="connsiteX3" fmla="*/ 585538 w 586802"/>
                <a:gd name="connsiteY3" fmla="*/ 3793668 h 3802520"/>
                <a:gd name="connsiteX4" fmla="*/ 10117 w 586802"/>
                <a:gd name="connsiteY4" fmla="*/ 7587 h 3802520"/>
                <a:gd name="connsiteX5" fmla="*/ 8853 w 586802"/>
                <a:gd name="connsiteY5" fmla="*/ 3794 h 3802520"/>
                <a:gd name="connsiteX6" fmla="*/ 3794 w 586802"/>
                <a:gd name="connsiteY6" fmla="*/ 0 h 3802520"/>
                <a:gd name="connsiteX7" fmla="*/ 3794 w 586802"/>
                <a:gd name="connsiteY7" fmla="*/ 0 h 3802520"/>
                <a:gd name="connsiteX8" fmla="*/ 2529 w 586802"/>
                <a:gd name="connsiteY8" fmla="*/ 0 h 3802520"/>
                <a:gd name="connsiteX9" fmla="*/ 1265 w 586802"/>
                <a:gd name="connsiteY9" fmla="*/ 0 h 3802520"/>
                <a:gd name="connsiteX10" fmla="*/ 0 w 586802"/>
                <a:gd name="connsiteY10" fmla="*/ 0 h 3802520"/>
                <a:gd name="connsiteX11" fmla="*/ 0 w 586802"/>
                <a:gd name="connsiteY11" fmla="*/ 1265 h 3802520"/>
                <a:gd name="connsiteX12" fmla="*/ 0 w 586802"/>
                <a:gd name="connsiteY12" fmla="*/ 2529 h 3802520"/>
                <a:gd name="connsiteX13" fmla="*/ 0 w 586802"/>
                <a:gd name="connsiteY13" fmla="*/ 3794 h 3802520"/>
                <a:gd name="connsiteX14" fmla="*/ 0 w 586802"/>
                <a:gd name="connsiteY14" fmla="*/ 5058 h 3802520"/>
                <a:gd name="connsiteX15" fmla="*/ 0 w 586802"/>
                <a:gd name="connsiteY15" fmla="*/ 6323 h 3802520"/>
                <a:gd name="connsiteX16" fmla="*/ 0 w 586802"/>
                <a:gd name="connsiteY16" fmla="*/ 8852 h 3802520"/>
                <a:gd name="connsiteX17" fmla="*/ 577950 w 586802"/>
                <a:gd name="connsiteY17" fmla="*/ 3802520 h 3802520"/>
                <a:gd name="connsiteX18" fmla="*/ 581744 w 586802"/>
                <a:gd name="connsiteY18" fmla="*/ 3796197 h 3802520"/>
                <a:gd name="connsiteX19" fmla="*/ 581744 w 586802"/>
                <a:gd name="connsiteY19" fmla="*/ 3796197 h 380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6802" h="3802520">
                  <a:moveTo>
                    <a:pt x="581744" y="3796197"/>
                  </a:moveTo>
                  <a:cubicBezTo>
                    <a:pt x="584274" y="3796197"/>
                    <a:pt x="586803" y="3797462"/>
                    <a:pt x="586803" y="3799991"/>
                  </a:cubicBezTo>
                  <a:cubicBezTo>
                    <a:pt x="586803" y="3799991"/>
                    <a:pt x="586803" y="3799991"/>
                    <a:pt x="586803" y="3799991"/>
                  </a:cubicBezTo>
                  <a:lnTo>
                    <a:pt x="585538" y="3793668"/>
                  </a:lnTo>
                  <a:lnTo>
                    <a:pt x="10117" y="7587"/>
                  </a:lnTo>
                  <a:lnTo>
                    <a:pt x="8853" y="3794"/>
                  </a:lnTo>
                  <a:cubicBezTo>
                    <a:pt x="8853" y="1265"/>
                    <a:pt x="6323" y="0"/>
                    <a:pt x="3794" y="0"/>
                  </a:cubicBezTo>
                  <a:cubicBezTo>
                    <a:pt x="3794" y="0"/>
                    <a:pt x="3794" y="0"/>
                    <a:pt x="3794" y="0"/>
                  </a:cubicBezTo>
                  <a:lnTo>
                    <a:pt x="2529" y="0"/>
                  </a:lnTo>
                  <a:lnTo>
                    <a:pt x="1265" y="0"/>
                  </a:lnTo>
                  <a:cubicBezTo>
                    <a:pt x="1265" y="0"/>
                    <a:pt x="1265" y="0"/>
                    <a:pt x="0" y="0"/>
                  </a:cubicBezTo>
                  <a:cubicBezTo>
                    <a:pt x="0" y="0"/>
                    <a:pt x="0" y="0"/>
                    <a:pt x="0" y="1265"/>
                  </a:cubicBezTo>
                  <a:cubicBezTo>
                    <a:pt x="0" y="1265"/>
                    <a:pt x="0" y="1265"/>
                    <a:pt x="0" y="2529"/>
                  </a:cubicBezTo>
                  <a:cubicBezTo>
                    <a:pt x="0" y="2529"/>
                    <a:pt x="0" y="2529"/>
                    <a:pt x="0" y="3794"/>
                  </a:cubicBezTo>
                  <a:cubicBezTo>
                    <a:pt x="0" y="3794"/>
                    <a:pt x="0" y="3794"/>
                    <a:pt x="0" y="5058"/>
                  </a:cubicBezTo>
                  <a:lnTo>
                    <a:pt x="0" y="6323"/>
                  </a:lnTo>
                  <a:lnTo>
                    <a:pt x="0" y="8852"/>
                  </a:lnTo>
                  <a:lnTo>
                    <a:pt x="577950" y="3802520"/>
                  </a:lnTo>
                  <a:cubicBezTo>
                    <a:pt x="576686" y="3799991"/>
                    <a:pt x="577950" y="3797462"/>
                    <a:pt x="581744" y="3796197"/>
                  </a:cubicBezTo>
                  <a:cubicBezTo>
                    <a:pt x="580480" y="3796197"/>
                    <a:pt x="581744" y="3796197"/>
                    <a:pt x="581744" y="3796197"/>
                  </a:cubicBezTo>
                  <a:close/>
                </a:path>
              </a:pathLst>
            </a:custGeom>
            <a:solidFill>
              <a:srgbClr val="000000"/>
            </a:solidFill>
            <a:ln w="12625"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56A69362-3DD5-4271-9B61-3DB87662996C}"/>
                </a:ext>
              </a:extLst>
            </p:cNvPr>
            <p:cNvSpPr/>
            <p:nvPr/>
          </p:nvSpPr>
          <p:spPr>
            <a:xfrm>
              <a:off x="10142338" y="3894352"/>
              <a:ext cx="149230" cy="714970"/>
            </a:xfrm>
            <a:custGeom>
              <a:avLst/>
              <a:gdLst>
                <a:gd name="connsiteX0" fmla="*/ 146701 w 149230"/>
                <a:gd name="connsiteY0" fmla="*/ 714474 h 714970"/>
                <a:gd name="connsiteX1" fmla="*/ 147965 w 149230"/>
                <a:gd name="connsiteY1" fmla="*/ 714474 h 714970"/>
                <a:gd name="connsiteX2" fmla="*/ 149230 w 149230"/>
                <a:gd name="connsiteY2" fmla="*/ 714474 h 714970"/>
                <a:gd name="connsiteX3" fmla="*/ 149230 w 149230"/>
                <a:gd name="connsiteY3" fmla="*/ 714474 h 714970"/>
                <a:gd name="connsiteX4" fmla="*/ 149230 w 149230"/>
                <a:gd name="connsiteY4" fmla="*/ 713210 h 714970"/>
                <a:gd name="connsiteX5" fmla="*/ 149230 w 149230"/>
                <a:gd name="connsiteY5" fmla="*/ 711945 h 714970"/>
                <a:gd name="connsiteX6" fmla="*/ 149230 w 149230"/>
                <a:gd name="connsiteY6" fmla="*/ 710681 h 714970"/>
                <a:gd name="connsiteX7" fmla="*/ 149230 w 149230"/>
                <a:gd name="connsiteY7" fmla="*/ 709416 h 714970"/>
                <a:gd name="connsiteX8" fmla="*/ 149230 w 149230"/>
                <a:gd name="connsiteY8" fmla="*/ 709416 h 714970"/>
                <a:gd name="connsiteX9" fmla="*/ 149230 w 149230"/>
                <a:gd name="connsiteY9" fmla="*/ 706887 h 714970"/>
                <a:gd name="connsiteX10" fmla="*/ 10117 w 149230"/>
                <a:gd name="connsiteY10" fmla="*/ 7587 h 714970"/>
                <a:gd name="connsiteX11" fmla="*/ 1265 w 149230"/>
                <a:gd name="connsiteY11" fmla="*/ 2529 h 714970"/>
                <a:gd name="connsiteX12" fmla="*/ 1265 w 149230"/>
                <a:gd name="connsiteY12" fmla="*/ 2529 h 714970"/>
                <a:gd name="connsiteX13" fmla="*/ 0 w 149230"/>
                <a:gd name="connsiteY13" fmla="*/ 2529 h 714970"/>
                <a:gd name="connsiteX14" fmla="*/ 0 w 149230"/>
                <a:gd name="connsiteY14" fmla="*/ 2529 h 714970"/>
                <a:gd name="connsiteX15" fmla="*/ 0 w 149230"/>
                <a:gd name="connsiteY15" fmla="*/ 1265 h 714970"/>
                <a:gd name="connsiteX16" fmla="*/ 0 w 149230"/>
                <a:gd name="connsiteY16" fmla="*/ 0 h 714970"/>
                <a:gd name="connsiteX17" fmla="*/ 0 w 149230"/>
                <a:gd name="connsiteY17" fmla="*/ 0 h 714970"/>
                <a:gd name="connsiteX18" fmla="*/ 140378 w 149230"/>
                <a:gd name="connsiteY18" fmla="*/ 708151 h 714970"/>
                <a:gd name="connsiteX19" fmla="*/ 141642 w 149230"/>
                <a:gd name="connsiteY19" fmla="*/ 711945 h 714970"/>
                <a:gd name="connsiteX20" fmla="*/ 146701 w 149230"/>
                <a:gd name="connsiteY20" fmla="*/ 714474 h 71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9230" h="714970">
                  <a:moveTo>
                    <a:pt x="146701" y="714474"/>
                  </a:moveTo>
                  <a:cubicBezTo>
                    <a:pt x="146701" y="714474"/>
                    <a:pt x="147965" y="714474"/>
                    <a:pt x="147965" y="714474"/>
                  </a:cubicBezTo>
                  <a:lnTo>
                    <a:pt x="149230" y="714474"/>
                  </a:lnTo>
                  <a:lnTo>
                    <a:pt x="149230" y="714474"/>
                  </a:lnTo>
                  <a:cubicBezTo>
                    <a:pt x="149230" y="714474"/>
                    <a:pt x="149230" y="714474"/>
                    <a:pt x="149230" y="713210"/>
                  </a:cubicBezTo>
                  <a:lnTo>
                    <a:pt x="149230" y="711945"/>
                  </a:lnTo>
                  <a:cubicBezTo>
                    <a:pt x="149230" y="711945"/>
                    <a:pt x="149230" y="711945"/>
                    <a:pt x="149230" y="710681"/>
                  </a:cubicBezTo>
                  <a:lnTo>
                    <a:pt x="149230" y="709416"/>
                  </a:lnTo>
                  <a:lnTo>
                    <a:pt x="149230" y="709416"/>
                  </a:lnTo>
                  <a:lnTo>
                    <a:pt x="149230" y="706887"/>
                  </a:lnTo>
                  <a:lnTo>
                    <a:pt x="10117" y="7587"/>
                  </a:lnTo>
                  <a:lnTo>
                    <a:pt x="1265" y="2529"/>
                  </a:lnTo>
                  <a:lnTo>
                    <a:pt x="1265" y="2529"/>
                  </a:lnTo>
                  <a:lnTo>
                    <a:pt x="0" y="2529"/>
                  </a:lnTo>
                  <a:lnTo>
                    <a:pt x="0" y="2529"/>
                  </a:lnTo>
                  <a:lnTo>
                    <a:pt x="0" y="1265"/>
                  </a:lnTo>
                  <a:lnTo>
                    <a:pt x="0" y="0"/>
                  </a:lnTo>
                  <a:lnTo>
                    <a:pt x="0" y="0"/>
                  </a:lnTo>
                  <a:lnTo>
                    <a:pt x="140378" y="708151"/>
                  </a:lnTo>
                  <a:lnTo>
                    <a:pt x="141642" y="711945"/>
                  </a:lnTo>
                  <a:cubicBezTo>
                    <a:pt x="142907" y="714474"/>
                    <a:pt x="144171" y="715739"/>
                    <a:pt x="146701" y="714474"/>
                  </a:cubicBezTo>
                  <a:close/>
                </a:path>
              </a:pathLst>
            </a:custGeom>
            <a:solidFill>
              <a:srgbClr val="000000"/>
            </a:solidFill>
            <a:ln w="12625"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C213592A-A4E0-469D-BC03-4F3027C991C5}"/>
                </a:ext>
              </a:extLst>
            </p:cNvPr>
            <p:cNvSpPr/>
            <p:nvPr/>
          </p:nvSpPr>
          <p:spPr>
            <a:xfrm>
              <a:off x="9460686" y="2580478"/>
              <a:ext cx="477273" cy="2199062"/>
            </a:xfrm>
            <a:custGeom>
              <a:avLst/>
              <a:gdLst>
                <a:gd name="connsiteX0" fmla="*/ 471719 w 477273"/>
                <a:gd name="connsiteY0" fmla="*/ 2199063 h 2199062"/>
                <a:gd name="connsiteX1" fmla="*/ 474248 w 477273"/>
                <a:gd name="connsiteY1" fmla="*/ 2199063 h 2199062"/>
                <a:gd name="connsiteX2" fmla="*/ 474248 w 477273"/>
                <a:gd name="connsiteY2" fmla="*/ 2199063 h 2199062"/>
                <a:gd name="connsiteX3" fmla="*/ 476778 w 477273"/>
                <a:gd name="connsiteY3" fmla="*/ 2194005 h 2199062"/>
                <a:gd name="connsiteX4" fmla="*/ 475513 w 477273"/>
                <a:gd name="connsiteY4" fmla="*/ 2187682 h 2199062"/>
                <a:gd name="connsiteX5" fmla="*/ 8853 w 477273"/>
                <a:gd name="connsiteY5" fmla="*/ 0 h 2199062"/>
                <a:gd name="connsiteX6" fmla="*/ 5059 w 477273"/>
                <a:gd name="connsiteY6" fmla="*/ 1264 h 2199062"/>
                <a:gd name="connsiteX7" fmla="*/ 5059 w 477273"/>
                <a:gd name="connsiteY7" fmla="*/ 1264 h 2199062"/>
                <a:gd name="connsiteX8" fmla="*/ 5059 w 477273"/>
                <a:gd name="connsiteY8" fmla="*/ 1264 h 2199062"/>
                <a:gd name="connsiteX9" fmla="*/ 3794 w 477273"/>
                <a:gd name="connsiteY9" fmla="*/ 1264 h 2199062"/>
                <a:gd name="connsiteX10" fmla="*/ 2529 w 477273"/>
                <a:gd name="connsiteY10" fmla="*/ 1264 h 2199062"/>
                <a:gd name="connsiteX11" fmla="*/ 2529 w 477273"/>
                <a:gd name="connsiteY11" fmla="*/ 1264 h 2199062"/>
                <a:gd name="connsiteX12" fmla="*/ 0 w 477273"/>
                <a:gd name="connsiteY12" fmla="*/ 0 h 2199062"/>
                <a:gd name="connsiteX13" fmla="*/ 467925 w 477273"/>
                <a:gd name="connsiteY13" fmla="*/ 2195270 h 2199062"/>
                <a:gd name="connsiteX14" fmla="*/ 467925 w 477273"/>
                <a:gd name="connsiteY14" fmla="*/ 2195270 h 2199062"/>
                <a:gd name="connsiteX15" fmla="*/ 467925 w 477273"/>
                <a:gd name="connsiteY15" fmla="*/ 2195270 h 2199062"/>
                <a:gd name="connsiteX16" fmla="*/ 467925 w 477273"/>
                <a:gd name="connsiteY16" fmla="*/ 2196534 h 2199062"/>
                <a:gd name="connsiteX17" fmla="*/ 467925 w 477273"/>
                <a:gd name="connsiteY17" fmla="*/ 2196534 h 2199062"/>
                <a:gd name="connsiteX18" fmla="*/ 467925 w 477273"/>
                <a:gd name="connsiteY18" fmla="*/ 2196534 h 2199062"/>
                <a:gd name="connsiteX19" fmla="*/ 467925 w 477273"/>
                <a:gd name="connsiteY19" fmla="*/ 2196534 h 2199062"/>
                <a:gd name="connsiteX20" fmla="*/ 467925 w 477273"/>
                <a:gd name="connsiteY20" fmla="*/ 2196534 h 2199062"/>
                <a:gd name="connsiteX21" fmla="*/ 467925 w 477273"/>
                <a:gd name="connsiteY21" fmla="*/ 2196534 h 2199062"/>
                <a:gd name="connsiteX22" fmla="*/ 471719 w 477273"/>
                <a:gd name="connsiteY22" fmla="*/ 2199063 h 219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7273" h="2199062">
                  <a:moveTo>
                    <a:pt x="471719" y="2199063"/>
                  </a:moveTo>
                  <a:lnTo>
                    <a:pt x="474248" y="2199063"/>
                  </a:lnTo>
                  <a:lnTo>
                    <a:pt x="474248" y="2199063"/>
                  </a:lnTo>
                  <a:cubicBezTo>
                    <a:pt x="476778" y="2197798"/>
                    <a:pt x="478042" y="2196534"/>
                    <a:pt x="476778" y="2194005"/>
                  </a:cubicBezTo>
                  <a:lnTo>
                    <a:pt x="475513" y="2187682"/>
                  </a:lnTo>
                  <a:lnTo>
                    <a:pt x="8853" y="0"/>
                  </a:lnTo>
                  <a:lnTo>
                    <a:pt x="5059" y="1264"/>
                  </a:lnTo>
                  <a:lnTo>
                    <a:pt x="5059" y="1264"/>
                  </a:lnTo>
                  <a:lnTo>
                    <a:pt x="5059" y="1264"/>
                  </a:lnTo>
                  <a:lnTo>
                    <a:pt x="3794" y="1264"/>
                  </a:lnTo>
                  <a:lnTo>
                    <a:pt x="2529" y="1264"/>
                  </a:lnTo>
                  <a:lnTo>
                    <a:pt x="2529" y="1264"/>
                  </a:lnTo>
                  <a:lnTo>
                    <a:pt x="0" y="0"/>
                  </a:lnTo>
                  <a:lnTo>
                    <a:pt x="467925" y="2195270"/>
                  </a:lnTo>
                  <a:lnTo>
                    <a:pt x="467925" y="2195270"/>
                  </a:lnTo>
                  <a:lnTo>
                    <a:pt x="467925" y="2195270"/>
                  </a:lnTo>
                  <a:cubicBezTo>
                    <a:pt x="467925" y="2195270"/>
                    <a:pt x="467925" y="2195270"/>
                    <a:pt x="467925" y="2196534"/>
                  </a:cubicBezTo>
                  <a:lnTo>
                    <a:pt x="467925" y="2196534"/>
                  </a:lnTo>
                  <a:lnTo>
                    <a:pt x="467925" y="2196534"/>
                  </a:lnTo>
                  <a:lnTo>
                    <a:pt x="467925" y="2196534"/>
                  </a:lnTo>
                  <a:lnTo>
                    <a:pt x="467925" y="2196534"/>
                  </a:lnTo>
                  <a:lnTo>
                    <a:pt x="467925" y="2196534"/>
                  </a:lnTo>
                  <a:lnTo>
                    <a:pt x="471719" y="2199063"/>
                  </a:lnTo>
                  <a:close/>
                </a:path>
              </a:pathLst>
            </a:custGeom>
            <a:solidFill>
              <a:srgbClr val="000000"/>
            </a:solidFill>
            <a:ln w="12625"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5C959864-A517-4BC5-AE06-2C84782B43E9}"/>
                </a:ext>
              </a:extLst>
            </p:cNvPr>
            <p:cNvSpPr/>
            <p:nvPr/>
          </p:nvSpPr>
          <p:spPr>
            <a:xfrm>
              <a:off x="10142338" y="3890558"/>
              <a:ext cx="447690" cy="235730"/>
            </a:xfrm>
            <a:custGeom>
              <a:avLst/>
              <a:gdLst>
                <a:gd name="connsiteX0" fmla="*/ 10117 w 447690"/>
                <a:gd name="connsiteY0" fmla="*/ 11381 h 235730"/>
                <a:gd name="connsiteX1" fmla="*/ 438838 w 447690"/>
                <a:gd name="connsiteY1" fmla="*/ 233943 h 235730"/>
                <a:gd name="connsiteX2" fmla="*/ 441367 w 447690"/>
                <a:gd name="connsiteY2" fmla="*/ 235207 h 235730"/>
                <a:gd name="connsiteX3" fmla="*/ 447690 w 447690"/>
                <a:gd name="connsiteY3" fmla="*/ 233943 h 235730"/>
                <a:gd name="connsiteX4" fmla="*/ 447690 w 447690"/>
                <a:gd name="connsiteY4" fmla="*/ 233943 h 235730"/>
                <a:gd name="connsiteX5" fmla="*/ 447690 w 447690"/>
                <a:gd name="connsiteY5" fmla="*/ 230149 h 235730"/>
                <a:gd name="connsiteX6" fmla="*/ 447690 w 447690"/>
                <a:gd name="connsiteY6" fmla="*/ 228884 h 235730"/>
                <a:gd name="connsiteX7" fmla="*/ 447690 w 447690"/>
                <a:gd name="connsiteY7" fmla="*/ 227620 h 235730"/>
                <a:gd name="connsiteX8" fmla="*/ 447690 w 447690"/>
                <a:gd name="connsiteY8" fmla="*/ 227620 h 235730"/>
                <a:gd name="connsiteX9" fmla="*/ 446426 w 447690"/>
                <a:gd name="connsiteY9" fmla="*/ 227620 h 235730"/>
                <a:gd name="connsiteX10" fmla="*/ 446426 w 447690"/>
                <a:gd name="connsiteY10" fmla="*/ 227620 h 235730"/>
                <a:gd name="connsiteX11" fmla="*/ 443896 w 447690"/>
                <a:gd name="connsiteY11" fmla="*/ 226355 h 235730"/>
                <a:gd name="connsiteX12" fmla="*/ 7588 w 447690"/>
                <a:gd name="connsiteY12" fmla="*/ 0 h 235730"/>
                <a:gd name="connsiteX13" fmla="*/ 7588 w 447690"/>
                <a:gd name="connsiteY13" fmla="*/ 2529 h 235730"/>
                <a:gd name="connsiteX14" fmla="*/ 3794 w 447690"/>
                <a:gd name="connsiteY14" fmla="*/ 7587 h 235730"/>
                <a:gd name="connsiteX15" fmla="*/ 3794 w 447690"/>
                <a:gd name="connsiteY15" fmla="*/ 7587 h 235730"/>
                <a:gd name="connsiteX16" fmla="*/ 0 w 447690"/>
                <a:gd name="connsiteY16" fmla="*/ 7587 h 235730"/>
                <a:gd name="connsiteX17" fmla="*/ 0 w 447690"/>
                <a:gd name="connsiteY17" fmla="*/ 7587 h 235730"/>
                <a:gd name="connsiteX18" fmla="*/ 10117 w 447690"/>
                <a:gd name="connsiteY18" fmla="*/ 11381 h 23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90" h="235730">
                  <a:moveTo>
                    <a:pt x="10117" y="11381"/>
                  </a:moveTo>
                  <a:lnTo>
                    <a:pt x="438838" y="233943"/>
                  </a:lnTo>
                  <a:lnTo>
                    <a:pt x="441367" y="235207"/>
                  </a:lnTo>
                  <a:cubicBezTo>
                    <a:pt x="443896" y="236472"/>
                    <a:pt x="446426" y="235207"/>
                    <a:pt x="447690" y="233943"/>
                  </a:cubicBezTo>
                  <a:cubicBezTo>
                    <a:pt x="447690" y="233943"/>
                    <a:pt x="447690" y="233943"/>
                    <a:pt x="447690" y="233943"/>
                  </a:cubicBezTo>
                  <a:cubicBezTo>
                    <a:pt x="447690" y="232678"/>
                    <a:pt x="447690" y="231414"/>
                    <a:pt x="447690" y="230149"/>
                  </a:cubicBezTo>
                  <a:lnTo>
                    <a:pt x="447690" y="228884"/>
                  </a:lnTo>
                  <a:lnTo>
                    <a:pt x="447690" y="227620"/>
                  </a:lnTo>
                  <a:lnTo>
                    <a:pt x="447690" y="227620"/>
                  </a:lnTo>
                  <a:lnTo>
                    <a:pt x="446426" y="227620"/>
                  </a:lnTo>
                  <a:lnTo>
                    <a:pt x="446426" y="227620"/>
                  </a:lnTo>
                  <a:lnTo>
                    <a:pt x="443896" y="226355"/>
                  </a:lnTo>
                  <a:lnTo>
                    <a:pt x="7588" y="0"/>
                  </a:lnTo>
                  <a:lnTo>
                    <a:pt x="7588" y="2529"/>
                  </a:lnTo>
                  <a:cubicBezTo>
                    <a:pt x="7588" y="5058"/>
                    <a:pt x="6323" y="7587"/>
                    <a:pt x="3794" y="7587"/>
                  </a:cubicBezTo>
                  <a:cubicBezTo>
                    <a:pt x="3794" y="7587"/>
                    <a:pt x="3794" y="7587"/>
                    <a:pt x="3794" y="7587"/>
                  </a:cubicBezTo>
                  <a:cubicBezTo>
                    <a:pt x="2529" y="7587"/>
                    <a:pt x="1265" y="7587"/>
                    <a:pt x="0" y="7587"/>
                  </a:cubicBezTo>
                  <a:lnTo>
                    <a:pt x="0" y="7587"/>
                  </a:lnTo>
                  <a:lnTo>
                    <a:pt x="10117" y="11381"/>
                  </a:lnTo>
                  <a:close/>
                </a:path>
              </a:pathLst>
            </a:custGeom>
            <a:solidFill>
              <a:srgbClr val="000000"/>
            </a:solidFill>
            <a:ln w="12625"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FD6111D2-9CB4-409B-B160-39E9AF58ADDF}"/>
                </a:ext>
              </a:extLst>
            </p:cNvPr>
            <p:cNvSpPr/>
            <p:nvPr/>
          </p:nvSpPr>
          <p:spPr>
            <a:xfrm>
              <a:off x="9860319" y="242873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519C5CA1-5FCA-4AAD-B166-E610A1F39BFB}"/>
                </a:ext>
              </a:extLst>
            </p:cNvPr>
            <p:cNvSpPr/>
            <p:nvPr/>
          </p:nvSpPr>
          <p:spPr>
            <a:xfrm>
              <a:off x="9611180" y="2323773"/>
              <a:ext cx="247873" cy="104958"/>
            </a:xfrm>
            <a:custGeom>
              <a:avLst/>
              <a:gdLst>
                <a:gd name="connsiteX0" fmla="*/ 3794 w 247873"/>
                <a:gd name="connsiteY0" fmla="*/ 2529 h 104958"/>
                <a:gd name="connsiteX1" fmla="*/ 1265 w 247873"/>
                <a:gd name="connsiteY1" fmla="*/ 8852 h 104958"/>
                <a:gd name="connsiteX2" fmla="*/ 0 w 247873"/>
                <a:gd name="connsiteY2" fmla="*/ 8852 h 104958"/>
                <a:gd name="connsiteX3" fmla="*/ 232698 w 247873"/>
                <a:gd name="connsiteY3" fmla="*/ 104958 h 104958"/>
                <a:gd name="connsiteX4" fmla="*/ 244080 w 247873"/>
                <a:gd name="connsiteY4" fmla="*/ 101164 h 104958"/>
                <a:gd name="connsiteX5" fmla="*/ 246609 w 247873"/>
                <a:gd name="connsiteY5" fmla="*/ 101164 h 104958"/>
                <a:gd name="connsiteX6" fmla="*/ 247874 w 247873"/>
                <a:gd name="connsiteY6" fmla="*/ 101164 h 104958"/>
                <a:gd name="connsiteX7" fmla="*/ 247874 w 247873"/>
                <a:gd name="connsiteY7" fmla="*/ 101164 h 104958"/>
                <a:gd name="connsiteX8" fmla="*/ 3794 w 247873"/>
                <a:gd name="connsiteY8" fmla="*/ 0 h 104958"/>
                <a:gd name="connsiteX9" fmla="*/ 2529 w 247873"/>
                <a:gd name="connsiteY9" fmla="*/ 0 h 104958"/>
                <a:gd name="connsiteX10" fmla="*/ 3794 w 247873"/>
                <a:gd name="connsiteY10" fmla="*/ 2529 h 1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873" h="104958">
                  <a:moveTo>
                    <a:pt x="3794" y="2529"/>
                  </a:moveTo>
                  <a:cubicBezTo>
                    <a:pt x="5059" y="5058"/>
                    <a:pt x="3794" y="7587"/>
                    <a:pt x="1265" y="8852"/>
                  </a:cubicBezTo>
                  <a:lnTo>
                    <a:pt x="0" y="8852"/>
                  </a:lnTo>
                  <a:lnTo>
                    <a:pt x="232698" y="104958"/>
                  </a:lnTo>
                  <a:lnTo>
                    <a:pt x="244080" y="101164"/>
                  </a:lnTo>
                  <a:lnTo>
                    <a:pt x="246609" y="101164"/>
                  </a:lnTo>
                  <a:lnTo>
                    <a:pt x="247874" y="101164"/>
                  </a:lnTo>
                  <a:lnTo>
                    <a:pt x="247874" y="101164"/>
                  </a:lnTo>
                  <a:lnTo>
                    <a:pt x="3794" y="0"/>
                  </a:lnTo>
                  <a:lnTo>
                    <a:pt x="2529" y="0"/>
                  </a:lnTo>
                  <a:cubicBezTo>
                    <a:pt x="2529" y="0"/>
                    <a:pt x="3794" y="1264"/>
                    <a:pt x="3794" y="2529"/>
                  </a:cubicBezTo>
                  <a:close/>
                </a:path>
              </a:pathLst>
            </a:custGeom>
            <a:solidFill>
              <a:srgbClr val="000000"/>
            </a:solidFill>
            <a:ln w="12625"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190ED717-9703-4C40-9971-A5527E250D16}"/>
                </a:ext>
              </a:extLst>
            </p:cNvPr>
            <p:cNvSpPr/>
            <p:nvPr/>
          </p:nvSpPr>
          <p:spPr>
            <a:xfrm>
              <a:off x="9859054" y="242620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D8FD26BE-31FF-4DDC-A764-C2E8BAB54ADD}"/>
                </a:ext>
              </a:extLst>
            </p:cNvPr>
            <p:cNvSpPr/>
            <p:nvPr/>
          </p:nvSpPr>
          <p:spPr>
            <a:xfrm>
              <a:off x="9465744" y="2426202"/>
              <a:ext cx="390780" cy="155540"/>
            </a:xfrm>
            <a:custGeom>
              <a:avLst/>
              <a:gdLst>
                <a:gd name="connsiteX0" fmla="*/ 1265 w 390780"/>
                <a:gd name="connsiteY0" fmla="*/ 146689 h 155540"/>
                <a:gd name="connsiteX1" fmla="*/ 3794 w 390780"/>
                <a:gd name="connsiteY1" fmla="*/ 153011 h 155540"/>
                <a:gd name="connsiteX2" fmla="*/ 3794 w 390780"/>
                <a:gd name="connsiteY2" fmla="*/ 153011 h 155540"/>
                <a:gd name="connsiteX3" fmla="*/ 1265 w 390780"/>
                <a:gd name="connsiteY3" fmla="*/ 155540 h 155540"/>
                <a:gd name="connsiteX4" fmla="*/ 5059 w 390780"/>
                <a:gd name="connsiteY4" fmla="*/ 154276 h 155540"/>
                <a:gd name="connsiteX5" fmla="*/ 388251 w 390780"/>
                <a:gd name="connsiteY5" fmla="*/ 10116 h 155540"/>
                <a:gd name="connsiteX6" fmla="*/ 386986 w 390780"/>
                <a:gd name="connsiteY6" fmla="*/ 5058 h 155540"/>
                <a:gd name="connsiteX7" fmla="*/ 390780 w 390780"/>
                <a:gd name="connsiteY7" fmla="*/ 0 h 155540"/>
                <a:gd name="connsiteX8" fmla="*/ 390780 w 390780"/>
                <a:gd name="connsiteY8" fmla="*/ 0 h 155540"/>
                <a:gd name="connsiteX9" fmla="*/ 379399 w 390780"/>
                <a:gd name="connsiteY9" fmla="*/ 3794 h 155540"/>
                <a:gd name="connsiteX10" fmla="*/ 0 w 390780"/>
                <a:gd name="connsiteY10" fmla="*/ 147953 h 155540"/>
                <a:gd name="connsiteX11" fmla="*/ 1265 w 390780"/>
                <a:gd name="connsiteY11" fmla="*/ 147953 h 1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80" h="155540">
                  <a:moveTo>
                    <a:pt x="1265" y="146689"/>
                  </a:moveTo>
                  <a:cubicBezTo>
                    <a:pt x="3794" y="147953"/>
                    <a:pt x="5059" y="150482"/>
                    <a:pt x="3794" y="153011"/>
                  </a:cubicBezTo>
                  <a:cubicBezTo>
                    <a:pt x="3794" y="153011"/>
                    <a:pt x="3794" y="153011"/>
                    <a:pt x="3794" y="153011"/>
                  </a:cubicBezTo>
                  <a:cubicBezTo>
                    <a:pt x="3794" y="154276"/>
                    <a:pt x="2529" y="155540"/>
                    <a:pt x="1265" y="155540"/>
                  </a:cubicBezTo>
                  <a:lnTo>
                    <a:pt x="5059" y="154276"/>
                  </a:lnTo>
                  <a:lnTo>
                    <a:pt x="388251" y="10116"/>
                  </a:lnTo>
                  <a:lnTo>
                    <a:pt x="386986" y="5058"/>
                  </a:lnTo>
                  <a:cubicBezTo>
                    <a:pt x="386986" y="2529"/>
                    <a:pt x="388251" y="0"/>
                    <a:pt x="390780" y="0"/>
                  </a:cubicBezTo>
                  <a:lnTo>
                    <a:pt x="390780" y="0"/>
                  </a:lnTo>
                  <a:lnTo>
                    <a:pt x="379399" y="3794"/>
                  </a:lnTo>
                  <a:lnTo>
                    <a:pt x="0" y="147953"/>
                  </a:lnTo>
                  <a:lnTo>
                    <a:pt x="1265" y="147953"/>
                  </a:lnTo>
                  <a:close/>
                </a:path>
              </a:pathLst>
            </a:custGeom>
            <a:solidFill>
              <a:srgbClr val="000000"/>
            </a:solidFill>
            <a:ln w="12625"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20456AA5-F34A-48AF-B01C-13A340E7B8B6}"/>
                </a:ext>
              </a:extLst>
            </p:cNvPr>
            <p:cNvSpPr/>
            <p:nvPr/>
          </p:nvSpPr>
          <p:spPr>
            <a:xfrm>
              <a:off x="9465744" y="258174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ED8EF453-B590-491E-B870-000DF7AEBB3A}"/>
                </a:ext>
              </a:extLst>
            </p:cNvPr>
            <p:cNvSpPr/>
            <p:nvPr/>
          </p:nvSpPr>
          <p:spPr>
            <a:xfrm>
              <a:off x="9859054" y="2427467"/>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9326BD7A-9A99-4C53-8F90-B5543BC79E5F}"/>
                </a:ext>
              </a:extLst>
            </p:cNvPr>
            <p:cNvSpPr/>
            <p:nvPr/>
          </p:nvSpPr>
          <p:spPr>
            <a:xfrm>
              <a:off x="9860319" y="242873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C6880A75-21C5-43CC-9B81-9CA4CB1DE0FD}"/>
                </a:ext>
              </a:extLst>
            </p:cNvPr>
            <p:cNvSpPr/>
            <p:nvPr/>
          </p:nvSpPr>
          <p:spPr>
            <a:xfrm>
              <a:off x="9857789" y="242620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E881B885-DC4A-449C-81D3-65DB5E6526D4}"/>
                </a:ext>
              </a:extLst>
            </p:cNvPr>
            <p:cNvSpPr/>
            <p:nvPr/>
          </p:nvSpPr>
          <p:spPr>
            <a:xfrm>
              <a:off x="9219135" y="246919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39D1E256-B706-47EB-A251-E67F9323D382}"/>
                </a:ext>
              </a:extLst>
            </p:cNvPr>
            <p:cNvSpPr/>
            <p:nvPr/>
          </p:nvSpPr>
          <p:spPr>
            <a:xfrm>
              <a:off x="9219135" y="2470461"/>
              <a:ext cx="12646" cy="562"/>
            </a:xfrm>
            <a:custGeom>
              <a:avLst/>
              <a:gdLst>
                <a:gd name="connsiteX0" fmla="*/ 0 w 12646"/>
                <a:gd name="connsiteY0" fmla="*/ 0 h 562"/>
                <a:gd name="connsiteX1" fmla="*/ 0 w 12646"/>
                <a:gd name="connsiteY1" fmla="*/ 0 h 562"/>
                <a:gd name="connsiteX2" fmla="*/ 0 w 12646"/>
                <a:gd name="connsiteY2" fmla="*/ 0 h 562"/>
                <a:gd name="connsiteX3" fmla="*/ 0 w 12646"/>
                <a:gd name="connsiteY3" fmla="*/ 0 h 562"/>
              </a:gdLst>
              <a:ahLst/>
              <a:cxnLst>
                <a:cxn ang="0">
                  <a:pos x="connsiteX0" y="connsiteY0"/>
                </a:cxn>
                <a:cxn ang="0">
                  <a:pos x="connsiteX1" y="connsiteY1"/>
                </a:cxn>
                <a:cxn ang="0">
                  <a:pos x="connsiteX2" y="connsiteY2"/>
                </a:cxn>
                <a:cxn ang="0">
                  <a:pos x="connsiteX3" y="connsiteY3"/>
                </a:cxn>
              </a:cxnLst>
              <a:rect l="l" t="t" r="r" b="b"/>
              <a:pathLst>
                <a:path w="12646" h="562">
                  <a:moveTo>
                    <a:pt x="0" y="0"/>
                  </a:moveTo>
                  <a:cubicBezTo>
                    <a:pt x="0" y="0"/>
                    <a:pt x="0" y="0"/>
                    <a:pt x="0" y="0"/>
                  </a:cubicBezTo>
                  <a:lnTo>
                    <a:pt x="0" y="0"/>
                  </a:lnTo>
                  <a:cubicBezTo>
                    <a:pt x="0" y="1265"/>
                    <a:pt x="0" y="0"/>
                    <a:pt x="0" y="0"/>
                  </a:cubicBezTo>
                  <a:close/>
                </a:path>
              </a:pathLst>
            </a:custGeom>
            <a:solidFill>
              <a:srgbClr val="000000"/>
            </a:solidFill>
            <a:ln w="12625"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EC689689-2A4C-4B9D-A2BA-69167F7F42CC}"/>
                </a:ext>
              </a:extLst>
            </p:cNvPr>
            <p:cNvSpPr/>
            <p:nvPr/>
          </p:nvSpPr>
          <p:spPr>
            <a:xfrm>
              <a:off x="9221665" y="246666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7AD66D2-B768-4576-AE88-44A51C5BFC4B}"/>
                </a:ext>
              </a:extLst>
            </p:cNvPr>
            <p:cNvSpPr/>
            <p:nvPr/>
          </p:nvSpPr>
          <p:spPr>
            <a:xfrm>
              <a:off x="9220400" y="246793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05B8F631-758E-4240-B884-FE02B9F5D55A}"/>
                </a:ext>
              </a:extLst>
            </p:cNvPr>
            <p:cNvSpPr/>
            <p:nvPr/>
          </p:nvSpPr>
          <p:spPr>
            <a:xfrm>
              <a:off x="9230517" y="2470461"/>
              <a:ext cx="238252" cy="111280"/>
            </a:xfrm>
            <a:custGeom>
              <a:avLst/>
              <a:gdLst>
                <a:gd name="connsiteX0" fmla="*/ 232698 w 238252"/>
                <a:gd name="connsiteY0" fmla="*/ 111281 h 111280"/>
                <a:gd name="connsiteX1" fmla="*/ 232698 w 238252"/>
                <a:gd name="connsiteY1" fmla="*/ 111281 h 111280"/>
                <a:gd name="connsiteX2" fmla="*/ 232698 w 238252"/>
                <a:gd name="connsiteY2" fmla="*/ 111281 h 111280"/>
                <a:gd name="connsiteX3" fmla="*/ 235227 w 238252"/>
                <a:gd name="connsiteY3" fmla="*/ 111281 h 111280"/>
                <a:gd name="connsiteX4" fmla="*/ 235227 w 238252"/>
                <a:gd name="connsiteY4" fmla="*/ 111281 h 111280"/>
                <a:gd name="connsiteX5" fmla="*/ 235227 w 238252"/>
                <a:gd name="connsiteY5" fmla="*/ 111281 h 111280"/>
                <a:gd name="connsiteX6" fmla="*/ 237756 w 238252"/>
                <a:gd name="connsiteY6" fmla="*/ 108752 h 111280"/>
                <a:gd name="connsiteX7" fmla="*/ 235227 w 238252"/>
                <a:gd name="connsiteY7" fmla="*/ 102429 h 111280"/>
                <a:gd name="connsiteX8" fmla="*/ 235227 w 238252"/>
                <a:gd name="connsiteY8" fmla="*/ 102429 h 111280"/>
                <a:gd name="connsiteX9" fmla="*/ 233962 w 238252"/>
                <a:gd name="connsiteY9" fmla="*/ 101164 h 111280"/>
                <a:gd name="connsiteX10" fmla="*/ 6323 w 238252"/>
                <a:gd name="connsiteY10" fmla="*/ 0 h 111280"/>
                <a:gd name="connsiteX11" fmla="*/ 0 w 238252"/>
                <a:gd name="connsiteY11" fmla="*/ 2529 h 111280"/>
                <a:gd name="connsiteX12" fmla="*/ 1265 w 238252"/>
                <a:gd name="connsiteY12" fmla="*/ 7587 h 111280"/>
                <a:gd name="connsiteX13" fmla="*/ 231433 w 238252"/>
                <a:gd name="connsiteY13" fmla="*/ 110017 h 111280"/>
                <a:gd name="connsiteX14" fmla="*/ 232698 w 238252"/>
                <a:gd name="connsiteY14" fmla="*/ 111281 h 1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8252" h="111280">
                  <a:moveTo>
                    <a:pt x="232698" y="111281"/>
                  </a:moveTo>
                  <a:lnTo>
                    <a:pt x="232698" y="111281"/>
                  </a:lnTo>
                  <a:lnTo>
                    <a:pt x="232698" y="111281"/>
                  </a:lnTo>
                  <a:lnTo>
                    <a:pt x="235227" y="111281"/>
                  </a:lnTo>
                  <a:lnTo>
                    <a:pt x="235227" y="111281"/>
                  </a:lnTo>
                  <a:lnTo>
                    <a:pt x="235227" y="111281"/>
                  </a:lnTo>
                  <a:cubicBezTo>
                    <a:pt x="236492" y="111281"/>
                    <a:pt x="237756" y="110017"/>
                    <a:pt x="237756" y="108752"/>
                  </a:cubicBezTo>
                  <a:cubicBezTo>
                    <a:pt x="239021" y="106223"/>
                    <a:pt x="237756" y="103694"/>
                    <a:pt x="235227" y="102429"/>
                  </a:cubicBezTo>
                  <a:cubicBezTo>
                    <a:pt x="235227" y="102429"/>
                    <a:pt x="235227" y="102429"/>
                    <a:pt x="235227" y="102429"/>
                  </a:cubicBezTo>
                  <a:lnTo>
                    <a:pt x="233962" y="101164"/>
                  </a:lnTo>
                  <a:lnTo>
                    <a:pt x="6323" y="0"/>
                  </a:lnTo>
                  <a:lnTo>
                    <a:pt x="0" y="2529"/>
                  </a:lnTo>
                  <a:lnTo>
                    <a:pt x="1265" y="7587"/>
                  </a:lnTo>
                  <a:lnTo>
                    <a:pt x="231433" y="110017"/>
                  </a:lnTo>
                  <a:lnTo>
                    <a:pt x="232698" y="111281"/>
                  </a:lnTo>
                  <a:close/>
                </a:path>
              </a:pathLst>
            </a:custGeom>
            <a:solidFill>
              <a:srgbClr val="000000"/>
            </a:solidFill>
            <a:ln w="12625"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C164C04F-ABEB-4FAB-948D-4DAC86E6BBA5}"/>
                </a:ext>
              </a:extLst>
            </p:cNvPr>
            <p:cNvSpPr/>
            <p:nvPr/>
          </p:nvSpPr>
          <p:spPr>
            <a:xfrm>
              <a:off x="11587847" y="492749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66B11188-39FC-4DA9-872A-0CB14226C9ED}"/>
                </a:ext>
              </a:extLst>
            </p:cNvPr>
            <p:cNvSpPr/>
            <p:nvPr/>
          </p:nvSpPr>
          <p:spPr>
            <a:xfrm>
              <a:off x="11590376" y="4930023"/>
              <a:ext cx="25293" cy="17703"/>
            </a:xfrm>
            <a:custGeom>
              <a:avLst/>
              <a:gdLst>
                <a:gd name="connsiteX0" fmla="*/ 10117 w 25293"/>
                <a:gd name="connsiteY0" fmla="*/ 1265 h 17703"/>
                <a:gd name="connsiteX1" fmla="*/ 10117 w 25293"/>
                <a:gd name="connsiteY1" fmla="*/ 1265 h 17703"/>
                <a:gd name="connsiteX2" fmla="*/ 5059 w 25293"/>
                <a:gd name="connsiteY2" fmla="*/ 3794 h 17703"/>
                <a:gd name="connsiteX3" fmla="*/ 0 w 25293"/>
                <a:gd name="connsiteY3" fmla="*/ 3794 h 17703"/>
                <a:gd name="connsiteX4" fmla="*/ 0 w 25293"/>
                <a:gd name="connsiteY4" fmla="*/ 3794 h 17703"/>
                <a:gd name="connsiteX5" fmla="*/ 25293 w 25293"/>
                <a:gd name="connsiteY5" fmla="*/ 17704 h 17703"/>
                <a:gd name="connsiteX6" fmla="*/ 25293 w 25293"/>
                <a:gd name="connsiteY6" fmla="*/ 15175 h 17703"/>
                <a:gd name="connsiteX7" fmla="*/ 24028 w 25293"/>
                <a:gd name="connsiteY7" fmla="*/ 8852 h 17703"/>
                <a:gd name="connsiteX8" fmla="*/ 24028 w 25293"/>
                <a:gd name="connsiteY8" fmla="*/ 8852 h 17703"/>
                <a:gd name="connsiteX9" fmla="*/ 24028 w 25293"/>
                <a:gd name="connsiteY9" fmla="*/ 6323 h 17703"/>
                <a:gd name="connsiteX10" fmla="*/ 12647 w 25293"/>
                <a:gd name="connsiteY10" fmla="*/ 0 h 17703"/>
                <a:gd name="connsiteX11" fmla="*/ 10117 w 25293"/>
                <a:gd name="connsiteY11" fmla="*/ 1265 h 1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3" h="17703">
                  <a:moveTo>
                    <a:pt x="10117" y="1265"/>
                  </a:moveTo>
                  <a:lnTo>
                    <a:pt x="10117" y="1265"/>
                  </a:lnTo>
                  <a:lnTo>
                    <a:pt x="5059" y="3794"/>
                  </a:lnTo>
                  <a:cubicBezTo>
                    <a:pt x="3794" y="5058"/>
                    <a:pt x="1265" y="5058"/>
                    <a:pt x="0" y="3794"/>
                  </a:cubicBezTo>
                  <a:lnTo>
                    <a:pt x="0" y="3794"/>
                  </a:lnTo>
                  <a:lnTo>
                    <a:pt x="25293" y="17704"/>
                  </a:lnTo>
                  <a:lnTo>
                    <a:pt x="25293" y="15175"/>
                  </a:lnTo>
                  <a:lnTo>
                    <a:pt x="24028" y="8852"/>
                  </a:lnTo>
                  <a:lnTo>
                    <a:pt x="24028" y="8852"/>
                  </a:lnTo>
                  <a:lnTo>
                    <a:pt x="24028" y="6323"/>
                  </a:lnTo>
                  <a:lnTo>
                    <a:pt x="12647" y="0"/>
                  </a:lnTo>
                  <a:lnTo>
                    <a:pt x="10117" y="1265"/>
                  </a:lnTo>
                  <a:close/>
                </a:path>
              </a:pathLst>
            </a:custGeom>
            <a:solidFill>
              <a:srgbClr val="000000"/>
            </a:solidFill>
            <a:ln w="12625"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1BE2B2A2-4207-4DAE-8B50-1008D6CFA3D8}"/>
                </a:ext>
              </a:extLst>
            </p:cNvPr>
            <p:cNvSpPr/>
            <p:nvPr/>
          </p:nvSpPr>
          <p:spPr>
            <a:xfrm>
              <a:off x="11553701" y="4902203"/>
              <a:ext cx="42998" cy="24026"/>
            </a:xfrm>
            <a:custGeom>
              <a:avLst/>
              <a:gdLst>
                <a:gd name="connsiteX0" fmla="*/ 2529 w 42998"/>
                <a:gd name="connsiteY0" fmla="*/ 7587 h 24026"/>
                <a:gd name="connsiteX1" fmla="*/ 2529 w 42998"/>
                <a:gd name="connsiteY1" fmla="*/ 7587 h 24026"/>
                <a:gd name="connsiteX2" fmla="*/ 2529 w 42998"/>
                <a:gd name="connsiteY2" fmla="*/ 7587 h 24026"/>
                <a:gd name="connsiteX3" fmla="*/ 2529 w 42998"/>
                <a:gd name="connsiteY3" fmla="*/ 7587 h 24026"/>
                <a:gd name="connsiteX4" fmla="*/ 5059 w 42998"/>
                <a:gd name="connsiteY4" fmla="*/ 8852 h 24026"/>
                <a:gd name="connsiteX5" fmla="*/ 34146 w 42998"/>
                <a:gd name="connsiteY5" fmla="*/ 24026 h 24026"/>
                <a:gd name="connsiteX6" fmla="*/ 35410 w 42998"/>
                <a:gd name="connsiteY6" fmla="*/ 22762 h 24026"/>
                <a:gd name="connsiteX7" fmla="*/ 40469 w 42998"/>
                <a:gd name="connsiteY7" fmla="*/ 20233 h 24026"/>
                <a:gd name="connsiteX8" fmla="*/ 40469 w 42998"/>
                <a:gd name="connsiteY8" fmla="*/ 20233 h 24026"/>
                <a:gd name="connsiteX9" fmla="*/ 42998 w 42998"/>
                <a:gd name="connsiteY9" fmla="*/ 18968 h 24026"/>
                <a:gd name="connsiteX10" fmla="*/ 10117 w 42998"/>
                <a:gd name="connsiteY10" fmla="*/ 1264 h 24026"/>
                <a:gd name="connsiteX11" fmla="*/ 8853 w 42998"/>
                <a:gd name="connsiteY11" fmla="*/ 0 h 24026"/>
                <a:gd name="connsiteX12" fmla="*/ 5059 w 42998"/>
                <a:gd name="connsiteY12" fmla="*/ 3794 h 24026"/>
                <a:gd name="connsiteX13" fmla="*/ 0 w 42998"/>
                <a:gd name="connsiteY13" fmla="*/ 2529 h 24026"/>
                <a:gd name="connsiteX14" fmla="*/ 2529 w 42998"/>
                <a:gd name="connsiteY14" fmla="*/ 7587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998" h="24026">
                  <a:moveTo>
                    <a:pt x="2529" y="7587"/>
                  </a:moveTo>
                  <a:lnTo>
                    <a:pt x="2529" y="7587"/>
                  </a:lnTo>
                  <a:lnTo>
                    <a:pt x="2529" y="7587"/>
                  </a:lnTo>
                  <a:lnTo>
                    <a:pt x="2529" y="7587"/>
                  </a:lnTo>
                  <a:lnTo>
                    <a:pt x="5059" y="8852"/>
                  </a:lnTo>
                  <a:lnTo>
                    <a:pt x="34146" y="24026"/>
                  </a:lnTo>
                  <a:cubicBezTo>
                    <a:pt x="34146" y="24026"/>
                    <a:pt x="35410" y="22762"/>
                    <a:pt x="35410" y="22762"/>
                  </a:cubicBezTo>
                  <a:lnTo>
                    <a:pt x="40469" y="20233"/>
                  </a:lnTo>
                  <a:lnTo>
                    <a:pt x="40469" y="20233"/>
                  </a:lnTo>
                  <a:lnTo>
                    <a:pt x="42998" y="18968"/>
                  </a:lnTo>
                  <a:lnTo>
                    <a:pt x="10117" y="1264"/>
                  </a:lnTo>
                  <a:lnTo>
                    <a:pt x="8853" y="0"/>
                  </a:lnTo>
                  <a:cubicBezTo>
                    <a:pt x="8853" y="2529"/>
                    <a:pt x="7588" y="3794"/>
                    <a:pt x="5059" y="3794"/>
                  </a:cubicBezTo>
                  <a:cubicBezTo>
                    <a:pt x="3794" y="3794"/>
                    <a:pt x="1265" y="3794"/>
                    <a:pt x="0" y="2529"/>
                  </a:cubicBezTo>
                  <a:cubicBezTo>
                    <a:pt x="0" y="3794"/>
                    <a:pt x="0" y="6323"/>
                    <a:pt x="2529" y="7587"/>
                  </a:cubicBezTo>
                  <a:close/>
                </a:path>
              </a:pathLst>
            </a:custGeom>
            <a:solidFill>
              <a:srgbClr val="000000"/>
            </a:solidFill>
            <a:ln w="12625"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DF6C2A52-5D5E-49BE-BBDF-AD625FCCA2F2}"/>
                </a:ext>
              </a:extLst>
            </p:cNvPr>
            <p:cNvSpPr/>
            <p:nvPr/>
          </p:nvSpPr>
          <p:spPr>
            <a:xfrm>
              <a:off x="11587847" y="4922435"/>
              <a:ext cx="11381" cy="11065"/>
            </a:xfrm>
            <a:custGeom>
              <a:avLst/>
              <a:gdLst>
                <a:gd name="connsiteX0" fmla="*/ 0 w 11381"/>
                <a:gd name="connsiteY0" fmla="*/ 6323 h 11065"/>
                <a:gd name="connsiteX1" fmla="*/ 0 w 11381"/>
                <a:gd name="connsiteY1" fmla="*/ 6323 h 11065"/>
                <a:gd name="connsiteX2" fmla="*/ 0 w 11381"/>
                <a:gd name="connsiteY2" fmla="*/ 8852 h 11065"/>
                <a:gd name="connsiteX3" fmla="*/ 0 w 11381"/>
                <a:gd name="connsiteY3" fmla="*/ 10117 h 11065"/>
                <a:gd name="connsiteX4" fmla="*/ 0 w 11381"/>
                <a:gd name="connsiteY4" fmla="*/ 10117 h 11065"/>
                <a:gd name="connsiteX5" fmla="*/ 0 w 11381"/>
                <a:gd name="connsiteY5" fmla="*/ 10117 h 11065"/>
                <a:gd name="connsiteX6" fmla="*/ 0 w 11381"/>
                <a:gd name="connsiteY6" fmla="*/ 10117 h 11065"/>
                <a:gd name="connsiteX7" fmla="*/ 1265 w 11381"/>
                <a:gd name="connsiteY7" fmla="*/ 10117 h 11065"/>
                <a:gd name="connsiteX8" fmla="*/ 6323 w 11381"/>
                <a:gd name="connsiteY8" fmla="*/ 10117 h 11065"/>
                <a:gd name="connsiteX9" fmla="*/ 11382 w 11381"/>
                <a:gd name="connsiteY9" fmla="*/ 7587 h 11065"/>
                <a:gd name="connsiteX10" fmla="*/ 11382 w 11381"/>
                <a:gd name="connsiteY10" fmla="*/ 7587 h 11065"/>
                <a:gd name="connsiteX11" fmla="*/ 5059 w 11381"/>
                <a:gd name="connsiteY11" fmla="*/ 6323 h 11065"/>
                <a:gd name="connsiteX12" fmla="*/ 7588 w 11381"/>
                <a:gd name="connsiteY12" fmla="*/ 0 h 11065"/>
                <a:gd name="connsiteX13" fmla="*/ 7588 w 11381"/>
                <a:gd name="connsiteY13" fmla="*/ 0 h 11065"/>
                <a:gd name="connsiteX14" fmla="*/ 7588 w 11381"/>
                <a:gd name="connsiteY14" fmla="*/ 0 h 11065"/>
                <a:gd name="connsiteX15" fmla="*/ 2529 w 11381"/>
                <a:gd name="connsiteY15" fmla="*/ 2529 h 11065"/>
                <a:gd name="connsiteX16" fmla="*/ 1265 w 11381"/>
                <a:gd name="connsiteY16" fmla="*/ 3794 h 11065"/>
                <a:gd name="connsiteX17" fmla="*/ 1265 w 11381"/>
                <a:gd name="connsiteY17" fmla="*/ 3794 h 11065"/>
                <a:gd name="connsiteX18" fmla="*/ 0 w 11381"/>
                <a:gd name="connsiteY18" fmla="*/ 6323 h 1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81" h="11065">
                  <a:moveTo>
                    <a:pt x="0" y="6323"/>
                  </a:moveTo>
                  <a:lnTo>
                    <a:pt x="0" y="6323"/>
                  </a:lnTo>
                  <a:lnTo>
                    <a:pt x="0" y="8852"/>
                  </a:lnTo>
                  <a:cubicBezTo>
                    <a:pt x="0" y="8852"/>
                    <a:pt x="0" y="8852"/>
                    <a:pt x="0" y="10117"/>
                  </a:cubicBezTo>
                  <a:lnTo>
                    <a:pt x="0" y="10117"/>
                  </a:lnTo>
                  <a:lnTo>
                    <a:pt x="0" y="10117"/>
                  </a:lnTo>
                  <a:cubicBezTo>
                    <a:pt x="0" y="10117"/>
                    <a:pt x="0" y="10117"/>
                    <a:pt x="0" y="10117"/>
                  </a:cubicBezTo>
                  <a:lnTo>
                    <a:pt x="1265" y="10117"/>
                  </a:lnTo>
                  <a:cubicBezTo>
                    <a:pt x="2529" y="11381"/>
                    <a:pt x="5059" y="11381"/>
                    <a:pt x="6323" y="10117"/>
                  </a:cubicBezTo>
                  <a:lnTo>
                    <a:pt x="11382" y="7587"/>
                  </a:lnTo>
                  <a:lnTo>
                    <a:pt x="11382" y="7587"/>
                  </a:lnTo>
                  <a:cubicBezTo>
                    <a:pt x="8853" y="8852"/>
                    <a:pt x="6323" y="7587"/>
                    <a:pt x="5059" y="6323"/>
                  </a:cubicBezTo>
                  <a:cubicBezTo>
                    <a:pt x="3794" y="3794"/>
                    <a:pt x="5059" y="1265"/>
                    <a:pt x="7588" y="0"/>
                  </a:cubicBezTo>
                  <a:lnTo>
                    <a:pt x="7588" y="0"/>
                  </a:lnTo>
                  <a:lnTo>
                    <a:pt x="7588" y="0"/>
                  </a:lnTo>
                  <a:lnTo>
                    <a:pt x="2529" y="2529"/>
                  </a:lnTo>
                  <a:cubicBezTo>
                    <a:pt x="2529" y="2529"/>
                    <a:pt x="1265" y="3794"/>
                    <a:pt x="1265" y="3794"/>
                  </a:cubicBezTo>
                  <a:lnTo>
                    <a:pt x="1265" y="3794"/>
                  </a:lnTo>
                  <a:cubicBezTo>
                    <a:pt x="0" y="3794"/>
                    <a:pt x="0" y="6323"/>
                    <a:pt x="0" y="6323"/>
                  </a:cubicBezTo>
                  <a:close/>
                </a:path>
              </a:pathLst>
            </a:custGeom>
            <a:solidFill>
              <a:srgbClr val="000000"/>
            </a:solidFill>
            <a:ln w="12625"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C48C81E4-9C86-4B83-ACE7-7FD91DBEC72D}"/>
                </a:ext>
              </a:extLst>
            </p:cNvPr>
            <p:cNvSpPr/>
            <p:nvPr/>
          </p:nvSpPr>
          <p:spPr>
            <a:xfrm>
              <a:off x="12211325" y="3771689"/>
              <a:ext cx="5058" cy="6322"/>
            </a:xfrm>
            <a:custGeom>
              <a:avLst/>
              <a:gdLst>
                <a:gd name="connsiteX0" fmla="*/ 3794 w 5058"/>
                <a:gd name="connsiteY0" fmla="*/ 3794 h 6322"/>
                <a:gd name="connsiteX1" fmla="*/ 3794 w 5058"/>
                <a:gd name="connsiteY1" fmla="*/ 3794 h 6322"/>
                <a:gd name="connsiteX2" fmla="*/ 3794 w 5058"/>
                <a:gd name="connsiteY2" fmla="*/ 3794 h 6322"/>
                <a:gd name="connsiteX3" fmla="*/ 3794 w 5058"/>
                <a:gd name="connsiteY3" fmla="*/ 3794 h 6322"/>
                <a:gd name="connsiteX4" fmla="*/ 5059 w 5058"/>
                <a:gd name="connsiteY4" fmla="*/ 5059 h 6322"/>
                <a:gd name="connsiteX5" fmla="*/ 5059 w 5058"/>
                <a:gd name="connsiteY5" fmla="*/ 6323 h 6322"/>
                <a:gd name="connsiteX6" fmla="*/ 5059 w 5058"/>
                <a:gd name="connsiteY6" fmla="*/ 6323 h 6322"/>
                <a:gd name="connsiteX7" fmla="*/ 5059 w 5058"/>
                <a:gd name="connsiteY7" fmla="*/ 0 h 6322"/>
                <a:gd name="connsiteX8" fmla="*/ 0 w 5058"/>
                <a:gd name="connsiteY8" fmla="*/ 2529 h 6322"/>
                <a:gd name="connsiteX9" fmla="*/ 3794 w 5058"/>
                <a:gd name="connsiteY9" fmla="*/ 3794 h 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8" h="6322">
                  <a:moveTo>
                    <a:pt x="3794" y="3794"/>
                  </a:moveTo>
                  <a:lnTo>
                    <a:pt x="3794" y="3794"/>
                  </a:lnTo>
                  <a:lnTo>
                    <a:pt x="3794" y="3794"/>
                  </a:lnTo>
                  <a:lnTo>
                    <a:pt x="3794" y="3794"/>
                  </a:lnTo>
                  <a:lnTo>
                    <a:pt x="5059" y="5059"/>
                  </a:lnTo>
                  <a:lnTo>
                    <a:pt x="5059" y="6323"/>
                  </a:lnTo>
                  <a:lnTo>
                    <a:pt x="5059" y="6323"/>
                  </a:lnTo>
                  <a:lnTo>
                    <a:pt x="5059" y="0"/>
                  </a:lnTo>
                  <a:lnTo>
                    <a:pt x="0" y="2529"/>
                  </a:lnTo>
                  <a:lnTo>
                    <a:pt x="3794" y="3794"/>
                  </a:lnTo>
                  <a:close/>
                </a:path>
              </a:pathLst>
            </a:custGeom>
            <a:solidFill>
              <a:srgbClr val="000000"/>
            </a:solidFill>
            <a:ln w="12625"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5BCB685E-FBE0-4BCD-BA0B-F7D5A7775D99}"/>
                </a:ext>
              </a:extLst>
            </p:cNvPr>
            <p:cNvSpPr/>
            <p:nvPr/>
          </p:nvSpPr>
          <p:spPr>
            <a:xfrm>
              <a:off x="11670050" y="5284099"/>
              <a:ext cx="75879" cy="53111"/>
            </a:xfrm>
            <a:custGeom>
              <a:avLst/>
              <a:gdLst>
                <a:gd name="connsiteX0" fmla="*/ 73350 w 75879"/>
                <a:gd name="connsiteY0" fmla="*/ 46789 h 53111"/>
                <a:gd name="connsiteX1" fmla="*/ 72086 w 75879"/>
                <a:gd name="connsiteY1" fmla="*/ 37937 h 53111"/>
                <a:gd name="connsiteX2" fmla="*/ 3794 w 75879"/>
                <a:gd name="connsiteY2" fmla="*/ 0 h 53111"/>
                <a:gd name="connsiteX3" fmla="*/ 3794 w 75879"/>
                <a:gd name="connsiteY3" fmla="*/ 2529 h 53111"/>
                <a:gd name="connsiteX4" fmla="*/ 3794 w 75879"/>
                <a:gd name="connsiteY4" fmla="*/ 2529 h 53111"/>
                <a:gd name="connsiteX5" fmla="*/ 3794 w 75879"/>
                <a:gd name="connsiteY5" fmla="*/ 3794 h 53111"/>
                <a:gd name="connsiteX6" fmla="*/ 3794 w 75879"/>
                <a:gd name="connsiteY6" fmla="*/ 5058 h 53111"/>
                <a:gd name="connsiteX7" fmla="*/ 3794 w 75879"/>
                <a:gd name="connsiteY7" fmla="*/ 6323 h 53111"/>
                <a:gd name="connsiteX8" fmla="*/ 3794 w 75879"/>
                <a:gd name="connsiteY8" fmla="*/ 7587 h 53111"/>
                <a:gd name="connsiteX9" fmla="*/ 3794 w 75879"/>
                <a:gd name="connsiteY9" fmla="*/ 7587 h 53111"/>
                <a:gd name="connsiteX10" fmla="*/ 2529 w 75879"/>
                <a:gd name="connsiteY10" fmla="*/ 8852 h 53111"/>
                <a:gd name="connsiteX11" fmla="*/ 2529 w 75879"/>
                <a:gd name="connsiteY11" fmla="*/ 8852 h 53111"/>
                <a:gd name="connsiteX12" fmla="*/ 0 w 75879"/>
                <a:gd name="connsiteY12" fmla="*/ 10117 h 53111"/>
                <a:gd name="connsiteX13" fmla="*/ 75880 w 75879"/>
                <a:gd name="connsiteY13" fmla="*/ 53112 h 53111"/>
                <a:gd name="connsiteX14" fmla="*/ 75880 w 75879"/>
                <a:gd name="connsiteY14" fmla="*/ 53112 h 53111"/>
                <a:gd name="connsiteX15" fmla="*/ 75880 w 75879"/>
                <a:gd name="connsiteY15" fmla="*/ 53112 h 53111"/>
                <a:gd name="connsiteX16" fmla="*/ 75880 w 75879"/>
                <a:gd name="connsiteY16" fmla="*/ 53112 h 53111"/>
                <a:gd name="connsiteX17" fmla="*/ 75880 w 75879"/>
                <a:gd name="connsiteY17" fmla="*/ 53112 h 53111"/>
                <a:gd name="connsiteX18" fmla="*/ 75880 w 75879"/>
                <a:gd name="connsiteY18" fmla="*/ 53112 h 53111"/>
                <a:gd name="connsiteX19" fmla="*/ 75880 w 75879"/>
                <a:gd name="connsiteY19" fmla="*/ 53112 h 53111"/>
                <a:gd name="connsiteX20" fmla="*/ 75880 w 75879"/>
                <a:gd name="connsiteY20" fmla="*/ 53112 h 53111"/>
                <a:gd name="connsiteX21" fmla="*/ 75880 w 75879"/>
                <a:gd name="connsiteY21" fmla="*/ 51847 h 53111"/>
                <a:gd name="connsiteX22" fmla="*/ 73350 w 75879"/>
                <a:gd name="connsiteY22" fmla="*/ 46789 h 5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879" h="53111">
                  <a:moveTo>
                    <a:pt x="73350" y="46789"/>
                  </a:moveTo>
                  <a:lnTo>
                    <a:pt x="72086" y="37937"/>
                  </a:lnTo>
                  <a:lnTo>
                    <a:pt x="3794" y="0"/>
                  </a:lnTo>
                  <a:lnTo>
                    <a:pt x="3794" y="2529"/>
                  </a:lnTo>
                  <a:lnTo>
                    <a:pt x="3794" y="2529"/>
                  </a:lnTo>
                  <a:cubicBezTo>
                    <a:pt x="3794" y="2529"/>
                    <a:pt x="3794" y="2529"/>
                    <a:pt x="3794" y="3794"/>
                  </a:cubicBezTo>
                  <a:cubicBezTo>
                    <a:pt x="3794" y="3794"/>
                    <a:pt x="3794" y="3794"/>
                    <a:pt x="3794" y="5058"/>
                  </a:cubicBezTo>
                  <a:cubicBezTo>
                    <a:pt x="3794" y="5058"/>
                    <a:pt x="3794" y="5058"/>
                    <a:pt x="3794" y="6323"/>
                  </a:cubicBezTo>
                  <a:cubicBezTo>
                    <a:pt x="3794" y="6323"/>
                    <a:pt x="3794" y="6323"/>
                    <a:pt x="3794" y="7587"/>
                  </a:cubicBezTo>
                  <a:lnTo>
                    <a:pt x="3794" y="7587"/>
                  </a:lnTo>
                  <a:lnTo>
                    <a:pt x="2529" y="8852"/>
                  </a:lnTo>
                  <a:lnTo>
                    <a:pt x="2529" y="8852"/>
                  </a:lnTo>
                  <a:lnTo>
                    <a:pt x="0" y="10117"/>
                  </a:lnTo>
                  <a:lnTo>
                    <a:pt x="75880" y="53112"/>
                  </a:lnTo>
                  <a:lnTo>
                    <a:pt x="75880" y="53112"/>
                  </a:lnTo>
                  <a:lnTo>
                    <a:pt x="75880" y="53112"/>
                  </a:lnTo>
                  <a:lnTo>
                    <a:pt x="75880" y="53112"/>
                  </a:lnTo>
                  <a:lnTo>
                    <a:pt x="75880" y="53112"/>
                  </a:lnTo>
                  <a:lnTo>
                    <a:pt x="75880" y="53112"/>
                  </a:lnTo>
                  <a:lnTo>
                    <a:pt x="75880" y="53112"/>
                  </a:lnTo>
                  <a:lnTo>
                    <a:pt x="75880" y="53112"/>
                  </a:lnTo>
                  <a:cubicBezTo>
                    <a:pt x="75880" y="53112"/>
                    <a:pt x="75880" y="53112"/>
                    <a:pt x="75880" y="51847"/>
                  </a:cubicBezTo>
                  <a:lnTo>
                    <a:pt x="73350" y="46789"/>
                  </a:lnTo>
                  <a:close/>
                </a:path>
              </a:pathLst>
            </a:custGeom>
            <a:solidFill>
              <a:srgbClr val="000000"/>
            </a:solidFill>
            <a:ln w="126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DCDB0F2A-DFD0-4387-A70E-3A3BFBE86D15}"/>
                </a:ext>
              </a:extLst>
            </p:cNvPr>
            <p:cNvSpPr/>
            <p:nvPr/>
          </p:nvSpPr>
          <p:spPr>
            <a:xfrm>
              <a:off x="11409529" y="356936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3F2AEDFB-AF4D-4870-BD51-DC9F4801AE72}"/>
                </a:ext>
              </a:extLst>
            </p:cNvPr>
            <p:cNvSpPr/>
            <p:nvPr/>
          </p:nvSpPr>
          <p:spPr>
            <a:xfrm>
              <a:off x="11410794" y="356809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31EA63AA-F8E8-47A5-ADAB-961BA7208550}"/>
                </a:ext>
              </a:extLst>
            </p:cNvPr>
            <p:cNvSpPr/>
            <p:nvPr/>
          </p:nvSpPr>
          <p:spPr>
            <a:xfrm>
              <a:off x="11408265" y="357189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cubicBezTo>
                    <a:pt x="0" y="0"/>
                    <a:pt x="0" y="0"/>
                    <a:pt x="0" y="0"/>
                  </a:cubicBez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8D60CDE2-41F2-415F-8674-F6929476401F}"/>
                </a:ext>
              </a:extLst>
            </p:cNvPr>
            <p:cNvSpPr/>
            <p:nvPr/>
          </p:nvSpPr>
          <p:spPr>
            <a:xfrm>
              <a:off x="11418382" y="3571890"/>
              <a:ext cx="75879" cy="40465"/>
            </a:xfrm>
            <a:custGeom>
              <a:avLst/>
              <a:gdLst>
                <a:gd name="connsiteX0" fmla="*/ 0 w 75879"/>
                <a:gd name="connsiteY0" fmla="*/ 7587 h 40465"/>
                <a:gd name="connsiteX1" fmla="*/ 72086 w 75879"/>
                <a:gd name="connsiteY1" fmla="*/ 40466 h 40465"/>
                <a:gd name="connsiteX2" fmla="*/ 72086 w 75879"/>
                <a:gd name="connsiteY2" fmla="*/ 37937 h 40465"/>
                <a:gd name="connsiteX3" fmla="*/ 72086 w 75879"/>
                <a:gd name="connsiteY3" fmla="*/ 37937 h 40465"/>
                <a:gd name="connsiteX4" fmla="*/ 72086 w 75879"/>
                <a:gd name="connsiteY4" fmla="*/ 36672 h 40465"/>
                <a:gd name="connsiteX5" fmla="*/ 72086 w 75879"/>
                <a:gd name="connsiteY5" fmla="*/ 35407 h 40465"/>
                <a:gd name="connsiteX6" fmla="*/ 72086 w 75879"/>
                <a:gd name="connsiteY6" fmla="*/ 34143 h 40465"/>
                <a:gd name="connsiteX7" fmla="*/ 73350 w 75879"/>
                <a:gd name="connsiteY7" fmla="*/ 34143 h 40465"/>
                <a:gd name="connsiteX8" fmla="*/ 74615 w 75879"/>
                <a:gd name="connsiteY8" fmla="*/ 34143 h 40465"/>
                <a:gd name="connsiteX9" fmla="*/ 74615 w 75879"/>
                <a:gd name="connsiteY9" fmla="*/ 34143 h 40465"/>
                <a:gd name="connsiteX10" fmla="*/ 75880 w 75879"/>
                <a:gd name="connsiteY10" fmla="*/ 32879 h 40465"/>
                <a:gd name="connsiteX11" fmla="*/ 6323 w 75879"/>
                <a:gd name="connsiteY11" fmla="*/ 0 h 40465"/>
                <a:gd name="connsiteX12" fmla="*/ 0 w 75879"/>
                <a:gd name="connsiteY12" fmla="*/ 2529 h 40465"/>
                <a:gd name="connsiteX13" fmla="*/ 0 w 75879"/>
                <a:gd name="connsiteY13" fmla="*/ 7587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879" h="40465">
                  <a:moveTo>
                    <a:pt x="0" y="7587"/>
                  </a:moveTo>
                  <a:lnTo>
                    <a:pt x="72086" y="40466"/>
                  </a:lnTo>
                  <a:lnTo>
                    <a:pt x="72086" y="37937"/>
                  </a:lnTo>
                  <a:lnTo>
                    <a:pt x="72086" y="37937"/>
                  </a:lnTo>
                  <a:cubicBezTo>
                    <a:pt x="72086" y="37937"/>
                    <a:pt x="72086" y="36672"/>
                    <a:pt x="72086" y="36672"/>
                  </a:cubicBezTo>
                  <a:cubicBezTo>
                    <a:pt x="72086" y="36672"/>
                    <a:pt x="72086" y="36672"/>
                    <a:pt x="72086" y="35407"/>
                  </a:cubicBezTo>
                  <a:lnTo>
                    <a:pt x="72086" y="34143"/>
                  </a:lnTo>
                  <a:lnTo>
                    <a:pt x="73350" y="34143"/>
                  </a:lnTo>
                  <a:lnTo>
                    <a:pt x="74615" y="34143"/>
                  </a:lnTo>
                  <a:lnTo>
                    <a:pt x="74615" y="34143"/>
                  </a:lnTo>
                  <a:lnTo>
                    <a:pt x="75880" y="32879"/>
                  </a:lnTo>
                  <a:lnTo>
                    <a:pt x="6323" y="0"/>
                  </a:lnTo>
                  <a:lnTo>
                    <a:pt x="0" y="2529"/>
                  </a:lnTo>
                  <a:lnTo>
                    <a:pt x="0" y="7587"/>
                  </a:lnTo>
                  <a:close/>
                </a:path>
              </a:pathLst>
            </a:custGeom>
            <a:solidFill>
              <a:srgbClr val="000000"/>
            </a:solidFill>
            <a:ln w="12625"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A315C6AD-99AA-441E-B71A-DB8918345705}"/>
                </a:ext>
              </a:extLst>
            </p:cNvPr>
            <p:cNvSpPr/>
            <p:nvPr/>
          </p:nvSpPr>
          <p:spPr>
            <a:xfrm>
              <a:off x="11589111" y="5282834"/>
              <a:ext cx="85997" cy="49001"/>
            </a:xfrm>
            <a:custGeom>
              <a:avLst/>
              <a:gdLst>
                <a:gd name="connsiteX0" fmla="*/ 77144 w 85997"/>
                <a:gd name="connsiteY0" fmla="*/ 3794 h 49001"/>
                <a:gd name="connsiteX1" fmla="*/ 77144 w 85997"/>
                <a:gd name="connsiteY1" fmla="*/ 0 h 49001"/>
                <a:gd name="connsiteX2" fmla="*/ 3794 w 85997"/>
                <a:gd name="connsiteY2" fmla="*/ 40466 h 49001"/>
                <a:gd name="connsiteX3" fmla="*/ 1265 w 85997"/>
                <a:gd name="connsiteY3" fmla="*/ 41731 h 49001"/>
                <a:gd name="connsiteX4" fmla="*/ 1265 w 85997"/>
                <a:gd name="connsiteY4" fmla="*/ 41731 h 49001"/>
                <a:gd name="connsiteX5" fmla="*/ 1265 w 85997"/>
                <a:gd name="connsiteY5" fmla="*/ 41731 h 49001"/>
                <a:gd name="connsiteX6" fmla="*/ 0 w 85997"/>
                <a:gd name="connsiteY6" fmla="*/ 41731 h 49001"/>
                <a:gd name="connsiteX7" fmla="*/ 0 w 85997"/>
                <a:gd name="connsiteY7" fmla="*/ 42995 h 49001"/>
                <a:gd name="connsiteX8" fmla="*/ 0 w 85997"/>
                <a:gd name="connsiteY8" fmla="*/ 44259 h 49001"/>
                <a:gd name="connsiteX9" fmla="*/ 0 w 85997"/>
                <a:gd name="connsiteY9" fmla="*/ 45524 h 49001"/>
                <a:gd name="connsiteX10" fmla="*/ 0 w 85997"/>
                <a:gd name="connsiteY10" fmla="*/ 46789 h 49001"/>
                <a:gd name="connsiteX11" fmla="*/ 0 w 85997"/>
                <a:gd name="connsiteY11" fmla="*/ 46789 h 49001"/>
                <a:gd name="connsiteX12" fmla="*/ 0 w 85997"/>
                <a:gd name="connsiteY12" fmla="*/ 46789 h 49001"/>
                <a:gd name="connsiteX13" fmla="*/ 1265 w 85997"/>
                <a:gd name="connsiteY13" fmla="*/ 48053 h 49001"/>
                <a:gd name="connsiteX14" fmla="*/ 1265 w 85997"/>
                <a:gd name="connsiteY14" fmla="*/ 48053 h 49001"/>
                <a:gd name="connsiteX15" fmla="*/ 6323 w 85997"/>
                <a:gd name="connsiteY15" fmla="*/ 48053 h 49001"/>
                <a:gd name="connsiteX16" fmla="*/ 13911 w 85997"/>
                <a:gd name="connsiteY16" fmla="*/ 44259 h 49001"/>
                <a:gd name="connsiteX17" fmla="*/ 83468 w 85997"/>
                <a:gd name="connsiteY17" fmla="*/ 6323 h 49001"/>
                <a:gd name="connsiteX18" fmla="*/ 85997 w 85997"/>
                <a:gd name="connsiteY18" fmla="*/ 5059 h 49001"/>
                <a:gd name="connsiteX19" fmla="*/ 85997 w 85997"/>
                <a:gd name="connsiteY19" fmla="*/ 5059 h 49001"/>
                <a:gd name="connsiteX20" fmla="*/ 84732 w 85997"/>
                <a:gd name="connsiteY20" fmla="*/ 5059 h 49001"/>
                <a:gd name="connsiteX21" fmla="*/ 77144 w 85997"/>
                <a:gd name="connsiteY21" fmla="*/ 3794 h 49001"/>
                <a:gd name="connsiteX22" fmla="*/ 77144 w 85997"/>
                <a:gd name="connsiteY22" fmla="*/ 3794 h 4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997" h="49001">
                  <a:moveTo>
                    <a:pt x="77144" y="3794"/>
                  </a:moveTo>
                  <a:lnTo>
                    <a:pt x="77144" y="0"/>
                  </a:lnTo>
                  <a:lnTo>
                    <a:pt x="3794" y="40466"/>
                  </a:lnTo>
                  <a:lnTo>
                    <a:pt x="1265" y="41731"/>
                  </a:lnTo>
                  <a:lnTo>
                    <a:pt x="1265" y="41731"/>
                  </a:lnTo>
                  <a:lnTo>
                    <a:pt x="1265" y="41731"/>
                  </a:lnTo>
                  <a:lnTo>
                    <a:pt x="0" y="41731"/>
                  </a:lnTo>
                  <a:cubicBezTo>
                    <a:pt x="0" y="41731"/>
                    <a:pt x="0" y="41731"/>
                    <a:pt x="0" y="42995"/>
                  </a:cubicBezTo>
                  <a:lnTo>
                    <a:pt x="0" y="44259"/>
                  </a:lnTo>
                  <a:lnTo>
                    <a:pt x="0" y="45524"/>
                  </a:lnTo>
                  <a:cubicBezTo>
                    <a:pt x="0" y="45524"/>
                    <a:pt x="0" y="45524"/>
                    <a:pt x="0" y="46789"/>
                  </a:cubicBezTo>
                  <a:cubicBezTo>
                    <a:pt x="0" y="48053"/>
                    <a:pt x="0" y="46789"/>
                    <a:pt x="0" y="46789"/>
                  </a:cubicBezTo>
                  <a:lnTo>
                    <a:pt x="0" y="46789"/>
                  </a:lnTo>
                  <a:lnTo>
                    <a:pt x="1265" y="48053"/>
                  </a:lnTo>
                  <a:lnTo>
                    <a:pt x="1265" y="48053"/>
                  </a:lnTo>
                  <a:cubicBezTo>
                    <a:pt x="2529" y="49318"/>
                    <a:pt x="5059" y="49318"/>
                    <a:pt x="6323" y="48053"/>
                  </a:cubicBezTo>
                  <a:lnTo>
                    <a:pt x="13911" y="44259"/>
                  </a:lnTo>
                  <a:lnTo>
                    <a:pt x="83468" y="6323"/>
                  </a:lnTo>
                  <a:lnTo>
                    <a:pt x="85997" y="5059"/>
                  </a:lnTo>
                  <a:lnTo>
                    <a:pt x="85997" y="5059"/>
                  </a:lnTo>
                  <a:cubicBezTo>
                    <a:pt x="85997" y="5059"/>
                    <a:pt x="84732" y="5059"/>
                    <a:pt x="84732" y="5059"/>
                  </a:cubicBezTo>
                  <a:cubicBezTo>
                    <a:pt x="80938" y="7587"/>
                    <a:pt x="78409" y="6323"/>
                    <a:pt x="77144" y="3794"/>
                  </a:cubicBezTo>
                  <a:cubicBezTo>
                    <a:pt x="77144" y="3794"/>
                    <a:pt x="77144" y="3794"/>
                    <a:pt x="77144" y="3794"/>
                  </a:cubicBezTo>
                  <a:close/>
                </a:path>
              </a:pathLst>
            </a:custGeom>
            <a:solidFill>
              <a:srgbClr val="000000"/>
            </a:solidFill>
            <a:ln w="12625"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AA51097C-F330-4645-AFD1-FF294065362A}"/>
                </a:ext>
              </a:extLst>
            </p:cNvPr>
            <p:cNvSpPr/>
            <p:nvPr/>
          </p:nvSpPr>
          <p:spPr>
            <a:xfrm>
              <a:off x="11601758" y="1398118"/>
              <a:ext cx="355370" cy="132778"/>
            </a:xfrm>
            <a:custGeom>
              <a:avLst/>
              <a:gdLst>
                <a:gd name="connsiteX0" fmla="*/ 0 w 355370"/>
                <a:gd name="connsiteY0" fmla="*/ 128985 h 132778"/>
                <a:gd name="connsiteX1" fmla="*/ 2529 w 355370"/>
                <a:gd name="connsiteY1" fmla="*/ 128985 h 132778"/>
                <a:gd name="connsiteX2" fmla="*/ 15176 w 355370"/>
                <a:gd name="connsiteY2" fmla="*/ 132778 h 132778"/>
                <a:gd name="connsiteX3" fmla="*/ 355370 w 355370"/>
                <a:gd name="connsiteY3" fmla="*/ 8852 h 132778"/>
                <a:gd name="connsiteX4" fmla="*/ 354105 w 355370"/>
                <a:gd name="connsiteY4" fmla="*/ 8852 h 132778"/>
                <a:gd name="connsiteX5" fmla="*/ 350311 w 355370"/>
                <a:gd name="connsiteY5" fmla="*/ 3794 h 132778"/>
                <a:gd name="connsiteX6" fmla="*/ 354105 w 355370"/>
                <a:gd name="connsiteY6" fmla="*/ 0 h 132778"/>
                <a:gd name="connsiteX7" fmla="*/ 354105 w 355370"/>
                <a:gd name="connsiteY7" fmla="*/ 0 h 132778"/>
                <a:gd name="connsiteX8" fmla="*/ 0 w 355370"/>
                <a:gd name="connsiteY8" fmla="*/ 128985 h 132778"/>
                <a:gd name="connsiteX9" fmla="*/ 0 w 355370"/>
                <a:gd name="connsiteY9" fmla="*/ 128985 h 132778"/>
                <a:gd name="connsiteX10" fmla="*/ 0 w 355370"/>
                <a:gd name="connsiteY10" fmla="*/ 128985 h 1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370" h="132778">
                  <a:moveTo>
                    <a:pt x="0" y="128985"/>
                  </a:moveTo>
                  <a:lnTo>
                    <a:pt x="2529" y="128985"/>
                  </a:lnTo>
                  <a:lnTo>
                    <a:pt x="15176" y="132778"/>
                  </a:lnTo>
                  <a:lnTo>
                    <a:pt x="355370" y="8852"/>
                  </a:lnTo>
                  <a:lnTo>
                    <a:pt x="354105" y="8852"/>
                  </a:lnTo>
                  <a:cubicBezTo>
                    <a:pt x="351576" y="7587"/>
                    <a:pt x="350311" y="5058"/>
                    <a:pt x="350311" y="3794"/>
                  </a:cubicBezTo>
                  <a:cubicBezTo>
                    <a:pt x="350311" y="2529"/>
                    <a:pt x="351576" y="1265"/>
                    <a:pt x="354105" y="0"/>
                  </a:cubicBezTo>
                  <a:lnTo>
                    <a:pt x="354105" y="0"/>
                  </a:lnTo>
                  <a:lnTo>
                    <a:pt x="0" y="128985"/>
                  </a:lnTo>
                  <a:lnTo>
                    <a:pt x="0" y="128985"/>
                  </a:lnTo>
                  <a:lnTo>
                    <a:pt x="0" y="128985"/>
                  </a:lnTo>
                  <a:close/>
                </a:path>
              </a:pathLst>
            </a:custGeom>
            <a:solidFill>
              <a:srgbClr val="000000"/>
            </a:solidFill>
            <a:ln w="12625"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256A12B6-F198-4B01-A5DE-9535A629D176}"/>
                </a:ext>
              </a:extLst>
            </p:cNvPr>
            <p:cNvSpPr/>
            <p:nvPr/>
          </p:nvSpPr>
          <p:spPr>
            <a:xfrm>
              <a:off x="11597964" y="1530896"/>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C9A5AA77-5D60-435C-8092-8B5229948A58}"/>
                </a:ext>
              </a:extLst>
            </p:cNvPr>
            <p:cNvSpPr/>
            <p:nvPr/>
          </p:nvSpPr>
          <p:spPr>
            <a:xfrm>
              <a:off x="11599229" y="1529632"/>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354267BC-3CC2-42E9-8763-45CA72805C0B}"/>
                </a:ext>
              </a:extLst>
            </p:cNvPr>
            <p:cNvSpPr/>
            <p:nvPr/>
          </p:nvSpPr>
          <p:spPr>
            <a:xfrm>
              <a:off x="11600493" y="1528367"/>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2F28861E-D54E-42AD-BDF0-07C95B4A70DF}"/>
                </a:ext>
              </a:extLst>
            </p:cNvPr>
            <p:cNvSpPr/>
            <p:nvPr/>
          </p:nvSpPr>
          <p:spPr>
            <a:xfrm>
              <a:off x="11600493" y="152836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2ACC3BE0-0988-42AF-A381-AE37AFEEBC53}"/>
                </a:ext>
              </a:extLst>
            </p:cNvPr>
            <p:cNvSpPr/>
            <p:nvPr/>
          </p:nvSpPr>
          <p:spPr>
            <a:xfrm>
              <a:off x="11599229" y="1528367"/>
              <a:ext cx="562" cy="12645"/>
            </a:xfrm>
            <a:custGeom>
              <a:avLst/>
              <a:gdLst>
                <a:gd name="connsiteX0" fmla="*/ 0 w 562"/>
                <a:gd name="connsiteY0" fmla="*/ 0 h 12645"/>
                <a:gd name="connsiteX1" fmla="*/ 0 w 562"/>
                <a:gd name="connsiteY1" fmla="*/ 0 h 12645"/>
                <a:gd name="connsiteX2" fmla="*/ 0 w 562"/>
                <a:gd name="connsiteY2" fmla="*/ 0 h 12645"/>
                <a:gd name="connsiteX3" fmla="*/ 0 w 562"/>
                <a:gd name="connsiteY3" fmla="*/ 0 h 12645"/>
              </a:gdLst>
              <a:ahLst/>
              <a:cxnLst>
                <a:cxn ang="0">
                  <a:pos x="connsiteX0" y="connsiteY0"/>
                </a:cxn>
                <a:cxn ang="0">
                  <a:pos x="connsiteX1" y="connsiteY1"/>
                </a:cxn>
                <a:cxn ang="0">
                  <a:pos x="connsiteX2" y="connsiteY2"/>
                </a:cxn>
                <a:cxn ang="0">
                  <a:pos x="connsiteX3" y="connsiteY3"/>
                </a:cxn>
              </a:cxnLst>
              <a:rect l="l" t="t" r="r" b="b"/>
              <a:pathLst>
                <a:path w="562" h="12645">
                  <a:moveTo>
                    <a:pt x="0" y="0"/>
                  </a:moveTo>
                  <a:lnTo>
                    <a:pt x="0" y="0"/>
                  </a:lnTo>
                  <a:cubicBezTo>
                    <a:pt x="0" y="0"/>
                    <a:pt x="1265"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2E42D473-4C12-4C5E-98F6-6E2FFCC85E41}"/>
                </a:ext>
              </a:extLst>
            </p:cNvPr>
            <p:cNvSpPr/>
            <p:nvPr/>
          </p:nvSpPr>
          <p:spPr>
            <a:xfrm>
              <a:off x="11597964" y="1530896"/>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C79FEDDC-2976-4889-BB61-D57C072EE439}"/>
                </a:ext>
              </a:extLst>
            </p:cNvPr>
            <p:cNvSpPr/>
            <p:nvPr/>
          </p:nvSpPr>
          <p:spPr>
            <a:xfrm>
              <a:off x="11597964" y="153216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E584E813-98C1-405C-B411-F61308089404}"/>
                </a:ext>
              </a:extLst>
            </p:cNvPr>
            <p:cNvSpPr/>
            <p:nvPr/>
          </p:nvSpPr>
          <p:spPr>
            <a:xfrm>
              <a:off x="11604287" y="1527103"/>
              <a:ext cx="614625" cy="197270"/>
            </a:xfrm>
            <a:custGeom>
              <a:avLst/>
              <a:gdLst>
                <a:gd name="connsiteX0" fmla="*/ 0 w 614625"/>
                <a:gd name="connsiteY0" fmla="*/ 0 h 197270"/>
                <a:gd name="connsiteX1" fmla="*/ 0 w 614625"/>
                <a:gd name="connsiteY1" fmla="*/ 0 h 197270"/>
                <a:gd name="connsiteX2" fmla="*/ 3794 w 614625"/>
                <a:gd name="connsiteY2" fmla="*/ 3794 h 197270"/>
                <a:gd name="connsiteX3" fmla="*/ 5059 w 614625"/>
                <a:gd name="connsiteY3" fmla="*/ 11381 h 197270"/>
                <a:gd name="connsiteX4" fmla="*/ 614626 w 614625"/>
                <a:gd name="connsiteY4" fmla="*/ 197271 h 197270"/>
                <a:gd name="connsiteX5" fmla="*/ 614626 w 614625"/>
                <a:gd name="connsiteY5" fmla="*/ 187154 h 197270"/>
                <a:gd name="connsiteX6" fmla="*/ 13911 w 614625"/>
                <a:gd name="connsiteY6" fmla="*/ 3794 h 197270"/>
                <a:gd name="connsiteX7" fmla="*/ 0 w 614625"/>
                <a:gd name="connsiteY7" fmla="*/ 0 h 19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4625" h="197270">
                  <a:moveTo>
                    <a:pt x="0" y="0"/>
                  </a:moveTo>
                  <a:lnTo>
                    <a:pt x="0" y="0"/>
                  </a:lnTo>
                  <a:cubicBezTo>
                    <a:pt x="1265" y="0"/>
                    <a:pt x="2529" y="2529"/>
                    <a:pt x="3794" y="3794"/>
                  </a:cubicBezTo>
                  <a:lnTo>
                    <a:pt x="5059" y="11381"/>
                  </a:lnTo>
                  <a:lnTo>
                    <a:pt x="614626" y="197271"/>
                  </a:lnTo>
                  <a:lnTo>
                    <a:pt x="614626" y="187154"/>
                  </a:lnTo>
                  <a:lnTo>
                    <a:pt x="13911" y="3794"/>
                  </a:lnTo>
                  <a:lnTo>
                    <a:pt x="0" y="0"/>
                  </a:lnTo>
                  <a:close/>
                </a:path>
              </a:pathLst>
            </a:custGeom>
            <a:solidFill>
              <a:srgbClr val="000000"/>
            </a:solidFill>
            <a:ln w="1262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D3A56C94-0A8C-42F9-BCD3-9B595C0FA261}"/>
                </a:ext>
              </a:extLst>
            </p:cNvPr>
            <p:cNvSpPr/>
            <p:nvPr/>
          </p:nvSpPr>
          <p:spPr>
            <a:xfrm>
              <a:off x="12053242" y="2250429"/>
              <a:ext cx="166935" cy="76369"/>
            </a:xfrm>
            <a:custGeom>
              <a:avLst/>
              <a:gdLst>
                <a:gd name="connsiteX0" fmla="*/ 0 w 166935"/>
                <a:gd name="connsiteY0" fmla="*/ 72080 h 76369"/>
                <a:gd name="connsiteX1" fmla="*/ 0 w 166935"/>
                <a:gd name="connsiteY1" fmla="*/ 73344 h 76369"/>
                <a:gd name="connsiteX2" fmla="*/ 6323 w 166935"/>
                <a:gd name="connsiteY2" fmla="*/ 75873 h 76369"/>
                <a:gd name="connsiteX3" fmla="*/ 10117 w 166935"/>
                <a:gd name="connsiteY3" fmla="*/ 74609 h 76369"/>
                <a:gd name="connsiteX4" fmla="*/ 166935 w 166935"/>
                <a:gd name="connsiteY4" fmla="*/ 10116 h 76369"/>
                <a:gd name="connsiteX5" fmla="*/ 166935 w 166935"/>
                <a:gd name="connsiteY5" fmla="*/ 0 h 76369"/>
                <a:gd name="connsiteX6" fmla="*/ 5059 w 166935"/>
                <a:gd name="connsiteY6" fmla="*/ 67022 h 76369"/>
                <a:gd name="connsiteX7" fmla="*/ 2529 w 166935"/>
                <a:gd name="connsiteY7" fmla="*/ 68286 h 76369"/>
                <a:gd name="connsiteX8" fmla="*/ 2529 w 166935"/>
                <a:gd name="connsiteY8" fmla="*/ 68286 h 76369"/>
                <a:gd name="connsiteX9" fmla="*/ 1265 w 166935"/>
                <a:gd name="connsiteY9" fmla="*/ 69551 h 76369"/>
                <a:gd name="connsiteX10" fmla="*/ 1265 w 166935"/>
                <a:gd name="connsiteY10" fmla="*/ 69551 h 76369"/>
                <a:gd name="connsiteX11" fmla="*/ 1265 w 166935"/>
                <a:gd name="connsiteY11" fmla="*/ 70815 h 76369"/>
                <a:gd name="connsiteX12" fmla="*/ 1265 w 166935"/>
                <a:gd name="connsiteY12" fmla="*/ 72080 h 7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935" h="76369">
                  <a:moveTo>
                    <a:pt x="0" y="72080"/>
                  </a:moveTo>
                  <a:cubicBezTo>
                    <a:pt x="0" y="72080"/>
                    <a:pt x="0" y="73344"/>
                    <a:pt x="0" y="73344"/>
                  </a:cubicBezTo>
                  <a:cubicBezTo>
                    <a:pt x="1265" y="75873"/>
                    <a:pt x="3794" y="77138"/>
                    <a:pt x="6323" y="75873"/>
                  </a:cubicBezTo>
                  <a:lnTo>
                    <a:pt x="10117" y="74609"/>
                  </a:lnTo>
                  <a:lnTo>
                    <a:pt x="166935" y="10116"/>
                  </a:lnTo>
                  <a:lnTo>
                    <a:pt x="166935" y="0"/>
                  </a:lnTo>
                  <a:lnTo>
                    <a:pt x="5059" y="67022"/>
                  </a:lnTo>
                  <a:lnTo>
                    <a:pt x="2529" y="68286"/>
                  </a:lnTo>
                  <a:lnTo>
                    <a:pt x="2529" y="68286"/>
                  </a:lnTo>
                  <a:lnTo>
                    <a:pt x="1265" y="69551"/>
                  </a:lnTo>
                  <a:cubicBezTo>
                    <a:pt x="1265" y="69551"/>
                    <a:pt x="1265" y="69551"/>
                    <a:pt x="1265" y="69551"/>
                  </a:cubicBezTo>
                  <a:cubicBezTo>
                    <a:pt x="1265" y="69551"/>
                    <a:pt x="1265" y="69551"/>
                    <a:pt x="1265" y="70815"/>
                  </a:cubicBezTo>
                  <a:lnTo>
                    <a:pt x="1265" y="72080"/>
                  </a:lnTo>
                </a:path>
              </a:pathLst>
            </a:custGeom>
            <a:solidFill>
              <a:srgbClr val="000000"/>
            </a:solidFill>
            <a:ln w="12625"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BC974CC2-43A2-4962-8071-509A4E048E9A}"/>
                </a:ext>
              </a:extLst>
            </p:cNvPr>
            <p:cNvSpPr/>
            <p:nvPr/>
          </p:nvSpPr>
          <p:spPr>
            <a:xfrm>
              <a:off x="12070947" y="5863265"/>
              <a:ext cx="145436" cy="97370"/>
            </a:xfrm>
            <a:custGeom>
              <a:avLst/>
              <a:gdLst>
                <a:gd name="connsiteX0" fmla="*/ 0 w 145436"/>
                <a:gd name="connsiteY0" fmla="*/ 88519 h 97370"/>
                <a:gd name="connsiteX1" fmla="*/ 2529 w 145436"/>
                <a:gd name="connsiteY1" fmla="*/ 89783 h 97370"/>
                <a:gd name="connsiteX2" fmla="*/ 3794 w 145436"/>
                <a:gd name="connsiteY2" fmla="*/ 96106 h 97370"/>
                <a:gd name="connsiteX3" fmla="*/ 3794 w 145436"/>
                <a:gd name="connsiteY3" fmla="*/ 96106 h 97370"/>
                <a:gd name="connsiteX4" fmla="*/ 1265 w 145436"/>
                <a:gd name="connsiteY4" fmla="*/ 97371 h 97370"/>
                <a:gd name="connsiteX5" fmla="*/ 1265 w 145436"/>
                <a:gd name="connsiteY5" fmla="*/ 97371 h 97370"/>
                <a:gd name="connsiteX6" fmla="*/ 1265 w 145436"/>
                <a:gd name="connsiteY6" fmla="*/ 97371 h 97370"/>
                <a:gd name="connsiteX7" fmla="*/ 1265 w 145436"/>
                <a:gd name="connsiteY7" fmla="*/ 97371 h 97370"/>
                <a:gd name="connsiteX8" fmla="*/ 145436 w 145436"/>
                <a:gd name="connsiteY8" fmla="*/ 11381 h 97370"/>
                <a:gd name="connsiteX9" fmla="*/ 145436 w 145436"/>
                <a:gd name="connsiteY9" fmla="*/ 0 h 97370"/>
                <a:gd name="connsiteX10" fmla="*/ 2529 w 145436"/>
                <a:gd name="connsiteY10" fmla="*/ 84725 h 97370"/>
                <a:gd name="connsiteX11" fmla="*/ 0 w 145436"/>
                <a:gd name="connsiteY11" fmla="*/ 88519 h 9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436" h="97370">
                  <a:moveTo>
                    <a:pt x="0" y="88519"/>
                  </a:moveTo>
                  <a:lnTo>
                    <a:pt x="2529" y="89783"/>
                  </a:lnTo>
                  <a:cubicBezTo>
                    <a:pt x="5059" y="91048"/>
                    <a:pt x="5059" y="93577"/>
                    <a:pt x="3794" y="96106"/>
                  </a:cubicBezTo>
                  <a:cubicBezTo>
                    <a:pt x="3794" y="96106"/>
                    <a:pt x="3794" y="96106"/>
                    <a:pt x="3794" y="96106"/>
                  </a:cubicBezTo>
                  <a:cubicBezTo>
                    <a:pt x="3794" y="97371"/>
                    <a:pt x="2529" y="97371"/>
                    <a:pt x="1265" y="97371"/>
                  </a:cubicBezTo>
                  <a:lnTo>
                    <a:pt x="1265" y="97371"/>
                  </a:lnTo>
                  <a:lnTo>
                    <a:pt x="1265" y="97371"/>
                  </a:lnTo>
                  <a:lnTo>
                    <a:pt x="1265" y="97371"/>
                  </a:lnTo>
                  <a:lnTo>
                    <a:pt x="145436" y="11381"/>
                  </a:lnTo>
                  <a:lnTo>
                    <a:pt x="145436" y="0"/>
                  </a:lnTo>
                  <a:lnTo>
                    <a:pt x="2529" y="84725"/>
                  </a:lnTo>
                  <a:lnTo>
                    <a:pt x="0" y="88519"/>
                  </a:lnTo>
                  <a:close/>
                </a:path>
              </a:pathLst>
            </a:custGeom>
            <a:solidFill>
              <a:srgbClr val="000000"/>
            </a:solidFill>
            <a:ln w="12625"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3920DD07-E263-4C17-ADD8-28FDE30D3572}"/>
                </a:ext>
              </a:extLst>
            </p:cNvPr>
            <p:cNvSpPr/>
            <p:nvPr/>
          </p:nvSpPr>
          <p:spPr>
            <a:xfrm>
              <a:off x="12070947"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3E94C0A1-E0F6-4F0D-A67D-8969509FE9DC}"/>
                </a:ext>
              </a:extLst>
            </p:cNvPr>
            <p:cNvSpPr/>
            <p:nvPr/>
          </p:nvSpPr>
          <p:spPr>
            <a:xfrm>
              <a:off x="12069683" y="596190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9CEBFFEF-9D6E-4340-B9C7-07CD8E2DD35A}"/>
                </a:ext>
              </a:extLst>
            </p:cNvPr>
            <p:cNvSpPr/>
            <p:nvPr/>
          </p:nvSpPr>
          <p:spPr>
            <a:xfrm>
              <a:off x="11289386" y="5492750"/>
              <a:ext cx="784614" cy="471679"/>
            </a:xfrm>
            <a:custGeom>
              <a:avLst/>
              <a:gdLst>
                <a:gd name="connsiteX0" fmla="*/ 3794 w 784614"/>
                <a:gd name="connsiteY0" fmla="*/ 0 h 471679"/>
                <a:gd name="connsiteX1" fmla="*/ 3794 w 784614"/>
                <a:gd name="connsiteY1" fmla="*/ 2529 h 471679"/>
                <a:gd name="connsiteX2" fmla="*/ 3794 w 784614"/>
                <a:gd name="connsiteY2" fmla="*/ 2529 h 471679"/>
                <a:gd name="connsiteX3" fmla="*/ 3794 w 784614"/>
                <a:gd name="connsiteY3" fmla="*/ 3794 h 471679"/>
                <a:gd name="connsiteX4" fmla="*/ 3794 w 784614"/>
                <a:gd name="connsiteY4" fmla="*/ 5058 h 471679"/>
                <a:gd name="connsiteX5" fmla="*/ 3794 w 784614"/>
                <a:gd name="connsiteY5" fmla="*/ 6323 h 471679"/>
                <a:gd name="connsiteX6" fmla="*/ 3794 w 784614"/>
                <a:gd name="connsiteY6" fmla="*/ 7587 h 471679"/>
                <a:gd name="connsiteX7" fmla="*/ 3794 w 784614"/>
                <a:gd name="connsiteY7" fmla="*/ 7587 h 471679"/>
                <a:gd name="connsiteX8" fmla="*/ 2529 w 784614"/>
                <a:gd name="connsiteY8" fmla="*/ 8852 h 471679"/>
                <a:gd name="connsiteX9" fmla="*/ 2529 w 784614"/>
                <a:gd name="connsiteY9" fmla="*/ 8852 h 471679"/>
                <a:gd name="connsiteX10" fmla="*/ 0 w 784614"/>
                <a:gd name="connsiteY10" fmla="*/ 10117 h 471679"/>
                <a:gd name="connsiteX11" fmla="*/ 777767 w 784614"/>
                <a:gd name="connsiteY11" fmla="*/ 471680 h 471679"/>
                <a:gd name="connsiteX12" fmla="*/ 777767 w 784614"/>
                <a:gd name="connsiteY12" fmla="*/ 471680 h 471679"/>
                <a:gd name="connsiteX13" fmla="*/ 779032 w 784614"/>
                <a:gd name="connsiteY13" fmla="*/ 471680 h 471679"/>
                <a:gd name="connsiteX14" fmla="*/ 780296 w 784614"/>
                <a:gd name="connsiteY14" fmla="*/ 471680 h 471679"/>
                <a:gd name="connsiteX15" fmla="*/ 781561 w 784614"/>
                <a:gd name="connsiteY15" fmla="*/ 471680 h 471679"/>
                <a:gd name="connsiteX16" fmla="*/ 781561 w 784614"/>
                <a:gd name="connsiteY16" fmla="*/ 471680 h 471679"/>
                <a:gd name="connsiteX17" fmla="*/ 784090 w 784614"/>
                <a:gd name="connsiteY17" fmla="*/ 470415 h 471679"/>
                <a:gd name="connsiteX18" fmla="*/ 782826 w 784614"/>
                <a:gd name="connsiteY18" fmla="*/ 464092 h 471679"/>
                <a:gd name="connsiteX19" fmla="*/ 782826 w 784614"/>
                <a:gd name="connsiteY19" fmla="*/ 464092 h 471679"/>
                <a:gd name="connsiteX20" fmla="*/ 780296 w 784614"/>
                <a:gd name="connsiteY20" fmla="*/ 462828 h 471679"/>
                <a:gd name="connsiteX21" fmla="*/ 775238 w 784614"/>
                <a:gd name="connsiteY21" fmla="*/ 456505 h 471679"/>
                <a:gd name="connsiteX22" fmla="*/ 3794 w 784614"/>
                <a:gd name="connsiteY22" fmla="*/ 0 h 47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4614" h="471679">
                  <a:moveTo>
                    <a:pt x="3794" y="0"/>
                  </a:moveTo>
                  <a:lnTo>
                    <a:pt x="3794" y="2529"/>
                  </a:lnTo>
                  <a:lnTo>
                    <a:pt x="3794" y="2529"/>
                  </a:lnTo>
                  <a:cubicBezTo>
                    <a:pt x="3794" y="2529"/>
                    <a:pt x="3794" y="3794"/>
                    <a:pt x="3794" y="3794"/>
                  </a:cubicBezTo>
                  <a:lnTo>
                    <a:pt x="3794" y="5058"/>
                  </a:lnTo>
                  <a:lnTo>
                    <a:pt x="3794" y="6323"/>
                  </a:lnTo>
                  <a:lnTo>
                    <a:pt x="3794" y="7587"/>
                  </a:lnTo>
                  <a:lnTo>
                    <a:pt x="3794" y="7587"/>
                  </a:lnTo>
                  <a:lnTo>
                    <a:pt x="2529" y="8852"/>
                  </a:lnTo>
                  <a:lnTo>
                    <a:pt x="2529" y="8852"/>
                  </a:lnTo>
                  <a:lnTo>
                    <a:pt x="0" y="10117"/>
                  </a:lnTo>
                  <a:lnTo>
                    <a:pt x="777767" y="471680"/>
                  </a:lnTo>
                  <a:lnTo>
                    <a:pt x="777767" y="471680"/>
                  </a:lnTo>
                  <a:lnTo>
                    <a:pt x="779032" y="471680"/>
                  </a:lnTo>
                  <a:lnTo>
                    <a:pt x="780296" y="471680"/>
                  </a:lnTo>
                  <a:lnTo>
                    <a:pt x="781561" y="471680"/>
                  </a:lnTo>
                  <a:lnTo>
                    <a:pt x="781561" y="471680"/>
                  </a:lnTo>
                  <a:cubicBezTo>
                    <a:pt x="782826" y="471680"/>
                    <a:pt x="782826" y="470415"/>
                    <a:pt x="784090" y="470415"/>
                  </a:cubicBezTo>
                  <a:cubicBezTo>
                    <a:pt x="785355" y="467886"/>
                    <a:pt x="784090" y="465357"/>
                    <a:pt x="782826" y="464092"/>
                  </a:cubicBezTo>
                  <a:cubicBezTo>
                    <a:pt x="782826" y="464092"/>
                    <a:pt x="782826" y="464092"/>
                    <a:pt x="782826" y="464092"/>
                  </a:cubicBezTo>
                  <a:lnTo>
                    <a:pt x="780296" y="462828"/>
                  </a:lnTo>
                  <a:lnTo>
                    <a:pt x="775238" y="456505"/>
                  </a:lnTo>
                  <a:lnTo>
                    <a:pt x="3794" y="0"/>
                  </a:lnTo>
                  <a:close/>
                </a:path>
              </a:pathLst>
            </a:custGeom>
            <a:solidFill>
              <a:srgbClr val="000000"/>
            </a:solidFill>
            <a:ln w="12625"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6B8D6FA7-A1EB-443C-8D9E-731DD604B9A0}"/>
                </a:ext>
              </a:extLst>
            </p:cNvPr>
            <p:cNvSpPr/>
            <p:nvPr/>
          </p:nvSpPr>
          <p:spPr>
            <a:xfrm>
              <a:off x="10605205" y="5867059"/>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9223B664-7EEA-467F-93BB-B356D7EB2706}"/>
                </a:ext>
              </a:extLst>
            </p:cNvPr>
            <p:cNvSpPr/>
            <p:nvPr/>
          </p:nvSpPr>
          <p:spPr>
            <a:xfrm>
              <a:off x="10603940" y="586832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078A29CF-05CC-4235-BD1D-5C3CED85ADA7}"/>
                </a:ext>
              </a:extLst>
            </p:cNvPr>
            <p:cNvSpPr/>
            <p:nvPr/>
          </p:nvSpPr>
          <p:spPr>
            <a:xfrm>
              <a:off x="10614057" y="5868324"/>
              <a:ext cx="1121754" cy="734707"/>
            </a:xfrm>
            <a:custGeom>
              <a:avLst/>
              <a:gdLst>
                <a:gd name="connsiteX0" fmla="*/ 1265 w 1121754"/>
                <a:gd name="connsiteY0" fmla="*/ 10116 h 734707"/>
                <a:gd name="connsiteX1" fmla="*/ 1117961 w 1121754"/>
                <a:gd name="connsiteY1" fmla="*/ 733443 h 734707"/>
                <a:gd name="connsiteX2" fmla="*/ 1119225 w 1121754"/>
                <a:gd name="connsiteY2" fmla="*/ 734707 h 734707"/>
                <a:gd name="connsiteX3" fmla="*/ 1119225 w 1121754"/>
                <a:gd name="connsiteY3" fmla="*/ 734707 h 734707"/>
                <a:gd name="connsiteX4" fmla="*/ 1116696 w 1121754"/>
                <a:gd name="connsiteY4" fmla="*/ 728384 h 734707"/>
                <a:gd name="connsiteX5" fmla="*/ 1119225 w 1121754"/>
                <a:gd name="connsiteY5" fmla="*/ 725855 h 734707"/>
                <a:gd name="connsiteX6" fmla="*/ 1121755 w 1121754"/>
                <a:gd name="connsiteY6" fmla="*/ 724590 h 734707"/>
                <a:gd name="connsiteX7" fmla="*/ 3794 w 1121754"/>
                <a:gd name="connsiteY7" fmla="*/ 0 h 734707"/>
                <a:gd name="connsiteX8" fmla="*/ 0 w 1121754"/>
                <a:gd name="connsiteY8" fmla="*/ 2529 h 734707"/>
                <a:gd name="connsiteX9" fmla="*/ 1265 w 1121754"/>
                <a:gd name="connsiteY9" fmla="*/ 10116 h 73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1754" h="734707">
                  <a:moveTo>
                    <a:pt x="1265" y="10116"/>
                  </a:moveTo>
                  <a:lnTo>
                    <a:pt x="1117961" y="733443"/>
                  </a:lnTo>
                  <a:lnTo>
                    <a:pt x="1119225" y="734707"/>
                  </a:lnTo>
                  <a:lnTo>
                    <a:pt x="1119225" y="734707"/>
                  </a:lnTo>
                  <a:cubicBezTo>
                    <a:pt x="1116696" y="733443"/>
                    <a:pt x="1116696" y="730913"/>
                    <a:pt x="1116696" y="728384"/>
                  </a:cubicBezTo>
                  <a:cubicBezTo>
                    <a:pt x="1116696" y="727120"/>
                    <a:pt x="1117961" y="727120"/>
                    <a:pt x="1119225" y="725855"/>
                  </a:cubicBezTo>
                  <a:lnTo>
                    <a:pt x="1121755" y="724590"/>
                  </a:lnTo>
                  <a:lnTo>
                    <a:pt x="3794" y="0"/>
                  </a:lnTo>
                  <a:lnTo>
                    <a:pt x="0" y="2529"/>
                  </a:lnTo>
                  <a:lnTo>
                    <a:pt x="1265" y="10116"/>
                  </a:lnTo>
                  <a:close/>
                </a:path>
              </a:pathLst>
            </a:custGeom>
            <a:solidFill>
              <a:srgbClr val="000000"/>
            </a:solidFill>
            <a:ln w="12625"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0EFD900A-DD27-4FC3-8A43-B54784A05891}"/>
                </a:ext>
              </a:extLst>
            </p:cNvPr>
            <p:cNvSpPr/>
            <p:nvPr/>
          </p:nvSpPr>
          <p:spPr>
            <a:xfrm>
              <a:off x="11730753" y="6298273"/>
              <a:ext cx="485630" cy="306022"/>
            </a:xfrm>
            <a:custGeom>
              <a:avLst/>
              <a:gdLst>
                <a:gd name="connsiteX0" fmla="*/ 2529 w 485630"/>
                <a:gd name="connsiteY0" fmla="*/ 297171 h 306022"/>
                <a:gd name="connsiteX1" fmla="*/ 0 w 485630"/>
                <a:gd name="connsiteY1" fmla="*/ 303493 h 306022"/>
                <a:gd name="connsiteX2" fmla="*/ 2529 w 485630"/>
                <a:gd name="connsiteY2" fmla="*/ 306022 h 306022"/>
                <a:gd name="connsiteX3" fmla="*/ 3794 w 485630"/>
                <a:gd name="connsiteY3" fmla="*/ 306022 h 306022"/>
                <a:gd name="connsiteX4" fmla="*/ 5059 w 485630"/>
                <a:gd name="connsiteY4" fmla="*/ 306022 h 306022"/>
                <a:gd name="connsiteX5" fmla="*/ 6323 w 485630"/>
                <a:gd name="connsiteY5" fmla="*/ 306022 h 306022"/>
                <a:gd name="connsiteX6" fmla="*/ 6323 w 485630"/>
                <a:gd name="connsiteY6" fmla="*/ 306022 h 306022"/>
                <a:gd name="connsiteX7" fmla="*/ 6323 w 485630"/>
                <a:gd name="connsiteY7" fmla="*/ 306022 h 306022"/>
                <a:gd name="connsiteX8" fmla="*/ 8852 w 485630"/>
                <a:gd name="connsiteY8" fmla="*/ 304758 h 306022"/>
                <a:gd name="connsiteX9" fmla="*/ 485630 w 485630"/>
                <a:gd name="connsiteY9" fmla="*/ 11381 h 306022"/>
                <a:gd name="connsiteX10" fmla="*/ 485630 w 485630"/>
                <a:gd name="connsiteY10" fmla="*/ 0 h 306022"/>
                <a:gd name="connsiteX11" fmla="*/ 5059 w 485630"/>
                <a:gd name="connsiteY11" fmla="*/ 295906 h 306022"/>
                <a:gd name="connsiteX12" fmla="*/ 2529 w 485630"/>
                <a:gd name="connsiteY12" fmla="*/ 297171 h 3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630" h="306022">
                  <a:moveTo>
                    <a:pt x="2529" y="297171"/>
                  </a:moveTo>
                  <a:cubicBezTo>
                    <a:pt x="0" y="298435"/>
                    <a:pt x="0" y="300964"/>
                    <a:pt x="0" y="303493"/>
                  </a:cubicBezTo>
                  <a:cubicBezTo>
                    <a:pt x="0" y="304758"/>
                    <a:pt x="1265" y="304758"/>
                    <a:pt x="2529" y="306022"/>
                  </a:cubicBezTo>
                  <a:lnTo>
                    <a:pt x="3794" y="306022"/>
                  </a:lnTo>
                  <a:lnTo>
                    <a:pt x="5059" y="306022"/>
                  </a:lnTo>
                  <a:lnTo>
                    <a:pt x="6323" y="306022"/>
                  </a:lnTo>
                  <a:lnTo>
                    <a:pt x="6323" y="306022"/>
                  </a:lnTo>
                  <a:lnTo>
                    <a:pt x="6323" y="306022"/>
                  </a:lnTo>
                  <a:lnTo>
                    <a:pt x="8852" y="304758"/>
                  </a:lnTo>
                  <a:lnTo>
                    <a:pt x="485630" y="11381"/>
                  </a:lnTo>
                  <a:lnTo>
                    <a:pt x="485630" y="0"/>
                  </a:lnTo>
                  <a:lnTo>
                    <a:pt x="5059" y="295906"/>
                  </a:lnTo>
                  <a:lnTo>
                    <a:pt x="2529" y="297171"/>
                  </a:lnTo>
                  <a:close/>
                </a:path>
              </a:pathLst>
            </a:custGeom>
            <a:solidFill>
              <a:srgbClr val="000000"/>
            </a:solidFill>
            <a:ln w="12625"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5D477731-E9FB-4192-A86D-3770D22990CB}"/>
                </a:ext>
              </a:extLst>
            </p:cNvPr>
            <p:cNvSpPr/>
            <p:nvPr/>
          </p:nvSpPr>
          <p:spPr>
            <a:xfrm>
              <a:off x="11898953" y="5244897"/>
              <a:ext cx="319959" cy="182096"/>
            </a:xfrm>
            <a:custGeom>
              <a:avLst/>
              <a:gdLst>
                <a:gd name="connsiteX0" fmla="*/ 3794 w 319959"/>
                <a:gd name="connsiteY0" fmla="*/ 2529 h 182096"/>
                <a:gd name="connsiteX1" fmla="*/ 3794 w 319959"/>
                <a:gd name="connsiteY1" fmla="*/ 2529 h 182096"/>
                <a:gd name="connsiteX2" fmla="*/ 3794 w 319959"/>
                <a:gd name="connsiteY2" fmla="*/ 3794 h 182096"/>
                <a:gd name="connsiteX3" fmla="*/ 3794 w 319959"/>
                <a:gd name="connsiteY3" fmla="*/ 3794 h 182096"/>
                <a:gd name="connsiteX4" fmla="*/ 3794 w 319959"/>
                <a:gd name="connsiteY4" fmla="*/ 5059 h 182096"/>
                <a:gd name="connsiteX5" fmla="*/ 3794 w 319959"/>
                <a:gd name="connsiteY5" fmla="*/ 5059 h 182096"/>
                <a:gd name="connsiteX6" fmla="*/ 3794 w 319959"/>
                <a:gd name="connsiteY6" fmla="*/ 5059 h 182096"/>
                <a:gd name="connsiteX7" fmla="*/ 2529 w 319959"/>
                <a:gd name="connsiteY7" fmla="*/ 5059 h 182096"/>
                <a:gd name="connsiteX8" fmla="*/ 2529 w 319959"/>
                <a:gd name="connsiteY8" fmla="*/ 5059 h 182096"/>
                <a:gd name="connsiteX9" fmla="*/ 0 w 319959"/>
                <a:gd name="connsiteY9" fmla="*/ 6323 h 182096"/>
                <a:gd name="connsiteX10" fmla="*/ 319960 w 319959"/>
                <a:gd name="connsiteY10" fmla="*/ 182096 h 182096"/>
                <a:gd name="connsiteX11" fmla="*/ 319960 w 319959"/>
                <a:gd name="connsiteY11" fmla="*/ 173244 h 182096"/>
                <a:gd name="connsiteX12" fmla="*/ 5059 w 319959"/>
                <a:gd name="connsiteY12" fmla="*/ 0 h 182096"/>
                <a:gd name="connsiteX13" fmla="*/ 3794 w 319959"/>
                <a:gd name="connsiteY13" fmla="*/ 2529 h 18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9959" h="182096">
                  <a:moveTo>
                    <a:pt x="3794" y="2529"/>
                  </a:moveTo>
                  <a:lnTo>
                    <a:pt x="3794" y="2529"/>
                  </a:lnTo>
                  <a:cubicBezTo>
                    <a:pt x="3794" y="2529"/>
                    <a:pt x="3794" y="3794"/>
                    <a:pt x="3794" y="3794"/>
                  </a:cubicBezTo>
                  <a:lnTo>
                    <a:pt x="3794" y="3794"/>
                  </a:lnTo>
                  <a:lnTo>
                    <a:pt x="3794" y="5059"/>
                  </a:lnTo>
                  <a:lnTo>
                    <a:pt x="3794" y="5059"/>
                  </a:lnTo>
                  <a:lnTo>
                    <a:pt x="3794" y="5059"/>
                  </a:lnTo>
                  <a:cubicBezTo>
                    <a:pt x="3794" y="5059"/>
                    <a:pt x="3794" y="5059"/>
                    <a:pt x="2529" y="5059"/>
                  </a:cubicBezTo>
                  <a:lnTo>
                    <a:pt x="2529" y="5059"/>
                  </a:lnTo>
                  <a:lnTo>
                    <a:pt x="0" y="6323"/>
                  </a:lnTo>
                  <a:lnTo>
                    <a:pt x="319960" y="182096"/>
                  </a:lnTo>
                  <a:lnTo>
                    <a:pt x="319960" y="173244"/>
                  </a:lnTo>
                  <a:lnTo>
                    <a:pt x="5059" y="0"/>
                  </a:lnTo>
                  <a:lnTo>
                    <a:pt x="3794" y="2529"/>
                  </a:lnTo>
                  <a:close/>
                </a:path>
              </a:pathLst>
            </a:custGeom>
            <a:solidFill>
              <a:srgbClr val="000000"/>
            </a:solidFill>
            <a:ln w="12625"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4B2ED1FD-6089-459A-8750-99E4BDF42169}"/>
                </a:ext>
              </a:extLst>
            </p:cNvPr>
            <p:cNvSpPr/>
            <p:nvPr/>
          </p:nvSpPr>
          <p:spPr>
            <a:xfrm>
              <a:off x="11657403" y="3528895"/>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CB65E4A2-D97D-4C0C-8EBD-C5DC6BCDB2D0}"/>
                </a:ext>
              </a:extLst>
            </p:cNvPr>
            <p:cNvSpPr/>
            <p:nvPr/>
          </p:nvSpPr>
          <p:spPr>
            <a:xfrm>
              <a:off x="11658668" y="3526366"/>
              <a:ext cx="555186" cy="252911"/>
            </a:xfrm>
            <a:custGeom>
              <a:avLst/>
              <a:gdLst>
                <a:gd name="connsiteX0" fmla="*/ 1265 w 555186"/>
                <a:gd name="connsiteY0" fmla="*/ 3794 h 252911"/>
                <a:gd name="connsiteX1" fmla="*/ 1265 w 555186"/>
                <a:gd name="connsiteY1" fmla="*/ 3794 h 252911"/>
                <a:gd name="connsiteX2" fmla="*/ 1265 w 555186"/>
                <a:gd name="connsiteY2" fmla="*/ 3794 h 252911"/>
                <a:gd name="connsiteX3" fmla="*/ 1265 w 555186"/>
                <a:gd name="connsiteY3" fmla="*/ 3794 h 252911"/>
                <a:gd name="connsiteX4" fmla="*/ 1265 w 555186"/>
                <a:gd name="connsiteY4" fmla="*/ 5058 h 252911"/>
                <a:gd name="connsiteX5" fmla="*/ 1265 w 555186"/>
                <a:gd name="connsiteY5" fmla="*/ 5058 h 252911"/>
                <a:gd name="connsiteX6" fmla="*/ 2529 w 555186"/>
                <a:gd name="connsiteY6" fmla="*/ 12646 h 252911"/>
                <a:gd name="connsiteX7" fmla="*/ 548863 w 555186"/>
                <a:gd name="connsiteY7" fmla="*/ 252911 h 252911"/>
                <a:gd name="connsiteX8" fmla="*/ 548863 w 555186"/>
                <a:gd name="connsiteY8" fmla="*/ 250382 h 252911"/>
                <a:gd name="connsiteX9" fmla="*/ 552657 w 555186"/>
                <a:gd name="connsiteY9" fmla="*/ 245324 h 252911"/>
                <a:gd name="connsiteX10" fmla="*/ 555186 w 555186"/>
                <a:gd name="connsiteY10" fmla="*/ 245324 h 252911"/>
                <a:gd name="connsiteX11" fmla="*/ 555186 w 555186"/>
                <a:gd name="connsiteY11" fmla="*/ 245324 h 252911"/>
                <a:gd name="connsiteX12" fmla="*/ 553922 w 555186"/>
                <a:gd name="connsiteY12" fmla="*/ 244060 h 252911"/>
                <a:gd name="connsiteX13" fmla="*/ 0 w 555186"/>
                <a:gd name="connsiteY13" fmla="*/ 0 h 252911"/>
                <a:gd name="connsiteX14" fmla="*/ 0 w 555186"/>
                <a:gd name="connsiteY14" fmla="*/ 0 h 252911"/>
                <a:gd name="connsiteX15" fmla="*/ 0 w 555186"/>
                <a:gd name="connsiteY15" fmla="*/ 0 h 252911"/>
                <a:gd name="connsiteX16" fmla="*/ 1265 w 555186"/>
                <a:gd name="connsiteY16" fmla="*/ 3794 h 2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5186" h="252911">
                  <a:moveTo>
                    <a:pt x="1265" y="3794"/>
                  </a:moveTo>
                  <a:lnTo>
                    <a:pt x="1265" y="3794"/>
                  </a:lnTo>
                  <a:lnTo>
                    <a:pt x="1265" y="3794"/>
                  </a:lnTo>
                  <a:lnTo>
                    <a:pt x="1265" y="3794"/>
                  </a:lnTo>
                  <a:cubicBezTo>
                    <a:pt x="1265" y="5058"/>
                    <a:pt x="1265" y="5058"/>
                    <a:pt x="1265" y="5058"/>
                  </a:cubicBezTo>
                  <a:cubicBezTo>
                    <a:pt x="1265" y="5058"/>
                    <a:pt x="1265" y="5058"/>
                    <a:pt x="1265" y="5058"/>
                  </a:cubicBezTo>
                  <a:lnTo>
                    <a:pt x="2529" y="12646"/>
                  </a:lnTo>
                  <a:lnTo>
                    <a:pt x="548863" y="252911"/>
                  </a:lnTo>
                  <a:lnTo>
                    <a:pt x="548863" y="250382"/>
                  </a:lnTo>
                  <a:cubicBezTo>
                    <a:pt x="548863" y="247853"/>
                    <a:pt x="550128" y="245324"/>
                    <a:pt x="552657" y="245324"/>
                  </a:cubicBezTo>
                  <a:cubicBezTo>
                    <a:pt x="553922" y="245324"/>
                    <a:pt x="555186" y="245324"/>
                    <a:pt x="555186" y="245324"/>
                  </a:cubicBezTo>
                  <a:lnTo>
                    <a:pt x="555186" y="245324"/>
                  </a:lnTo>
                  <a:lnTo>
                    <a:pt x="553922" y="244060"/>
                  </a:lnTo>
                  <a:lnTo>
                    <a:pt x="0" y="0"/>
                  </a:lnTo>
                  <a:lnTo>
                    <a:pt x="0" y="0"/>
                  </a:lnTo>
                  <a:lnTo>
                    <a:pt x="0" y="0"/>
                  </a:lnTo>
                  <a:lnTo>
                    <a:pt x="1265" y="3794"/>
                  </a:lnTo>
                  <a:close/>
                </a:path>
              </a:pathLst>
            </a:custGeom>
            <a:solidFill>
              <a:srgbClr val="000000"/>
            </a:solidFill>
            <a:ln w="12625"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51154505-84BD-4CDC-A871-9E66CFD8527E}"/>
                </a:ext>
              </a:extLst>
            </p:cNvPr>
            <p:cNvSpPr/>
            <p:nvPr/>
          </p:nvSpPr>
          <p:spPr>
            <a:xfrm>
              <a:off x="11656138" y="3530160"/>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33DA2AFC-7B83-43F5-913D-FD6658D78B3D}"/>
                </a:ext>
              </a:extLst>
            </p:cNvPr>
            <p:cNvSpPr/>
            <p:nvPr/>
          </p:nvSpPr>
          <p:spPr>
            <a:xfrm>
              <a:off x="12210060" y="3776186"/>
              <a:ext cx="8852" cy="81493"/>
            </a:xfrm>
            <a:custGeom>
              <a:avLst/>
              <a:gdLst>
                <a:gd name="connsiteX0" fmla="*/ 7588 w 8852"/>
                <a:gd name="connsiteY0" fmla="*/ 1826 h 81493"/>
                <a:gd name="connsiteX1" fmla="*/ 7588 w 8852"/>
                <a:gd name="connsiteY1" fmla="*/ 1826 h 81493"/>
                <a:gd name="connsiteX2" fmla="*/ 7588 w 8852"/>
                <a:gd name="connsiteY2" fmla="*/ 562 h 81493"/>
                <a:gd name="connsiteX3" fmla="*/ 7588 w 8852"/>
                <a:gd name="connsiteY3" fmla="*/ 562 h 81493"/>
                <a:gd name="connsiteX4" fmla="*/ 6323 w 8852"/>
                <a:gd name="connsiteY4" fmla="*/ 562 h 81493"/>
                <a:gd name="connsiteX5" fmla="*/ 3794 w 8852"/>
                <a:gd name="connsiteY5" fmla="*/ 562 h 81493"/>
                <a:gd name="connsiteX6" fmla="*/ 0 w 8852"/>
                <a:gd name="connsiteY6" fmla="*/ 5620 h 81493"/>
                <a:gd name="connsiteX7" fmla="*/ 0 w 8852"/>
                <a:gd name="connsiteY7" fmla="*/ 8149 h 81493"/>
                <a:gd name="connsiteX8" fmla="*/ 8853 w 8852"/>
                <a:gd name="connsiteY8" fmla="*/ 81494 h 81493"/>
                <a:gd name="connsiteX9" fmla="*/ 7588 w 8852"/>
                <a:gd name="connsiteY9" fmla="*/ 1826 h 81493"/>
                <a:gd name="connsiteX10" fmla="*/ 7588 w 8852"/>
                <a:gd name="connsiteY10" fmla="*/ 1826 h 8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52" h="81493">
                  <a:moveTo>
                    <a:pt x="7588" y="1826"/>
                  </a:moveTo>
                  <a:lnTo>
                    <a:pt x="7588" y="1826"/>
                  </a:lnTo>
                  <a:lnTo>
                    <a:pt x="7588" y="562"/>
                  </a:lnTo>
                  <a:lnTo>
                    <a:pt x="7588" y="562"/>
                  </a:lnTo>
                  <a:lnTo>
                    <a:pt x="6323" y="562"/>
                  </a:lnTo>
                  <a:cubicBezTo>
                    <a:pt x="5059" y="562"/>
                    <a:pt x="3794" y="-703"/>
                    <a:pt x="3794" y="562"/>
                  </a:cubicBezTo>
                  <a:cubicBezTo>
                    <a:pt x="1265" y="562"/>
                    <a:pt x="0" y="3091"/>
                    <a:pt x="0" y="5620"/>
                  </a:cubicBezTo>
                  <a:lnTo>
                    <a:pt x="0" y="8149"/>
                  </a:lnTo>
                  <a:lnTo>
                    <a:pt x="8853" y="81494"/>
                  </a:lnTo>
                  <a:lnTo>
                    <a:pt x="7588" y="1826"/>
                  </a:lnTo>
                  <a:cubicBezTo>
                    <a:pt x="8853" y="3091"/>
                    <a:pt x="7588" y="1826"/>
                    <a:pt x="7588" y="1826"/>
                  </a:cubicBezTo>
                  <a:close/>
                </a:path>
              </a:pathLst>
            </a:custGeom>
            <a:solidFill>
              <a:srgbClr val="000000"/>
            </a:solidFill>
            <a:ln w="12625"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9BAB6178-07C8-445C-880E-958D76F1F5DC}"/>
                </a:ext>
              </a:extLst>
            </p:cNvPr>
            <p:cNvSpPr/>
            <p:nvPr/>
          </p:nvSpPr>
          <p:spPr>
            <a:xfrm>
              <a:off x="11492997" y="3530160"/>
              <a:ext cx="161876" cy="82196"/>
            </a:xfrm>
            <a:custGeom>
              <a:avLst/>
              <a:gdLst>
                <a:gd name="connsiteX0" fmla="*/ 0 w 161876"/>
                <a:gd name="connsiteY0" fmla="*/ 74609 h 82196"/>
                <a:gd name="connsiteX1" fmla="*/ 1265 w 161876"/>
                <a:gd name="connsiteY1" fmla="*/ 74609 h 82196"/>
                <a:gd name="connsiteX2" fmla="*/ 6323 w 161876"/>
                <a:gd name="connsiteY2" fmla="*/ 78402 h 82196"/>
                <a:gd name="connsiteX3" fmla="*/ 6323 w 161876"/>
                <a:gd name="connsiteY3" fmla="*/ 78402 h 82196"/>
                <a:gd name="connsiteX4" fmla="*/ 6323 w 161876"/>
                <a:gd name="connsiteY4" fmla="*/ 82196 h 82196"/>
                <a:gd name="connsiteX5" fmla="*/ 159347 w 161876"/>
                <a:gd name="connsiteY5" fmla="*/ 11381 h 82196"/>
                <a:gd name="connsiteX6" fmla="*/ 158083 w 161876"/>
                <a:gd name="connsiteY6" fmla="*/ 5058 h 82196"/>
                <a:gd name="connsiteX7" fmla="*/ 161877 w 161876"/>
                <a:gd name="connsiteY7" fmla="*/ 0 h 82196"/>
                <a:gd name="connsiteX8" fmla="*/ 160612 w 161876"/>
                <a:gd name="connsiteY8" fmla="*/ 0 h 82196"/>
                <a:gd name="connsiteX9" fmla="*/ 1265 w 161876"/>
                <a:gd name="connsiteY9" fmla="*/ 73344 h 82196"/>
                <a:gd name="connsiteX10" fmla="*/ 0 w 161876"/>
                <a:gd name="connsiteY10" fmla="*/ 74609 h 82196"/>
                <a:gd name="connsiteX11" fmla="*/ 0 w 161876"/>
                <a:gd name="connsiteY11" fmla="*/ 74609 h 8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876" h="82196">
                  <a:moveTo>
                    <a:pt x="0" y="74609"/>
                  </a:moveTo>
                  <a:lnTo>
                    <a:pt x="1265" y="74609"/>
                  </a:lnTo>
                  <a:cubicBezTo>
                    <a:pt x="3794" y="74609"/>
                    <a:pt x="6323" y="75873"/>
                    <a:pt x="6323" y="78402"/>
                  </a:cubicBezTo>
                  <a:cubicBezTo>
                    <a:pt x="6323" y="78402"/>
                    <a:pt x="6323" y="78402"/>
                    <a:pt x="6323" y="78402"/>
                  </a:cubicBezTo>
                  <a:lnTo>
                    <a:pt x="6323" y="82196"/>
                  </a:lnTo>
                  <a:lnTo>
                    <a:pt x="159347" y="11381"/>
                  </a:lnTo>
                  <a:lnTo>
                    <a:pt x="158083" y="5058"/>
                  </a:lnTo>
                  <a:cubicBezTo>
                    <a:pt x="158083" y="2529"/>
                    <a:pt x="159347" y="0"/>
                    <a:pt x="161877" y="0"/>
                  </a:cubicBezTo>
                  <a:lnTo>
                    <a:pt x="160612" y="0"/>
                  </a:lnTo>
                  <a:lnTo>
                    <a:pt x="1265" y="73344"/>
                  </a:lnTo>
                  <a:lnTo>
                    <a:pt x="0" y="74609"/>
                  </a:lnTo>
                  <a:lnTo>
                    <a:pt x="0" y="74609"/>
                  </a:lnTo>
                  <a:close/>
                </a:path>
              </a:pathLst>
            </a:custGeom>
            <a:solidFill>
              <a:srgbClr val="000000"/>
            </a:solidFill>
            <a:ln w="1262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72CA074D-AE93-4BD3-8A9E-D0EFE2296E79}"/>
                </a:ext>
              </a:extLst>
            </p:cNvPr>
            <p:cNvSpPr/>
            <p:nvPr/>
          </p:nvSpPr>
          <p:spPr>
            <a:xfrm>
              <a:off x="11658668" y="353016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6B6A139F-7FDC-4E14-8A32-E35DE6F36883}"/>
                </a:ext>
              </a:extLst>
            </p:cNvPr>
            <p:cNvSpPr/>
            <p:nvPr/>
          </p:nvSpPr>
          <p:spPr>
            <a:xfrm>
              <a:off x="11661197" y="3531424"/>
              <a:ext cx="12646" cy="948"/>
            </a:xfrm>
            <a:custGeom>
              <a:avLst/>
              <a:gdLst>
                <a:gd name="connsiteX0" fmla="*/ 0 w 12646"/>
                <a:gd name="connsiteY0" fmla="*/ 0 h 948"/>
                <a:gd name="connsiteX1" fmla="*/ 0 w 12646"/>
                <a:gd name="connsiteY1" fmla="*/ 0 h 948"/>
                <a:gd name="connsiteX2" fmla="*/ 0 w 12646"/>
                <a:gd name="connsiteY2" fmla="*/ 0 h 948"/>
                <a:gd name="connsiteX3" fmla="*/ 0 w 12646"/>
                <a:gd name="connsiteY3" fmla="*/ 0 h 948"/>
              </a:gdLst>
              <a:ahLst/>
              <a:cxnLst>
                <a:cxn ang="0">
                  <a:pos x="connsiteX0" y="connsiteY0"/>
                </a:cxn>
                <a:cxn ang="0">
                  <a:pos x="connsiteX1" y="connsiteY1"/>
                </a:cxn>
                <a:cxn ang="0">
                  <a:pos x="connsiteX2" y="connsiteY2"/>
                </a:cxn>
                <a:cxn ang="0">
                  <a:pos x="connsiteX3" y="connsiteY3"/>
                </a:cxn>
              </a:cxnLst>
              <a:rect l="l" t="t" r="r" b="b"/>
              <a:pathLst>
                <a:path w="12646" h="948">
                  <a:moveTo>
                    <a:pt x="0" y="0"/>
                  </a:moveTo>
                  <a:cubicBezTo>
                    <a:pt x="0" y="1265"/>
                    <a:pt x="0" y="1265"/>
                    <a:pt x="0" y="0"/>
                  </a:cubicBezTo>
                  <a:cubicBezTo>
                    <a:pt x="0" y="1265"/>
                    <a:pt x="0" y="1265"/>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4DB9D68D-07A2-4F79-A56A-8AC332B792ED}"/>
                </a:ext>
              </a:extLst>
            </p:cNvPr>
            <p:cNvSpPr/>
            <p:nvPr/>
          </p:nvSpPr>
          <p:spPr>
            <a:xfrm>
              <a:off x="11656138" y="3528895"/>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B773F57B-89EF-468C-9D51-82DC62B2C85D}"/>
                </a:ext>
              </a:extLst>
            </p:cNvPr>
            <p:cNvSpPr/>
            <p:nvPr/>
          </p:nvSpPr>
          <p:spPr>
            <a:xfrm>
              <a:off x="11652344" y="3531424"/>
              <a:ext cx="250403" cy="1716002"/>
            </a:xfrm>
            <a:custGeom>
              <a:avLst/>
              <a:gdLst>
                <a:gd name="connsiteX0" fmla="*/ 0 w 250403"/>
                <a:gd name="connsiteY0" fmla="*/ 3794 h 1716002"/>
                <a:gd name="connsiteX1" fmla="*/ 1265 w 250403"/>
                <a:gd name="connsiteY1" fmla="*/ 10117 h 1716002"/>
                <a:gd name="connsiteX2" fmla="*/ 241550 w 250403"/>
                <a:gd name="connsiteY2" fmla="*/ 1714738 h 1716002"/>
                <a:gd name="connsiteX3" fmla="*/ 244080 w 250403"/>
                <a:gd name="connsiteY3" fmla="*/ 1713474 h 1716002"/>
                <a:gd name="connsiteX4" fmla="*/ 250403 w 250403"/>
                <a:gd name="connsiteY4" fmla="*/ 1714738 h 1716002"/>
                <a:gd name="connsiteX5" fmla="*/ 250403 w 250403"/>
                <a:gd name="connsiteY5" fmla="*/ 1714738 h 1716002"/>
                <a:gd name="connsiteX6" fmla="*/ 250403 w 250403"/>
                <a:gd name="connsiteY6" fmla="*/ 1716003 h 1716002"/>
                <a:gd name="connsiteX7" fmla="*/ 250403 w 250403"/>
                <a:gd name="connsiteY7" fmla="*/ 1716003 h 1716002"/>
                <a:gd name="connsiteX8" fmla="*/ 250403 w 250403"/>
                <a:gd name="connsiteY8" fmla="*/ 1713474 h 1716002"/>
                <a:gd name="connsiteX9" fmla="*/ 10117 w 250403"/>
                <a:gd name="connsiteY9" fmla="*/ 10117 h 1716002"/>
                <a:gd name="connsiteX10" fmla="*/ 8853 w 250403"/>
                <a:gd name="connsiteY10" fmla="*/ 2529 h 1716002"/>
                <a:gd name="connsiteX11" fmla="*/ 8853 w 250403"/>
                <a:gd name="connsiteY11" fmla="*/ 2529 h 1716002"/>
                <a:gd name="connsiteX12" fmla="*/ 8853 w 250403"/>
                <a:gd name="connsiteY12" fmla="*/ 1265 h 1716002"/>
                <a:gd name="connsiteX13" fmla="*/ 8853 w 250403"/>
                <a:gd name="connsiteY13" fmla="*/ 0 h 1716002"/>
                <a:gd name="connsiteX14" fmla="*/ 8853 w 250403"/>
                <a:gd name="connsiteY14" fmla="*/ 0 h 1716002"/>
                <a:gd name="connsiteX15" fmla="*/ 7588 w 250403"/>
                <a:gd name="connsiteY15" fmla="*/ 0 h 1716002"/>
                <a:gd name="connsiteX16" fmla="*/ 7588 w 250403"/>
                <a:gd name="connsiteY16" fmla="*/ 0 h 1716002"/>
                <a:gd name="connsiteX17" fmla="*/ 5059 w 250403"/>
                <a:gd name="connsiteY17" fmla="*/ 0 h 1716002"/>
                <a:gd name="connsiteX18" fmla="*/ 5059 w 250403"/>
                <a:gd name="connsiteY18" fmla="*/ 0 h 1716002"/>
                <a:gd name="connsiteX19" fmla="*/ 5059 w 250403"/>
                <a:gd name="connsiteY19" fmla="*/ 0 h 1716002"/>
                <a:gd name="connsiteX20" fmla="*/ 0 w 250403"/>
                <a:gd name="connsiteY20" fmla="*/ 3794 h 171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0403" h="1716002">
                  <a:moveTo>
                    <a:pt x="0" y="3794"/>
                  </a:moveTo>
                  <a:lnTo>
                    <a:pt x="1265" y="10117"/>
                  </a:lnTo>
                  <a:lnTo>
                    <a:pt x="241550" y="1714738"/>
                  </a:lnTo>
                  <a:lnTo>
                    <a:pt x="244080" y="1713474"/>
                  </a:lnTo>
                  <a:cubicBezTo>
                    <a:pt x="246609" y="1712209"/>
                    <a:pt x="249139" y="1713474"/>
                    <a:pt x="250403" y="1714738"/>
                  </a:cubicBezTo>
                  <a:cubicBezTo>
                    <a:pt x="250403" y="1714738"/>
                    <a:pt x="250403" y="1714738"/>
                    <a:pt x="250403" y="1714738"/>
                  </a:cubicBezTo>
                  <a:cubicBezTo>
                    <a:pt x="250403" y="1714738"/>
                    <a:pt x="250403" y="1716003"/>
                    <a:pt x="250403" y="1716003"/>
                  </a:cubicBezTo>
                  <a:lnTo>
                    <a:pt x="250403" y="1716003"/>
                  </a:lnTo>
                  <a:lnTo>
                    <a:pt x="250403" y="1713474"/>
                  </a:lnTo>
                  <a:lnTo>
                    <a:pt x="10117" y="10117"/>
                  </a:lnTo>
                  <a:lnTo>
                    <a:pt x="8853" y="2529"/>
                  </a:lnTo>
                  <a:lnTo>
                    <a:pt x="8853" y="2529"/>
                  </a:lnTo>
                  <a:cubicBezTo>
                    <a:pt x="8853" y="2529"/>
                    <a:pt x="8853" y="2529"/>
                    <a:pt x="8853" y="1265"/>
                  </a:cubicBezTo>
                  <a:lnTo>
                    <a:pt x="8853" y="0"/>
                  </a:lnTo>
                  <a:lnTo>
                    <a:pt x="8853" y="0"/>
                  </a:lnTo>
                  <a:lnTo>
                    <a:pt x="7588" y="0"/>
                  </a:lnTo>
                  <a:lnTo>
                    <a:pt x="7588" y="0"/>
                  </a:lnTo>
                  <a:lnTo>
                    <a:pt x="5059" y="0"/>
                  </a:lnTo>
                  <a:lnTo>
                    <a:pt x="5059" y="0"/>
                  </a:lnTo>
                  <a:lnTo>
                    <a:pt x="5059" y="0"/>
                  </a:lnTo>
                  <a:cubicBezTo>
                    <a:pt x="2529" y="0"/>
                    <a:pt x="0" y="1265"/>
                    <a:pt x="0" y="3794"/>
                  </a:cubicBezTo>
                  <a:close/>
                </a:path>
              </a:pathLst>
            </a:custGeom>
            <a:solidFill>
              <a:srgbClr val="000000"/>
            </a:solidFill>
            <a:ln w="12625"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EDB86795-C74D-4CE1-9A94-6B1BBEB92AE8}"/>
                </a:ext>
              </a:extLst>
            </p:cNvPr>
            <p:cNvSpPr/>
            <p:nvPr/>
          </p:nvSpPr>
          <p:spPr>
            <a:xfrm>
              <a:off x="11745929" y="533468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389FC6E8-7686-4D3D-B8D0-FD8566B77AD1}"/>
                </a:ext>
              </a:extLst>
            </p:cNvPr>
            <p:cNvSpPr/>
            <p:nvPr/>
          </p:nvSpPr>
          <p:spPr>
            <a:xfrm>
              <a:off x="11744665" y="533341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3E07FB1F-D5E1-41DF-8A4B-4E9AF4AF0391}"/>
                </a:ext>
              </a:extLst>
            </p:cNvPr>
            <p:cNvSpPr/>
            <p:nvPr/>
          </p:nvSpPr>
          <p:spPr>
            <a:xfrm>
              <a:off x="11489203" y="3603504"/>
              <a:ext cx="260520" cy="1727383"/>
            </a:xfrm>
            <a:custGeom>
              <a:avLst/>
              <a:gdLst>
                <a:gd name="connsiteX0" fmla="*/ 254197 w 260520"/>
                <a:gd name="connsiteY0" fmla="*/ 1727384 h 1727383"/>
                <a:gd name="connsiteX1" fmla="*/ 254197 w 260520"/>
                <a:gd name="connsiteY1" fmla="*/ 1727384 h 1727383"/>
                <a:gd name="connsiteX2" fmla="*/ 254197 w 260520"/>
                <a:gd name="connsiteY2" fmla="*/ 1727384 h 1727383"/>
                <a:gd name="connsiteX3" fmla="*/ 254197 w 260520"/>
                <a:gd name="connsiteY3" fmla="*/ 1727384 h 1727383"/>
                <a:gd name="connsiteX4" fmla="*/ 254197 w 260520"/>
                <a:gd name="connsiteY4" fmla="*/ 1726119 h 1727383"/>
                <a:gd name="connsiteX5" fmla="*/ 254197 w 260520"/>
                <a:gd name="connsiteY5" fmla="*/ 1724854 h 1727383"/>
                <a:gd name="connsiteX6" fmla="*/ 254197 w 260520"/>
                <a:gd name="connsiteY6" fmla="*/ 1724854 h 1727383"/>
                <a:gd name="connsiteX7" fmla="*/ 254197 w 260520"/>
                <a:gd name="connsiteY7" fmla="*/ 1724854 h 1727383"/>
                <a:gd name="connsiteX8" fmla="*/ 254197 w 260520"/>
                <a:gd name="connsiteY8" fmla="*/ 1723590 h 1727383"/>
                <a:gd name="connsiteX9" fmla="*/ 254197 w 260520"/>
                <a:gd name="connsiteY9" fmla="*/ 1723590 h 1727383"/>
                <a:gd name="connsiteX10" fmla="*/ 254197 w 260520"/>
                <a:gd name="connsiteY10" fmla="*/ 1723590 h 1727383"/>
                <a:gd name="connsiteX11" fmla="*/ 260520 w 260520"/>
                <a:gd name="connsiteY11" fmla="*/ 1719796 h 1727383"/>
                <a:gd name="connsiteX12" fmla="*/ 8853 w 260520"/>
                <a:gd name="connsiteY12" fmla="*/ 7587 h 1727383"/>
                <a:gd name="connsiteX13" fmla="*/ 8853 w 260520"/>
                <a:gd name="connsiteY13" fmla="*/ 3794 h 1727383"/>
                <a:gd name="connsiteX14" fmla="*/ 3794 w 260520"/>
                <a:gd name="connsiteY14" fmla="*/ 0 h 1727383"/>
                <a:gd name="connsiteX15" fmla="*/ 3794 w 260520"/>
                <a:gd name="connsiteY15" fmla="*/ 0 h 1727383"/>
                <a:gd name="connsiteX16" fmla="*/ 2529 w 260520"/>
                <a:gd name="connsiteY16" fmla="*/ 0 h 1727383"/>
                <a:gd name="connsiteX17" fmla="*/ 1265 w 260520"/>
                <a:gd name="connsiteY17" fmla="*/ 0 h 1727383"/>
                <a:gd name="connsiteX18" fmla="*/ 0 w 260520"/>
                <a:gd name="connsiteY18" fmla="*/ 0 h 1727383"/>
                <a:gd name="connsiteX19" fmla="*/ 0 w 260520"/>
                <a:gd name="connsiteY19" fmla="*/ 1265 h 1727383"/>
                <a:gd name="connsiteX20" fmla="*/ 0 w 260520"/>
                <a:gd name="connsiteY20" fmla="*/ 2529 h 1727383"/>
                <a:gd name="connsiteX21" fmla="*/ 0 w 260520"/>
                <a:gd name="connsiteY21" fmla="*/ 3794 h 1727383"/>
                <a:gd name="connsiteX22" fmla="*/ 0 w 260520"/>
                <a:gd name="connsiteY22" fmla="*/ 3794 h 1727383"/>
                <a:gd name="connsiteX23" fmla="*/ 0 w 260520"/>
                <a:gd name="connsiteY23" fmla="*/ 6323 h 1727383"/>
                <a:gd name="connsiteX24" fmla="*/ 251668 w 260520"/>
                <a:gd name="connsiteY24" fmla="*/ 1716003 h 1727383"/>
                <a:gd name="connsiteX25" fmla="*/ 254197 w 260520"/>
                <a:gd name="connsiteY25" fmla="*/ 1727384 h 17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0520" h="1727383">
                  <a:moveTo>
                    <a:pt x="254197" y="1727384"/>
                  </a:moveTo>
                  <a:lnTo>
                    <a:pt x="254197" y="1727384"/>
                  </a:lnTo>
                  <a:lnTo>
                    <a:pt x="254197" y="1727384"/>
                  </a:lnTo>
                  <a:cubicBezTo>
                    <a:pt x="254197" y="1727384"/>
                    <a:pt x="254197" y="1727384"/>
                    <a:pt x="254197" y="1727384"/>
                  </a:cubicBezTo>
                  <a:cubicBezTo>
                    <a:pt x="254197" y="1726119"/>
                    <a:pt x="254197" y="1726119"/>
                    <a:pt x="254197" y="1726119"/>
                  </a:cubicBezTo>
                  <a:cubicBezTo>
                    <a:pt x="254197" y="1726119"/>
                    <a:pt x="254197" y="1726119"/>
                    <a:pt x="254197" y="1724854"/>
                  </a:cubicBezTo>
                  <a:lnTo>
                    <a:pt x="254197" y="1724854"/>
                  </a:lnTo>
                  <a:lnTo>
                    <a:pt x="254197" y="1724854"/>
                  </a:lnTo>
                  <a:lnTo>
                    <a:pt x="254197" y="1723590"/>
                  </a:lnTo>
                  <a:cubicBezTo>
                    <a:pt x="254197" y="1723590"/>
                    <a:pt x="254197" y="1723590"/>
                    <a:pt x="254197" y="1723590"/>
                  </a:cubicBezTo>
                  <a:lnTo>
                    <a:pt x="254197" y="1723590"/>
                  </a:lnTo>
                  <a:lnTo>
                    <a:pt x="260520" y="1719796"/>
                  </a:lnTo>
                  <a:lnTo>
                    <a:pt x="8853" y="7587"/>
                  </a:lnTo>
                  <a:lnTo>
                    <a:pt x="8853" y="3794"/>
                  </a:lnTo>
                  <a:cubicBezTo>
                    <a:pt x="8853" y="1265"/>
                    <a:pt x="6323" y="0"/>
                    <a:pt x="3794" y="0"/>
                  </a:cubicBezTo>
                  <a:cubicBezTo>
                    <a:pt x="3794" y="0"/>
                    <a:pt x="3794" y="0"/>
                    <a:pt x="3794" y="0"/>
                  </a:cubicBezTo>
                  <a:lnTo>
                    <a:pt x="2529" y="0"/>
                  </a:lnTo>
                  <a:lnTo>
                    <a:pt x="1265" y="0"/>
                  </a:lnTo>
                  <a:lnTo>
                    <a:pt x="0" y="0"/>
                  </a:lnTo>
                  <a:lnTo>
                    <a:pt x="0" y="1265"/>
                  </a:lnTo>
                  <a:cubicBezTo>
                    <a:pt x="0" y="1265"/>
                    <a:pt x="0" y="1265"/>
                    <a:pt x="0" y="2529"/>
                  </a:cubicBezTo>
                  <a:cubicBezTo>
                    <a:pt x="0" y="2529"/>
                    <a:pt x="0" y="3794"/>
                    <a:pt x="0" y="3794"/>
                  </a:cubicBezTo>
                  <a:lnTo>
                    <a:pt x="0" y="3794"/>
                  </a:lnTo>
                  <a:lnTo>
                    <a:pt x="0" y="6323"/>
                  </a:lnTo>
                  <a:lnTo>
                    <a:pt x="251668" y="1716003"/>
                  </a:lnTo>
                  <a:lnTo>
                    <a:pt x="254197" y="1727384"/>
                  </a:lnTo>
                  <a:close/>
                </a:path>
              </a:pathLst>
            </a:custGeom>
            <a:solidFill>
              <a:srgbClr val="000000"/>
            </a:solidFill>
            <a:ln w="12625"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8DFCBDCC-2CBC-4438-A812-4D6E074F2267}"/>
                </a:ext>
              </a:extLst>
            </p:cNvPr>
            <p:cNvSpPr/>
            <p:nvPr/>
          </p:nvSpPr>
          <p:spPr>
            <a:xfrm>
              <a:off x="11745929" y="5330887"/>
              <a:ext cx="350311" cy="198535"/>
            </a:xfrm>
            <a:custGeom>
              <a:avLst/>
              <a:gdLst>
                <a:gd name="connsiteX0" fmla="*/ 0 w 350311"/>
                <a:gd name="connsiteY0" fmla="*/ 3794 h 198535"/>
                <a:gd name="connsiteX1" fmla="*/ 0 w 350311"/>
                <a:gd name="connsiteY1" fmla="*/ 3794 h 198535"/>
                <a:gd name="connsiteX2" fmla="*/ 0 w 350311"/>
                <a:gd name="connsiteY2" fmla="*/ 3794 h 198535"/>
                <a:gd name="connsiteX3" fmla="*/ 341459 w 350311"/>
                <a:gd name="connsiteY3" fmla="*/ 194742 h 198535"/>
                <a:gd name="connsiteX4" fmla="*/ 349047 w 350311"/>
                <a:gd name="connsiteY4" fmla="*/ 198535 h 198535"/>
                <a:gd name="connsiteX5" fmla="*/ 349047 w 350311"/>
                <a:gd name="connsiteY5" fmla="*/ 198535 h 198535"/>
                <a:gd name="connsiteX6" fmla="*/ 346518 w 350311"/>
                <a:gd name="connsiteY6" fmla="*/ 197271 h 198535"/>
                <a:gd name="connsiteX7" fmla="*/ 347782 w 350311"/>
                <a:gd name="connsiteY7" fmla="*/ 190948 h 198535"/>
                <a:gd name="connsiteX8" fmla="*/ 350311 w 350311"/>
                <a:gd name="connsiteY8" fmla="*/ 189683 h 198535"/>
                <a:gd name="connsiteX9" fmla="*/ 11382 w 350311"/>
                <a:gd name="connsiteY9" fmla="*/ 0 h 198535"/>
                <a:gd name="connsiteX10" fmla="*/ 3794 w 350311"/>
                <a:gd name="connsiteY10" fmla="*/ 3794 h 198535"/>
                <a:gd name="connsiteX11" fmla="*/ 0 w 350311"/>
                <a:gd name="connsiteY11" fmla="*/ 3794 h 19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311" h="198535">
                  <a:moveTo>
                    <a:pt x="0" y="3794"/>
                  </a:moveTo>
                  <a:lnTo>
                    <a:pt x="0" y="3794"/>
                  </a:lnTo>
                  <a:lnTo>
                    <a:pt x="0" y="3794"/>
                  </a:lnTo>
                  <a:lnTo>
                    <a:pt x="341459" y="194742"/>
                  </a:lnTo>
                  <a:lnTo>
                    <a:pt x="349047" y="198535"/>
                  </a:lnTo>
                  <a:lnTo>
                    <a:pt x="349047" y="198535"/>
                  </a:lnTo>
                  <a:cubicBezTo>
                    <a:pt x="347782" y="198535"/>
                    <a:pt x="347782" y="197271"/>
                    <a:pt x="346518" y="197271"/>
                  </a:cubicBezTo>
                  <a:cubicBezTo>
                    <a:pt x="345253" y="194742"/>
                    <a:pt x="346518" y="192212"/>
                    <a:pt x="347782" y="190948"/>
                  </a:cubicBezTo>
                  <a:lnTo>
                    <a:pt x="350311" y="189683"/>
                  </a:lnTo>
                  <a:lnTo>
                    <a:pt x="11382" y="0"/>
                  </a:lnTo>
                  <a:lnTo>
                    <a:pt x="3794" y="3794"/>
                  </a:lnTo>
                  <a:cubicBezTo>
                    <a:pt x="2529" y="3794"/>
                    <a:pt x="1265" y="3794"/>
                    <a:pt x="0" y="3794"/>
                  </a:cubicBezTo>
                  <a:close/>
                </a:path>
              </a:pathLst>
            </a:custGeom>
            <a:solidFill>
              <a:srgbClr val="000000"/>
            </a:solidFill>
            <a:ln w="12625"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5AB4CDF7-361B-405A-8C2C-2F7319296996}"/>
                </a:ext>
              </a:extLst>
            </p:cNvPr>
            <p:cNvSpPr/>
            <p:nvPr/>
          </p:nvSpPr>
          <p:spPr>
            <a:xfrm>
              <a:off x="11744665" y="5333416"/>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5AEF906C-20E0-42C1-9137-ACCCCF8FE39A}"/>
                </a:ext>
              </a:extLst>
            </p:cNvPr>
            <p:cNvSpPr/>
            <p:nvPr/>
          </p:nvSpPr>
          <p:spPr>
            <a:xfrm>
              <a:off x="11744665" y="5331590"/>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cubicBezTo>
                    <a:pt x="0" y="562"/>
                    <a:pt x="0" y="-703"/>
                    <a:pt x="0" y="562"/>
                  </a:cubicBezTo>
                  <a:lnTo>
                    <a:pt x="0" y="562"/>
                  </a:lnTo>
                  <a:cubicBezTo>
                    <a:pt x="0" y="-703"/>
                    <a:pt x="0" y="562"/>
                    <a:pt x="0" y="562"/>
                  </a:cubicBezTo>
                  <a:close/>
                </a:path>
              </a:pathLst>
            </a:custGeom>
            <a:solidFill>
              <a:srgbClr val="000000"/>
            </a:solidFill>
            <a:ln w="12625"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938AA424-343C-4E3A-BA34-ECAC8E91859C}"/>
                </a:ext>
              </a:extLst>
            </p:cNvPr>
            <p:cNvSpPr/>
            <p:nvPr/>
          </p:nvSpPr>
          <p:spPr>
            <a:xfrm>
              <a:off x="11744665" y="532835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AB6EDD74-D585-43FC-9748-33B9A3337686}"/>
                </a:ext>
              </a:extLst>
            </p:cNvPr>
            <p:cNvSpPr/>
            <p:nvPr/>
          </p:nvSpPr>
          <p:spPr>
            <a:xfrm>
              <a:off x="11561289" y="3164703"/>
              <a:ext cx="54380" cy="312345"/>
            </a:xfrm>
            <a:custGeom>
              <a:avLst/>
              <a:gdLst>
                <a:gd name="connsiteX0" fmla="*/ 46792 w 54380"/>
                <a:gd name="connsiteY0" fmla="*/ 312345 h 312345"/>
                <a:gd name="connsiteX1" fmla="*/ 49322 w 54380"/>
                <a:gd name="connsiteY1" fmla="*/ 311081 h 312345"/>
                <a:gd name="connsiteX2" fmla="*/ 54380 w 54380"/>
                <a:gd name="connsiteY2" fmla="*/ 308552 h 312345"/>
                <a:gd name="connsiteX3" fmla="*/ 11382 w 54380"/>
                <a:gd name="connsiteY3" fmla="*/ 5058 h 312345"/>
                <a:gd name="connsiteX4" fmla="*/ 3794 w 54380"/>
                <a:gd name="connsiteY4" fmla="*/ 2529 h 312345"/>
                <a:gd name="connsiteX5" fmla="*/ 2529 w 54380"/>
                <a:gd name="connsiteY5" fmla="*/ 2529 h 312345"/>
                <a:gd name="connsiteX6" fmla="*/ 1265 w 54380"/>
                <a:gd name="connsiteY6" fmla="*/ 2529 h 312345"/>
                <a:gd name="connsiteX7" fmla="*/ 0 w 54380"/>
                <a:gd name="connsiteY7" fmla="*/ 1264 h 312345"/>
                <a:gd name="connsiteX8" fmla="*/ 0 w 54380"/>
                <a:gd name="connsiteY8" fmla="*/ 1264 h 312345"/>
                <a:gd name="connsiteX9" fmla="*/ 0 w 54380"/>
                <a:gd name="connsiteY9" fmla="*/ 1264 h 312345"/>
                <a:gd name="connsiteX10" fmla="*/ 0 w 54380"/>
                <a:gd name="connsiteY10" fmla="*/ 0 h 312345"/>
                <a:gd name="connsiteX11" fmla="*/ 0 w 54380"/>
                <a:gd name="connsiteY11" fmla="*/ 0 h 312345"/>
                <a:gd name="connsiteX12" fmla="*/ 46792 w 54380"/>
                <a:gd name="connsiteY12" fmla="*/ 312345 h 3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80" h="312345">
                  <a:moveTo>
                    <a:pt x="46792" y="312345"/>
                  </a:moveTo>
                  <a:lnTo>
                    <a:pt x="49322" y="311081"/>
                  </a:lnTo>
                  <a:lnTo>
                    <a:pt x="54380" y="308552"/>
                  </a:lnTo>
                  <a:lnTo>
                    <a:pt x="11382" y="5058"/>
                  </a:lnTo>
                  <a:lnTo>
                    <a:pt x="3794" y="2529"/>
                  </a:lnTo>
                  <a:lnTo>
                    <a:pt x="2529" y="2529"/>
                  </a:lnTo>
                  <a:lnTo>
                    <a:pt x="1265" y="2529"/>
                  </a:lnTo>
                  <a:cubicBezTo>
                    <a:pt x="1265" y="2529"/>
                    <a:pt x="1265" y="1264"/>
                    <a:pt x="0" y="1264"/>
                  </a:cubicBezTo>
                  <a:lnTo>
                    <a:pt x="0" y="1264"/>
                  </a:lnTo>
                  <a:lnTo>
                    <a:pt x="0" y="1264"/>
                  </a:lnTo>
                  <a:cubicBezTo>
                    <a:pt x="0" y="1264"/>
                    <a:pt x="0" y="0"/>
                    <a:pt x="0" y="0"/>
                  </a:cubicBezTo>
                  <a:lnTo>
                    <a:pt x="0" y="0"/>
                  </a:lnTo>
                  <a:lnTo>
                    <a:pt x="46792" y="312345"/>
                  </a:lnTo>
                  <a:close/>
                </a:path>
              </a:pathLst>
            </a:custGeom>
            <a:solidFill>
              <a:srgbClr val="000000"/>
            </a:solidFill>
            <a:ln w="1262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C011B45D-DDFB-4469-8033-DC91D61C0DE3}"/>
                </a:ext>
              </a:extLst>
            </p:cNvPr>
            <p:cNvSpPr/>
            <p:nvPr/>
          </p:nvSpPr>
          <p:spPr>
            <a:xfrm>
              <a:off x="11566347" y="315838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ADA054F1-619E-4C88-983B-BFD04A1B7EE9}"/>
                </a:ext>
              </a:extLst>
            </p:cNvPr>
            <p:cNvSpPr/>
            <p:nvPr/>
          </p:nvSpPr>
          <p:spPr>
            <a:xfrm>
              <a:off x="11563818" y="315964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FCC07B4B-48E6-4FF5-AEB8-0B99D650BFE0}"/>
                </a:ext>
              </a:extLst>
            </p:cNvPr>
            <p:cNvSpPr/>
            <p:nvPr/>
          </p:nvSpPr>
          <p:spPr>
            <a:xfrm>
              <a:off x="11958393" y="332530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77A91F53-875B-49C4-B4A2-1459B941959F}"/>
                </a:ext>
              </a:extLst>
            </p:cNvPr>
            <p:cNvSpPr/>
            <p:nvPr/>
          </p:nvSpPr>
          <p:spPr>
            <a:xfrm>
              <a:off x="11566347" y="3160909"/>
              <a:ext cx="390780" cy="161863"/>
            </a:xfrm>
            <a:custGeom>
              <a:avLst/>
              <a:gdLst>
                <a:gd name="connsiteX0" fmla="*/ 0 w 390780"/>
                <a:gd name="connsiteY0" fmla="*/ 5058 h 161863"/>
                <a:gd name="connsiteX1" fmla="*/ 0 w 390780"/>
                <a:gd name="connsiteY1" fmla="*/ 5058 h 161863"/>
                <a:gd name="connsiteX2" fmla="*/ 7588 w 390780"/>
                <a:gd name="connsiteY2" fmla="*/ 7587 h 161863"/>
                <a:gd name="connsiteX3" fmla="*/ 376869 w 390780"/>
                <a:gd name="connsiteY3" fmla="*/ 161863 h 161863"/>
                <a:gd name="connsiteX4" fmla="*/ 386987 w 390780"/>
                <a:gd name="connsiteY4" fmla="*/ 156805 h 161863"/>
                <a:gd name="connsiteX5" fmla="*/ 390780 w 390780"/>
                <a:gd name="connsiteY5" fmla="*/ 156805 h 161863"/>
                <a:gd name="connsiteX6" fmla="*/ 390780 w 390780"/>
                <a:gd name="connsiteY6" fmla="*/ 156805 h 161863"/>
                <a:gd name="connsiteX7" fmla="*/ 13911 w 390780"/>
                <a:gd name="connsiteY7" fmla="*/ 0 h 161863"/>
                <a:gd name="connsiteX8" fmla="*/ 3794 w 390780"/>
                <a:gd name="connsiteY8" fmla="*/ 3794 h 161863"/>
                <a:gd name="connsiteX9" fmla="*/ 0 w 390780"/>
                <a:gd name="connsiteY9" fmla="*/ 5058 h 16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780" h="161863">
                  <a:moveTo>
                    <a:pt x="0" y="5058"/>
                  </a:moveTo>
                  <a:lnTo>
                    <a:pt x="0" y="5058"/>
                  </a:lnTo>
                  <a:lnTo>
                    <a:pt x="7588" y="7587"/>
                  </a:lnTo>
                  <a:lnTo>
                    <a:pt x="376869" y="161863"/>
                  </a:lnTo>
                  <a:lnTo>
                    <a:pt x="386987" y="156805"/>
                  </a:lnTo>
                  <a:cubicBezTo>
                    <a:pt x="388251" y="155540"/>
                    <a:pt x="389516" y="155540"/>
                    <a:pt x="390780" y="156805"/>
                  </a:cubicBezTo>
                  <a:lnTo>
                    <a:pt x="390780" y="156805"/>
                  </a:lnTo>
                  <a:lnTo>
                    <a:pt x="13911" y="0"/>
                  </a:lnTo>
                  <a:lnTo>
                    <a:pt x="3794" y="3794"/>
                  </a:lnTo>
                  <a:cubicBezTo>
                    <a:pt x="2529" y="5058"/>
                    <a:pt x="1265" y="5058"/>
                    <a:pt x="0" y="5058"/>
                  </a:cubicBezTo>
                  <a:close/>
                </a:path>
              </a:pathLst>
            </a:custGeom>
            <a:solidFill>
              <a:srgbClr val="000000"/>
            </a:solidFill>
            <a:ln w="1262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90687C56-A0C3-4458-BE60-E626EEEA5C9A}"/>
                </a:ext>
              </a:extLst>
            </p:cNvPr>
            <p:cNvSpPr/>
            <p:nvPr/>
          </p:nvSpPr>
          <p:spPr>
            <a:xfrm>
              <a:off x="11563818" y="315964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B2989B43-335C-4530-9CA0-C7DA71B6DDA5}"/>
                </a:ext>
              </a:extLst>
            </p:cNvPr>
            <p:cNvSpPr/>
            <p:nvPr/>
          </p:nvSpPr>
          <p:spPr>
            <a:xfrm>
              <a:off x="11565083" y="315838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8E68BE0F-5BEA-4AEE-9587-BDC12857B62E}"/>
                </a:ext>
              </a:extLst>
            </p:cNvPr>
            <p:cNvSpPr/>
            <p:nvPr/>
          </p:nvSpPr>
          <p:spPr>
            <a:xfrm>
              <a:off x="11592905" y="4914848"/>
              <a:ext cx="17705" cy="17269"/>
            </a:xfrm>
            <a:custGeom>
              <a:avLst/>
              <a:gdLst>
                <a:gd name="connsiteX0" fmla="*/ 2529 w 17705"/>
                <a:gd name="connsiteY0" fmla="*/ 8852 h 17269"/>
                <a:gd name="connsiteX1" fmla="*/ 2529 w 17705"/>
                <a:gd name="connsiteY1" fmla="*/ 8852 h 17269"/>
                <a:gd name="connsiteX2" fmla="*/ 0 w 17705"/>
                <a:gd name="connsiteY2" fmla="*/ 15174 h 17269"/>
                <a:gd name="connsiteX3" fmla="*/ 6323 w 17705"/>
                <a:gd name="connsiteY3" fmla="*/ 16439 h 17269"/>
                <a:gd name="connsiteX4" fmla="*/ 6323 w 17705"/>
                <a:gd name="connsiteY4" fmla="*/ 16439 h 17269"/>
                <a:gd name="connsiteX5" fmla="*/ 6323 w 17705"/>
                <a:gd name="connsiteY5" fmla="*/ 16439 h 17269"/>
                <a:gd name="connsiteX6" fmla="*/ 7588 w 17705"/>
                <a:gd name="connsiteY6" fmla="*/ 15174 h 17269"/>
                <a:gd name="connsiteX7" fmla="*/ 13911 w 17705"/>
                <a:gd name="connsiteY7" fmla="*/ 12646 h 17269"/>
                <a:gd name="connsiteX8" fmla="*/ 17705 w 17705"/>
                <a:gd name="connsiteY8" fmla="*/ 10116 h 17269"/>
                <a:gd name="connsiteX9" fmla="*/ 16441 w 17705"/>
                <a:gd name="connsiteY9" fmla="*/ 3794 h 17269"/>
                <a:gd name="connsiteX10" fmla="*/ 16441 w 17705"/>
                <a:gd name="connsiteY10" fmla="*/ 3794 h 17269"/>
                <a:gd name="connsiteX11" fmla="*/ 16441 w 17705"/>
                <a:gd name="connsiteY11" fmla="*/ 0 h 17269"/>
                <a:gd name="connsiteX12" fmla="*/ 3794 w 17705"/>
                <a:gd name="connsiteY12" fmla="*/ 6323 h 17269"/>
                <a:gd name="connsiteX13" fmla="*/ 2529 w 17705"/>
                <a:gd name="connsiteY13" fmla="*/ 8852 h 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05" h="17269">
                  <a:moveTo>
                    <a:pt x="2529" y="8852"/>
                  </a:moveTo>
                  <a:lnTo>
                    <a:pt x="2529" y="8852"/>
                  </a:lnTo>
                  <a:cubicBezTo>
                    <a:pt x="0" y="10116"/>
                    <a:pt x="0" y="12646"/>
                    <a:pt x="0" y="15174"/>
                  </a:cubicBezTo>
                  <a:cubicBezTo>
                    <a:pt x="1265" y="17704"/>
                    <a:pt x="3794" y="17704"/>
                    <a:pt x="6323" y="16439"/>
                  </a:cubicBezTo>
                  <a:lnTo>
                    <a:pt x="6323" y="16439"/>
                  </a:lnTo>
                  <a:lnTo>
                    <a:pt x="6323" y="16439"/>
                  </a:lnTo>
                  <a:lnTo>
                    <a:pt x="7588" y="15174"/>
                  </a:lnTo>
                  <a:lnTo>
                    <a:pt x="13911" y="12646"/>
                  </a:lnTo>
                  <a:lnTo>
                    <a:pt x="17705" y="10116"/>
                  </a:lnTo>
                  <a:lnTo>
                    <a:pt x="16441" y="3794"/>
                  </a:lnTo>
                  <a:lnTo>
                    <a:pt x="16441" y="3794"/>
                  </a:lnTo>
                  <a:lnTo>
                    <a:pt x="16441" y="0"/>
                  </a:lnTo>
                  <a:lnTo>
                    <a:pt x="3794" y="6323"/>
                  </a:lnTo>
                  <a:lnTo>
                    <a:pt x="2529" y="8852"/>
                  </a:lnTo>
                  <a:close/>
                </a:path>
              </a:pathLst>
            </a:custGeom>
            <a:solidFill>
              <a:srgbClr val="000000"/>
            </a:solidFill>
            <a:ln w="1262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FD275A21-E52A-470A-B6FA-2C118B6E8124}"/>
                </a:ext>
              </a:extLst>
            </p:cNvPr>
            <p:cNvSpPr/>
            <p:nvPr/>
          </p:nvSpPr>
          <p:spPr>
            <a:xfrm>
              <a:off x="11745929" y="5243633"/>
              <a:ext cx="156818" cy="91996"/>
            </a:xfrm>
            <a:custGeom>
              <a:avLst/>
              <a:gdLst>
                <a:gd name="connsiteX0" fmla="*/ 150495 w 156818"/>
                <a:gd name="connsiteY0" fmla="*/ 0 h 91996"/>
                <a:gd name="connsiteX1" fmla="*/ 147966 w 156818"/>
                <a:gd name="connsiteY1" fmla="*/ 1264 h 91996"/>
                <a:gd name="connsiteX2" fmla="*/ 6323 w 156818"/>
                <a:gd name="connsiteY2" fmla="*/ 79667 h 91996"/>
                <a:gd name="connsiteX3" fmla="*/ 0 w 156818"/>
                <a:gd name="connsiteY3" fmla="*/ 83460 h 91996"/>
                <a:gd name="connsiteX4" fmla="*/ 0 w 156818"/>
                <a:gd name="connsiteY4" fmla="*/ 83460 h 91996"/>
                <a:gd name="connsiteX5" fmla="*/ 0 w 156818"/>
                <a:gd name="connsiteY5" fmla="*/ 83460 h 91996"/>
                <a:gd name="connsiteX6" fmla="*/ 0 w 156818"/>
                <a:gd name="connsiteY6" fmla="*/ 84725 h 91996"/>
                <a:gd name="connsiteX7" fmla="*/ 0 w 156818"/>
                <a:gd name="connsiteY7" fmla="*/ 85990 h 91996"/>
                <a:gd name="connsiteX8" fmla="*/ 0 w 156818"/>
                <a:gd name="connsiteY8" fmla="*/ 87254 h 91996"/>
                <a:gd name="connsiteX9" fmla="*/ 0 w 156818"/>
                <a:gd name="connsiteY9" fmla="*/ 88519 h 91996"/>
                <a:gd name="connsiteX10" fmla="*/ 0 w 156818"/>
                <a:gd name="connsiteY10" fmla="*/ 89783 h 91996"/>
                <a:gd name="connsiteX11" fmla="*/ 0 w 156818"/>
                <a:gd name="connsiteY11" fmla="*/ 91048 h 91996"/>
                <a:gd name="connsiteX12" fmla="*/ 0 w 156818"/>
                <a:gd name="connsiteY12" fmla="*/ 91048 h 91996"/>
                <a:gd name="connsiteX13" fmla="*/ 0 w 156818"/>
                <a:gd name="connsiteY13" fmla="*/ 91048 h 91996"/>
                <a:gd name="connsiteX14" fmla="*/ 0 w 156818"/>
                <a:gd name="connsiteY14" fmla="*/ 91048 h 91996"/>
                <a:gd name="connsiteX15" fmla="*/ 0 w 156818"/>
                <a:gd name="connsiteY15" fmla="*/ 91048 h 91996"/>
                <a:gd name="connsiteX16" fmla="*/ 0 w 156818"/>
                <a:gd name="connsiteY16" fmla="*/ 91048 h 91996"/>
                <a:gd name="connsiteX17" fmla="*/ 0 w 156818"/>
                <a:gd name="connsiteY17" fmla="*/ 91048 h 91996"/>
                <a:gd name="connsiteX18" fmla="*/ 5059 w 156818"/>
                <a:gd name="connsiteY18" fmla="*/ 91048 h 91996"/>
                <a:gd name="connsiteX19" fmla="*/ 12647 w 156818"/>
                <a:gd name="connsiteY19" fmla="*/ 87254 h 91996"/>
                <a:gd name="connsiteX20" fmla="*/ 153024 w 156818"/>
                <a:gd name="connsiteY20" fmla="*/ 10116 h 91996"/>
                <a:gd name="connsiteX21" fmla="*/ 155554 w 156818"/>
                <a:gd name="connsiteY21" fmla="*/ 8852 h 91996"/>
                <a:gd name="connsiteX22" fmla="*/ 155554 w 156818"/>
                <a:gd name="connsiteY22" fmla="*/ 8852 h 91996"/>
                <a:gd name="connsiteX23" fmla="*/ 156818 w 156818"/>
                <a:gd name="connsiteY23" fmla="*/ 8852 h 91996"/>
                <a:gd name="connsiteX24" fmla="*/ 156818 w 156818"/>
                <a:gd name="connsiteY24" fmla="*/ 8852 h 91996"/>
                <a:gd name="connsiteX25" fmla="*/ 156818 w 156818"/>
                <a:gd name="connsiteY25" fmla="*/ 8852 h 91996"/>
                <a:gd name="connsiteX26" fmla="*/ 156818 w 156818"/>
                <a:gd name="connsiteY26" fmla="*/ 7587 h 91996"/>
                <a:gd name="connsiteX27" fmla="*/ 156818 w 156818"/>
                <a:gd name="connsiteY27" fmla="*/ 7587 h 91996"/>
                <a:gd name="connsiteX28" fmla="*/ 156818 w 156818"/>
                <a:gd name="connsiteY28" fmla="*/ 6323 h 91996"/>
                <a:gd name="connsiteX29" fmla="*/ 156818 w 156818"/>
                <a:gd name="connsiteY29" fmla="*/ 5058 h 91996"/>
                <a:gd name="connsiteX30" fmla="*/ 150495 w 156818"/>
                <a:gd name="connsiteY30" fmla="*/ 0 h 9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6818" h="91996">
                  <a:moveTo>
                    <a:pt x="150495" y="0"/>
                  </a:moveTo>
                  <a:lnTo>
                    <a:pt x="147966" y="1264"/>
                  </a:lnTo>
                  <a:lnTo>
                    <a:pt x="6323" y="79667"/>
                  </a:lnTo>
                  <a:lnTo>
                    <a:pt x="0" y="83460"/>
                  </a:lnTo>
                  <a:lnTo>
                    <a:pt x="0" y="83460"/>
                  </a:lnTo>
                  <a:cubicBezTo>
                    <a:pt x="0" y="83460"/>
                    <a:pt x="0" y="83460"/>
                    <a:pt x="0" y="83460"/>
                  </a:cubicBezTo>
                  <a:lnTo>
                    <a:pt x="0" y="84725"/>
                  </a:lnTo>
                  <a:lnTo>
                    <a:pt x="0" y="85990"/>
                  </a:lnTo>
                  <a:cubicBezTo>
                    <a:pt x="0" y="85990"/>
                    <a:pt x="0" y="85990"/>
                    <a:pt x="0" y="87254"/>
                  </a:cubicBezTo>
                  <a:cubicBezTo>
                    <a:pt x="0" y="87254"/>
                    <a:pt x="0" y="87254"/>
                    <a:pt x="0" y="88519"/>
                  </a:cubicBezTo>
                  <a:cubicBezTo>
                    <a:pt x="0" y="88519"/>
                    <a:pt x="0" y="88519"/>
                    <a:pt x="0" y="89783"/>
                  </a:cubicBezTo>
                  <a:cubicBezTo>
                    <a:pt x="0" y="89783"/>
                    <a:pt x="0" y="91048"/>
                    <a:pt x="0" y="91048"/>
                  </a:cubicBezTo>
                  <a:lnTo>
                    <a:pt x="0" y="91048"/>
                  </a:lnTo>
                  <a:lnTo>
                    <a:pt x="0" y="91048"/>
                  </a:lnTo>
                  <a:lnTo>
                    <a:pt x="0" y="91048"/>
                  </a:lnTo>
                  <a:lnTo>
                    <a:pt x="0" y="91048"/>
                  </a:lnTo>
                  <a:lnTo>
                    <a:pt x="0" y="91048"/>
                  </a:lnTo>
                  <a:lnTo>
                    <a:pt x="0" y="91048"/>
                  </a:lnTo>
                  <a:cubicBezTo>
                    <a:pt x="1265" y="92312"/>
                    <a:pt x="3794" y="92312"/>
                    <a:pt x="5059" y="91048"/>
                  </a:cubicBezTo>
                  <a:lnTo>
                    <a:pt x="12647" y="87254"/>
                  </a:lnTo>
                  <a:lnTo>
                    <a:pt x="153024" y="10116"/>
                  </a:lnTo>
                  <a:lnTo>
                    <a:pt x="155554" y="8852"/>
                  </a:lnTo>
                  <a:lnTo>
                    <a:pt x="155554" y="8852"/>
                  </a:lnTo>
                  <a:cubicBezTo>
                    <a:pt x="155554" y="8852"/>
                    <a:pt x="156818" y="8852"/>
                    <a:pt x="156818" y="8852"/>
                  </a:cubicBezTo>
                  <a:lnTo>
                    <a:pt x="156818" y="8852"/>
                  </a:lnTo>
                  <a:lnTo>
                    <a:pt x="156818" y="8852"/>
                  </a:lnTo>
                  <a:lnTo>
                    <a:pt x="156818" y="7587"/>
                  </a:lnTo>
                  <a:lnTo>
                    <a:pt x="156818" y="7587"/>
                  </a:lnTo>
                  <a:cubicBezTo>
                    <a:pt x="156818" y="7587"/>
                    <a:pt x="156818" y="6323"/>
                    <a:pt x="156818" y="6323"/>
                  </a:cubicBezTo>
                  <a:cubicBezTo>
                    <a:pt x="156818" y="6323"/>
                    <a:pt x="156818" y="5058"/>
                    <a:pt x="156818" y="5058"/>
                  </a:cubicBezTo>
                  <a:cubicBezTo>
                    <a:pt x="153024" y="0"/>
                    <a:pt x="151759" y="0"/>
                    <a:pt x="150495" y="0"/>
                  </a:cubicBezTo>
                  <a:close/>
                </a:path>
              </a:pathLst>
            </a:custGeom>
            <a:solidFill>
              <a:srgbClr val="000000"/>
            </a:solidFill>
            <a:ln w="1262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B6B69980-4BEB-42F3-BF7F-F8C8DE32AE58}"/>
                </a:ext>
              </a:extLst>
            </p:cNvPr>
            <p:cNvSpPr/>
            <p:nvPr/>
          </p:nvSpPr>
          <p:spPr>
            <a:xfrm>
              <a:off x="12092881" y="5449755"/>
              <a:ext cx="126032" cy="79666"/>
            </a:xfrm>
            <a:custGeom>
              <a:avLst/>
              <a:gdLst>
                <a:gd name="connsiteX0" fmla="*/ 2095 w 126032"/>
                <a:gd name="connsiteY0" fmla="*/ 72080 h 79666"/>
                <a:gd name="connsiteX1" fmla="*/ 830 w 126032"/>
                <a:gd name="connsiteY1" fmla="*/ 78403 h 79666"/>
                <a:gd name="connsiteX2" fmla="*/ 3360 w 126032"/>
                <a:gd name="connsiteY2" fmla="*/ 79667 h 79666"/>
                <a:gd name="connsiteX3" fmla="*/ 4625 w 126032"/>
                <a:gd name="connsiteY3" fmla="*/ 79667 h 79666"/>
                <a:gd name="connsiteX4" fmla="*/ 5889 w 126032"/>
                <a:gd name="connsiteY4" fmla="*/ 79667 h 79666"/>
                <a:gd name="connsiteX5" fmla="*/ 7154 w 126032"/>
                <a:gd name="connsiteY5" fmla="*/ 79667 h 79666"/>
                <a:gd name="connsiteX6" fmla="*/ 7154 w 126032"/>
                <a:gd name="connsiteY6" fmla="*/ 79667 h 79666"/>
                <a:gd name="connsiteX7" fmla="*/ 126032 w 126032"/>
                <a:gd name="connsiteY7" fmla="*/ 11381 h 79666"/>
                <a:gd name="connsiteX8" fmla="*/ 126032 w 126032"/>
                <a:gd name="connsiteY8" fmla="*/ 0 h 79666"/>
                <a:gd name="connsiteX9" fmla="*/ 4625 w 126032"/>
                <a:gd name="connsiteY9" fmla="*/ 69551 h 79666"/>
                <a:gd name="connsiteX10" fmla="*/ 2095 w 126032"/>
                <a:gd name="connsiteY10" fmla="*/ 72080 h 7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032" h="79666">
                  <a:moveTo>
                    <a:pt x="2095" y="72080"/>
                  </a:moveTo>
                  <a:cubicBezTo>
                    <a:pt x="-434" y="73344"/>
                    <a:pt x="-434" y="75873"/>
                    <a:pt x="830" y="78403"/>
                  </a:cubicBezTo>
                  <a:cubicBezTo>
                    <a:pt x="830" y="79667"/>
                    <a:pt x="2095" y="79667"/>
                    <a:pt x="3360" y="79667"/>
                  </a:cubicBezTo>
                  <a:lnTo>
                    <a:pt x="4625" y="79667"/>
                  </a:lnTo>
                  <a:lnTo>
                    <a:pt x="5889" y="79667"/>
                  </a:lnTo>
                  <a:lnTo>
                    <a:pt x="7154" y="79667"/>
                  </a:lnTo>
                  <a:lnTo>
                    <a:pt x="7154" y="79667"/>
                  </a:lnTo>
                  <a:lnTo>
                    <a:pt x="126032" y="11381"/>
                  </a:lnTo>
                  <a:lnTo>
                    <a:pt x="126032" y="0"/>
                  </a:lnTo>
                  <a:lnTo>
                    <a:pt x="4625" y="69551"/>
                  </a:lnTo>
                  <a:lnTo>
                    <a:pt x="2095" y="72080"/>
                  </a:lnTo>
                  <a:close/>
                </a:path>
              </a:pathLst>
            </a:custGeom>
            <a:solidFill>
              <a:srgbClr val="000000"/>
            </a:solidFill>
            <a:ln w="1262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8B39D33D-54BB-467C-8DD7-845314A288B0}"/>
                </a:ext>
              </a:extLst>
            </p:cNvPr>
            <p:cNvSpPr/>
            <p:nvPr/>
          </p:nvSpPr>
          <p:spPr>
            <a:xfrm>
              <a:off x="10694995" y="6322299"/>
              <a:ext cx="789149" cy="531113"/>
            </a:xfrm>
            <a:custGeom>
              <a:avLst/>
              <a:gdLst>
                <a:gd name="connsiteX0" fmla="*/ 7588 w 789149"/>
                <a:gd name="connsiteY0" fmla="*/ 3794 h 531113"/>
                <a:gd name="connsiteX1" fmla="*/ 3794 w 789149"/>
                <a:gd name="connsiteY1" fmla="*/ 8852 h 531113"/>
                <a:gd name="connsiteX2" fmla="*/ 3794 w 789149"/>
                <a:gd name="connsiteY2" fmla="*/ 8852 h 531113"/>
                <a:gd name="connsiteX3" fmla="*/ 0 w 789149"/>
                <a:gd name="connsiteY3" fmla="*/ 7587 h 531113"/>
                <a:gd name="connsiteX4" fmla="*/ 772708 w 789149"/>
                <a:gd name="connsiteY4" fmla="*/ 531114 h 531113"/>
                <a:gd name="connsiteX5" fmla="*/ 789149 w 789149"/>
                <a:gd name="connsiteY5" fmla="*/ 531114 h 531113"/>
                <a:gd name="connsiteX6" fmla="*/ 6323 w 789149"/>
                <a:gd name="connsiteY6" fmla="*/ 0 h 531113"/>
                <a:gd name="connsiteX7" fmla="*/ 7588 w 789149"/>
                <a:gd name="connsiteY7" fmla="*/ 3794 h 53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9149" h="531113">
                  <a:moveTo>
                    <a:pt x="7588" y="3794"/>
                  </a:moveTo>
                  <a:cubicBezTo>
                    <a:pt x="7588" y="6323"/>
                    <a:pt x="6323" y="8852"/>
                    <a:pt x="3794" y="8852"/>
                  </a:cubicBezTo>
                  <a:cubicBezTo>
                    <a:pt x="3794" y="8852"/>
                    <a:pt x="3794" y="8852"/>
                    <a:pt x="3794" y="8852"/>
                  </a:cubicBezTo>
                  <a:cubicBezTo>
                    <a:pt x="2529" y="8852"/>
                    <a:pt x="1265" y="8852"/>
                    <a:pt x="0" y="7587"/>
                  </a:cubicBezTo>
                  <a:lnTo>
                    <a:pt x="772708" y="531114"/>
                  </a:lnTo>
                  <a:lnTo>
                    <a:pt x="789149" y="531114"/>
                  </a:lnTo>
                  <a:lnTo>
                    <a:pt x="6323" y="0"/>
                  </a:lnTo>
                  <a:lnTo>
                    <a:pt x="7588" y="3794"/>
                  </a:lnTo>
                  <a:close/>
                </a:path>
              </a:pathLst>
            </a:custGeom>
            <a:solidFill>
              <a:srgbClr val="000000"/>
            </a:solidFill>
            <a:ln w="1262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5573E499-74AD-420D-B859-2D9773FCFCDD}"/>
                </a:ext>
              </a:extLst>
            </p:cNvPr>
            <p:cNvSpPr/>
            <p:nvPr/>
          </p:nvSpPr>
          <p:spPr>
            <a:xfrm>
              <a:off x="10364919" y="6280569"/>
              <a:ext cx="322488" cy="190947"/>
            </a:xfrm>
            <a:custGeom>
              <a:avLst/>
              <a:gdLst>
                <a:gd name="connsiteX0" fmla="*/ 319959 w 322488"/>
                <a:gd name="connsiteY0" fmla="*/ 0 h 190947"/>
                <a:gd name="connsiteX1" fmla="*/ 2529 w 322488"/>
                <a:gd name="connsiteY1" fmla="*/ 180831 h 190947"/>
                <a:gd name="connsiteX2" fmla="*/ 0 w 322488"/>
                <a:gd name="connsiteY2" fmla="*/ 182096 h 190947"/>
                <a:gd name="connsiteX3" fmla="*/ 2529 w 322488"/>
                <a:gd name="connsiteY3" fmla="*/ 183361 h 190947"/>
                <a:gd name="connsiteX4" fmla="*/ 3794 w 322488"/>
                <a:gd name="connsiteY4" fmla="*/ 189683 h 190947"/>
                <a:gd name="connsiteX5" fmla="*/ 1265 w 322488"/>
                <a:gd name="connsiteY5" fmla="*/ 190948 h 190947"/>
                <a:gd name="connsiteX6" fmla="*/ 2529 w 322488"/>
                <a:gd name="connsiteY6" fmla="*/ 190948 h 190947"/>
                <a:gd name="connsiteX7" fmla="*/ 322489 w 322488"/>
                <a:gd name="connsiteY7" fmla="*/ 8852 h 190947"/>
                <a:gd name="connsiteX8" fmla="*/ 321224 w 322488"/>
                <a:gd name="connsiteY8" fmla="*/ 2529 h 190947"/>
                <a:gd name="connsiteX9" fmla="*/ 319959 w 322488"/>
                <a:gd name="connsiteY9" fmla="*/ 0 h 1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488" h="190947">
                  <a:moveTo>
                    <a:pt x="319959" y="0"/>
                  </a:moveTo>
                  <a:lnTo>
                    <a:pt x="2529" y="180831"/>
                  </a:lnTo>
                  <a:lnTo>
                    <a:pt x="0" y="182096"/>
                  </a:lnTo>
                  <a:lnTo>
                    <a:pt x="2529" y="183361"/>
                  </a:lnTo>
                  <a:cubicBezTo>
                    <a:pt x="5059" y="184625"/>
                    <a:pt x="5059" y="187154"/>
                    <a:pt x="3794" y="189683"/>
                  </a:cubicBezTo>
                  <a:cubicBezTo>
                    <a:pt x="3794" y="190948"/>
                    <a:pt x="2529" y="190948"/>
                    <a:pt x="1265" y="190948"/>
                  </a:cubicBezTo>
                  <a:lnTo>
                    <a:pt x="2529" y="190948"/>
                  </a:lnTo>
                  <a:lnTo>
                    <a:pt x="322489" y="8852"/>
                  </a:lnTo>
                  <a:lnTo>
                    <a:pt x="321224" y="2529"/>
                  </a:lnTo>
                  <a:lnTo>
                    <a:pt x="319959" y="0"/>
                  </a:lnTo>
                  <a:close/>
                </a:path>
              </a:pathLst>
            </a:custGeom>
            <a:solidFill>
              <a:srgbClr val="000000"/>
            </a:solidFill>
            <a:ln w="1262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E92CBB22-E2C7-4B1A-9D67-A91049D6D1FA}"/>
                </a:ext>
              </a:extLst>
            </p:cNvPr>
            <p:cNvSpPr/>
            <p:nvPr/>
          </p:nvSpPr>
          <p:spPr>
            <a:xfrm>
              <a:off x="10362389" y="647151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D8B07029-F336-41D2-B14F-4F0CC7B75D87}"/>
                </a:ext>
              </a:extLst>
            </p:cNvPr>
            <p:cNvSpPr/>
            <p:nvPr/>
          </p:nvSpPr>
          <p:spPr>
            <a:xfrm>
              <a:off x="9928927" y="6159605"/>
              <a:ext cx="438521" cy="313175"/>
            </a:xfrm>
            <a:custGeom>
              <a:avLst/>
              <a:gdLst>
                <a:gd name="connsiteX0" fmla="*/ 438522 w 438521"/>
                <a:gd name="connsiteY0" fmla="*/ 304324 h 313175"/>
                <a:gd name="connsiteX1" fmla="*/ 435992 w 438521"/>
                <a:gd name="connsiteY1" fmla="*/ 303060 h 313175"/>
                <a:gd name="connsiteX2" fmla="*/ 428404 w 438521"/>
                <a:gd name="connsiteY2" fmla="*/ 298001 h 313175"/>
                <a:gd name="connsiteX3" fmla="*/ 8537 w 438521"/>
                <a:gd name="connsiteY3" fmla="*/ 2095 h 313175"/>
                <a:gd name="connsiteX4" fmla="*/ 7272 w 438521"/>
                <a:gd name="connsiteY4" fmla="*/ 831 h 313175"/>
                <a:gd name="connsiteX5" fmla="*/ 948 w 438521"/>
                <a:gd name="connsiteY5" fmla="*/ 2095 h 313175"/>
                <a:gd name="connsiteX6" fmla="*/ 948 w 438521"/>
                <a:gd name="connsiteY6" fmla="*/ 2095 h 313175"/>
                <a:gd name="connsiteX7" fmla="*/ 948 w 438521"/>
                <a:gd name="connsiteY7" fmla="*/ 7153 h 313175"/>
                <a:gd name="connsiteX8" fmla="*/ 948 w 438521"/>
                <a:gd name="connsiteY8" fmla="*/ 8418 h 313175"/>
                <a:gd name="connsiteX9" fmla="*/ 2213 w 438521"/>
                <a:gd name="connsiteY9" fmla="*/ 9682 h 313175"/>
                <a:gd name="connsiteX10" fmla="*/ 2213 w 438521"/>
                <a:gd name="connsiteY10" fmla="*/ 9682 h 313175"/>
                <a:gd name="connsiteX11" fmla="*/ 432198 w 438521"/>
                <a:gd name="connsiteY11" fmla="*/ 313176 h 313175"/>
                <a:gd name="connsiteX12" fmla="*/ 432198 w 438521"/>
                <a:gd name="connsiteY12" fmla="*/ 313176 h 313175"/>
                <a:gd name="connsiteX13" fmla="*/ 432198 w 438521"/>
                <a:gd name="connsiteY13" fmla="*/ 313176 h 313175"/>
                <a:gd name="connsiteX14" fmla="*/ 433463 w 438521"/>
                <a:gd name="connsiteY14" fmla="*/ 313176 h 313175"/>
                <a:gd name="connsiteX15" fmla="*/ 435992 w 438521"/>
                <a:gd name="connsiteY15" fmla="*/ 313176 h 313175"/>
                <a:gd name="connsiteX16" fmla="*/ 435992 w 438521"/>
                <a:gd name="connsiteY16" fmla="*/ 313176 h 313175"/>
                <a:gd name="connsiteX17" fmla="*/ 435992 w 438521"/>
                <a:gd name="connsiteY17" fmla="*/ 313176 h 313175"/>
                <a:gd name="connsiteX18" fmla="*/ 438522 w 438521"/>
                <a:gd name="connsiteY18" fmla="*/ 304324 h 313175"/>
                <a:gd name="connsiteX19" fmla="*/ 435992 w 438521"/>
                <a:gd name="connsiteY19" fmla="*/ 303060 h 313175"/>
                <a:gd name="connsiteX20" fmla="*/ 438522 w 438521"/>
                <a:gd name="connsiteY20" fmla="*/ 304324 h 31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8521" h="313175">
                  <a:moveTo>
                    <a:pt x="438522" y="304324"/>
                  </a:moveTo>
                  <a:lnTo>
                    <a:pt x="435992" y="303060"/>
                  </a:lnTo>
                  <a:lnTo>
                    <a:pt x="428404" y="298001"/>
                  </a:lnTo>
                  <a:lnTo>
                    <a:pt x="8537" y="2095"/>
                  </a:lnTo>
                  <a:lnTo>
                    <a:pt x="7272" y="831"/>
                  </a:lnTo>
                  <a:cubicBezTo>
                    <a:pt x="4743" y="-434"/>
                    <a:pt x="2213" y="-434"/>
                    <a:pt x="948" y="2095"/>
                  </a:cubicBezTo>
                  <a:cubicBezTo>
                    <a:pt x="948" y="2095"/>
                    <a:pt x="948" y="2095"/>
                    <a:pt x="948" y="2095"/>
                  </a:cubicBezTo>
                  <a:cubicBezTo>
                    <a:pt x="-316" y="3360"/>
                    <a:pt x="-316" y="4624"/>
                    <a:pt x="948" y="7153"/>
                  </a:cubicBezTo>
                  <a:lnTo>
                    <a:pt x="948" y="8418"/>
                  </a:lnTo>
                  <a:lnTo>
                    <a:pt x="2213" y="9682"/>
                  </a:lnTo>
                  <a:lnTo>
                    <a:pt x="2213" y="9682"/>
                  </a:lnTo>
                  <a:lnTo>
                    <a:pt x="432198" y="313176"/>
                  </a:lnTo>
                  <a:lnTo>
                    <a:pt x="432198" y="313176"/>
                  </a:lnTo>
                  <a:lnTo>
                    <a:pt x="432198" y="313176"/>
                  </a:lnTo>
                  <a:lnTo>
                    <a:pt x="433463" y="313176"/>
                  </a:lnTo>
                  <a:lnTo>
                    <a:pt x="435992" y="313176"/>
                  </a:lnTo>
                  <a:lnTo>
                    <a:pt x="435992" y="313176"/>
                  </a:lnTo>
                  <a:lnTo>
                    <a:pt x="435992" y="313176"/>
                  </a:lnTo>
                  <a:cubicBezTo>
                    <a:pt x="437257" y="310647"/>
                    <a:pt x="438522" y="308118"/>
                    <a:pt x="438522" y="304324"/>
                  </a:cubicBezTo>
                  <a:cubicBezTo>
                    <a:pt x="437257" y="304324"/>
                    <a:pt x="437257" y="304324"/>
                    <a:pt x="435992" y="303060"/>
                  </a:cubicBezTo>
                  <a:lnTo>
                    <a:pt x="438522" y="304324"/>
                  </a:lnTo>
                  <a:close/>
                </a:path>
              </a:pathLst>
            </a:custGeom>
            <a:solidFill>
              <a:srgbClr val="000000"/>
            </a:solidFill>
            <a:ln w="12625"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A8062039-FCDB-4F3C-BF88-A71F5DBB16C9}"/>
                </a:ext>
              </a:extLst>
            </p:cNvPr>
            <p:cNvSpPr/>
            <p:nvPr/>
          </p:nvSpPr>
          <p:spPr>
            <a:xfrm>
              <a:off x="9217871" y="2471726"/>
              <a:ext cx="552657" cy="2458296"/>
            </a:xfrm>
            <a:custGeom>
              <a:avLst/>
              <a:gdLst>
                <a:gd name="connsiteX0" fmla="*/ 547598 w 552657"/>
                <a:gd name="connsiteY0" fmla="*/ 2453239 h 2458296"/>
                <a:gd name="connsiteX1" fmla="*/ 552657 w 552657"/>
                <a:gd name="connsiteY1" fmla="*/ 2457032 h 2458296"/>
                <a:gd name="connsiteX2" fmla="*/ 552657 w 552657"/>
                <a:gd name="connsiteY2" fmla="*/ 2457032 h 2458296"/>
                <a:gd name="connsiteX3" fmla="*/ 11382 w 552657"/>
                <a:gd name="connsiteY3" fmla="*/ 7587 h 2458296"/>
                <a:gd name="connsiteX4" fmla="*/ 10117 w 552657"/>
                <a:gd name="connsiteY4" fmla="*/ 2529 h 2458296"/>
                <a:gd name="connsiteX5" fmla="*/ 6323 w 552657"/>
                <a:gd name="connsiteY5" fmla="*/ 3794 h 2458296"/>
                <a:gd name="connsiteX6" fmla="*/ 0 w 552657"/>
                <a:gd name="connsiteY6" fmla="*/ 1265 h 2458296"/>
                <a:gd name="connsiteX7" fmla="*/ 0 w 552657"/>
                <a:gd name="connsiteY7" fmla="*/ 1265 h 2458296"/>
                <a:gd name="connsiteX8" fmla="*/ 0 w 552657"/>
                <a:gd name="connsiteY8" fmla="*/ 0 h 2458296"/>
                <a:gd name="connsiteX9" fmla="*/ 0 w 552657"/>
                <a:gd name="connsiteY9" fmla="*/ 0 h 2458296"/>
                <a:gd name="connsiteX10" fmla="*/ 0 w 552657"/>
                <a:gd name="connsiteY10" fmla="*/ 0 h 2458296"/>
                <a:gd name="connsiteX11" fmla="*/ 542540 w 552657"/>
                <a:gd name="connsiteY11" fmla="*/ 2454504 h 2458296"/>
                <a:gd name="connsiteX12" fmla="*/ 543805 w 552657"/>
                <a:gd name="connsiteY12" fmla="*/ 2458297 h 2458296"/>
                <a:gd name="connsiteX13" fmla="*/ 547598 w 552657"/>
                <a:gd name="connsiteY13" fmla="*/ 2453239 h 245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2657" h="2458296">
                  <a:moveTo>
                    <a:pt x="547598" y="2453239"/>
                  </a:moveTo>
                  <a:cubicBezTo>
                    <a:pt x="550128" y="2453239"/>
                    <a:pt x="552657" y="2454504"/>
                    <a:pt x="552657" y="2457032"/>
                  </a:cubicBezTo>
                  <a:cubicBezTo>
                    <a:pt x="552657" y="2457032"/>
                    <a:pt x="552657" y="2457032"/>
                    <a:pt x="552657" y="2457032"/>
                  </a:cubicBezTo>
                  <a:lnTo>
                    <a:pt x="11382" y="7587"/>
                  </a:lnTo>
                  <a:lnTo>
                    <a:pt x="10117" y="2529"/>
                  </a:lnTo>
                  <a:lnTo>
                    <a:pt x="6323" y="3794"/>
                  </a:lnTo>
                  <a:cubicBezTo>
                    <a:pt x="3794" y="5058"/>
                    <a:pt x="1265" y="3794"/>
                    <a:pt x="0" y="1265"/>
                  </a:cubicBezTo>
                  <a:cubicBezTo>
                    <a:pt x="0" y="1265"/>
                    <a:pt x="0" y="1265"/>
                    <a:pt x="0" y="1265"/>
                  </a:cubicBezTo>
                  <a:cubicBezTo>
                    <a:pt x="0" y="1265"/>
                    <a:pt x="0" y="0"/>
                    <a:pt x="0" y="0"/>
                  </a:cubicBezTo>
                  <a:lnTo>
                    <a:pt x="0" y="0"/>
                  </a:lnTo>
                  <a:lnTo>
                    <a:pt x="0" y="0"/>
                  </a:lnTo>
                  <a:lnTo>
                    <a:pt x="542540" y="2454504"/>
                  </a:lnTo>
                  <a:lnTo>
                    <a:pt x="543805" y="2458297"/>
                  </a:lnTo>
                  <a:cubicBezTo>
                    <a:pt x="543805" y="2455768"/>
                    <a:pt x="545069" y="2453239"/>
                    <a:pt x="547598" y="2453239"/>
                  </a:cubicBezTo>
                  <a:close/>
                </a:path>
              </a:pathLst>
            </a:custGeom>
            <a:solidFill>
              <a:srgbClr val="000000"/>
            </a:solidFill>
            <a:ln w="12625"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7D157834-92B7-4366-A503-C388AECC88F3}"/>
                </a:ext>
              </a:extLst>
            </p:cNvPr>
            <p:cNvSpPr/>
            <p:nvPr/>
          </p:nvSpPr>
          <p:spPr>
            <a:xfrm>
              <a:off x="9221665" y="246666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63DDDEBB-3ABB-41DD-9CC0-E724575D5E47}"/>
                </a:ext>
              </a:extLst>
            </p:cNvPr>
            <p:cNvSpPr/>
            <p:nvPr/>
          </p:nvSpPr>
          <p:spPr>
            <a:xfrm>
              <a:off x="9219135" y="246793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0A949B89-4925-4EAC-8AA0-2DE0ED6756D0}"/>
                </a:ext>
              </a:extLst>
            </p:cNvPr>
            <p:cNvSpPr/>
            <p:nvPr/>
          </p:nvSpPr>
          <p:spPr>
            <a:xfrm>
              <a:off x="9219135" y="2469197"/>
              <a:ext cx="12646" cy="948"/>
            </a:xfrm>
            <a:custGeom>
              <a:avLst/>
              <a:gdLst>
                <a:gd name="connsiteX0" fmla="*/ 0 w 12646"/>
                <a:gd name="connsiteY0" fmla="*/ 0 h 948"/>
                <a:gd name="connsiteX1" fmla="*/ 0 w 12646"/>
                <a:gd name="connsiteY1" fmla="*/ 0 h 948"/>
                <a:gd name="connsiteX2" fmla="*/ 0 w 12646"/>
                <a:gd name="connsiteY2" fmla="*/ 0 h 948"/>
              </a:gdLst>
              <a:ahLst/>
              <a:cxnLst>
                <a:cxn ang="0">
                  <a:pos x="connsiteX0" y="connsiteY0"/>
                </a:cxn>
                <a:cxn ang="0">
                  <a:pos x="connsiteX1" y="connsiteY1"/>
                </a:cxn>
                <a:cxn ang="0">
                  <a:pos x="connsiteX2" y="connsiteY2"/>
                </a:cxn>
              </a:cxnLst>
              <a:rect l="l" t="t" r="r" b="b"/>
              <a:pathLst>
                <a:path w="12646" h="948">
                  <a:moveTo>
                    <a:pt x="0" y="0"/>
                  </a:moveTo>
                  <a:cubicBezTo>
                    <a:pt x="0" y="0"/>
                    <a:pt x="0" y="1264"/>
                    <a:pt x="0" y="0"/>
                  </a:cubicBezTo>
                  <a:cubicBezTo>
                    <a:pt x="0" y="1264"/>
                    <a:pt x="0" y="1264"/>
                    <a:pt x="0" y="0"/>
                  </a:cubicBezTo>
                  <a:close/>
                </a:path>
              </a:pathLst>
            </a:custGeom>
            <a:solidFill>
              <a:srgbClr val="000000"/>
            </a:solidFill>
            <a:ln w="12625"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025B45F2-0E2A-445B-B2CF-ADDA64269245}"/>
                </a:ext>
              </a:extLst>
            </p:cNvPr>
            <p:cNvSpPr/>
            <p:nvPr/>
          </p:nvSpPr>
          <p:spPr>
            <a:xfrm>
              <a:off x="10684878" y="6281833"/>
              <a:ext cx="17705" cy="49317"/>
            </a:xfrm>
            <a:custGeom>
              <a:avLst/>
              <a:gdLst>
                <a:gd name="connsiteX0" fmla="*/ 17705 w 17705"/>
                <a:gd name="connsiteY0" fmla="*/ 44259 h 49317"/>
                <a:gd name="connsiteX1" fmla="*/ 17705 w 17705"/>
                <a:gd name="connsiteY1" fmla="*/ 42995 h 49317"/>
                <a:gd name="connsiteX2" fmla="*/ 8853 w 17705"/>
                <a:gd name="connsiteY2" fmla="*/ 0 h 49317"/>
                <a:gd name="connsiteX3" fmla="*/ 5059 w 17705"/>
                <a:gd name="connsiteY3" fmla="*/ 5059 h 49317"/>
                <a:gd name="connsiteX4" fmla="*/ 0 w 17705"/>
                <a:gd name="connsiteY4" fmla="*/ 1265 h 49317"/>
                <a:gd name="connsiteX5" fmla="*/ 1265 w 17705"/>
                <a:gd name="connsiteY5" fmla="*/ 7587 h 49317"/>
                <a:gd name="connsiteX6" fmla="*/ 8853 w 17705"/>
                <a:gd name="connsiteY6" fmla="*/ 45524 h 49317"/>
                <a:gd name="connsiteX7" fmla="*/ 8853 w 17705"/>
                <a:gd name="connsiteY7" fmla="*/ 45524 h 49317"/>
                <a:gd name="connsiteX8" fmla="*/ 8853 w 17705"/>
                <a:gd name="connsiteY8" fmla="*/ 45524 h 49317"/>
                <a:gd name="connsiteX9" fmla="*/ 10117 w 17705"/>
                <a:gd name="connsiteY9" fmla="*/ 46789 h 49317"/>
                <a:gd name="connsiteX10" fmla="*/ 11382 w 17705"/>
                <a:gd name="connsiteY10" fmla="*/ 48053 h 49317"/>
                <a:gd name="connsiteX11" fmla="*/ 11382 w 17705"/>
                <a:gd name="connsiteY11" fmla="*/ 48053 h 49317"/>
                <a:gd name="connsiteX12" fmla="*/ 15176 w 17705"/>
                <a:gd name="connsiteY12" fmla="*/ 49318 h 49317"/>
                <a:gd name="connsiteX13" fmla="*/ 17705 w 17705"/>
                <a:gd name="connsiteY13" fmla="*/ 44259 h 4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05" h="49317">
                  <a:moveTo>
                    <a:pt x="17705" y="44259"/>
                  </a:moveTo>
                  <a:lnTo>
                    <a:pt x="17705" y="42995"/>
                  </a:lnTo>
                  <a:lnTo>
                    <a:pt x="8853" y="0"/>
                  </a:lnTo>
                  <a:cubicBezTo>
                    <a:pt x="8853" y="2529"/>
                    <a:pt x="7588" y="5059"/>
                    <a:pt x="5059" y="5059"/>
                  </a:cubicBezTo>
                  <a:cubicBezTo>
                    <a:pt x="2529" y="5059"/>
                    <a:pt x="1265" y="3794"/>
                    <a:pt x="0" y="1265"/>
                  </a:cubicBezTo>
                  <a:lnTo>
                    <a:pt x="1265" y="7587"/>
                  </a:lnTo>
                  <a:lnTo>
                    <a:pt x="8853" y="45524"/>
                  </a:lnTo>
                  <a:lnTo>
                    <a:pt x="8853" y="45524"/>
                  </a:lnTo>
                  <a:lnTo>
                    <a:pt x="8853" y="45524"/>
                  </a:lnTo>
                  <a:cubicBezTo>
                    <a:pt x="8853" y="45524"/>
                    <a:pt x="8853" y="46789"/>
                    <a:pt x="10117" y="46789"/>
                  </a:cubicBezTo>
                  <a:cubicBezTo>
                    <a:pt x="10117" y="46789"/>
                    <a:pt x="10117" y="48053"/>
                    <a:pt x="11382" y="48053"/>
                  </a:cubicBezTo>
                  <a:lnTo>
                    <a:pt x="11382" y="48053"/>
                  </a:lnTo>
                  <a:cubicBezTo>
                    <a:pt x="12647" y="49318"/>
                    <a:pt x="13911" y="49318"/>
                    <a:pt x="15176" y="49318"/>
                  </a:cubicBezTo>
                  <a:cubicBezTo>
                    <a:pt x="16441" y="48053"/>
                    <a:pt x="17705" y="46789"/>
                    <a:pt x="17705" y="44259"/>
                  </a:cubicBezTo>
                  <a:close/>
                </a:path>
              </a:pathLst>
            </a:custGeom>
            <a:solidFill>
              <a:srgbClr val="000000"/>
            </a:solidFill>
            <a:ln w="12625"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176728C5-9D49-48A7-9E36-74EF8BA972D8}"/>
                </a:ext>
              </a:extLst>
            </p:cNvPr>
            <p:cNvSpPr/>
            <p:nvPr/>
          </p:nvSpPr>
          <p:spPr>
            <a:xfrm>
              <a:off x="10603940" y="5870852"/>
              <a:ext cx="92320" cy="416535"/>
            </a:xfrm>
            <a:custGeom>
              <a:avLst/>
              <a:gdLst>
                <a:gd name="connsiteX0" fmla="*/ 6323 w 92320"/>
                <a:gd name="connsiteY0" fmla="*/ 2529 h 416535"/>
                <a:gd name="connsiteX1" fmla="*/ 0 w 92320"/>
                <a:gd name="connsiteY1" fmla="*/ 1265 h 416535"/>
                <a:gd name="connsiteX2" fmla="*/ 0 w 92320"/>
                <a:gd name="connsiteY2" fmla="*/ 0 h 416535"/>
                <a:gd name="connsiteX3" fmla="*/ 0 w 92320"/>
                <a:gd name="connsiteY3" fmla="*/ 0 h 416535"/>
                <a:gd name="connsiteX4" fmla="*/ 0 w 92320"/>
                <a:gd name="connsiteY4" fmla="*/ 0 h 416535"/>
                <a:gd name="connsiteX5" fmla="*/ 80938 w 92320"/>
                <a:gd name="connsiteY5" fmla="*/ 409716 h 416535"/>
                <a:gd name="connsiteX6" fmla="*/ 82203 w 92320"/>
                <a:gd name="connsiteY6" fmla="*/ 413510 h 416535"/>
                <a:gd name="connsiteX7" fmla="*/ 88526 w 92320"/>
                <a:gd name="connsiteY7" fmla="*/ 416039 h 416535"/>
                <a:gd name="connsiteX8" fmla="*/ 92320 w 92320"/>
                <a:gd name="connsiteY8" fmla="*/ 410981 h 416535"/>
                <a:gd name="connsiteX9" fmla="*/ 13911 w 92320"/>
                <a:gd name="connsiteY9" fmla="*/ 7587 h 416535"/>
                <a:gd name="connsiteX10" fmla="*/ 12647 w 92320"/>
                <a:gd name="connsiteY10" fmla="*/ 0 h 416535"/>
                <a:gd name="connsiteX11" fmla="*/ 6323 w 92320"/>
                <a:gd name="connsiteY11" fmla="*/ 2529 h 41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320" h="416535">
                  <a:moveTo>
                    <a:pt x="6323" y="2529"/>
                  </a:moveTo>
                  <a:cubicBezTo>
                    <a:pt x="3794" y="3794"/>
                    <a:pt x="1265" y="2529"/>
                    <a:pt x="0" y="1265"/>
                  </a:cubicBezTo>
                  <a:cubicBezTo>
                    <a:pt x="0" y="1265"/>
                    <a:pt x="0" y="0"/>
                    <a:pt x="0" y="0"/>
                  </a:cubicBezTo>
                  <a:lnTo>
                    <a:pt x="0" y="0"/>
                  </a:lnTo>
                  <a:lnTo>
                    <a:pt x="0" y="0"/>
                  </a:lnTo>
                  <a:lnTo>
                    <a:pt x="80938" y="409716"/>
                  </a:lnTo>
                  <a:lnTo>
                    <a:pt x="82203" y="413510"/>
                  </a:lnTo>
                  <a:cubicBezTo>
                    <a:pt x="83468" y="416039"/>
                    <a:pt x="85997" y="417304"/>
                    <a:pt x="88526" y="416039"/>
                  </a:cubicBezTo>
                  <a:cubicBezTo>
                    <a:pt x="91056" y="414775"/>
                    <a:pt x="92320" y="413510"/>
                    <a:pt x="92320" y="410981"/>
                  </a:cubicBezTo>
                  <a:lnTo>
                    <a:pt x="13911" y="7587"/>
                  </a:lnTo>
                  <a:lnTo>
                    <a:pt x="12647" y="0"/>
                  </a:lnTo>
                  <a:lnTo>
                    <a:pt x="6323" y="2529"/>
                  </a:lnTo>
                  <a:close/>
                </a:path>
              </a:pathLst>
            </a:custGeom>
            <a:solidFill>
              <a:srgbClr val="000000"/>
            </a:solidFill>
            <a:ln w="12625"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94FFC976-01F0-4C0D-915D-18ADF71F265F}"/>
                </a:ext>
              </a:extLst>
            </p:cNvPr>
            <p:cNvSpPr/>
            <p:nvPr/>
          </p:nvSpPr>
          <p:spPr>
            <a:xfrm>
              <a:off x="10605205" y="586579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090278A1-7B7A-439D-8155-402D3512D533}"/>
                </a:ext>
              </a:extLst>
            </p:cNvPr>
            <p:cNvSpPr/>
            <p:nvPr/>
          </p:nvSpPr>
          <p:spPr>
            <a:xfrm>
              <a:off x="10603940" y="586832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cubicBezTo>
                    <a:pt x="0" y="0"/>
                    <a:pt x="0" y="0"/>
                    <a:pt x="0" y="0"/>
                  </a:cubicBezTo>
                  <a:lnTo>
                    <a:pt x="0" y="0"/>
                  </a:lnTo>
                  <a:close/>
                </a:path>
              </a:pathLst>
            </a:custGeom>
            <a:solidFill>
              <a:srgbClr val="000000"/>
            </a:solidFill>
            <a:ln w="12625"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35BDAEFE-17BE-4764-A3AF-F30324B2329F}"/>
                </a:ext>
              </a:extLst>
            </p:cNvPr>
            <p:cNvSpPr/>
            <p:nvPr/>
          </p:nvSpPr>
          <p:spPr>
            <a:xfrm>
              <a:off x="10603940" y="5866497"/>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 name="connsiteX4" fmla="*/ 0 w 12646"/>
                <a:gd name="connsiteY4" fmla="*/ 562 h 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562">
                  <a:moveTo>
                    <a:pt x="0" y="562"/>
                  </a:moveTo>
                  <a:lnTo>
                    <a:pt x="0" y="562"/>
                  </a:lnTo>
                  <a:lnTo>
                    <a:pt x="0" y="562"/>
                  </a:lnTo>
                  <a:lnTo>
                    <a:pt x="0" y="562"/>
                  </a:lnTo>
                  <a:cubicBezTo>
                    <a:pt x="0" y="-703"/>
                    <a:pt x="0" y="562"/>
                    <a:pt x="0" y="562"/>
                  </a:cubicBezTo>
                  <a:close/>
                </a:path>
              </a:pathLst>
            </a:custGeom>
            <a:solidFill>
              <a:srgbClr val="000000"/>
            </a:solidFill>
            <a:ln w="12625"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505CA17E-3C92-48FF-9391-DEB9DC7B81A5}"/>
                </a:ext>
              </a:extLst>
            </p:cNvPr>
            <p:cNvSpPr/>
            <p:nvPr/>
          </p:nvSpPr>
          <p:spPr>
            <a:xfrm>
              <a:off x="11223624" y="5118442"/>
              <a:ext cx="67027" cy="362927"/>
            </a:xfrm>
            <a:custGeom>
              <a:avLst/>
              <a:gdLst>
                <a:gd name="connsiteX0" fmla="*/ 5059 w 67027"/>
                <a:gd name="connsiteY0" fmla="*/ 0 h 362927"/>
                <a:gd name="connsiteX1" fmla="*/ 5059 w 67027"/>
                <a:gd name="connsiteY1" fmla="*/ 0 h 362927"/>
                <a:gd name="connsiteX2" fmla="*/ 2529 w 67027"/>
                <a:gd name="connsiteY2" fmla="*/ 0 h 362927"/>
                <a:gd name="connsiteX3" fmla="*/ 1265 w 67027"/>
                <a:gd name="connsiteY3" fmla="*/ 0 h 362927"/>
                <a:gd name="connsiteX4" fmla="*/ 1265 w 67027"/>
                <a:gd name="connsiteY4" fmla="*/ 0 h 362927"/>
                <a:gd name="connsiteX5" fmla="*/ 0 w 67027"/>
                <a:gd name="connsiteY5" fmla="*/ 0 h 362927"/>
                <a:gd name="connsiteX6" fmla="*/ 0 w 67027"/>
                <a:gd name="connsiteY6" fmla="*/ 0 h 362927"/>
                <a:gd name="connsiteX7" fmla="*/ 0 w 67027"/>
                <a:gd name="connsiteY7" fmla="*/ 1265 h 362927"/>
                <a:gd name="connsiteX8" fmla="*/ 0 w 67027"/>
                <a:gd name="connsiteY8" fmla="*/ 2529 h 362927"/>
                <a:gd name="connsiteX9" fmla="*/ 0 w 67027"/>
                <a:gd name="connsiteY9" fmla="*/ 3794 h 362927"/>
                <a:gd name="connsiteX10" fmla="*/ 0 w 67027"/>
                <a:gd name="connsiteY10" fmla="*/ 3794 h 362927"/>
                <a:gd name="connsiteX11" fmla="*/ 0 w 67027"/>
                <a:gd name="connsiteY11" fmla="*/ 6323 h 362927"/>
                <a:gd name="connsiteX12" fmla="*/ 58175 w 67027"/>
                <a:gd name="connsiteY12" fmla="*/ 359134 h 362927"/>
                <a:gd name="connsiteX13" fmla="*/ 58175 w 67027"/>
                <a:gd name="connsiteY13" fmla="*/ 362928 h 362927"/>
                <a:gd name="connsiteX14" fmla="*/ 61968 w 67027"/>
                <a:gd name="connsiteY14" fmla="*/ 357870 h 362927"/>
                <a:gd name="connsiteX15" fmla="*/ 61968 w 67027"/>
                <a:gd name="connsiteY15" fmla="*/ 357870 h 362927"/>
                <a:gd name="connsiteX16" fmla="*/ 67027 w 67027"/>
                <a:gd name="connsiteY16" fmla="*/ 361663 h 362927"/>
                <a:gd name="connsiteX17" fmla="*/ 67027 w 67027"/>
                <a:gd name="connsiteY17" fmla="*/ 361663 h 362927"/>
                <a:gd name="connsiteX18" fmla="*/ 8853 w 67027"/>
                <a:gd name="connsiteY18" fmla="*/ 13910 h 362927"/>
                <a:gd name="connsiteX19" fmla="*/ 7588 w 67027"/>
                <a:gd name="connsiteY19" fmla="*/ 3794 h 362927"/>
                <a:gd name="connsiteX20" fmla="*/ 5059 w 67027"/>
                <a:gd name="connsiteY20" fmla="*/ 0 h 36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027" h="362927">
                  <a:moveTo>
                    <a:pt x="5059" y="0"/>
                  </a:moveTo>
                  <a:lnTo>
                    <a:pt x="5059" y="0"/>
                  </a:lnTo>
                  <a:lnTo>
                    <a:pt x="2529" y="0"/>
                  </a:lnTo>
                  <a:lnTo>
                    <a:pt x="1265" y="0"/>
                  </a:lnTo>
                  <a:lnTo>
                    <a:pt x="1265" y="0"/>
                  </a:lnTo>
                  <a:lnTo>
                    <a:pt x="0" y="0"/>
                  </a:lnTo>
                  <a:lnTo>
                    <a:pt x="0" y="0"/>
                  </a:lnTo>
                  <a:lnTo>
                    <a:pt x="0" y="1265"/>
                  </a:lnTo>
                  <a:cubicBezTo>
                    <a:pt x="0" y="1265"/>
                    <a:pt x="0" y="2529"/>
                    <a:pt x="0" y="2529"/>
                  </a:cubicBezTo>
                  <a:cubicBezTo>
                    <a:pt x="0" y="2529"/>
                    <a:pt x="0" y="2529"/>
                    <a:pt x="0" y="3794"/>
                  </a:cubicBezTo>
                  <a:lnTo>
                    <a:pt x="0" y="3794"/>
                  </a:lnTo>
                  <a:lnTo>
                    <a:pt x="0" y="6323"/>
                  </a:lnTo>
                  <a:lnTo>
                    <a:pt x="58175" y="359134"/>
                  </a:lnTo>
                  <a:lnTo>
                    <a:pt x="58175" y="362928"/>
                  </a:lnTo>
                  <a:cubicBezTo>
                    <a:pt x="58175" y="360398"/>
                    <a:pt x="59439" y="357870"/>
                    <a:pt x="61968" y="357870"/>
                  </a:cubicBezTo>
                  <a:cubicBezTo>
                    <a:pt x="61968" y="357870"/>
                    <a:pt x="61968" y="357870"/>
                    <a:pt x="61968" y="357870"/>
                  </a:cubicBezTo>
                  <a:cubicBezTo>
                    <a:pt x="64498" y="357870"/>
                    <a:pt x="67027" y="359134"/>
                    <a:pt x="67027" y="361663"/>
                  </a:cubicBezTo>
                  <a:cubicBezTo>
                    <a:pt x="67027" y="361663"/>
                    <a:pt x="67027" y="361663"/>
                    <a:pt x="67027" y="361663"/>
                  </a:cubicBezTo>
                  <a:lnTo>
                    <a:pt x="8853" y="13910"/>
                  </a:lnTo>
                  <a:lnTo>
                    <a:pt x="7588" y="3794"/>
                  </a:lnTo>
                  <a:cubicBezTo>
                    <a:pt x="8853" y="1265"/>
                    <a:pt x="7588" y="1265"/>
                    <a:pt x="5059" y="0"/>
                  </a:cubicBezTo>
                  <a:close/>
                </a:path>
              </a:pathLst>
            </a:custGeom>
            <a:solidFill>
              <a:srgbClr val="000000"/>
            </a:solidFill>
            <a:ln w="12625"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CE92CDAB-8CB6-4B5C-9D5D-A043B938C05E}"/>
                </a:ext>
              </a:extLst>
            </p:cNvPr>
            <p:cNvSpPr/>
            <p:nvPr/>
          </p:nvSpPr>
          <p:spPr>
            <a:xfrm>
              <a:off x="11281799" y="5476311"/>
              <a:ext cx="11381" cy="17703"/>
            </a:xfrm>
            <a:custGeom>
              <a:avLst/>
              <a:gdLst>
                <a:gd name="connsiteX0" fmla="*/ 3794 w 11381"/>
                <a:gd name="connsiteY0" fmla="*/ 0 h 17703"/>
                <a:gd name="connsiteX1" fmla="*/ 0 w 11381"/>
                <a:gd name="connsiteY1" fmla="*/ 5058 h 17703"/>
                <a:gd name="connsiteX2" fmla="*/ 0 w 11381"/>
                <a:gd name="connsiteY2" fmla="*/ 5058 h 17703"/>
                <a:gd name="connsiteX3" fmla="*/ 1265 w 11381"/>
                <a:gd name="connsiteY3" fmla="*/ 11381 h 17703"/>
                <a:gd name="connsiteX4" fmla="*/ 2529 w 11381"/>
                <a:gd name="connsiteY4" fmla="*/ 16439 h 17703"/>
                <a:gd name="connsiteX5" fmla="*/ 5059 w 11381"/>
                <a:gd name="connsiteY5" fmla="*/ 15174 h 17703"/>
                <a:gd name="connsiteX6" fmla="*/ 11382 w 11381"/>
                <a:gd name="connsiteY6" fmla="*/ 16439 h 17703"/>
                <a:gd name="connsiteX7" fmla="*/ 11382 w 11381"/>
                <a:gd name="connsiteY7" fmla="*/ 16439 h 17703"/>
                <a:gd name="connsiteX8" fmla="*/ 11382 w 11381"/>
                <a:gd name="connsiteY8" fmla="*/ 17704 h 17703"/>
                <a:gd name="connsiteX9" fmla="*/ 11382 w 11381"/>
                <a:gd name="connsiteY9" fmla="*/ 17704 h 17703"/>
                <a:gd name="connsiteX10" fmla="*/ 11382 w 11381"/>
                <a:gd name="connsiteY10" fmla="*/ 15174 h 17703"/>
                <a:gd name="connsiteX11" fmla="*/ 8853 w 11381"/>
                <a:gd name="connsiteY11" fmla="*/ 2529 h 17703"/>
                <a:gd name="connsiteX12" fmla="*/ 3794 w 11381"/>
                <a:gd name="connsiteY12" fmla="*/ 0 h 1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81" h="17703">
                  <a:moveTo>
                    <a:pt x="3794" y="0"/>
                  </a:moveTo>
                  <a:cubicBezTo>
                    <a:pt x="1265" y="0"/>
                    <a:pt x="0" y="2529"/>
                    <a:pt x="0" y="5058"/>
                  </a:cubicBezTo>
                  <a:cubicBezTo>
                    <a:pt x="0" y="5058"/>
                    <a:pt x="0" y="5058"/>
                    <a:pt x="0" y="5058"/>
                  </a:cubicBezTo>
                  <a:lnTo>
                    <a:pt x="1265" y="11381"/>
                  </a:lnTo>
                  <a:lnTo>
                    <a:pt x="2529" y="16439"/>
                  </a:lnTo>
                  <a:lnTo>
                    <a:pt x="5059" y="15174"/>
                  </a:lnTo>
                  <a:cubicBezTo>
                    <a:pt x="7588" y="13910"/>
                    <a:pt x="10117" y="15174"/>
                    <a:pt x="11382" y="16439"/>
                  </a:cubicBezTo>
                  <a:cubicBezTo>
                    <a:pt x="11382" y="16439"/>
                    <a:pt x="11382" y="16439"/>
                    <a:pt x="11382" y="16439"/>
                  </a:cubicBezTo>
                  <a:cubicBezTo>
                    <a:pt x="11382" y="16439"/>
                    <a:pt x="11382" y="17704"/>
                    <a:pt x="11382" y="17704"/>
                  </a:cubicBezTo>
                  <a:lnTo>
                    <a:pt x="11382" y="17704"/>
                  </a:lnTo>
                  <a:lnTo>
                    <a:pt x="11382" y="15174"/>
                  </a:lnTo>
                  <a:lnTo>
                    <a:pt x="8853" y="2529"/>
                  </a:lnTo>
                  <a:cubicBezTo>
                    <a:pt x="8853" y="1265"/>
                    <a:pt x="6323" y="0"/>
                    <a:pt x="3794" y="0"/>
                  </a:cubicBezTo>
                  <a:close/>
                </a:path>
              </a:pathLst>
            </a:custGeom>
            <a:solidFill>
              <a:srgbClr val="000000"/>
            </a:solidFill>
            <a:ln w="12625"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372F58AF-4F40-491E-AE6E-D36E485E7860}"/>
                </a:ext>
              </a:extLst>
            </p:cNvPr>
            <p:cNvSpPr/>
            <p:nvPr/>
          </p:nvSpPr>
          <p:spPr>
            <a:xfrm>
              <a:off x="11496791" y="4517778"/>
              <a:ext cx="67026" cy="388742"/>
            </a:xfrm>
            <a:custGeom>
              <a:avLst/>
              <a:gdLst>
                <a:gd name="connsiteX0" fmla="*/ 56910 w 67026"/>
                <a:gd name="connsiteY0" fmla="*/ 385690 h 388742"/>
                <a:gd name="connsiteX1" fmla="*/ 58174 w 67026"/>
                <a:gd name="connsiteY1" fmla="*/ 386954 h 388742"/>
                <a:gd name="connsiteX2" fmla="*/ 63233 w 67026"/>
                <a:gd name="connsiteY2" fmla="*/ 388219 h 388742"/>
                <a:gd name="connsiteX3" fmla="*/ 67027 w 67026"/>
                <a:gd name="connsiteY3" fmla="*/ 384425 h 388742"/>
                <a:gd name="connsiteX4" fmla="*/ 67027 w 67026"/>
                <a:gd name="connsiteY4" fmla="*/ 384425 h 388742"/>
                <a:gd name="connsiteX5" fmla="*/ 67027 w 67026"/>
                <a:gd name="connsiteY5" fmla="*/ 383161 h 388742"/>
                <a:gd name="connsiteX6" fmla="*/ 67027 w 67026"/>
                <a:gd name="connsiteY6" fmla="*/ 383161 h 388742"/>
                <a:gd name="connsiteX7" fmla="*/ 65762 w 67026"/>
                <a:gd name="connsiteY7" fmla="*/ 376838 h 388742"/>
                <a:gd name="connsiteX8" fmla="*/ 10117 w 67026"/>
                <a:gd name="connsiteY8" fmla="*/ 8852 h 388742"/>
                <a:gd name="connsiteX9" fmla="*/ 8853 w 67026"/>
                <a:gd name="connsiteY9" fmla="*/ 0 h 388742"/>
                <a:gd name="connsiteX10" fmla="*/ 5059 w 67026"/>
                <a:gd name="connsiteY10" fmla="*/ 5059 h 388742"/>
                <a:gd name="connsiteX11" fmla="*/ 5059 w 67026"/>
                <a:gd name="connsiteY11" fmla="*/ 5059 h 388742"/>
                <a:gd name="connsiteX12" fmla="*/ 0 w 67026"/>
                <a:gd name="connsiteY12" fmla="*/ 1265 h 388742"/>
                <a:gd name="connsiteX13" fmla="*/ 58174 w 67026"/>
                <a:gd name="connsiteY13" fmla="*/ 380631 h 388742"/>
                <a:gd name="connsiteX14" fmla="*/ 58174 w 67026"/>
                <a:gd name="connsiteY14" fmla="*/ 380631 h 388742"/>
                <a:gd name="connsiteX15" fmla="*/ 56910 w 67026"/>
                <a:gd name="connsiteY15" fmla="*/ 385690 h 38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26" h="388742">
                  <a:moveTo>
                    <a:pt x="56910" y="385690"/>
                  </a:moveTo>
                  <a:cubicBezTo>
                    <a:pt x="56910" y="386954"/>
                    <a:pt x="56910" y="386954"/>
                    <a:pt x="58174" y="386954"/>
                  </a:cubicBezTo>
                  <a:cubicBezTo>
                    <a:pt x="59439" y="388219"/>
                    <a:pt x="60704" y="389484"/>
                    <a:pt x="63233" y="388219"/>
                  </a:cubicBezTo>
                  <a:cubicBezTo>
                    <a:pt x="65762" y="388219"/>
                    <a:pt x="67027" y="386954"/>
                    <a:pt x="67027" y="384425"/>
                  </a:cubicBezTo>
                  <a:lnTo>
                    <a:pt x="67027" y="384425"/>
                  </a:lnTo>
                  <a:cubicBezTo>
                    <a:pt x="67027" y="384425"/>
                    <a:pt x="67027" y="384425"/>
                    <a:pt x="67027" y="383161"/>
                  </a:cubicBezTo>
                  <a:lnTo>
                    <a:pt x="67027" y="383161"/>
                  </a:lnTo>
                  <a:lnTo>
                    <a:pt x="65762" y="376838"/>
                  </a:lnTo>
                  <a:lnTo>
                    <a:pt x="10117" y="8852"/>
                  </a:lnTo>
                  <a:lnTo>
                    <a:pt x="8853" y="0"/>
                  </a:lnTo>
                  <a:cubicBezTo>
                    <a:pt x="8853" y="2529"/>
                    <a:pt x="7588" y="5059"/>
                    <a:pt x="5059" y="5059"/>
                  </a:cubicBezTo>
                  <a:cubicBezTo>
                    <a:pt x="5059" y="5059"/>
                    <a:pt x="5059" y="5059"/>
                    <a:pt x="5059" y="5059"/>
                  </a:cubicBezTo>
                  <a:cubicBezTo>
                    <a:pt x="2529" y="5059"/>
                    <a:pt x="0" y="3794"/>
                    <a:pt x="0" y="1265"/>
                  </a:cubicBezTo>
                  <a:lnTo>
                    <a:pt x="58174" y="380631"/>
                  </a:lnTo>
                  <a:lnTo>
                    <a:pt x="58174" y="380631"/>
                  </a:lnTo>
                  <a:lnTo>
                    <a:pt x="56910" y="385690"/>
                  </a:lnTo>
                  <a:close/>
                </a:path>
              </a:pathLst>
            </a:custGeom>
            <a:solidFill>
              <a:srgbClr val="000000"/>
            </a:solidFill>
            <a:ln w="12625"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34114D10-427D-4702-8234-54B82156DFB3}"/>
                </a:ext>
              </a:extLst>
            </p:cNvPr>
            <p:cNvSpPr/>
            <p:nvPr/>
          </p:nvSpPr>
          <p:spPr>
            <a:xfrm>
              <a:off x="11442411" y="4161173"/>
              <a:ext cx="61968" cy="362927"/>
            </a:xfrm>
            <a:custGeom>
              <a:avLst/>
              <a:gdLst>
                <a:gd name="connsiteX0" fmla="*/ 58174 w 61968"/>
                <a:gd name="connsiteY0" fmla="*/ 362927 h 362927"/>
                <a:gd name="connsiteX1" fmla="*/ 61968 w 61968"/>
                <a:gd name="connsiteY1" fmla="*/ 357869 h 362927"/>
                <a:gd name="connsiteX2" fmla="*/ 61968 w 61968"/>
                <a:gd name="connsiteY2" fmla="*/ 357869 h 362927"/>
                <a:gd name="connsiteX3" fmla="*/ 61968 w 61968"/>
                <a:gd name="connsiteY3" fmla="*/ 355340 h 362927"/>
                <a:gd name="connsiteX4" fmla="*/ 8853 w 61968"/>
                <a:gd name="connsiteY4" fmla="*/ 7587 h 362927"/>
                <a:gd name="connsiteX5" fmla="*/ 8853 w 61968"/>
                <a:gd name="connsiteY5" fmla="*/ 3794 h 362927"/>
                <a:gd name="connsiteX6" fmla="*/ 3794 w 61968"/>
                <a:gd name="connsiteY6" fmla="*/ 0 h 362927"/>
                <a:gd name="connsiteX7" fmla="*/ 3794 w 61968"/>
                <a:gd name="connsiteY7" fmla="*/ 0 h 362927"/>
                <a:gd name="connsiteX8" fmla="*/ 0 w 61968"/>
                <a:gd name="connsiteY8" fmla="*/ 5058 h 362927"/>
                <a:gd name="connsiteX9" fmla="*/ 54380 w 61968"/>
                <a:gd name="connsiteY9" fmla="*/ 359134 h 362927"/>
                <a:gd name="connsiteX10" fmla="*/ 58174 w 61968"/>
                <a:gd name="connsiteY10" fmla="*/ 362927 h 36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968" h="362927">
                  <a:moveTo>
                    <a:pt x="58174" y="362927"/>
                  </a:moveTo>
                  <a:cubicBezTo>
                    <a:pt x="60704" y="362927"/>
                    <a:pt x="61968" y="360398"/>
                    <a:pt x="61968" y="357869"/>
                  </a:cubicBezTo>
                  <a:cubicBezTo>
                    <a:pt x="61968" y="357869"/>
                    <a:pt x="61968" y="357869"/>
                    <a:pt x="61968" y="357869"/>
                  </a:cubicBezTo>
                  <a:lnTo>
                    <a:pt x="61968" y="355340"/>
                  </a:lnTo>
                  <a:lnTo>
                    <a:pt x="8853" y="7587"/>
                  </a:lnTo>
                  <a:lnTo>
                    <a:pt x="8853" y="3794"/>
                  </a:lnTo>
                  <a:cubicBezTo>
                    <a:pt x="8853" y="1265"/>
                    <a:pt x="6323" y="0"/>
                    <a:pt x="3794" y="0"/>
                  </a:cubicBezTo>
                  <a:cubicBezTo>
                    <a:pt x="3794" y="0"/>
                    <a:pt x="3794" y="0"/>
                    <a:pt x="3794" y="0"/>
                  </a:cubicBezTo>
                  <a:cubicBezTo>
                    <a:pt x="1265" y="0"/>
                    <a:pt x="0" y="2529"/>
                    <a:pt x="0" y="5058"/>
                  </a:cubicBezTo>
                  <a:lnTo>
                    <a:pt x="54380" y="359134"/>
                  </a:lnTo>
                  <a:cubicBezTo>
                    <a:pt x="54380" y="360398"/>
                    <a:pt x="56910" y="361663"/>
                    <a:pt x="58174" y="362927"/>
                  </a:cubicBezTo>
                  <a:close/>
                </a:path>
              </a:pathLst>
            </a:custGeom>
            <a:solidFill>
              <a:srgbClr val="000000"/>
            </a:solidFill>
            <a:ln w="12625"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606FF94C-3860-4BF5-BE27-508A3394186D}"/>
                </a:ext>
              </a:extLst>
            </p:cNvPr>
            <p:cNvSpPr/>
            <p:nvPr/>
          </p:nvSpPr>
          <p:spPr>
            <a:xfrm>
              <a:off x="9979197" y="5100738"/>
              <a:ext cx="233962" cy="125190"/>
            </a:xfrm>
            <a:custGeom>
              <a:avLst/>
              <a:gdLst>
                <a:gd name="connsiteX0" fmla="*/ 7588 w 233962"/>
                <a:gd name="connsiteY0" fmla="*/ 118868 h 125190"/>
                <a:gd name="connsiteX1" fmla="*/ 5059 w 233962"/>
                <a:gd name="connsiteY1" fmla="*/ 125191 h 125190"/>
                <a:gd name="connsiteX2" fmla="*/ 5059 w 233962"/>
                <a:gd name="connsiteY2" fmla="*/ 125191 h 125190"/>
                <a:gd name="connsiteX3" fmla="*/ 12647 w 233962"/>
                <a:gd name="connsiteY3" fmla="*/ 121397 h 125190"/>
                <a:gd name="connsiteX4" fmla="*/ 233963 w 233962"/>
                <a:gd name="connsiteY4" fmla="*/ 8852 h 125190"/>
                <a:gd name="connsiteX5" fmla="*/ 227639 w 233962"/>
                <a:gd name="connsiteY5" fmla="*/ 6323 h 125190"/>
                <a:gd name="connsiteX6" fmla="*/ 230168 w 233962"/>
                <a:gd name="connsiteY6" fmla="*/ 0 h 125190"/>
                <a:gd name="connsiteX7" fmla="*/ 226374 w 233962"/>
                <a:gd name="connsiteY7" fmla="*/ 1265 h 125190"/>
                <a:gd name="connsiteX8" fmla="*/ 0 w 233962"/>
                <a:gd name="connsiteY8" fmla="*/ 115075 h 125190"/>
                <a:gd name="connsiteX9" fmla="*/ 7588 w 233962"/>
                <a:gd name="connsiteY9" fmla="*/ 118868 h 125190"/>
                <a:gd name="connsiteX10" fmla="*/ 7588 w 233962"/>
                <a:gd name="connsiteY10" fmla="*/ 118868 h 1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962" h="125190">
                  <a:moveTo>
                    <a:pt x="7588" y="118868"/>
                  </a:moveTo>
                  <a:cubicBezTo>
                    <a:pt x="8853" y="121397"/>
                    <a:pt x="7588" y="123927"/>
                    <a:pt x="5059" y="125191"/>
                  </a:cubicBezTo>
                  <a:cubicBezTo>
                    <a:pt x="5059" y="125191"/>
                    <a:pt x="5059" y="125191"/>
                    <a:pt x="5059" y="125191"/>
                  </a:cubicBezTo>
                  <a:lnTo>
                    <a:pt x="12647" y="121397"/>
                  </a:lnTo>
                  <a:lnTo>
                    <a:pt x="233963" y="8852"/>
                  </a:lnTo>
                  <a:cubicBezTo>
                    <a:pt x="231433" y="10117"/>
                    <a:pt x="228904" y="8852"/>
                    <a:pt x="227639" y="6323"/>
                  </a:cubicBezTo>
                  <a:cubicBezTo>
                    <a:pt x="226374" y="3794"/>
                    <a:pt x="227639" y="1265"/>
                    <a:pt x="230168" y="0"/>
                  </a:cubicBezTo>
                  <a:lnTo>
                    <a:pt x="226374" y="1265"/>
                  </a:lnTo>
                  <a:lnTo>
                    <a:pt x="0" y="115075"/>
                  </a:lnTo>
                  <a:cubicBezTo>
                    <a:pt x="3794" y="115075"/>
                    <a:pt x="6323" y="116339"/>
                    <a:pt x="7588" y="118868"/>
                  </a:cubicBezTo>
                  <a:cubicBezTo>
                    <a:pt x="7588" y="118868"/>
                    <a:pt x="7588" y="118868"/>
                    <a:pt x="7588" y="118868"/>
                  </a:cubicBezTo>
                  <a:close/>
                </a:path>
              </a:pathLst>
            </a:custGeom>
            <a:solidFill>
              <a:srgbClr val="000000"/>
            </a:solidFill>
            <a:ln w="12625"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B3FE72A3-2342-4E33-BCE4-19DC47C70703}"/>
                </a:ext>
              </a:extLst>
            </p:cNvPr>
            <p:cNvSpPr/>
            <p:nvPr/>
          </p:nvSpPr>
          <p:spPr>
            <a:xfrm>
              <a:off x="9924817" y="5216581"/>
              <a:ext cx="62464" cy="37168"/>
            </a:xfrm>
            <a:custGeom>
              <a:avLst/>
              <a:gdLst>
                <a:gd name="connsiteX0" fmla="*/ 61968 w 62464"/>
                <a:gd name="connsiteY0" fmla="*/ 3025 h 37168"/>
                <a:gd name="connsiteX1" fmla="*/ 55645 w 62464"/>
                <a:gd name="connsiteY1" fmla="*/ 496 h 37168"/>
                <a:gd name="connsiteX2" fmla="*/ 55645 w 62464"/>
                <a:gd name="connsiteY2" fmla="*/ 496 h 37168"/>
                <a:gd name="connsiteX3" fmla="*/ 2529 w 62464"/>
                <a:gd name="connsiteY3" fmla="*/ 27052 h 37168"/>
                <a:gd name="connsiteX4" fmla="*/ 0 w 62464"/>
                <a:gd name="connsiteY4" fmla="*/ 28316 h 37168"/>
                <a:gd name="connsiteX5" fmla="*/ 6323 w 62464"/>
                <a:gd name="connsiteY5" fmla="*/ 30845 h 37168"/>
                <a:gd name="connsiteX6" fmla="*/ 6323 w 62464"/>
                <a:gd name="connsiteY6" fmla="*/ 30845 h 37168"/>
                <a:gd name="connsiteX7" fmla="*/ 3794 w 62464"/>
                <a:gd name="connsiteY7" fmla="*/ 37168 h 37168"/>
                <a:gd name="connsiteX8" fmla="*/ 3794 w 62464"/>
                <a:gd name="connsiteY8" fmla="*/ 37168 h 37168"/>
                <a:gd name="connsiteX9" fmla="*/ 56910 w 62464"/>
                <a:gd name="connsiteY9" fmla="*/ 10612 h 37168"/>
                <a:gd name="connsiteX10" fmla="*/ 59439 w 62464"/>
                <a:gd name="connsiteY10" fmla="*/ 9348 h 37168"/>
                <a:gd name="connsiteX11" fmla="*/ 61968 w 62464"/>
                <a:gd name="connsiteY11" fmla="*/ 3025 h 37168"/>
                <a:gd name="connsiteX12" fmla="*/ 61968 w 62464"/>
                <a:gd name="connsiteY12" fmla="*/ 3025 h 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4" h="37168">
                  <a:moveTo>
                    <a:pt x="61968" y="3025"/>
                  </a:moveTo>
                  <a:cubicBezTo>
                    <a:pt x="60704" y="496"/>
                    <a:pt x="58174" y="-769"/>
                    <a:pt x="55645" y="496"/>
                  </a:cubicBezTo>
                  <a:cubicBezTo>
                    <a:pt x="55645" y="496"/>
                    <a:pt x="55645" y="496"/>
                    <a:pt x="55645" y="496"/>
                  </a:cubicBezTo>
                  <a:lnTo>
                    <a:pt x="2529" y="27052"/>
                  </a:lnTo>
                  <a:lnTo>
                    <a:pt x="0" y="28316"/>
                  </a:lnTo>
                  <a:cubicBezTo>
                    <a:pt x="2529" y="27052"/>
                    <a:pt x="5059" y="28316"/>
                    <a:pt x="6323" y="30845"/>
                  </a:cubicBezTo>
                  <a:cubicBezTo>
                    <a:pt x="6323" y="30845"/>
                    <a:pt x="6323" y="30845"/>
                    <a:pt x="6323" y="30845"/>
                  </a:cubicBezTo>
                  <a:cubicBezTo>
                    <a:pt x="7588" y="33375"/>
                    <a:pt x="6323" y="35904"/>
                    <a:pt x="3794" y="37168"/>
                  </a:cubicBezTo>
                  <a:cubicBezTo>
                    <a:pt x="3794" y="37168"/>
                    <a:pt x="3794" y="37168"/>
                    <a:pt x="3794" y="37168"/>
                  </a:cubicBezTo>
                  <a:lnTo>
                    <a:pt x="56910" y="10612"/>
                  </a:lnTo>
                  <a:lnTo>
                    <a:pt x="59439" y="9348"/>
                  </a:lnTo>
                  <a:cubicBezTo>
                    <a:pt x="61968" y="8084"/>
                    <a:pt x="63233" y="5554"/>
                    <a:pt x="61968" y="3025"/>
                  </a:cubicBezTo>
                  <a:cubicBezTo>
                    <a:pt x="61968" y="3025"/>
                    <a:pt x="61968" y="3025"/>
                    <a:pt x="61968" y="3025"/>
                  </a:cubicBezTo>
                  <a:close/>
                </a:path>
              </a:pathLst>
            </a:custGeom>
            <a:solidFill>
              <a:srgbClr val="000000"/>
            </a:solidFill>
            <a:ln w="12625"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86801D0E-90F9-42AC-8276-1B08BBF37D7A}"/>
                </a:ext>
              </a:extLst>
            </p:cNvPr>
            <p:cNvSpPr/>
            <p:nvPr/>
          </p:nvSpPr>
          <p:spPr>
            <a:xfrm>
              <a:off x="11074394" y="3229195"/>
              <a:ext cx="140377" cy="824490"/>
            </a:xfrm>
            <a:custGeom>
              <a:avLst/>
              <a:gdLst>
                <a:gd name="connsiteX0" fmla="*/ 131525 w 140377"/>
                <a:gd name="connsiteY0" fmla="*/ 820697 h 824490"/>
                <a:gd name="connsiteX1" fmla="*/ 134054 w 140377"/>
                <a:gd name="connsiteY1" fmla="*/ 824491 h 824490"/>
                <a:gd name="connsiteX2" fmla="*/ 135319 w 140377"/>
                <a:gd name="connsiteY2" fmla="*/ 824491 h 824490"/>
                <a:gd name="connsiteX3" fmla="*/ 136584 w 140377"/>
                <a:gd name="connsiteY3" fmla="*/ 824491 h 824490"/>
                <a:gd name="connsiteX4" fmla="*/ 137848 w 140377"/>
                <a:gd name="connsiteY4" fmla="*/ 824491 h 824490"/>
                <a:gd name="connsiteX5" fmla="*/ 139113 w 140377"/>
                <a:gd name="connsiteY5" fmla="*/ 824491 h 824490"/>
                <a:gd name="connsiteX6" fmla="*/ 139113 w 140377"/>
                <a:gd name="connsiteY6" fmla="*/ 824491 h 824490"/>
                <a:gd name="connsiteX7" fmla="*/ 140378 w 140377"/>
                <a:gd name="connsiteY7" fmla="*/ 823226 h 824490"/>
                <a:gd name="connsiteX8" fmla="*/ 140378 w 140377"/>
                <a:gd name="connsiteY8" fmla="*/ 821961 h 824490"/>
                <a:gd name="connsiteX9" fmla="*/ 140378 w 140377"/>
                <a:gd name="connsiteY9" fmla="*/ 820697 h 824490"/>
                <a:gd name="connsiteX10" fmla="*/ 140378 w 140377"/>
                <a:gd name="connsiteY10" fmla="*/ 819433 h 824490"/>
                <a:gd name="connsiteX11" fmla="*/ 8853 w 140377"/>
                <a:gd name="connsiteY11" fmla="*/ 0 h 824490"/>
                <a:gd name="connsiteX12" fmla="*/ 5059 w 140377"/>
                <a:gd name="connsiteY12" fmla="*/ 5058 h 824490"/>
                <a:gd name="connsiteX13" fmla="*/ 0 w 140377"/>
                <a:gd name="connsiteY13" fmla="*/ 1265 h 824490"/>
                <a:gd name="connsiteX14" fmla="*/ 0 w 140377"/>
                <a:gd name="connsiteY14" fmla="*/ 1265 h 824490"/>
                <a:gd name="connsiteX15" fmla="*/ 1265 w 140377"/>
                <a:gd name="connsiteY15" fmla="*/ 7587 h 824490"/>
                <a:gd name="connsiteX16" fmla="*/ 131525 w 140377"/>
                <a:gd name="connsiteY16" fmla="*/ 811845 h 824490"/>
                <a:gd name="connsiteX17" fmla="*/ 131525 w 140377"/>
                <a:gd name="connsiteY17" fmla="*/ 820697 h 8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0377" h="824490">
                  <a:moveTo>
                    <a:pt x="131525" y="820697"/>
                  </a:moveTo>
                  <a:cubicBezTo>
                    <a:pt x="131525" y="821961"/>
                    <a:pt x="132789" y="823226"/>
                    <a:pt x="134054" y="824491"/>
                  </a:cubicBezTo>
                  <a:lnTo>
                    <a:pt x="135319" y="824491"/>
                  </a:lnTo>
                  <a:lnTo>
                    <a:pt x="136584" y="824491"/>
                  </a:lnTo>
                  <a:lnTo>
                    <a:pt x="137848" y="824491"/>
                  </a:lnTo>
                  <a:lnTo>
                    <a:pt x="139113" y="824491"/>
                  </a:lnTo>
                  <a:lnTo>
                    <a:pt x="139113" y="824491"/>
                  </a:lnTo>
                  <a:lnTo>
                    <a:pt x="140378" y="823226"/>
                  </a:lnTo>
                  <a:lnTo>
                    <a:pt x="140378" y="821961"/>
                  </a:lnTo>
                  <a:cubicBezTo>
                    <a:pt x="140378" y="821961"/>
                    <a:pt x="140378" y="821961"/>
                    <a:pt x="140378" y="820697"/>
                  </a:cubicBezTo>
                  <a:lnTo>
                    <a:pt x="140378" y="819433"/>
                  </a:lnTo>
                  <a:lnTo>
                    <a:pt x="8853" y="0"/>
                  </a:lnTo>
                  <a:cubicBezTo>
                    <a:pt x="8853" y="2529"/>
                    <a:pt x="7588" y="5058"/>
                    <a:pt x="5059" y="5058"/>
                  </a:cubicBezTo>
                  <a:cubicBezTo>
                    <a:pt x="2529" y="5058"/>
                    <a:pt x="0" y="3794"/>
                    <a:pt x="0" y="1265"/>
                  </a:cubicBezTo>
                  <a:cubicBezTo>
                    <a:pt x="0" y="1265"/>
                    <a:pt x="0" y="1265"/>
                    <a:pt x="0" y="1265"/>
                  </a:cubicBezTo>
                  <a:lnTo>
                    <a:pt x="1265" y="7587"/>
                  </a:lnTo>
                  <a:lnTo>
                    <a:pt x="131525" y="811845"/>
                  </a:lnTo>
                  <a:lnTo>
                    <a:pt x="131525" y="820697"/>
                  </a:lnTo>
                  <a:close/>
                </a:path>
              </a:pathLst>
            </a:custGeom>
            <a:solidFill>
              <a:srgbClr val="000000"/>
            </a:solidFill>
            <a:ln w="12625"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1E30260F-6AB4-463C-8291-FC82BC4CEAF6}"/>
                </a:ext>
              </a:extLst>
            </p:cNvPr>
            <p:cNvSpPr/>
            <p:nvPr/>
          </p:nvSpPr>
          <p:spPr>
            <a:xfrm>
              <a:off x="10606469" y="301748"/>
              <a:ext cx="476777" cy="2932505"/>
            </a:xfrm>
            <a:custGeom>
              <a:avLst/>
              <a:gdLst>
                <a:gd name="connsiteX0" fmla="*/ 472984 w 476777"/>
                <a:gd name="connsiteY0" fmla="*/ 2932506 h 2932505"/>
                <a:gd name="connsiteX1" fmla="*/ 476777 w 476777"/>
                <a:gd name="connsiteY1" fmla="*/ 2927447 h 2932505"/>
                <a:gd name="connsiteX2" fmla="*/ 10117 w 476777"/>
                <a:gd name="connsiteY2" fmla="*/ 11381 h 2932505"/>
                <a:gd name="connsiteX3" fmla="*/ 10117 w 476777"/>
                <a:gd name="connsiteY3" fmla="*/ 7587 h 2932505"/>
                <a:gd name="connsiteX4" fmla="*/ 8853 w 476777"/>
                <a:gd name="connsiteY4" fmla="*/ 3794 h 2932505"/>
                <a:gd name="connsiteX5" fmla="*/ 3794 w 476777"/>
                <a:gd name="connsiteY5" fmla="*/ 0 h 2932505"/>
                <a:gd name="connsiteX6" fmla="*/ 3794 w 476777"/>
                <a:gd name="connsiteY6" fmla="*/ 0 h 2932505"/>
                <a:gd name="connsiteX7" fmla="*/ 2529 w 476777"/>
                <a:gd name="connsiteY7" fmla="*/ 0 h 2932505"/>
                <a:gd name="connsiteX8" fmla="*/ 1265 w 476777"/>
                <a:gd name="connsiteY8" fmla="*/ 0 h 2932505"/>
                <a:gd name="connsiteX9" fmla="*/ 1265 w 476777"/>
                <a:gd name="connsiteY9" fmla="*/ 0 h 2932505"/>
                <a:gd name="connsiteX10" fmla="*/ 0 w 476777"/>
                <a:gd name="connsiteY10" fmla="*/ 0 h 2932505"/>
                <a:gd name="connsiteX11" fmla="*/ 0 w 476777"/>
                <a:gd name="connsiteY11" fmla="*/ 0 h 2932505"/>
                <a:gd name="connsiteX12" fmla="*/ 0 w 476777"/>
                <a:gd name="connsiteY12" fmla="*/ 0 h 2932505"/>
                <a:gd name="connsiteX13" fmla="*/ 0 w 476777"/>
                <a:gd name="connsiteY13" fmla="*/ 1265 h 2932505"/>
                <a:gd name="connsiteX14" fmla="*/ 0 w 476777"/>
                <a:gd name="connsiteY14" fmla="*/ 1265 h 2932505"/>
                <a:gd name="connsiteX15" fmla="*/ 0 w 476777"/>
                <a:gd name="connsiteY15" fmla="*/ 2529 h 2932505"/>
                <a:gd name="connsiteX16" fmla="*/ 0 w 476777"/>
                <a:gd name="connsiteY16" fmla="*/ 3794 h 2932505"/>
                <a:gd name="connsiteX17" fmla="*/ 467925 w 476777"/>
                <a:gd name="connsiteY17" fmla="*/ 2923654 h 2932505"/>
                <a:gd name="connsiteX18" fmla="*/ 469190 w 476777"/>
                <a:gd name="connsiteY18" fmla="*/ 2927447 h 2932505"/>
                <a:gd name="connsiteX19" fmla="*/ 472984 w 476777"/>
                <a:gd name="connsiteY19" fmla="*/ 2932506 h 2932505"/>
                <a:gd name="connsiteX20" fmla="*/ 472984 w 476777"/>
                <a:gd name="connsiteY20" fmla="*/ 2932506 h 29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6777" h="2932505">
                  <a:moveTo>
                    <a:pt x="472984" y="2932506"/>
                  </a:moveTo>
                  <a:cubicBezTo>
                    <a:pt x="475513" y="2932506"/>
                    <a:pt x="476777" y="2929977"/>
                    <a:pt x="476777" y="2927447"/>
                  </a:cubicBezTo>
                  <a:lnTo>
                    <a:pt x="10117" y="11381"/>
                  </a:lnTo>
                  <a:lnTo>
                    <a:pt x="10117" y="7587"/>
                  </a:lnTo>
                  <a:lnTo>
                    <a:pt x="8853" y="3794"/>
                  </a:lnTo>
                  <a:cubicBezTo>
                    <a:pt x="8853" y="1265"/>
                    <a:pt x="6323" y="0"/>
                    <a:pt x="3794" y="0"/>
                  </a:cubicBezTo>
                  <a:cubicBezTo>
                    <a:pt x="3794" y="0"/>
                    <a:pt x="3794" y="0"/>
                    <a:pt x="3794" y="0"/>
                  </a:cubicBezTo>
                  <a:lnTo>
                    <a:pt x="2529" y="0"/>
                  </a:lnTo>
                  <a:lnTo>
                    <a:pt x="1265" y="0"/>
                  </a:lnTo>
                  <a:lnTo>
                    <a:pt x="1265" y="0"/>
                  </a:lnTo>
                  <a:cubicBezTo>
                    <a:pt x="1265" y="0"/>
                    <a:pt x="1265" y="0"/>
                    <a:pt x="0" y="0"/>
                  </a:cubicBezTo>
                  <a:lnTo>
                    <a:pt x="0" y="0"/>
                  </a:lnTo>
                  <a:lnTo>
                    <a:pt x="0" y="0"/>
                  </a:lnTo>
                  <a:cubicBezTo>
                    <a:pt x="0" y="0"/>
                    <a:pt x="0" y="0"/>
                    <a:pt x="0" y="1265"/>
                  </a:cubicBezTo>
                  <a:lnTo>
                    <a:pt x="0" y="1265"/>
                  </a:lnTo>
                  <a:lnTo>
                    <a:pt x="0" y="2529"/>
                  </a:lnTo>
                  <a:cubicBezTo>
                    <a:pt x="0" y="2529"/>
                    <a:pt x="0" y="2529"/>
                    <a:pt x="0" y="3794"/>
                  </a:cubicBezTo>
                  <a:lnTo>
                    <a:pt x="467925" y="2923654"/>
                  </a:lnTo>
                  <a:lnTo>
                    <a:pt x="469190" y="2927447"/>
                  </a:lnTo>
                  <a:cubicBezTo>
                    <a:pt x="469190" y="2927447"/>
                    <a:pt x="470454" y="2929977"/>
                    <a:pt x="472984" y="2932506"/>
                  </a:cubicBezTo>
                  <a:cubicBezTo>
                    <a:pt x="472984" y="2931241"/>
                    <a:pt x="472984" y="2932506"/>
                    <a:pt x="472984" y="2932506"/>
                  </a:cubicBezTo>
                  <a:close/>
                </a:path>
              </a:pathLst>
            </a:custGeom>
            <a:solidFill>
              <a:srgbClr val="000000"/>
            </a:solidFill>
            <a:ln w="12625"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C0912091-330A-4908-BE7B-3D97D0BA1014}"/>
                </a:ext>
              </a:extLst>
            </p:cNvPr>
            <p:cNvSpPr/>
            <p:nvPr/>
          </p:nvSpPr>
          <p:spPr>
            <a:xfrm>
              <a:off x="11537260" y="2142941"/>
              <a:ext cx="141642" cy="968650"/>
            </a:xfrm>
            <a:custGeom>
              <a:avLst/>
              <a:gdLst>
                <a:gd name="connsiteX0" fmla="*/ 136584 w 141642"/>
                <a:gd name="connsiteY0" fmla="*/ 967385 h 968650"/>
                <a:gd name="connsiteX1" fmla="*/ 141642 w 141642"/>
                <a:gd name="connsiteY1" fmla="*/ 964856 h 968650"/>
                <a:gd name="connsiteX2" fmla="*/ 8853 w 141642"/>
                <a:gd name="connsiteY2" fmla="*/ 7587 h 968650"/>
                <a:gd name="connsiteX3" fmla="*/ 8853 w 141642"/>
                <a:gd name="connsiteY3" fmla="*/ 0 h 968650"/>
                <a:gd name="connsiteX4" fmla="*/ 5059 w 141642"/>
                <a:gd name="connsiteY4" fmla="*/ 5058 h 968650"/>
                <a:gd name="connsiteX5" fmla="*/ 5059 w 141642"/>
                <a:gd name="connsiteY5" fmla="*/ 5058 h 968650"/>
                <a:gd name="connsiteX6" fmla="*/ 0 w 141642"/>
                <a:gd name="connsiteY6" fmla="*/ 1265 h 968650"/>
                <a:gd name="connsiteX7" fmla="*/ 134054 w 141642"/>
                <a:gd name="connsiteY7" fmla="*/ 968650 h 968650"/>
                <a:gd name="connsiteX8" fmla="*/ 136584 w 141642"/>
                <a:gd name="connsiteY8" fmla="*/ 967385 h 9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642" h="968650">
                  <a:moveTo>
                    <a:pt x="136584" y="967385"/>
                  </a:moveTo>
                  <a:lnTo>
                    <a:pt x="141642" y="964856"/>
                  </a:lnTo>
                  <a:lnTo>
                    <a:pt x="8853" y="7587"/>
                  </a:lnTo>
                  <a:lnTo>
                    <a:pt x="8853" y="0"/>
                  </a:lnTo>
                  <a:cubicBezTo>
                    <a:pt x="8853" y="2529"/>
                    <a:pt x="7588" y="5058"/>
                    <a:pt x="5059" y="5058"/>
                  </a:cubicBezTo>
                  <a:cubicBezTo>
                    <a:pt x="5059" y="5058"/>
                    <a:pt x="5059" y="5058"/>
                    <a:pt x="5059" y="5058"/>
                  </a:cubicBezTo>
                  <a:cubicBezTo>
                    <a:pt x="2529" y="5058"/>
                    <a:pt x="0" y="3794"/>
                    <a:pt x="0" y="1265"/>
                  </a:cubicBezTo>
                  <a:lnTo>
                    <a:pt x="134054" y="968650"/>
                  </a:lnTo>
                  <a:lnTo>
                    <a:pt x="136584" y="967385"/>
                  </a:lnTo>
                  <a:close/>
                </a:path>
              </a:pathLst>
            </a:custGeom>
            <a:solidFill>
              <a:srgbClr val="000000"/>
            </a:solidFill>
            <a:ln w="12625"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2AF21AF2-89BE-4F0A-85A2-E5F0FE76AA03}"/>
                </a:ext>
              </a:extLst>
            </p:cNvPr>
            <p:cNvSpPr/>
            <p:nvPr/>
          </p:nvSpPr>
          <p:spPr>
            <a:xfrm>
              <a:off x="10095546" y="3655351"/>
              <a:ext cx="55645" cy="240265"/>
            </a:xfrm>
            <a:custGeom>
              <a:avLst/>
              <a:gdLst>
                <a:gd name="connsiteX0" fmla="*/ 46792 w 55645"/>
                <a:gd name="connsiteY0" fmla="*/ 239001 h 240265"/>
                <a:gd name="connsiteX1" fmla="*/ 46792 w 55645"/>
                <a:gd name="connsiteY1" fmla="*/ 239001 h 240265"/>
                <a:gd name="connsiteX2" fmla="*/ 46792 w 55645"/>
                <a:gd name="connsiteY2" fmla="*/ 240266 h 240265"/>
                <a:gd name="connsiteX3" fmla="*/ 46792 w 55645"/>
                <a:gd name="connsiteY3" fmla="*/ 240266 h 240265"/>
                <a:gd name="connsiteX4" fmla="*/ 48057 w 55645"/>
                <a:gd name="connsiteY4" fmla="*/ 240266 h 240265"/>
                <a:gd name="connsiteX5" fmla="*/ 51851 w 55645"/>
                <a:gd name="connsiteY5" fmla="*/ 240266 h 240265"/>
                <a:gd name="connsiteX6" fmla="*/ 55645 w 55645"/>
                <a:gd name="connsiteY6" fmla="*/ 235208 h 240265"/>
                <a:gd name="connsiteX7" fmla="*/ 55645 w 55645"/>
                <a:gd name="connsiteY7" fmla="*/ 235208 h 240265"/>
                <a:gd name="connsiteX8" fmla="*/ 55645 w 55645"/>
                <a:gd name="connsiteY8" fmla="*/ 232678 h 240265"/>
                <a:gd name="connsiteX9" fmla="*/ 10117 w 55645"/>
                <a:gd name="connsiteY9" fmla="*/ 3794 h 240265"/>
                <a:gd name="connsiteX10" fmla="*/ 8853 w 55645"/>
                <a:gd name="connsiteY10" fmla="*/ 0 h 240265"/>
                <a:gd name="connsiteX11" fmla="*/ 5059 w 55645"/>
                <a:gd name="connsiteY11" fmla="*/ 5058 h 240265"/>
                <a:gd name="connsiteX12" fmla="*/ 0 w 55645"/>
                <a:gd name="connsiteY12" fmla="*/ 1265 h 240265"/>
                <a:gd name="connsiteX13" fmla="*/ 0 w 55645"/>
                <a:gd name="connsiteY13" fmla="*/ 1265 h 240265"/>
                <a:gd name="connsiteX14" fmla="*/ 46792 w 55645"/>
                <a:gd name="connsiteY14" fmla="*/ 239001 h 240265"/>
                <a:gd name="connsiteX15" fmla="*/ 46792 w 55645"/>
                <a:gd name="connsiteY15" fmla="*/ 239001 h 24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645" h="240265">
                  <a:moveTo>
                    <a:pt x="46792" y="239001"/>
                  </a:moveTo>
                  <a:lnTo>
                    <a:pt x="46792" y="239001"/>
                  </a:lnTo>
                  <a:lnTo>
                    <a:pt x="46792" y="240266"/>
                  </a:lnTo>
                  <a:lnTo>
                    <a:pt x="46792" y="240266"/>
                  </a:lnTo>
                  <a:lnTo>
                    <a:pt x="48057" y="240266"/>
                  </a:lnTo>
                  <a:cubicBezTo>
                    <a:pt x="49322" y="240266"/>
                    <a:pt x="50586" y="240266"/>
                    <a:pt x="51851" y="240266"/>
                  </a:cubicBezTo>
                  <a:cubicBezTo>
                    <a:pt x="54380" y="240266"/>
                    <a:pt x="55645" y="237736"/>
                    <a:pt x="55645" y="235208"/>
                  </a:cubicBezTo>
                  <a:cubicBezTo>
                    <a:pt x="55645" y="235208"/>
                    <a:pt x="55645" y="235208"/>
                    <a:pt x="55645" y="235208"/>
                  </a:cubicBezTo>
                  <a:lnTo>
                    <a:pt x="55645" y="232678"/>
                  </a:lnTo>
                  <a:lnTo>
                    <a:pt x="10117" y="3794"/>
                  </a:lnTo>
                  <a:lnTo>
                    <a:pt x="8853" y="0"/>
                  </a:lnTo>
                  <a:cubicBezTo>
                    <a:pt x="8853" y="2529"/>
                    <a:pt x="7588" y="5058"/>
                    <a:pt x="5059" y="5058"/>
                  </a:cubicBezTo>
                  <a:cubicBezTo>
                    <a:pt x="2529" y="5058"/>
                    <a:pt x="0" y="3794"/>
                    <a:pt x="0" y="1265"/>
                  </a:cubicBezTo>
                  <a:cubicBezTo>
                    <a:pt x="0" y="1265"/>
                    <a:pt x="0" y="1265"/>
                    <a:pt x="0" y="1265"/>
                  </a:cubicBezTo>
                  <a:lnTo>
                    <a:pt x="46792" y="239001"/>
                  </a:lnTo>
                  <a:lnTo>
                    <a:pt x="46792" y="239001"/>
                  </a:lnTo>
                  <a:close/>
                </a:path>
              </a:pathLst>
            </a:custGeom>
            <a:solidFill>
              <a:srgbClr val="000000"/>
            </a:solidFill>
            <a:ln w="12625"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0989EBF2-5A3F-4858-8F0F-653FB1282F50}"/>
                </a:ext>
              </a:extLst>
            </p:cNvPr>
            <p:cNvSpPr/>
            <p:nvPr/>
          </p:nvSpPr>
          <p:spPr>
            <a:xfrm>
              <a:off x="9851466" y="2423673"/>
              <a:ext cx="252932" cy="1236735"/>
            </a:xfrm>
            <a:custGeom>
              <a:avLst/>
              <a:gdLst>
                <a:gd name="connsiteX0" fmla="*/ 5059 w 252932"/>
                <a:gd name="connsiteY0" fmla="*/ 1265 h 1236735"/>
                <a:gd name="connsiteX1" fmla="*/ 3794 w 252932"/>
                <a:gd name="connsiteY1" fmla="*/ 1265 h 1236735"/>
                <a:gd name="connsiteX2" fmla="*/ 0 w 252932"/>
                <a:gd name="connsiteY2" fmla="*/ 6323 h 1236735"/>
                <a:gd name="connsiteX3" fmla="*/ 1265 w 252932"/>
                <a:gd name="connsiteY3" fmla="*/ 11381 h 1236735"/>
                <a:gd name="connsiteX4" fmla="*/ 244080 w 252932"/>
                <a:gd name="connsiteY4" fmla="*/ 1232942 h 1236735"/>
                <a:gd name="connsiteX5" fmla="*/ 249138 w 252932"/>
                <a:gd name="connsiteY5" fmla="*/ 1236736 h 1236735"/>
                <a:gd name="connsiteX6" fmla="*/ 249138 w 252932"/>
                <a:gd name="connsiteY6" fmla="*/ 1236736 h 1236735"/>
                <a:gd name="connsiteX7" fmla="*/ 252932 w 252932"/>
                <a:gd name="connsiteY7" fmla="*/ 1231678 h 1236735"/>
                <a:gd name="connsiteX8" fmla="*/ 251668 w 252932"/>
                <a:gd name="connsiteY8" fmla="*/ 1225355 h 1236735"/>
                <a:gd name="connsiteX9" fmla="*/ 8853 w 252932"/>
                <a:gd name="connsiteY9" fmla="*/ 3794 h 1236735"/>
                <a:gd name="connsiteX10" fmla="*/ 8853 w 252932"/>
                <a:gd name="connsiteY10" fmla="*/ 3794 h 1236735"/>
                <a:gd name="connsiteX11" fmla="*/ 8853 w 252932"/>
                <a:gd name="connsiteY11" fmla="*/ 2529 h 1236735"/>
                <a:gd name="connsiteX12" fmla="*/ 8853 w 252932"/>
                <a:gd name="connsiteY12" fmla="*/ 2529 h 1236735"/>
                <a:gd name="connsiteX13" fmla="*/ 8853 w 252932"/>
                <a:gd name="connsiteY13" fmla="*/ 1265 h 1236735"/>
                <a:gd name="connsiteX14" fmla="*/ 8853 w 252932"/>
                <a:gd name="connsiteY14" fmla="*/ 0 h 1236735"/>
                <a:gd name="connsiteX15" fmla="*/ 8853 w 252932"/>
                <a:gd name="connsiteY15" fmla="*/ 0 h 1236735"/>
                <a:gd name="connsiteX16" fmla="*/ 7588 w 252932"/>
                <a:gd name="connsiteY16" fmla="*/ 0 h 1236735"/>
                <a:gd name="connsiteX17" fmla="*/ 6323 w 252932"/>
                <a:gd name="connsiteY17" fmla="*/ 0 h 1236735"/>
                <a:gd name="connsiteX18" fmla="*/ 5059 w 252932"/>
                <a:gd name="connsiteY18" fmla="*/ 1265 h 123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2932" h="1236735">
                  <a:moveTo>
                    <a:pt x="5059" y="1265"/>
                  </a:moveTo>
                  <a:lnTo>
                    <a:pt x="3794" y="1265"/>
                  </a:lnTo>
                  <a:cubicBezTo>
                    <a:pt x="1265" y="2529"/>
                    <a:pt x="0" y="3794"/>
                    <a:pt x="0" y="6323"/>
                  </a:cubicBezTo>
                  <a:lnTo>
                    <a:pt x="1265" y="11381"/>
                  </a:lnTo>
                  <a:lnTo>
                    <a:pt x="244080" y="1232942"/>
                  </a:lnTo>
                  <a:cubicBezTo>
                    <a:pt x="244080" y="1235471"/>
                    <a:pt x="246609" y="1236736"/>
                    <a:pt x="249138" y="1236736"/>
                  </a:cubicBezTo>
                  <a:cubicBezTo>
                    <a:pt x="249138" y="1236736"/>
                    <a:pt x="249138" y="1236736"/>
                    <a:pt x="249138" y="1236736"/>
                  </a:cubicBezTo>
                  <a:cubicBezTo>
                    <a:pt x="251668" y="1236736"/>
                    <a:pt x="252932" y="1234207"/>
                    <a:pt x="252932" y="1231678"/>
                  </a:cubicBezTo>
                  <a:lnTo>
                    <a:pt x="251668" y="1225355"/>
                  </a:lnTo>
                  <a:lnTo>
                    <a:pt x="8853" y="3794"/>
                  </a:lnTo>
                  <a:lnTo>
                    <a:pt x="8853" y="3794"/>
                  </a:lnTo>
                  <a:cubicBezTo>
                    <a:pt x="8853" y="3794"/>
                    <a:pt x="8853" y="3794"/>
                    <a:pt x="8853" y="2529"/>
                  </a:cubicBezTo>
                  <a:lnTo>
                    <a:pt x="8853" y="2529"/>
                  </a:lnTo>
                  <a:lnTo>
                    <a:pt x="8853" y="1265"/>
                  </a:lnTo>
                  <a:lnTo>
                    <a:pt x="8853" y="0"/>
                  </a:lnTo>
                  <a:lnTo>
                    <a:pt x="8853" y="0"/>
                  </a:lnTo>
                  <a:lnTo>
                    <a:pt x="7588" y="0"/>
                  </a:lnTo>
                  <a:lnTo>
                    <a:pt x="6323" y="0"/>
                  </a:lnTo>
                  <a:lnTo>
                    <a:pt x="5059" y="1265"/>
                  </a:lnTo>
                  <a:close/>
                </a:path>
              </a:pathLst>
            </a:custGeom>
            <a:solidFill>
              <a:srgbClr val="000000"/>
            </a:solidFill>
            <a:ln w="12625"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1C962A37-D4A3-4102-890C-04AE3F4981BD}"/>
                </a:ext>
              </a:extLst>
            </p:cNvPr>
            <p:cNvSpPr/>
            <p:nvPr/>
          </p:nvSpPr>
          <p:spPr>
            <a:xfrm>
              <a:off x="11563818" y="3110327"/>
              <a:ext cx="113819" cy="55324"/>
            </a:xfrm>
            <a:custGeom>
              <a:avLst/>
              <a:gdLst>
                <a:gd name="connsiteX0" fmla="*/ 107496 w 113819"/>
                <a:gd name="connsiteY0" fmla="*/ 6323 h 55324"/>
                <a:gd name="connsiteX1" fmla="*/ 110026 w 113819"/>
                <a:gd name="connsiteY1" fmla="*/ 0 h 55324"/>
                <a:gd name="connsiteX2" fmla="*/ 106232 w 113819"/>
                <a:gd name="connsiteY2" fmla="*/ 1265 h 55324"/>
                <a:gd name="connsiteX3" fmla="*/ 1265 w 113819"/>
                <a:gd name="connsiteY3" fmla="*/ 48053 h 55324"/>
                <a:gd name="connsiteX4" fmla="*/ 1265 w 113819"/>
                <a:gd name="connsiteY4" fmla="*/ 48053 h 55324"/>
                <a:gd name="connsiteX5" fmla="*/ 1265 w 113819"/>
                <a:gd name="connsiteY5" fmla="*/ 48053 h 55324"/>
                <a:gd name="connsiteX6" fmla="*/ 0 w 113819"/>
                <a:gd name="connsiteY6" fmla="*/ 49318 h 55324"/>
                <a:gd name="connsiteX7" fmla="*/ 0 w 113819"/>
                <a:gd name="connsiteY7" fmla="*/ 49318 h 55324"/>
                <a:gd name="connsiteX8" fmla="*/ 0 w 113819"/>
                <a:gd name="connsiteY8" fmla="*/ 49318 h 55324"/>
                <a:gd name="connsiteX9" fmla="*/ 0 w 113819"/>
                <a:gd name="connsiteY9" fmla="*/ 50582 h 55324"/>
                <a:gd name="connsiteX10" fmla="*/ 0 w 113819"/>
                <a:gd name="connsiteY10" fmla="*/ 50582 h 55324"/>
                <a:gd name="connsiteX11" fmla="*/ 0 w 113819"/>
                <a:gd name="connsiteY11" fmla="*/ 51847 h 55324"/>
                <a:gd name="connsiteX12" fmla="*/ 0 w 113819"/>
                <a:gd name="connsiteY12" fmla="*/ 51847 h 55324"/>
                <a:gd name="connsiteX13" fmla="*/ 0 w 113819"/>
                <a:gd name="connsiteY13" fmla="*/ 51847 h 55324"/>
                <a:gd name="connsiteX14" fmla="*/ 0 w 113819"/>
                <a:gd name="connsiteY14" fmla="*/ 51847 h 55324"/>
                <a:gd name="connsiteX15" fmla="*/ 0 w 113819"/>
                <a:gd name="connsiteY15" fmla="*/ 51847 h 55324"/>
                <a:gd name="connsiteX16" fmla="*/ 0 w 113819"/>
                <a:gd name="connsiteY16" fmla="*/ 53111 h 55324"/>
                <a:gd name="connsiteX17" fmla="*/ 0 w 113819"/>
                <a:gd name="connsiteY17" fmla="*/ 53111 h 55324"/>
                <a:gd name="connsiteX18" fmla="*/ 0 w 113819"/>
                <a:gd name="connsiteY18" fmla="*/ 53111 h 55324"/>
                <a:gd name="connsiteX19" fmla="*/ 1265 w 113819"/>
                <a:gd name="connsiteY19" fmla="*/ 54376 h 55324"/>
                <a:gd name="connsiteX20" fmla="*/ 2529 w 113819"/>
                <a:gd name="connsiteY20" fmla="*/ 54376 h 55324"/>
                <a:gd name="connsiteX21" fmla="*/ 6323 w 113819"/>
                <a:gd name="connsiteY21" fmla="*/ 54376 h 55324"/>
                <a:gd name="connsiteX22" fmla="*/ 16441 w 113819"/>
                <a:gd name="connsiteY22" fmla="*/ 50582 h 55324"/>
                <a:gd name="connsiteX23" fmla="*/ 113820 w 113819"/>
                <a:gd name="connsiteY23" fmla="*/ 7587 h 55324"/>
                <a:gd name="connsiteX24" fmla="*/ 107496 w 113819"/>
                <a:gd name="connsiteY24" fmla="*/ 6323 h 55324"/>
                <a:gd name="connsiteX25" fmla="*/ 107496 w 113819"/>
                <a:gd name="connsiteY25" fmla="*/ 6323 h 5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819" h="55324">
                  <a:moveTo>
                    <a:pt x="107496" y="6323"/>
                  </a:moveTo>
                  <a:cubicBezTo>
                    <a:pt x="106232" y="3794"/>
                    <a:pt x="107496" y="1265"/>
                    <a:pt x="110026" y="0"/>
                  </a:cubicBezTo>
                  <a:lnTo>
                    <a:pt x="106232" y="1265"/>
                  </a:lnTo>
                  <a:lnTo>
                    <a:pt x="1265" y="48053"/>
                  </a:lnTo>
                  <a:lnTo>
                    <a:pt x="1265" y="48053"/>
                  </a:lnTo>
                  <a:lnTo>
                    <a:pt x="1265" y="48053"/>
                  </a:lnTo>
                  <a:lnTo>
                    <a:pt x="0" y="49318"/>
                  </a:lnTo>
                  <a:lnTo>
                    <a:pt x="0" y="49318"/>
                  </a:lnTo>
                  <a:lnTo>
                    <a:pt x="0" y="49318"/>
                  </a:lnTo>
                  <a:lnTo>
                    <a:pt x="0" y="50582"/>
                  </a:lnTo>
                  <a:lnTo>
                    <a:pt x="0" y="50582"/>
                  </a:lnTo>
                  <a:cubicBezTo>
                    <a:pt x="0" y="50582"/>
                    <a:pt x="0" y="50582"/>
                    <a:pt x="0" y="51847"/>
                  </a:cubicBezTo>
                  <a:lnTo>
                    <a:pt x="0" y="51847"/>
                  </a:lnTo>
                  <a:lnTo>
                    <a:pt x="0" y="51847"/>
                  </a:lnTo>
                  <a:lnTo>
                    <a:pt x="0" y="51847"/>
                  </a:lnTo>
                  <a:lnTo>
                    <a:pt x="0" y="51847"/>
                  </a:lnTo>
                  <a:cubicBezTo>
                    <a:pt x="0" y="51847"/>
                    <a:pt x="0" y="53111"/>
                    <a:pt x="0" y="53111"/>
                  </a:cubicBezTo>
                  <a:lnTo>
                    <a:pt x="0" y="53111"/>
                  </a:lnTo>
                  <a:lnTo>
                    <a:pt x="0" y="53111"/>
                  </a:lnTo>
                  <a:cubicBezTo>
                    <a:pt x="0" y="53111"/>
                    <a:pt x="0" y="54376"/>
                    <a:pt x="1265" y="54376"/>
                  </a:cubicBezTo>
                  <a:lnTo>
                    <a:pt x="2529" y="54376"/>
                  </a:lnTo>
                  <a:cubicBezTo>
                    <a:pt x="3794" y="55640"/>
                    <a:pt x="5059" y="55640"/>
                    <a:pt x="6323" y="54376"/>
                  </a:cubicBezTo>
                  <a:lnTo>
                    <a:pt x="16441" y="50582"/>
                  </a:lnTo>
                  <a:lnTo>
                    <a:pt x="113820" y="7587"/>
                  </a:lnTo>
                  <a:cubicBezTo>
                    <a:pt x="113820" y="6323"/>
                    <a:pt x="111290" y="7587"/>
                    <a:pt x="107496" y="6323"/>
                  </a:cubicBezTo>
                  <a:cubicBezTo>
                    <a:pt x="108761" y="6323"/>
                    <a:pt x="108761" y="6323"/>
                    <a:pt x="107496" y="6323"/>
                  </a:cubicBezTo>
                  <a:close/>
                </a:path>
              </a:pathLst>
            </a:custGeom>
            <a:solidFill>
              <a:srgbClr val="000000"/>
            </a:solidFill>
            <a:ln w="12625"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C9DE3110-44B5-48E7-80C8-C56215F13904}"/>
                </a:ext>
              </a:extLst>
            </p:cNvPr>
            <p:cNvSpPr/>
            <p:nvPr/>
          </p:nvSpPr>
          <p:spPr>
            <a:xfrm>
              <a:off x="11610611" y="3317714"/>
              <a:ext cx="346517" cy="165656"/>
            </a:xfrm>
            <a:custGeom>
              <a:avLst/>
              <a:gdLst>
                <a:gd name="connsiteX0" fmla="*/ 346517 w 346517"/>
                <a:gd name="connsiteY0" fmla="*/ 5058 h 165656"/>
                <a:gd name="connsiteX1" fmla="*/ 346517 w 346517"/>
                <a:gd name="connsiteY1" fmla="*/ 5058 h 165656"/>
                <a:gd name="connsiteX2" fmla="*/ 346517 w 346517"/>
                <a:gd name="connsiteY2" fmla="*/ 5058 h 165656"/>
                <a:gd name="connsiteX3" fmla="*/ 346517 w 346517"/>
                <a:gd name="connsiteY3" fmla="*/ 5058 h 165656"/>
                <a:gd name="connsiteX4" fmla="*/ 346517 w 346517"/>
                <a:gd name="connsiteY4" fmla="*/ 5058 h 165656"/>
                <a:gd name="connsiteX5" fmla="*/ 346517 w 346517"/>
                <a:gd name="connsiteY5" fmla="*/ 2529 h 165656"/>
                <a:gd name="connsiteX6" fmla="*/ 345253 w 346517"/>
                <a:gd name="connsiteY6" fmla="*/ 2529 h 165656"/>
                <a:gd name="connsiteX7" fmla="*/ 341459 w 346517"/>
                <a:gd name="connsiteY7" fmla="*/ 0 h 165656"/>
                <a:gd name="connsiteX8" fmla="*/ 331341 w 346517"/>
                <a:gd name="connsiteY8" fmla="*/ 5058 h 165656"/>
                <a:gd name="connsiteX9" fmla="*/ 5059 w 346517"/>
                <a:gd name="connsiteY9" fmla="*/ 154276 h 165656"/>
                <a:gd name="connsiteX10" fmla="*/ 0 w 346517"/>
                <a:gd name="connsiteY10" fmla="*/ 156805 h 165656"/>
                <a:gd name="connsiteX11" fmla="*/ 6323 w 346517"/>
                <a:gd name="connsiteY11" fmla="*/ 159334 h 165656"/>
                <a:gd name="connsiteX12" fmla="*/ 6323 w 346517"/>
                <a:gd name="connsiteY12" fmla="*/ 159334 h 165656"/>
                <a:gd name="connsiteX13" fmla="*/ 3794 w 346517"/>
                <a:gd name="connsiteY13" fmla="*/ 165657 h 165656"/>
                <a:gd name="connsiteX14" fmla="*/ 343988 w 346517"/>
                <a:gd name="connsiteY14" fmla="*/ 8852 h 165656"/>
                <a:gd name="connsiteX15" fmla="*/ 343988 w 346517"/>
                <a:gd name="connsiteY15" fmla="*/ 8852 h 165656"/>
                <a:gd name="connsiteX16" fmla="*/ 343988 w 346517"/>
                <a:gd name="connsiteY16" fmla="*/ 8852 h 165656"/>
                <a:gd name="connsiteX17" fmla="*/ 345253 w 346517"/>
                <a:gd name="connsiteY17" fmla="*/ 7587 h 165656"/>
                <a:gd name="connsiteX18" fmla="*/ 345253 w 346517"/>
                <a:gd name="connsiteY18" fmla="*/ 6323 h 165656"/>
                <a:gd name="connsiteX19" fmla="*/ 345253 w 346517"/>
                <a:gd name="connsiteY19" fmla="*/ 5058 h 16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6517" h="165656">
                  <a:moveTo>
                    <a:pt x="346517" y="5058"/>
                  </a:moveTo>
                  <a:lnTo>
                    <a:pt x="346517" y="5058"/>
                  </a:lnTo>
                  <a:cubicBezTo>
                    <a:pt x="346517" y="5058"/>
                    <a:pt x="346517" y="5058"/>
                    <a:pt x="346517" y="5058"/>
                  </a:cubicBezTo>
                  <a:lnTo>
                    <a:pt x="346517" y="5058"/>
                  </a:lnTo>
                  <a:lnTo>
                    <a:pt x="346517" y="5058"/>
                  </a:lnTo>
                  <a:lnTo>
                    <a:pt x="346517" y="2529"/>
                  </a:lnTo>
                  <a:lnTo>
                    <a:pt x="345253" y="2529"/>
                  </a:lnTo>
                  <a:cubicBezTo>
                    <a:pt x="343988" y="1265"/>
                    <a:pt x="342723" y="0"/>
                    <a:pt x="341459" y="0"/>
                  </a:cubicBezTo>
                  <a:lnTo>
                    <a:pt x="331341" y="5058"/>
                  </a:lnTo>
                  <a:lnTo>
                    <a:pt x="5059" y="154276"/>
                  </a:lnTo>
                  <a:lnTo>
                    <a:pt x="0" y="156805"/>
                  </a:lnTo>
                  <a:cubicBezTo>
                    <a:pt x="2529" y="155541"/>
                    <a:pt x="5059" y="156805"/>
                    <a:pt x="6323" y="159334"/>
                  </a:cubicBezTo>
                  <a:cubicBezTo>
                    <a:pt x="6323" y="159334"/>
                    <a:pt x="6323" y="159334"/>
                    <a:pt x="6323" y="159334"/>
                  </a:cubicBezTo>
                  <a:cubicBezTo>
                    <a:pt x="7588" y="161863"/>
                    <a:pt x="6323" y="164392"/>
                    <a:pt x="3794" y="165657"/>
                  </a:cubicBezTo>
                  <a:lnTo>
                    <a:pt x="343988" y="8852"/>
                  </a:lnTo>
                  <a:lnTo>
                    <a:pt x="343988" y="8852"/>
                  </a:lnTo>
                  <a:lnTo>
                    <a:pt x="343988" y="8852"/>
                  </a:lnTo>
                  <a:cubicBezTo>
                    <a:pt x="343988" y="8852"/>
                    <a:pt x="343988" y="8852"/>
                    <a:pt x="345253" y="7587"/>
                  </a:cubicBezTo>
                  <a:cubicBezTo>
                    <a:pt x="345253" y="7587"/>
                    <a:pt x="345253" y="7587"/>
                    <a:pt x="345253" y="6323"/>
                  </a:cubicBezTo>
                  <a:cubicBezTo>
                    <a:pt x="345253" y="6323"/>
                    <a:pt x="345253" y="6323"/>
                    <a:pt x="345253" y="5058"/>
                  </a:cubicBezTo>
                </a:path>
              </a:pathLst>
            </a:custGeom>
            <a:solidFill>
              <a:srgbClr val="000000"/>
            </a:solidFill>
            <a:ln w="12625"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6C09D723-459C-4BDA-AB23-F27EC65205C3}"/>
                </a:ext>
              </a:extLst>
            </p:cNvPr>
            <p:cNvSpPr/>
            <p:nvPr/>
          </p:nvSpPr>
          <p:spPr>
            <a:xfrm>
              <a:off x="11408265" y="3570063"/>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lnTo>
                    <a:pt x="0" y="562"/>
                  </a:lnTo>
                  <a:cubicBezTo>
                    <a:pt x="0" y="-703"/>
                    <a:pt x="0" y="562"/>
                    <a:pt x="0" y="562"/>
                  </a:cubicBezTo>
                  <a:close/>
                </a:path>
              </a:pathLst>
            </a:custGeom>
            <a:solidFill>
              <a:srgbClr val="000000"/>
            </a:solidFill>
            <a:ln w="12625"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2AA5DBA1-C2D1-48FD-A0B7-B1A7D3F1A9D0}"/>
                </a:ext>
              </a:extLst>
            </p:cNvPr>
            <p:cNvSpPr/>
            <p:nvPr/>
          </p:nvSpPr>
          <p:spPr>
            <a:xfrm>
              <a:off x="11409529" y="3568412"/>
              <a:ext cx="562" cy="948"/>
            </a:xfrm>
            <a:custGeom>
              <a:avLst/>
              <a:gdLst>
                <a:gd name="connsiteX0" fmla="*/ 0 w 562"/>
                <a:gd name="connsiteY0" fmla="*/ 948 h 948"/>
                <a:gd name="connsiteX1" fmla="*/ 0 w 562"/>
                <a:gd name="connsiteY1" fmla="*/ 948 h 948"/>
                <a:gd name="connsiteX2" fmla="*/ 0 w 562"/>
                <a:gd name="connsiteY2" fmla="*/ 948 h 948"/>
                <a:gd name="connsiteX3" fmla="*/ 0 w 562"/>
                <a:gd name="connsiteY3" fmla="*/ 948 h 948"/>
              </a:gdLst>
              <a:ahLst/>
              <a:cxnLst>
                <a:cxn ang="0">
                  <a:pos x="connsiteX0" y="connsiteY0"/>
                </a:cxn>
                <a:cxn ang="0">
                  <a:pos x="connsiteX1" y="connsiteY1"/>
                </a:cxn>
                <a:cxn ang="0">
                  <a:pos x="connsiteX2" y="connsiteY2"/>
                </a:cxn>
                <a:cxn ang="0">
                  <a:pos x="connsiteX3" y="connsiteY3"/>
                </a:cxn>
              </a:cxnLst>
              <a:rect l="l" t="t" r="r" b="b"/>
              <a:pathLst>
                <a:path w="562" h="948">
                  <a:moveTo>
                    <a:pt x="0" y="948"/>
                  </a:moveTo>
                  <a:lnTo>
                    <a:pt x="0" y="948"/>
                  </a:lnTo>
                  <a:cubicBezTo>
                    <a:pt x="0" y="-316"/>
                    <a:pt x="1265" y="-316"/>
                    <a:pt x="0" y="948"/>
                  </a:cubicBezTo>
                  <a:lnTo>
                    <a:pt x="0" y="948"/>
                  </a:lnTo>
                  <a:close/>
                </a:path>
              </a:pathLst>
            </a:custGeom>
            <a:solidFill>
              <a:srgbClr val="000000"/>
            </a:solidFill>
            <a:ln w="12625"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5D9AC445-EBA0-497C-9BDF-93C17C37A1FA}"/>
                </a:ext>
              </a:extLst>
            </p:cNvPr>
            <p:cNvSpPr/>
            <p:nvPr/>
          </p:nvSpPr>
          <p:spPr>
            <a:xfrm>
              <a:off x="11408265" y="3571890"/>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6025221B-6F47-4619-9C3B-FF6DA1EF441C}"/>
                </a:ext>
              </a:extLst>
            </p:cNvPr>
            <p:cNvSpPr/>
            <p:nvPr/>
          </p:nvSpPr>
          <p:spPr>
            <a:xfrm>
              <a:off x="11412059" y="3475287"/>
              <a:ext cx="206139" cy="100395"/>
            </a:xfrm>
            <a:custGeom>
              <a:avLst/>
              <a:gdLst>
                <a:gd name="connsiteX0" fmla="*/ 206140 w 206139"/>
                <a:gd name="connsiteY0" fmla="*/ 3025 h 100395"/>
                <a:gd name="connsiteX1" fmla="*/ 199817 w 206139"/>
                <a:gd name="connsiteY1" fmla="*/ 496 h 100395"/>
                <a:gd name="connsiteX2" fmla="*/ 199817 w 206139"/>
                <a:gd name="connsiteY2" fmla="*/ 496 h 100395"/>
                <a:gd name="connsiteX3" fmla="*/ 197287 w 206139"/>
                <a:gd name="connsiteY3" fmla="*/ 1761 h 100395"/>
                <a:gd name="connsiteX4" fmla="*/ 0 w 206139"/>
                <a:gd name="connsiteY4" fmla="*/ 92809 h 100395"/>
                <a:gd name="connsiteX5" fmla="*/ 0 w 206139"/>
                <a:gd name="connsiteY5" fmla="*/ 92809 h 100395"/>
                <a:gd name="connsiteX6" fmla="*/ 1265 w 206139"/>
                <a:gd name="connsiteY6" fmla="*/ 92809 h 100395"/>
                <a:gd name="connsiteX7" fmla="*/ 6323 w 206139"/>
                <a:gd name="connsiteY7" fmla="*/ 96602 h 100395"/>
                <a:gd name="connsiteX8" fmla="*/ 6323 w 206139"/>
                <a:gd name="connsiteY8" fmla="*/ 100396 h 100395"/>
                <a:gd name="connsiteX9" fmla="*/ 12647 w 206139"/>
                <a:gd name="connsiteY9" fmla="*/ 97867 h 100395"/>
                <a:gd name="connsiteX10" fmla="*/ 203611 w 206139"/>
                <a:gd name="connsiteY10" fmla="*/ 9348 h 100395"/>
                <a:gd name="connsiteX11" fmla="*/ 206140 w 206139"/>
                <a:gd name="connsiteY11" fmla="*/ 3025 h 10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139" h="100395">
                  <a:moveTo>
                    <a:pt x="206140" y="3025"/>
                  </a:moveTo>
                  <a:cubicBezTo>
                    <a:pt x="204875" y="496"/>
                    <a:pt x="202346" y="-769"/>
                    <a:pt x="199817" y="496"/>
                  </a:cubicBezTo>
                  <a:cubicBezTo>
                    <a:pt x="199817" y="496"/>
                    <a:pt x="199817" y="496"/>
                    <a:pt x="199817" y="496"/>
                  </a:cubicBezTo>
                  <a:lnTo>
                    <a:pt x="197287" y="1761"/>
                  </a:lnTo>
                  <a:lnTo>
                    <a:pt x="0" y="92809"/>
                  </a:lnTo>
                  <a:lnTo>
                    <a:pt x="0" y="92809"/>
                  </a:lnTo>
                  <a:cubicBezTo>
                    <a:pt x="0" y="92809"/>
                    <a:pt x="1265" y="92809"/>
                    <a:pt x="1265" y="92809"/>
                  </a:cubicBezTo>
                  <a:cubicBezTo>
                    <a:pt x="3794" y="92809"/>
                    <a:pt x="6323" y="94073"/>
                    <a:pt x="6323" y="96602"/>
                  </a:cubicBezTo>
                  <a:lnTo>
                    <a:pt x="6323" y="100396"/>
                  </a:lnTo>
                  <a:lnTo>
                    <a:pt x="12647" y="97867"/>
                  </a:lnTo>
                  <a:lnTo>
                    <a:pt x="203611" y="9348"/>
                  </a:lnTo>
                  <a:cubicBezTo>
                    <a:pt x="204875" y="8084"/>
                    <a:pt x="206140" y="5554"/>
                    <a:pt x="206140" y="3025"/>
                  </a:cubicBezTo>
                  <a:close/>
                </a:path>
              </a:pathLst>
            </a:custGeom>
            <a:solidFill>
              <a:srgbClr val="000000"/>
            </a:solidFill>
            <a:ln w="12625"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19460C3C-C890-4A17-ADE5-3E3A7448260C}"/>
                </a:ext>
              </a:extLst>
            </p:cNvPr>
            <p:cNvSpPr/>
            <p:nvPr/>
          </p:nvSpPr>
          <p:spPr>
            <a:xfrm>
              <a:off x="11952998" y="1398118"/>
              <a:ext cx="265915" cy="83460"/>
            </a:xfrm>
            <a:custGeom>
              <a:avLst/>
              <a:gdLst>
                <a:gd name="connsiteX0" fmla="*/ 5395 w 265915"/>
                <a:gd name="connsiteY0" fmla="*/ 0 h 83460"/>
                <a:gd name="connsiteX1" fmla="*/ 4130 w 265915"/>
                <a:gd name="connsiteY1" fmla="*/ 0 h 83460"/>
                <a:gd name="connsiteX2" fmla="*/ 336 w 265915"/>
                <a:gd name="connsiteY2" fmla="*/ 3794 h 83460"/>
                <a:gd name="connsiteX3" fmla="*/ 4130 w 265915"/>
                <a:gd name="connsiteY3" fmla="*/ 8852 h 83460"/>
                <a:gd name="connsiteX4" fmla="*/ 5395 w 265915"/>
                <a:gd name="connsiteY4" fmla="*/ 8852 h 83460"/>
                <a:gd name="connsiteX5" fmla="*/ 265915 w 265915"/>
                <a:gd name="connsiteY5" fmla="*/ 83461 h 83460"/>
                <a:gd name="connsiteX6" fmla="*/ 265915 w 265915"/>
                <a:gd name="connsiteY6" fmla="*/ 74609 h 83460"/>
                <a:gd name="connsiteX7" fmla="*/ 5395 w 265915"/>
                <a:gd name="connsiteY7" fmla="*/ 0 h 83460"/>
                <a:gd name="connsiteX8" fmla="*/ 5395 w 265915"/>
                <a:gd name="connsiteY8" fmla="*/ 0 h 8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15" h="83460">
                  <a:moveTo>
                    <a:pt x="5395" y="0"/>
                  </a:moveTo>
                  <a:lnTo>
                    <a:pt x="4130" y="0"/>
                  </a:lnTo>
                  <a:cubicBezTo>
                    <a:pt x="2866" y="0"/>
                    <a:pt x="1601" y="1265"/>
                    <a:pt x="336" y="3794"/>
                  </a:cubicBezTo>
                  <a:cubicBezTo>
                    <a:pt x="-928" y="6323"/>
                    <a:pt x="1601" y="8852"/>
                    <a:pt x="4130" y="8852"/>
                  </a:cubicBezTo>
                  <a:lnTo>
                    <a:pt x="5395" y="8852"/>
                  </a:lnTo>
                  <a:lnTo>
                    <a:pt x="265915" y="83461"/>
                  </a:lnTo>
                  <a:lnTo>
                    <a:pt x="265915" y="74609"/>
                  </a:lnTo>
                  <a:lnTo>
                    <a:pt x="5395" y="0"/>
                  </a:lnTo>
                  <a:lnTo>
                    <a:pt x="5395" y="0"/>
                  </a:lnTo>
                  <a:close/>
                </a:path>
              </a:pathLst>
            </a:custGeom>
            <a:solidFill>
              <a:srgbClr val="000000"/>
            </a:solidFill>
            <a:ln w="12625"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6F1547BD-4969-43CA-A93E-BAE41DDDAAE5}"/>
                </a:ext>
              </a:extLst>
            </p:cNvPr>
            <p:cNvSpPr/>
            <p:nvPr/>
          </p:nvSpPr>
          <p:spPr>
            <a:xfrm>
              <a:off x="11649815" y="1922909"/>
              <a:ext cx="12646" cy="27820"/>
            </a:xfrm>
            <a:custGeom>
              <a:avLst/>
              <a:gdLst>
                <a:gd name="connsiteX0" fmla="*/ 5059 w 12646"/>
                <a:gd name="connsiteY0" fmla="*/ 3794 h 27820"/>
                <a:gd name="connsiteX1" fmla="*/ 0 w 12646"/>
                <a:gd name="connsiteY1" fmla="*/ 0 h 27820"/>
                <a:gd name="connsiteX2" fmla="*/ 0 w 12646"/>
                <a:gd name="connsiteY2" fmla="*/ 0 h 27820"/>
                <a:gd name="connsiteX3" fmla="*/ 1265 w 12646"/>
                <a:gd name="connsiteY3" fmla="*/ 6323 h 27820"/>
                <a:gd name="connsiteX4" fmla="*/ 3794 w 12646"/>
                <a:gd name="connsiteY4" fmla="*/ 24026 h 27820"/>
                <a:gd name="connsiteX5" fmla="*/ 8853 w 12646"/>
                <a:gd name="connsiteY5" fmla="*/ 27820 h 27820"/>
                <a:gd name="connsiteX6" fmla="*/ 12647 w 12646"/>
                <a:gd name="connsiteY6" fmla="*/ 25291 h 27820"/>
                <a:gd name="connsiteX7" fmla="*/ 12647 w 12646"/>
                <a:gd name="connsiteY7" fmla="*/ 22762 h 27820"/>
                <a:gd name="connsiteX8" fmla="*/ 10117 w 12646"/>
                <a:gd name="connsiteY8" fmla="*/ 0 h 27820"/>
                <a:gd name="connsiteX9" fmla="*/ 5059 w 12646"/>
                <a:gd name="connsiteY9" fmla="*/ 3794 h 2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46" h="27820">
                  <a:moveTo>
                    <a:pt x="5059" y="3794"/>
                  </a:moveTo>
                  <a:cubicBezTo>
                    <a:pt x="2529" y="3794"/>
                    <a:pt x="0" y="2529"/>
                    <a:pt x="0" y="0"/>
                  </a:cubicBezTo>
                  <a:cubicBezTo>
                    <a:pt x="0" y="0"/>
                    <a:pt x="0" y="0"/>
                    <a:pt x="0" y="0"/>
                  </a:cubicBezTo>
                  <a:lnTo>
                    <a:pt x="1265" y="6323"/>
                  </a:lnTo>
                  <a:lnTo>
                    <a:pt x="3794" y="24026"/>
                  </a:lnTo>
                  <a:cubicBezTo>
                    <a:pt x="3794" y="26556"/>
                    <a:pt x="6323" y="27820"/>
                    <a:pt x="8853" y="27820"/>
                  </a:cubicBezTo>
                  <a:cubicBezTo>
                    <a:pt x="10117" y="27820"/>
                    <a:pt x="12647" y="26556"/>
                    <a:pt x="12647" y="25291"/>
                  </a:cubicBezTo>
                  <a:cubicBezTo>
                    <a:pt x="12647" y="24026"/>
                    <a:pt x="12647" y="24026"/>
                    <a:pt x="12647" y="22762"/>
                  </a:cubicBezTo>
                  <a:lnTo>
                    <a:pt x="10117" y="0"/>
                  </a:lnTo>
                  <a:cubicBezTo>
                    <a:pt x="8853" y="1264"/>
                    <a:pt x="7588" y="3794"/>
                    <a:pt x="5059" y="3794"/>
                  </a:cubicBezTo>
                  <a:close/>
                </a:path>
              </a:pathLst>
            </a:custGeom>
            <a:solidFill>
              <a:srgbClr val="000000"/>
            </a:solidFill>
            <a:ln w="12625"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8ED1C21B-AE7E-430A-A628-7803D0DBBBB2}"/>
                </a:ext>
              </a:extLst>
            </p:cNvPr>
            <p:cNvSpPr/>
            <p:nvPr/>
          </p:nvSpPr>
          <p:spPr>
            <a:xfrm>
              <a:off x="11599229" y="1527103"/>
              <a:ext cx="59439" cy="399599"/>
            </a:xfrm>
            <a:custGeom>
              <a:avLst/>
              <a:gdLst>
                <a:gd name="connsiteX0" fmla="*/ 55645 w 59439"/>
                <a:gd name="connsiteY0" fmla="*/ 399600 h 399599"/>
                <a:gd name="connsiteX1" fmla="*/ 59439 w 59439"/>
                <a:gd name="connsiteY1" fmla="*/ 394541 h 399599"/>
                <a:gd name="connsiteX2" fmla="*/ 59439 w 59439"/>
                <a:gd name="connsiteY2" fmla="*/ 394541 h 399599"/>
                <a:gd name="connsiteX3" fmla="*/ 59439 w 59439"/>
                <a:gd name="connsiteY3" fmla="*/ 394541 h 399599"/>
                <a:gd name="connsiteX4" fmla="*/ 8853 w 59439"/>
                <a:gd name="connsiteY4" fmla="*/ 11381 h 399599"/>
                <a:gd name="connsiteX5" fmla="*/ 7588 w 59439"/>
                <a:gd name="connsiteY5" fmla="*/ 3794 h 399599"/>
                <a:gd name="connsiteX6" fmla="*/ 3794 w 59439"/>
                <a:gd name="connsiteY6" fmla="*/ 0 h 399599"/>
                <a:gd name="connsiteX7" fmla="*/ 2529 w 59439"/>
                <a:gd name="connsiteY7" fmla="*/ 0 h 399599"/>
                <a:gd name="connsiteX8" fmla="*/ 2529 w 59439"/>
                <a:gd name="connsiteY8" fmla="*/ 0 h 399599"/>
                <a:gd name="connsiteX9" fmla="*/ 1265 w 59439"/>
                <a:gd name="connsiteY9" fmla="*/ 0 h 399599"/>
                <a:gd name="connsiteX10" fmla="*/ 1265 w 59439"/>
                <a:gd name="connsiteY10" fmla="*/ 0 h 399599"/>
                <a:gd name="connsiteX11" fmla="*/ 1265 w 59439"/>
                <a:gd name="connsiteY11" fmla="*/ 0 h 399599"/>
                <a:gd name="connsiteX12" fmla="*/ 0 w 59439"/>
                <a:gd name="connsiteY12" fmla="*/ 1265 h 399599"/>
                <a:gd name="connsiteX13" fmla="*/ 0 w 59439"/>
                <a:gd name="connsiteY13" fmla="*/ 1265 h 399599"/>
                <a:gd name="connsiteX14" fmla="*/ 0 w 59439"/>
                <a:gd name="connsiteY14" fmla="*/ 1265 h 399599"/>
                <a:gd name="connsiteX15" fmla="*/ 0 w 59439"/>
                <a:gd name="connsiteY15" fmla="*/ 2529 h 399599"/>
                <a:gd name="connsiteX16" fmla="*/ 0 w 59439"/>
                <a:gd name="connsiteY16" fmla="*/ 2529 h 399599"/>
                <a:gd name="connsiteX17" fmla="*/ 0 w 59439"/>
                <a:gd name="connsiteY17" fmla="*/ 2529 h 399599"/>
                <a:gd name="connsiteX18" fmla="*/ 0 w 59439"/>
                <a:gd name="connsiteY18" fmla="*/ 3794 h 399599"/>
                <a:gd name="connsiteX19" fmla="*/ 0 w 59439"/>
                <a:gd name="connsiteY19" fmla="*/ 3794 h 399599"/>
                <a:gd name="connsiteX20" fmla="*/ 51851 w 59439"/>
                <a:gd name="connsiteY20" fmla="*/ 389483 h 399599"/>
                <a:gd name="connsiteX21" fmla="*/ 51851 w 59439"/>
                <a:gd name="connsiteY21" fmla="*/ 393277 h 399599"/>
                <a:gd name="connsiteX22" fmla="*/ 55645 w 59439"/>
                <a:gd name="connsiteY22" fmla="*/ 399600 h 399599"/>
                <a:gd name="connsiteX23" fmla="*/ 55645 w 59439"/>
                <a:gd name="connsiteY23" fmla="*/ 399600 h 39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39" h="399599">
                  <a:moveTo>
                    <a:pt x="55645" y="399600"/>
                  </a:moveTo>
                  <a:cubicBezTo>
                    <a:pt x="58175" y="399600"/>
                    <a:pt x="59439" y="397071"/>
                    <a:pt x="59439" y="394541"/>
                  </a:cubicBezTo>
                  <a:cubicBezTo>
                    <a:pt x="59439" y="394541"/>
                    <a:pt x="59439" y="394541"/>
                    <a:pt x="59439" y="394541"/>
                  </a:cubicBezTo>
                  <a:lnTo>
                    <a:pt x="59439" y="394541"/>
                  </a:lnTo>
                  <a:lnTo>
                    <a:pt x="8853" y="11381"/>
                  </a:lnTo>
                  <a:lnTo>
                    <a:pt x="7588" y="3794"/>
                  </a:lnTo>
                  <a:cubicBezTo>
                    <a:pt x="7588" y="2529"/>
                    <a:pt x="6323" y="0"/>
                    <a:pt x="3794" y="0"/>
                  </a:cubicBezTo>
                  <a:lnTo>
                    <a:pt x="2529" y="0"/>
                  </a:lnTo>
                  <a:lnTo>
                    <a:pt x="2529" y="0"/>
                  </a:lnTo>
                  <a:lnTo>
                    <a:pt x="1265" y="0"/>
                  </a:lnTo>
                  <a:lnTo>
                    <a:pt x="1265" y="0"/>
                  </a:lnTo>
                  <a:lnTo>
                    <a:pt x="1265" y="0"/>
                  </a:lnTo>
                  <a:cubicBezTo>
                    <a:pt x="1265" y="0"/>
                    <a:pt x="0" y="0"/>
                    <a:pt x="0" y="1265"/>
                  </a:cubicBezTo>
                  <a:lnTo>
                    <a:pt x="0" y="1265"/>
                  </a:lnTo>
                  <a:lnTo>
                    <a:pt x="0" y="1265"/>
                  </a:lnTo>
                  <a:lnTo>
                    <a:pt x="0" y="2529"/>
                  </a:lnTo>
                  <a:lnTo>
                    <a:pt x="0" y="2529"/>
                  </a:lnTo>
                  <a:lnTo>
                    <a:pt x="0" y="2529"/>
                  </a:lnTo>
                  <a:cubicBezTo>
                    <a:pt x="0" y="2529"/>
                    <a:pt x="0" y="2529"/>
                    <a:pt x="0" y="3794"/>
                  </a:cubicBezTo>
                  <a:lnTo>
                    <a:pt x="0" y="3794"/>
                  </a:lnTo>
                  <a:lnTo>
                    <a:pt x="51851" y="389483"/>
                  </a:lnTo>
                  <a:lnTo>
                    <a:pt x="51851" y="393277"/>
                  </a:lnTo>
                  <a:cubicBezTo>
                    <a:pt x="51851" y="395806"/>
                    <a:pt x="53116" y="398335"/>
                    <a:pt x="55645" y="399600"/>
                  </a:cubicBezTo>
                  <a:cubicBezTo>
                    <a:pt x="55645" y="399600"/>
                    <a:pt x="55645" y="399600"/>
                    <a:pt x="55645" y="399600"/>
                  </a:cubicBezTo>
                  <a:close/>
                </a:path>
              </a:pathLst>
            </a:custGeom>
            <a:solidFill>
              <a:srgbClr val="000000"/>
            </a:solidFill>
            <a:ln w="12625"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745E0039-68C7-4B33-95D2-826D828AED2C}"/>
                </a:ext>
              </a:extLst>
            </p:cNvPr>
            <p:cNvSpPr/>
            <p:nvPr/>
          </p:nvSpPr>
          <p:spPr>
            <a:xfrm>
              <a:off x="11256505" y="5490655"/>
              <a:ext cx="36675" cy="26121"/>
            </a:xfrm>
            <a:custGeom>
              <a:avLst/>
              <a:gdLst>
                <a:gd name="connsiteX0" fmla="*/ 35410 w 36675"/>
                <a:gd name="connsiteY0" fmla="*/ 8418 h 26121"/>
                <a:gd name="connsiteX1" fmla="*/ 35410 w 36675"/>
                <a:gd name="connsiteY1" fmla="*/ 8418 h 26121"/>
                <a:gd name="connsiteX2" fmla="*/ 35410 w 36675"/>
                <a:gd name="connsiteY2" fmla="*/ 8418 h 26121"/>
                <a:gd name="connsiteX3" fmla="*/ 36675 w 36675"/>
                <a:gd name="connsiteY3" fmla="*/ 7153 h 26121"/>
                <a:gd name="connsiteX4" fmla="*/ 36675 w 36675"/>
                <a:gd name="connsiteY4" fmla="*/ 5889 h 26121"/>
                <a:gd name="connsiteX5" fmla="*/ 36675 w 36675"/>
                <a:gd name="connsiteY5" fmla="*/ 4624 h 26121"/>
                <a:gd name="connsiteX6" fmla="*/ 36675 w 36675"/>
                <a:gd name="connsiteY6" fmla="*/ 3360 h 26121"/>
                <a:gd name="connsiteX7" fmla="*/ 36675 w 36675"/>
                <a:gd name="connsiteY7" fmla="*/ 2095 h 26121"/>
                <a:gd name="connsiteX8" fmla="*/ 30352 w 36675"/>
                <a:gd name="connsiteY8" fmla="*/ 830 h 26121"/>
                <a:gd name="connsiteX9" fmla="*/ 30352 w 36675"/>
                <a:gd name="connsiteY9" fmla="*/ 830 h 26121"/>
                <a:gd name="connsiteX10" fmla="*/ 27823 w 36675"/>
                <a:gd name="connsiteY10" fmla="*/ 2095 h 26121"/>
                <a:gd name="connsiteX11" fmla="*/ 5059 w 36675"/>
                <a:gd name="connsiteY11" fmla="*/ 14741 h 26121"/>
                <a:gd name="connsiteX12" fmla="*/ 0 w 36675"/>
                <a:gd name="connsiteY12" fmla="*/ 18534 h 26121"/>
                <a:gd name="connsiteX13" fmla="*/ 6323 w 36675"/>
                <a:gd name="connsiteY13" fmla="*/ 19799 h 26121"/>
                <a:gd name="connsiteX14" fmla="*/ 5059 w 36675"/>
                <a:gd name="connsiteY14" fmla="*/ 26122 h 26121"/>
                <a:gd name="connsiteX15" fmla="*/ 34146 w 36675"/>
                <a:gd name="connsiteY15" fmla="*/ 10947 h 26121"/>
                <a:gd name="connsiteX16" fmla="*/ 35410 w 36675"/>
                <a:gd name="connsiteY16" fmla="*/ 8418 h 26121"/>
                <a:gd name="connsiteX17" fmla="*/ 35410 w 36675"/>
                <a:gd name="connsiteY17" fmla="*/ 8418 h 2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75" h="26121">
                  <a:moveTo>
                    <a:pt x="35410" y="8418"/>
                  </a:moveTo>
                  <a:lnTo>
                    <a:pt x="35410" y="8418"/>
                  </a:lnTo>
                  <a:lnTo>
                    <a:pt x="35410" y="8418"/>
                  </a:lnTo>
                  <a:lnTo>
                    <a:pt x="36675" y="7153"/>
                  </a:lnTo>
                  <a:lnTo>
                    <a:pt x="36675" y="5889"/>
                  </a:lnTo>
                  <a:lnTo>
                    <a:pt x="36675" y="4624"/>
                  </a:lnTo>
                  <a:cubicBezTo>
                    <a:pt x="36675" y="4624"/>
                    <a:pt x="36675" y="3360"/>
                    <a:pt x="36675" y="3360"/>
                  </a:cubicBezTo>
                  <a:cubicBezTo>
                    <a:pt x="36675" y="3360"/>
                    <a:pt x="36675" y="2095"/>
                    <a:pt x="36675" y="2095"/>
                  </a:cubicBezTo>
                  <a:cubicBezTo>
                    <a:pt x="35410" y="-434"/>
                    <a:pt x="32881" y="-434"/>
                    <a:pt x="30352" y="830"/>
                  </a:cubicBezTo>
                  <a:cubicBezTo>
                    <a:pt x="30352" y="830"/>
                    <a:pt x="30352" y="830"/>
                    <a:pt x="30352" y="830"/>
                  </a:cubicBezTo>
                  <a:lnTo>
                    <a:pt x="27823" y="2095"/>
                  </a:lnTo>
                  <a:lnTo>
                    <a:pt x="5059" y="14741"/>
                  </a:lnTo>
                  <a:lnTo>
                    <a:pt x="0" y="18534"/>
                  </a:lnTo>
                  <a:cubicBezTo>
                    <a:pt x="2529" y="17270"/>
                    <a:pt x="5059" y="18534"/>
                    <a:pt x="6323" y="19799"/>
                  </a:cubicBezTo>
                  <a:cubicBezTo>
                    <a:pt x="7588" y="22328"/>
                    <a:pt x="6323" y="24857"/>
                    <a:pt x="5059" y="26122"/>
                  </a:cubicBezTo>
                  <a:lnTo>
                    <a:pt x="34146" y="10947"/>
                  </a:lnTo>
                  <a:lnTo>
                    <a:pt x="35410" y="8418"/>
                  </a:lnTo>
                  <a:lnTo>
                    <a:pt x="35410" y="8418"/>
                  </a:lnTo>
                  <a:close/>
                </a:path>
              </a:pathLst>
            </a:custGeom>
            <a:solidFill>
              <a:srgbClr val="000000"/>
            </a:solidFill>
            <a:ln w="12625"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4B7E9372-82C5-4E07-AE02-68C0D7D5E769}"/>
                </a:ext>
              </a:extLst>
            </p:cNvPr>
            <p:cNvSpPr/>
            <p:nvPr/>
          </p:nvSpPr>
          <p:spPr>
            <a:xfrm>
              <a:off x="10603940" y="5507925"/>
              <a:ext cx="658380" cy="365022"/>
            </a:xfrm>
            <a:custGeom>
              <a:avLst/>
              <a:gdLst>
                <a:gd name="connsiteX0" fmla="*/ 657624 w 658380"/>
                <a:gd name="connsiteY0" fmla="*/ 2529 h 365022"/>
                <a:gd name="connsiteX1" fmla="*/ 651301 w 658380"/>
                <a:gd name="connsiteY1" fmla="*/ 0 h 365022"/>
                <a:gd name="connsiteX2" fmla="*/ 651301 w 658380"/>
                <a:gd name="connsiteY2" fmla="*/ 0 h 365022"/>
                <a:gd name="connsiteX3" fmla="*/ 648772 w 658380"/>
                <a:gd name="connsiteY3" fmla="*/ 1265 h 365022"/>
                <a:gd name="connsiteX4" fmla="*/ 2529 w 658380"/>
                <a:gd name="connsiteY4" fmla="*/ 355340 h 365022"/>
                <a:gd name="connsiteX5" fmla="*/ 2529 w 658380"/>
                <a:gd name="connsiteY5" fmla="*/ 355340 h 365022"/>
                <a:gd name="connsiteX6" fmla="*/ 1265 w 658380"/>
                <a:gd name="connsiteY6" fmla="*/ 356605 h 365022"/>
                <a:gd name="connsiteX7" fmla="*/ 0 w 658380"/>
                <a:gd name="connsiteY7" fmla="*/ 356605 h 365022"/>
                <a:gd name="connsiteX8" fmla="*/ 0 w 658380"/>
                <a:gd name="connsiteY8" fmla="*/ 357869 h 365022"/>
                <a:gd name="connsiteX9" fmla="*/ 0 w 658380"/>
                <a:gd name="connsiteY9" fmla="*/ 359134 h 365022"/>
                <a:gd name="connsiteX10" fmla="*/ 0 w 658380"/>
                <a:gd name="connsiteY10" fmla="*/ 360398 h 365022"/>
                <a:gd name="connsiteX11" fmla="*/ 0 w 658380"/>
                <a:gd name="connsiteY11" fmla="*/ 360398 h 365022"/>
                <a:gd name="connsiteX12" fmla="*/ 0 w 658380"/>
                <a:gd name="connsiteY12" fmla="*/ 361663 h 365022"/>
                <a:gd name="connsiteX13" fmla="*/ 0 w 658380"/>
                <a:gd name="connsiteY13" fmla="*/ 362927 h 365022"/>
                <a:gd name="connsiteX14" fmla="*/ 6323 w 658380"/>
                <a:gd name="connsiteY14" fmla="*/ 364192 h 365022"/>
                <a:gd name="connsiteX15" fmla="*/ 8853 w 658380"/>
                <a:gd name="connsiteY15" fmla="*/ 362927 h 365022"/>
                <a:gd name="connsiteX16" fmla="*/ 12647 w 658380"/>
                <a:gd name="connsiteY16" fmla="*/ 360398 h 365022"/>
                <a:gd name="connsiteX17" fmla="*/ 655095 w 658380"/>
                <a:gd name="connsiteY17" fmla="*/ 7587 h 365022"/>
                <a:gd name="connsiteX18" fmla="*/ 657624 w 658380"/>
                <a:gd name="connsiteY18" fmla="*/ 2529 h 36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8380" h="365022">
                  <a:moveTo>
                    <a:pt x="657624" y="2529"/>
                  </a:moveTo>
                  <a:cubicBezTo>
                    <a:pt x="656359" y="0"/>
                    <a:pt x="653830" y="0"/>
                    <a:pt x="651301" y="0"/>
                  </a:cubicBezTo>
                  <a:cubicBezTo>
                    <a:pt x="651301" y="0"/>
                    <a:pt x="651301" y="0"/>
                    <a:pt x="651301" y="0"/>
                  </a:cubicBezTo>
                  <a:lnTo>
                    <a:pt x="648772" y="1265"/>
                  </a:lnTo>
                  <a:lnTo>
                    <a:pt x="2529" y="355340"/>
                  </a:lnTo>
                  <a:lnTo>
                    <a:pt x="2529" y="355340"/>
                  </a:lnTo>
                  <a:lnTo>
                    <a:pt x="1265" y="356605"/>
                  </a:lnTo>
                  <a:lnTo>
                    <a:pt x="0" y="356605"/>
                  </a:lnTo>
                  <a:lnTo>
                    <a:pt x="0" y="357869"/>
                  </a:lnTo>
                  <a:cubicBezTo>
                    <a:pt x="0" y="357869"/>
                    <a:pt x="0" y="357869"/>
                    <a:pt x="0" y="359134"/>
                  </a:cubicBezTo>
                  <a:cubicBezTo>
                    <a:pt x="0" y="359134"/>
                    <a:pt x="0" y="359134"/>
                    <a:pt x="0" y="360398"/>
                  </a:cubicBezTo>
                  <a:lnTo>
                    <a:pt x="0" y="360398"/>
                  </a:lnTo>
                  <a:lnTo>
                    <a:pt x="0" y="361663"/>
                  </a:lnTo>
                  <a:cubicBezTo>
                    <a:pt x="0" y="361663"/>
                    <a:pt x="0" y="362927"/>
                    <a:pt x="0" y="362927"/>
                  </a:cubicBezTo>
                  <a:cubicBezTo>
                    <a:pt x="1265" y="365457"/>
                    <a:pt x="3794" y="365457"/>
                    <a:pt x="6323" y="364192"/>
                  </a:cubicBezTo>
                  <a:lnTo>
                    <a:pt x="8853" y="362927"/>
                  </a:lnTo>
                  <a:lnTo>
                    <a:pt x="12647" y="360398"/>
                  </a:lnTo>
                  <a:lnTo>
                    <a:pt x="655095" y="7587"/>
                  </a:lnTo>
                  <a:cubicBezTo>
                    <a:pt x="658889" y="6323"/>
                    <a:pt x="658889" y="3794"/>
                    <a:pt x="657624" y="2529"/>
                  </a:cubicBezTo>
                  <a:close/>
                </a:path>
              </a:pathLst>
            </a:custGeom>
            <a:solidFill>
              <a:srgbClr val="000000"/>
            </a:solidFill>
            <a:ln w="12625"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E6440300-98D3-441F-932B-E0BD3E642473}"/>
                </a:ext>
              </a:extLst>
            </p:cNvPr>
            <p:cNvSpPr/>
            <p:nvPr/>
          </p:nvSpPr>
          <p:spPr>
            <a:xfrm>
              <a:off x="9761675" y="4924965"/>
              <a:ext cx="16440" cy="40465"/>
            </a:xfrm>
            <a:custGeom>
              <a:avLst/>
              <a:gdLst>
                <a:gd name="connsiteX0" fmla="*/ 11382 w 16440"/>
                <a:gd name="connsiteY0" fmla="*/ 34143 h 40465"/>
                <a:gd name="connsiteX1" fmla="*/ 16441 w 16440"/>
                <a:gd name="connsiteY1" fmla="*/ 37937 h 40465"/>
                <a:gd name="connsiteX2" fmla="*/ 8853 w 16440"/>
                <a:gd name="connsiteY2" fmla="*/ 3794 h 40465"/>
                <a:gd name="connsiteX3" fmla="*/ 3794 w 16440"/>
                <a:gd name="connsiteY3" fmla="*/ 0 h 40465"/>
                <a:gd name="connsiteX4" fmla="*/ 3794 w 16440"/>
                <a:gd name="connsiteY4" fmla="*/ 0 h 40465"/>
                <a:gd name="connsiteX5" fmla="*/ 0 w 16440"/>
                <a:gd name="connsiteY5" fmla="*/ 5058 h 40465"/>
                <a:gd name="connsiteX6" fmla="*/ 1265 w 16440"/>
                <a:gd name="connsiteY6" fmla="*/ 11381 h 40465"/>
                <a:gd name="connsiteX7" fmla="*/ 6323 w 16440"/>
                <a:gd name="connsiteY7" fmla="*/ 36672 h 40465"/>
                <a:gd name="connsiteX8" fmla="*/ 7588 w 16440"/>
                <a:gd name="connsiteY8" fmla="*/ 40466 h 40465"/>
                <a:gd name="connsiteX9" fmla="*/ 11382 w 16440"/>
                <a:gd name="connsiteY9" fmla="*/ 34143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40" h="40465">
                  <a:moveTo>
                    <a:pt x="11382" y="34143"/>
                  </a:moveTo>
                  <a:cubicBezTo>
                    <a:pt x="13911" y="34143"/>
                    <a:pt x="16441" y="35407"/>
                    <a:pt x="16441" y="37937"/>
                  </a:cubicBezTo>
                  <a:lnTo>
                    <a:pt x="8853" y="3794"/>
                  </a:lnTo>
                  <a:cubicBezTo>
                    <a:pt x="8853" y="1265"/>
                    <a:pt x="6323" y="0"/>
                    <a:pt x="3794" y="0"/>
                  </a:cubicBezTo>
                  <a:cubicBezTo>
                    <a:pt x="3794" y="0"/>
                    <a:pt x="3794" y="0"/>
                    <a:pt x="3794" y="0"/>
                  </a:cubicBezTo>
                  <a:cubicBezTo>
                    <a:pt x="1265" y="0"/>
                    <a:pt x="0" y="2529"/>
                    <a:pt x="0" y="5058"/>
                  </a:cubicBezTo>
                  <a:lnTo>
                    <a:pt x="1265" y="11381"/>
                  </a:lnTo>
                  <a:lnTo>
                    <a:pt x="6323" y="36672"/>
                  </a:lnTo>
                  <a:lnTo>
                    <a:pt x="7588" y="40466"/>
                  </a:lnTo>
                  <a:cubicBezTo>
                    <a:pt x="7588" y="36672"/>
                    <a:pt x="8853" y="34143"/>
                    <a:pt x="11382" y="34143"/>
                  </a:cubicBezTo>
                  <a:close/>
                </a:path>
              </a:pathLst>
            </a:custGeom>
            <a:solidFill>
              <a:srgbClr val="000000"/>
            </a:solidFill>
            <a:ln w="12625"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D9BDBB0F-FD7F-4C33-AD39-36930B7EDEB9}"/>
                </a:ext>
              </a:extLst>
            </p:cNvPr>
            <p:cNvSpPr/>
            <p:nvPr/>
          </p:nvSpPr>
          <p:spPr>
            <a:xfrm>
              <a:off x="9770528" y="4959108"/>
              <a:ext cx="56909" cy="228884"/>
            </a:xfrm>
            <a:custGeom>
              <a:avLst/>
              <a:gdLst>
                <a:gd name="connsiteX0" fmla="*/ 53116 w 56909"/>
                <a:gd name="connsiteY0" fmla="*/ 228884 h 228884"/>
                <a:gd name="connsiteX1" fmla="*/ 56910 w 56909"/>
                <a:gd name="connsiteY1" fmla="*/ 223826 h 228884"/>
                <a:gd name="connsiteX2" fmla="*/ 56910 w 56909"/>
                <a:gd name="connsiteY2" fmla="*/ 223826 h 228884"/>
                <a:gd name="connsiteX3" fmla="*/ 56910 w 56909"/>
                <a:gd name="connsiteY3" fmla="*/ 222562 h 228884"/>
                <a:gd name="connsiteX4" fmla="*/ 8853 w 56909"/>
                <a:gd name="connsiteY4" fmla="*/ 3794 h 228884"/>
                <a:gd name="connsiteX5" fmla="*/ 3794 w 56909"/>
                <a:gd name="connsiteY5" fmla="*/ 0 h 228884"/>
                <a:gd name="connsiteX6" fmla="*/ 0 w 56909"/>
                <a:gd name="connsiteY6" fmla="*/ 5058 h 228884"/>
                <a:gd name="connsiteX7" fmla="*/ 1265 w 56909"/>
                <a:gd name="connsiteY7" fmla="*/ 11381 h 228884"/>
                <a:gd name="connsiteX8" fmla="*/ 49322 w 56909"/>
                <a:gd name="connsiteY8" fmla="*/ 226355 h 228884"/>
                <a:gd name="connsiteX9" fmla="*/ 53116 w 56909"/>
                <a:gd name="connsiteY9" fmla="*/ 228884 h 228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09" h="228884">
                  <a:moveTo>
                    <a:pt x="53116" y="228884"/>
                  </a:moveTo>
                  <a:cubicBezTo>
                    <a:pt x="55645" y="228884"/>
                    <a:pt x="56910" y="226355"/>
                    <a:pt x="56910" y="223826"/>
                  </a:cubicBezTo>
                  <a:cubicBezTo>
                    <a:pt x="56910" y="223826"/>
                    <a:pt x="56910" y="223826"/>
                    <a:pt x="56910" y="223826"/>
                  </a:cubicBezTo>
                  <a:lnTo>
                    <a:pt x="56910" y="222562"/>
                  </a:lnTo>
                  <a:lnTo>
                    <a:pt x="8853" y="3794"/>
                  </a:lnTo>
                  <a:cubicBezTo>
                    <a:pt x="8853" y="1264"/>
                    <a:pt x="6323" y="0"/>
                    <a:pt x="3794" y="0"/>
                  </a:cubicBezTo>
                  <a:cubicBezTo>
                    <a:pt x="1265" y="0"/>
                    <a:pt x="0" y="2529"/>
                    <a:pt x="0" y="5058"/>
                  </a:cubicBezTo>
                  <a:lnTo>
                    <a:pt x="1265" y="11381"/>
                  </a:lnTo>
                  <a:lnTo>
                    <a:pt x="49322" y="226355"/>
                  </a:lnTo>
                  <a:cubicBezTo>
                    <a:pt x="48057" y="227620"/>
                    <a:pt x="50586" y="228884"/>
                    <a:pt x="53116" y="228884"/>
                  </a:cubicBezTo>
                  <a:close/>
                </a:path>
              </a:pathLst>
            </a:custGeom>
            <a:solidFill>
              <a:srgbClr val="000000"/>
            </a:solidFill>
            <a:ln w="12625"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CFEB9728-45EB-4FB8-9DC7-C8BE18338F83}"/>
                </a:ext>
              </a:extLst>
            </p:cNvPr>
            <p:cNvSpPr/>
            <p:nvPr/>
          </p:nvSpPr>
          <p:spPr>
            <a:xfrm>
              <a:off x="10348478" y="4954818"/>
              <a:ext cx="157648" cy="85221"/>
            </a:xfrm>
            <a:custGeom>
              <a:avLst/>
              <a:gdLst>
                <a:gd name="connsiteX0" fmla="*/ 156818 w 157648"/>
                <a:gd name="connsiteY0" fmla="*/ 3025 h 85221"/>
                <a:gd name="connsiteX1" fmla="*/ 150495 w 157648"/>
                <a:gd name="connsiteY1" fmla="*/ 496 h 85221"/>
                <a:gd name="connsiteX2" fmla="*/ 142907 w 157648"/>
                <a:gd name="connsiteY2" fmla="*/ 4290 h 85221"/>
                <a:gd name="connsiteX3" fmla="*/ 5059 w 157648"/>
                <a:gd name="connsiteY3" fmla="*/ 73841 h 85221"/>
                <a:gd name="connsiteX4" fmla="*/ 0 w 157648"/>
                <a:gd name="connsiteY4" fmla="*/ 76369 h 85221"/>
                <a:gd name="connsiteX5" fmla="*/ 6323 w 157648"/>
                <a:gd name="connsiteY5" fmla="*/ 78899 h 85221"/>
                <a:gd name="connsiteX6" fmla="*/ 3794 w 157648"/>
                <a:gd name="connsiteY6" fmla="*/ 85222 h 85221"/>
                <a:gd name="connsiteX7" fmla="*/ 155553 w 157648"/>
                <a:gd name="connsiteY7" fmla="*/ 9348 h 85221"/>
                <a:gd name="connsiteX8" fmla="*/ 156818 w 157648"/>
                <a:gd name="connsiteY8" fmla="*/ 3025 h 85221"/>
                <a:gd name="connsiteX9" fmla="*/ 156818 w 157648"/>
                <a:gd name="connsiteY9" fmla="*/ 3025 h 8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648" h="85221">
                  <a:moveTo>
                    <a:pt x="156818" y="3025"/>
                  </a:moveTo>
                  <a:cubicBezTo>
                    <a:pt x="155553" y="496"/>
                    <a:pt x="153024" y="-769"/>
                    <a:pt x="150495" y="496"/>
                  </a:cubicBezTo>
                  <a:lnTo>
                    <a:pt x="142907" y="4290"/>
                  </a:lnTo>
                  <a:lnTo>
                    <a:pt x="5059" y="73841"/>
                  </a:lnTo>
                  <a:lnTo>
                    <a:pt x="0" y="76369"/>
                  </a:lnTo>
                  <a:cubicBezTo>
                    <a:pt x="2529" y="75105"/>
                    <a:pt x="5059" y="76369"/>
                    <a:pt x="6323" y="78899"/>
                  </a:cubicBezTo>
                  <a:cubicBezTo>
                    <a:pt x="7588" y="81428"/>
                    <a:pt x="6323" y="83957"/>
                    <a:pt x="3794" y="85222"/>
                  </a:cubicBezTo>
                  <a:lnTo>
                    <a:pt x="155553" y="9348"/>
                  </a:lnTo>
                  <a:cubicBezTo>
                    <a:pt x="158083" y="8084"/>
                    <a:pt x="158083" y="5554"/>
                    <a:pt x="156818" y="3025"/>
                  </a:cubicBezTo>
                  <a:cubicBezTo>
                    <a:pt x="156818" y="3025"/>
                    <a:pt x="156818" y="3025"/>
                    <a:pt x="156818" y="3025"/>
                  </a:cubicBezTo>
                  <a:close/>
                </a:path>
              </a:pathLst>
            </a:custGeom>
            <a:solidFill>
              <a:srgbClr val="000000"/>
            </a:solidFill>
            <a:ln w="12625"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5401214A-1017-4BDE-A6D7-279B25F152B8}"/>
                </a:ext>
              </a:extLst>
            </p:cNvPr>
            <p:cNvSpPr/>
            <p:nvPr/>
          </p:nvSpPr>
          <p:spPr>
            <a:xfrm>
              <a:off x="10206340" y="5030691"/>
              <a:ext cx="148935" cy="79394"/>
            </a:xfrm>
            <a:custGeom>
              <a:avLst/>
              <a:gdLst>
                <a:gd name="connsiteX0" fmla="*/ 148462 w 148935"/>
                <a:gd name="connsiteY0" fmla="*/ 3025 h 79394"/>
                <a:gd name="connsiteX1" fmla="*/ 142138 w 148935"/>
                <a:gd name="connsiteY1" fmla="*/ 496 h 79394"/>
                <a:gd name="connsiteX2" fmla="*/ 142138 w 148935"/>
                <a:gd name="connsiteY2" fmla="*/ 496 h 79394"/>
                <a:gd name="connsiteX3" fmla="*/ 138344 w 148935"/>
                <a:gd name="connsiteY3" fmla="*/ 1761 h 79394"/>
                <a:gd name="connsiteX4" fmla="*/ 8084 w 148935"/>
                <a:gd name="connsiteY4" fmla="*/ 67518 h 79394"/>
                <a:gd name="connsiteX5" fmla="*/ 3025 w 148935"/>
                <a:gd name="connsiteY5" fmla="*/ 70047 h 79394"/>
                <a:gd name="connsiteX6" fmla="*/ 496 w 148935"/>
                <a:gd name="connsiteY6" fmla="*/ 76369 h 79394"/>
                <a:gd name="connsiteX7" fmla="*/ 6819 w 148935"/>
                <a:gd name="connsiteY7" fmla="*/ 78899 h 79394"/>
                <a:gd name="connsiteX8" fmla="*/ 144668 w 148935"/>
                <a:gd name="connsiteY8" fmla="*/ 9348 h 79394"/>
                <a:gd name="connsiteX9" fmla="*/ 148462 w 148935"/>
                <a:gd name="connsiteY9" fmla="*/ 3025 h 79394"/>
                <a:gd name="connsiteX10" fmla="*/ 148462 w 148935"/>
                <a:gd name="connsiteY10" fmla="*/ 3025 h 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935" h="79394">
                  <a:moveTo>
                    <a:pt x="148462" y="3025"/>
                  </a:moveTo>
                  <a:cubicBezTo>
                    <a:pt x="147197" y="496"/>
                    <a:pt x="144668" y="-769"/>
                    <a:pt x="142138" y="496"/>
                  </a:cubicBezTo>
                  <a:cubicBezTo>
                    <a:pt x="142138" y="496"/>
                    <a:pt x="142138" y="496"/>
                    <a:pt x="142138" y="496"/>
                  </a:cubicBezTo>
                  <a:lnTo>
                    <a:pt x="138344" y="1761"/>
                  </a:lnTo>
                  <a:lnTo>
                    <a:pt x="8084" y="67518"/>
                  </a:lnTo>
                  <a:lnTo>
                    <a:pt x="3025" y="70047"/>
                  </a:lnTo>
                  <a:cubicBezTo>
                    <a:pt x="496" y="71311"/>
                    <a:pt x="-769" y="73841"/>
                    <a:pt x="496" y="76369"/>
                  </a:cubicBezTo>
                  <a:cubicBezTo>
                    <a:pt x="1761" y="78899"/>
                    <a:pt x="4290" y="80163"/>
                    <a:pt x="6819" y="78899"/>
                  </a:cubicBezTo>
                  <a:lnTo>
                    <a:pt x="144668" y="9348"/>
                  </a:lnTo>
                  <a:cubicBezTo>
                    <a:pt x="148462" y="9348"/>
                    <a:pt x="149726" y="5554"/>
                    <a:pt x="148462" y="3025"/>
                  </a:cubicBezTo>
                  <a:cubicBezTo>
                    <a:pt x="148462" y="4290"/>
                    <a:pt x="148462" y="4290"/>
                    <a:pt x="148462" y="3025"/>
                  </a:cubicBezTo>
                  <a:close/>
                </a:path>
              </a:pathLst>
            </a:custGeom>
            <a:solidFill>
              <a:srgbClr val="000000"/>
            </a:solidFill>
            <a:ln w="12625"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33ED67F4-ECE0-4C67-BF8A-20EE16AAEEAC}"/>
                </a:ext>
              </a:extLst>
            </p:cNvPr>
            <p:cNvSpPr/>
            <p:nvPr/>
          </p:nvSpPr>
          <p:spPr>
            <a:xfrm>
              <a:off x="9843878" y="5244401"/>
              <a:ext cx="87757" cy="49813"/>
            </a:xfrm>
            <a:custGeom>
              <a:avLst/>
              <a:gdLst>
                <a:gd name="connsiteX0" fmla="*/ 87262 w 87757"/>
                <a:gd name="connsiteY0" fmla="*/ 3025 h 49813"/>
                <a:gd name="connsiteX1" fmla="*/ 80938 w 87757"/>
                <a:gd name="connsiteY1" fmla="*/ 496 h 49813"/>
                <a:gd name="connsiteX2" fmla="*/ 80938 w 87757"/>
                <a:gd name="connsiteY2" fmla="*/ 496 h 49813"/>
                <a:gd name="connsiteX3" fmla="*/ 73350 w 87757"/>
                <a:gd name="connsiteY3" fmla="*/ 4290 h 49813"/>
                <a:gd name="connsiteX4" fmla="*/ 5059 w 87757"/>
                <a:gd name="connsiteY4" fmla="*/ 38433 h 49813"/>
                <a:gd name="connsiteX5" fmla="*/ 0 w 87757"/>
                <a:gd name="connsiteY5" fmla="*/ 40962 h 49813"/>
                <a:gd name="connsiteX6" fmla="*/ 6323 w 87757"/>
                <a:gd name="connsiteY6" fmla="*/ 43491 h 49813"/>
                <a:gd name="connsiteX7" fmla="*/ 6323 w 87757"/>
                <a:gd name="connsiteY7" fmla="*/ 43491 h 49813"/>
                <a:gd name="connsiteX8" fmla="*/ 3794 w 87757"/>
                <a:gd name="connsiteY8" fmla="*/ 49814 h 49813"/>
                <a:gd name="connsiteX9" fmla="*/ 3794 w 87757"/>
                <a:gd name="connsiteY9" fmla="*/ 49814 h 49813"/>
                <a:gd name="connsiteX10" fmla="*/ 84732 w 87757"/>
                <a:gd name="connsiteY10" fmla="*/ 9348 h 49813"/>
                <a:gd name="connsiteX11" fmla="*/ 87262 w 87757"/>
                <a:gd name="connsiteY11" fmla="*/ 3025 h 49813"/>
                <a:gd name="connsiteX12" fmla="*/ 87262 w 87757"/>
                <a:gd name="connsiteY12" fmla="*/ 3025 h 4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757" h="49813">
                  <a:moveTo>
                    <a:pt x="87262" y="3025"/>
                  </a:moveTo>
                  <a:cubicBezTo>
                    <a:pt x="85997" y="496"/>
                    <a:pt x="83468" y="-768"/>
                    <a:pt x="80938" y="496"/>
                  </a:cubicBezTo>
                  <a:cubicBezTo>
                    <a:pt x="80938" y="496"/>
                    <a:pt x="80938" y="496"/>
                    <a:pt x="80938" y="496"/>
                  </a:cubicBezTo>
                  <a:lnTo>
                    <a:pt x="73350" y="4290"/>
                  </a:lnTo>
                  <a:lnTo>
                    <a:pt x="5059" y="38433"/>
                  </a:lnTo>
                  <a:lnTo>
                    <a:pt x="0" y="40962"/>
                  </a:lnTo>
                  <a:cubicBezTo>
                    <a:pt x="2529" y="39697"/>
                    <a:pt x="5059" y="40962"/>
                    <a:pt x="6323" y="43491"/>
                  </a:cubicBezTo>
                  <a:cubicBezTo>
                    <a:pt x="6323" y="43491"/>
                    <a:pt x="6323" y="43491"/>
                    <a:pt x="6323" y="43491"/>
                  </a:cubicBezTo>
                  <a:cubicBezTo>
                    <a:pt x="7588" y="46020"/>
                    <a:pt x="6323" y="48549"/>
                    <a:pt x="3794" y="49814"/>
                  </a:cubicBezTo>
                  <a:cubicBezTo>
                    <a:pt x="3794" y="49814"/>
                    <a:pt x="3794" y="49814"/>
                    <a:pt x="3794" y="49814"/>
                  </a:cubicBezTo>
                  <a:lnTo>
                    <a:pt x="84732" y="9348"/>
                  </a:lnTo>
                  <a:cubicBezTo>
                    <a:pt x="87262" y="8083"/>
                    <a:pt x="88526" y="5554"/>
                    <a:pt x="87262" y="3025"/>
                  </a:cubicBezTo>
                  <a:cubicBezTo>
                    <a:pt x="87262" y="3025"/>
                    <a:pt x="87262" y="3025"/>
                    <a:pt x="87262" y="3025"/>
                  </a:cubicBezTo>
                  <a:close/>
                </a:path>
              </a:pathLst>
            </a:custGeom>
            <a:solidFill>
              <a:srgbClr val="000000"/>
            </a:solidFill>
            <a:ln w="12625"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DB2FADDE-6ED9-4C05-8D60-B581FE8BD4DA}"/>
                </a:ext>
              </a:extLst>
            </p:cNvPr>
            <p:cNvSpPr/>
            <p:nvPr/>
          </p:nvSpPr>
          <p:spPr>
            <a:xfrm>
              <a:off x="9743970" y="5284867"/>
              <a:ext cx="107992" cy="59614"/>
            </a:xfrm>
            <a:custGeom>
              <a:avLst/>
              <a:gdLst>
                <a:gd name="connsiteX0" fmla="*/ 0 w 107992"/>
                <a:gd name="connsiteY0" fmla="*/ 57401 h 59614"/>
                <a:gd name="connsiteX1" fmla="*/ 0 w 107992"/>
                <a:gd name="connsiteY1" fmla="*/ 57401 h 59614"/>
                <a:gd name="connsiteX2" fmla="*/ 0 w 107992"/>
                <a:gd name="connsiteY2" fmla="*/ 57401 h 59614"/>
                <a:gd name="connsiteX3" fmla="*/ 1265 w 107992"/>
                <a:gd name="connsiteY3" fmla="*/ 58666 h 59614"/>
                <a:gd name="connsiteX4" fmla="*/ 6323 w 107992"/>
                <a:gd name="connsiteY4" fmla="*/ 58666 h 59614"/>
                <a:gd name="connsiteX5" fmla="*/ 13911 w 107992"/>
                <a:gd name="connsiteY5" fmla="*/ 54872 h 59614"/>
                <a:gd name="connsiteX6" fmla="*/ 104967 w 107992"/>
                <a:gd name="connsiteY6" fmla="*/ 9348 h 59614"/>
                <a:gd name="connsiteX7" fmla="*/ 107496 w 107992"/>
                <a:gd name="connsiteY7" fmla="*/ 3025 h 59614"/>
                <a:gd name="connsiteX8" fmla="*/ 107496 w 107992"/>
                <a:gd name="connsiteY8" fmla="*/ 3025 h 59614"/>
                <a:gd name="connsiteX9" fmla="*/ 101173 w 107992"/>
                <a:gd name="connsiteY9" fmla="*/ 496 h 59614"/>
                <a:gd name="connsiteX10" fmla="*/ 101173 w 107992"/>
                <a:gd name="connsiteY10" fmla="*/ 496 h 59614"/>
                <a:gd name="connsiteX11" fmla="*/ 97379 w 107992"/>
                <a:gd name="connsiteY11" fmla="*/ 1761 h 59614"/>
                <a:gd name="connsiteX12" fmla="*/ 2529 w 107992"/>
                <a:gd name="connsiteY12" fmla="*/ 49814 h 59614"/>
                <a:gd name="connsiteX13" fmla="*/ 2529 w 107992"/>
                <a:gd name="connsiteY13" fmla="*/ 49814 h 59614"/>
                <a:gd name="connsiteX14" fmla="*/ 2529 w 107992"/>
                <a:gd name="connsiteY14" fmla="*/ 49814 h 59614"/>
                <a:gd name="connsiteX15" fmla="*/ 2529 w 107992"/>
                <a:gd name="connsiteY15" fmla="*/ 49814 h 59614"/>
                <a:gd name="connsiteX16" fmla="*/ 2529 w 107992"/>
                <a:gd name="connsiteY16" fmla="*/ 49814 h 59614"/>
                <a:gd name="connsiteX17" fmla="*/ 2529 w 107992"/>
                <a:gd name="connsiteY17" fmla="*/ 51078 h 59614"/>
                <a:gd name="connsiteX18" fmla="*/ 2529 w 107992"/>
                <a:gd name="connsiteY18" fmla="*/ 51078 h 59614"/>
                <a:gd name="connsiteX19" fmla="*/ 2529 w 107992"/>
                <a:gd name="connsiteY19" fmla="*/ 52343 h 59614"/>
                <a:gd name="connsiteX20" fmla="*/ 2529 w 107992"/>
                <a:gd name="connsiteY20" fmla="*/ 52343 h 59614"/>
                <a:gd name="connsiteX21" fmla="*/ 2529 w 107992"/>
                <a:gd name="connsiteY21" fmla="*/ 53608 h 59614"/>
                <a:gd name="connsiteX22" fmla="*/ 2529 w 107992"/>
                <a:gd name="connsiteY22" fmla="*/ 54872 h 59614"/>
                <a:gd name="connsiteX23" fmla="*/ 2529 w 107992"/>
                <a:gd name="connsiteY23" fmla="*/ 56137 h 59614"/>
                <a:gd name="connsiteX24" fmla="*/ 0 w 107992"/>
                <a:gd name="connsiteY24" fmla="*/ 57401 h 5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7992" h="59614">
                  <a:moveTo>
                    <a:pt x="0" y="57401"/>
                  </a:moveTo>
                  <a:lnTo>
                    <a:pt x="0" y="57401"/>
                  </a:lnTo>
                  <a:lnTo>
                    <a:pt x="0" y="57401"/>
                  </a:lnTo>
                  <a:lnTo>
                    <a:pt x="1265" y="58666"/>
                  </a:lnTo>
                  <a:cubicBezTo>
                    <a:pt x="2529" y="59930"/>
                    <a:pt x="5059" y="59930"/>
                    <a:pt x="6323" y="58666"/>
                  </a:cubicBezTo>
                  <a:lnTo>
                    <a:pt x="13911" y="54872"/>
                  </a:lnTo>
                  <a:lnTo>
                    <a:pt x="104967" y="9348"/>
                  </a:lnTo>
                  <a:cubicBezTo>
                    <a:pt x="107496" y="8084"/>
                    <a:pt x="108761" y="5554"/>
                    <a:pt x="107496" y="3025"/>
                  </a:cubicBezTo>
                  <a:cubicBezTo>
                    <a:pt x="107496" y="3025"/>
                    <a:pt x="107496" y="3025"/>
                    <a:pt x="107496" y="3025"/>
                  </a:cubicBezTo>
                  <a:cubicBezTo>
                    <a:pt x="106232" y="496"/>
                    <a:pt x="103702" y="-769"/>
                    <a:pt x="101173" y="496"/>
                  </a:cubicBezTo>
                  <a:cubicBezTo>
                    <a:pt x="101173" y="496"/>
                    <a:pt x="101173" y="496"/>
                    <a:pt x="101173" y="496"/>
                  </a:cubicBezTo>
                  <a:lnTo>
                    <a:pt x="97379" y="1761"/>
                  </a:lnTo>
                  <a:lnTo>
                    <a:pt x="2529" y="49814"/>
                  </a:lnTo>
                  <a:lnTo>
                    <a:pt x="2529" y="49814"/>
                  </a:lnTo>
                  <a:lnTo>
                    <a:pt x="2529" y="49814"/>
                  </a:lnTo>
                  <a:lnTo>
                    <a:pt x="2529" y="49814"/>
                  </a:lnTo>
                  <a:lnTo>
                    <a:pt x="2529" y="49814"/>
                  </a:lnTo>
                  <a:lnTo>
                    <a:pt x="2529" y="51078"/>
                  </a:lnTo>
                  <a:lnTo>
                    <a:pt x="2529" y="51078"/>
                  </a:lnTo>
                  <a:lnTo>
                    <a:pt x="2529" y="52343"/>
                  </a:lnTo>
                  <a:lnTo>
                    <a:pt x="2529" y="52343"/>
                  </a:lnTo>
                  <a:cubicBezTo>
                    <a:pt x="2529" y="52343"/>
                    <a:pt x="2529" y="52343"/>
                    <a:pt x="2529" y="53608"/>
                  </a:cubicBezTo>
                  <a:cubicBezTo>
                    <a:pt x="2529" y="53608"/>
                    <a:pt x="2529" y="54872"/>
                    <a:pt x="2529" y="54872"/>
                  </a:cubicBezTo>
                  <a:cubicBezTo>
                    <a:pt x="2529" y="54872"/>
                    <a:pt x="2529" y="54872"/>
                    <a:pt x="2529" y="56137"/>
                  </a:cubicBezTo>
                  <a:cubicBezTo>
                    <a:pt x="2529" y="57401"/>
                    <a:pt x="0" y="57401"/>
                    <a:pt x="0" y="57401"/>
                  </a:cubicBezTo>
                  <a:close/>
                </a:path>
              </a:pathLst>
            </a:custGeom>
            <a:solidFill>
              <a:srgbClr val="000000"/>
            </a:solidFill>
            <a:ln w="12625"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2415DCF3-E0B1-4E08-8CC0-09C214C82F2D}"/>
                </a:ext>
              </a:extLst>
            </p:cNvPr>
            <p:cNvSpPr/>
            <p:nvPr/>
          </p:nvSpPr>
          <p:spPr>
            <a:xfrm>
              <a:off x="11514496" y="1973491"/>
              <a:ext cx="31616" cy="174508"/>
            </a:xfrm>
            <a:custGeom>
              <a:avLst/>
              <a:gdLst>
                <a:gd name="connsiteX0" fmla="*/ 5059 w 31616"/>
                <a:gd name="connsiteY0" fmla="*/ 5058 h 174508"/>
                <a:gd name="connsiteX1" fmla="*/ 0 w 31616"/>
                <a:gd name="connsiteY1" fmla="*/ 1264 h 174508"/>
                <a:gd name="connsiteX2" fmla="*/ 0 w 31616"/>
                <a:gd name="connsiteY2" fmla="*/ 1264 h 174508"/>
                <a:gd name="connsiteX3" fmla="*/ 22764 w 31616"/>
                <a:gd name="connsiteY3" fmla="*/ 170715 h 174508"/>
                <a:gd name="connsiteX4" fmla="*/ 27823 w 31616"/>
                <a:gd name="connsiteY4" fmla="*/ 174509 h 174508"/>
                <a:gd name="connsiteX5" fmla="*/ 31617 w 31616"/>
                <a:gd name="connsiteY5" fmla="*/ 169450 h 174508"/>
                <a:gd name="connsiteX6" fmla="*/ 31617 w 31616"/>
                <a:gd name="connsiteY6" fmla="*/ 166921 h 174508"/>
                <a:gd name="connsiteX7" fmla="*/ 8853 w 31616"/>
                <a:gd name="connsiteY7" fmla="*/ 3794 h 174508"/>
                <a:gd name="connsiteX8" fmla="*/ 8853 w 31616"/>
                <a:gd name="connsiteY8" fmla="*/ 0 h 174508"/>
                <a:gd name="connsiteX9" fmla="*/ 5059 w 31616"/>
                <a:gd name="connsiteY9" fmla="*/ 5058 h 17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6" h="174508">
                  <a:moveTo>
                    <a:pt x="5059" y="5058"/>
                  </a:moveTo>
                  <a:cubicBezTo>
                    <a:pt x="2529" y="5058"/>
                    <a:pt x="0" y="3794"/>
                    <a:pt x="0" y="1264"/>
                  </a:cubicBezTo>
                  <a:cubicBezTo>
                    <a:pt x="0" y="1264"/>
                    <a:pt x="0" y="1264"/>
                    <a:pt x="0" y="1264"/>
                  </a:cubicBezTo>
                  <a:lnTo>
                    <a:pt x="22764" y="170715"/>
                  </a:lnTo>
                  <a:cubicBezTo>
                    <a:pt x="22764" y="173244"/>
                    <a:pt x="25293" y="174509"/>
                    <a:pt x="27823" y="174509"/>
                  </a:cubicBezTo>
                  <a:cubicBezTo>
                    <a:pt x="30352" y="174509"/>
                    <a:pt x="31617" y="171980"/>
                    <a:pt x="31617" y="169450"/>
                  </a:cubicBezTo>
                  <a:lnTo>
                    <a:pt x="31617" y="166921"/>
                  </a:lnTo>
                  <a:lnTo>
                    <a:pt x="8853" y="3794"/>
                  </a:lnTo>
                  <a:lnTo>
                    <a:pt x="8853" y="0"/>
                  </a:lnTo>
                  <a:cubicBezTo>
                    <a:pt x="8853" y="2529"/>
                    <a:pt x="7588" y="5058"/>
                    <a:pt x="5059" y="5058"/>
                  </a:cubicBezTo>
                  <a:close/>
                </a:path>
              </a:pathLst>
            </a:custGeom>
            <a:solidFill>
              <a:srgbClr val="000000"/>
            </a:solidFill>
            <a:ln w="12625"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A813E04D-82C0-4508-8E0C-CB42EF6F9F23}"/>
                </a:ext>
              </a:extLst>
            </p:cNvPr>
            <p:cNvSpPr/>
            <p:nvPr/>
          </p:nvSpPr>
          <p:spPr>
            <a:xfrm>
              <a:off x="11274211" y="241049"/>
              <a:ext cx="247873" cy="1737500"/>
            </a:xfrm>
            <a:custGeom>
              <a:avLst/>
              <a:gdLst>
                <a:gd name="connsiteX0" fmla="*/ 5059 w 247873"/>
                <a:gd name="connsiteY0" fmla="*/ 0 h 1737500"/>
                <a:gd name="connsiteX1" fmla="*/ 5059 w 247873"/>
                <a:gd name="connsiteY1" fmla="*/ 0 h 1737500"/>
                <a:gd name="connsiteX2" fmla="*/ 0 w 247873"/>
                <a:gd name="connsiteY2" fmla="*/ 5058 h 1737500"/>
                <a:gd name="connsiteX3" fmla="*/ 1265 w 247873"/>
                <a:gd name="connsiteY3" fmla="*/ 10116 h 1737500"/>
                <a:gd name="connsiteX4" fmla="*/ 239021 w 247873"/>
                <a:gd name="connsiteY4" fmla="*/ 1733706 h 1737500"/>
                <a:gd name="connsiteX5" fmla="*/ 244080 w 247873"/>
                <a:gd name="connsiteY5" fmla="*/ 1737500 h 1737500"/>
                <a:gd name="connsiteX6" fmla="*/ 244080 w 247873"/>
                <a:gd name="connsiteY6" fmla="*/ 1737500 h 1737500"/>
                <a:gd name="connsiteX7" fmla="*/ 247874 w 247873"/>
                <a:gd name="connsiteY7" fmla="*/ 1732442 h 1737500"/>
                <a:gd name="connsiteX8" fmla="*/ 246609 w 247873"/>
                <a:gd name="connsiteY8" fmla="*/ 1726119 h 1737500"/>
                <a:gd name="connsiteX9" fmla="*/ 10117 w 247873"/>
                <a:gd name="connsiteY9" fmla="*/ 3794 h 1737500"/>
                <a:gd name="connsiteX10" fmla="*/ 10117 w 247873"/>
                <a:gd name="connsiteY10" fmla="*/ 3794 h 1737500"/>
                <a:gd name="connsiteX11" fmla="*/ 10117 w 247873"/>
                <a:gd name="connsiteY11" fmla="*/ 3794 h 1737500"/>
                <a:gd name="connsiteX12" fmla="*/ 10117 w 247873"/>
                <a:gd name="connsiteY12" fmla="*/ 2529 h 1737500"/>
                <a:gd name="connsiteX13" fmla="*/ 10117 w 247873"/>
                <a:gd name="connsiteY13" fmla="*/ 2529 h 1737500"/>
                <a:gd name="connsiteX14" fmla="*/ 10117 w 247873"/>
                <a:gd name="connsiteY14" fmla="*/ 2529 h 1737500"/>
                <a:gd name="connsiteX15" fmla="*/ 8853 w 247873"/>
                <a:gd name="connsiteY15" fmla="*/ 1265 h 1737500"/>
                <a:gd name="connsiteX16" fmla="*/ 8853 w 247873"/>
                <a:gd name="connsiteY16" fmla="*/ 1265 h 1737500"/>
                <a:gd name="connsiteX17" fmla="*/ 8853 w 247873"/>
                <a:gd name="connsiteY17" fmla="*/ 1265 h 1737500"/>
                <a:gd name="connsiteX18" fmla="*/ 7588 w 247873"/>
                <a:gd name="connsiteY18" fmla="*/ 1265 h 1737500"/>
                <a:gd name="connsiteX19" fmla="*/ 6323 w 247873"/>
                <a:gd name="connsiteY19" fmla="*/ 1265 h 1737500"/>
                <a:gd name="connsiteX20" fmla="*/ 6323 w 247873"/>
                <a:gd name="connsiteY20" fmla="*/ 1265 h 1737500"/>
                <a:gd name="connsiteX21" fmla="*/ 5059 w 247873"/>
                <a:gd name="connsiteY21" fmla="*/ 0 h 17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7873" h="1737500">
                  <a:moveTo>
                    <a:pt x="5059" y="0"/>
                  </a:moveTo>
                  <a:lnTo>
                    <a:pt x="5059" y="0"/>
                  </a:lnTo>
                  <a:cubicBezTo>
                    <a:pt x="1265" y="0"/>
                    <a:pt x="0" y="2529"/>
                    <a:pt x="0" y="5058"/>
                  </a:cubicBezTo>
                  <a:lnTo>
                    <a:pt x="1265" y="10116"/>
                  </a:lnTo>
                  <a:lnTo>
                    <a:pt x="239021" y="1733706"/>
                  </a:lnTo>
                  <a:cubicBezTo>
                    <a:pt x="239021" y="1736235"/>
                    <a:pt x="241550" y="1737500"/>
                    <a:pt x="244080" y="1737500"/>
                  </a:cubicBezTo>
                  <a:cubicBezTo>
                    <a:pt x="244080" y="1737500"/>
                    <a:pt x="244080" y="1737500"/>
                    <a:pt x="244080" y="1737500"/>
                  </a:cubicBezTo>
                  <a:cubicBezTo>
                    <a:pt x="246609" y="1737500"/>
                    <a:pt x="247874" y="1734971"/>
                    <a:pt x="247874" y="1732442"/>
                  </a:cubicBezTo>
                  <a:lnTo>
                    <a:pt x="246609" y="1726119"/>
                  </a:lnTo>
                  <a:lnTo>
                    <a:pt x="10117" y="3794"/>
                  </a:lnTo>
                  <a:lnTo>
                    <a:pt x="10117" y="3794"/>
                  </a:lnTo>
                  <a:lnTo>
                    <a:pt x="10117" y="3794"/>
                  </a:lnTo>
                  <a:lnTo>
                    <a:pt x="10117" y="2529"/>
                  </a:lnTo>
                  <a:lnTo>
                    <a:pt x="10117" y="2529"/>
                  </a:lnTo>
                  <a:lnTo>
                    <a:pt x="10117" y="2529"/>
                  </a:lnTo>
                  <a:lnTo>
                    <a:pt x="8853" y="1265"/>
                  </a:lnTo>
                  <a:lnTo>
                    <a:pt x="8853" y="1265"/>
                  </a:lnTo>
                  <a:lnTo>
                    <a:pt x="8853" y="1265"/>
                  </a:lnTo>
                  <a:lnTo>
                    <a:pt x="7588" y="1265"/>
                  </a:lnTo>
                  <a:lnTo>
                    <a:pt x="6323" y="1265"/>
                  </a:lnTo>
                  <a:lnTo>
                    <a:pt x="6323" y="1265"/>
                  </a:lnTo>
                  <a:lnTo>
                    <a:pt x="5059" y="0"/>
                  </a:lnTo>
                  <a:close/>
                </a:path>
              </a:pathLst>
            </a:custGeom>
            <a:solidFill>
              <a:srgbClr val="000000"/>
            </a:solidFill>
            <a:ln w="12625"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8AA86525-F079-41A9-950F-54EBC4DB93B2}"/>
                </a:ext>
              </a:extLst>
            </p:cNvPr>
            <p:cNvSpPr/>
            <p:nvPr/>
          </p:nvSpPr>
          <p:spPr>
            <a:xfrm>
              <a:off x="11614404" y="4942668"/>
              <a:ext cx="58174" cy="349017"/>
            </a:xfrm>
            <a:custGeom>
              <a:avLst/>
              <a:gdLst>
                <a:gd name="connsiteX0" fmla="*/ 5059 w 58174"/>
                <a:gd name="connsiteY0" fmla="*/ 6323 h 349017"/>
                <a:gd name="connsiteX1" fmla="*/ 0 w 58174"/>
                <a:gd name="connsiteY1" fmla="*/ 2529 h 349017"/>
                <a:gd name="connsiteX2" fmla="*/ 0 w 58174"/>
                <a:gd name="connsiteY2" fmla="*/ 2529 h 349017"/>
                <a:gd name="connsiteX3" fmla="*/ 0 w 58174"/>
                <a:gd name="connsiteY3" fmla="*/ 5058 h 349017"/>
                <a:gd name="connsiteX4" fmla="*/ 50586 w 58174"/>
                <a:gd name="connsiteY4" fmla="*/ 341430 h 349017"/>
                <a:gd name="connsiteX5" fmla="*/ 50586 w 58174"/>
                <a:gd name="connsiteY5" fmla="*/ 345224 h 349017"/>
                <a:gd name="connsiteX6" fmla="*/ 55645 w 58174"/>
                <a:gd name="connsiteY6" fmla="*/ 349018 h 349017"/>
                <a:gd name="connsiteX7" fmla="*/ 55645 w 58174"/>
                <a:gd name="connsiteY7" fmla="*/ 349018 h 349017"/>
                <a:gd name="connsiteX8" fmla="*/ 56910 w 58174"/>
                <a:gd name="connsiteY8" fmla="*/ 349018 h 349017"/>
                <a:gd name="connsiteX9" fmla="*/ 58175 w 58174"/>
                <a:gd name="connsiteY9" fmla="*/ 347753 h 349017"/>
                <a:gd name="connsiteX10" fmla="*/ 58175 w 58174"/>
                <a:gd name="connsiteY10" fmla="*/ 347753 h 349017"/>
                <a:gd name="connsiteX11" fmla="*/ 58175 w 58174"/>
                <a:gd name="connsiteY11" fmla="*/ 346488 h 349017"/>
                <a:gd name="connsiteX12" fmla="*/ 58175 w 58174"/>
                <a:gd name="connsiteY12" fmla="*/ 345224 h 349017"/>
                <a:gd name="connsiteX13" fmla="*/ 58175 w 58174"/>
                <a:gd name="connsiteY13" fmla="*/ 343959 h 349017"/>
                <a:gd name="connsiteX14" fmla="*/ 58175 w 58174"/>
                <a:gd name="connsiteY14" fmla="*/ 342695 h 349017"/>
                <a:gd name="connsiteX15" fmla="*/ 58175 w 58174"/>
                <a:gd name="connsiteY15" fmla="*/ 342695 h 349017"/>
                <a:gd name="connsiteX16" fmla="*/ 58175 w 58174"/>
                <a:gd name="connsiteY16" fmla="*/ 340166 h 349017"/>
                <a:gd name="connsiteX17" fmla="*/ 7588 w 58174"/>
                <a:gd name="connsiteY17" fmla="*/ 0 h 349017"/>
                <a:gd name="connsiteX18" fmla="*/ 5059 w 58174"/>
                <a:gd name="connsiteY18" fmla="*/ 6323 h 34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174" h="349017">
                  <a:moveTo>
                    <a:pt x="5059" y="6323"/>
                  </a:moveTo>
                  <a:cubicBezTo>
                    <a:pt x="2529" y="6323"/>
                    <a:pt x="0" y="5058"/>
                    <a:pt x="0" y="2529"/>
                  </a:cubicBezTo>
                  <a:cubicBezTo>
                    <a:pt x="0" y="2529"/>
                    <a:pt x="0" y="2529"/>
                    <a:pt x="0" y="2529"/>
                  </a:cubicBezTo>
                  <a:lnTo>
                    <a:pt x="0" y="5058"/>
                  </a:lnTo>
                  <a:lnTo>
                    <a:pt x="50586" y="341430"/>
                  </a:lnTo>
                  <a:lnTo>
                    <a:pt x="50586" y="345224"/>
                  </a:lnTo>
                  <a:cubicBezTo>
                    <a:pt x="50586" y="347753"/>
                    <a:pt x="53116" y="349018"/>
                    <a:pt x="55645" y="349018"/>
                  </a:cubicBezTo>
                  <a:cubicBezTo>
                    <a:pt x="55645" y="349018"/>
                    <a:pt x="55645" y="349018"/>
                    <a:pt x="55645" y="349018"/>
                  </a:cubicBezTo>
                  <a:cubicBezTo>
                    <a:pt x="55645" y="349018"/>
                    <a:pt x="56910" y="349018"/>
                    <a:pt x="56910" y="349018"/>
                  </a:cubicBezTo>
                  <a:lnTo>
                    <a:pt x="58175" y="347753"/>
                  </a:lnTo>
                  <a:lnTo>
                    <a:pt x="58175" y="347753"/>
                  </a:lnTo>
                  <a:cubicBezTo>
                    <a:pt x="58175" y="347753"/>
                    <a:pt x="58175" y="347753"/>
                    <a:pt x="58175" y="346488"/>
                  </a:cubicBezTo>
                  <a:cubicBezTo>
                    <a:pt x="58175" y="346488"/>
                    <a:pt x="58175" y="346488"/>
                    <a:pt x="58175" y="345224"/>
                  </a:cubicBezTo>
                  <a:cubicBezTo>
                    <a:pt x="58175" y="345224"/>
                    <a:pt x="58175" y="345224"/>
                    <a:pt x="58175" y="343959"/>
                  </a:cubicBezTo>
                  <a:cubicBezTo>
                    <a:pt x="58175" y="343959"/>
                    <a:pt x="58175" y="342695"/>
                    <a:pt x="58175" y="342695"/>
                  </a:cubicBezTo>
                  <a:lnTo>
                    <a:pt x="58175" y="342695"/>
                  </a:lnTo>
                  <a:lnTo>
                    <a:pt x="58175" y="340166"/>
                  </a:lnTo>
                  <a:lnTo>
                    <a:pt x="7588" y="0"/>
                  </a:lnTo>
                  <a:cubicBezTo>
                    <a:pt x="7588" y="3794"/>
                    <a:pt x="6323" y="6323"/>
                    <a:pt x="5059" y="6323"/>
                  </a:cubicBezTo>
                  <a:close/>
                </a:path>
              </a:pathLst>
            </a:custGeom>
            <a:solidFill>
              <a:srgbClr val="000000"/>
            </a:solidFill>
            <a:ln w="12625"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8AB045CD-8658-4C51-94E5-566412FD48A4}"/>
                </a:ext>
              </a:extLst>
            </p:cNvPr>
            <p:cNvSpPr/>
            <p:nvPr/>
          </p:nvSpPr>
          <p:spPr>
            <a:xfrm>
              <a:off x="11613140" y="4937610"/>
              <a:ext cx="10117" cy="11380"/>
            </a:xfrm>
            <a:custGeom>
              <a:avLst/>
              <a:gdLst>
                <a:gd name="connsiteX0" fmla="*/ 5059 w 10117"/>
                <a:gd name="connsiteY0" fmla="*/ 5058 h 11380"/>
                <a:gd name="connsiteX1" fmla="*/ 0 w 10117"/>
                <a:gd name="connsiteY1" fmla="*/ 1265 h 11380"/>
                <a:gd name="connsiteX2" fmla="*/ 0 w 10117"/>
                <a:gd name="connsiteY2" fmla="*/ 1265 h 11380"/>
                <a:gd name="connsiteX3" fmla="*/ 1265 w 10117"/>
                <a:gd name="connsiteY3" fmla="*/ 7587 h 11380"/>
                <a:gd name="connsiteX4" fmla="*/ 6323 w 10117"/>
                <a:gd name="connsiteY4" fmla="*/ 11381 h 11380"/>
                <a:gd name="connsiteX5" fmla="*/ 6323 w 10117"/>
                <a:gd name="connsiteY5" fmla="*/ 11381 h 11380"/>
                <a:gd name="connsiteX6" fmla="*/ 10117 w 10117"/>
                <a:gd name="connsiteY6" fmla="*/ 6323 h 11380"/>
                <a:gd name="connsiteX7" fmla="*/ 8853 w 10117"/>
                <a:gd name="connsiteY7" fmla="*/ 0 h 11380"/>
                <a:gd name="connsiteX8" fmla="*/ 8853 w 10117"/>
                <a:gd name="connsiteY8" fmla="*/ 0 h 11380"/>
                <a:gd name="connsiteX9" fmla="*/ 5059 w 10117"/>
                <a:gd name="connsiteY9" fmla="*/ 5058 h 1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17" h="11380">
                  <a:moveTo>
                    <a:pt x="5059" y="5058"/>
                  </a:moveTo>
                  <a:cubicBezTo>
                    <a:pt x="2529" y="5058"/>
                    <a:pt x="0" y="3794"/>
                    <a:pt x="0" y="1265"/>
                  </a:cubicBezTo>
                  <a:cubicBezTo>
                    <a:pt x="0" y="1265"/>
                    <a:pt x="0" y="1265"/>
                    <a:pt x="0" y="1265"/>
                  </a:cubicBezTo>
                  <a:lnTo>
                    <a:pt x="1265" y="7587"/>
                  </a:lnTo>
                  <a:cubicBezTo>
                    <a:pt x="1265" y="10116"/>
                    <a:pt x="3794" y="11381"/>
                    <a:pt x="6323" y="11381"/>
                  </a:cubicBezTo>
                  <a:cubicBezTo>
                    <a:pt x="6323" y="11381"/>
                    <a:pt x="6323" y="11381"/>
                    <a:pt x="6323" y="11381"/>
                  </a:cubicBezTo>
                  <a:cubicBezTo>
                    <a:pt x="8853" y="11381"/>
                    <a:pt x="10117" y="8852"/>
                    <a:pt x="10117" y="6323"/>
                  </a:cubicBezTo>
                  <a:lnTo>
                    <a:pt x="8853" y="0"/>
                  </a:lnTo>
                  <a:lnTo>
                    <a:pt x="8853" y="0"/>
                  </a:lnTo>
                  <a:cubicBezTo>
                    <a:pt x="10117" y="2529"/>
                    <a:pt x="7588" y="5058"/>
                    <a:pt x="5059" y="5058"/>
                  </a:cubicBezTo>
                  <a:close/>
                </a:path>
              </a:pathLst>
            </a:custGeom>
            <a:solidFill>
              <a:srgbClr val="000000"/>
            </a:solidFill>
            <a:ln w="12625"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1D09532C-F589-487C-BA1A-815D5D36C660}"/>
                </a:ext>
              </a:extLst>
            </p:cNvPr>
            <p:cNvSpPr/>
            <p:nvPr/>
          </p:nvSpPr>
          <p:spPr>
            <a:xfrm>
              <a:off x="11610611" y="4917377"/>
              <a:ext cx="12646" cy="25291"/>
            </a:xfrm>
            <a:custGeom>
              <a:avLst/>
              <a:gdLst>
                <a:gd name="connsiteX0" fmla="*/ 5059 w 12646"/>
                <a:gd name="connsiteY0" fmla="*/ 5058 h 25291"/>
                <a:gd name="connsiteX1" fmla="*/ 0 w 12646"/>
                <a:gd name="connsiteY1" fmla="*/ 1265 h 25291"/>
                <a:gd name="connsiteX2" fmla="*/ 0 w 12646"/>
                <a:gd name="connsiteY2" fmla="*/ 1265 h 25291"/>
                <a:gd name="connsiteX3" fmla="*/ 0 w 12646"/>
                <a:gd name="connsiteY3" fmla="*/ 1265 h 25291"/>
                <a:gd name="connsiteX4" fmla="*/ 1265 w 12646"/>
                <a:gd name="connsiteY4" fmla="*/ 7587 h 25291"/>
                <a:gd name="connsiteX5" fmla="*/ 2529 w 12646"/>
                <a:gd name="connsiteY5" fmla="*/ 12646 h 25291"/>
                <a:gd name="connsiteX6" fmla="*/ 3794 w 12646"/>
                <a:gd name="connsiteY6" fmla="*/ 18968 h 25291"/>
                <a:gd name="connsiteX7" fmla="*/ 3794 w 12646"/>
                <a:gd name="connsiteY7" fmla="*/ 21498 h 25291"/>
                <a:gd name="connsiteX8" fmla="*/ 3794 w 12646"/>
                <a:gd name="connsiteY8" fmla="*/ 21498 h 25291"/>
                <a:gd name="connsiteX9" fmla="*/ 8853 w 12646"/>
                <a:gd name="connsiteY9" fmla="*/ 25291 h 25291"/>
                <a:gd name="connsiteX10" fmla="*/ 8853 w 12646"/>
                <a:gd name="connsiteY10" fmla="*/ 25291 h 25291"/>
                <a:gd name="connsiteX11" fmla="*/ 12647 w 12646"/>
                <a:gd name="connsiteY11" fmla="*/ 20233 h 25291"/>
                <a:gd name="connsiteX12" fmla="*/ 12647 w 12646"/>
                <a:gd name="connsiteY12" fmla="*/ 20233 h 25291"/>
                <a:gd name="connsiteX13" fmla="*/ 10117 w 12646"/>
                <a:gd name="connsiteY13" fmla="*/ 0 h 25291"/>
                <a:gd name="connsiteX14" fmla="*/ 10117 w 12646"/>
                <a:gd name="connsiteY14" fmla="*/ 0 h 25291"/>
                <a:gd name="connsiteX15" fmla="*/ 5059 w 12646"/>
                <a:gd name="connsiteY15" fmla="*/ 5058 h 2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46" h="25291">
                  <a:moveTo>
                    <a:pt x="5059" y="5058"/>
                  </a:moveTo>
                  <a:cubicBezTo>
                    <a:pt x="2529" y="5058"/>
                    <a:pt x="0" y="3794"/>
                    <a:pt x="0" y="1265"/>
                  </a:cubicBezTo>
                  <a:cubicBezTo>
                    <a:pt x="0" y="1265"/>
                    <a:pt x="0" y="1265"/>
                    <a:pt x="0" y="1265"/>
                  </a:cubicBezTo>
                  <a:lnTo>
                    <a:pt x="0" y="1265"/>
                  </a:lnTo>
                  <a:lnTo>
                    <a:pt x="1265" y="7587"/>
                  </a:lnTo>
                  <a:lnTo>
                    <a:pt x="2529" y="12646"/>
                  </a:lnTo>
                  <a:lnTo>
                    <a:pt x="3794" y="18968"/>
                  </a:lnTo>
                  <a:lnTo>
                    <a:pt x="3794" y="21498"/>
                  </a:lnTo>
                  <a:lnTo>
                    <a:pt x="3794" y="21498"/>
                  </a:lnTo>
                  <a:cubicBezTo>
                    <a:pt x="3794" y="24026"/>
                    <a:pt x="6323" y="25291"/>
                    <a:pt x="8853" y="25291"/>
                  </a:cubicBezTo>
                  <a:cubicBezTo>
                    <a:pt x="8853" y="25291"/>
                    <a:pt x="8853" y="25291"/>
                    <a:pt x="8853" y="25291"/>
                  </a:cubicBezTo>
                  <a:cubicBezTo>
                    <a:pt x="11382" y="25291"/>
                    <a:pt x="12647" y="22762"/>
                    <a:pt x="12647" y="20233"/>
                  </a:cubicBezTo>
                  <a:lnTo>
                    <a:pt x="12647" y="20233"/>
                  </a:lnTo>
                  <a:lnTo>
                    <a:pt x="10117" y="0"/>
                  </a:lnTo>
                  <a:lnTo>
                    <a:pt x="10117" y="0"/>
                  </a:lnTo>
                  <a:cubicBezTo>
                    <a:pt x="8853" y="2529"/>
                    <a:pt x="7588" y="5058"/>
                    <a:pt x="5059" y="5058"/>
                  </a:cubicBezTo>
                  <a:close/>
                </a:path>
              </a:pathLst>
            </a:custGeom>
            <a:solidFill>
              <a:srgbClr val="000000"/>
            </a:solidFill>
            <a:ln w="12625"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7FAF7D81-3C62-482A-9A35-835188FB2960}"/>
                </a:ext>
              </a:extLst>
            </p:cNvPr>
            <p:cNvSpPr/>
            <p:nvPr/>
          </p:nvSpPr>
          <p:spPr>
            <a:xfrm>
              <a:off x="11734547" y="3083771"/>
              <a:ext cx="437573" cy="187154"/>
            </a:xfrm>
            <a:custGeom>
              <a:avLst/>
              <a:gdLst>
                <a:gd name="connsiteX0" fmla="*/ 1265 w 437573"/>
                <a:gd name="connsiteY0" fmla="*/ 0 h 187154"/>
                <a:gd name="connsiteX1" fmla="*/ 1265 w 437573"/>
                <a:gd name="connsiteY1" fmla="*/ 0 h 187154"/>
                <a:gd name="connsiteX2" fmla="*/ 3794 w 437573"/>
                <a:gd name="connsiteY2" fmla="*/ 2529 h 187154"/>
                <a:gd name="connsiteX3" fmla="*/ 1265 w 437573"/>
                <a:gd name="connsiteY3" fmla="*/ 8852 h 187154"/>
                <a:gd name="connsiteX4" fmla="*/ 1265 w 437573"/>
                <a:gd name="connsiteY4" fmla="*/ 8852 h 187154"/>
                <a:gd name="connsiteX5" fmla="*/ 0 w 437573"/>
                <a:gd name="connsiteY5" fmla="*/ 10116 h 187154"/>
                <a:gd name="connsiteX6" fmla="*/ 435044 w 437573"/>
                <a:gd name="connsiteY6" fmla="*/ 187154 h 187154"/>
                <a:gd name="connsiteX7" fmla="*/ 432514 w 437573"/>
                <a:gd name="connsiteY7" fmla="*/ 180832 h 187154"/>
                <a:gd name="connsiteX8" fmla="*/ 432514 w 437573"/>
                <a:gd name="connsiteY8" fmla="*/ 180832 h 187154"/>
                <a:gd name="connsiteX9" fmla="*/ 437573 w 437573"/>
                <a:gd name="connsiteY9" fmla="*/ 178302 h 187154"/>
                <a:gd name="connsiteX10" fmla="*/ 437573 w 437573"/>
                <a:gd name="connsiteY10" fmla="*/ 178302 h 187154"/>
                <a:gd name="connsiteX11" fmla="*/ 429985 w 437573"/>
                <a:gd name="connsiteY11" fmla="*/ 175773 h 187154"/>
                <a:gd name="connsiteX12" fmla="*/ 1265 w 437573"/>
                <a:gd name="connsiteY12" fmla="*/ 0 h 18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7573" h="187154">
                  <a:moveTo>
                    <a:pt x="1265" y="0"/>
                  </a:moveTo>
                  <a:lnTo>
                    <a:pt x="1265" y="0"/>
                  </a:lnTo>
                  <a:cubicBezTo>
                    <a:pt x="2529" y="0"/>
                    <a:pt x="3794" y="1265"/>
                    <a:pt x="3794" y="2529"/>
                  </a:cubicBezTo>
                  <a:cubicBezTo>
                    <a:pt x="5059" y="5058"/>
                    <a:pt x="3794" y="7587"/>
                    <a:pt x="1265" y="8852"/>
                  </a:cubicBezTo>
                  <a:cubicBezTo>
                    <a:pt x="1265" y="8852"/>
                    <a:pt x="1265" y="8852"/>
                    <a:pt x="1265" y="8852"/>
                  </a:cubicBezTo>
                  <a:lnTo>
                    <a:pt x="0" y="10116"/>
                  </a:lnTo>
                  <a:lnTo>
                    <a:pt x="435044" y="187154"/>
                  </a:lnTo>
                  <a:cubicBezTo>
                    <a:pt x="432514" y="185890"/>
                    <a:pt x="431250" y="183361"/>
                    <a:pt x="432514" y="180832"/>
                  </a:cubicBezTo>
                  <a:cubicBezTo>
                    <a:pt x="432514" y="180832"/>
                    <a:pt x="432514" y="180832"/>
                    <a:pt x="432514" y="180832"/>
                  </a:cubicBezTo>
                  <a:cubicBezTo>
                    <a:pt x="433779" y="178302"/>
                    <a:pt x="436308" y="177038"/>
                    <a:pt x="437573" y="178302"/>
                  </a:cubicBezTo>
                  <a:cubicBezTo>
                    <a:pt x="437573" y="178302"/>
                    <a:pt x="437573" y="178302"/>
                    <a:pt x="437573" y="178302"/>
                  </a:cubicBezTo>
                  <a:lnTo>
                    <a:pt x="429985" y="175773"/>
                  </a:lnTo>
                  <a:lnTo>
                    <a:pt x="1265" y="0"/>
                  </a:lnTo>
                  <a:close/>
                </a:path>
              </a:pathLst>
            </a:custGeom>
            <a:solidFill>
              <a:srgbClr val="000000"/>
            </a:solidFill>
            <a:ln w="12625"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C0C63FB1-7721-45D1-87A5-6362C55038AF}"/>
                </a:ext>
              </a:extLst>
            </p:cNvPr>
            <p:cNvSpPr/>
            <p:nvPr/>
          </p:nvSpPr>
          <p:spPr>
            <a:xfrm>
              <a:off x="12165301" y="3261577"/>
              <a:ext cx="52347" cy="29580"/>
            </a:xfrm>
            <a:custGeom>
              <a:avLst/>
              <a:gdLst>
                <a:gd name="connsiteX0" fmla="*/ 6819 w 52347"/>
                <a:gd name="connsiteY0" fmla="*/ 496 h 29580"/>
                <a:gd name="connsiteX1" fmla="*/ 496 w 52347"/>
                <a:gd name="connsiteY1" fmla="*/ 3025 h 29580"/>
                <a:gd name="connsiteX2" fmla="*/ 496 w 52347"/>
                <a:gd name="connsiteY2" fmla="*/ 3025 h 29580"/>
                <a:gd name="connsiteX3" fmla="*/ 3026 w 52347"/>
                <a:gd name="connsiteY3" fmla="*/ 9348 h 29580"/>
                <a:gd name="connsiteX4" fmla="*/ 3026 w 52347"/>
                <a:gd name="connsiteY4" fmla="*/ 9348 h 29580"/>
                <a:gd name="connsiteX5" fmla="*/ 52347 w 52347"/>
                <a:gd name="connsiteY5" fmla="*/ 29581 h 29580"/>
                <a:gd name="connsiteX6" fmla="*/ 52347 w 52347"/>
                <a:gd name="connsiteY6" fmla="*/ 19464 h 29580"/>
                <a:gd name="connsiteX7" fmla="*/ 9349 w 52347"/>
                <a:gd name="connsiteY7" fmla="*/ 1761 h 29580"/>
                <a:gd name="connsiteX8" fmla="*/ 6819 w 52347"/>
                <a:gd name="connsiteY8" fmla="*/ 496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47" h="29580">
                  <a:moveTo>
                    <a:pt x="6819" y="496"/>
                  </a:moveTo>
                  <a:cubicBezTo>
                    <a:pt x="4290" y="-769"/>
                    <a:pt x="1761" y="496"/>
                    <a:pt x="496" y="3025"/>
                  </a:cubicBezTo>
                  <a:cubicBezTo>
                    <a:pt x="496" y="3025"/>
                    <a:pt x="496" y="3025"/>
                    <a:pt x="496" y="3025"/>
                  </a:cubicBezTo>
                  <a:cubicBezTo>
                    <a:pt x="-769" y="5554"/>
                    <a:pt x="496" y="8084"/>
                    <a:pt x="3026" y="9348"/>
                  </a:cubicBezTo>
                  <a:cubicBezTo>
                    <a:pt x="3026" y="9348"/>
                    <a:pt x="3026" y="9348"/>
                    <a:pt x="3026" y="9348"/>
                  </a:cubicBezTo>
                  <a:lnTo>
                    <a:pt x="52347" y="29581"/>
                  </a:lnTo>
                  <a:lnTo>
                    <a:pt x="52347" y="19464"/>
                  </a:lnTo>
                  <a:lnTo>
                    <a:pt x="9349" y="1761"/>
                  </a:lnTo>
                  <a:lnTo>
                    <a:pt x="6819" y="496"/>
                  </a:lnTo>
                  <a:close/>
                </a:path>
              </a:pathLst>
            </a:custGeom>
            <a:solidFill>
              <a:srgbClr val="000000"/>
            </a:solidFill>
            <a:ln w="12625"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39AFCBBF-F344-4A9D-B621-581C8EBF3296}"/>
                </a:ext>
              </a:extLst>
            </p:cNvPr>
            <p:cNvSpPr/>
            <p:nvPr/>
          </p:nvSpPr>
          <p:spPr>
            <a:xfrm>
              <a:off x="11604287" y="4875647"/>
              <a:ext cx="15175" cy="46788"/>
            </a:xfrm>
            <a:custGeom>
              <a:avLst/>
              <a:gdLst>
                <a:gd name="connsiteX0" fmla="*/ 5059 w 15175"/>
                <a:gd name="connsiteY0" fmla="*/ 5058 h 46788"/>
                <a:gd name="connsiteX1" fmla="*/ 0 w 15175"/>
                <a:gd name="connsiteY1" fmla="*/ 1265 h 46788"/>
                <a:gd name="connsiteX2" fmla="*/ 1265 w 15175"/>
                <a:gd name="connsiteY2" fmla="*/ 7587 h 46788"/>
                <a:gd name="connsiteX3" fmla="*/ 6323 w 15175"/>
                <a:gd name="connsiteY3" fmla="*/ 39201 h 46788"/>
                <a:gd name="connsiteX4" fmla="*/ 6323 w 15175"/>
                <a:gd name="connsiteY4" fmla="*/ 42995 h 46788"/>
                <a:gd name="connsiteX5" fmla="*/ 6323 w 15175"/>
                <a:gd name="connsiteY5" fmla="*/ 42995 h 46788"/>
                <a:gd name="connsiteX6" fmla="*/ 11382 w 15175"/>
                <a:gd name="connsiteY6" fmla="*/ 46788 h 46788"/>
                <a:gd name="connsiteX7" fmla="*/ 11382 w 15175"/>
                <a:gd name="connsiteY7" fmla="*/ 46788 h 46788"/>
                <a:gd name="connsiteX8" fmla="*/ 15176 w 15175"/>
                <a:gd name="connsiteY8" fmla="*/ 41730 h 46788"/>
                <a:gd name="connsiteX9" fmla="*/ 15176 w 15175"/>
                <a:gd name="connsiteY9" fmla="*/ 41730 h 46788"/>
                <a:gd name="connsiteX10" fmla="*/ 8853 w 15175"/>
                <a:gd name="connsiteY10" fmla="*/ 0 h 46788"/>
                <a:gd name="connsiteX11" fmla="*/ 5059 w 15175"/>
                <a:gd name="connsiteY11" fmla="*/ 5058 h 4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75" h="46788">
                  <a:moveTo>
                    <a:pt x="5059" y="5058"/>
                  </a:moveTo>
                  <a:cubicBezTo>
                    <a:pt x="2529" y="5058"/>
                    <a:pt x="0" y="3794"/>
                    <a:pt x="0" y="1265"/>
                  </a:cubicBezTo>
                  <a:lnTo>
                    <a:pt x="1265" y="7587"/>
                  </a:lnTo>
                  <a:lnTo>
                    <a:pt x="6323" y="39201"/>
                  </a:lnTo>
                  <a:lnTo>
                    <a:pt x="6323" y="42995"/>
                  </a:lnTo>
                  <a:lnTo>
                    <a:pt x="6323" y="42995"/>
                  </a:lnTo>
                  <a:cubicBezTo>
                    <a:pt x="6323" y="45524"/>
                    <a:pt x="8853" y="46788"/>
                    <a:pt x="11382" y="46788"/>
                  </a:cubicBezTo>
                  <a:cubicBezTo>
                    <a:pt x="11382" y="46788"/>
                    <a:pt x="11382" y="46788"/>
                    <a:pt x="11382" y="46788"/>
                  </a:cubicBezTo>
                  <a:cubicBezTo>
                    <a:pt x="13911" y="46788"/>
                    <a:pt x="15176" y="44259"/>
                    <a:pt x="15176" y="41730"/>
                  </a:cubicBezTo>
                  <a:lnTo>
                    <a:pt x="15176" y="41730"/>
                  </a:lnTo>
                  <a:lnTo>
                    <a:pt x="8853" y="0"/>
                  </a:lnTo>
                  <a:cubicBezTo>
                    <a:pt x="8853" y="2529"/>
                    <a:pt x="7588" y="5058"/>
                    <a:pt x="5059" y="5058"/>
                  </a:cubicBezTo>
                  <a:close/>
                </a:path>
              </a:pathLst>
            </a:custGeom>
            <a:solidFill>
              <a:srgbClr val="000000"/>
            </a:solidFill>
            <a:ln w="12625"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A5AE11CC-BDE9-444F-8D77-F58A60EB0666}"/>
                </a:ext>
              </a:extLst>
            </p:cNvPr>
            <p:cNvSpPr/>
            <p:nvPr/>
          </p:nvSpPr>
          <p:spPr>
            <a:xfrm>
              <a:off x="11554965" y="4549391"/>
              <a:ext cx="56909" cy="332578"/>
            </a:xfrm>
            <a:custGeom>
              <a:avLst/>
              <a:gdLst>
                <a:gd name="connsiteX0" fmla="*/ 5059 w 56909"/>
                <a:gd name="connsiteY0" fmla="*/ 5059 h 332578"/>
                <a:gd name="connsiteX1" fmla="*/ 0 w 56909"/>
                <a:gd name="connsiteY1" fmla="*/ 1265 h 332578"/>
                <a:gd name="connsiteX2" fmla="*/ 0 w 56909"/>
                <a:gd name="connsiteY2" fmla="*/ 3794 h 332578"/>
                <a:gd name="connsiteX3" fmla="*/ 48057 w 56909"/>
                <a:gd name="connsiteY3" fmla="*/ 324991 h 332578"/>
                <a:gd name="connsiteX4" fmla="*/ 48057 w 56909"/>
                <a:gd name="connsiteY4" fmla="*/ 328785 h 332578"/>
                <a:gd name="connsiteX5" fmla="*/ 53116 w 56909"/>
                <a:gd name="connsiteY5" fmla="*/ 332578 h 332578"/>
                <a:gd name="connsiteX6" fmla="*/ 56910 w 56909"/>
                <a:gd name="connsiteY6" fmla="*/ 327520 h 332578"/>
                <a:gd name="connsiteX7" fmla="*/ 56910 w 56909"/>
                <a:gd name="connsiteY7" fmla="*/ 327520 h 332578"/>
                <a:gd name="connsiteX8" fmla="*/ 7588 w 56909"/>
                <a:gd name="connsiteY8" fmla="*/ 0 h 332578"/>
                <a:gd name="connsiteX9" fmla="*/ 5059 w 56909"/>
                <a:gd name="connsiteY9" fmla="*/ 5059 h 3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09" h="332578">
                  <a:moveTo>
                    <a:pt x="5059" y="5059"/>
                  </a:moveTo>
                  <a:cubicBezTo>
                    <a:pt x="2529" y="5059"/>
                    <a:pt x="0" y="3794"/>
                    <a:pt x="0" y="1265"/>
                  </a:cubicBezTo>
                  <a:lnTo>
                    <a:pt x="0" y="3794"/>
                  </a:lnTo>
                  <a:lnTo>
                    <a:pt x="48057" y="324991"/>
                  </a:lnTo>
                  <a:lnTo>
                    <a:pt x="48057" y="328785"/>
                  </a:lnTo>
                  <a:cubicBezTo>
                    <a:pt x="48057" y="331314"/>
                    <a:pt x="50586" y="332578"/>
                    <a:pt x="53116" y="332578"/>
                  </a:cubicBezTo>
                  <a:cubicBezTo>
                    <a:pt x="55645" y="332578"/>
                    <a:pt x="56910" y="330049"/>
                    <a:pt x="56910" y="327520"/>
                  </a:cubicBezTo>
                  <a:cubicBezTo>
                    <a:pt x="56910" y="327520"/>
                    <a:pt x="56910" y="327520"/>
                    <a:pt x="56910" y="327520"/>
                  </a:cubicBezTo>
                  <a:lnTo>
                    <a:pt x="7588" y="0"/>
                  </a:lnTo>
                  <a:cubicBezTo>
                    <a:pt x="8853" y="1265"/>
                    <a:pt x="7588" y="3794"/>
                    <a:pt x="5059" y="5059"/>
                  </a:cubicBezTo>
                  <a:close/>
                </a:path>
              </a:pathLst>
            </a:custGeom>
            <a:solidFill>
              <a:srgbClr val="000000"/>
            </a:solidFill>
            <a:ln w="12625"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C50E220C-A00B-48A9-8179-6BED3B9451A1}"/>
                </a:ext>
              </a:extLst>
            </p:cNvPr>
            <p:cNvSpPr/>
            <p:nvPr/>
          </p:nvSpPr>
          <p:spPr>
            <a:xfrm>
              <a:off x="11492997" y="4137146"/>
              <a:ext cx="71157" cy="416375"/>
            </a:xfrm>
            <a:custGeom>
              <a:avLst/>
              <a:gdLst>
                <a:gd name="connsiteX0" fmla="*/ 60704 w 71157"/>
                <a:gd name="connsiteY0" fmla="*/ 403393 h 416375"/>
                <a:gd name="connsiteX1" fmla="*/ 61968 w 71157"/>
                <a:gd name="connsiteY1" fmla="*/ 412245 h 416375"/>
                <a:gd name="connsiteX2" fmla="*/ 67027 w 71157"/>
                <a:gd name="connsiteY2" fmla="*/ 416039 h 416375"/>
                <a:gd name="connsiteX3" fmla="*/ 70821 w 71157"/>
                <a:gd name="connsiteY3" fmla="*/ 410981 h 416375"/>
                <a:gd name="connsiteX4" fmla="*/ 70821 w 71157"/>
                <a:gd name="connsiteY4" fmla="*/ 409716 h 416375"/>
                <a:gd name="connsiteX5" fmla="*/ 8853 w 71157"/>
                <a:gd name="connsiteY5" fmla="*/ 0 h 416375"/>
                <a:gd name="connsiteX6" fmla="*/ 5059 w 71157"/>
                <a:gd name="connsiteY6" fmla="*/ 5058 h 416375"/>
                <a:gd name="connsiteX7" fmla="*/ 5059 w 71157"/>
                <a:gd name="connsiteY7" fmla="*/ 5058 h 416375"/>
                <a:gd name="connsiteX8" fmla="*/ 0 w 71157"/>
                <a:gd name="connsiteY8" fmla="*/ 1264 h 416375"/>
                <a:gd name="connsiteX9" fmla="*/ 1265 w 71157"/>
                <a:gd name="connsiteY9" fmla="*/ 7587 h 416375"/>
                <a:gd name="connsiteX10" fmla="*/ 60704 w 71157"/>
                <a:gd name="connsiteY10" fmla="*/ 403393 h 41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157" h="416375">
                  <a:moveTo>
                    <a:pt x="60704" y="403393"/>
                  </a:moveTo>
                  <a:lnTo>
                    <a:pt x="61968" y="412245"/>
                  </a:lnTo>
                  <a:cubicBezTo>
                    <a:pt x="61968" y="414774"/>
                    <a:pt x="64498" y="417304"/>
                    <a:pt x="67027" y="416039"/>
                  </a:cubicBezTo>
                  <a:cubicBezTo>
                    <a:pt x="69556" y="416039"/>
                    <a:pt x="72086" y="413510"/>
                    <a:pt x="70821" y="410981"/>
                  </a:cubicBezTo>
                  <a:cubicBezTo>
                    <a:pt x="70821" y="410981"/>
                    <a:pt x="70821" y="410981"/>
                    <a:pt x="70821" y="409716"/>
                  </a:cubicBezTo>
                  <a:lnTo>
                    <a:pt x="8853" y="0"/>
                  </a:lnTo>
                  <a:cubicBezTo>
                    <a:pt x="8853" y="2529"/>
                    <a:pt x="7588" y="5058"/>
                    <a:pt x="5059" y="5058"/>
                  </a:cubicBezTo>
                  <a:cubicBezTo>
                    <a:pt x="5059" y="5058"/>
                    <a:pt x="5059" y="5058"/>
                    <a:pt x="5059" y="5058"/>
                  </a:cubicBezTo>
                  <a:cubicBezTo>
                    <a:pt x="2529" y="5058"/>
                    <a:pt x="0" y="3794"/>
                    <a:pt x="0" y="1264"/>
                  </a:cubicBezTo>
                  <a:lnTo>
                    <a:pt x="1265" y="7587"/>
                  </a:lnTo>
                  <a:lnTo>
                    <a:pt x="60704" y="403393"/>
                  </a:lnTo>
                  <a:close/>
                </a:path>
              </a:pathLst>
            </a:custGeom>
            <a:solidFill>
              <a:srgbClr val="000000"/>
            </a:solidFill>
            <a:ln w="12625"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9F6D69CC-580E-4205-937C-04000EA969B3}"/>
                </a:ext>
              </a:extLst>
            </p:cNvPr>
            <p:cNvSpPr/>
            <p:nvPr/>
          </p:nvSpPr>
          <p:spPr>
            <a:xfrm>
              <a:off x="11409529" y="3566832"/>
              <a:ext cx="93585" cy="576637"/>
            </a:xfrm>
            <a:custGeom>
              <a:avLst/>
              <a:gdLst>
                <a:gd name="connsiteX0" fmla="*/ 1265 w 93585"/>
                <a:gd name="connsiteY0" fmla="*/ 1265 h 576637"/>
                <a:gd name="connsiteX1" fmla="*/ 1265 w 93585"/>
                <a:gd name="connsiteY1" fmla="*/ 1265 h 576637"/>
                <a:gd name="connsiteX2" fmla="*/ 1265 w 93585"/>
                <a:gd name="connsiteY2" fmla="*/ 1265 h 576637"/>
                <a:gd name="connsiteX3" fmla="*/ 1265 w 93585"/>
                <a:gd name="connsiteY3" fmla="*/ 1265 h 576637"/>
                <a:gd name="connsiteX4" fmla="*/ 0 w 93585"/>
                <a:gd name="connsiteY4" fmla="*/ 2529 h 576637"/>
                <a:gd name="connsiteX5" fmla="*/ 0 w 93585"/>
                <a:gd name="connsiteY5" fmla="*/ 3794 h 576637"/>
                <a:gd name="connsiteX6" fmla="*/ 0 w 93585"/>
                <a:gd name="connsiteY6" fmla="*/ 3794 h 576637"/>
                <a:gd name="connsiteX7" fmla="*/ 0 w 93585"/>
                <a:gd name="connsiteY7" fmla="*/ 5058 h 576637"/>
                <a:gd name="connsiteX8" fmla="*/ 84732 w 93585"/>
                <a:gd name="connsiteY8" fmla="*/ 569050 h 576637"/>
                <a:gd name="connsiteX9" fmla="*/ 84732 w 93585"/>
                <a:gd name="connsiteY9" fmla="*/ 572844 h 576637"/>
                <a:gd name="connsiteX10" fmla="*/ 89791 w 93585"/>
                <a:gd name="connsiteY10" fmla="*/ 576638 h 576637"/>
                <a:gd name="connsiteX11" fmla="*/ 93585 w 93585"/>
                <a:gd name="connsiteY11" fmla="*/ 571579 h 576637"/>
                <a:gd name="connsiteX12" fmla="*/ 93585 w 93585"/>
                <a:gd name="connsiteY12" fmla="*/ 571579 h 576637"/>
                <a:gd name="connsiteX13" fmla="*/ 10117 w 93585"/>
                <a:gd name="connsiteY13" fmla="*/ 12646 h 576637"/>
                <a:gd name="connsiteX14" fmla="*/ 8853 w 93585"/>
                <a:gd name="connsiteY14" fmla="*/ 7587 h 576637"/>
                <a:gd name="connsiteX15" fmla="*/ 8853 w 93585"/>
                <a:gd name="connsiteY15" fmla="*/ 3794 h 576637"/>
                <a:gd name="connsiteX16" fmla="*/ 3794 w 93585"/>
                <a:gd name="connsiteY16" fmla="*/ 0 h 576637"/>
                <a:gd name="connsiteX17" fmla="*/ 2529 w 93585"/>
                <a:gd name="connsiteY17" fmla="*/ 0 h 576637"/>
                <a:gd name="connsiteX18" fmla="*/ 1265 w 93585"/>
                <a:gd name="connsiteY18" fmla="*/ 0 h 576637"/>
                <a:gd name="connsiteX19" fmla="*/ 1265 w 93585"/>
                <a:gd name="connsiteY19" fmla="*/ 1265 h 57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585" h="576637">
                  <a:moveTo>
                    <a:pt x="1265" y="1265"/>
                  </a:moveTo>
                  <a:cubicBezTo>
                    <a:pt x="0" y="1265"/>
                    <a:pt x="0" y="1265"/>
                    <a:pt x="1265" y="1265"/>
                  </a:cubicBezTo>
                  <a:lnTo>
                    <a:pt x="1265" y="1265"/>
                  </a:lnTo>
                  <a:lnTo>
                    <a:pt x="1265" y="1265"/>
                  </a:lnTo>
                  <a:lnTo>
                    <a:pt x="0" y="2529"/>
                  </a:lnTo>
                  <a:cubicBezTo>
                    <a:pt x="0" y="2529"/>
                    <a:pt x="0" y="2529"/>
                    <a:pt x="0" y="3794"/>
                  </a:cubicBezTo>
                  <a:lnTo>
                    <a:pt x="0" y="3794"/>
                  </a:lnTo>
                  <a:lnTo>
                    <a:pt x="0" y="5058"/>
                  </a:lnTo>
                  <a:lnTo>
                    <a:pt x="84732" y="569050"/>
                  </a:lnTo>
                  <a:lnTo>
                    <a:pt x="84732" y="572844"/>
                  </a:lnTo>
                  <a:cubicBezTo>
                    <a:pt x="84732" y="575373"/>
                    <a:pt x="87262" y="576638"/>
                    <a:pt x="89791" y="576638"/>
                  </a:cubicBezTo>
                  <a:cubicBezTo>
                    <a:pt x="92320" y="576638"/>
                    <a:pt x="93585" y="574108"/>
                    <a:pt x="93585" y="571579"/>
                  </a:cubicBezTo>
                  <a:cubicBezTo>
                    <a:pt x="93585" y="571579"/>
                    <a:pt x="93585" y="571579"/>
                    <a:pt x="93585" y="571579"/>
                  </a:cubicBezTo>
                  <a:lnTo>
                    <a:pt x="10117" y="12646"/>
                  </a:lnTo>
                  <a:lnTo>
                    <a:pt x="8853" y="7587"/>
                  </a:lnTo>
                  <a:lnTo>
                    <a:pt x="8853" y="3794"/>
                  </a:lnTo>
                  <a:cubicBezTo>
                    <a:pt x="8853" y="1265"/>
                    <a:pt x="6323" y="0"/>
                    <a:pt x="3794" y="0"/>
                  </a:cubicBezTo>
                  <a:cubicBezTo>
                    <a:pt x="3794" y="0"/>
                    <a:pt x="2529" y="0"/>
                    <a:pt x="2529" y="0"/>
                  </a:cubicBezTo>
                  <a:lnTo>
                    <a:pt x="1265" y="0"/>
                  </a:lnTo>
                  <a:lnTo>
                    <a:pt x="1265" y="1265"/>
                  </a:lnTo>
                  <a:close/>
                </a:path>
              </a:pathLst>
            </a:custGeom>
            <a:solidFill>
              <a:srgbClr val="000000"/>
            </a:solidFill>
            <a:ln w="12625"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783A8612-8257-41FE-B4C3-92B0B86AAC20}"/>
                </a:ext>
              </a:extLst>
            </p:cNvPr>
            <p:cNvSpPr/>
            <p:nvPr/>
          </p:nvSpPr>
          <p:spPr>
            <a:xfrm>
              <a:off x="9219135" y="2322508"/>
              <a:ext cx="396335" cy="153507"/>
            </a:xfrm>
            <a:custGeom>
              <a:avLst/>
              <a:gdLst>
                <a:gd name="connsiteX0" fmla="*/ 0 w 396335"/>
                <a:gd name="connsiteY0" fmla="*/ 150482 h 153507"/>
                <a:gd name="connsiteX1" fmla="*/ 6323 w 396335"/>
                <a:gd name="connsiteY1" fmla="*/ 153011 h 153507"/>
                <a:gd name="connsiteX2" fmla="*/ 6323 w 396335"/>
                <a:gd name="connsiteY2" fmla="*/ 153011 h 153507"/>
                <a:gd name="connsiteX3" fmla="*/ 10117 w 396335"/>
                <a:gd name="connsiteY3" fmla="*/ 151747 h 153507"/>
                <a:gd name="connsiteX4" fmla="*/ 16441 w 396335"/>
                <a:gd name="connsiteY4" fmla="*/ 149218 h 153507"/>
                <a:gd name="connsiteX5" fmla="*/ 392045 w 396335"/>
                <a:gd name="connsiteY5" fmla="*/ 10116 h 153507"/>
                <a:gd name="connsiteX6" fmla="*/ 393310 w 396335"/>
                <a:gd name="connsiteY6" fmla="*/ 8852 h 153507"/>
                <a:gd name="connsiteX7" fmla="*/ 395839 w 396335"/>
                <a:gd name="connsiteY7" fmla="*/ 2529 h 153507"/>
                <a:gd name="connsiteX8" fmla="*/ 392045 w 396335"/>
                <a:gd name="connsiteY8" fmla="*/ 0 h 153507"/>
                <a:gd name="connsiteX9" fmla="*/ 392045 w 396335"/>
                <a:gd name="connsiteY9" fmla="*/ 0 h 153507"/>
                <a:gd name="connsiteX10" fmla="*/ 390780 w 396335"/>
                <a:gd name="connsiteY10" fmla="*/ 0 h 153507"/>
                <a:gd name="connsiteX11" fmla="*/ 390780 w 396335"/>
                <a:gd name="connsiteY11" fmla="*/ 0 h 153507"/>
                <a:gd name="connsiteX12" fmla="*/ 2529 w 396335"/>
                <a:gd name="connsiteY12" fmla="*/ 142895 h 153507"/>
                <a:gd name="connsiteX13" fmla="*/ 2529 w 396335"/>
                <a:gd name="connsiteY13" fmla="*/ 142895 h 153507"/>
                <a:gd name="connsiteX14" fmla="*/ 2529 w 396335"/>
                <a:gd name="connsiteY14" fmla="*/ 142895 h 153507"/>
                <a:gd name="connsiteX15" fmla="*/ 1265 w 396335"/>
                <a:gd name="connsiteY15" fmla="*/ 142895 h 153507"/>
                <a:gd name="connsiteX16" fmla="*/ 1265 w 396335"/>
                <a:gd name="connsiteY16" fmla="*/ 142895 h 153507"/>
                <a:gd name="connsiteX17" fmla="*/ 1265 w 396335"/>
                <a:gd name="connsiteY17" fmla="*/ 142895 h 153507"/>
                <a:gd name="connsiteX18" fmla="*/ 1265 w 396335"/>
                <a:gd name="connsiteY18" fmla="*/ 144160 h 153507"/>
                <a:gd name="connsiteX19" fmla="*/ 1265 w 396335"/>
                <a:gd name="connsiteY19" fmla="*/ 144160 h 153507"/>
                <a:gd name="connsiteX20" fmla="*/ 1265 w 396335"/>
                <a:gd name="connsiteY20" fmla="*/ 144160 h 153507"/>
                <a:gd name="connsiteX21" fmla="*/ 1265 w 396335"/>
                <a:gd name="connsiteY21" fmla="*/ 145424 h 153507"/>
                <a:gd name="connsiteX22" fmla="*/ 1265 w 396335"/>
                <a:gd name="connsiteY22" fmla="*/ 145424 h 153507"/>
                <a:gd name="connsiteX23" fmla="*/ 1265 w 396335"/>
                <a:gd name="connsiteY23" fmla="*/ 145424 h 153507"/>
                <a:gd name="connsiteX24" fmla="*/ 0 w 396335"/>
                <a:gd name="connsiteY24" fmla="*/ 150482 h 15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6335" h="153507">
                  <a:moveTo>
                    <a:pt x="0" y="150482"/>
                  </a:moveTo>
                  <a:cubicBezTo>
                    <a:pt x="1265" y="153011"/>
                    <a:pt x="3794" y="154276"/>
                    <a:pt x="6323" y="153011"/>
                  </a:cubicBezTo>
                  <a:cubicBezTo>
                    <a:pt x="6323" y="153011"/>
                    <a:pt x="6323" y="153011"/>
                    <a:pt x="6323" y="153011"/>
                  </a:cubicBezTo>
                  <a:lnTo>
                    <a:pt x="10117" y="151747"/>
                  </a:lnTo>
                  <a:lnTo>
                    <a:pt x="16441" y="149218"/>
                  </a:lnTo>
                  <a:lnTo>
                    <a:pt x="392045" y="10116"/>
                  </a:lnTo>
                  <a:lnTo>
                    <a:pt x="393310" y="8852"/>
                  </a:lnTo>
                  <a:cubicBezTo>
                    <a:pt x="395839" y="7587"/>
                    <a:pt x="397104" y="5058"/>
                    <a:pt x="395839" y="2529"/>
                  </a:cubicBezTo>
                  <a:cubicBezTo>
                    <a:pt x="395839" y="1265"/>
                    <a:pt x="394574" y="0"/>
                    <a:pt x="392045" y="0"/>
                  </a:cubicBezTo>
                  <a:lnTo>
                    <a:pt x="392045" y="0"/>
                  </a:lnTo>
                  <a:lnTo>
                    <a:pt x="390780" y="0"/>
                  </a:lnTo>
                  <a:lnTo>
                    <a:pt x="390780" y="0"/>
                  </a:lnTo>
                  <a:lnTo>
                    <a:pt x="2529" y="142895"/>
                  </a:lnTo>
                  <a:lnTo>
                    <a:pt x="2529" y="142895"/>
                  </a:lnTo>
                  <a:lnTo>
                    <a:pt x="2529" y="142895"/>
                  </a:lnTo>
                  <a:lnTo>
                    <a:pt x="1265" y="142895"/>
                  </a:lnTo>
                  <a:lnTo>
                    <a:pt x="1265" y="142895"/>
                  </a:lnTo>
                  <a:lnTo>
                    <a:pt x="1265" y="142895"/>
                  </a:lnTo>
                  <a:lnTo>
                    <a:pt x="1265" y="144160"/>
                  </a:lnTo>
                  <a:lnTo>
                    <a:pt x="1265" y="144160"/>
                  </a:lnTo>
                  <a:lnTo>
                    <a:pt x="1265" y="144160"/>
                  </a:lnTo>
                  <a:cubicBezTo>
                    <a:pt x="1265" y="144160"/>
                    <a:pt x="1265" y="144160"/>
                    <a:pt x="1265" y="145424"/>
                  </a:cubicBezTo>
                  <a:cubicBezTo>
                    <a:pt x="1265" y="146689"/>
                    <a:pt x="1265" y="145424"/>
                    <a:pt x="1265" y="145424"/>
                  </a:cubicBezTo>
                  <a:lnTo>
                    <a:pt x="1265" y="145424"/>
                  </a:lnTo>
                  <a:cubicBezTo>
                    <a:pt x="0" y="146689"/>
                    <a:pt x="0" y="147953"/>
                    <a:pt x="0" y="150482"/>
                  </a:cubicBezTo>
                  <a:close/>
                </a:path>
              </a:pathLst>
            </a:custGeom>
            <a:solidFill>
              <a:srgbClr val="000000"/>
            </a:solidFill>
            <a:ln w="12625"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B2C7BD53-ABF5-43C2-8B21-A0C70E3E67F4}"/>
                </a:ext>
              </a:extLst>
            </p:cNvPr>
            <p:cNvSpPr/>
            <p:nvPr/>
          </p:nvSpPr>
          <p:spPr>
            <a:xfrm>
              <a:off x="11672083" y="3083771"/>
              <a:ext cx="66258" cy="34639"/>
            </a:xfrm>
            <a:custGeom>
              <a:avLst/>
              <a:gdLst>
                <a:gd name="connsiteX0" fmla="*/ 66259 w 66258"/>
                <a:gd name="connsiteY0" fmla="*/ 2529 h 34639"/>
                <a:gd name="connsiteX1" fmla="*/ 63729 w 66258"/>
                <a:gd name="connsiteY1" fmla="*/ 0 h 34639"/>
                <a:gd name="connsiteX2" fmla="*/ 62465 w 66258"/>
                <a:gd name="connsiteY2" fmla="*/ 0 h 34639"/>
                <a:gd name="connsiteX3" fmla="*/ 61200 w 66258"/>
                <a:gd name="connsiteY3" fmla="*/ 0 h 34639"/>
                <a:gd name="connsiteX4" fmla="*/ 59935 w 66258"/>
                <a:gd name="connsiteY4" fmla="*/ 0 h 34639"/>
                <a:gd name="connsiteX5" fmla="*/ 59935 w 66258"/>
                <a:gd name="connsiteY5" fmla="*/ 0 h 34639"/>
                <a:gd name="connsiteX6" fmla="*/ 8084 w 66258"/>
                <a:gd name="connsiteY6" fmla="*/ 22762 h 34639"/>
                <a:gd name="connsiteX7" fmla="*/ 3025 w 66258"/>
                <a:gd name="connsiteY7" fmla="*/ 25291 h 34639"/>
                <a:gd name="connsiteX8" fmla="*/ 496 w 66258"/>
                <a:gd name="connsiteY8" fmla="*/ 31614 h 34639"/>
                <a:gd name="connsiteX9" fmla="*/ 6819 w 66258"/>
                <a:gd name="connsiteY9" fmla="*/ 34143 h 34639"/>
                <a:gd name="connsiteX10" fmla="*/ 62465 w 66258"/>
                <a:gd name="connsiteY10" fmla="*/ 8852 h 34639"/>
                <a:gd name="connsiteX11" fmla="*/ 63729 w 66258"/>
                <a:gd name="connsiteY11" fmla="*/ 7587 h 34639"/>
                <a:gd name="connsiteX12" fmla="*/ 66259 w 66258"/>
                <a:gd name="connsiteY12" fmla="*/ 2529 h 3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58" h="34639">
                  <a:moveTo>
                    <a:pt x="66259" y="2529"/>
                  </a:moveTo>
                  <a:cubicBezTo>
                    <a:pt x="66259" y="1265"/>
                    <a:pt x="64994" y="0"/>
                    <a:pt x="63729" y="0"/>
                  </a:cubicBezTo>
                  <a:lnTo>
                    <a:pt x="62465" y="0"/>
                  </a:lnTo>
                  <a:lnTo>
                    <a:pt x="61200" y="0"/>
                  </a:lnTo>
                  <a:lnTo>
                    <a:pt x="59935" y="0"/>
                  </a:lnTo>
                  <a:lnTo>
                    <a:pt x="59935" y="0"/>
                  </a:lnTo>
                  <a:lnTo>
                    <a:pt x="8084" y="22762"/>
                  </a:lnTo>
                  <a:lnTo>
                    <a:pt x="3025" y="25291"/>
                  </a:lnTo>
                  <a:cubicBezTo>
                    <a:pt x="496" y="26556"/>
                    <a:pt x="-769" y="29085"/>
                    <a:pt x="496" y="31614"/>
                  </a:cubicBezTo>
                  <a:cubicBezTo>
                    <a:pt x="1761" y="34143"/>
                    <a:pt x="4290" y="35408"/>
                    <a:pt x="6819" y="34143"/>
                  </a:cubicBezTo>
                  <a:lnTo>
                    <a:pt x="62465" y="8852"/>
                  </a:lnTo>
                  <a:lnTo>
                    <a:pt x="63729" y="7587"/>
                  </a:lnTo>
                  <a:cubicBezTo>
                    <a:pt x="66259" y="7587"/>
                    <a:pt x="66259" y="5058"/>
                    <a:pt x="66259" y="2529"/>
                  </a:cubicBezTo>
                  <a:close/>
                </a:path>
              </a:pathLst>
            </a:custGeom>
            <a:solidFill>
              <a:srgbClr val="000000"/>
            </a:solidFill>
            <a:ln w="126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a:lstStyle>
            <a:lvl1pP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8" name="Text Placeholder 7">
            <a:extLst>
              <a:ext uri="{FF2B5EF4-FFF2-40B4-BE49-F238E27FC236}">
                <a16:creationId xmlns:a16="http://schemas.microsoft.com/office/drawing/2014/main" id="{AF00EF78-D323-4EBB-BB07-D37B417DCB1C}"/>
              </a:ext>
            </a:extLst>
          </p:cNvPr>
          <p:cNvSpPr>
            <a:spLocks noGrp="1"/>
          </p:cNvSpPr>
          <p:nvPr>
            <p:ph type="body" sz="quarter" idx="13" hasCustomPrompt="1"/>
          </p:nvPr>
        </p:nvSpPr>
        <p:spPr>
          <a:xfrm>
            <a:off x="841248" y="2101501"/>
            <a:ext cx="3657600" cy="118872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9" name="Text Placeholder 7">
            <a:extLst>
              <a:ext uri="{FF2B5EF4-FFF2-40B4-BE49-F238E27FC236}">
                <a16:creationId xmlns:a16="http://schemas.microsoft.com/office/drawing/2014/main" id="{025CBE32-2EC3-4DF9-98B3-59E7EEBEE775}"/>
              </a:ext>
            </a:extLst>
          </p:cNvPr>
          <p:cNvSpPr>
            <a:spLocks noGrp="1"/>
          </p:cNvSpPr>
          <p:nvPr>
            <p:ph type="body" sz="quarter" idx="14" hasCustomPrompt="1"/>
          </p:nvPr>
        </p:nvSpPr>
        <p:spPr>
          <a:xfrm>
            <a:off x="841248" y="1692431"/>
            <a:ext cx="365760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0" name="Text Placeholder 7">
            <a:extLst>
              <a:ext uri="{FF2B5EF4-FFF2-40B4-BE49-F238E27FC236}">
                <a16:creationId xmlns:a16="http://schemas.microsoft.com/office/drawing/2014/main" id="{AC8171A7-4A62-4082-BB37-F060B1FAE2BF}"/>
              </a:ext>
            </a:extLst>
          </p:cNvPr>
          <p:cNvSpPr>
            <a:spLocks noGrp="1"/>
          </p:cNvSpPr>
          <p:nvPr>
            <p:ph type="body" sz="quarter" idx="15" hasCustomPrompt="1"/>
          </p:nvPr>
        </p:nvSpPr>
        <p:spPr>
          <a:xfrm>
            <a:off x="849264" y="3827739"/>
            <a:ext cx="3657600" cy="118872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1" name="Text Placeholder 7">
            <a:extLst>
              <a:ext uri="{FF2B5EF4-FFF2-40B4-BE49-F238E27FC236}">
                <a16:creationId xmlns:a16="http://schemas.microsoft.com/office/drawing/2014/main" id="{20D5E97E-C5D9-4025-B1B2-ADCE5B7643E1}"/>
              </a:ext>
            </a:extLst>
          </p:cNvPr>
          <p:cNvSpPr>
            <a:spLocks noGrp="1"/>
          </p:cNvSpPr>
          <p:nvPr>
            <p:ph type="body" sz="quarter" idx="16" hasCustomPrompt="1"/>
          </p:nvPr>
        </p:nvSpPr>
        <p:spPr>
          <a:xfrm>
            <a:off x="849264" y="3418669"/>
            <a:ext cx="365760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2" name="Text Placeholder 7">
            <a:extLst>
              <a:ext uri="{FF2B5EF4-FFF2-40B4-BE49-F238E27FC236}">
                <a16:creationId xmlns:a16="http://schemas.microsoft.com/office/drawing/2014/main" id="{A9CD05EF-84C2-444D-81A7-A4B7301F61CB}"/>
              </a:ext>
            </a:extLst>
          </p:cNvPr>
          <p:cNvSpPr>
            <a:spLocks noGrp="1"/>
          </p:cNvSpPr>
          <p:nvPr>
            <p:ph type="body" sz="quarter" idx="17" hasCustomPrompt="1"/>
          </p:nvPr>
        </p:nvSpPr>
        <p:spPr>
          <a:xfrm>
            <a:off x="4940020" y="2097489"/>
            <a:ext cx="3657600" cy="118872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3" name="Text Placeholder 7">
            <a:extLst>
              <a:ext uri="{FF2B5EF4-FFF2-40B4-BE49-F238E27FC236}">
                <a16:creationId xmlns:a16="http://schemas.microsoft.com/office/drawing/2014/main" id="{C26712AD-A0C3-4DCE-B24C-BF72F5E4C647}"/>
              </a:ext>
            </a:extLst>
          </p:cNvPr>
          <p:cNvSpPr>
            <a:spLocks noGrp="1"/>
          </p:cNvSpPr>
          <p:nvPr>
            <p:ph type="body" sz="quarter" idx="18" hasCustomPrompt="1"/>
          </p:nvPr>
        </p:nvSpPr>
        <p:spPr>
          <a:xfrm>
            <a:off x="4940020" y="1688419"/>
            <a:ext cx="365760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4" name="Text Placeholder 7">
            <a:extLst>
              <a:ext uri="{FF2B5EF4-FFF2-40B4-BE49-F238E27FC236}">
                <a16:creationId xmlns:a16="http://schemas.microsoft.com/office/drawing/2014/main" id="{759955F9-5A50-4ACB-AFC6-6B5497CEC879}"/>
              </a:ext>
            </a:extLst>
          </p:cNvPr>
          <p:cNvSpPr>
            <a:spLocks noGrp="1"/>
          </p:cNvSpPr>
          <p:nvPr>
            <p:ph type="body" sz="quarter" idx="19" hasCustomPrompt="1"/>
          </p:nvPr>
        </p:nvSpPr>
        <p:spPr>
          <a:xfrm>
            <a:off x="4948036" y="3823727"/>
            <a:ext cx="3657600" cy="118872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5" name="Text Placeholder 7">
            <a:extLst>
              <a:ext uri="{FF2B5EF4-FFF2-40B4-BE49-F238E27FC236}">
                <a16:creationId xmlns:a16="http://schemas.microsoft.com/office/drawing/2014/main" id="{6545C2F8-A3FD-49EE-AB32-908F2C67EFD6}"/>
              </a:ext>
            </a:extLst>
          </p:cNvPr>
          <p:cNvSpPr>
            <a:spLocks noGrp="1"/>
          </p:cNvSpPr>
          <p:nvPr>
            <p:ph type="body" sz="quarter" idx="20" hasCustomPrompt="1"/>
          </p:nvPr>
        </p:nvSpPr>
        <p:spPr>
          <a:xfrm>
            <a:off x="4948036" y="3414657"/>
            <a:ext cx="365760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8" name="Text Placeholder 7">
            <a:extLst>
              <a:ext uri="{FF2B5EF4-FFF2-40B4-BE49-F238E27FC236}">
                <a16:creationId xmlns:a16="http://schemas.microsoft.com/office/drawing/2014/main" id="{0107D759-1ED0-454A-9073-F9259B9DD4C7}"/>
              </a:ext>
            </a:extLst>
          </p:cNvPr>
          <p:cNvSpPr>
            <a:spLocks noGrp="1"/>
          </p:cNvSpPr>
          <p:nvPr>
            <p:ph type="body" sz="quarter" idx="21" hasCustomPrompt="1"/>
          </p:nvPr>
        </p:nvSpPr>
        <p:spPr>
          <a:xfrm>
            <a:off x="869312" y="5532210"/>
            <a:ext cx="3657600" cy="82296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9" name="Text Placeholder 7">
            <a:extLst>
              <a:ext uri="{FF2B5EF4-FFF2-40B4-BE49-F238E27FC236}">
                <a16:creationId xmlns:a16="http://schemas.microsoft.com/office/drawing/2014/main" id="{8120F19B-6DB3-475E-9783-DE201F320A26}"/>
              </a:ext>
            </a:extLst>
          </p:cNvPr>
          <p:cNvSpPr>
            <a:spLocks noGrp="1"/>
          </p:cNvSpPr>
          <p:nvPr>
            <p:ph type="body" sz="quarter" idx="22" hasCustomPrompt="1"/>
          </p:nvPr>
        </p:nvSpPr>
        <p:spPr>
          <a:xfrm>
            <a:off x="869312" y="5123140"/>
            <a:ext cx="365760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Tree>
    <p:extLst>
      <p:ext uri="{BB962C8B-B14F-4D97-AF65-F5344CB8AC3E}">
        <p14:creationId xmlns:p14="http://schemas.microsoft.com/office/powerpoint/2010/main" val="2593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olution">
    <p:spTree>
      <p:nvGrpSpPr>
        <p:cNvPr id="1" name=""/>
        <p:cNvGrpSpPr/>
        <p:nvPr/>
      </p:nvGrpSpPr>
      <p:grpSpPr>
        <a:xfrm>
          <a:off x="0" y="0"/>
          <a:ext cx="0" cy="0"/>
          <a:chOff x="0" y="0"/>
          <a:chExt cx="0" cy="0"/>
        </a:xfrm>
      </p:grpSpPr>
      <p:grpSp>
        <p:nvGrpSpPr>
          <p:cNvPr id="17" name="Picture Placeholder 14">
            <a:extLst>
              <a:ext uri="{FF2B5EF4-FFF2-40B4-BE49-F238E27FC236}">
                <a16:creationId xmlns:a16="http://schemas.microsoft.com/office/drawing/2014/main" id="{BBD085BF-BB0D-4A1D-951A-C9ABE4B40E66}"/>
              </a:ext>
            </a:extLst>
          </p:cNvPr>
          <p:cNvGrpSpPr/>
          <p:nvPr userDrawn="1"/>
        </p:nvGrpSpPr>
        <p:grpSpPr>
          <a:xfrm>
            <a:off x="-1156" y="0"/>
            <a:ext cx="5934204" cy="7014806"/>
            <a:chOff x="-1156" y="0"/>
            <a:chExt cx="5934204" cy="7014806"/>
          </a:xfrm>
        </p:grpSpPr>
        <p:sp>
          <p:nvSpPr>
            <p:cNvPr id="23" name="Freeform: Shape 22">
              <a:extLst>
                <a:ext uri="{FF2B5EF4-FFF2-40B4-BE49-F238E27FC236}">
                  <a16:creationId xmlns:a16="http://schemas.microsoft.com/office/drawing/2014/main" id="{A1473BFE-AA4B-49BF-ABA4-5993F1E449CD}"/>
                </a:ext>
              </a:extLst>
            </p:cNvPr>
            <p:cNvSpPr/>
            <p:nvPr/>
          </p:nvSpPr>
          <p:spPr>
            <a:xfrm>
              <a:off x="4625752" y="6105443"/>
              <a:ext cx="1280449" cy="830517"/>
            </a:xfrm>
            <a:custGeom>
              <a:avLst/>
              <a:gdLst>
                <a:gd name="connsiteX0" fmla="*/ 0 w 1280449"/>
                <a:gd name="connsiteY0" fmla="*/ 82718 h 830517"/>
                <a:gd name="connsiteX1" fmla="*/ 1126061 w 1280449"/>
                <a:gd name="connsiteY1" fmla="*/ 830517 h 830517"/>
                <a:gd name="connsiteX2" fmla="*/ 1280450 w 1280449"/>
                <a:gd name="connsiteY2" fmla="*/ 830517 h 830517"/>
                <a:gd name="connsiteX3" fmla="*/ 21450 w 1280449"/>
                <a:gd name="connsiteY3" fmla="*/ 0 h 830517"/>
                <a:gd name="connsiteX4" fmla="*/ 0 w 1280449"/>
                <a:gd name="connsiteY4" fmla="*/ 82718 h 830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449" h="830517">
                  <a:moveTo>
                    <a:pt x="0" y="82718"/>
                  </a:moveTo>
                  <a:lnTo>
                    <a:pt x="1126061" y="830517"/>
                  </a:lnTo>
                  <a:lnTo>
                    <a:pt x="1280450" y="830517"/>
                  </a:lnTo>
                  <a:lnTo>
                    <a:pt x="21450" y="0"/>
                  </a:lnTo>
                  <a:lnTo>
                    <a:pt x="0" y="82718"/>
                  </a:lnTo>
                  <a:close/>
                </a:path>
              </a:pathLst>
            </a:custGeom>
            <a:noFill/>
            <a:ln w="1284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4195C30-6A48-4EB9-8337-F11E55DFC2A4}"/>
                </a:ext>
              </a:extLst>
            </p:cNvPr>
            <p:cNvSpPr/>
            <p:nvPr/>
          </p:nvSpPr>
          <p:spPr>
            <a:xfrm>
              <a:off x="-1" y="6580941"/>
              <a:ext cx="14642" cy="98901"/>
            </a:xfrm>
            <a:custGeom>
              <a:avLst/>
              <a:gdLst>
                <a:gd name="connsiteX0" fmla="*/ 0 w 14642"/>
                <a:gd name="connsiteY0" fmla="*/ 5523 h 98901"/>
                <a:gd name="connsiteX1" fmla="*/ 0 w 14642"/>
                <a:gd name="connsiteY1" fmla="*/ 98902 h 98901"/>
                <a:gd name="connsiteX2" fmla="*/ 14643 w 14642"/>
                <a:gd name="connsiteY2" fmla="*/ 0 h 98901"/>
                <a:gd name="connsiteX3" fmla="*/ 0 w 14642"/>
                <a:gd name="connsiteY3" fmla="*/ 5523 h 98901"/>
              </a:gdLst>
              <a:ahLst/>
              <a:cxnLst>
                <a:cxn ang="0">
                  <a:pos x="connsiteX0" y="connsiteY0"/>
                </a:cxn>
                <a:cxn ang="0">
                  <a:pos x="connsiteX1" y="connsiteY1"/>
                </a:cxn>
                <a:cxn ang="0">
                  <a:pos x="connsiteX2" y="connsiteY2"/>
                </a:cxn>
                <a:cxn ang="0">
                  <a:pos x="connsiteX3" y="connsiteY3"/>
                </a:cxn>
              </a:cxnLst>
              <a:rect l="l" t="t" r="r" b="b"/>
              <a:pathLst>
                <a:path w="14642" h="98901">
                  <a:moveTo>
                    <a:pt x="0" y="5523"/>
                  </a:moveTo>
                  <a:lnTo>
                    <a:pt x="0" y="98902"/>
                  </a:lnTo>
                  <a:lnTo>
                    <a:pt x="14643" y="0"/>
                  </a:lnTo>
                  <a:lnTo>
                    <a:pt x="0" y="5523"/>
                  </a:lnTo>
                  <a:close/>
                </a:path>
              </a:pathLst>
            </a:custGeom>
            <a:solidFill>
              <a:srgbClr val="F26544"/>
            </a:solidFill>
            <a:ln w="1284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5A86FED-CDA5-4AFA-B70E-D85259954B53}"/>
                </a:ext>
              </a:extLst>
            </p:cNvPr>
            <p:cNvSpPr/>
            <p:nvPr/>
          </p:nvSpPr>
          <p:spPr>
            <a:xfrm>
              <a:off x="-1" y="6556409"/>
              <a:ext cx="18367" cy="14770"/>
            </a:xfrm>
            <a:custGeom>
              <a:avLst/>
              <a:gdLst>
                <a:gd name="connsiteX0" fmla="*/ 18367 w 18367"/>
                <a:gd name="connsiteY0" fmla="*/ 0 h 14770"/>
                <a:gd name="connsiteX1" fmla="*/ 0 w 18367"/>
                <a:gd name="connsiteY1" fmla="*/ 6936 h 14770"/>
                <a:gd name="connsiteX2" fmla="*/ 0 w 18367"/>
                <a:gd name="connsiteY2" fmla="*/ 14771 h 14770"/>
                <a:gd name="connsiteX3" fmla="*/ 17083 w 18367"/>
                <a:gd name="connsiteY3" fmla="*/ 8349 h 14770"/>
                <a:gd name="connsiteX4" fmla="*/ 18367 w 18367"/>
                <a:gd name="connsiteY4" fmla="*/ 0 h 14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4770">
                  <a:moveTo>
                    <a:pt x="18367" y="0"/>
                  </a:moveTo>
                  <a:lnTo>
                    <a:pt x="0" y="6936"/>
                  </a:lnTo>
                  <a:lnTo>
                    <a:pt x="0" y="14771"/>
                  </a:lnTo>
                  <a:lnTo>
                    <a:pt x="17083" y="8349"/>
                  </a:lnTo>
                  <a:lnTo>
                    <a:pt x="18367" y="0"/>
                  </a:lnTo>
                  <a:close/>
                </a:path>
              </a:pathLst>
            </a:custGeom>
            <a:solidFill>
              <a:srgbClr val="F39896"/>
            </a:solidFill>
            <a:ln w="12844"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C1403FC-C5C9-4856-A3FC-61A248BF8415}"/>
                </a:ext>
              </a:extLst>
            </p:cNvPr>
            <p:cNvSpPr/>
            <p:nvPr/>
          </p:nvSpPr>
          <p:spPr>
            <a:xfrm>
              <a:off x="-1" y="6532903"/>
              <a:ext cx="12587" cy="15156"/>
            </a:xfrm>
            <a:custGeom>
              <a:avLst/>
              <a:gdLst>
                <a:gd name="connsiteX0" fmla="*/ 0 w 12587"/>
                <a:gd name="connsiteY0" fmla="*/ 0 h 15156"/>
                <a:gd name="connsiteX1" fmla="*/ 0 w 12587"/>
                <a:gd name="connsiteY1" fmla="*/ 15156 h 15156"/>
                <a:gd name="connsiteX2" fmla="*/ 12587 w 12587"/>
                <a:gd name="connsiteY2" fmla="*/ 10404 h 15156"/>
                <a:gd name="connsiteX3" fmla="*/ 0 w 12587"/>
                <a:gd name="connsiteY3" fmla="*/ 0 h 15156"/>
              </a:gdLst>
              <a:ahLst/>
              <a:cxnLst>
                <a:cxn ang="0">
                  <a:pos x="connsiteX0" y="connsiteY0"/>
                </a:cxn>
                <a:cxn ang="0">
                  <a:pos x="connsiteX1" y="connsiteY1"/>
                </a:cxn>
                <a:cxn ang="0">
                  <a:pos x="connsiteX2" y="connsiteY2"/>
                </a:cxn>
                <a:cxn ang="0">
                  <a:pos x="connsiteX3" y="connsiteY3"/>
                </a:cxn>
              </a:cxnLst>
              <a:rect l="l" t="t" r="r" b="b"/>
              <a:pathLst>
                <a:path w="12587" h="15156">
                  <a:moveTo>
                    <a:pt x="0" y="0"/>
                  </a:moveTo>
                  <a:lnTo>
                    <a:pt x="0" y="15156"/>
                  </a:lnTo>
                  <a:lnTo>
                    <a:pt x="12587" y="10404"/>
                  </a:lnTo>
                  <a:lnTo>
                    <a:pt x="0" y="0"/>
                  </a:lnTo>
                  <a:close/>
                </a:path>
              </a:pathLst>
            </a:custGeom>
            <a:solidFill>
              <a:srgbClr val="F9C996"/>
            </a:solidFill>
            <a:ln w="12844"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F83F293-9AE7-4C3D-A7DE-9CBA274953A9}"/>
                </a:ext>
              </a:extLst>
            </p:cNvPr>
            <p:cNvSpPr/>
            <p:nvPr/>
          </p:nvSpPr>
          <p:spPr>
            <a:xfrm>
              <a:off x="-1" y="5964797"/>
              <a:ext cx="314428" cy="971162"/>
            </a:xfrm>
            <a:custGeom>
              <a:avLst/>
              <a:gdLst>
                <a:gd name="connsiteX0" fmla="*/ 187784 w 314428"/>
                <a:gd name="connsiteY0" fmla="*/ 703614 h 971162"/>
                <a:gd name="connsiteX1" fmla="*/ 187784 w 314428"/>
                <a:gd name="connsiteY1" fmla="*/ 703614 h 971162"/>
                <a:gd name="connsiteX2" fmla="*/ 187784 w 314428"/>
                <a:gd name="connsiteY2" fmla="*/ 702587 h 971162"/>
                <a:gd name="connsiteX3" fmla="*/ 187784 w 314428"/>
                <a:gd name="connsiteY3" fmla="*/ 701559 h 971162"/>
                <a:gd name="connsiteX4" fmla="*/ 187784 w 314428"/>
                <a:gd name="connsiteY4" fmla="*/ 700917 h 971162"/>
                <a:gd name="connsiteX5" fmla="*/ 187784 w 314428"/>
                <a:gd name="connsiteY5" fmla="*/ 700917 h 971162"/>
                <a:gd name="connsiteX6" fmla="*/ 187784 w 314428"/>
                <a:gd name="connsiteY6" fmla="*/ 700917 h 971162"/>
                <a:gd name="connsiteX7" fmla="*/ 188426 w 314428"/>
                <a:gd name="connsiteY7" fmla="*/ 700147 h 971162"/>
                <a:gd name="connsiteX8" fmla="*/ 189197 w 314428"/>
                <a:gd name="connsiteY8" fmla="*/ 700147 h 971162"/>
                <a:gd name="connsiteX9" fmla="*/ 190096 w 314428"/>
                <a:gd name="connsiteY9" fmla="*/ 700147 h 971162"/>
                <a:gd name="connsiteX10" fmla="*/ 190738 w 314428"/>
                <a:gd name="connsiteY10" fmla="*/ 700147 h 971162"/>
                <a:gd name="connsiteX11" fmla="*/ 249051 w 314428"/>
                <a:gd name="connsiteY11" fmla="*/ 675742 h 971162"/>
                <a:gd name="connsiteX12" fmla="*/ 314429 w 314428"/>
                <a:gd name="connsiteY12" fmla="*/ 251878 h 971162"/>
                <a:gd name="connsiteX13" fmla="*/ 0 w 314428"/>
                <a:gd name="connsiteY13" fmla="*/ 0 h 971162"/>
                <a:gd name="connsiteX14" fmla="*/ 0 w 314428"/>
                <a:gd name="connsiteY14" fmla="*/ 549097 h 971162"/>
                <a:gd name="connsiteX15" fmla="*/ 31212 w 314428"/>
                <a:gd name="connsiteY15" fmla="*/ 574786 h 971162"/>
                <a:gd name="connsiteX16" fmla="*/ 31212 w 314428"/>
                <a:gd name="connsiteY16" fmla="*/ 574786 h 971162"/>
                <a:gd name="connsiteX17" fmla="*/ 31212 w 314428"/>
                <a:gd name="connsiteY17" fmla="*/ 575556 h 971162"/>
                <a:gd name="connsiteX18" fmla="*/ 31854 w 314428"/>
                <a:gd name="connsiteY18" fmla="*/ 576584 h 971162"/>
                <a:gd name="connsiteX19" fmla="*/ 31854 w 314428"/>
                <a:gd name="connsiteY19" fmla="*/ 577226 h 971162"/>
                <a:gd name="connsiteX20" fmla="*/ 31854 w 314428"/>
                <a:gd name="connsiteY20" fmla="*/ 577226 h 971162"/>
                <a:gd name="connsiteX21" fmla="*/ 31854 w 314428"/>
                <a:gd name="connsiteY21" fmla="*/ 577226 h 971162"/>
                <a:gd name="connsiteX22" fmla="*/ 31854 w 314428"/>
                <a:gd name="connsiteY22" fmla="*/ 578510 h 971162"/>
                <a:gd name="connsiteX23" fmla="*/ 31854 w 314428"/>
                <a:gd name="connsiteY23" fmla="*/ 579538 h 971162"/>
                <a:gd name="connsiteX24" fmla="*/ 31854 w 314428"/>
                <a:gd name="connsiteY24" fmla="*/ 579538 h 971162"/>
                <a:gd name="connsiteX25" fmla="*/ 28386 w 314428"/>
                <a:gd name="connsiteY25" fmla="*/ 603685 h 971162"/>
                <a:gd name="connsiteX26" fmla="*/ 28386 w 314428"/>
                <a:gd name="connsiteY26" fmla="*/ 603685 h 971162"/>
                <a:gd name="connsiteX27" fmla="*/ 28386 w 314428"/>
                <a:gd name="connsiteY27" fmla="*/ 603685 h 971162"/>
                <a:gd name="connsiteX28" fmla="*/ 0 w 314428"/>
                <a:gd name="connsiteY28" fmla="*/ 807526 h 971162"/>
                <a:gd name="connsiteX29" fmla="*/ 0 w 314428"/>
                <a:gd name="connsiteY29" fmla="*/ 971163 h 971162"/>
                <a:gd name="connsiteX30" fmla="*/ 146811 w 314428"/>
                <a:gd name="connsiteY30" fmla="*/ 971163 h 97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428" h="971162">
                  <a:moveTo>
                    <a:pt x="187784" y="703614"/>
                  </a:moveTo>
                  <a:cubicBezTo>
                    <a:pt x="187784" y="703614"/>
                    <a:pt x="187784" y="703614"/>
                    <a:pt x="187784" y="703614"/>
                  </a:cubicBezTo>
                  <a:lnTo>
                    <a:pt x="187784" y="702587"/>
                  </a:lnTo>
                  <a:lnTo>
                    <a:pt x="187784" y="701559"/>
                  </a:lnTo>
                  <a:lnTo>
                    <a:pt x="187784" y="700917"/>
                  </a:lnTo>
                  <a:lnTo>
                    <a:pt x="187784" y="700917"/>
                  </a:lnTo>
                  <a:lnTo>
                    <a:pt x="187784" y="700917"/>
                  </a:lnTo>
                  <a:lnTo>
                    <a:pt x="188426" y="700147"/>
                  </a:lnTo>
                  <a:lnTo>
                    <a:pt x="189197" y="700147"/>
                  </a:lnTo>
                  <a:lnTo>
                    <a:pt x="190096" y="700147"/>
                  </a:lnTo>
                  <a:lnTo>
                    <a:pt x="190738" y="700147"/>
                  </a:lnTo>
                  <a:lnTo>
                    <a:pt x="249051" y="675742"/>
                  </a:lnTo>
                  <a:lnTo>
                    <a:pt x="314429" y="251878"/>
                  </a:lnTo>
                  <a:lnTo>
                    <a:pt x="0" y="0"/>
                  </a:lnTo>
                  <a:lnTo>
                    <a:pt x="0" y="549097"/>
                  </a:lnTo>
                  <a:lnTo>
                    <a:pt x="31212" y="574786"/>
                  </a:lnTo>
                  <a:lnTo>
                    <a:pt x="31212" y="574786"/>
                  </a:lnTo>
                  <a:cubicBezTo>
                    <a:pt x="31212" y="574786"/>
                    <a:pt x="31212" y="574786"/>
                    <a:pt x="31212" y="575556"/>
                  </a:cubicBezTo>
                  <a:lnTo>
                    <a:pt x="31854" y="576584"/>
                  </a:lnTo>
                  <a:cubicBezTo>
                    <a:pt x="31854" y="576584"/>
                    <a:pt x="31854" y="576584"/>
                    <a:pt x="31854" y="577226"/>
                  </a:cubicBezTo>
                  <a:lnTo>
                    <a:pt x="31854" y="577226"/>
                  </a:lnTo>
                  <a:cubicBezTo>
                    <a:pt x="31854" y="577226"/>
                    <a:pt x="31854" y="577226"/>
                    <a:pt x="31854" y="577226"/>
                  </a:cubicBezTo>
                  <a:lnTo>
                    <a:pt x="31854" y="578510"/>
                  </a:lnTo>
                  <a:cubicBezTo>
                    <a:pt x="31917" y="578850"/>
                    <a:pt x="31917" y="579198"/>
                    <a:pt x="31854" y="579538"/>
                  </a:cubicBezTo>
                  <a:lnTo>
                    <a:pt x="31854" y="579538"/>
                  </a:lnTo>
                  <a:lnTo>
                    <a:pt x="28386" y="603685"/>
                  </a:lnTo>
                  <a:lnTo>
                    <a:pt x="28386" y="603685"/>
                  </a:lnTo>
                  <a:lnTo>
                    <a:pt x="28386" y="603685"/>
                  </a:lnTo>
                  <a:lnTo>
                    <a:pt x="0" y="807526"/>
                  </a:lnTo>
                  <a:lnTo>
                    <a:pt x="0" y="971163"/>
                  </a:lnTo>
                  <a:lnTo>
                    <a:pt x="146811" y="971163"/>
                  </a:lnTo>
                  <a:close/>
                </a:path>
              </a:pathLst>
            </a:custGeom>
            <a:solidFill>
              <a:schemeClr val="accent4"/>
            </a:solidFill>
            <a:ln w="12844"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56F386ED-5277-4170-93B3-583DB7C94E28}"/>
                </a:ext>
              </a:extLst>
            </p:cNvPr>
            <p:cNvSpPr/>
            <p:nvPr/>
          </p:nvSpPr>
          <p:spPr>
            <a:xfrm>
              <a:off x="263564" y="6088103"/>
              <a:ext cx="420908" cy="547170"/>
            </a:xfrm>
            <a:custGeom>
              <a:avLst/>
              <a:gdLst>
                <a:gd name="connsiteX0" fmla="*/ 420908 w 420908"/>
                <a:gd name="connsiteY0" fmla="*/ 0 h 547170"/>
                <a:gd name="connsiteX1" fmla="*/ 64350 w 420908"/>
                <a:gd name="connsiteY1" fmla="*/ 131013 h 547170"/>
                <a:gd name="connsiteX2" fmla="*/ 0 w 420908"/>
                <a:gd name="connsiteY2" fmla="*/ 547171 h 547170"/>
                <a:gd name="connsiteX3" fmla="*/ 353733 w 420908"/>
                <a:gd name="connsiteY3" fmla="*/ 412433 h 547170"/>
                <a:gd name="connsiteX4" fmla="*/ 420908 w 420908"/>
                <a:gd name="connsiteY4" fmla="*/ 0 h 54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08" h="547170">
                  <a:moveTo>
                    <a:pt x="420908" y="0"/>
                  </a:moveTo>
                  <a:lnTo>
                    <a:pt x="64350" y="131013"/>
                  </a:lnTo>
                  <a:lnTo>
                    <a:pt x="0" y="547171"/>
                  </a:lnTo>
                  <a:lnTo>
                    <a:pt x="353733" y="412433"/>
                  </a:lnTo>
                  <a:lnTo>
                    <a:pt x="420908" y="0"/>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219271AC-D823-4A1F-9850-7792D0DA1098}"/>
                </a:ext>
              </a:extLst>
            </p:cNvPr>
            <p:cNvSpPr/>
            <p:nvPr/>
          </p:nvSpPr>
          <p:spPr>
            <a:xfrm>
              <a:off x="160553" y="6682669"/>
              <a:ext cx="344227" cy="253290"/>
            </a:xfrm>
            <a:custGeom>
              <a:avLst/>
              <a:gdLst>
                <a:gd name="connsiteX0" fmla="*/ 0 w 344227"/>
                <a:gd name="connsiteY0" fmla="*/ 253291 h 253290"/>
                <a:gd name="connsiteX1" fmla="*/ 344228 w 344227"/>
                <a:gd name="connsiteY1" fmla="*/ 253291 h 253290"/>
                <a:gd name="connsiteX2" fmla="*/ 38790 w 344227"/>
                <a:gd name="connsiteY2" fmla="*/ 0 h 253290"/>
                <a:gd name="connsiteX3" fmla="*/ 0 w 344227"/>
                <a:gd name="connsiteY3" fmla="*/ 253291 h 253290"/>
              </a:gdLst>
              <a:ahLst/>
              <a:cxnLst>
                <a:cxn ang="0">
                  <a:pos x="connsiteX0" y="connsiteY0"/>
                </a:cxn>
                <a:cxn ang="0">
                  <a:pos x="connsiteX1" y="connsiteY1"/>
                </a:cxn>
                <a:cxn ang="0">
                  <a:pos x="connsiteX2" y="connsiteY2"/>
                </a:cxn>
                <a:cxn ang="0">
                  <a:pos x="connsiteX3" y="connsiteY3"/>
                </a:cxn>
              </a:cxnLst>
              <a:rect l="l" t="t" r="r" b="b"/>
              <a:pathLst>
                <a:path w="344227" h="253290">
                  <a:moveTo>
                    <a:pt x="0" y="253291"/>
                  </a:moveTo>
                  <a:lnTo>
                    <a:pt x="344228" y="253291"/>
                  </a:lnTo>
                  <a:lnTo>
                    <a:pt x="38790" y="0"/>
                  </a:lnTo>
                  <a:lnTo>
                    <a:pt x="0" y="253291"/>
                  </a:lnTo>
                  <a:close/>
                </a:path>
              </a:pathLst>
            </a:custGeom>
            <a:solidFill>
              <a:schemeClr val="accent4"/>
            </a:solidFill>
            <a:ln w="12844"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0A2D96B3-061E-484F-B0A4-DDD93FBFF8B6}"/>
                </a:ext>
              </a:extLst>
            </p:cNvPr>
            <p:cNvSpPr/>
            <p:nvPr/>
          </p:nvSpPr>
          <p:spPr>
            <a:xfrm>
              <a:off x="208719" y="6516848"/>
              <a:ext cx="405880" cy="419111"/>
            </a:xfrm>
            <a:custGeom>
              <a:avLst/>
              <a:gdLst>
                <a:gd name="connsiteX0" fmla="*/ 48295 w 405880"/>
                <a:gd name="connsiteY0" fmla="*/ 136150 h 419111"/>
                <a:gd name="connsiteX1" fmla="*/ 0 w 405880"/>
                <a:gd name="connsiteY1" fmla="*/ 154518 h 419111"/>
                <a:gd name="connsiteX2" fmla="*/ 319053 w 405880"/>
                <a:gd name="connsiteY2" fmla="*/ 419112 h 419111"/>
                <a:gd name="connsiteX3" fmla="*/ 337549 w 405880"/>
                <a:gd name="connsiteY3" fmla="*/ 419112 h 419111"/>
                <a:gd name="connsiteX4" fmla="*/ 405881 w 405880"/>
                <a:gd name="connsiteY4" fmla="*/ 0 h 419111"/>
                <a:gd name="connsiteX5" fmla="*/ 48295 w 405880"/>
                <a:gd name="connsiteY5" fmla="*/ 136150 h 41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880" h="419111">
                  <a:moveTo>
                    <a:pt x="48295" y="136150"/>
                  </a:moveTo>
                  <a:lnTo>
                    <a:pt x="0" y="154518"/>
                  </a:lnTo>
                  <a:lnTo>
                    <a:pt x="319053" y="419112"/>
                  </a:lnTo>
                  <a:lnTo>
                    <a:pt x="337549" y="419112"/>
                  </a:lnTo>
                  <a:lnTo>
                    <a:pt x="405881" y="0"/>
                  </a:lnTo>
                  <a:lnTo>
                    <a:pt x="48295" y="136150"/>
                  </a:lnTo>
                  <a:close/>
                </a:path>
              </a:pathLst>
            </a:custGeom>
            <a:solidFill>
              <a:schemeClr val="accent3"/>
            </a:solidFill>
            <a:ln w="12844"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4448799D-022B-4C2A-B5BF-039F15C9B4FE}"/>
                </a:ext>
              </a:extLst>
            </p:cNvPr>
            <p:cNvSpPr/>
            <p:nvPr/>
          </p:nvSpPr>
          <p:spPr>
            <a:xfrm>
              <a:off x="-1" y="5051562"/>
              <a:ext cx="853376" cy="1154066"/>
            </a:xfrm>
            <a:custGeom>
              <a:avLst/>
              <a:gdLst>
                <a:gd name="connsiteX0" fmla="*/ 687043 w 853376"/>
                <a:gd name="connsiteY0" fmla="*/ 1020357 h 1154066"/>
                <a:gd name="connsiteX1" fmla="*/ 853377 w 853376"/>
                <a:gd name="connsiteY1" fmla="*/ 0 h 1154066"/>
                <a:gd name="connsiteX2" fmla="*/ 134352 w 853376"/>
                <a:gd name="connsiteY2" fmla="*/ 241217 h 1154066"/>
                <a:gd name="connsiteX3" fmla="*/ 0 w 853376"/>
                <a:gd name="connsiteY3" fmla="*/ 286301 h 1154066"/>
                <a:gd name="connsiteX4" fmla="*/ 0 w 853376"/>
                <a:gd name="connsiteY4" fmla="*/ 894482 h 1154066"/>
                <a:gd name="connsiteX5" fmla="*/ 323420 w 853376"/>
                <a:gd name="connsiteY5" fmla="*/ 1154067 h 1154066"/>
                <a:gd name="connsiteX6" fmla="*/ 687043 w 853376"/>
                <a:gd name="connsiteY6" fmla="*/ 1020357 h 115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3376" h="1154066">
                  <a:moveTo>
                    <a:pt x="687043" y="1020357"/>
                  </a:moveTo>
                  <a:lnTo>
                    <a:pt x="853377" y="0"/>
                  </a:lnTo>
                  <a:lnTo>
                    <a:pt x="134352" y="241217"/>
                  </a:lnTo>
                  <a:lnTo>
                    <a:pt x="0" y="286301"/>
                  </a:lnTo>
                  <a:lnTo>
                    <a:pt x="0" y="894482"/>
                  </a:lnTo>
                  <a:lnTo>
                    <a:pt x="323420" y="1154067"/>
                  </a:lnTo>
                  <a:lnTo>
                    <a:pt x="687043" y="1020357"/>
                  </a:lnTo>
                  <a:close/>
                </a:path>
              </a:pathLst>
            </a:custGeom>
            <a:solidFill>
              <a:schemeClr val="accent1"/>
            </a:solidFill>
            <a:ln w="12844"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3A702B1E-80F6-4B1D-9038-72005EC32750}"/>
                </a:ext>
              </a:extLst>
            </p:cNvPr>
            <p:cNvSpPr/>
            <p:nvPr/>
          </p:nvSpPr>
          <p:spPr>
            <a:xfrm>
              <a:off x="560139" y="4504520"/>
              <a:ext cx="813559" cy="2431439"/>
            </a:xfrm>
            <a:custGeom>
              <a:avLst/>
              <a:gdLst>
                <a:gd name="connsiteX0" fmla="*/ 396119 w 813559"/>
                <a:gd name="connsiteY0" fmla="*/ 0 h 2431439"/>
                <a:gd name="connsiteX1" fmla="*/ 308649 w 813559"/>
                <a:gd name="connsiteY1" fmla="*/ 537408 h 2431439"/>
                <a:gd name="connsiteX2" fmla="*/ 139746 w 813559"/>
                <a:gd name="connsiteY2" fmla="*/ 1573564 h 2431439"/>
                <a:gd name="connsiteX3" fmla="*/ 69873 w 813559"/>
                <a:gd name="connsiteY3" fmla="*/ 2002180 h 2431439"/>
                <a:gd name="connsiteX4" fmla="*/ 0 w 813559"/>
                <a:gd name="connsiteY4" fmla="*/ 2431439 h 2431439"/>
                <a:gd name="connsiteX5" fmla="*/ 440946 w 813559"/>
                <a:gd name="connsiteY5" fmla="*/ 2431439 h 2431439"/>
                <a:gd name="connsiteX6" fmla="*/ 813559 w 813559"/>
                <a:gd name="connsiteY6" fmla="*/ 291567 h 2431439"/>
                <a:gd name="connsiteX7" fmla="*/ 396119 w 813559"/>
                <a:gd name="connsiteY7" fmla="*/ 0 h 243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559" h="2431439">
                  <a:moveTo>
                    <a:pt x="396119" y="0"/>
                  </a:moveTo>
                  <a:lnTo>
                    <a:pt x="308649" y="537408"/>
                  </a:lnTo>
                  <a:lnTo>
                    <a:pt x="139746" y="1573564"/>
                  </a:lnTo>
                  <a:lnTo>
                    <a:pt x="69873" y="2002180"/>
                  </a:lnTo>
                  <a:lnTo>
                    <a:pt x="0" y="2431439"/>
                  </a:lnTo>
                  <a:lnTo>
                    <a:pt x="440946" y="2431439"/>
                  </a:lnTo>
                  <a:lnTo>
                    <a:pt x="813559" y="291567"/>
                  </a:lnTo>
                  <a:lnTo>
                    <a:pt x="396119" y="0"/>
                  </a:lnTo>
                  <a:close/>
                </a:path>
              </a:pathLst>
            </a:custGeom>
            <a:solidFill>
              <a:schemeClr val="accent3"/>
            </a:solidFill>
            <a:ln w="1284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6A78849-EAFB-4861-B88C-F78631A2E19F}"/>
                </a:ext>
              </a:extLst>
            </p:cNvPr>
            <p:cNvSpPr/>
            <p:nvPr/>
          </p:nvSpPr>
          <p:spPr>
            <a:xfrm>
              <a:off x="1014957" y="4303506"/>
              <a:ext cx="1857160" cy="2632453"/>
            </a:xfrm>
            <a:custGeom>
              <a:avLst/>
              <a:gdLst>
                <a:gd name="connsiteX0" fmla="*/ 1457831 w 1857160"/>
                <a:gd name="connsiteY0" fmla="*/ 1932179 h 2632453"/>
                <a:gd name="connsiteX1" fmla="*/ 1457831 w 1857160"/>
                <a:gd name="connsiteY1" fmla="*/ 1932179 h 2632453"/>
                <a:gd name="connsiteX2" fmla="*/ 1457831 w 1857160"/>
                <a:gd name="connsiteY2" fmla="*/ 1932050 h 2632453"/>
                <a:gd name="connsiteX3" fmla="*/ 1710093 w 1857160"/>
                <a:gd name="connsiteY3" fmla="*/ 711450 h 2632453"/>
                <a:gd name="connsiteX4" fmla="*/ 1710221 w 1857160"/>
                <a:gd name="connsiteY4" fmla="*/ 711321 h 2632453"/>
                <a:gd name="connsiteX5" fmla="*/ 1710221 w 1857160"/>
                <a:gd name="connsiteY5" fmla="*/ 711193 h 2632453"/>
                <a:gd name="connsiteX6" fmla="*/ 1710221 w 1857160"/>
                <a:gd name="connsiteY6" fmla="*/ 711193 h 2632453"/>
                <a:gd name="connsiteX7" fmla="*/ 1710221 w 1857160"/>
                <a:gd name="connsiteY7" fmla="*/ 711193 h 2632453"/>
                <a:gd name="connsiteX8" fmla="*/ 1713047 w 1857160"/>
                <a:gd name="connsiteY8" fmla="*/ 696936 h 2632453"/>
                <a:gd name="connsiteX9" fmla="*/ 1713175 w 1857160"/>
                <a:gd name="connsiteY9" fmla="*/ 696936 h 2632453"/>
                <a:gd name="connsiteX10" fmla="*/ 1713175 w 1857160"/>
                <a:gd name="connsiteY10" fmla="*/ 696936 h 2632453"/>
                <a:gd name="connsiteX11" fmla="*/ 1732314 w 1857160"/>
                <a:gd name="connsiteY11" fmla="*/ 603814 h 2632453"/>
                <a:gd name="connsiteX12" fmla="*/ 1732314 w 1857160"/>
                <a:gd name="connsiteY12" fmla="*/ 603814 h 2632453"/>
                <a:gd name="connsiteX13" fmla="*/ 1732442 w 1857160"/>
                <a:gd name="connsiteY13" fmla="*/ 603685 h 2632453"/>
                <a:gd name="connsiteX14" fmla="*/ 1857160 w 1857160"/>
                <a:gd name="connsiteY14" fmla="*/ 0 h 2632453"/>
                <a:gd name="connsiteX15" fmla="*/ 372228 w 1857160"/>
                <a:gd name="connsiteY15" fmla="*/ 494380 h 2632453"/>
                <a:gd name="connsiteX16" fmla="*/ 0 w 1857160"/>
                <a:gd name="connsiteY16" fmla="*/ 2632454 h 2632453"/>
                <a:gd name="connsiteX17" fmla="*/ 1313203 w 1857160"/>
                <a:gd name="connsiteY17" fmla="*/ 2632454 h 2632453"/>
                <a:gd name="connsiteX18" fmla="*/ 1438050 w 1857160"/>
                <a:gd name="connsiteY18" fmla="*/ 2027998 h 2632453"/>
                <a:gd name="connsiteX19" fmla="*/ 1457831 w 1857160"/>
                <a:gd name="connsiteY19" fmla="*/ 1932179 h 263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7160" h="2632453">
                  <a:moveTo>
                    <a:pt x="1457831" y="1932179"/>
                  </a:moveTo>
                  <a:lnTo>
                    <a:pt x="1457831" y="1932179"/>
                  </a:lnTo>
                  <a:lnTo>
                    <a:pt x="1457831" y="1932050"/>
                  </a:lnTo>
                  <a:lnTo>
                    <a:pt x="1710093" y="711450"/>
                  </a:lnTo>
                  <a:lnTo>
                    <a:pt x="1710221" y="711321"/>
                  </a:lnTo>
                  <a:lnTo>
                    <a:pt x="1710221" y="711193"/>
                  </a:lnTo>
                  <a:lnTo>
                    <a:pt x="1710221" y="711193"/>
                  </a:lnTo>
                  <a:lnTo>
                    <a:pt x="1710221" y="711193"/>
                  </a:lnTo>
                  <a:lnTo>
                    <a:pt x="1713047" y="696936"/>
                  </a:lnTo>
                  <a:lnTo>
                    <a:pt x="1713175" y="696936"/>
                  </a:lnTo>
                  <a:lnTo>
                    <a:pt x="1713175" y="696936"/>
                  </a:lnTo>
                  <a:lnTo>
                    <a:pt x="1732314" y="603814"/>
                  </a:lnTo>
                  <a:lnTo>
                    <a:pt x="1732314" y="603814"/>
                  </a:lnTo>
                  <a:lnTo>
                    <a:pt x="1732442" y="603685"/>
                  </a:lnTo>
                  <a:lnTo>
                    <a:pt x="1857160" y="0"/>
                  </a:lnTo>
                  <a:lnTo>
                    <a:pt x="372228" y="494380"/>
                  </a:lnTo>
                  <a:lnTo>
                    <a:pt x="0" y="2632454"/>
                  </a:lnTo>
                  <a:lnTo>
                    <a:pt x="1313203" y="2632454"/>
                  </a:lnTo>
                  <a:lnTo>
                    <a:pt x="1438050" y="2027998"/>
                  </a:lnTo>
                  <a:lnTo>
                    <a:pt x="1457831" y="1932179"/>
                  </a:lnTo>
                  <a:close/>
                </a:path>
              </a:pathLst>
            </a:custGeom>
            <a:solidFill>
              <a:schemeClr val="accent4"/>
            </a:solidFill>
            <a:ln w="12844"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1103800-DE74-463E-86AB-35C1C2977528}"/>
                </a:ext>
              </a:extLst>
            </p:cNvPr>
            <p:cNvSpPr/>
            <p:nvPr/>
          </p:nvSpPr>
          <p:spPr>
            <a:xfrm>
              <a:off x="2892154" y="4697828"/>
              <a:ext cx="2104028" cy="2238131"/>
            </a:xfrm>
            <a:custGeom>
              <a:avLst/>
              <a:gdLst>
                <a:gd name="connsiteX0" fmla="*/ 1744387 w 2104028"/>
                <a:gd name="connsiteY0" fmla="*/ 1394513 h 2238131"/>
                <a:gd name="connsiteX1" fmla="*/ 2104028 w 2104028"/>
                <a:gd name="connsiteY1" fmla="*/ 0 h 2238131"/>
                <a:gd name="connsiteX2" fmla="*/ 347567 w 2104028"/>
                <a:gd name="connsiteY2" fmla="*/ 658788 h 2238131"/>
                <a:gd name="connsiteX3" fmla="*/ 76295 w 2104028"/>
                <a:gd name="connsiteY3" fmla="*/ 1891462 h 2238131"/>
                <a:gd name="connsiteX4" fmla="*/ 76295 w 2104028"/>
                <a:gd name="connsiteY4" fmla="*/ 1891462 h 2238131"/>
                <a:gd name="connsiteX5" fmla="*/ 76167 w 2104028"/>
                <a:gd name="connsiteY5" fmla="*/ 1891591 h 2238131"/>
                <a:gd name="connsiteX6" fmla="*/ 0 w 2104028"/>
                <a:gd name="connsiteY6" fmla="*/ 2238132 h 2238131"/>
                <a:gd name="connsiteX7" fmla="*/ 1526805 w 2104028"/>
                <a:gd name="connsiteY7" fmla="*/ 2238132 h 2238131"/>
                <a:gd name="connsiteX8" fmla="*/ 1719084 w 2104028"/>
                <a:gd name="connsiteY8" fmla="*/ 1492388 h 2238131"/>
                <a:gd name="connsiteX9" fmla="*/ 1744387 w 2104028"/>
                <a:gd name="connsiteY9" fmla="*/ 1394513 h 22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028" h="2238131">
                  <a:moveTo>
                    <a:pt x="1744387" y="1394513"/>
                  </a:moveTo>
                  <a:lnTo>
                    <a:pt x="2104028" y="0"/>
                  </a:lnTo>
                  <a:lnTo>
                    <a:pt x="347567" y="658788"/>
                  </a:lnTo>
                  <a:lnTo>
                    <a:pt x="76295" y="1891462"/>
                  </a:lnTo>
                  <a:lnTo>
                    <a:pt x="76295" y="1891462"/>
                  </a:lnTo>
                  <a:lnTo>
                    <a:pt x="76167" y="1891591"/>
                  </a:lnTo>
                  <a:lnTo>
                    <a:pt x="0" y="2238132"/>
                  </a:lnTo>
                  <a:lnTo>
                    <a:pt x="1526805" y="2238132"/>
                  </a:lnTo>
                  <a:lnTo>
                    <a:pt x="1719084" y="1492388"/>
                  </a:lnTo>
                  <a:lnTo>
                    <a:pt x="1744387" y="1394513"/>
                  </a:lnTo>
                  <a:close/>
                </a:path>
              </a:pathLst>
            </a:custGeom>
            <a:solidFill>
              <a:schemeClr val="accent5"/>
            </a:solidFill>
            <a:ln w="12844"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F4D0A11F-F84D-4559-B015-E6B1030255D7}"/>
                </a:ext>
              </a:extLst>
            </p:cNvPr>
            <p:cNvSpPr/>
            <p:nvPr/>
          </p:nvSpPr>
          <p:spPr>
            <a:xfrm>
              <a:off x="2487173" y="5027671"/>
              <a:ext cx="739062" cy="1548131"/>
            </a:xfrm>
            <a:custGeom>
              <a:avLst/>
              <a:gdLst>
                <a:gd name="connsiteX0" fmla="*/ 0 w 739062"/>
                <a:gd name="connsiteY0" fmla="*/ 1205701 h 1548131"/>
                <a:gd name="connsiteX1" fmla="*/ 74240 w 739062"/>
                <a:gd name="connsiteY1" fmla="*/ 1259776 h 1548131"/>
                <a:gd name="connsiteX2" fmla="*/ 470359 w 739062"/>
                <a:gd name="connsiteY2" fmla="*/ 1548132 h 1548131"/>
                <a:gd name="connsiteX3" fmla="*/ 739062 w 739062"/>
                <a:gd name="connsiteY3" fmla="*/ 327146 h 1548131"/>
                <a:gd name="connsiteX4" fmla="*/ 249051 w 739062"/>
                <a:gd name="connsiteY4" fmla="*/ 0 h 1548131"/>
                <a:gd name="connsiteX5" fmla="*/ 0 w 739062"/>
                <a:gd name="connsiteY5" fmla="*/ 1205701 h 154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062" h="1548131">
                  <a:moveTo>
                    <a:pt x="0" y="1205701"/>
                  </a:moveTo>
                  <a:lnTo>
                    <a:pt x="74240" y="1259776"/>
                  </a:lnTo>
                  <a:lnTo>
                    <a:pt x="470359" y="1548132"/>
                  </a:lnTo>
                  <a:lnTo>
                    <a:pt x="739062" y="327146"/>
                  </a:lnTo>
                  <a:lnTo>
                    <a:pt x="249051" y="0"/>
                  </a:lnTo>
                  <a:lnTo>
                    <a:pt x="0" y="1205701"/>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9DF4D9A8-301B-4D98-BA3E-49825F23AA19}"/>
                </a:ext>
              </a:extLst>
            </p:cNvPr>
            <p:cNvSpPr/>
            <p:nvPr/>
          </p:nvSpPr>
          <p:spPr>
            <a:xfrm>
              <a:off x="2430144" y="6305943"/>
              <a:ext cx="523919" cy="630016"/>
            </a:xfrm>
            <a:custGeom>
              <a:avLst/>
              <a:gdLst>
                <a:gd name="connsiteX0" fmla="*/ 131526 w 523919"/>
                <a:gd name="connsiteY0" fmla="*/ 0 h 630016"/>
                <a:gd name="connsiteX1" fmla="*/ 0 w 523919"/>
                <a:gd name="connsiteY1" fmla="*/ 630016 h 630016"/>
                <a:gd name="connsiteX2" fmla="*/ 448138 w 523919"/>
                <a:gd name="connsiteY2" fmla="*/ 630016 h 630016"/>
                <a:gd name="connsiteX3" fmla="*/ 523920 w 523919"/>
                <a:gd name="connsiteY3" fmla="*/ 285659 h 630016"/>
                <a:gd name="connsiteX4" fmla="*/ 131526 w 523919"/>
                <a:gd name="connsiteY4" fmla="*/ 0 h 630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919" h="630016">
                  <a:moveTo>
                    <a:pt x="131526" y="0"/>
                  </a:moveTo>
                  <a:lnTo>
                    <a:pt x="0" y="630016"/>
                  </a:lnTo>
                  <a:lnTo>
                    <a:pt x="448138" y="630016"/>
                  </a:lnTo>
                  <a:lnTo>
                    <a:pt x="523920" y="285659"/>
                  </a:lnTo>
                  <a:lnTo>
                    <a:pt x="131526" y="0"/>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1501DEC3-C53B-48EA-B2C5-A8B7FECFD8F8}"/>
                </a:ext>
              </a:extLst>
            </p:cNvPr>
            <p:cNvSpPr/>
            <p:nvPr/>
          </p:nvSpPr>
          <p:spPr>
            <a:xfrm>
              <a:off x="2739435" y="3771107"/>
              <a:ext cx="2249939" cy="1572150"/>
            </a:xfrm>
            <a:custGeom>
              <a:avLst/>
              <a:gdLst>
                <a:gd name="connsiteX0" fmla="*/ 1428545 w 2249939"/>
                <a:gd name="connsiteY0" fmla="*/ 714661 h 1572150"/>
                <a:gd name="connsiteX1" fmla="*/ 1428545 w 2249939"/>
                <a:gd name="connsiteY1" fmla="*/ 714661 h 1572150"/>
                <a:gd name="connsiteX2" fmla="*/ 1428545 w 2249939"/>
                <a:gd name="connsiteY2" fmla="*/ 714661 h 1572150"/>
                <a:gd name="connsiteX3" fmla="*/ 1429830 w 2249939"/>
                <a:gd name="connsiteY3" fmla="*/ 715945 h 1572150"/>
                <a:gd name="connsiteX4" fmla="*/ 1430601 w 2249939"/>
                <a:gd name="connsiteY4" fmla="*/ 717358 h 1572150"/>
                <a:gd name="connsiteX5" fmla="*/ 1430601 w 2249939"/>
                <a:gd name="connsiteY5" fmla="*/ 718257 h 1572150"/>
                <a:gd name="connsiteX6" fmla="*/ 1430601 w 2249939"/>
                <a:gd name="connsiteY6" fmla="*/ 718257 h 1572150"/>
                <a:gd name="connsiteX7" fmla="*/ 1430601 w 2249939"/>
                <a:gd name="connsiteY7" fmla="*/ 720312 h 1572150"/>
                <a:gd name="connsiteX8" fmla="*/ 1430601 w 2249939"/>
                <a:gd name="connsiteY8" fmla="*/ 721083 h 1572150"/>
                <a:gd name="connsiteX9" fmla="*/ 1430601 w 2249939"/>
                <a:gd name="connsiteY9" fmla="*/ 722367 h 1572150"/>
                <a:gd name="connsiteX10" fmla="*/ 1430601 w 2249939"/>
                <a:gd name="connsiteY10" fmla="*/ 723780 h 1572150"/>
                <a:gd name="connsiteX11" fmla="*/ 1430601 w 2249939"/>
                <a:gd name="connsiteY11" fmla="*/ 723780 h 1572150"/>
                <a:gd name="connsiteX12" fmla="*/ 1429958 w 2249939"/>
                <a:gd name="connsiteY12" fmla="*/ 724551 h 1572150"/>
                <a:gd name="connsiteX13" fmla="*/ 1428802 w 2249939"/>
                <a:gd name="connsiteY13" fmla="*/ 725964 h 1572150"/>
                <a:gd name="connsiteX14" fmla="*/ 1427518 w 2249939"/>
                <a:gd name="connsiteY14" fmla="*/ 726734 h 1572150"/>
                <a:gd name="connsiteX15" fmla="*/ 1426619 w 2249939"/>
                <a:gd name="connsiteY15" fmla="*/ 726734 h 1572150"/>
                <a:gd name="connsiteX16" fmla="*/ 101342 w 2249939"/>
                <a:gd name="connsiteY16" fmla="*/ 1200306 h 1572150"/>
                <a:gd name="connsiteX17" fmla="*/ 1028 w 2249939"/>
                <a:gd name="connsiteY17" fmla="*/ 1236014 h 1572150"/>
                <a:gd name="connsiteX18" fmla="*/ 0 w 2249939"/>
                <a:gd name="connsiteY18" fmla="*/ 1241023 h 1572150"/>
                <a:gd name="connsiteX19" fmla="*/ 495791 w 2249939"/>
                <a:gd name="connsiteY19" fmla="*/ 1572151 h 1572150"/>
                <a:gd name="connsiteX20" fmla="*/ 2249940 w 2249939"/>
                <a:gd name="connsiteY20" fmla="*/ 914262 h 1572150"/>
                <a:gd name="connsiteX21" fmla="*/ 713759 w 2249939"/>
                <a:gd name="connsiteY21" fmla="*/ 0 h 1572150"/>
                <a:gd name="connsiteX22" fmla="*/ 411532 w 2249939"/>
                <a:gd name="connsiteY22" fmla="*/ 96975 h 157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9939" h="1572150">
                  <a:moveTo>
                    <a:pt x="1428545" y="714661"/>
                  </a:moveTo>
                  <a:lnTo>
                    <a:pt x="1428545" y="714661"/>
                  </a:lnTo>
                  <a:cubicBezTo>
                    <a:pt x="1428545" y="714661"/>
                    <a:pt x="1428545" y="714661"/>
                    <a:pt x="1428545" y="714661"/>
                  </a:cubicBezTo>
                  <a:cubicBezTo>
                    <a:pt x="1429064" y="714988"/>
                    <a:pt x="1429503" y="715427"/>
                    <a:pt x="1429830" y="715945"/>
                  </a:cubicBezTo>
                  <a:cubicBezTo>
                    <a:pt x="1430161" y="716372"/>
                    <a:pt x="1430421" y="716849"/>
                    <a:pt x="1430601" y="717358"/>
                  </a:cubicBezTo>
                  <a:lnTo>
                    <a:pt x="1430601" y="718257"/>
                  </a:lnTo>
                  <a:lnTo>
                    <a:pt x="1430601" y="718257"/>
                  </a:lnTo>
                  <a:cubicBezTo>
                    <a:pt x="1430668" y="718940"/>
                    <a:pt x="1430668" y="719629"/>
                    <a:pt x="1430601" y="720312"/>
                  </a:cubicBezTo>
                  <a:lnTo>
                    <a:pt x="1430601" y="721083"/>
                  </a:lnTo>
                  <a:cubicBezTo>
                    <a:pt x="1430657" y="721509"/>
                    <a:pt x="1430657" y="721941"/>
                    <a:pt x="1430601" y="722367"/>
                  </a:cubicBezTo>
                  <a:cubicBezTo>
                    <a:pt x="1430673" y="722835"/>
                    <a:pt x="1430673" y="723312"/>
                    <a:pt x="1430601" y="723780"/>
                  </a:cubicBezTo>
                  <a:lnTo>
                    <a:pt x="1430601" y="723780"/>
                  </a:lnTo>
                  <a:lnTo>
                    <a:pt x="1429958" y="724551"/>
                  </a:lnTo>
                  <a:cubicBezTo>
                    <a:pt x="1429645" y="725077"/>
                    <a:pt x="1429255" y="725553"/>
                    <a:pt x="1428802" y="725964"/>
                  </a:cubicBezTo>
                  <a:lnTo>
                    <a:pt x="1427518" y="726734"/>
                  </a:lnTo>
                  <a:lnTo>
                    <a:pt x="1426619" y="726734"/>
                  </a:lnTo>
                  <a:lnTo>
                    <a:pt x="101342" y="1200306"/>
                  </a:lnTo>
                  <a:lnTo>
                    <a:pt x="1028" y="1236014"/>
                  </a:lnTo>
                  <a:lnTo>
                    <a:pt x="0" y="1241023"/>
                  </a:lnTo>
                  <a:lnTo>
                    <a:pt x="495791" y="1572151"/>
                  </a:lnTo>
                  <a:lnTo>
                    <a:pt x="2249940" y="914262"/>
                  </a:lnTo>
                  <a:lnTo>
                    <a:pt x="713759" y="0"/>
                  </a:lnTo>
                  <a:lnTo>
                    <a:pt x="411532" y="96975"/>
                  </a:lnTo>
                  <a:close/>
                </a:path>
              </a:pathLst>
            </a:custGeom>
            <a:solidFill>
              <a:schemeClr val="accent5">
                <a:lumMod val="50000"/>
              </a:schemeClr>
            </a:solidFill>
            <a:ln w="12844"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0F3FD3E-6019-42BE-963F-FF95B4002C5C}"/>
                </a:ext>
              </a:extLst>
            </p:cNvPr>
            <p:cNvSpPr/>
            <p:nvPr/>
          </p:nvSpPr>
          <p:spPr>
            <a:xfrm>
              <a:off x="2468934" y="6249171"/>
              <a:ext cx="73597" cy="72057"/>
            </a:xfrm>
            <a:custGeom>
              <a:avLst/>
              <a:gdLst>
                <a:gd name="connsiteX0" fmla="*/ 0 w 73597"/>
                <a:gd name="connsiteY0" fmla="*/ 72057 h 72057"/>
                <a:gd name="connsiteX1" fmla="*/ 73598 w 73597"/>
                <a:gd name="connsiteY1" fmla="*/ 42772 h 72057"/>
                <a:gd name="connsiteX2" fmla="*/ 14899 w 73597"/>
                <a:gd name="connsiteY2" fmla="*/ 0 h 72057"/>
                <a:gd name="connsiteX3" fmla="*/ 0 w 73597"/>
                <a:gd name="connsiteY3" fmla="*/ 72057 h 72057"/>
              </a:gdLst>
              <a:ahLst/>
              <a:cxnLst>
                <a:cxn ang="0">
                  <a:pos x="connsiteX0" y="connsiteY0"/>
                </a:cxn>
                <a:cxn ang="0">
                  <a:pos x="connsiteX1" y="connsiteY1"/>
                </a:cxn>
                <a:cxn ang="0">
                  <a:pos x="connsiteX2" y="connsiteY2"/>
                </a:cxn>
                <a:cxn ang="0">
                  <a:pos x="connsiteX3" y="connsiteY3"/>
                </a:cxn>
              </a:cxnLst>
              <a:rect l="l" t="t" r="r" b="b"/>
              <a:pathLst>
                <a:path w="73597" h="72057">
                  <a:moveTo>
                    <a:pt x="0" y="72057"/>
                  </a:moveTo>
                  <a:lnTo>
                    <a:pt x="73598" y="42772"/>
                  </a:lnTo>
                  <a:lnTo>
                    <a:pt x="14899" y="0"/>
                  </a:lnTo>
                  <a:lnTo>
                    <a:pt x="0" y="72057"/>
                  </a:lnTo>
                  <a:close/>
                </a:path>
              </a:pathLst>
            </a:custGeom>
            <a:solidFill>
              <a:srgbClr val="F26544"/>
            </a:solidFill>
            <a:ln w="12844"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164D6BF-CAE9-4E45-98D0-67F1BAFB13E0}"/>
                </a:ext>
              </a:extLst>
            </p:cNvPr>
            <p:cNvSpPr/>
            <p:nvPr/>
          </p:nvSpPr>
          <p:spPr>
            <a:xfrm>
              <a:off x="2341903" y="6305044"/>
              <a:ext cx="206151" cy="630915"/>
            </a:xfrm>
            <a:custGeom>
              <a:avLst/>
              <a:gdLst>
                <a:gd name="connsiteX0" fmla="*/ 123562 w 206151"/>
                <a:gd name="connsiteY0" fmla="*/ 32882 h 630915"/>
                <a:gd name="connsiteX1" fmla="*/ 0 w 206151"/>
                <a:gd name="connsiteY1" fmla="*/ 630915 h 630915"/>
                <a:gd name="connsiteX2" fmla="*/ 74497 w 206151"/>
                <a:gd name="connsiteY2" fmla="*/ 630915 h 630915"/>
                <a:gd name="connsiteX3" fmla="*/ 206151 w 206151"/>
                <a:gd name="connsiteY3" fmla="*/ 0 h 630915"/>
                <a:gd name="connsiteX4" fmla="*/ 123562 w 206151"/>
                <a:gd name="connsiteY4" fmla="*/ 32882 h 630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151" h="630915">
                  <a:moveTo>
                    <a:pt x="123562" y="32882"/>
                  </a:moveTo>
                  <a:lnTo>
                    <a:pt x="0" y="630915"/>
                  </a:lnTo>
                  <a:lnTo>
                    <a:pt x="74497" y="630915"/>
                  </a:lnTo>
                  <a:lnTo>
                    <a:pt x="206151" y="0"/>
                  </a:lnTo>
                  <a:lnTo>
                    <a:pt x="123562" y="32882"/>
                  </a:lnTo>
                  <a:close/>
                </a:path>
              </a:pathLst>
            </a:custGeom>
            <a:solidFill>
              <a:schemeClr val="accent2"/>
            </a:solidFill>
            <a:ln w="12844"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CC2E5A6-C5CA-4604-9744-82980A6EE92F}"/>
                </a:ext>
              </a:extLst>
            </p:cNvPr>
            <p:cNvSpPr/>
            <p:nvPr/>
          </p:nvSpPr>
          <p:spPr>
            <a:xfrm>
              <a:off x="322134" y="0"/>
              <a:ext cx="928130" cy="1903664"/>
            </a:xfrm>
            <a:custGeom>
              <a:avLst/>
              <a:gdLst>
                <a:gd name="connsiteX0" fmla="*/ 297988 w 928130"/>
                <a:gd name="connsiteY0" fmla="*/ 1903664 h 1903664"/>
                <a:gd name="connsiteX1" fmla="*/ 647225 w 928130"/>
                <a:gd name="connsiteY1" fmla="*/ 1823130 h 1903664"/>
                <a:gd name="connsiteX2" fmla="*/ 928131 w 928130"/>
                <a:gd name="connsiteY2" fmla="*/ 0 h 1903664"/>
                <a:gd name="connsiteX3" fmla="*/ 240959 w 928130"/>
                <a:gd name="connsiteY3" fmla="*/ 0 h 1903664"/>
                <a:gd name="connsiteX4" fmla="*/ 0 w 928130"/>
                <a:gd name="connsiteY4" fmla="*/ 1728724 h 1903664"/>
                <a:gd name="connsiteX5" fmla="*/ 297988 w 928130"/>
                <a:gd name="connsiteY5" fmla="*/ 1903664 h 190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130" h="1903664">
                  <a:moveTo>
                    <a:pt x="297988" y="1903664"/>
                  </a:moveTo>
                  <a:lnTo>
                    <a:pt x="647225" y="1823130"/>
                  </a:lnTo>
                  <a:lnTo>
                    <a:pt x="928131" y="0"/>
                  </a:lnTo>
                  <a:lnTo>
                    <a:pt x="240959" y="0"/>
                  </a:lnTo>
                  <a:lnTo>
                    <a:pt x="0" y="1728724"/>
                  </a:lnTo>
                  <a:lnTo>
                    <a:pt x="297988" y="1903664"/>
                  </a:lnTo>
                  <a:close/>
                </a:path>
              </a:pathLst>
            </a:custGeom>
            <a:solidFill>
              <a:schemeClr val="accent1"/>
            </a:solidFill>
            <a:ln w="12844"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C317F237-5093-493C-BBD7-AED573F5BDE1}"/>
                </a:ext>
              </a:extLst>
            </p:cNvPr>
            <p:cNvSpPr/>
            <p:nvPr/>
          </p:nvSpPr>
          <p:spPr>
            <a:xfrm>
              <a:off x="128442" y="0"/>
              <a:ext cx="420908" cy="1721145"/>
            </a:xfrm>
            <a:custGeom>
              <a:avLst/>
              <a:gdLst>
                <a:gd name="connsiteX0" fmla="*/ 217069 w 420908"/>
                <a:gd name="connsiteY0" fmla="*/ 1067881 h 1721145"/>
                <a:gd name="connsiteX1" fmla="*/ 217069 w 420908"/>
                <a:gd name="connsiteY1" fmla="*/ 1067881 h 1721145"/>
                <a:gd name="connsiteX2" fmla="*/ 217069 w 420908"/>
                <a:gd name="connsiteY2" fmla="*/ 1067881 h 1721145"/>
                <a:gd name="connsiteX3" fmla="*/ 218097 w 420908"/>
                <a:gd name="connsiteY3" fmla="*/ 1068780 h 1721145"/>
                <a:gd name="connsiteX4" fmla="*/ 218867 w 420908"/>
                <a:gd name="connsiteY4" fmla="*/ 1069679 h 1721145"/>
                <a:gd name="connsiteX5" fmla="*/ 218867 w 420908"/>
                <a:gd name="connsiteY5" fmla="*/ 1070835 h 1721145"/>
                <a:gd name="connsiteX6" fmla="*/ 218867 w 420908"/>
                <a:gd name="connsiteY6" fmla="*/ 1071863 h 1721145"/>
                <a:gd name="connsiteX7" fmla="*/ 218867 w 420908"/>
                <a:gd name="connsiteY7" fmla="*/ 1071863 h 1721145"/>
                <a:gd name="connsiteX8" fmla="*/ 218867 w 420908"/>
                <a:gd name="connsiteY8" fmla="*/ 1071863 h 1721145"/>
                <a:gd name="connsiteX9" fmla="*/ 218867 w 420908"/>
                <a:gd name="connsiteY9" fmla="*/ 1071863 h 1721145"/>
                <a:gd name="connsiteX10" fmla="*/ 218867 w 420908"/>
                <a:gd name="connsiteY10" fmla="*/ 1072633 h 1721145"/>
                <a:gd name="connsiteX11" fmla="*/ 218867 w 420908"/>
                <a:gd name="connsiteY11" fmla="*/ 1073789 h 1721145"/>
                <a:gd name="connsiteX12" fmla="*/ 218867 w 420908"/>
                <a:gd name="connsiteY12" fmla="*/ 1073789 h 1721145"/>
                <a:gd name="connsiteX13" fmla="*/ 133452 w 420908"/>
                <a:gd name="connsiteY13" fmla="*/ 1692888 h 1721145"/>
                <a:gd name="connsiteX14" fmla="*/ 180976 w 420908"/>
                <a:gd name="connsiteY14" fmla="*/ 1721146 h 1721145"/>
                <a:gd name="connsiteX15" fmla="*/ 420908 w 420908"/>
                <a:gd name="connsiteY15" fmla="*/ 0 h 1721145"/>
                <a:gd name="connsiteX16" fmla="*/ 125489 w 420908"/>
                <a:gd name="connsiteY16" fmla="*/ 0 h 1721145"/>
                <a:gd name="connsiteX17" fmla="*/ 0 w 420908"/>
                <a:gd name="connsiteY17" fmla="*/ 947401 h 17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908" h="1721145">
                  <a:moveTo>
                    <a:pt x="217069" y="1067881"/>
                  </a:moveTo>
                  <a:lnTo>
                    <a:pt x="217069" y="1067881"/>
                  </a:lnTo>
                  <a:lnTo>
                    <a:pt x="217069" y="1067881"/>
                  </a:lnTo>
                  <a:lnTo>
                    <a:pt x="218097" y="1068780"/>
                  </a:lnTo>
                  <a:lnTo>
                    <a:pt x="218867" y="1069679"/>
                  </a:lnTo>
                  <a:cubicBezTo>
                    <a:pt x="218916" y="1070063"/>
                    <a:pt x="218916" y="1070451"/>
                    <a:pt x="218867" y="1070835"/>
                  </a:cubicBezTo>
                  <a:cubicBezTo>
                    <a:pt x="218867" y="1070835"/>
                    <a:pt x="218867" y="1070835"/>
                    <a:pt x="218867" y="1071863"/>
                  </a:cubicBezTo>
                  <a:lnTo>
                    <a:pt x="218867" y="1071863"/>
                  </a:lnTo>
                  <a:lnTo>
                    <a:pt x="218867" y="1071863"/>
                  </a:lnTo>
                  <a:cubicBezTo>
                    <a:pt x="218867" y="1071863"/>
                    <a:pt x="218867" y="1071863"/>
                    <a:pt x="218867" y="1071863"/>
                  </a:cubicBezTo>
                  <a:cubicBezTo>
                    <a:pt x="218867" y="1071863"/>
                    <a:pt x="218867" y="1071863"/>
                    <a:pt x="218867" y="1072633"/>
                  </a:cubicBezTo>
                  <a:cubicBezTo>
                    <a:pt x="218930" y="1073016"/>
                    <a:pt x="218930" y="1073407"/>
                    <a:pt x="218867" y="1073789"/>
                  </a:cubicBezTo>
                  <a:lnTo>
                    <a:pt x="218867" y="1073789"/>
                  </a:lnTo>
                  <a:lnTo>
                    <a:pt x="133452" y="1692888"/>
                  </a:lnTo>
                  <a:lnTo>
                    <a:pt x="180976" y="1721146"/>
                  </a:lnTo>
                  <a:lnTo>
                    <a:pt x="420908" y="0"/>
                  </a:lnTo>
                  <a:lnTo>
                    <a:pt x="125489" y="0"/>
                  </a:lnTo>
                  <a:lnTo>
                    <a:pt x="0" y="947401"/>
                  </a:lnTo>
                  <a:close/>
                </a:path>
              </a:pathLst>
            </a:custGeom>
            <a:solidFill>
              <a:schemeClr val="accent2"/>
            </a:solidFill>
            <a:ln w="12844"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91B09ABC-1E30-4A5D-B380-A744D6F851BD}"/>
                </a:ext>
              </a:extLst>
            </p:cNvPr>
            <p:cNvSpPr/>
            <p:nvPr/>
          </p:nvSpPr>
          <p:spPr>
            <a:xfrm>
              <a:off x="4432959" y="6203188"/>
              <a:ext cx="1292138" cy="732771"/>
            </a:xfrm>
            <a:custGeom>
              <a:avLst/>
              <a:gdLst>
                <a:gd name="connsiteX0" fmla="*/ 0 w 1292138"/>
                <a:gd name="connsiteY0" fmla="*/ 732771 h 732771"/>
                <a:gd name="connsiteX1" fmla="*/ 1292139 w 1292138"/>
                <a:gd name="connsiteY1" fmla="*/ 732771 h 732771"/>
                <a:gd name="connsiteX2" fmla="*/ 188940 w 1292138"/>
                <a:gd name="connsiteY2" fmla="*/ 0 h 732771"/>
                <a:gd name="connsiteX3" fmla="*/ 0 w 1292138"/>
                <a:gd name="connsiteY3" fmla="*/ 732771 h 732771"/>
              </a:gdLst>
              <a:ahLst/>
              <a:cxnLst>
                <a:cxn ang="0">
                  <a:pos x="connsiteX0" y="connsiteY0"/>
                </a:cxn>
                <a:cxn ang="0">
                  <a:pos x="connsiteX1" y="connsiteY1"/>
                </a:cxn>
                <a:cxn ang="0">
                  <a:pos x="connsiteX2" y="connsiteY2"/>
                </a:cxn>
                <a:cxn ang="0">
                  <a:pos x="connsiteX3" y="connsiteY3"/>
                </a:cxn>
              </a:cxnLst>
              <a:rect l="l" t="t" r="r" b="b"/>
              <a:pathLst>
                <a:path w="1292138" h="732771">
                  <a:moveTo>
                    <a:pt x="0" y="732771"/>
                  </a:moveTo>
                  <a:lnTo>
                    <a:pt x="1292139" y="732771"/>
                  </a:lnTo>
                  <a:lnTo>
                    <a:pt x="188940" y="0"/>
                  </a:lnTo>
                  <a:lnTo>
                    <a:pt x="0" y="732771"/>
                  </a:lnTo>
                  <a:close/>
                </a:path>
              </a:pathLst>
            </a:custGeom>
            <a:solidFill>
              <a:schemeClr val="accent5">
                <a:lumMod val="50000"/>
              </a:schemeClr>
            </a:solidFill>
            <a:ln w="12844"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E92E4AD-7177-41B7-A7F7-05D7A28F510E}"/>
                </a:ext>
              </a:extLst>
            </p:cNvPr>
            <p:cNvSpPr/>
            <p:nvPr/>
          </p:nvSpPr>
          <p:spPr>
            <a:xfrm>
              <a:off x="2598918" y="1322970"/>
              <a:ext cx="1548768" cy="3633544"/>
            </a:xfrm>
            <a:custGeom>
              <a:avLst/>
              <a:gdLst>
                <a:gd name="connsiteX0" fmla="*/ 0 w 1548768"/>
                <a:gd name="connsiteY0" fmla="*/ 2782733 h 3633544"/>
                <a:gd name="connsiteX1" fmla="*/ 286043 w 1548768"/>
                <a:gd name="connsiteY1" fmla="*/ 2963582 h 3633544"/>
                <a:gd name="connsiteX2" fmla="*/ 286043 w 1548768"/>
                <a:gd name="connsiteY2" fmla="*/ 2963582 h 3633544"/>
                <a:gd name="connsiteX3" fmla="*/ 286942 w 1548768"/>
                <a:gd name="connsiteY3" fmla="*/ 2964481 h 3633544"/>
                <a:gd name="connsiteX4" fmla="*/ 287713 w 1548768"/>
                <a:gd name="connsiteY4" fmla="*/ 2965251 h 3633544"/>
                <a:gd name="connsiteX5" fmla="*/ 287713 w 1548768"/>
                <a:gd name="connsiteY5" fmla="*/ 2965251 h 3633544"/>
                <a:gd name="connsiteX6" fmla="*/ 287713 w 1548768"/>
                <a:gd name="connsiteY6" fmla="*/ 2966536 h 3633544"/>
                <a:gd name="connsiteX7" fmla="*/ 287713 w 1548768"/>
                <a:gd name="connsiteY7" fmla="*/ 2967435 h 3633544"/>
                <a:gd name="connsiteX8" fmla="*/ 287713 w 1548768"/>
                <a:gd name="connsiteY8" fmla="*/ 2967435 h 3633544"/>
                <a:gd name="connsiteX9" fmla="*/ 287713 w 1548768"/>
                <a:gd name="connsiteY9" fmla="*/ 2968848 h 3633544"/>
                <a:gd name="connsiteX10" fmla="*/ 287713 w 1548768"/>
                <a:gd name="connsiteY10" fmla="*/ 2970389 h 3633544"/>
                <a:gd name="connsiteX11" fmla="*/ 287713 w 1548768"/>
                <a:gd name="connsiteY11" fmla="*/ 2970389 h 3633544"/>
                <a:gd name="connsiteX12" fmla="*/ 162609 w 1548768"/>
                <a:gd name="connsiteY12" fmla="*/ 3581524 h 3633544"/>
                <a:gd name="connsiteX13" fmla="*/ 241088 w 1548768"/>
                <a:gd name="connsiteY13" fmla="*/ 3633544 h 3633544"/>
                <a:gd name="connsiteX14" fmla="*/ 1548768 w 1548768"/>
                <a:gd name="connsiteY14" fmla="*/ 3167807 h 3633544"/>
                <a:gd name="connsiteX15" fmla="*/ 531113 w 1548768"/>
                <a:gd name="connsiteY15" fmla="*/ 2549608 h 3633544"/>
                <a:gd name="connsiteX16" fmla="*/ 531113 w 1548768"/>
                <a:gd name="connsiteY16" fmla="*/ 2549608 h 3633544"/>
                <a:gd name="connsiteX17" fmla="*/ 530085 w 1548768"/>
                <a:gd name="connsiteY17" fmla="*/ 2548709 h 3633544"/>
                <a:gd name="connsiteX18" fmla="*/ 529315 w 1548768"/>
                <a:gd name="connsiteY18" fmla="*/ 2547938 h 3633544"/>
                <a:gd name="connsiteX19" fmla="*/ 529315 w 1548768"/>
                <a:gd name="connsiteY19" fmla="*/ 2547938 h 3633544"/>
                <a:gd name="connsiteX20" fmla="*/ 529315 w 1548768"/>
                <a:gd name="connsiteY20" fmla="*/ 2546653 h 3633544"/>
                <a:gd name="connsiteX21" fmla="*/ 529315 w 1548768"/>
                <a:gd name="connsiteY21" fmla="*/ 2545754 h 3633544"/>
                <a:gd name="connsiteX22" fmla="*/ 529315 w 1548768"/>
                <a:gd name="connsiteY22" fmla="*/ 2545755 h 3633544"/>
                <a:gd name="connsiteX23" fmla="*/ 529315 w 1548768"/>
                <a:gd name="connsiteY23" fmla="*/ 2545755 h 3633544"/>
                <a:gd name="connsiteX24" fmla="*/ 529315 w 1548768"/>
                <a:gd name="connsiteY24" fmla="*/ 2544727 h 3633544"/>
                <a:gd name="connsiteX25" fmla="*/ 529315 w 1548768"/>
                <a:gd name="connsiteY25" fmla="*/ 2543828 h 3633544"/>
                <a:gd name="connsiteX26" fmla="*/ 529315 w 1548768"/>
                <a:gd name="connsiteY26" fmla="*/ 2542928 h 3633544"/>
                <a:gd name="connsiteX27" fmla="*/ 529315 w 1548768"/>
                <a:gd name="connsiteY27" fmla="*/ 2542929 h 3633544"/>
                <a:gd name="connsiteX28" fmla="*/ 1015857 w 1548768"/>
                <a:gd name="connsiteY28" fmla="*/ 230942 h 3633544"/>
                <a:gd name="connsiteX29" fmla="*/ 554233 w 1548768"/>
                <a:gd name="connsiteY29" fmla="*/ 0 h 3633544"/>
                <a:gd name="connsiteX30" fmla="*/ 159398 w 1548768"/>
                <a:gd name="connsiteY30" fmla="*/ 1982529 h 3633544"/>
                <a:gd name="connsiteX31" fmla="*/ 113158 w 1548768"/>
                <a:gd name="connsiteY31" fmla="*/ 2215012 h 36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8768" h="3633544">
                  <a:moveTo>
                    <a:pt x="0" y="2782733"/>
                  </a:moveTo>
                  <a:lnTo>
                    <a:pt x="286043" y="2963582"/>
                  </a:lnTo>
                  <a:lnTo>
                    <a:pt x="286043" y="2963582"/>
                  </a:lnTo>
                  <a:lnTo>
                    <a:pt x="286942" y="2964481"/>
                  </a:lnTo>
                  <a:lnTo>
                    <a:pt x="287713" y="2965251"/>
                  </a:lnTo>
                  <a:lnTo>
                    <a:pt x="287713" y="2965251"/>
                  </a:lnTo>
                  <a:cubicBezTo>
                    <a:pt x="287764" y="2965678"/>
                    <a:pt x="287764" y="2966109"/>
                    <a:pt x="287713" y="2966536"/>
                  </a:cubicBezTo>
                  <a:cubicBezTo>
                    <a:pt x="287737" y="2966835"/>
                    <a:pt x="287737" y="2967136"/>
                    <a:pt x="287713" y="2967435"/>
                  </a:cubicBezTo>
                  <a:lnTo>
                    <a:pt x="287713" y="2967435"/>
                  </a:lnTo>
                  <a:lnTo>
                    <a:pt x="287713" y="2968848"/>
                  </a:lnTo>
                  <a:cubicBezTo>
                    <a:pt x="287777" y="2969360"/>
                    <a:pt x="287777" y="2969878"/>
                    <a:pt x="287713" y="2970389"/>
                  </a:cubicBezTo>
                  <a:lnTo>
                    <a:pt x="287713" y="2970389"/>
                  </a:lnTo>
                  <a:lnTo>
                    <a:pt x="162609" y="3581524"/>
                  </a:lnTo>
                  <a:lnTo>
                    <a:pt x="241088" y="3633544"/>
                  </a:lnTo>
                  <a:lnTo>
                    <a:pt x="1548768" y="3167807"/>
                  </a:lnTo>
                  <a:lnTo>
                    <a:pt x="531113" y="2549608"/>
                  </a:lnTo>
                  <a:lnTo>
                    <a:pt x="531113" y="2549608"/>
                  </a:lnTo>
                  <a:lnTo>
                    <a:pt x="530085" y="2548709"/>
                  </a:lnTo>
                  <a:lnTo>
                    <a:pt x="529315" y="2547938"/>
                  </a:lnTo>
                  <a:lnTo>
                    <a:pt x="529315" y="2547938"/>
                  </a:lnTo>
                  <a:cubicBezTo>
                    <a:pt x="529243" y="2547513"/>
                    <a:pt x="529243" y="2547079"/>
                    <a:pt x="529315" y="2546653"/>
                  </a:cubicBezTo>
                  <a:cubicBezTo>
                    <a:pt x="529272" y="2546355"/>
                    <a:pt x="529272" y="2546052"/>
                    <a:pt x="529315" y="2545754"/>
                  </a:cubicBezTo>
                  <a:lnTo>
                    <a:pt x="529315" y="2545755"/>
                  </a:lnTo>
                  <a:lnTo>
                    <a:pt x="529315" y="2545755"/>
                  </a:lnTo>
                  <a:cubicBezTo>
                    <a:pt x="529315" y="2545755"/>
                    <a:pt x="529315" y="2545112"/>
                    <a:pt x="529315" y="2544727"/>
                  </a:cubicBezTo>
                  <a:cubicBezTo>
                    <a:pt x="529252" y="2544430"/>
                    <a:pt x="529252" y="2544124"/>
                    <a:pt x="529315" y="2543828"/>
                  </a:cubicBezTo>
                  <a:cubicBezTo>
                    <a:pt x="529377" y="2543531"/>
                    <a:pt x="529377" y="2543225"/>
                    <a:pt x="529315" y="2542928"/>
                  </a:cubicBezTo>
                  <a:lnTo>
                    <a:pt x="529315" y="2542929"/>
                  </a:lnTo>
                  <a:lnTo>
                    <a:pt x="1015857" y="230942"/>
                  </a:lnTo>
                  <a:lnTo>
                    <a:pt x="554233" y="0"/>
                  </a:lnTo>
                  <a:lnTo>
                    <a:pt x="159398" y="1982529"/>
                  </a:lnTo>
                  <a:lnTo>
                    <a:pt x="113158" y="2215012"/>
                  </a:lnTo>
                  <a:close/>
                </a:path>
              </a:pathLst>
            </a:custGeom>
            <a:solidFill>
              <a:schemeClr val="accent4"/>
            </a:solidFill>
            <a:ln w="12844"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2D0ACA01-A5CF-43EC-82B8-9897A4C6DF73}"/>
                </a:ext>
              </a:extLst>
            </p:cNvPr>
            <p:cNvSpPr/>
            <p:nvPr/>
          </p:nvSpPr>
          <p:spPr>
            <a:xfrm>
              <a:off x="2743931" y="4920164"/>
              <a:ext cx="78864" cy="70644"/>
            </a:xfrm>
            <a:custGeom>
              <a:avLst/>
              <a:gdLst>
                <a:gd name="connsiteX0" fmla="*/ 14514 w 78864"/>
                <a:gd name="connsiteY0" fmla="*/ 0 h 70644"/>
                <a:gd name="connsiteX1" fmla="*/ 0 w 78864"/>
                <a:gd name="connsiteY1" fmla="*/ 70644 h 70644"/>
                <a:gd name="connsiteX2" fmla="*/ 78864 w 78864"/>
                <a:gd name="connsiteY2" fmla="*/ 42515 h 70644"/>
                <a:gd name="connsiteX3" fmla="*/ 14514 w 78864"/>
                <a:gd name="connsiteY3" fmla="*/ 0 h 70644"/>
              </a:gdLst>
              <a:ahLst/>
              <a:cxnLst>
                <a:cxn ang="0">
                  <a:pos x="connsiteX0" y="connsiteY0"/>
                </a:cxn>
                <a:cxn ang="0">
                  <a:pos x="connsiteX1" y="connsiteY1"/>
                </a:cxn>
                <a:cxn ang="0">
                  <a:pos x="connsiteX2" y="connsiteY2"/>
                </a:cxn>
                <a:cxn ang="0">
                  <a:pos x="connsiteX3" y="connsiteY3"/>
                </a:cxn>
              </a:cxnLst>
              <a:rect l="l" t="t" r="r" b="b"/>
              <a:pathLst>
                <a:path w="78864" h="70644">
                  <a:moveTo>
                    <a:pt x="14514" y="0"/>
                  </a:moveTo>
                  <a:lnTo>
                    <a:pt x="0" y="70644"/>
                  </a:lnTo>
                  <a:lnTo>
                    <a:pt x="78864" y="42515"/>
                  </a:lnTo>
                  <a:lnTo>
                    <a:pt x="14514" y="0"/>
                  </a:lnTo>
                  <a:close/>
                </a:path>
              </a:pathLst>
            </a:custGeom>
            <a:solidFill>
              <a:srgbClr val="7E121D"/>
            </a:solidFill>
            <a:ln w="12844"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EE23CE0-FBD6-46CA-8B09-C0E711513F2C}"/>
                </a:ext>
              </a:extLst>
            </p:cNvPr>
            <p:cNvSpPr/>
            <p:nvPr/>
          </p:nvSpPr>
          <p:spPr>
            <a:xfrm>
              <a:off x="2304655" y="3547101"/>
              <a:ext cx="391751" cy="550894"/>
            </a:xfrm>
            <a:custGeom>
              <a:avLst/>
              <a:gdLst>
                <a:gd name="connsiteX0" fmla="*/ 138333 w 391751"/>
                <a:gd name="connsiteY0" fmla="*/ 462654 h 550894"/>
                <a:gd name="connsiteX1" fmla="*/ 141031 w 391751"/>
                <a:gd name="connsiteY1" fmla="*/ 462654 h 550894"/>
                <a:gd name="connsiteX2" fmla="*/ 141673 w 391751"/>
                <a:gd name="connsiteY2" fmla="*/ 462654 h 550894"/>
                <a:gd name="connsiteX3" fmla="*/ 143600 w 391751"/>
                <a:gd name="connsiteY3" fmla="*/ 463297 h 550894"/>
                <a:gd name="connsiteX4" fmla="*/ 143600 w 391751"/>
                <a:gd name="connsiteY4" fmla="*/ 463297 h 550894"/>
                <a:gd name="connsiteX5" fmla="*/ 282061 w 391751"/>
                <a:gd name="connsiteY5" fmla="*/ 550895 h 550894"/>
                <a:gd name="connsiteX6" fmla="*/ 391752 w 391751"/>
                <a:gd name="connsiteY6" fmla="*/ 0 h 550894"/>
                <a:gd name="connsiteX7" fmla="*/ 79121 w 391751"/>
                <a:gd name="connsiteY7" fmla="*/ 95048 h 550894"/>
                <a:gd name="connsiteX8" fmla="*/ 0 w 391751"/>
                <a:gd name="connsiteY8" fmla="*/ 506710 h 55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751" h="550894">
                  <a:moveTo>
                    <a:pt x="138333" y="462654"/>
                  </a:moveTo>
                  <a:lnTo>
                    <a:pt x="141031" y="462654"/>
                  </a:lnTo>
                  <a:lnTo>
                    <a:pt x="141673" y="462654"/>
                  </a:lnTo>
                  <a:lnTo>
                    <a:pt x="143600" y="463297"/>
                  </a:lnTo>
                  <a:lnTo>
                    <a:pt x="143600" y="463297"/>
                  </a:lnTo>
                  <a:lnTo>
                    <a:pt x="282061" y="550895"/>
                  </a:lnTo>
                  <a:lnTo>
                    <a:pt x="391752" y="0"/>
                  </a:lnTo>
                  <a:lnTo>
                    <a:pt x="79121" y="95048"/>
                  </a:lnTo>
                  <a:lnTo>
                    <a:pt x="0" y="506710"/>
                  </a:lnTo>
                  <a:close/>
                </a:path>
              </a:pathLst>
            </a:custGeom>
            <a:solidFill>
              <a:schemeClr val="accent2"/>
            </a:solidFill>
            <a:ln w="12844"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0FAB5F75-9704-4CB6-A41F-6BB9E1CB741A}"/>
                </a:ext>
              </a:extLst>
            </p:cNvPr>
            <p:cNvSpPr/>
            <p:nvPr/>
          </p:nvSpPr>
          <p:spPr>
            <a:xfrm>
              <a:off x="3142747" y="1477487"/>
              <a:ext cx="801100" cy="2378263"/>
            </a:xfrm>
            <a:custGeom>
              <a:avLst/>
              <a:gdLst>
                <a:gd name="connsiteX0" fmla="*/ 0 w 801100"/>
                <a:gd name="connsiteY0" fmla="*/ 2378264 h 2378263"/>
                <a:gd name="connsiteX1" fmla="*/ 305952 w 801100"/>
                <a:gd name="connsiteY1" fmla="*/ 2280004 h 2378263"/>
                <a:gd name="connsiteX2" fmla="*/ 801100 w 801100"/>
                <a:gd name="connsiteY2" fmla="*/ 0 h 2378263"/>
                <a:gd name="connsiteX3" fmla="*/ 484231 w 801100"/>
                <a:gd name="connsiteY3" fmla="*/ 76809 h 2378263"/>
                <a:gd name="connsiteX4" fmla="*/ 0 w 801100"/>
                <a:gd name="connsiteY4" fmla="*/ 2378264 h 237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100" h="2378263">
                  <a:moveTo>
                    <a:pt x="0" y="2378264"/>
                  </a:moveTo>
                  <a:lnTo>
                    <a:pt x="305952" y="2280004"/>
                  </a:lnTo>
                  <a:lnTo>
                    <a:pt x="801100" y="0"/>
                  </a:lnTo>
                  <a:lnTo>
                    <a:pt x="484231" y="76809"/>
                  </a:lnTo>
                  <a:lnTo>
                    <a:pt x="0" y="2378264"/>
                  </a:lnTo>
                  <a:close/>
                </a:path>
              </a:pathLst>
            </a:custGeom>
            <a:solidFill>
              <a:schemeClr val="accent5">
                <a:lumMod val="50000"/>
              </a:schemeClr>
            </a:solidFill>
            <a:ln w="12844"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125BAAD-FCB1-4115-BAD2-D7EC5DD39BAF}"/>
                </a:ext>
              </a:extLst>
            </p:cNvPr>
            <p:cNvSpPr/>
            <p:nvPr/>
          </p:nvSpPr>
          <p:spPr>
            <a:xfrm>
              <a:off x="610874" y="1807074"/>
              <a:ext cx="915671" cy="376468"/>
            </a:xfrm>
            <a:custGeom>
              <a:avLst/>
              <a:gdLst>
                <a:gd name="connsiteX0" fmla="*/ 915672 w 915671"/>
                <a:gd name="connsiteY0" fmla="*/ 240703 h 376468"/>
                <a:gd name="connsiteX1" fmla="*/ 492580 w 915671"/>
                <a:gd name="connsiteY1" fmla="*/ 0 h 376468"/>
                <a:gd name="connsiteX2" fmla="*/ 365292 w 915671"/>
                <a:gd name="connsiteY2" fmla="*/ 29670 h 376468"/>
                <a:gd name="connsiteX3" fmla="*/ 27358 w 915671"/>
                <a:gd name="connsiteY3" fmla="*/ 106737 h 376468"/>
                <a:gd name="connsiteX4" fmla="*/ 28386 w 915671"/>
                <a:gd name="connsiteY4" fmla="*/ 106737 h 376468"/>
                <a:gd name="connsiteX5" fmla="*/ 28386 w 915671"/>
                <a:gd name="connsiteY5" fmla="*/ 106737 h 376468"/>
                <a:gd name="connsiteX6" fmla="*/ 28386 w 915671"/>
                <a:gd name="connsiteY6" fmla="*/ 106737 h 376468"/>
                <a:gd name="connsiteX7" fmla="*/ 29285 w 915671"/>
                <a:gd name="connsiteY7" fmla="*/ 107636 h 376468"/>
                <a:gd name="connsiteX8" fmla="*/ 29285 w 915671"/>
                <a:gd name="connsiteY8" fmla="*/ 107636 h 376468"/>
                <a:gd name="connsiteX9" fmla="*/ 29285 w 915671"/>
                <a:gd name="connsiteY9" fmla="*/ 108278 h 376468"/>
                <a:gd name="connsiteX10" fmla="*/ 29285 w 915671"/>
                <a:gd name="connsiteY10" fmla="*/ 109434 h 376468"/>
                <a:gd name="connsiteX11" fmla="*/ 29285 w 915671"/>
                <a:gd name="connsiteY11" fmla="*/ 109434 h 376468"/>
                <a:gd name="connsiteX12" fmla="*/ 29285 w 915671"/>
                <a:gd name="connsiteY12" fmla="*/ 109434 h 376468"/>
                <a:gd name="connsiteX13" fmla="*/ 29285 w 915671"/>
                <a:gd name="connsiteY13" fmla="*/ 110461 h 376468"/>
                <a:gd name="connsiteX14" fmla="*/ 29285 w 915671"/>
                <a:gd name="connsiteY14" fmla="*/ 110461 h 376468"/>
                <a:gd name="connsiteX15" fmla="*/ 29285 w 915671"/>
                <a:gd name="connsiteY15" fmla="*/ 111618 h 376468"/>
                <a:gd name="connsiteX16" fmla="*/ 29285 w 915671"/>
                <a:gd name="connsiteY16" fmla="*/ 112774 h 376468"/>
                <a:gd name="connsiteX17" fmla="*/ 29285 w 915671"/>
                <a:gd name="connsiteY17" fmla="*/ 112774 h 376468"/>
                <a:gd name="connsiteX18" fmla="*/ 22092 w 915671"/>
                <a:gd name="connsiteY18" fmla="*/ 161582 h 376468"/>
                <a:gd name="connsiteX19" fmla="*/ 14257 w 915671"/>
                <a:gd name="connsiteY19" fmla="*/ 168133 h 376468"/>
                <a:gd name="connsiteX20" fmla="*/ 8606 w 915671"/>
                <a:gd name="connsiteY20" fmla="*/ 162353 h 376468"/>
                <a:gd name="connsiteX21" fmla="*/ 0 w 915671"/>
                <a:gd name="connsiteY21" fmla="*/ 164408 h 376468"/>
                <a:gd name="connsiteX22" fmla="*/ 356944 w 915671"/>
                <a:gd name="connsiteY22" fmla="*/ 376468 h 37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5671" h="376468">
                  <a:moveTo>
                    <a:pt x="915672" y="240703"/>
                  </a:moveTo>
                  <a:lnTo>
                    <a:pt x="492580" y="0"/>
                  </a:lnTo>
                  <a:lnTo>
                    <a:pt x="365292" y="29670"/>
                  </a:lnTo>
                  <a:lnTo>
                    <a:pt x="27358" y="106737"/>
                  </a:lnTo>
                  <a:lnTo>
                    <a:pt x="28386" y="106737"/>
                  </a:lnTo>
                  <a:lnTo>
                    <a:pt x="28386" y="106737"/>
                  </a:lnTo>
                  <a:lnTo>
                    <a:pt x="28386" y="106737"/>
                  </a:lnTo>
                  <a:cubicBezTo>
                    <a:pt x="28717" y="107003"/>
                    <a:pt x="29019" y="107305"/>
                    <a:pt x="29285" y="107636"/>
                  </a:cubicBezTo>
                  <a:lnTo>
                    <a:pt x="29285" y="107636"/>
                  </a:lnTo>
                  <a:cubicBezTo>
                    <a:pt x="29285" y="107636"/>
                    <a:pt x="29285" y="107636"/>
                    <a:pt x="29285" y="108278"/>
                  </a:cubicBezTo>
                  <a:cubicBezTo>
                    <a:pt x="29333" y="108662"/>
                    <a:pt x="29333" y="109050"/>
                    <a:pt x="29285" y="109434"/>
                  </a:cubicBezTo>
                  <a:lnTo>
                    <a:pt x="29285" y="109434"/>
                  </a:lnTo>
                  <a:lnTo>
                    <a:pt x="29285" y="109434"/>
                  </a:lnTo>
                  <a:lnTo>
                    <a:pt x="29285" y="110461"/>
                  </a:lnTo>
                  <a:lnTo>
                    <a:pt x="29285" y="110461"/>
                  </a:lnTo>
                  <a:cubicBezTo>
                    <a:pt x="29285" y="110461"/>
                    <a:pt x="29285" y="111232"/>
                    <a:pt x="29285" y="111618"/>
                  </a:cubicBezTo>
                  <a:cubicBezTo>
                    <a:pt x="29285" y="112003"/>
                    <a:pt x="29285" y="112388"/>
                    <a:pt x="29285" y="112774"/>
                  </a:cubicBezTo>
                  <a:lnTo>
                    <a:pt x="29285" y="112774"/>
                  </a:lnTo>
                  <a:lnTo>
                    <a:pt x="22092" y="161582"/>
                  </a:lnTo>
                  <a:cubicBezTo>
                    <a:pt x="21565" y="165462"/>
                    <a:pt x="18169" y="168301"/>
                    <a:pt x="14257" y="168133"/>
                  </a:cubicBezTo>
                  <a:cubicBezTo>
                    <a:pt x="11267" y="167737"/>
                    <a:pt x="8934" y="165351"/>
                    <a:pt x="8606" y="162353"/>
                  </a:cubicBezTo>
                  <a:lnTo>
                    <a:pt x="0" y="164408"/>
                  </a:lnTo>
                  <a:lnTo>
                    <a:pt x="356944" y="376468"/>
                  </a:lnTo>
                  <a:close/>
                </a:path>
              </a:pathLst>
            </a:custGeom>
            <a:solidFill>
              <a:schemeClr val="accent4"/>
            </a:solidFill>
            <a:ln w="12844"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5D4D8C6-2FA9-4EBC-B164-B2A6857CDA56}"/>
                </a:ext>
              </a:extLst>
            </p:cNvPr>
            <p:cNvSpPr/>
            <p:nvPr/>
          </p:nvSpPr>
          <p:spPr>
            <a:xfrm>
              <a:off x="-1" y="1930765"/>
              <a:ext cx="627573" cy="2789155"/>
            </a:xfrm>
            <a:custGeom>
              <a:avLst/>
              <a:gdLst>
                <a:gd name="connsiteX0" fmla="*/ 128443 w 627573"/>
                <a:gd name="connsiteY0" fmla="*/ 2748567 h 2789155"/>
                <a:gd name="connsiteX1" fmla="*/ 128443 w 627573"/>
                <a:gd name="connsiteY1" fmla="*/ 2748567 h 2789155"/>
                <a:gd name="connsiteX2" fmla="*/ 207950 w 627573"/>
                <a:gd name="connsiteY2" fmla="*/ 2722878 h 2789155"/>
                <a:gd name="connsiteX3" fmla="*/ 210647 w 627573"/>
                <a:gd name="connsiteY3" fmla="*/ 2722878 h 2789155"/>
                <a:gd name="connsiteX4" fmla="*/ 601500 w 627573"/>
                <a:gd name="connsiteY4" fmla="*/ 53176 h 2789155"/>
                <a:gd name="connsiteX5" fmla="*/ 599188 w 627573"/>
                <a:gd name="connsiteY5" fmla="*/ 51763 h 2789155"/>
                <a:gd name="connsiteX6" fmla="*/ 596876 w 627573"/>
                <a:gd name="connsiteY6" fmla="*/ 41873 h 2789155"/>
                <a:gd name="connsiteX7" fmla="*/ 605941 w 627573"/>
                <a:gd name="connsiteY7" fmla="*/ 38633 h 2789155"/>
                <a:gd name="connsiteX8" fmla="*/ 606252 w 627573"/>
                <a:gd name="connsiteY8" fmla="*/ 38790 h 2789155"/>
                <a:gd name="connsiteX9" fmla="*/ 613188 w 627573"/>
                <a:gd name="connsiteY9" fmla="*/ 42900 h 2789155"/>
                <a:gd name="connsiteX10" fmla="*/ 621794 w 627573"/>
                <a:gd name="connsiteY10" fmla="*/ 40845 h 2789155"/>
                <a:gd name="connsiteX11" fmla="*/ 621794 w 627573"/>
                <a:gd name="connsiteY11" fmla="*/ 38533 h 2789155"/>
                <a:gd name="connsiteX12" fmla="*/ 627574 w 627573"/>
                <a:gd name="connsiteY12" fmla="*/ 0 h 2789155"/>
                <a:gd name="connsiteX13" fmla="*/ 244042 w 627573"/>
                <a:gd name="connsiteY13" fmla="*/ 88241 h 2789155"/>
                <a:gd name="connsiteX14" fmla="*/ 0 w 627573"/>
                <a:gd name="connsiteY14" fmla="*/ 1853186 h 2789155"/>
                <a:gd name="connsiteX15" fmla="*/ 0 w 627573"/>
                <a:gd name="connsiteY15" fmla="*/ 2789155 h 2789155"/>
                <a:gd name="connsiteX16" fmla="*/ 128443 w 627573"/>
                <a:gd name="connsiteY16" fmla="*/ 2748567 h 27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7573" h="2789155">
                  <a:moveTo>
                    <a:pt x="128443" y="2748567"/>
                  </a:moveTo>
                  <a:lnTo>
                    <a:pt x="128443" y="2748567"/>
                  </a:lnTo>
                  <a:lnTo>
                    <a:pt x="207950" y="2722878"/>
                  </a:lnTo>
                  <a:cubicBezTo>
                    <a:pt x="208839" y="2722687"/>
                    <a:pt x="209758" y="2722687"/>
                    <a:pt x="210647" y="2722878"/>
                  </a:cubicBezTo>
                  <a:lnTo>
                    <a:pt x="601500" y="53176"/>
                  </a:lnTo>
                  <a:lnTo>
                    <a:pt x="599188" y="51763"/>
                  </a:lnTo>
                  <a:cubicBezTo>
                    <a:pt x="595823" y="49666"/>
                    <a:pt x="594789" y="45243"/>
                    <a:pt x="596876" y="41873"/>
                  </a:cubicBezTo>
                  <a:cubicBezTo>
                    <a:pt x="598485" y="38475"/>
                    <a:pt x="602543" y="37024"/>
                    <a:pt x="605941" y="38633"/>
                  </a:cubicBezTo>
                  <a:cubicBezTo>
                    <a:pt x="606046" y="38683"/>
                    <a:pt x="606150" y="38735"/>
                    <a:pt x="606252" y="38790"/>
                  </a:cubicBezTo>
                  <a:lnTo>
                    <a:pt x="613188" y="42900"/>
                  </a:lnTo>
                  <a:lnTo>
                    <a:pt x="621794" y="40845"/>
                  </a:lnTo>
                  <a:cubicBezTo>
                    <a:pt x="621662" y="40080"/>
                    <a:pt x="621662" y="39298"/>
                    <a:pt x="621794" y="38533"/>
                  </a:cubicBezTo>
                  <a:lnTo>
                    <a:pt x="627574" y="0"/>
                  </a:lnTo>
                  <a:lnTo>
                    <a:pt x="244042" y="88241"/>
                  </a:lnTo>
                  <a:lnTo>
                    <a:pt x="0" y="1853186"/>
                  </a:lnTo>
                  <a:lnTo>
                    <a:pt x="0" y="2789155"/>
                  </a:lnTo>
                  <a:lnTo>
                    <a:pt x="128443" y="2748567"/>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D76898AB-ADC9-4A8E-8C26-A31E648405C6}"/>
                </a:ext>
              </a:extLst>
            </p:cNvPr>
            <p:cNvSpPr/>
            <p:nvPr/>
          </p:nvSpPr>
          <p:spPr>
            <a:xfrm>
              <a:off x="59725" y="1983941"/>
              <a:ext cx="1250394" cy="3293810"/>
            </a:xfrm>
            <a:custGeom>
              <a:avLst/>
              <a:gdLst>
                <a:gd name="connsiteX0" fmla="*/ 156572 w 1250394"/>
                <a:gd name="connsiteY0" fmla="*/ 2675097 h 3293810"/>
                <a:gd name="connsiteX1" fmla="*/ 151563 w 1250394"/>
                <a:gd name="connsiteY1" fmla="*/ 2684217 h 3293810"/>
                <a:gd name="connsiteX2" fmla="*/ 76424 w 1250394"/>
                <a:gd name="connsiteY2" fmla="*/ 2707979 h 3293810"/>
                <a:gd name="connsiteX3" fmla="*/ 0 w 1250394"/>
                <a:gd name="connsiteY3" fmla="*/ 3236910 h 3293810"/>
                <a:gd name="connsiteX4" fmla="*/ 74369 w 1250394"/>
                <a:gd name="connsiteY4" fmla="*/ 3293810 h 3293810"/>
                <a:gd name="connsiteX5" fmla="*/ 796219 w 1250394"/>
                <a:gd name="connsiteY5" fmla="*/ 3051694 h 3293810"/>
                <a:gd name="connsiteX6" fmla="*/ 884974 w 1250394"/>
                <a:gd name="connsiteY6" fmla="*/ 2507478 h 3293810"/>
                <a:gd name="connsiteX7" fmla="*/ 884974 w 1250394"/>
                <a:gd name="connsiteY7" fmla="*/ 2507478 h 3293810"/>
                <a:gd name="connsiteX8" fmla="*/ 884974 w 1250394"/>
                <a:gd name="connsiteY8" fmla="*/ 2506322 h 3293810"/>
                <a:gd name="connsiteX9" fmla="*/ 884974 w 1250394"/>
                <a:gd name="connsiteY9" fmla="*/ 2504909 h 3293810"/>
                <a:gd name="connsiteX10" fmla="*/ 884974 w 1250394"/>
                <a:gd name="connsiteY10" fmla="*/ 2504909 h 3293810"/>
                <a:gd name="connsiteX11" fmla="*/ 884974 w 1250394"/>
                <a:gd name="connsiteY11" fmla="*/ 2504909 h 3293810"/>
                <a:gd name="connsiteX12" fmla="*/ 885744 w 1250394"/>
                <a:gd name="connsiteY12" fmla="*/ 2504139 h 3293810"/>
                <a:gd name="connsiteX13" fmla="*/ 886515 w 1250394"/>
                <a:gd name="connsiteY13" fmla="*/ 2503111 h 3293810"/>
                <a:gd name="connsiteX14" fmla="*/ 886515 w 1250394"/>
                <a:gd name="connsiteY14" fmla="*/ 2503111 h 3293810"/>
                <a:gd name="connsiteX15" fmla="*/ 887799 w 1250394"/>
                <a:gd name="connsiteY15" fmla="*/ 2503111 h 3293810"/>
                <a:gd name="connsiteX16" fmla="*/ 887799 w 1250394"/>
                <a:gd name="connsiteY16" fmla="*/ 2503111 h 3293810"/>
                <a:gd name="connsiteX17" fmla="*/ 888570 w 1250394"/>
                <a:gd name="connsiteY17" fmla="*/ 2503111 h 3293810"/>
                <a:gd name="connsiteX18" fmla="*/ 1026004 w 1250394"/>
                <a:gd name="connsiteY18" fmla="*/ 2459312 h 3293810"/>
                <a:gd name="connsiteX19" fmla="*/ 1250395 w 1250394"/>
                <a:gd name="connsiteY19" fmla="*/ 1114121 h 3293810"/>
                <a:gd name="connsiteX20" fmla="*/ 806366 w 1250394"/>
                <a:gd name="connsiteY20" fmla="*/ 837453 h 3293810"/>
                <a:gd name="connsiteX21" fmla="*/ 806366 w 1250394"/>
                <a:gd name="connsiteY21" fmla="*/ 837453 h 3293810"/>
                <a:gd name="connsiteX22" fmla="*/ 805467 w 1250394"/>
                <a:gd name="connsiteY22" fmla="*/ 836682 h 3293810"/>
                <a:gd name="connsiteX23" fmla="*/ 804440 w 1250394"/>
                <a:gd name="connsiteY23" fmla="*/ 835655 h 3293810"/>
                <a:gd name="connsiteX24" fmla="*/ 804440 w 1250394"/>
                <a:gd name="connsiteY24" fmla="*/ 835655 h 3293810"/>
                <a:gd name="connsiteX25" fmla="*/ 804440 w 1250394"/>
                <a:gd name="connsiteY25" fmla="*/ 835655 h 3293810"/>
                <a:gd name="connsiteX26" fmla="*/ 803798 w 1250394"/>
                <a:gd name="connsiteY26" fmla="*/ 834370 h 3293810"/>
                <a:gd name="connsiteX27" fmla="*/ 803798 w 1250394"/>
                <a:gd name="connsiteY27" fmla="*/ 833600 h 3293810"/>
                <a:gd name="connsiteX28" fmla="*/ 803798 w 1250394"/>
                <a:gd name="connsiteY28" fmla="*/ 833600 h 3293810"/>
                <a:gd name="connsiteX29" fmla="*/ 803798 w 1250394"/>
                <a:gd name="connsiteY29" fmla="*/ 833600 h 3293810"/>
                <a:gd name="connsiteX30" fmla="*/ 803798 w 1250394"/>
                <a:gd name="connsiteY30" fmla="*/ 832957 h 3293810"/>
                <a:gd name="connsiteX31" fmla="*/ 803798 w 1250394"/>
                <a:gd name="connsiteY31" fmla="*/ 831416 h 3293810"/>
                <a:gd name="connsiteX32" fmla="*/ 803798 w 1250394"/>
                <a:gd name="connsiteY32" fmla="*/ 831416 h 3293810"/>
                <a:gd name="connsiteX33" fmla="*/ 803798 w 1250394"/>
                <a:gd name="connsiteY33" fmla="*/ 831416 h 3293810"/>
                <a:gd name="connsiteX34" fmla="*/ 899873 w 1250394"/>
                <a:gd name="connsiteY34" fmla="*/ 212189 h 3293810"/>
                <a:gd name="connsiteX35" fmla="*/ 541773 w 1250394"/>
                <a:gd name="connsiteY35" fmla="*/ 0 h 3293810"/>
                <a:gd name="connsiteX36" fmla="*/ 151049 w 1250394"/>
                <a:gd name="connsiteY36" fmla="*/ 2669959 h 3293810"/>
                <a:gd name="connsiteX37" fmla="*/ 156572 w 1250394"/>
                <a:gd name="connsiteY37" fmla="*/ 2675097 h 329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0394" h="3293810">
                  <a:moveTo>
                    <a:pt x="156572" y="2675097"/>
                  </a:moveTo>
                  <a:cubicBezTo>
                    <a:pt x="157453" y="2678967"/>
                    <a:pt x="155301" y="2682884"/>
                    <a:pt x="151563" y="2684217"/>
                  </a:cubicBezTo>
                  <a:lnTo>
                    <a:pt x="76424" y="2707979"/>
                  </a:lnTo>
                  <a:lnTo>
                    <a:pt x="0" y="3236910"/>
                  </a:lnTo>
                  <a:lnTo>
                    <a:pt x="74369" y="3293810"/>
                  </a:lnTo>
                  <a:lnTo>
                    <a:pt x="796219" y="3051694"/>
                  </a:lnTo>
                  <a:lnTo>
                    <a:pt x="884974" y="2507478"/>
                  </a:lnTo>
                  <a:lnTo>
                    <a:pt x="884974" y="2507478"/>
                  </a:lnTo>
                  <a:lnTo>
                    <a:pt x="884974" y="2506322"/>
                  </a:lnTo>
                  <a:cubicBezTo>
                    <a:pt x="884974" y="2506322"/>
                    <a:pt x="884974" y="2505423"/>
                    <a:pt x="884974" y="2504909"/>
                  </a:cubicBezTo>
                  <a:lnTo>
                    <a:pt x="884974" y="2504909"/>
                  </a:lnTo>
                  <a:lnTo>
                    <a:pt x="884974" y="2504909"/>
                  </a:lnTo>
                  <a:lnTo>
                    <a:pt x="885744" y="2504139"/>
                  </a:lnTo>
                  <a:lnTo>
                    <a:pt x="886515" y="2503111"/>
                  </a:lnTo>
                  <a:lnTo>
                    <a:pt x="886515" y="2503111"/>
                  </a:lnTo>
                  <a:lnTo>
                    <a:pt x="887799" y="2503111"/>
                  </a:lnTo>
                  <a:lnTo>
                    <a:pt x="887799" y="2503111"/>
                  </a:lnTo>
                  <a:lnTo>
                    <a:pt x="888570" y="2503111"/>
                  </a:lnTo>
                  <a:lnTo>
                    <a:pt x="1026004" y="2459312"/>
                  </a:lnTo>
                  <a:lnTo>
                    <a:pt x="1250395" y="1114121"/>
                  </a:lnTo>
                  <a:lnTo>
                    <a:pt x="806366" y="837453"/>
                  </a:lnTo>
                  <a:lnTo>
                    <a:pt x="806366" y="837453"/>
                  </a:lnTo>
                  <a:lnTo>
                    <a:pt x="805467" y="836682"/>
                  </a:lnTo>
                  <a:lnTo>
                    <a:pt x="804440" y="835655"/>
                  </a:lnTo>
                  <a:lnTo>
                    <a:pt x="804440" y="835655"/>
                  </a:lnTo>
                  <a:cubicBezTo>
                    <a:pt x="804440" y="835655"/>
                    <a:pt x="804440" y="835655"/>
                    <a:pt x="804440" y="835655"/>
                  </a:cubicBezTo>
                  <a:cubicBezTo>
                    <a:pt x="804440" y="835655"/>
                    <a:pt x="804440" y="834756"/>
                    <a:pt x="803798" y="834370"/>
                  </a:cubicBezTo>
                  <a:cubicBezTo>
                    <a:pt x="803853" y="834116"/>
                    <a:pt x="803853" y="833853"/>
                    <a:pt x="803798" y="833600"/>
                  </a:cubicBezTo>
                  <a:lnTo>
                    <a:pt x="803798" y="833600"/>
                  </a:lnTo>
                  <a:lnTo>
                    <a:pt x="803798" y="833600"/>
                  </a:lnTo>
                  <a:cubicBezTo>
                    <a:pt x="803798" y="833600"/>
                    <a:pt x="803798" y="833600"/>
                    <a:pt x="803798" y="832957"/>
                  </a:cubicBezTo>
                  <a:cubicBezTo>
                    <a:pt x="803735" y="832445"/>
                    <a:pt x="803735" y="831928"/>
                    <a:pt x="803798" y="831416"/>
                  </a:cubicBezTo>
                  <a:cubicBezTo>
                    <a:pt x="803798" y="831416"/>
                    <a:pt x="803798" y="831416"/>
                    <a:pt x="803798" y="831416"/>
                  </a:cubicBezTo>
                  <a:lnTo>
                    <a:pt x="803798" y="831416"/>
                  </a:lnTo>
                  <a:lnTo>
                    <a:pt x="899873" y="212189"/>
                  </a:lnTo>
                  <a:lnTo>
                    <a:pt x="541773" y="0"/>
                  </a:lnTo>
                  <a:lnTo>
                    <a:pt x="151049" y="2669959"/>
                  </a:lnTo>
                  <a:cubicBezTo>
                    <a:pt x="153808" y="2670296"/>
                    <a:pt x="156037" y="2672370"/>
                    <a:pt x="156572" y="2675097"/>
                  </a:cubicBezTo>
                  <a:close/>
                </a:path>
              </a:pathLst>
            </a:custGeom>
            <a:solidFill>
              <a:schemeClr val="accent2"/>
            </a:solidFill>
            <a:ln w="12844"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E2094B0-BF8E-4A9A-8ADF-A9BC25521D16}"/>
                </a:ext>
              </a:extLst>
            </p:cNvPr>
            <p:cNvSpPr/>
            <p:nvPr/>
          </p:nvSpPr>
          <p:spPr>
            <a:xfrm>
              <a:off x="1540" y="4696415"/>
              <a:ext cx="121764" cy="626419"/>
            </a:xfrm>
            <a:custGeom>
              <a:avLst/>
              <a:gdLst>
                <a:gd name="connsiteX0" fmla="*/ 46496 w 121764"/>
                <a:gd name="connsiteY0" fmla="*/ 534069 h 626419"/>
                <a:gd name="connsiteX1" fmla="*/ 46496 w 121764"/>
                <a:gd name="connsiteY1" fmla="*/ 533298 h 626419"/>
                <a:gd name="connsiteX2" fmla="*/ 45597 w 121764"/>
                <a:gd name="connsiteY2" fmla="*/ 532271 h 626419"/>
                <a:gd name="connsiteX3" fmla="*/ 45597 w 121764"/>
                <a:gd name="connsiteY3" fmla="*/ 531115 h 626419"/>
                <a:gd name="connsiteX4" fmla="*/ 45597 w 121764"/>
                <a:gd name="connsiteY4" fmla="*/ 529702 h 626419"/>
                <a:gd name="connsiteX5" fmla="*/ 45597 w 121764"/>
                <a:gd name="connsiteY5" fmla="*/ 528417 h 626419"/>
                <a:gd name="connsiteX6" fmla="*/ 45597 w 121764"/>
                <a:gd name="connsiteY6" fmla="*/ 527261 h 626419"/>
                <a:gd name="connsiteX7" fmla="*/ 121764 w 121764"/>
                <a:gd name="connsiteY7" fmla="*/ 0 h 626419"/>
                <a:gd name="connsiteX8" fmla="*/ 0 w 121764"/>
                <a:gd name="connsiteY8" fmla="*/ 38533 h 626419"/>
                <a:gd name="connsiteX9" fmla="*/ 0 w 121764"/>
                <a:gd name="connsiteY9" fmla="*/ 626420 h 626419"/>
                <a:gd name="connsiteX10" fmla="*/ 117269 w 121764"/>
                <a:gd name="connsiteY10" fmla="*/ 586988 h 62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64" h="626419">
                  <a:moveTo>
                    <a:pt x="46496" y="534069"/>
                  </a:moveTo>
                  <a:cubicBezTo>
                    <a:pt x="46509" y="533812"/>
                    <a:pt x="46509" y="533555"/>
                    <a:pt x="46496" y="533298"/>
                  </a:cubicBezTo>
                  <a:cubicBezTo>
                    <a:pt x="46132" y="533019"/>
                    <a:pt x="45826" y="532669"/>
                    <a:pt x="45597" y="532271"/>
                  </a:cubicBezTo>
                  <a:cubicBezTo>
                    <a:pt x="45549" y="531887"/>
                    <a:pt x="45549" y="531499"/>
                    <a:pt x="45597" y="531115"/>
                  </a:cubicBezTo>
                  <a:cubicBezTo>
                    <a:pt x="45544" y="530645"/>
                    <a:pt x="45544" y="530171"/>
                    <a:pt x="45597" y="529702"/>
                  </a:cubicBezTo>
                  <a:lnTo>
                    <a:pt x="45597" y="528417"/>
                  </a:lnTo>
                  <a:cubicBezTo>
                    <a:pt x="45533" y="528035"/>
                    <a:pt x="45533" y="527644"/>
                    <a:pt x="45597" y="527261"/>
                  </a:cubicBezTo>
                  <a:lnTo>
                    <a:pt x="121764" y="0"/>
                  </a:lnTo>
                  <a:lnTo>
                    <a:pt x="0" y="38533"/>
                  </a:lnTo>
                  <a:lnTo>
                    <a:pt x="0" y="626420"/>
                  </a:lnTo>
                  <a:lnTo>
                    <a:pt x="117269" y="586988"/>
                  </a:lnTo>
                  <a:close/>
                </a:path>
              </a:pathLst>
            </a:custGeom>
            <a:solidFill>
              <a:schemeClr val="accent1"/>
            </a:solidFill>
            <a:ln w="12844"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B0D580D8-CA93-4BAC-8B8E-C9A4E2848316}"/>
                </a:ext>
              </a:extLst>
            </p:cNvPr>
            <p:cNvSpPr/>
            <p:nvPr/>
          </p:nvSpPr>
          <p:spPr>
            <a:xfrm>
              <a:off x="878036" y="2059851"/>
              <a:ext cx="659684" cy="745487"/>
            </a:xfrm>
            <a:custGeom>
              <a:avLst/>
              <a:gdLst>
                <a:gd name="connsiteX0" fmla="*/ 0 w 659684"/>
                <a:gd name="connsiteY0" fmla="*/ 745487 h 745487"/>
                <a:gd name="connsiteX1" fmla="*/ 559627 w 659684"/>
                <a:gd name="connsiteY1" fmla="*/ 598805 h 745487"/>
                <a:gd name="connsiteX2" fmla="*/ 659684 w 659684"/>
                <a:gd name="connsiteY2" fmla="*/ 0 h 745487"/>
                <a:gd name="connsiteX3" fmla="*/ 94406 w 659684"/>
                <a:gd name="connsiteY3" fmla="*/ 137049 h 745487"/>
                <a:gd name="connsiteX4" fmla="*/ 0 w 659684"/>
                <a:gd name="connsiteY4" fmla="*/ 745487 h 745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684" h="745487">
                  <a:moveTo>
                    <a:pt x="0" y="745487"/>
                  </a:moveTo>
                  <a:lnTo>
                    <a:pt x="559627" y="598805"/>
                  </a:lnTo>
                  <a:lnTo>
                    <a:pt x="659684" y="0"/>
                  </a:lnTo>
                  <a:lnTo>
                    <a:pt x="94406" y="137049"/>
                  </a:lnTo>
                  <a:lnTo>
                    <a:pt x="0" y="745487"/>
                  </a:lnTo>
                  <a:close/>
                </a:path>
              </a:pathLst>
            </a:custGeom>
            <a:solidFill>
              <a:schemeClr val="accent5"/>
            </a:solidFill>
            <a:ln w="12844"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F06F4C90-B462-4EA1-8EA0-29A61ED1F952}"/>
                </a:ext>
              </a:extLst>
            </p:cNvPr>
            <p:cNvSpPr/>
            <p:nvPr/>
          </p:nvSpPr>
          <p:spPr>
            <a:xfrm>
              <a:off x="1840718" y="2937507"/>
              <a:ext cx="902056" cy="687687"/>
            </a:xfrm>
            <a:custGeom>
              <a:avLst/>
              <a:gdLst>
                <a:gd name="connsiteX0" fmla="*/ 298245 w 902056"/>
                <a:gd name="connsiteY0" fmla="*/ 248924 h 687687"/>
                <a:gd name="connsiteX1" fmla="*/ 299530 w 902056"/>
                <a:gd name="connsiteY1" fmla="*/ 248924 h 687687"/>
                <a:gd name="connsiteX2" fmla="*/ 300814 w 902056"/>
                <a:gd name="connsiteY2" fmla="*/ 248924 h 687687"/>
                <a:gd name="connsiteX3" fmla="*/ 302355 w 902056"/>
                <a:gd name="connsiteY3" fmla="*/ 248924 h 687687"/>
                <a:gd name="connsiteX4" fmla="*/ 303254 w 902056"/>
                <a:gd name="connsiteY4" fmla="*/ 248924 h 687687"/>
                <a:gd name="connsiteX5" fmla="*/ 592509 w 902056"/>
                <a:gd name="connsiteY5" fmla="*/ 423736 h 687687"/>
                <a:gd name="connsiteX6" fmla="*/ 592509 w 902056"/>
                <a:gd name="connsiteY6" fmla="*/ 423736 h 687687"/>
                <a:gd name="connsiteX7" fmla="*/ 593279 w 902056"/>
                <a:gd name="connsiteY7" fmla="*/ 424507 h 687687"/>
                <a:gd name="connsiteX8" fmla="*/ 594307 w 902056"/>
                <a:gd name="connsiteY8" fmla="*/ 425662 h 687687"/>
                <a:gd name="connsiteX9" fmla="*/ 594307 w 902056"/>
                <a:gd name="connsiteY9" fmla="*/ 427204 h 687687"/>
                <a:gd name="connsiteX10" fmla="*/ 594307 w 902056"/>
                <a:gd name="connsiteY10" fmla="*/ 428103 h 687687"/>
                <a:gd name="connsiteX11" fmla="*/ 594307 w 902056"/>
                <a:gd name="connsiteY11" fmla="*/ 428103 h 687687"/>
                <a:gd name="connsiteX12" fmla="*/ 594307 w 902056"/>
                <a:gd name="connsiteY12" fmla="*/ 429773 h 687687"/>
                <a:gd name="connsiteX13" fmla="*/ 594307 w 902056"/>
                <a:gd name="connsiteY13" fmla="*/ 429773 h 687687"/>
                <a:gd name="connsiteX14" fmla="*/ 594307 w 902056"/>
                <a:gd name="connsiteY14" fmla="*/ 430800 h 687687"/>
                <a:gd name="connsiteX15" fmla="*/ 594307 w 902056"/>
                <a:gd name="connsiteY15" fmla="*/ 430800 h 687687"/>
                <a:gd name="connsiteX16" fmla="*/ 594307 w 902056"/>
                <a:gd name="connsiteY16" fmla="*/ 430800 h 687687"/>
                <a:gd name="connsiteX17" fmla="*/ 544985 w 902056"/>
                <a:gd name="connsiteY17" fmla="*/ 687688 h 687687"/>
                <a:gd name="connsiteX18" fmla="*/ 857615 w 902056"/>
                <a:gd name="connsiteY18" fmla="*/ 592511 h 687687"/>
                <a:gd name="connsiteX19" fmla="*/ 902057 w 902056"/>
                <a:gd name="connsiteY19" fmla="*/ 369918 h 687687"/>
                <a:gd name="connsiteX20" fmla="*/ 278465 w 902056"/>
                <a:gd name="connsiteY20" fmla="*/ 0 h 687687"/>
                <a:gd name="connsiteX21" fmla="*/ 48038 w 902056"/>
                <a:gd name="connsiteY21" fmla="*/ 64222 h 687687"/>
                <a:gd name="connsiteX22" fmla="*/ 0 w 902056"/>
                <a:gd name="connsiteY22" fmla="*/ 333954 h 68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2056" h="687687">
                  <a:moveTo>
                    <a:pt x="298245" y="248924"/>
                  </a:moveTo>
                  <a:cubicBezTo>
                    <a:pt x="298671" y="248859"/>
                    <a:pt x="299104" y="248859"/>
                    <a:pt x="299530" y="248924"/>
                  </a:cubicBezTo>
                  <a:lnTo>
                    <a:pt x="300814" y="248924"/>
                  </a:lnTo>
                  <a:lnTo>
                    <a:pt x="302355" y="248924"/>
                  </a:lnTo>
                  <a:lnTo>
                    <a:pt x="303254" y="248924"/>
                  </a:lnTo>
                  <a:lnTo>
                    <a:pt x="592509" y="423736"/>
                  </a:lnTo>
                  <a:lnTo>
                    <a:pt x="592509" y="423736"/>
                  </a:lnTo>
                  <a:lnTo>
                    <a:pt x="593279" y="424507"/>
                  </a:lnTo>
                  <a:cubicBezTo>
                    <a:pt x="593688" y="424828"/>
                    <a:pt x="594036" y="425219"/>
                    <a:pt x="594307" y="425662"/>
                  </a:cubicBezTo>
                  <a:cubicBezTo>
                    <a:pt x="594427" y="426169"/>
                    <a:pt x="594427" y="426697"/>
                    <a:pt x="594307" y="427204"/>
                  </a:cubicBezTo>
                  <a:cubicBezTo>
                    <a:pt x="594378" y="427499"/>
                    <a:pt x="594378" y="427807"/>
                    <a:pt x="594307" y="428103"/>
                  </a:cubicBezTo>
                  <a:lnTo>
                    <a:pt x="594307" y="428103"/>
                  </a:lnTo>
                  <a:cubicBezTo>
                    <a:pt x="594370" y="428658"/>
                    <a:pt x="594370" y="429218"/>
                    <a:pt x="594307" y="429773"/>
                  </a:cubicBezTo>
                  <a:lnTo>
                    <a:pt x="594307" y="429773"/>
                  </a:lnTo>
                  <a:cubicBezTo>
                    <a:pt x="594241" y="430112"/>
                    <a:pt x="594241" y="430461"/>
                    <a:pt x="594307" y="430800"/>
                  </a:cubicBezTo>
                  <a:lnTo>
                    <a:pt x="594307" y="430800"/>
                  </a:lnTo>
                  <a:lnTo>
                    <a:pt x="594307" y="430800"/>
                  </a:lnTo>
                  <a:lnTo>
                    <a:pt x="544985" y="687688"/>
                  </a:lnTo>
                  <a:lnTo>
                    <a:pt x="857615" y="592511"/>
                  </a:lnTo>
                  <a:lnTo>
                    <a:pt x="902057" y="369918"/>
                  </a:lnTo>
                  <a:lnTo>
                    <a:pt x="278465" y="0"/>
                  </a:lnTo>
                  <a:lnTo>
                    <a:pt x="48038" y="64222"/>
                  </a:lnTo>
                  <a:lnTo>
                    <a:pt x="0" y="333954"/>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AA0A40FA-A552-4732-9857-C97D00FD9DB2}"/>
                </a:ext>
              </a:extLst>
            </p:cNvPr>
            <p:cNvSpPr/>
            <p:nvPr/>
          </p:nvSpPr>
          <p:spPr>
            <a:xfrm>
              <a:off x="887926" y="2672399"/>
              <a:ext cx="988627" cy="413845"/>
            </a:xfrm>
            <a:custGeom>
              <a:avLst/>
              <a:gdLst>
                <a:gd name="connsiteX0" fmla="*/ 431441 w 988627"/>
                <a:gd name="connsiteY0" fmla="*/ 413846 h 413845"/>
                <a:gd name="connsiteX1" fmla="*/ 988627 w 988627"/>
                <a:gd name="connsiteY1" fmla="*/ 260355 h 413845"/>
                <a:gd name="connsiteX2" fmla="*/ 554232 w 988627"/>
                <a:gd name="connsiteY2" fmla="*/ 0 h 413845"/>
                <a:gd name="connsiteX3" fmla="*/ 0 w 988627"/>
                <a:gd name="connsiteY3" fmla="*/ 145270 h 413845"/>
                <a:gd name="connsiteX4" fmla="*/ 431441 w 988627"/>
                <a:gd name="connsiteY4" fmla="*/ 413846 h 413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627" h="413845">
                  <a:moveTo>
                    <a:pt x="431441" y="413846"/>
                  </a:moveTo>
                  <a:lnTo>
                    <a:pt x="988627" y="260355"/>
                  </a:lnTo>
                  <a:lnTo>
                    <a:pt x="554232" y="0"/>
                  </a:lnTo>
                  <a:lnTo>
                    <a:pt x="0" y="145270"/>
                  </a:lnTo>
                  <a:lnTo>
                    <a:pt x="431441" y="413846"/>
                  </a:lnTo>
                  <a:close/>
                </a:path>
              </a:pathLst>
            </a:custGeom>
            <a:solidFill>
              <a:schemeClr val="accent1"/>
            </a:solidFill>
            <a:ln w="12844"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F9191B4-5F4D-462C-B0EA-87626F7B626F}"/>
                </a:ext>
              </a:extLst>
            </p:cNvPr>
            <p:cNvSpPr/>
            <p:nvPr/>
          </p:nvSpPr>
          <p:spPr>
            <a:xfrm>
              <a:off x="1101913" y="2946498"/>
              <a:ext cx="782219" cy="1490204"/>
            </a:xfrm>
            <a:custGeom>
              <a:avLst/>
              <a:gdLst>
                <a:gd name="connsiteX0" fmla="*/ 0 w 782219"/>
                <a:gd name="connsiteY0" fmla="*/ 1490204 h 1490204"/>
                <a:gd name="connsiteX1" fmla="*/ 443771 w 782219"/>
                <a:gd name="connsiteY1" fmla="*/ 1348916 h 1490204"/>
                <a:gd name="connsiteX2" fmla="*/ 617041 w 782219"/>
                <a:gd name="connsiteY2" fmla="*/ 365037 h 1490204"/>
                <a:gd name="connsiteX3" fmla="*/ 617041 w 782219"/>
                <a:gd name="connsiteY3" fmla="*/ 363881 h 1490204"/>
                <a:gd name="connsiteX4" fmla="*/ 617041 w 782219"/>
                <a:gd name="connsiteY4" fmla="*/ 362853 h 1490204"/>
                <a:gd name="connsiteX5" fmla="*/ 617041 w 782219"/>
                <a:gd name="connsiteY5" fmla="*/ 362853 h 1490204"/>
                <a:gd name="connsiteX6" fmla="*/ 618069 w 782219"/>
                <a:gd name="connsiteY6" fmla="*/ 361698 h 1490204"/>
                <a:gd name="connsiteX7" fmla="*/ 618069 w 782219"/>
                <a:gd name="connsiteY7" fmla="*/ 361698 h 1490204"/>
                <a:gd name="connsiteX8" fmla="*/ 618069 w 782219"/>
                <a:gd name="connsiteY8" fmla="*/ 361698 h 1490204"/>
                <a:gd name="connsiteX9" fmla="*/ 620509 w 782219"/>
                <a:gd name="connsiteY9" fmla="*/ 360413 h 1490204"/>
                <a:gd name="connsiteX10" fmla="*/ 620509 w 782219"/>
                <a:gd name="connsiteY10" fmla="*/ 360413 h 1490204"/>
                <a:gd name="connsiteX11" fmla="*/ 723264 w 782219"/>
                <a:gd name="connsiteY11" fmla="*/ 330871 h 1490204"/>
                <a:gd name="connsiteX12" fmla="*/ 773228 w 782219"/>
                <a:gd name="connsiteY12" fmla="*/ 50735 h 1490204"/>
                <a:gd name="connsiteX13" fmla="*/ 782219 w 782219"/>
                <a:gd name="connsiteY13" fmla="*/ 0 h 1490204"/>
                <a:gd name="connsiteX14" fmla="*/ 219766 w 782219"/>
                <a:gd name="connsiteY14" fmla="*/ 154903 h 149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219" h="1490204">
                  <a:moveTo>
                    <a:pt x="0" y="1490204"/>
                  </a:moveTo>
                  <a:lnTo>
                    <a:pt x="443771" y="1348916"/>
                  </a:lnTo>
                  <a:lnTo>
                    <a:pt x="617041" y="365037"/>
                  </a:lnTo>
                  <a:cubicBezTo>
                    <a:pt x="616968" y="364655"/>
                    <a:pt x="616968" y="364263"/>
                    <a:pt x="617041" y="363881"/>
                  </a:cubicBezTo>
                  <a:lnTo>
                    <a:pt x="617041" y="362853"/>
                  </a:lnTo>
                  <a:lnTo>
                    <a:pt x="617041" y="362853"/>
                  </a:lnTo>
                  <a:lnTo>
                    <a:pt x="618069" y="361698"/>
                  </a:lnTo>
                  <a:lnTo>
                    <a:pt x="618069" y="361698"/>
                  </a:lnTo>
                  <a:lnTo>
                    <a:pt x="618069" y="361698"/>
                  </a:lnTo>
                  <a:cubicBezTo>
                    <a:pt x="618780" y="361098"/>
                    <a:pt x="619612" y="360660"/>
                    <a:pt x="620509" y="360413"/>
                  </a:cubicBezTo>
                  <a:lnTo>
                    <a:pt x="620509" y="360413"/>
                  </a:lnTo>
                  <a:lnTo>
                    <a:pt x="723264" y="330871"/>
                  </a:lnTo>
                  <a:lnTo>
                    <a:pt x="773228" y="50735"/>
                  </a:lnTo>
                  <a:lnTo>
                    <a:pt x="782219" y="0"/>
                  </a:lnTo>
                  <a:lnTo>
                    <a:pt x="219766" y="154903"/>
                  </a:ln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0CE7775B-D96B-4F0B-950C-CF7C1BE0DA98}"/>
                </a:ext>
              </a:extLst>
            </p:cNvPr>
            <p:cNvSpPr/>
            <p:nvPr/>
          </p:nvSpPr>
          <p:spPr>
            <a:xfrm>
              <a:off x="3171133" y="1226252"/>
              <a:ext cx="760383" cy="314301"/>
            </a:xfrm>
            <a:custGeom>
              <a:avLst/>
              <a:gdLst>
                <a:gd name="connsiteX0" fmla="*/ 760384 w 760383"/>
                <a:gd name="connsiteY0" fmla="*/ 239419 h 314301"/>
                <a:gd name="connsiteX1" fmla="*/ 271144 w 760383"/>
                <a:gd name="connsiteY1" fmla="*/ 0 h 314301"/>
                <a:gd name="connsiteX2" fmla="*/ 262538 w 760383"/>
                <a:gd name="connsiteY2" fmla="*/ 2055 h 314301"/>
                <a:gd name="connsiteX3" fmla="*/ 280006 w 760383"/>
                <a:gd name="connsiteY3" fmla="*/ 10532 h 314301"/>
                <a:gd name="connsiteX4" fmla="*/ 280006 w 760383"/>
                <a:gd name="connsiteY4" fmla="*/ 10532 h 314301"/>
                <a:gd name="connsiteX5" fmla="*/ 281291 w 760383"/>
                <a:gd name="connsiteY5" fmla="*/ 11688 h 314301"/>
                <a:gd name="connsiteX6" fmla="*/ 281291 w 760383"/>
                <a:gd name="connsiteY6" fmla="*/ 11688 h 314301"/>
                <a:gd name="connsiteX7" fmla="*/ 282190 w 760383"/>
                <a:gd name="connsiteY7" fmla="*/ 13358 h 314301"/>
                <a:gd name="connsiteX8" fmla="*/ 282190 w 760383"/>
                <a:gd name="connsiteY8" fmla="*/ 14386 h 314301"/>
                <a:gd name="connsiteX9" fmla="*/ 282190 w 760383"/>
                <a:gd name="connsiteY9" fmla="*/ 14386 h 314301"/>
                <a:gd name="connsiteX10" fmla="*/ 282190 w 760383"/>
                <a:gd name="connsiteY10" fmla="*/ 15285 h 314301"/>
                <a:gd name="connsiteX11" fmla="*/ 282190 w 760383"/>
                <a:gd name="connsiteY11" fmla="*/ 16698 h 314301"/>
                <a:gd name="connsiteX12" fmla="*/ 282190 w 760383"/>
                <a:gd name="connsiteY12" fmla="*/ 18111 h 314301"/>
                <a:gd name="connsiteX13" fmla="*/ 282190 w 760383"/>
                <a:gd name="connsiteY13" fmla="*/ 18881 h 314301"/>
                <a:gd name="connsiteX14" fmla="*/ 282190 w 760383"/>
                <a:gd name="connsiteY14" fmla="*/ 18881 h 314301"/>
                <a:gd name="connsiteX15" fmla="*/ 281162 w 760383"/>
                <a:gd name="connsiteY15" fmla="*/ 20294 h 314301"/>
                <a:gd name="connsiteX16" fmla="*/ 281162 w 760383"/>
                <a:gd name="connsiteY16" fmla="*/ 20294 h 314301"/>
                <a:gd name="connsiteX17" fmla="*/ 279621 w 760383"/>
                <a:gd name="connsiteY17" fmla="*/ 21322 h 314301"/>
                <a:gd name="connsiteX18" fmla="*/ 278722 w 760383"/>
                <a:gd name="connsiteY18" fmla="*/ 21322 h 314301"/>
                <a:gd name="connsiteX19" fmla="*/ 278722 w 760383"/>
                <a:gd name="connsiteY19" fmla="*/ 21322 h 314301"/>
                <a:gd name="connsiteX20" fmla="*/ 237106 w 760383"/>
                <a:gd name="connsiteY20" fmla="*/ 30955 h 314301"/>
                <a:gd name="connsiteX21" fmla="*/ 0 w 760383"/>
                <a:gd name="connsiteY21" fmla="*/ 85415 h 314301"/>
                <a:gd name="connsiteX22" fmla="*/ 450964 w 760383"/>
                <a:gd name="connsiteY22" fmla="*/ 314302 h 31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0383" h="314301">
                  <a:moveTo>
                    <a:pt x="760384" y="239419"/>
                  </a:moveTo>
                  <a:lnTo>
                    <a:pt x="271144" y="0"/>
                  </a:lnTo>
                  <a:lnTo>
                    <a:pt x="262538" y="2055"/>
                  </a:lnTo>
                  <a:lnTo>
                    <a:pt x="280006" y="10532"/>
                  </a:lnTo>
                  <a:lnTo>
                    <a:pt x="280006" y="10532"/>
                  </a:lnTo>
                  <a:lnTo>
                    <a:pt x="281291" y="11688"/>
                  </a:lnTo>
                  <a:lnTo>
                    <a:pt x="281291" y="11688"/>
                  </a:lnTo>
                  <a:cubicBezTo>
                    <a:pt x="281665" y="12201"/>
                    <a:pt x="281968" y="12763"/>
                    <a:pt x="282190" y="13358"/>
                  </a:cubicBezTo>
                  <a:lnTo>
                    <a:pt x="282190" y="14386"/>
                  </a:lnTo>
                  <a:cubicBezTo>
                    <a:pt x="282190" y="14386"/>
                    <a:pt x="282190" y="14386"/>
                    <a:pt x="282190" y="14386"/>
                  </a:cubicBezTo>
                  <a:cubicBezTo>
                    <a:pt x="282190" y="14386"/>
                    <a:pt x="282190" y="14386"/>
                    <a:pt x="282190" y="15285"/>
                  </a:cubicBezTo>
                  <a:cubicBezTo>
                    <a:pt x="282253" y="15754"/>
                    <a:pt x="282253" y="16229"/>
                    <a:pt x="282190" y="16698"/>
                  </a:cubicBezTo>
                  <a:cubicBezTo>
                    <a:pt x="282250" y="17167"/>
                    <a:pt x="282250" y="17642"/>
                    <a:pt x="282190" y="18111"/>
                  </a:cubicBezTo>
                  <a:cubicBezTo>
                    <a:pt x="282190" y="18111"/>
                    <a:pt x="282190" y="18111"/>
                    <a:pt x="282190" y="18881"/>
                  </a:cubicBezTo>
                  <a:lnTo>
                    <a:pt x="282190" y="18881"/>
                  </a:lnTo>
                  <a:cubicBezTo>
                    <a:pt x="281922" y="19403"/>
                    <a:pt x="281576" y="19879"/>
                    <a:pt x="281162" y="20294"/>
                  </a:cubicBezTo>
                  <a:lnTo>
                    <a:pt x="281162" y="20294"/>
                  </a:lnTo>
                  <a:lnTo>
                    <a:pt x="279621" y="21322"/>
                  </a:lnTo>
                  <a:lnTo>
                    <a:pt x="278722" y="21322"/>
                  </a:lnTo>
                  <a:lnTo>
                    <a:pt x="278722" y="21322"/>
                  </a:lnTo>
                  <a:lnTo>
                    <a:pt x="237106" y="30955"/>
                  </a:lnTo>
                  <a:lnTo>
                    <a:pt x="0" y="85415"/>
                  </a:lnTo>
                  <a:lnTo>
                    <a:pt x="450964" y="314302"/>
                  </a:lnTo>
                  <a:close/>
                </a:path>
              </a:pathLst>
            </a:custGeom>
            <a:solidFill>
              <a:schemeClr val="accent5"/>
            </a:solidFill>
            <a:ln w="12844"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294DC4F4-7160-41E3-9EC8-503DD17825C8}"/>
                </a:ext>
              </a:extLst>
            </p:cNvPr>
            <p:cNvSpPr/>
            <p:nvPr/>
          </p:nvSpPr>
          <p:spPr>
            <a:xfrm>
              <a:off x="3414661" y="1236399"/>
              <a:ext cx="11045" cy="7192"/>
            </a:xfrm>
            <a:custGeom>
              <a:avLst/>
              <a:gdLst>
                <a:gd name="connsiteX0" fmla="*/ 1541 w 11045"/>
                <a:gd name="connsiteY0" fmla="*/ 0 h 7192"/>
                <a:gd name="connsiteX1" fmla="*/ 0 w 11045"/>
                <a:gd name="connsiteY1" fmla="*/ 7193 h 7192"/>
                <a:gd name="connsiteX2" fmla="*/ 11046 w 11045"/>
                <a:gd name="connsiteY2" fmla="*/ 4752 h 7192"/>
                <a:gd name="connsiteX3" fmla="*/ 1541 w 11045"/>
                <a:gd name="connsiteY3" fmla="*/ 0 h 7192"/>
              </a:gdLst>
              <a:ahLst/>
              <a:cxnLst>
                <a:cxn ang="0">
                  <a:pos x="connsiteX0" y="connsiteY0"/>
                </a:cxn>
                <a:cxn ang="0">
                  <a:pos x="connsiteX1" y="connsiteY1"/>
                </a:cxn>
                <a:cxn ang="0">
                  <a:pos x="connsiteX2" y="connsiteY2"/>
                </a:cxn>
                <a:cxn ang="0">
                  <a:pos x="connsiteX3" y="connsiteY3"/>
                </a:cxn>
              </a:cxnLst>
              <a:rect l="l" t="t" r="r" b="b"/>
              <a:pathLst>
                <a:path w="11045" h="7192">
                  <a:moveTo>
                    <a:pt x="1541" y="0"/>
                  </a:moveTo>
                  <a:lnTo>
                    <a:pt x="0" y="7193"/>
                  </a:lnTo>
                  <a:lnTo>
                    <a:pt x="11046" y="4752"/>
                  </a:lnTo>
                  <a:lnTo>
                    <a:pt x="1541" y="0"/>
                  </a:lnTo>
                  <a:close/>
                </a:path>
              </a:pathLst>
            </a:custGeom>
            <a:solidFill>
              <a:srgbClr val="22B0AE"/>
            </a:solidFill>
            <a:ln w="12844"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63455DAD-EE72-45B2-AF39-474DEE30B2FB}"/>
                </a:ext>
              </a:extLst>
            </p:cNvPr>
            <p:cNvSpPr/>
            <p:nvPr/>
          </p:nvSpPr>
          <p:spPr>
            <a:xfrm>
              <a:off x="-1" y="1877975"/>
              <a:ext cx="230940" cy="1806817"/>
            </a:xfrm>
            <a:custGeom>
              <a:avLst/>
              <a:gdLst>
                <a:gd name="connsiteX0" fmla="*/ 0 w 230940"/>
                <a:gd name="connsiteY0" fmla="*/ 0 h 1806817"/>
                <a:gd name="connsiteX1" fmla="*/ 0 w 230940"/>
                <a:gd name="connsiteY1" fmla="*/ 1806818 h 1806817"/>
                <a:gd name="connsiteX2" fmla="*/ 230941 w 230940"/>
                <a:gd name="connsiteY2" fmla="*/ 139233 h 1806817"/>
                <a:gd name="connsiteX3" fmla="*/ 0 w 230940"/>
                <a:gd name="connsiteY3" fmla="*/ 0 h 1806817"/>
              </a:gdLst>
              <a:ahLst/>
              <a:cxnLst>
                <a:cxn ang="0">
                  <a:pos x="connsiteX0" y="connsiteY0"/>
                </a:cxn>
                <a:cxn ang="0">
                  <a:pos x="connsiteX1" y="connsiteY1"/>
                </a:cxn>
                <a:cxn ang="0">
                  <a:pos x="connsiteX2" y="connsiteY2"/>
                </a:cxn>
                <a:cxn ang="0">
                  <a:pos x="connsiteX3" y="connsiteY3"/>
                </a:cxn>
              </a:cxnLst>
              <a:rect l="l" t="t" r="r" b="b"/>
              <a:pathLst>
                <a:path w="230940" h="1806817">
                  <a:moveTo>
                    <a:pt x="0" y="0"/>
                  </a:moveTo>
                  <a:lnTo>
                    <a:pt x="0" y="1806818"/>
                  </a:lnTo>
                  <a:lnTo>
                    <a:pt x="230941" y="139233"/>
                  </a:lnTo>
                  <a:lnTo>
                    <a:pt x="0" y="0"/>
                  </a:lnTo>
                  <a:close/>
                </a:path>
              </a:pathLst>
            </a:custGeom>
            <a:solidFill>
              <a:schemeClr val="accent2"/>
            </a:solidFill>
            <a:ln w="12844"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B39996CA-1713-4CEC-BBE7-B25E84087DDF}"/>
                </a:ext>
              </a:extLst>
            </p:cNvPr>
            <p:cNvSpPr/>
            <p:nvPr/>
          </p:nvSpPr>
          <p:spPr>
            <a:xfrm>
              <a:off x="-1" y="1710099"/>
              <a:ext cx="616527" cy="295163"/>
            </a:xfrm>
            <a:custGeom>
              <a:avLst/>
              <a:gdLst>
                <a:gd name="connsiteX0" fmla="*/ 616527 w 616527"/>
                <a:gd name="connsiteY0" fmla="*/ 208336 h 295163"/>
                <a:gd name="connsiteX1" fmla="*/ 615500 w 616527"/>
                <a:gd name="connsiteY1" fmla="*/ 207693 h 295163"/>
                <a:gd name="connsiteX2" fmla="*/ 311089 w 616527"/>
                <a:gd name="connsiteY2" fmla="*/ 29285 h 295163"/>
                <a:gd name="connsiteX3" fmla="*/ 311089 w 616527"/>
                <a:gd name="connsiteY3" fmla="*/ 29285 h 295163"/>
                <a:gd name="connsiteX4" fmla="*/ 261253 w 616527"/>
                <a:gd name="connsiteY4" fmla="*/ 0 h 295163"/>
                <a:gd name="connsiteX5" fmla="*/ 255987 w 616527"/>
                <a:gd name="connsiteY5" fmla="*/ 38533 h 295163"/>
                <a:gd name="connsiteX6" fmla="*/ 248152 w 616527"/>
                <a:gd name="connsiteY6" fmla="*/ 45212 h 295163"/>
                <a:gd name="connsiteX7" fmla="*/ 242501 w 616527"/>
                <a:gd name="connsiteY7" fmla="*/ 39432 h 295163"/>
                <a:gd name="connsiteX8" fmla="*/ 0 w 616527"/>
                <a:gd name="connsiteY8" fmla="*/ 92736 h 295163"/>
                <a:gd name="connsiteX9" fmla="*/ 0 w 616527"/>
                <a:gd name="connsiteY9" fmla="*/ 150536 h 295163"/>
                <a:gd name="connsiteX10" fmla="*/ 239932 w 616527"/>
                <a:gd name="connsiteY10" fmla="*/ 295164 h 29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527" h="295163">
                  <a:moveTo>
                    <a:pt x="616527" y="208336"/>
                  </a:moveTo>
                  <a:lnTo>
                    <a:pt x="615500" y="207693"/>
                  </a:lnTo>
                  <a:lnTo>
                    <a:pt x="311089" y="29285"/>
                  </a:lnTo>
                  <a:lnTo>
                    <a:pt x="311089" y="29285"/>
                  </a:lnTo>
                  <a:lnTo>
                    <a:pt x="261253" y="0"/>
                  </a:lnTo>
                  <a:lnTo>
                    <a:pt x="255987" y="38533"/>
                  </a:lnTo>
                  <a:cubicBezTo>
                    <a:pt x="255582" y="42496"/>
                    <a:pt x="252130" y="45439"/>
                    <a:pt x="248152" y="45212"/>
                  </a:cubicBezTo>
                  <a:cubicBezTo>
                    <a:pt x="245184" y="44774"/>
                    <a:pt x="242872" y="42410"/>
                    <a:pt x="242501" y="39432"/>
                  </a:cubicBezTo>
                  <a:lnTo>
                    <a:pt x="0" y="92736"/>
                  </a:lnTo>
                  <a:lnTo>
                    <a:pt x="0" y="150536"/>
                  </a:lnTo>
                  <a:lnTo>
                    <a:pt x="239932" y="295164"/>
                  </a:lnTo>
                  <a:close/>
                </a:path>
              </a:pathLst>
            </a:custGeom>
            <a:solidFill>
              <a:schemeClr val="accent1"/>
            </a:solidFill>
            <a:ln w="12844"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5F91945-9C58-4C77-A47C-2F597DB9B0C4}"/>
                </a:ext>
              </a:extLst>
            </p:cNvPr>
            <p:cNvSpPr/>
            <p:nvPr/>
          </p:nvSpPr>
          <p:spPr>
            <a:xfrm>
              <a:off x="-1" y="1083551"/>
              <a:ext cx="333952" cy="719284"/>
            </a:xfrm>
            <a:custGeom>
              <a:avLst/>
              <a:gdLst>
                <a:gd name="connsiteX0" fmla="*/ 242501 w 333952"/>
                <a:gd name="connsiteY0" fmla="*/ 663283 h 719284"/>
                <a:gd name="connsiteX1" fmla="*/ 249180 w 333952"/>
                <a:gd name="connsiteY1" fmla="*/ 614218 h 719284"/>
                <a:gd name="connsiteX2" fmla="*/ 333952 w 333952"/>
                <a:gd name="connsiteY2" fmla="*/ 0 h 719284"/>
                <a:gd name="connsiteX3" fmla="*/ 0 w 333952"/>
                <a:gd name="connsiteY3" fmla="*/ 67176 h 719284"/>
                <a:gd name="connsiteX4" fmla="*/ 0 w 333952"/>
                <a:gd name="connsiteY4" fmla="*/ 719285 h 719284"/>
                <a:gd name="connsiteX5" fmla="*/ 242501 w 333952"/>
                <a:gd name="connsiteY5" fmla="*/ 665467 h 719284"/>
                <a:gd name="connsiteX6" fmla="*/ 242501 w 333952"/>
                <a:gd name="connsiteY6" fmla="*/ 663283 h 7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952" h="719284">
                  <a:moveTo>
                    <a:pt x="242501" y="663283"/>
                  </a:moveTo>
                  <a:lnTo>
                    <a:pt x="249180" y="614218"/>
                  </a:lnTo>
                  <a:lnTo>
                    <a:pt x="333952" y="0"/>
                  </a:lnTo>
                  <a:lnTo>
                    <a:pt x="0" y="67176"/>
                  </a:lnTo>
                  <a:lnTo>
                    <a:pt x="0" y="719285"/>
                  </a:lnTo>
                  <a:lnTo>
                    <a:pt x="242501" y="665467"/>
                  </a:lnTo>
                  <a:cubicBezTo>
                    <a:pt x="242374" y="664745"/>
                    <a:pt x="242374" y="664006"/>
                    <a:pt x="242501" y="663283"/>
                  </a:cubicBezTo>
                  <a:close/>
                </a:path>
              </a:pathLst>
            </a:custGeom>
            <a:solidFill>
              <a:schemeClr val="accent1">
                <a:lumMod val="60000"/>
                <a:lumOff val="40000"/>
              </a:schemeClr>
            </a:solidFill>
            <a:ln w="12844"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BB0C91AE-6881-46E2-AC4C-E55BA5C98F3F}"/>
                </a:ext>
              </a:extLst>
            </p:cNvPr>
            <p:cNvSpPr/>
            <p:nvPr/>
          </p:nvSpPr>
          <p:spPr>
            <a:xfrm>
              <a:off x="1743487" y="3201459"/>
              <a:ext cx="668161" cy="281934"/>
            </a:xfrm>
            <a:custGeom>
              <a:avLst/>
              <a:gdLst>
                <a:gd name="connsiteX0" fmla="*/ 668161 w 668161"/>
                <a:gd name="connsiteY0" fmla="*/ 164665 h 281934"/>
                <a:gd name="connsiteX1" fmla="*/ 395477 w 668161"/>
                <a:gd name="connsiteY1" fmla="*/ 0 h 281934"/>
                <a:gd name="connsiteX2" fmla="*/ 91195 w 668161"/>
                <a:gd name="connsiteY2" fmla="*/ 87213 h 281934"/>
                <a:gd name="connsiteX3" fmla="*/ 91066 w 668161"/>
                <a:gd name="connsiteY3" fmla="*/ 87213 h 281934"/>
                <a:gd name="connsiteX4" fmla="*/ 91066 w 668161"/>
                <a:gd name="connsiteY4" fmla="*/ 87213 h 281934"/>
                <a:gd name="connsiteX5" fmla="*/ 0 w 668161"/>
                <a:gd name="connsiteY5" fmla="*/ 113287 h 281934"/>
                <a:gd name="connsiteX6" fmla="*/ 271529 w 668161"/>
                <a:gd name="connsiteY6" fmla="*/ 281934 h 281934"/>
                <a:gd name="connsiteX7" fmla="*/ 668161 w 668161"/>
                <a:gd name="connsiteY7" fmla="*/ 164665 h 28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161" h="281934">
                  <a:moveTo>
                    <a:pt x="668161" y="164665"/>
                  </a:moveTo>
                  <a:lnTo>
                    <a:pt x="395477" y="0"/>
                  </a:lnTo>
                  <a:lnTo>
                    <a:pt x="91195" y="87213"/>
                  </a:lnTo>
                  <a:lnTo>
                    <a:pt x="91066" y="87213"/>
                  </a:lnTo>
                  <a:lnTo>
                    <a:pt x="91066" y="87213"/>
                  </a:lnTo>
                  <a:lnTo>
                    <a:pt x="0" y="113287"/>
                  </a:lnTo>
                  <a:lnTo>
                    <a:pt x="271529" y="281934"/>
                  </a:lnTo>
                  <a:lnTo>
                    <a:pt x="668161" y="164665"/>
                  </a:lnTo>
                  <a:close/>
                </a:path>
              </a:pathLst>
            </a:custGeom>
            <a:solidFill>
              <a:schemeClr val="accent4"/>
            </a:solidFill>
            <a:ln w="12844"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34A51377-EECB-45F9-8D0A-A266AFDA4195}"/>
                </a:ext>
              </a:extLst>
            </p:cNvPr>
            <p:cNvSpPr/>
            <p:nvPr/>
          </p:nvSpPr>
          <p:spPr>
            <a:xfrm>
              <a:off x="1560327" y="3324122"/>
              <a:ext cx="445697" cy="966667"/>
            </a:xfrm>
            <a:custGeom>
              <a:avLst/>
              <a:gdLst>
                <a:gd name="connsiteX0" fmla="*/ 445698 w 445697"/>
                <a:gd name="connsiteY0" fmla="*/ 171087 h 966667"/>
                <a:gd name="connsiteX1" fmla="*/ 170187 w 445697"/>
                <a:gd name="connsiteY1" fmla="*/ 0 h 966667"/>
                <a:gd name="connsiteX2" fmla="*/ 0 w 445697"/>
                <a:gd name="connsiteY2" fmla="*/ 966667 h 966667"/>
                <a:gd name="connsiteX3" fmla="*/ 318539 w 445697"/>
                <a:gd name="connsiteY3" fmla="*/ 865326 h 966667"/>
                <a:gd name="connsiteX4" fmla="*/ 445698 w 445697"/>
                <a:gd name="connsiteY4" fmla="*/ 171087 h 966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697" h="966667">
                  <a:moveTo>
                    <a:pt x="445698" y="171087"/>
                  </a:moveTo>
                  <a:lnTo>
                    <a:pt x="170187" y="0"/>
                  </a:lnTo>
                  <a:lnTo>
                    <a:pt x="0" y="966667"/>
                  </a:lnTo>
                  <a:lnTo>
                    <a:pt x="318539" y="865326"/>
                  </a:lnTo>
                  <a:lnTo>
                    <a:pt x="445698" y="171087"/>
                  </a:lnTo>
                  <a:close/>
                </a:path>
              </a:pathLst>
            </a:custGeom>
            <a:solidFill>
              <a:schemeClr val="accent1"/>
            </a:solidFill>
            <a:ln w="12844"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1003875-562D-44BB-B5B6-A5AA8174702B}"/>
                </a:ext>
              </a:extLst>
            </p:cNvPr>
            <p:cNvSpPr/>
            <p:nvPr/>
          </p:nvSpPr>
          <p:spPr>
            <a:xfrm>
              <a:off x="1893508" y="3378454"/>
              <a:ext cx="527131" cy="806241"/>
            </a:xfrm>
            <a:custGeom>
              <a:avLst/>
              <a:gdLst>
                <a:gd name="connsiteX0" fmla="*/ 0 w 527131"/>
                <a:gd name="connsiteY0" fmla="*/ 806241 h 806241"/>
                <a:gd name="connsiteX1" fmla="*/ 396504 w 527131"/>
                <a:gd name="connsiteY1" fmla="*/ 680110 h 806241"/>
                <a:gd name="connsiteX2" fmla="*/ 477809 w 527131"/>
                <a:gd name="connsiteY2" fmla="*/ 257016 h 806241"/>
                <a:gd name="connsiteX3" fmla="*/ 527131 w 527131"/>
                <a:gd name="connsiteY3" fmla="*/ 0 h 806241"/>
                <a:gd name="connsiteX4" fmla="*/ 126003 w 527131"/>
                <a:gd name="connsiteY4" fmla="*/ 118554 h 806241"/>
                <a:gd name="connsiteX5" fmla="*/ 0 w 527131"/>
                <a:gd name="connsiteY5" fmla="*/ 806241 h 80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131" h="806241">
                  <a:moveTo>
                    <a:pt x="0" y="806241"/>
                  </a:moveTo>
                  <a:lnTo>
                    <a:pt x="396504" y="680110"/>
                  </a:lnTo>
                  <a:lnTo>
                    <a:pt x="477809" y="257016"/>
                  </a:lnTo>
                  <a:lnTo>
                    <a:pt x="527131" y="0"/>
                  </a:lnTo>
                  <a:lnTo>
                    <a:pt x="126003" y="118554"/>
                  </a:lnTo>
                  <a:lnTo>
                    <a:pt x="0" y="806241"/>
                  </a:lnTo>
                  <a:close/>
                </a:path>
              </a:pathLst>
            </a:custGeom>
            <a:solidFill>
              <a:srgbClr val="FFFFFF"/>
            </a:solidFill>
            <a:ln w="12844"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27C859F6-EE07-424E-991F-37008F829F1F}"/>
                </a:ext>
              </a:extLst>
            </p:cNvPr>
            <p:cNvSpPr/>
            <p:nvPr/>
          </p:nvSpPr>
          <p:spPr>
            <a:xfrm>
              <a:off x="967690" y="4024783"/>
              <a:ext cx="1896592" cy="759615"/>
            </a:xfrm>
            <a:custGeom>
              <a:avLst/>
              <a:gdLst>
                <a:gd name="connsiteX0" fmla="*/ 1619669 w 1896592"/>
                <a:gd name="connsiteY0" fmla="*/ 91067 h 759615"/>
                <a:gd name="connsiteX1" fmla="*/ 1619669 w 1896592"/>
                <a:gd name="connsiteY1" fmla="*/ 91067 h 759615"/>
                <a:gd name="connsiteX2" fmla="*/ 1475556 w 1896592"/>
                <a:gd name="connsiteY2" fmla="*/ 0 h 759615"/>
                <a:gd name="connsiteX3" fmla="*/ 1329644 w 1896592"/>
                <a:gd name="connsiteY3" fmla="*/ 46368 h 759615"/>
                <a:gd name="connsiteX4" fmla="*/ 918626 w 1896592"/>
                <a:gd name="connsiteY4" fmla="*/ 177252 h 759615"/>
                <a:gd name="connsiteX5" fmla="*/ 585444 w 1896592"/>
                <a:gd name="connsiteY5" fmla="*/ 283347 h 759615"/>
                <a:gd name="connsiteX6" fmla="*/ 585316 w 1896592"/>
                <a:gd name="connsiteY6" fmla="*/ 283347 h 759615"/>
                <a:gd name="connsiteX7" fmla="*/ 585316 w 1896592"/>
                <a:gd name="connsiteY7" fmla="*/ 283347 h 759615"/>
                <a:gd name="connsiteX8" fmla="*/ 127159 w 1896592"/>
                <a:gd name="connsiteY8" fmla="*/ 429259 h 759615"/>
                <a:gd name="connsiteX9" fmla="*/ 127159 w 1896592"/>
                <a:gd name="connsiteY9" fmla="*/ 429259 h 759615"/>
                <a:gd name="connsiteX10" fmla="*/ 127159 w 1896592"/>
                <a:gd name="connsiteY10" fmla="*/ 429259 h 759615"/>
                <a:gd name="connsiteX11" fmla="*/ 0 w 1896592"/>
                <a:gd name="connsiteY11" fmla="*/ 469719 h 759615"/>
                <a:gd name="connsiteX12" fmla="*/ 415000 w 1896592"/>
                <a:gd name="connsiteY12" fmla="*/ 759616 h 759615"/>
                <a:gd name="connsiteX13" fmla="*/ 1896592 w 1896592"/>
                <a:gd name="connsiteY13" fmla="*/ 266135 h 759615"/>
                <a:gd name="connsiteX14" fmla="*/ 1619797 w 1896592"/>
                <a:gd name="connsiteY14" fmla="*/ 91195 h 759615"/>
                <a:gd name="connsiteX15" fmla="*/ 1619669 w 1896592"/>
                <a:gd name="connsiteY15" fmla="*/ 91067 h 7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6592" h="759615">
                  <a:moveTo>
                    <a:pt x="1619669" y="91067"/>
                  </a:moveTo>
                  <a:lnTo>
                    <a:pt x="1619669" y="91067"/>
                  </a:lnTo>
                  <a:lnTo>
                    <a:pt x="1475556" y="0"/>
                  </a:lnTo>
                  <a:lnTo>
                    <a:pt x="1329644" y="46368"/>
                  </a:lnTo>
                  <a:lnTo>
                    <a:pt x="918626" y="177252"/>
                  </a:lnTo>
                  <a:lnTo>
                    <a:pt x="585444" y="283347"/>
                  </a:lnTo>
                  <a:lnTo>
                    <a:pt x="585316" y="283347"/>
                  </a:lnTo>
                  <a:lnTo>
                    <a:pt x="585316" y="283347"/>
                  </a:lnTo>
                  <a:lnTo>
                    <a:pt x="127159" y="429259"/>
                  </a:lnTo>
                  <a:lnTo>
                    <a:pt x="127159" y="429259"/>
                  </a:lnTo>
                  <a:lnTo>
                    <a:pt x="127159" y="429259"/>
                  </a:lnTo>
                  <a:lnTo>
                    <a:pt x="0" y="469719"/>
                  </a:lnTo>
                  <a:lnTo>
                    <a:pt x="415000" y="759616"/>
                  </a:lnTo>
                  <a:lnTo>
                    <a:pt x="1896592" y="266135"/>
                  </a:lnTo>
                  <a:lnTo>
                    <a:pt x="1619797" y="91195"/>
                  </a:lnTo>
                  <a:lnTo>
                    <a:pt x="1619669" y="91067"/>
                  </a:lnTo>
                  <a:close/>
                </a:path>
              </a:pathLst>
            </a:custGeom>
            <a:solidFill>
              <a:schemeClr val="accent2"/>
            </a:solidFill>
            <a:ln w="12844"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E92E3D9-6ED0-44A5-8A8C-2F91419BF609}"/>
                </a:ext>
              </a:extLst>
            </p:cNvPr>
            <p:cNvSpPr/>
            <p:nvPr/>
          </p:nvSpPr>
          <p:spPr>
            <a:xfrm>
              <a:off x="-1" y="893197"/>
              <a:ext cx="321108" cy="242758"/>
            </a:xfrm>
            <a:custGeom>
              <a:avLst/>
              <a:gdLst>
                <a:gd name="connsiteX0" fmla="*/ 117269 w 321108"/>
                <a:gd name="connsiteY0" fmla="*/ 65121 h 242758"/>
                <a:gd name="connsiteX1" fmla="*/ 117269 w 321108"/>
                <a:gd name="connsiteY1" fmla="*/ 64992 h 242758"/>
                <a:gd name="connsiteX2" fmla="*/ 117140 w 321108"/>
                <a:gd name="connsiteY2" fmla="*/ 64992 h 242758"/>
                <a:gd name="connsiteX3" fmla="*/ 0 w 321108"/>
                <a:gd name="connsiteY3" fmla="*/ 0 h 242758"/>
                <a:gd name="connsiteX4" fmla="*/ 0 w 321108"/>
                <a:gd name="connsiteY4" fmla="*/ 242759 h 242758"/>
                <a:gd name="connsiteX5" fmla="*/ 321108 w 321108"/>
                <a:gd name="connsiteY5" fmla="*/ 178151 h 242758"/>
                <a:gd name="connsiteX6" fmla="*/ 117269 w 321108"/>
                <a:gd name="connsiteY6" fmla="*/ 65121 h 24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108" h="242758">
                  <a:moveTo>
                    <a:pt x="117269" y="65121"/>
                  </a:moveTo>
                  <a:lnTo>
                    <a:pt x="117269" y="64992"/>
                  </a:lnTo>
                  <a:lnTo>
                    <a:pt x="117140" y="64992"/>
                  </a:lnTo>
                  <a:lnTo>
                    <a:pt x="0" y="0"/>
                  </a:lnTo>
                  <a:lnTo>
                    <a:pt x="0" y="242759"/>
                  </a:lnTo>
                  <a:lnTo>
                    <a:pt x="321108" y="178151"/>
                  </a:lnTo>
                  <a:lnTo>
                    <a:pt x="117269" y="65121"/>
                  </a:lnTo>
                  <a:close/>
                </a:path>
              </a:pathLst>
            </a:custGeom>
            <a:solidFill>
              <a:schemeClr val="accent2"/>
            </a:solidFill>
            <a:ln w="12844"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228D1C03-95BE-4798-B79E-4C6F217E438D}"/>
                </a:ext>
              </a:extLst>
            </p:cNvPr>
            <p:cNvSpPr/>
            <p:nvPr/>
          </p:nvSpPr>
          <p:spPr>
            <a:xfrm>
              <a:off x="4647202" y="6090286"/>
              <a:ext cx="1285845" cy="845673"/>
            </a:xfrm>
            <a:custGeom>
              <a:avLst/>
              <a:gdLst>
                <a:gd name="connsiteX0" fmla="*/ 0 w 1285845"/>
                <a:gd name="connsiteY0" fmla="*/ 15156 h 845673"/>
                <a:gd name="connsiteX1" fmla="*/ 1259000 w 1285845"/>
                <a:gd name="connsiteY1" fmla="*/ 845673 h 845673"/>
                <a:gd name="connsiteX2" fmla="*/ 1285845 w 1285845"/>
                <a:gd name="connsiteY2" fmla="*/ 845673 h 845673"/>
                <a:gd name="connsiteX3" fmla="*/ 3853 w 1285845"/>
                <a:gd name="connsiteY3" fmla="*/ 0 h 845673"/>
                <a:gd name="connsiteX4" fmla="*/ 2440 w 1285845"/>
                <a:gd name="connsiteY4" fmla="*/ 5266 h 845673"/>
                <a:gd name="connsiteX5" fmla="*/ 0 w 1285845"/>
                <a:gd name="connsiteY5" fmla="*/ 15156 h 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845" h="845673">
                  <a:moveTo>
                    <a:pt x="0" y="15156"/>
                  </a:moveTo>
                  <a:lnTo>
                    <a:pt x="1259000" y="845673"/>
                  </a:lnTo>
                  <a:lnTo>
                    <a:pt x="1285845" y="845673"/>
                  </a:lnTo>
                  <a:lnTo>
                    <a:pt x="3853" y="0"/>
                  </a:lnTo>
                  <a:lnTo>
                    <a:pt x="2440" y="5266"/>
                  </a:lnTo>
                  <a:lnTo>
                    <a:pt x="0" y="15156"/>
                  </a:lnTo>
                  <a:close/>
                </a:path>
              </a:pathLst>
            </a:custGeom>
            <a:solidFill>
              <a:srgbClr val="FFFFFF"/>
            </a:solidFill>
            <a:ln w="12844"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9213CE7C-2409-4B31-9BD9-20E32D2E3D38}"/>
                </a:ext>
              </a:extLst>
            </p:cNvPr>
            <p:cNvSpPr/>
            <p:nvPr/>
          </p:nvSpPr>
          <p:spPr>
            <a:xfrm>
              <a:off x="2957532" y="5355460"/>
              <a:ext cx="281290" cy="1234087"/>
            </a:xfrm>
            <a:custGeom>
              <a:avLst/>
              <a:gdLst>
                <a:gd name="connsiteX0" fmla="*/ 277951 w 281290"/>
                <a:gd name="connsiteY0" fmla="*/ 2569 h 1234087"/>
                <a:gd name="connsiteX1" fmla="*/ 276795 w 281290"/>
                <a:gd name="connsiteY1" fmla="*/ 2569 h 1234087"/>
                <a:gd name="connsiteX2" fmla="*/ 275382 w 281290"/>
                <a:gd name="connsiteY2" fmla="*/ 2569 h 1234087"/>
                <a:gd name="connsiteX3" fmla="*/ 274355 w 281290"/>
                <a:gd name="connsiteY3" fmla="*/ 2569 h 1234087"/>
                <a:gd name="connsiteX4" fmla="*/ 272942 w 281290"/>
                <a:gd name="connsiteY4" fmla="*/ 2569 h 1234087"/>
                <a:gd name="connsiteX5" fmla="*/ 272942 w 281290"/>
                <a:gd name="connsiteY5" fmla="*/ 2569 h 1234087"/>
                <a:gd name="connsiteX6" fmla="*/ 268960 w 281290"/>
                <a:gd name="connsiteY6" fmla="*/ 0 h 1234087"/>
                <a:gd name="connsiteX7" fmla="*/ 0 w 281290"/>
                <a:gd name="connsiteY7" fmla="*/ 1220857 h 1234087"/>
                <a:gd name="connsiteX8" fmla="*/ 8349 w 281290"/>
                <a:gd name="connsiteY8" fmla="*/ 1226894 h 1234087"/>
                <a:gd name="connsiteX9" fmla="*/ 8991 w 281290"/>
                <a:gd name="connsiteY9" fmla="*/ 1227793 h 1234087"/>
                <a:gd name="connsiteX10" fmla="*/ 10019 w 281290"/>
                <a:gd name="connsiteY10" fmla="*/ 1228949 h 1234087"/>
                <a:gd name="connsiteX11" fmla="*/ 10019 w 281290"/>
                <a:gd name="connsiteY11" fmla="*/ 1230233 h 1234087"/>
                <a:gd name="connsiteX12" fmla="*/ 10019 w 281290"/>
                <a:gd name="connsiteY12" fmla="*/ 1231518 h 1234087"/>
                <a:gd name="connsiteX13" fmla="*/ 10019 w 281290"/>
                <a:gd name="connsiteY13" fmla="*/ 1234087 h 1234087"/>
                <a:gd name="connsiteX14" fmla="*/ 10019 w 281290"/>
                <a:gd name="connsiteY14" fmla="*/ 1234087 h 1234087"/>
                <a:gd name="connsiteX15" fmla="*/ 281291 w 281290"/>
                <a:gd name="connsiteY15" fmla="*/ 1027 h 1234087"/>
                <a:gd name="connsiteX16" fmla="*/ 277566 w 281290"/>
                <a:gd name="connsiteY16" fmla="*/ 2440 h 123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290" h="1234087">
                  <a:moveTo>
                    <a:pt x="277951" y="2569"/>
                  </a:moveTo>
                  <a:lnTo>
                    <a:pt x="276795" y="2569"/>
                  </a:lnTo>
                  <a:lnTo>
                    <a:pt x="275382" y="2569"/>
                  </a:lnTo>
                  <a:lnTo>
                    <a:pt x="274355" y="2569"/>
                  </a:lnTo>
                  <a:lnTo>
                    <a:pt x="272942" y="2569"/>
                  </a:lnTo>
                  <a:lnTo>
                    <a:pt x="272942" y="2569"/>
                  </a:lnTo>
                  <a:lnTo>
                    <a:pt x="268960" y="0"/>
                  </a:lnTo>
                  <a:lnTo>
                    <a:pt x="0" y="1220857"/>
                  </a:lnTo>
                  <a:lnTo>
                    <a:pt x="8349" y="1226894"/>
                  </a:lnTo>
                  <a:lnTo>
                    <a:pt x="8991" y="1227793"/>
                  </a:lnTo>
                  <a:cubicBezTo>
                    <a:pt x="9400" y="1228114"/>
                    <a:pt x="9748" y="1228506"/>
                    <a:pt x="10019" y="1228949"/>
                  </a:cubicBezTo>
                  <a:cubicBezTo>
                    <a:pt x="10070" y="1229376"/>
                    <a:pt x="10070" y="1229807"/>
                    <a:pt x="10019" y="1230233"/>
                  </a:cubicBezTo>
                  <a:cubicBezTo>
                    <a:pt x="10075" y="1230660"/>
                    <a:pt x="10075" y="1231092"/>
                    <a:pt x="10019" y="1231518"/>
                  </a:cubicBezTo>
                  <a:cubicBezTo>
                    <a:pt x="10147" y="1232369"/>
                    <a:pt x="10147" y="1233235"/>
                    <a:pt x="10019" y="1234087"/>
                  </a:cubicBezTo>
                  <a:lnTo>
                    <a:pt x="10019" y="1234087"/>
                  </a:lnTo>
                  <a:lnTo>
                    <a:pt x="281291" y="1027"/>
                  </a:lnTo>
                  <a:lnTo>
                    <a:pt x="277566" y="2440"/>
                  </a:lnTo>
                  <a:close/>
                </a:path>
              </a:pathLst>
            </a:custGeom>
            <a:solidFill>
              <a:srgbClr val="000000"/>
            </a:solidFill>
            <a:ln w="12844"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77C4EBDB-2E8E-4439-99AE-F88FABF24054}"/>
                </a:ext>
              </a:extLst>
            </p:cNvPr>
            <p:cNvSpPr/>
            <p:nvPr/>
          </p:nvSpPr>
          <p:spPr>
            <a:xfrm>
              <a:off x="2878154" y="6589162"/>
              <a:ext cx="90295" cy="346798"/>
            </a:xfrm>
            <a:custGeom>
              <a:avLst/>
              <a:gdLst>
                <a:gd name="connsiteX0" fmla="*/ 88883 w 90295"/>
                <a:gd name="connsiteY0" fmla="*/ 2954 h 346798"/>
                <a:gd name="connsiteX1" fmla="*/ 79517 w 90295"/>
                <a:gd name="connsiteY1" fmla="*/ 5183 h 346798"/>
                <a:gd name="connsiteX2" fmla="*/ 79249 w 90295"/>
                <a:gd name="connsiteY2" fmla="*/ 5009 h 346798"/>
                <a:gd name="connsiteX3" fmla="*/ 75653 w 90295"/>
                <a:gd name="connsiteY3" fmla="*/ 2440 h 346798"/>
                <a:gd name="connsiteX4" fmla="*/ 0 w 90295"/>
                <a:gd name="connsiteY4" fmla="*/ 346798 h 346798"/>
                <a:gd name="connsiteX5" fmla="*/ 14000 w 90295"/>
                <a:gd name="connsiteY5" fmla="*/ 346798 h 346798"/>
                <a:gd name="connsiteX6" fmla="*/ 90296 w 90295"/>
                <a:gd name="connsiteY6" fmla="*/ 0 h 346798"/>
                <a:gd name="connsiteX7" fmla="*/ 88883 w 90295"/>
                <a:gd name="connsiteY7" fmla="*/ 2954 h 34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295" h="346798">
                  <a:moveTo>
                    <a:pt x="88883" y="2954"/>
                  </a:moveTo>
                  <a:cubicBezTo>
                    <a:pt x="86912" y="6156"/>
                    <a:pt x="82719" y="7154"/>
                    <a:pt x="79517" y="5183"/>
                  </a:cubicBezTo>
                  <a:cubicBezTo>
                    <a:pt x="79426" y="5127"/>
                    <a:pt x="79337" y="5069"/>
                    <a:pt x="79249" y="5009"/>
                  </a:cubicBezTo>
                  <a:lnTo>
                    <a:pt x="75653" y="2440"/>
                  </a:lnTo>
                  <a:lnTo>
                    <a:pt x="0" y="346798"/>
                  </a:lnTo>
                  <a:lnTo>
                    <a:pt x="14000" y="346798"/>
                  </a:lnTo>
                  <a:lnTo>
                    <a:pt x="90296" y="0"/>
                  </a:lnTo>
                  <a:cubicBezTo>
                    <a:pt x="89953" y="1041"/>
                    <a:pt x="89478" y="2034"/>
                    <a:pt x="88883" y="2954"/>
                  </a:cubicBezTo>
                  <a:close/>
                </a:path>
              </a:pathLst>
            </a:custGeom>
            <a:solidFill>
              <a:srgbClr val="000000"/>
            </a:solidFill>
            <a:ln w="12844"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A7B6CF09-8803-413D-B7DC-AD90C3128128}"/>
                </a:ext>
              </a:extLst>
            </p:cNvPr>
            <p:cNvSpPr/>
            <p:nvPr/>
          </p:nvSpPr>
          <p:spPr>
            <a:xfrm>
              <a:off x="2968449" y="6589162"/>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39481BE2-3789-4283-96A4-2993A0860368}"/>
                </a:ext>
              </a:extLst>
            </p:cNvPr>
            <p:cNvSpPr/>
            <p:nvPr/>
          </p:nvSpPr>
          <p:spPr>
            <a:xfrm>
              <a:off x="2561541" y="6287448"/>
              <a:ext cx="407108" cy="307908"/>
            </a:xfrm>
            <a:custGeom>
              <a:avLst/>
              <a:gdLst>
                <a:gd name="connsiteX0" fmla="*/ 406908 w 407108"/>
                <a:gd name="connsiteY0" fmla="*/ 299017 h 307908"/>
                <a:gd name="connsiteX1" fmla="*/ 406908 w 407108"/>
                <a:gd name="connsiteY1" fmla="*/ 297732 h 307908"/>
                <a:gd name="connsiteX2" fmla="*/ 406908 w 407108"/>
                <a:gd name="connsiteY2" fmla="*/ 296448 h 307908"/>
                <a:gd name="connsiteX3" fmla="*/ 405881 w 407108"/>
                <a:gd name="connsiteY3" fmla="*/ 295292 h 307908"/>
                <a:gd name="connsiteX4" fmla="*/ 405238 w 407108"/>
                <a:gd name="connsiteY4" fmla="*/ 294393 h 307908"/>
                <a:gd name="connsiteX5" fmla="*/ 396890 w 407108"/>
                <a:gd name="connsiteY5" fmla="*/ 288356 h 307908"/>
                <a:gd name="connsiteX6" fmla="*/ 771 w 407108"/>
                <a:gd name="connsiteY6" fmla="*/ 0 h 307908"/>
                <a:gd name="connsiteX7" fmla="*/ 1413 w 407108"/>
                <a:gd name="connsiteY7" fmla="*/ 642 h 307908"/>
                <a:gd name="connsiteX8" fmla="*/ 2184 w 407108"/>
                <a:gd name="connsiteY8" fmla="*/ 1541 h 307908"/>
                <a:gd name="connsiteX9" fmla="*/ 2184 w 407108"/>
                <a:gd name="connsiteY9" fmla="*/ 1541 h 307908"/>
                <a:gd name="connsiteX10" fmla="*/ 2184 w 407108"/>
                <a:gd name="connsiteY10" fmla="*/ 2569 h 307908"/>
                <a:gd name="connsiteX11" fmla="*/ 2184 w 407108"/>
                <a:gd name="connsiteY11" fmla="*/ 3211 h 307908"/>
                <a:gd name="connsiteX12" fmla="*/ 2184 w 407108"/>
                <a:gd name="connsiteY12" fmla="*/ 3211 h 307908"/>
                <a:gd name="connsiteX13" fmla="*/ 2184 w 407108"/>
                <a:gd name="connsiteY13" fmla="*/ 3853 h 307908"/>
                <a:gd name="connsiteX14" fmla="*/ 2184 w 407108"/>
                <a:gd name="connsiteY14" fmla="*/ 4881 h 307908"/>
                <a:gd name="connsiteX15" fmla="*/ 2184 w 407108"/>
                <a:gd name="connsiteY15" fmla="*/ 6165 h 307908"/>
                <a:gd name="connsiteX16" fmla="*/ 2184 w 407108"/>
                <a:gd name="connsiteY16" fmla="*/ 6165 h 307908"/>
                <a:gd name="connsiteX17" fmla="*/ 2184 w 407108"/>
                <a:gd name="connsiteY17" fmla="*/ 6165 h 307908"/>
                <a:gd name="connsiteX18" fmla="*/ 0 w 407108"/>
                <a:gd name="connsiteY18" fmla="*/ 17083 h 307908"/>
                <a:gd name="connsiteX19" fmla="*/ 392651 w 407108"/>
                <a:gd name="connsiteY19" fmla="*/ 304155 h 307908"/>
                <a:gd name="connsiteX20" fmla="*/ 396247 w 407108"/>
                <a:gd name="connsiteY20" fmla="*/ 306724 h 307908"/>
                <a:gd name="connsiteX21" fmla="*/ 405707 w 407108"/>
                <a:gd name="connsiteY21" fmla="*/ 304936 h 307908"/>
                <a:gd name="connsiteX22" fmla="*/ 405881 w 407108"/>
                <a:gd name="connsiteY22" fmla="*/ 304669 h 307908"/>
                <a:gd name="connsiteX23" fmla="*/ 407037 w 407108"/>
                <a:gd name="connsiteY23" fmla="*/ 301971 h 307908"/>
                <a:gd name="connsiteX24" fmla="*/ 407037 w 407108"/>
                <a:gd name="connsiteY24" fmla="*/ 301971 h 307908"/>
                <a:gd name="connsiteX25" fmla="*/ 407037 w 407108"/>
                <a:gd name="connsiteY25" fmla="*/ 301971 h 307908"/>
                <a:gd name="connsiteX26" fmla="*/ 406908 w 407108"/>
                <a:gd name="connsiteY26" fmla="*/ 299017 h 3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7108" h="307908">
                  <a:moveTo>
                    <a:pt x="406908" y="299017"/>
                  </a:moveTo>
                  <a:cubicBezTo>
                    <a:pt x="406965" y="298590"/>
                    <a:pt x="406965" y="298158"/>
                    <a:pt x="406908" y="297732"/>
                  </a:cubicBezTo>
                  <a:cubicBezTo>
                    <a:pt x="406959" y="297306"/>
                    <a:pt x="406959" y="296875"/>
                    <a:pt x="406908" y="296448"/>
                  </a:cubicBezTo>
                  <a:cubicBezTo>
                    <a:pt x="406637" y="296005"/>
                    <a:pt x="406289" y="295613"/>
                    <a:pt x="405881" y="295292"/>
                  </a:cubicBezTo>
                  <a:lnTo>
                    <a:pt x="405238" y="294393"/>
                  </a:lnTo>
                  <a:lnTo>
                    <a:pt x="396890" y="288356"/>
                  </a:lnTo>
                  <a:lnTo>
                    <a:pt x="771" y="0"/>
                  </a:lnTo>
                  <a:cubicBezTo>
                    <a:pt x="771" y="0"/>
                    <a:pt x="771" y="0"/>
                    <a:pt x="1413" y="642"/>
                  </a:cubicBezTo>
                  <a:lnTo>
                    <a:pt x="2184" y="1541"/>
                  </a:lnTo>
                  <a:lnTo>
                    <a:pt x="2184" y="1541"/>
                  </a:lnTo>
                  <a:lnTo>
                    <a:pt x="2184" y="2569"/>
                  </a:lnTo>
                  <a:cubicBezTo>
                    <a:pt x="2184" y="2569"/>
                    <a:pt x="2184" y="2569"/>
                    <a:pt x="2184" y="3211"/>
                  </a:cubicBezTo>
                  <a:lnTo>
                    <a:pt x="2184" y="3211"/>
                  </a:lnTo>
                  <a:cubicBezTo>
                    <a:pt x="2184" y="3211"/>
                    <a:pt x="2184" y="3211"/>
                    <a:pt x="2184" y="3853"/>
                  </a:cubicBezTo>
                  <a:cubicBezTo>
                    <a:pt x="2184" y="4495"/>
                    <a:pt x="2184" y="4495"/>
                    <a:pt x="2184" y="4881"/>
                  </a:cubicBezTo>
                  <a:lnTo>
                    <a:pt x="2184" y="6165"/>
                  </a:lnTo>
                  <a:cubicBezTo>
                    <a:pt x="2184" y="6165"/>
                    <a:pt x="2184" y="6165"/>
                    <a:pt x="2184" y="6165"/>
                  </a:cubicBezTo>
                  <a:lnTo>
                    <a:pt x="2184" y="6165"/>
                  </a:lnTo>
                  <a:lnTo>
                    <a:pt x="0" y="17083"/>
                  </a:lnTo>
                  <a:lnTo>
                    <a:pt x="392651" y="304155"/>
                  </a:lnTo>
                  <a:lnTo>
                    <a:pt x="396247" y="306724"/>
                  </a:lnTo>
                  <a:cubicBezTo>
                    <a:pt x="399353" y="308842"/>
                    <a:pt x="403589" y="308042"/>
                    <a:pt x="405707" y="304936"/>
                  </a:cubicBezTo>
                  <a:cubicBezTo>
                    <a:pt x="405767" y="304848"/>
                    <a:pt x="405825" y="304759"/>
                    <a:pt x="405881" y="304669"/>
                  </a:cubicBezTo>
                  <a:cubicBezTo>
                    <a:pt x="406368" y="303817"/>
                    <a:pt x="406756" y="302912"/>
                    <a:pt x="407037" y="301971"/>
                  </a:cubicBezTo>
                  <a:lnTo>
                    <a:pt x="407037" y="301971"/>
                  </a:lnTo>
                  <a:lnTo>
                    <a:pt x="407037" y="301971"/>
                  </a:lnTo>
                  <a:cubicBezTo>
                    <a:pt x="407165" y="300987"/>
                    <a:pt x="407121" y="299987"/>
                    <a:pt x="406908" y="299017"/>
                  </a:cubicBezTo>
                  <a:close/>
                </a:path>
              </a:pathLst>
            </a:custGeom>
            <a:solidFill>
              <a:srgbClr val="000000"/>
            </a:solidFill>
            <a:ln w="12844"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07DE9615-8FCF-49DA-809B-E14EB6A1B541}"/>
                </a:ext>
              </a:extLst>
            </p:cNvPr>
            <p:cNvSpPr/>
            <p:nvPr/>
          </p:nvSpPr>
          <p:spPr>
            <a:xfrm>
              <a:off x="2735839" y="5012001"/>
              <a:ext cx="498744" cy="345385"/>
            </a:xfrm>
            <a:custGeom>
              <a:avLst/>
              <a:gdLst>
                <a:gd name="connsiteX0" fmla="*/ 0 w 498744"/>
                <a:gd name="connsiteY0" fmla="*/ 15670 h 345385"/>
                <a:gd name="connsiteX1" fmla="*/ 490011 w 498744"/>
                <a:gd name="connsiteY1" fmla="*/ 342816 h 345385"/>
                <a:gd name="connsiteX2" fmla="*/ 493993 w 498744"/>
                <a:gd name="connsiteY2" fmla="*/ 345385 h 345385"/>
                <a:gd name="connsiteX3" fmla="*/ 493993 w 498744"/>
                <a:gd name="connsiteY3" fmla="*/ 345385 h 345385"/>
                <a:gd name="connsiteX4" fmla="*/ 490910 w 498744"/>
                <a:gd name="connsiteY4" fmla="*/ 341404 h 345385"/>
                <a:gd name="connsiteX5" fmla="*/ 495662 w 498744"/>
                <a:gd name="connsiteY5" fmla="*/ 332027 h 345385"/>
                <a:gd name="connsiteX6" fmla="*/ 498745 w 498744"/>
                <a:gd name="connsiteY6" fmla="*/ 330871 h 345385"/>
                <a:gd name="connsiteX7" fmla="*/ 2954 w 498744"/>
                <a:gd name="connsiteY7" fmla="*/ 0 h 345385"/>
                <a:gd name="connsiteX8" fmla="*/ 2055 w 498744"/>
                <a:gd name="connsiteY8" fmla="*/ 4881 h 34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744" h="345385">
                  <a:moveTo>
                    <a:pt x="0" y="15670"/>
                  </a:moveTo>
                  <a:lnTo>
                    <a:pt x="490011" y="342816"/>
                  </a:lnTo>
                  <a:lnTo>
                    <a:pt x="493993" y="345385"/>
                  </a:lnTo>
                  <a:lnTo>
                    <a:pt x="493993" y="345385"/>
                  </a:lnTo>
                  <a:cubicBezTo>
                    <a:pt x="492503" y="344491"/>
                    <a:pt x="491402" y="343070"/>
                    <a:pt x="490910" y="341404"/>
                  </a:cubicBezTo>
                  <a:cubicBezTo>
                    <a:pt x="489913" y="337528"/>
                    <a:pt x="491947" y="333515"/>
                    <a:pt x="495662" y="332027"/>
                  </a:cubicBezTo>
                  <a:lnTo>
                    <a:pt x="498745" y="330871"/>
                  </a:lnTo>
                  <a:lnTo>
                    <a:pt x="2954" y="0"/>
                  </a:lnTo>
                  <a:lnTo>
                    <a:pt x="2055" y="4881"/>
                  </a:lnTo>
                  <a:close/>
                </a:path>
              </a:pathLst>
            </a:custGeom>
            <a:solidFill>
              <a:srgbClr val="000000"/>
            </a:solidFill>
            <a:ln w="12844"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3D5BD79D-FB4D-48BC-BCEC-8C9D9446EBAA}"/>
                </a:ext>
              </a:extLst>
            </p:cNvPr>
            <p:cNvSpPr/>
            <p:nvPr/>
          </p:nvSpPr>
          <p:spPr>
            <a:xfrm>
              <a:off x="5012751" y="4683442"/>
              <a:ext cx="12844" cy="770"/>
            </a:xfrm>
            <a:custGeom>
              <a:avLst/>
              <a:gdLst>
                <a:gd name="connsiteX0" fmla="*/ 0 w 12844"/>
                <a:gd name="connsiteY0" fmla="*/ 771 h 770"/>
                <a:gd name="connsiteX1" fmla="*/ 0 w 12844"/>
                <a:gd name="connsiteY1" fmla="*/ 771 h 770"/>
                <a:gd name="connsiteX2" fmla="*/ 0 w 12844"/>
                <a:gd name="connsiteY2" fmla="*/ 0 h 770"/>
                <a:gd name="connsiteX3" fmla="*/ 0 w 12844"/>
                <a:gd name="connsiteY3" fmla="*/ 0 h 770"/>
              </a:gdLst>
              <a:ahLst/>
              <a:cxnLst>
                <a:cxn ang="0">
                  <a:pos x="connsiteX0" y="connsiteY0"/>
                </a:cxn>
                <a:cxn ang="0">
                  <a:pos x="connsiteX1" y="connsiteY1"/>
                </a:cxn>
                <a:cxn ang="0">
                  <a:pos x="connsiteX2" y="connsiteY2"/>
                </a:cxn>
                <a:cxn ang="0">
                  <a:pos x="connsiteX3" y="connsiteY3"/>
                </a:cxn>
              </a:cxnLst>
              <a:rect l="l" t="t" r="r" b="b"/>
              <a:pathLst>
                <a:path w="12844" h="770">
                  <a:moveTo>
                    <a:pt x="0" y="771"/>
                  </a:moveTo>
                  <a:lnTo>
                    <a:pt x="0" y="771"/>
                  </a:lnTo>
                  <a:cubicBezTo>
                    <a:pt x="0" y="771"/>
                    <a:pt x="0" y="771"/>
                    <a:pt x="0" y="0"/>
                  </a:cubicBezTo>
                  <a:lnTo>
                    <a:pt x="0" y="0"/>
                  </a:lnTo>
                  <a:close/>
                </a:path>
              </a:pathLst>
            </a:custGeom>
            <a:solidFill>
              <a:srgbClr val="000000"/>
            </a:solidFill>
            <a:ln w="12844"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073C772F-B07F-403B-AAB8-C632256B5F12}"/>
                </a:ext>
              </a:extLst>
            </p:cNvPr>
            <p:cNvSpPr/>
            <p:nvPr/>
          </p:nvSpPr>
          <p:spPr>
            <a:xfrm>
              <a:off x="5010825" y="4681002"/>
              <a:ext cx="770" cy="770"/>
            </a:xfrm>
            <a:custGeom>
              <a:avLst/>
              <a:gdLst>
                <a:gd name="connsiteX0" fmla="*/ 771 w 770"/>
                <a:gd name="connsiteY0" fmla="*/ 771 h 770"/>
                <a:gd name="connsiteX1" fmla="*/ 0 w 770"/>
                <a:gd name="connsiteY1" fmla="*/ 0 h 770"/>
                <a:gd name="connsiteX2" fmla="*/ 0 w 770"/>
                <a:gd name="connsiteY2" fmla="*/ 0 h 770"/>
              </a:gdLst>
              <a:ahLst/>
              <a:cxnLst>
                <a:cxn ang="0">
                  <a:pos x="connsiteX0" y="connsiteY0"/>
                </a:cxn>
                <a:cxn ang="0">
                  <a:pos x="connsiteX1" y="connsiteY1"/>
                </a:cxn>
                <a:cxn ang="0">
                  <a:pos x="connsiteX2" y="connsiteY2"/>
                </a:cxn>
              </a:cxnLst>
              <a:rect l="l" t="t" r="r" b="b"/>
              <a:pathLst>
                <a:path w="770" h="770">
                  <a:moveTo>
                    <a:pt x="771" y="771"/>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75F68CD2-7665-42EC-AF17-C4F602820FC5}"/>
                </a:ext>
              </a:extLst>
            </p:cNvPr>
            <p:cNvSpPr/>
            <p:nvPr/>
          </p:nvSpPr>
          <p:spPr>
            <a:xfrm>
              <a:off x="5012880" y="4685883"/>
              <a:ext cx="12844" cy="1155"/>
            </a:xfrm>
            <a:custGeom>
              <a:avLst/>
              <a:gdLst>
                <a:gd name="connsiteX0" fmla="*/ 0 w 12844"/>
                <a:gd name="connsiteY0" fmla="*/ 1156 h 1155"/>
                <a:gd name="connsiteX1" fmla="*/ 0 w 12844"/>
                <a:gd name="connsiteY1" fmla="*/ 0 h 1155"/>
                <a:gd name="connsiteX2" fmla="*/ 0 w 12844"/>
                <a:gd name="connsiteY2" fmla="*/ 0 h 1155"/>
              </a:gdLst>
              <a:ahLst/>
              <a:cxnLst>
                <a:cxn ang="0">
                  <a:pos x="connsiteX0" y="connsiteY0"/>
                </a:cxn>
                <a:cxn ang="0">
                  <a:pos x="connsiteX1" y="connsiteY1"/>
                </a:cxn>
                <a:cxn ang="0">
                  <a:pos x="connsiteX2" y="connsiteY2"/>
                </a:cxn>
              </a:cxnLst>
              <a:rect l="l" t="t" r="r" b="b"/>
              <a:pathLst>
                <a:path w="12844" h="1155">
                  <a:moveTo>
                    <a:pt x="0" y="1156"/>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0732DF0-EA2B-4B25-BAF6-4BED38529BDF}"/>
                </a:ext>
              </a:extLst>
            </p:cNvPr>
            <p:cNvSpPr/>
            <p:nvPr/>
          </p:nvSpPr>
          <p:spPr>
            <a:xfrm>
              <a:off x="3227139" y="4685112"/>
              <a:ext cx="1771226" cy="672402"/>
            </a:xfrm>
            <a:custGeom>
              <a:avLst/>
              <a:gdLst>
                <a:gd name="connsiteX0" fmla="*/ 5005 w 1771226"/>
                <a:gd name="connsiteY0" fmla="*/ 659045 h 672402"/>
                <a:gd name="connsiteX1" fmla="*/ 252 w 1771226"/>
                <a:gd name="connsiteY1" fmla="*/ 668421 h 672402"/>
                <a:gd name="connsiteX2" fmla="*/ 3335 w 1771226"/>
                <a:gd name="connsiteY2" fmla="*/ 672403 h 672402"/>
                <a:gd name="connsiteX3" fmla="*/ 4748 w 1771226"/>
                <a:gd name="connsiteY3" fmla="*/ 672403 h 672402"/>
                <a:gd name="connsiteX4" fmla="*/ 5775 w 1771226"/>
                <a:gd name="connsiteY4" fmla="*/ 672403 h 672402"/>
                <a:gd name="connsiteX5" fmla="*/ 7188 w 1771226"/>
                <a:gd name="connsiteY5" fmla="*/ 672403 h 672402"/>
                <a:gd name="connsiteX6" fmla="*/ 8344 w 1771226"/>
                <a:gd name="connsiteY6" fmla="*/ 672403 h 672402"/>
                <a:gd name="connsiteX7" fmla="*/ 8344 w 1771226"/>
                <a:gd name="connsiteY7" fmla="*/ 672403 h 672402"/>
                <a:gd name="connsiteX8" fmla="*/ 12069 w 1771226"/>
                <a:gd name="connsiteY8" fmla="*/ 670990 h 672402"/>
                <a:gd name="connsiteX9" fmla="*/ 1769300 w 1771226"/>
                <a:gd name="connsiteY9" fmla="*/ 12716 h 672402"/>
                <a:gd name="connsiteX10" fmla="*/ 1771227 w 1771226"/>
                <a:gd name="connsiteY10" fmla="*/ 5138 h 672402"/>
                <a:gd name="connsiteX11" fmla="*/ 1762493 w 1771226"/>
                <a:gd name="connsiteY11" fmla="*/ 0 h 672402"/>
                <a:gd name="connsiteX12" fmla="*/ 8087 w 1771226"/>
                <a:gd name="connsiteY12" fmla="*/ 658145 h 6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1226" h="672402">
                  <a:moveTo>
                    <a:pt x="5005" y="659045"/>
                  </a:moveTo>
                  <a:cubicBezTo>
                    <a:pt x="1290" y="660532"/>
                    <a:pt x="-745" y="664545"/>
                    <a:pt x="252" y="668421"/>
                  </a:cubicBezTo>
                  <a:cubicBezTo>
                    <a:pt x="745" y="670088"/>
                    <a:pt x="1845" y="671509"/>
                    <a:pt x="3335" y="672403"/>
                  </a:cubicBezTo>
                  <a:lnTo>
                    <a:pt x="4748" y="672403"/>
                  </a:lnTo>
                  <a:lnTo>
                    <a:pt x="5775" y="672403"/>
                  </a:lnTo>
                  <a:lnTo>
                    <a:pt x="7188" y="672403"/>
                  </a:lnTo>
                  <a:lnTo>
                    <a:pt x="8344" y="672403"/>
                  </a:lnTo>
                  <a:lnTo>
                    <a:pt x="8344" y="672403"/>
                  </a:lnTo>
                  <a:lnTo>
                    <a:pt x="12069" y="670990"/>
                  </a:lnTo>
                  <a:lnTo>
                    <a:pt x="1769300" y="12716"/>
                  </a:lnTo>
                  <a:lnTo>
                    <a:pt x="1771227" y="5138"/>
                  </a:lnTo>
                  <a:lnTo>
                    <a:pt x="1762493" y="0"/>
                  </a:lnTo>
                  <a:lnTo>
                    <a:pt x="8087" y="658145"/>
                  </a:lnTo>
                  <a:close/>
                </a:path>
              </a:pathLst>
            </a:custGeom>
            <a:solidFill>
              <a:srgbClr val="000000"/>
            </a:solidFill>
            <a:ln w="12844"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391237B-5C20-434D-9781-75E7EA1F131E}"/>
                </a:ext>
              </a:extLst>
            </p:cNvPr>
            <p:cNvSpPr/>
            <p:nvPr/>
          </p:nvSpPr>
          <p:spPr>
            <a:xfrm>
              <a:off x="3453708" y="3759290"/>
              <a:ext cx="1556859" cy="930189"/>
            </a:xfrm>
            <a:custGeom>
              <a:avLst/>
              <a:gdLst>
                <a:gd name="connsiteX0" fmla="*/ 7450 w 1556859"/>
                <a:gd name="connsiteY0" fmla="*/ 4752 h 930189"/>
                <a:gd name="connsiteX1" fmla="*/ 7450 w 1556859"/>
                <a:gd name="connsiteY1" fmla="*/ 4752 h 930189"/>
                <a:gd name="connsiteX2" fmla="*/ 7450 w 1556859"/>
                <a:gd name="connsiteY2" fmla="*/ 5652 h 930189"/>
                <a:gd name="connsiteX3" fmla="*/ 6807 w 1556859"/>
                <a:gd name="connsiteY3" fmla="*/ 7193 h 930189"/>
                <a:gd name="connsiteX4" fmla="*/ 5908 w 1556859"/>
                <a:gd name="connsiteY4" fmla="*/ 8349 h 930189"/>
                <a:gd name="connsiteX5" fmla="*/ 5009 w 1556859"/>
                <a:gd name="connsiteY5" fmla="*/ 9248 h 930189"/>
                <a:gd name="connsiteX6" fmla="*/ 3596 w 1556859"/>
                <a:gd name="connsiteY6" fmla="*/ 10147 h 930189"/>
                <a:gd name="connsiteX7" fmla="*/ 2697 w 1556859"/>
                <a:gd name="connsiteY7" fmla="*/ 10147 h 930189"/>
                <a:gd name="connsiteX8" fmla="*/ 0 w 1556859"/>
                <a:gd name="connsiteY8" fmla="*/ 11046 h 930189"/>
                <a:gd name="connsiteX9" fmla="*/ 1536180 w 1556859"/>
                <a:gd name="connsiteY9" fmla="*/ 925052 h 930189"/>
                <a:gd name="connsiteX10" fmla="*/ 1544915 w 1556859"/>
                <a:gd name="connsiteY10" fmla="*/ 930190 h 930189"/>
                <a:gd name="connsiteX11" fmla="*/ 1546328 w 1556859"/>
                <a:gd name="connsiteY11" fmla="*/ 924795 h 930189"/>
                <a:gd name="connsiteX12" fmla="*/ 1554805 w 1556859"/>
                <a:gd name="connsiteY12" fmla="*/ 919272 h 930189"/>
                <a:gd name="connsiteX13" fmla="*/ 1556860 w 1556859"/>
                <a:gd name="connsiteY13" fmla="*/ 920171 h 930189"/>
                <a:gd name="connsiteX14" fmla="*/ 1556860 w 1556859"/>
                <a:gd name="connsiteY14" fmla="*/ 920171 h 930189"/>
                <a:gd name="connsiteX15" fmla="*/ 8477 w 1556859"/>
                <a:gd name="connsiteY15" fmla="*/ 0 h 930189"/>
                <a:gd name="connsiteX16" fmla="*/ 7450 w 1556859"/>
                <a:gd name="connsiteY16" fmla="*/ 4752 h 9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6859" h="930189">
                  <a:moveTo>
                    <a:pt x="7450" y="4752"/>
                  </a:moveTo>
                  <a:lnTo>
                    <a:pt x="7450" y="4752"/>
                  </a:lnTo>
                  <a:lnTo>
                    <a:pt x="7450" y="5652"/>
                  </a:lnTo>
                  <a:cubicBezTo>
                    <a:pt x="7315" y="6195"/>
                    <a:pt x="7098" y="6715"/>
                    <a:pt x="6807" y="7193"/>
                  </a:cubicBezTo>
                  <a:cubicBezTo>
                    <a:pt x="6539" y="7602"/>
                    <a:pt x="6239" y="7988"/>
                    <a:pt x="5908" y="8349"/>
                  </a:cubicBezTo>
                  <a:lnTo>
                    <a:pt x="5009" y="9248"/>
                  </a:lnTo>
                  <a:lnTo>
                    <a:pt x="3596" y="10147"/>
                  </a:lnTo>
                  <a:cubicBezTo>
                    <a:pt x="3596" y="10147"/>
                    <a:pt x="3596" y="10147"/>
                    <a:pt x="2697" y="10147"/>
                  </a:cubicBezTo>
                  <a:lnTo>
                    <a:pt x="0" y="11046"/>
                  </a:lnTo>
                  <a:lnTo>
                    <a:pt x="1536180" y="925052"/>
                  </a:lnTo>
                  <a:lnTo>
                    <a:pt x="1544915" y="930190"/>
                  </a:lnTo>
                  <a:lnTo>
                    <a:pt x="1546328" y="924795"/>
                  </a:lnTo>
                  <a:cubicBezTo>
                    <a:pt x="1547162" y="920942"/>
                    <a:pt x="1550943" y="918478"/>
                    <a:pt x="1554805" y="919272"/>
                  </a:cubicBezTo>
                  <a:cubicBezTo>
                    <a:pt x="1555541" y="919438"/>
                    <a:pt x="1556239" y="919743"/>
                    <a:pt x="1556860" y="920171"/>
                  </a:cubicBezTo>
                  <a:lnTo>
                    <a:pt x="1556860" y="920171"/>
                  </a:lnTo>
                  <a:lnTo>
                    <a:pt x="8477" y="0"/>
                  </a:lnTo>
                  <a:lnTo>
                    <a:pt x="7450" y="4752"/>
                  </a:lnTo>
                  <a:close/>
                </a:path>
              </a:pathLst>
            </a:custGeom>
            <a:solidFill>
              <a:srgbClr val="000000"/>
            </a:solidFill>
            <a:ln w="12844"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E799E78C-9160-4026-B425-021B0B03073D}"/>
                </a:ext>
              </a:extLst>
            </p:cNvPr>
            <p:cNvSpPr/>
            <p:nvPr/>
          </p:nvSpPr>
          <p:spPr>
            <a:xfrm>
              <a:off x="5012751" y="4686654"/>
              <a:ext cx="47" cy="1541"/>
            </a:xfrm>
            <a:custGeom>
              <a:avLst/>
              <a:gdLst>
                <a:gd name="connsiteX0" fmla="*/ 0 w 47"/>
                <a:gd name="connsiteY0" fmla="*/ 1541 h 1541"/>
                <a:gd name="connsiteX1" fmla="*/ 0 w 47"/>
                <a:gd name="connsiteY1" fmla="*/ 0 h 1541"/>
                <a:gd name="connsiteX2" fmla="*/ 0 w 47"/>
                <a:gd name="connsiteY2" fmla="*/ 1541 h 1541"/>
              </a:gdLst>
              <a:ahLst/>
              <a:cxnLst>
                <a:cxn ang="0">
                  <a:pos x="connsiteX0" y="connsiteY0"/>
                </a:cxn>
                <a:cxn ang="0">
                  <a:pos x="connsiteX1" y="connsiteY1"/>
                </a:cxn>
                <a:cxn ang="0">
                  <a:pos x="connsiteX2" y="connsiteY2"/>
                </a:cxn>
              </a:cxnLst>
              <a:rect l="l" t="t" r="r" b="b"/>
              <a:pathLst>
                <a:path w="47" h="1541">
                  <a:moveTo>
                    <a:pt x="0" y="1541"/>
                  </a:moveTo>
                  <a:lnTo>
                    <a:pt x="0" y="0"/>
                  </a:lnTo>
                  <a:cubicBezTo>
                    <a:pt x="63" y="512"/>
                    <a:pt x="63" y="1029"/>
                    <a:pt x="0" y="1541"/>
                  </a:cubicBezTo>
                  <a:close/>
                </a:path>
              </a:pathLst>
            </a:custGeom>
            <a:solidFill>
              <a:srgbClr val="000000"/>
            </a:solidFill>
            <a:ln w="12844"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6426406C-9642-4536-AC56-FA2B1A92F3E7}"/>
                </a:ext>
              </a:extLst>
            </p:cNvPr>
            <p:cNvSpPr/>
            <p:nvPr/>
          </p:nvSpPr>
          <p:spPr>
            <a:xfrm>
              <a:off x="5011852" y="468215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941A7FE4-61C0-4BAF-A8F9-D6D28E5FB7E5}"/>
                </a:ext>
              </a:extLst>
            </p:cNvPr>
            <p:cNvSpPr/>
            <p:nvPr/>
          </p:nvSpPr>
          <p:spPr>
            <a:xfrm>
              <a:off x="5012751" y="4683956"/>
              <a:ext cx="19" cy="770"/>
            </a:xfrm>
            <a:custGeom>
              <a:avLst/>
              <a:gdLst>
                <a:gd name="connsiteX0" fmla="*/ 0 w 19"/>
                <a:gd name="connsiteY0" fmla="*/ 771 h 770"/>
                <a:gd name="connsiteX1" fmla="*/ 0 w 19"/>
                <a:gd name="connsiteY1" fmla="*/ 771 h 770"/>
                <a:gd name="connsiteX2" fmla="*/ 0 w 19"/>
                <a:gd name="connsiteY2" fmla="*/ 0 h 770"/>
                <a:gd name="connsiteX3" fmla="*/ 0 w 19"/>
                <a:gd name="connsiteY3" fmla="*/ 771 h 770"/>
              </a:gdLst>
              <a:ahLst/>
              <a:cxnLst>
                <a:cxn ang="0">
                  <a:pos x="connsiteX0" y="connsiteY0"/>
                </a:cxn>
                <a:cxn ang="0">
                  <a:pos x="connsiteX1" y="connsiteY1"/>
                </a:cxn>
                <a:cxn ang="0">
                  <a:pos x="connsiteX2" y="connsiteY2"/>
                </a:cxn>
                <a:cxn ang="0">
                  <a:pos x="connsiteX3" y="connsiteY3"/>
                </a:cxn>
              </a:cxnLst>
              <a:rect l="l" t="t" r="r" b="b"/>
              <a:pathLst>
                <a:path w="19" h="770">
                  <a:moveTo>
                    <a:pt x="0" y="771"/>
                  </a:moveTo>
                  <a:lnTo>
                    <a:pt x="0" y="771"/>
                  </a:lnTo>
                  <a:lnTo>
                    <a:pt x="0" y="0"/>
                  </a:lnTo>
                  <a:cubicBezTo>
                    <a:pt x="27" y="256"/>
                    <a:pt x="27" y="514"/>
                    <a:pt x="0" y="771"/>
                  </a:cubicBezTo>
                  <a:close/>
                </a:path>
              </a:pathLst>
            </a:custGeom>
            <a:solidFill>
              <a:srgbClr val="000000"/>
            </a:solidFill>
            <a:ln w="12844"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2DE78147-4199-4DB0-8D7B-D662CCCB0C64}"/>
                </a:ext>
              </a:extLst>
            </p:cNvPr>
            <p:cNvSpPr/>
            <p:nvPr/>
          </p:nvSpPr>
          <p:spPr>
            <a:xfrm>
              <a:off x="45547" y="4691920"/>
              <a:ext cx="90600" cy="532912"/>
            </a:xfrm>
            <a:custGeom>
              <a:avLst/>
              <a:gdLst>
                <a:gd name="connsiteX0" fmla="*/ 10966 w 90600"/>
                <a:gd name="connsiteY0" fmla="*/ 526491 h 532912"/>
                <a:gd name="connsiteX1" fmla="*/ 14177 w 90600"/>
                <a:gd name="connsiteY1" fmla="*/ 528931 h 532912"/>
                <a:gd name="connsiteX2" fmla="*/ 90601 w 90600"/>
                <a:gd name="connsiteY2" fmla="*/ 0 h 532912"/>
                <a:gd name="connsiteX3" fmla="*/ 86105 w 90600"/>
                <a:gd name="connsiteY3" fmla="*/ 1413 h 532912"/>
                <a:gd name="connsiteX4" fmla="*/ 76215 w 90600"/>
                <a:gd name="connsiteY4" fmla="*/ 4496 h 532912"/>
                <a:gd name="connsiteX5" fmla="*/ 49 w 90600"/>
                <a:gd name="connsiteY5" fmla="*/ 531757 h 532912"/>
                <a:gd name="connsiteX6" fmla="*/ 49 w 90600"/>
                <a:gd name="connsiteY6" fmla="*/ 532913 h 532912"/>
                <a:gd name="connsiteX7" fmla="*/ 1333 w 90600"/>
                <a:gd name="connsiteY7" fmla="*/ 528417 h 532912"/>
                <a:gd name="connsiteX8" fmla="*/ 10512 w 90600"/>
                <a:gd name="connsiteY8" fmla="*/ 526188 h 532912"/>
                <a:gd name="connsiteX9" fmla="*/ 10966 w 90600"/>
                <a:gd name="connsiteY9" fmla="*/ 526491 h 53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00" h="532912">
                  <a:moveTo>
                    <a:pt x="10966" y="526491"/>
                  </a:moveTo>
                  <a:lnTo>
                    <a:pt x="14177" y="528931"/>
                  </a:lnTo>
                  <a:lnTo>
                    <a:pt x="90601" y="0"/>
                  </a:lnTo>
                  <a:lnTo>
                    <a:pt x="86105" y="1413"/>
                  </a:lnTo>
                  <a:lnTo>
                    <a:pt x="76215" y="4496"/>
                  </a:lnTo>
                  <a:lnTo>
                    <a:pt x="49" y="531757"/>
                  </a:lnTo>
                  <a:cubicBezTo>
                    <a:pt x="-16" y="532139"/>
                    <a:pt x="-16" y="532530"/>
                    <a:pt x="49" y="532913"/>
                  </a:cubicBezTo>
                  <a:cubicBezTo>
                    <a:pt x="17" y="531319"/>
                    <a:pt x="465" y="529753"/>
                    <a:pt x="1333" y="528417"/>
                  </a:cubicBezTo>
                  <a:cubicBezTo>
                    <a:pt x="3252" y="525267"/>
                    <a:pt x="7361" y="524269"/>
                    <a:pt x="10512" y="526188"/>
                  </a:cubicBezTo>
                  <a:cubicBezTo>
                    <a:pt x="10667" y="526283"/>
                    <a:pt x="10819" y="526384"/>
                    <a:pt x="10966" y="526491"/>
                  </a:cubicBezTo>
                  <a:close/>
                </a:path>
              </a:pathLst>
            </a:custGeom>
            <a:solidFill>
              <a:srgbClr val="000000"/>
            </a:solidFill>
            <a:ln w="12844"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54305F97-CA98-4EE2-AA96-6FC06D83A4DC}"/>
                </a:ext>
              </a:extLst>
            </p:cNvPr>
            <p:cNvSpPr/>
            <p:nvPr/>
          </p:nvSpPr>
          <p:spPr>
            <a:xfrm>
              <a:off x="45556" y="5217132"/>
              <a:ext cx="86995" cy="66270"/>
            </a:xfrm>
            <a:custGeom>
              <a:avLst/>
              <a:gdLst>
                <a:gd name="connsiteX0" fmla="*/ 14169 w 86995"/>
                <a:gd name="connsiteY0" fmla="*/ 3719 h 66270"/>
                <a:gd name="connsiteX1" fmla="*/ 10957 w 86995"/>
                <a:gd name="connsiteY1" fmla="*/ 1278 h 66270"/>
                <a:gd name="connsiteX2" fmla="*/ 1627 w 86995"/>
                <a:gd name="connsiteY2" fmla="*/ 2750 h 66270"/>
                <a:gd name="connsiteX3" fmla="*/ 1324 w 86995"/>
                <a:gd name="connsiteY3" fmla="*/ 3205 h 66270"/>
                <a:gd name="connsiteX4" fmla="*/ 40 w 86995"/>
                <a:gd name="connsiteY4" fmla="*/ 7701 h 66270"/>
                <a:gd name="connsiteX5" fmla="*/ 40 w 86995"/>
                <a:gd name="connsiteY5" fmla="*/ 8985 h 66270"/>
                <a:gd name="connsiteX6" fmla="*/ 40 w 86995"/>
                <a:gd name="connsiteY6" fmla="*/ 10398 h 66270"/>
                <a:gd name="connsiteX7" fmla="*/ 40 w 86995"/>
                <a:gd name="connsiteY7" fmla="*/ 11554 h 66270"/>
                <a:gd name="connsiteX8" fmla="*/ 939 w 86995"/>
                <a:gd name="connsiteY8" fmla="*/ 12581 h 66270"/>
                <a:gd name="connsiteX9" fmla="*/ 939 w 86995"/>
                <a:gd name="connsiteY9" fmla="*/ 13352 h 66270"/>
                <a:gd name="connsiteX10" fmla="*/ 70170 w 86995"/>
                <a:gd name="connsiteY10" fmla="*/ 66271 h 66270"/>
                <a:gd name="connsiteX11" fmla="*/ 83785 w 86995"/>
                <a:gd name="connsiteY11" fmla="*/ 61775 h 66270"/>
                <a:gd name="connsiteX12" fmla="*/ 86996 w 86995"/>
                <a:gd name="connsiteY12" fmla="*/ 60619 h 6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995" h="66270">
                  <a:moveTo>
                    <a:pt x="14169" y="3719"/>
                  </a:moveTo>
                  <a:lnTo>
                    <a:pt x="10957" y="1278"/>
                  </a:lnTo>
                  <a:cubicBezTo>
                    <a:pt x="7974" y="-892"/>
                    <a:pt x="3797" y="-233"/>
                    <a:pt x="1627" y="2750"/>
                  </a:cubicBezTo>
                  <a:cubicBezTo>
                    <a:pt x="1520" y="2898"/>
                    <a:pt x="1419" y="3049"/>
                    <a:pt x="1324" y="3205"/>
                  </a:cubicBezTo>
                  <a:cubicBezTo>
                    <a:pt x="456" y="4541"/>
                    <a:pt x="8" y="6107"/>
                    <a:pt x="40" y="7701"/>
                  </a:cubicBezTo>
                  <a:lnTo>
                    <a:pt x="40" y="8985"/>
                  </a:lnTo>
                  <a:cubicBezTo>
                    <a:pt x="-13" y="9455"/>
                    <a:pt x="-13" y="9929"/>
                    <a:pt x="40" y="10398"/>
                  </a:cubicBezTo>
                  <a:cubicBezTo>
                    <a:pt x="-9" y="10782"/>
                    <a:pt x="-9" y="11170"/>
                    <a:pt x="40" y="11554"/>
                  </a:cubicBezTo>
                  <a:cubicBezTo>
                    <a:pt x="268" y="11952"/>
                    <a:pt x="574" y="12302"/>
                    <a:pt x="939" y="12581"/>
                  </a:cubicBezTo>
                  <a:cubicBezTo>
                    <a:pt x="952" y="12838"/>
                    <a:pt x="952" y="13095"/>
                    <a:pt x="939" y="13352"/>
                  </a:cubicBezTo>
                  <a:lnTo>
                    <a:pt x="70170" y="66271"/>
                  </a:lnTo>
                  <a:lnTo>
                    <a:pt x="83785" y="61775"/>
                  </a:lnTo>
                  <a:lnTo>
                    <a:pt x="86996" y="60619"/>
                  </a:lnTo>
                  <a:close/>
                </a:path>
              </a:pathLst>
            </a:custGeom>
            <a:solidFill>
              <a:srgbClr val="000000"/>
            </a:solidFill>
            <a:ln w="12844"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A6181BD-46E2-4EB1-8FBF-A471ED8CB3EA}"/>
                </a:ext>
              </a:extLst>
            </p:cNvPr>
            <p:cNvSpPr/>
            <p:nvPr/>
          </p:nvSpPr>
          <p:spPr>
            <a:xfrm>
              <a:off x="2483833" y="6233501"/>
              <a:ext cx="77708" cy="58441"/>
            </a:xfrm>
            <a:custGeom>
              <a:avLst/>
              <a:gdLst>
                <a:gd name="connsiteX0" fmla="*/ 2312 w 77708"/>
                <a:gd name="connsiteY0" fmla="*/ 4624 h 58441"/>
                <a:gd name="connsiteX1" fmla="*/ 0 w 77708"/>
                <a:gd name="connsiteY1" fmla="*/ 15670 h 58441"/>
                <a:gd name="connsiteX2" fmla="*/ 58698 w 77708"/>
                <a:gd name="connsiteY2" fmla="*/ 58442 h 58441"/>
                <a:gd name="connsiteX3" fmla="*/ 71543 w 77708"/>
                <a:gd name="connsiteY3" fmla="*/ 53304 h 58441"/>
                <a:gd name="connsiteX4" fmla="*/ 71543 w 77708"/>
                <a:gd name="connsiteY4" fmla="*/ 53304 h 58441"/>
                <a:gd name="connsiteX5" fmla="*/ 72956 w 77708"/>
                <a:gd name="connsiteY5" fmla="*/ 53304 h 58441"/>
                <a:gd name="connsiteX6" fmla="*/ 74625 w 77708"/>
                <a:gd name="connsiteY6" fmla="*/ 53304 h 58441"/>
                <a:gd name="connsiteX7" fmla="*/ 75396 w 77708"/>
                <a:gd name="connsiteY7" fmla="*/ 53304 h 58441"/>
                <a:gd name="connsiteX8" fmla="*/ 76681 w 77708"/>
                <a:gd name="connsiteY8" fmla="*/ 53947 h 58441"/>
                <a:gd name="connsiteX9" fmla="*/ 77708 w 77708"/>
                <a:gd name="connsiteY9" fmla="*/ 54717 h 58441"/>
                <a:gd name="connsiteX10" fmla="*/ 77708 w 77708"/>
                <a:gd name="connsiteY10" fmla="*/ 54717 h 58441"/>
                <a:gd name="connsiteX11" fmla="*/ 77066 w 77708"/>
                <a:gd name="connsiteY11" fmla="*/ 54075 h 58441"/>
                <a:gd name="connsiteX12" fmla="*/ 2826 w 77708"/>
                <a:gd name="connsiteY12" fmla="*/ 0 h 5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708" h="58441">
                  <a:moveTo>
                    <a:pt x="2312" y="4624"/>
                  </a:moveTo>
                  <a:lnTo>
                    <a:pt x="0" y="15670"/>
                  </a:lnTo>
                  <a:lnTo>
                    <a:pt x="58698" y="58442"/>
                  </a:lnTo>
                  <a:lnTo>
                    <a:pt x="71543" y="53304"/>
                  </a:lnTo>
                  <a:lnTo>
                    <a:pt x="71543" y="53304"/>
                  </a:lnTo>
                  <a:lnTo>
                    <a:pt x="72956" y="53304"/>
                  </a:lnTo>
                  <a:lnTo>
                    <a:pt x="74625" y="53304"/>
                  </a:lnTo>
                  <a:lnTo>
                    <a:pt x="75396" y="53304"/>
                  </a:lnTo>
                  <a:lnTo>
                    <a:pt x="76681" y="53947"/>
                  </a:lnTo>
                  <a:cubicBezTo>
                    <a:pt x="77097" y="54087"/>
                    <a:pt x="77457" y="54357"/>
                    <a:pt x="77708" y="54717"/>
                  </a:cubicBezTo>
                  <a:lnTo>
                    <a:pt x="77708" y="54717"/>
                  </a:lnTo>
                  <a:cubicBezTo>
                    <a:pt x="77708" y="54717"/>
                    <a:pt x="77708" y="54717"/>
                    <a:pt x="77066" y="54075"/>
                  </a:cubicBezTo>
                  <a:lnTo>
                    <a:pt x="2826" y="0"/>
                  </a:lnTo>
                  <a:close/>
                </a:path>
              </a:pathLst>
            </a:custGeom>
            <a:solidFill>
              <a:srgbClr val="000000"/>
            </a:solidFill>
            <a:ln w="12844"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CD32C83-F908-4CFB-8A55-2528041EAE7A}"/>
                </a:ext>
              </a:extLst>
            </p:cNvPr>
            <p:cNvSpPr/>
            <p:nvPr/>
          </p:nvSpPr>
          <p:spPr>
            <a:xfrm>
              <a:off x="2563596" y="6289374"/>
              <a:ext cx="12844" cy="1027"/>
            </a:xfrm>
            <a:custGeom>
              <a:avLst/>
              <a:gdLst>
                <a:gd name="connsiteX0" fmla="*/ 0 w 12844"/>
                <a:gd name="connsiteY0" fmla="*/ 1027 h 1027"/>
                <a:gd name="connsiteX1" fmla="*/ 0 w 12844"/>
                <a:gd name="connsiteY1" fmla="*/ 0 h 1027"/>
                <a:gd name="connsiteX2" fmla="*/ 0 w 12844"/>
                <a:gd name="connsiteY2" fmla="*/ 899 h 1027"/>
              </a:gdLst>
              <a:ahLst/>
              <a:cxnLst>
                <a:cxn ang="0">
                  <a:pos x="connsiteX0" y="connsiteY0"/>
                </a:cxn>
                <a:cxn ang="0">
                  <a:pos x="connsiteX1" y="connsiteY1"/>
                </a:cxn>
                <a:cxn ang="0">
                  <a:pos x="connsiteX2" y="connsiteY2"/>
                </a:cxn>
              </a:cxnLst>
              <a:rect l="l" t="t" r="r" b="b"/>
              <a:pathLst>
                <a:path w="12844" h="1027">
                  <a:moveTo>
                    <a:pt x="0" y="1027"/>
                  </a:moveTo>
                  <a:lnTo>
                    <a:pt x="0" y="0"/>
                  </a:lnTo>
                  <a:cubicBezTo>
                    <a:pt x="0" y="0"/>
                    <a:pt x="0" y="0"/>
                    <a:pt x="0" y="899"/>
                  </a:cubicBezTo>
                  <a:close/>
                </a:path>
              </a:pathLst>
            </a:custGeom>
            <a:solidFill>
              <a:srgbClr val="000000"/>
            </a:solidFill>
            <a:ln w="12844"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66BCB043-46F6-4FEF-ABC1-C3F51D091F10}"/>
                </a:ext>
              </a:extLst>
            </p:cNvPr>
            <p:cNvSpPr/>
            <p:nvPr/>
          </p:nvSpPr>
          <p:spPr>
            <a:xfrm>
              <a:off x="2564110" y="6292714"/>
              <a:ext cx="12844" cy="1027"/>
            </a:xfrm>
            <a:custGeom>
              <a:avLst/>
              <a:gdLst>
                <a:gd name="connsiteX0" fmla="*/ 0 w 12844"/>
                <a:gd name="connsiteY0" fmla="*/ 1027 h 1027"/>
                <a:gd name="connsiteX1" fmla="*/ 0 w 12844"/>
                <a:gd name="connsiteY1" fmla="*/ 0 h 1027"/>
                <a:gd name="connsiteX2" fmla="*/ 0 w 12844"/>
                <a:gd name="connsiteY2" fmla="*/ 899 h 1027"/>
              </a:gdLst>
              <a:ahLst/>
              <a:cxnLst>
                <a:cxn ang="0">
                  <a:pos x="connsiteX0" y="connsiteY0"/>
                </a:cxn>
                <a:cxn ang="0">
                  <a:pos x="connsiteX1" y="connsiteY1"/>
                </a:cxn>
                <a:cxn ang="0">
                  <a:pos x="connsiteX2" y="connsiteY2"/>
                </a:cxn>
              </a:cxnLst>
              <a:rect l="l" t="t" r="r" b="b"/>
              <a:pathLst>
                <a:path w="12844" h="1027">
                  <a:moveTo>
                    <a:pt x="0" y="1027"/>
                  </a:moveTo>
                  <a:cubicBezTo>
                    <a:pt x="0" y="1027"/>
                    <a:pt x="0" y="257"/>
                    <a:pt x="0" y="0"/>
                  </a:cubicBezTo>
                  <a:lnTo>
                    <a:pt x="0" y="899"/>
                  </a:lnTo>
                  <a:close/>
                </a:path>
              </a:pathLst>
            </a:custGeom>
            <a:solidFill>
              <a:srgbClr val="000000"/>
            </a:solidFill>
            <a:ln w="12844"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5B6BB1C-4F8B-4200-85D7-FA4D327F2520}"/>
                </a:ext>
              </a:extLst>
            </p:cNvPr>
            <p:cNvSpPr/>
            <p:nvPr/>
          </p:nvSpPr>
          <p:spPr>
            <a:xfrm>
              <a:off x="2563211" y="6289374"/>
              <a:ext cx="642" cy="1284"/>
            </a:xfrm>
            <a:custGeom>
              <a:avLst/>
              <a:gdLst>
                <a:gd name="connsiteX0" fmla="*/ 0 w 642"/>
                <a:gd name="connsiteY0" fmla="*/ 0 h 1284"/>
                <a:gd name="connsiteX1" fmla="*/ 0 w 642"/>
                <a:gd name="connsiteY1" fmla="*/ 0 h 1284"/>
                <a:gd name="connsiteX2" fmla="*/ 642 w 642"/>
                <a:gd name="connsiteY2" fmla="*/ 1285 h 1284"/>
                <a:gd name="connsiteX3" fmla="*/ 0 w 642"/>
                <a:gd name="connsiteY3" fmla="*/ 0 h 1284"/>
              </a:gdLst>
              <a:ahLst/>
              <a:cxnLst>
                <a:cxn ang="0">
                  <a:pos x="connsiteX0" y="connsiteY0"/>
                </a:cxn>
                <a:cxn ang="0">
                  <a:pos x="connsiteX1" y="connsiteY1"/>
                </a:cxn>
                <a:cxn ang="0">
                  <a:pos x="connsiteX2" y="connsiteY2"/>
                </a:cxn>
                <a:cxn ang="0">
                  <a:pos x="connsiteX3" y="connsiteY3"/>
                </a:cxn>
              </a:cxnLst>
              <a:rect l="l" t="t" r="r" b="b"/>
              <a:pathLst>
                <a:path w="642" h="1284">
                  <a:moveTo>
                    <a:pt x="0" y="0"/>
                  </a:moveTo>
                  <a:lnTo>
                    <a:pt x="0" y="0"/>
                  </a:lnTo>
                  <a:cubicBezTo>
                    <a:pt x="290" y="386"/>
                    <a:pt x="508" y="821"/>
                    <a:pt x="642" y="1285"/>
                  </a:cubicBezTo>
                  <a:cubicBezTo>
                    <a:pt x="642" y="1285"/>
                    <a:pt x="129" y="257"/>
                    <a:pt x="0" y="0"/>
                  </a:cubicBezTo>
                  <a:close/>
                </a:path>
              </a:pathLst>
            </a:custGeom>
            <a:solidFill>
              <a:srgbClr val="000000"/>
            </a:solidFill>
            <a:ln w="12844"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939D2F6C-AC47-4D3B-A74A-13F8E965D8D8}"/>
                </a:ext>
              </a:extLst>
            </p:cNvPr>
            <p:cNvSpPr/>
            <p:nvPr/>
          </p:nvSpPr>
          <p:spPr>
            <a:xfrm>
              <a:off x="2558459" y="6286420"/>
              <a:ext cx="1155" cy="12844"/>
            </a:xfrm>
            <a:custGeom>
              <a:avLst/>
              <a:gdLst>
                <a:gd name="connsiteX0" fmla="*/ 0 w 1155"/>
                <a:gd name="connsiteY0" fmla="*/ 0 h 12844"/>
                <a:gd name="connsiteX1" fmla="*/ 1156 w 1155"/>
                <a:gd name="connsiteY1" fmla="*/ 0 h 12844"/>
                <a:gd name="connsiteX2" fmla="*/ 385 w 1155"/>
                <a:gd name="connsiteY2" fmla="*/ 0 h 12844"/>
              </a:gdLst>
              <a:ahLst/>
              <a:cxnLst>
                <a:cxn ang="0">
                  <a:pos x="connsiteX0" y="connsiteY0"/>
                </a:cxn>
                <a:cxn ang="0">
                  <a:pos x="connsiteX1" y="connsiteY1"/>
                </a:cxn>
                <a:cxn ang="0">
                  <a:pos x="connsiteX2" y="connsiteY2"/>
                </a:cxn>
              </a:cxnLst>
              <a:rect l="l" t="t" r="r" b="b"/>
              <a:pathLst>
                <a:path w="1155" h="12844">
                  <a:moveTo>
                    <a:pt x="0" y="0"/>
                  </a:moveTo>
                  <a:lnTo>
                    <a:pt x="1156" y="0"/>
                  </a:lnTo>
                  <a:lnTo>
                    <a:pt x="385" y="0"/>
                  </a:lnTo>
                  <a:close/>
                </a:path>
              </a:pathLst>
            </a:custGeom>
            <a:solidFill>
              <a:srgbClr val="000000"/>
            </a:solidFill>
            <a:ln w="12844"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E8B8FBD-FC00-4313-B537-7FAF98D0DA64}"/>
                </a:ext>
              </a:extLst>
            </p:cNvPr>
            <p:cNvSpPr/>
            <p:nvPr/>
          </p:nvSpPr>
          <p:spPr>
            <a:xfrm>
              <a:off x="2416401" y="6295026"/>
              <a:ext cx="147581" cy="640934"/>
            </a:xfrm>
            <a:custGeom>
              <a:avLst/>
              <a:gdLst>
                <a:gd name="connsiteX0" fmla="*/ 147581 w 147581"/>
                <a:gd name="connsiteY0" fmla="*/ 0 h 640934"/>
                <a:gd name="connsiteX1" fmla="*/ 147581 w 147581"/>
                <a:gd name="connsiteY1" fmla="*/ 0 h 640934"/>
                <a:gd name="connsiteX2" fmla="*/ 147581 w 147581"/>
                <a:gd name="connsiteY2" fmla="*/ 0 h 640934"/>
                <a:gd name="connsiteX3" fmla="*/ 142957 w 147581"/>
                <a:gd name="connsiteY3" fmla="*/ 6037 h 640934"/>
                <a:gd name="connsiteX4" fmla="*/ 131526 w 147581"/>
                <a:gd name="connsiteY4" fmla="*/ 10661 h 640934"/>
                <a:gd name="connsiteX5" fmla="*/ 0 w 147581"/>
                <a:gd name="connsiteY5" fmla="*/ 640934 h 640934"/>
                <a:gd name="connsiteX6" fmla="*/ 13743 w 147581"/>
                <a:gd name="connsiteY6" fmla="*/ 640934 h 640934"/>
                <a:gd name="connsiteX7" fmla="*/ 145398 w 147581"/>
                <a:gd name="connsiteY7" fmla="*/ 11560 h 64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581" h="640934">
                  <a:moveTo>
                    <a:pt x="147581" y="0"/>
                  </a:moveTo>
                  <a:lnTo>
                    <a:pt x="147581" y="0"/>
                  </a:lnTo>
                  <a:cubicBezTo>
                    <a:pt x="147581" y="0"/>
                    <a:pt x="147581" y="0"/>
                    <a:pt x="147581" y="0"/>
                  </a:cubicBezTo>
                  <a:cubicBezTo>
                    <a:pt x="147185" y="2676"/>
                    <a:pt x="145437" y="4957"/>
                    <a:pt x="142957" y="6037"/>
                  </a:cubicBezTo>
                  <a:lnTo>
                    <a:pt x="131526" y="10661"/>
                  </a:lnTo>
                  <a:lnTo>
                    <a:pt x="0" y="640934"/>
                  </a:lnTo>
                  <a:lnTo>
                    <a:pt x="13743" y="640934"/>
                  </a:lnTo>
                  <a:lnTo>
                    <a:pt x="145398" y="11560"/>
                  </a:lnTo>
                  <a:close/>
                </a:path>
              </a:pathLst>
            </a:custGeom>
            <a:solidFill>
              <a:srgbClr val="000000"/>
            </a:solidFill>
            <a:ln w="12844"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6690BCEC-5016-43D4-AAD8-2C18C6126C6F}"/>
                </a:ext>
              </a:extLst>
            </p:cNvPr>
            <p:cNvSpPr/>
            <p:nvPr/>
          </p:nvSpPr>
          <p:spPr>
            <a:xfrm>
              <a:off x="2564110" y="6291429"/>
              <a:ext cx="47" cy="1541"/>
            </a:xfrm>
            <a:custGeom>
              <a:avLst/>
              <a:gdLst>
                <a:gd name="connsiteX0" fmla="*/ 0 w 47"/>
                <a:gd name="connsiteY0" fmla="*/ 642 h 1541"/>
                <a:gd name="connsiteX1" fmla="*/ 0 w 47"/>
                <a:gd name="connsiteY1" fmla="*/ 0 h 1541"/>
                <a:gd name="connsiteX2" fmla="*/ 0 w 47"/>
                <a:gd name="connsiteY2" fmla="*/ 1541 h 1541"/>
              </a:gdLst>
              <a:ahLst/>
              <a:cxnLst>
                <a:cxn ang="0">
                  <a:pos x="connsiteX0" y="connsiteY0"/>
                </a:cxn>
                <a:cxn ang="0">
                  <a:pos x="connsiteX1" y="connsiteY1"/>
                </a:cxn>
                <a:cxn ang="0">
                  <a:pos x="connsiteX2" y="connsiteY2"/>
                </a:cxn>
              </a:cxnLst>
              <a:rect l="l" t="t" r="r" b="b"/>
              <a:pathLst>
                <a:path w="47" h="1541">
                  <a:moveTo>
                    <a:pt x="0" y="642"/>
                  </a:moveTo>
                  <a:cubicBezTo>
                    <a:pt x="0" y="642"/>
                    <a:pt x="0" y="642"/>
                    <a:pt x="0" y="0"/>
                  </a:cubicBezTo>
                  <a:cubicBezTo>
                    <a:pt x="63" y="512"/>
                    <a:pt x="63" y="1029"/>
                    <a:pt x="0" y="1541"/>
                  </a:cubicBezTo>
                  <a:close/>
                </a:path>
              </a:pathLst>
            </a:custGeom>
            <a:solidFill>
              <a:srgbClr val="000000"/>
            </a:solidFill>
            <a:ln w="12844"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98DF44C4-62A1-40D8-AB99-7FA414E5AA45}"/>
                </a:ext>
              </a:extLst>
            </p:cNvPr>
            <p:cNvSpPr/>
            <p:nvPr/>
          </p:nvSpPr>
          <p:spPr>
            <a:xfrm>
              <a:off x="2466622" y="6287190"/>
              <a:ext cx="98644" cy="51377"/>
            </a:xfrm>
            <a:custGeom>
              <a:avLst/>
              <a:gdLst>
                <a:gd name="connsiteX0" fmla="*/ 97489 w 98644"/>
                <a:gd name="connsiteY0" fmla="*/ 5780 h 51377"/>
                <a:gd name="connsiteX1" fmla="*/ 97489 w 98644"/>
                <a:gd name="connsiteY1" fmla="*/ 4239 h 51377"/>
                <a:gd name="connsiteX2" fmla="*/ 97489 w 98644"/>
                <a:gd name="connsiteY2" fmla="*/ 4239 h 51377"/>
                <a:gd name="connsiteX3" fmla="*/ 97489 w 98644"/>
                <a:gd name="connsiteY3" fmla="*/ 3596 h 51377"/>
                <a:gd name="connsiteX4" fmla="*/ 97489 w 98644"/>
                <a:gd name="connsiteY4" fmla="*/ 3596 h 51377"/>
                <a:gd name="connsiteX5" fmla="*/ 96846 w 98644"/>
                <a:gd name="connsiteY5" fmla="*/ 2312 h 51377"/>
                <a:gd name="connsiteX6" fmla="*/ 96076 w 98644"/>
                <a:gd name="connsiteY6" fmla="*/ 1413 h 51377"/>
                <a:gd name="connsiteX7" fmla="*/ 96076 w 98644"/>
                <a:gd name="connsiteY7" fmla="*/ 1413 h 51377"/>
                <a:gd name="connsiteX8" fmla="*/ 95048 w 98644"/>
                <a:gd name="connsiteY8" fmla="*/ 642 h 51377"/>
                <a:gd name="connsiteX9" fmla="*/ 93764 w 98644"/>
                <a:gd name="connsiteY9" fmla="*/ 0 h 51377"/>
                <a:gd name="connsiteX10" fmla="*/ 92608 w 98644"/>
                <a:gd name="connsiteY10" fmla="*/ 0 h 51377"/>
                <a:gd name="connsiteX11" fmla="*/ 91323 w 98644"/>
                <a:gd name="connsiteY11" fmla="*/ 0 h 51377"/>
                <a:gd name="connsiteX12" fmla="*/ 89910 w 98644"/>
                <a:gd name="connsiteY12" fmla="*/ 0 h 51377"/>
                <a:gd name="connsiteX13" fmla="*/ 89910 w 98644"/>
                <a:gd name="connsiteY13" fmla="*/ 0 h 51377"/>
                <a:gd name="connsiteX14" fmla="*/ 77066 w 98644"/>
                <a:gd name="connsiteY14" fmla="*/ 5138 h 51377"/>
                <a:gd name="connsiteX15" fmla="*/ 3468 w 98644"/>
                <a:gd name="connsiteY15" fmla="*/ 34423 h 51377"/>
                <a:gd name="connsiteX16" fmla="*/ 899 w 98644"/>
                <a:gd name="connsiteY16" fmla="*/ 47268 h 51377"/>
                <a:gd name="connsiteX17" fmla="*/ 0 w 98644"/>
                <a:gd name="connsiteY17" fmla="*/ 51377 h 51377"/>
                <a:gd name="connsiteX18" fmla="*/ 82589 w 98644"/>
                <a:gd name="connsiteY18" fmla="*/ 18496 h 51377"/>
                <a:gd name="connsiteX19" fmla="*/ 94021 w 98644"/>
                <a:gd name="connsiteY19" fmla="*/ 13872 h 51377"/>
                <a:gd name="connsiteX20" fmla="*/ 98644 w 98644"/>
                <a:gd name="connsiteY20" fmla="*/ 7835 h 51377"/>
                <a:gd name="connsiteX21" fmla="*/ 98644 w 98644"/>
                <a:gd name="connsiteY21" fmla="*/ 6551 h 51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644" h="51377">
                  <a:moveTo>
                    <a:pt x="97489" y="5780"/>
                  </a:moveTo>
                  <a:cubicBezTo>
                    <a:pt x="97552" y="5268"/>
                    <a:pt x="97552" y="4751"/>
                    <a:pt x="97489" y="4239"/>
                  </a:cubicBezTo>
                  <a:lnTo>
                    <a:pt x="97489" y="4239"/>
                  </a:lnTo>
                  <a:cubicBezTo>
                    <a:pt x="97489" y="4239"/>
                    <a:pt x="97489" y="4239"/>
                    <a:pt x="97489" y="3596"/>
                  </a:cubicBezTo>
                  <a:lnTo>
                    <a:pt x="97489" y="3596"/>
                  </a:lnTo>
                  <a:cubicBezTo>
                    <a:pt x="97354" y="3133"/>
                    <a:pt x="97137" y="2698"/>
                    <a:pt x="96846" y="2312"/>
                  </a:cubicBezTo>
                  <a:lnTo>
                    <a:pt x="96076" y="1413"/>
                  </a:lnTo>
                  <a:lnTo>
                    <a:pt x="96076" y="1413"/>
                  </a:lnTo>
                  <a:cubicBezTo>
                    <a:pt x="95824" y="1053"/>
                    <a:pt x="95464" y="783"/>
                    <a:pt x="95048" y="642"/>
                  </a:cubicBezTo>
                  <a:lnTo>
                    <a:pt x="93764" y="0"/>
                  </a:lnTo>
                  <a:lnTo>
                    <a:pt x="92608" y="0"/>
                  </a:lnTo>
                  <a:lnTo>
                    <a:pt x="91323" y="0"/>
                  </a:lnTo>
                  <a:lnTo>
                    <a:pt x="89910" y="0"/>
                  </a:lnTo>
                  <a:lnTo>
                    <a:pt x="89910" y="0"/>
                  </a:lnTo>
                  <a:lnTo>
                    <a:pt x="77066" y="5138"/>
                  </a:lnTo>
                  <a:lnTo>
                    <a:pt x="3468" y="34423"/>
                  </a:lnTo>
                  <a:lnTo>
                    <a:pt x="899" y="47268"/>
                  </a:lnTo>
                  <a:lnTo>
                    <a:pt x="0" y="51377"/>
                  </a:lnTo>
                  <a:lnTo>
                    <a:pt x="82589" y="18496"/>
                  </a:lnTo>
                  <a:lnTo>
                    <a:pt x="94021" y="13872"/>
                  </a:lnTo>
                  <a:cubicBezTo>
                    <a:pt x="96501" y="12793"/>
                    <a:pt x="98248" y="10511"/>
                    <a:pt x="98644" y="7835"/>
                  </a:cubicBezTo>
                  <a:lnTo>
                    <a:pt x="98644" y="6551"/>
                  </a:lnTo>
                  <a:close/>
                </a:path>
              </a:pathLst>
            </a:custGeom>
            <a:solidFill>
              <a:srgbClr val="000000"/>
            </a:solidFill>
            <a:ln w="12844"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24796207-B447-4C4F-94DE-09EF8234AE96}"/>
                </a:ext>
              </a:extLst>
            </p:cNvPr>
            <p:cNvSpPr/>
            <p:nvPr/>
          </p:nvSpPr>
          <p:spPr>
            <a:xfrm>
              <a:off x="250077" y="6217317"/>
              <a:ext cx="77836" cy="423864"/>
            </a:xfrm>
            <a:custGeom>
              <a:avLst/>
              <a:gdLst>
                <a:gd name="connsiteX0" fmla="*/ 13615 w 77836"/>
                <a:gd name="connsiteY0" fmla="*/ 417956 h 423864"/>
                <a:gd name="connsiteX1" fmla="*/ 77837 w 77836"/>
                <a:gd name="connsiteY1" fmla="*/ 1798 h 423864"/>
                <a:gd name="connsiteX2" fmla="*/ 73726 w 77836"/>
                <a:gd name="connsiteY2" fmla="*/ 3340 h 423864"/>
                <a:gd name="connsiteX3" fmla="*/ 71029 w 77836"/>
                <a:gd name="connsiteY3" fmla="*/ 3340 h 423864"/>
                <a:gd name="connsiteX4" fmla="*/ 70002 w 77836"/>
                <a:gd name="connsiteY4" fmla="*/ 3340 h 423864"/>
                <a:gd name="connsiteX5" fmla="*/ 68589 w 77836"/>
                <a:gd name="connsiteY5" fmla="*/ 2569 h 423864"/>
                <a:gd name="connsiteX6" fmla="*/ 68589 w 77836"/>
                <a:gd name="connsiteY6" fmla="*/ 2569 h 423864"/>
                <a:gd name="connsiteX7" fmla="*/ 65378 w 77836"/>
                <a:gd name="connsiteY7" fmla="*/ 0 h 423864"/>
                <a:gd name="connsiteX8" fmla="*/ 0 w 77836"/>
                <a:gd name="connsiteY8" fmla="*/ 423864 h 423864"/>
                <a:gd name="connsiteX9" fmla="*/ 4110 w 77836"/>
                <a:gd name="connsiteY9" fmla="*/ 422323 h 42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36" h="423864">
                  <a:moveTo>
                    <a:pt x="13615" y="417956"/>
                  </a:moveTo>
                  <a:lnTo>
                    <a:pt x="77837" y="1798"/>
                  </a:lnTo>
                  <a:lnTo>
                    <a:pt x="73726" y="3340"/>
                  </a:lnTo>
                  <a:lnTo>
                    <a:pt x="71029" y="3340"/>
                  </a:lnTo>
                  <a:lnTo>
                    <a:pt x="70002" y="3340"/>
                  </a:lnTo>
                  <a:lnTo>
                    <a:pt x="68589" y="2569"/>
                  </a:lnTo>
                  <a:lnTo>
                    <a:pt x="68589" y="2569"/>
                  </a:lnTo>
                  <a:lnTo>
                    <a:pt x="65378" y="0"/>
                  </a:lnTo>
                  <a:lnTo>
                    <a:pt x="0" y="423864"/>
                  </a:lnTo>
                  <a:lnTo>
                    <a:pt x="4110" y="422323"/>
                  </a:lnTo>
                  <a:close/>
                </a:path>
              </a:pathLst>
            </a:custGeom>
            <a:solidFill>
              <a:srgbClr val="000000"/>
            </a:solidFill>
            <a:ln w="12844"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AAAC677-1A35-4DFA-A393-AE2B3487FBCD}"/>
                </a:ext>
              </a:extLst>
            </p:cNvPr>
            <p:cNvSpPr/>
            <p:nvPr/>
          </p:nvSpPr>
          <p:spPr>
            <a:xfrm>
              <a:off x="189709" y="6664430"/>
              <a:ext cx="12844" cy="12844"/>
            </a:xfrm>
            <a:custGeom>
              <a:avLst/>
              <a:gdLst>
                <a:gd name="connsiteX0" fmla="*/ 0 w 12844"/>
                <a:gd name="connsiteY0" fmla="*/ 0 h 12844"/>
                <a:gd name="connsiteX1" fmla="*/ 0 w 12844"/>
                <a:gd name="connsiteY1" fmla="*/ 0 h 12844"/>
                <a:gd name="connsiteX2" fmla="*/ 0 w 12844"/>
                <a:gd name="connsiteY2" fmla="*/ 0 h 12844"/>
                <a:gd name="connsiteX3" fmla="*/ 0 w 12844"/>
                <a:gd name="connsiteY3" fmla="*/ 0 h 12844"/>
              </a:gdLst>
              <a:ahLst/>
              <a:cxnLst>
                <a:cxn ang="0">
                  <a:pos x="connsiteX0" y="connsiteY0"/>
                </a:cxn>
                <a:cxn ang="0">
                  <a:pos x="connsiteX1" y="connsiteY1"/>
                </a:cxn>
                <a:cxn ang="0">
                  <a:pos x="connsiteX2" y="connsiteY2"/>
                </a:cxn>
                <a:cxn ang="0">
                  <a:pos x="connsiteX3" y="connsiteY3"/>
                </a:cxn>
              </a:cxnLst>
              <a:rect l="l" t="t" r="r" b="b"/>
              <a:pathLst>
                <a:path w="12844" h="12844">
                  <a:moveTo>
                    <a:pt x="0" y="0"/>
                  </a:moveTo>
                  <a:lnTo>
                    <a:pt x="0" y="0"/>
                  </a:ln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6D40AE6-FB35-4051-B55E-3AD5FECFDFFF}"/>
                </a:ext>
              </a:extLst>
            </p:cNvPr>
            <p:cNvSpPr/>
            <p:nvPr/>
          </p:nvSpPr>
          <p:spPr>
            <a:xfrm>
              <a:off x="188100" y="6666870"/>
              <a:ext cx="196" cy="1027"/>
            </a:xfrm>
            <a:custGeom>
              <a:avLst/>
              <a:gdLst>
                <a:gd name="connsiteX0" fmla="*/ 196 w 196"/>
                <a:gd name="connsiteY0" fmla="*/ 0 h 1027"/>
                <a:gd name="connsiteX1" fmla="*/ 196 w 196"/>
                <a:gd name="connsiteY1" fmla="*/ 1028 h 1027"/>
                <a:gd name="connsiteX2" fmla="*/ 196 w 196"/>
                <a:gd name="connsiteY2" fmla="*/ 1028 h 1027"/>
                <a:gd name="connsiteX3" fmla="*/ 196 w 196"/>
                <a:gd name="connsiteY3" fmla="*/ 0 h 1027"/>
              </a:gdLst>
              <a:ahLst/>
              <a:cxnLst>
                <a:cxn ang="0">
                  <a:pos x="connsiteX0" y="connsiteY0"/>
                </a:cxn>
                <a:cxn ang="0">
                  <a:pos x="connsiteX1" y="connsiteY1"/>
                </a:cxn>
                <a:cxn ang="0">
                  <a:pos x="connsiteX2" y="connsiteY2"/>
                </a:cxn>
                <a:cxn ang="0">
                  <a:pos x="connsiteX3" y="connsiteY3"/>
                </a:cxn>
              </a:cxnLst>
              <a:rect l="l" t="t" r="r" b="b"/>
              <a:pathLst>
                <a:path w="196" h="1027">
                  <a:moveTo>
                    <a:pt x="196" y="0"/>
                  </a:moveTo>
                  <a:lnTo>
                    <a:pt x="196" y="1028"/>
                  </a:lnTo>
                  <a:lnTo>
                    <a:pt x="196" y="1028"/>
                  </a:lnTo>
                  <a:cubicBezTo>
                    <a:pt x="-65" y="735"/>
                    <a:pt x="-65" y="292"/>
                    <a:pt x="196" y="0"/>
                  </a:cubicBezTo>
                  <a:close/>
                </a:path>
              </a:pathLst>
            </a:custGeom>
            <a:solidFill>
              <a:srgbClr val="000000"/>
            </a:solidFill>
            <a:ln w="12844"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B74A6F86-F604-424A-A965-069B8AF09256}"/>
                </a:ext>
              </a:extLst>
            </p:cNvPr>
            <p:cNvSpPr/>
            <p:nvPr/>
          </p:nvSpPr>
          <p:spPr>
            <a:xfrm>
              <a:off x="191764" y="6662631"/>
              <a:ext cx="899" cy="12844"/>
            </a:xfrm>
            <a:custGeom>
              <a:avLst/>
              <a:gdLst>
                <a:gd name="connsiteX0" fmla="*/ 899 w 899"/>
                <a:gd name="connsiteY0" fmla="*/ 0 h 12844"/>
                <a:gd name="connsiteX1" fmla="*/ 0 w 899"/>
                <a:gd name="connsiteY1" fmla="*/ 0 h 12844"/>
                <a:gd name="connsiteX2" fmla="*/ 0 w 899"/>
                <a:gd name="connsiteY2" fmla="*/ 0 h 12844"/>
              </a:gdLst>
              <a:ahLst/>
              <a:cxnLst>
                <a:cxn ang="0">
                  <a:pos x="connsiteX0" y="connsiteY0"/>
                </a:cxn>
                <a:cxn ang="0">
                  <a:pos x="connsiteX1" y="connsiteY1"/>
                </a:cxn>
                <a:cxn ang="0">
                  <a:pos x="connsiteX2" y="connsiteY2"/>
                </a:cxn>
              </a:cxnLst>
              <a:rect l="l" t="t" r="r" b="b"/>
              <a:pathLst>
                <a:path w="899" h="12844">
                  <a:moveTo>
                    <a:pt x="899"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62AFCBCC-7D28-4B93-AE27-26C26DCA208A}"/>
                </a:ext>
              </a:extLst>
            </p:cNvPr>
            <p:cNvSpPr/>
            <p:nvPr/>
          </p:nvSpPr>
          <p:spPr>
            <a:xfrm>
              <a:off x="199342" y="6671366"/>
              <a:ext cx="328429" cy="264593"/>
            </a:xfrm>
            <a:custGeom>
              <a:avLst/>
              <a:gdLst>
                <a:gd name="connsiteX0" fmla="*/ 1284 w 328429"/>
                <a:gd name="connsiteY0" fmla="*/ 3083 h 264593"/>
                <a:gd name="connsiteX1" fmla="*/ 0 w 328429"/>
                <a:gd name="connsiteY1" fmla="*/ 11303 h 264593"/>
                <a:gd name="connsiteX2" fmla="*/ 305438 w 328429"/>
                <a:gd name="connsiteY2" fmla="*/ 264594 h 264593"/>
                <a:gd name="connsiteX3" fmla="*/ 328429 w 328429"/>
                <a:gd name="connsiteY3" fmla="*/ 264594 h 264593"/>
                <a:gd name="connsiteX4" fmla="*/ 9376 w 328429"/>
                <a:gd name="connsiteY4" fmla="*/ 0 h 264593"/>
                <a:gd name="connsiteX5" fmla="*/ 1284 w 328429"/>
                <a:gd name="connsiteY5" fmla="*/ 3083 h 26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429" h="264593">
                  <a:moveTo>
                    <a:pt x="1284" y="3083"/>
                  </a:moveTo>
                  <a:lnTo>
                    <a:pt x="0" y="11303"/>
                  </a:lnTo>
                  <a:lnTo>
                    <a:pt x="305438" y="264594"/>
                  </a:lnTo>
                  <a:lnTo>
                    <a:pt x="328429" y="264594"/>
                  </a:lnTo>
                  <a:lnTo>
                    <a:pt x="9376" y="0"/>
                  </a:lnTo>
                  <a:lnTo>
                    <a:pt x="1284" y="3083"/>
                  </a:lnTo>
                  <a:close/>
                </a:path>
              </a:pathLst>
            </a:custGeom>
            <a:solidFill>
              <a:srgbClr val="000000"/>
            </a:solidFill>
            <a:ln w="12844"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B41E86FC-4AF6-40B4-A832-8D026E8B8313}"/>
                </a:ext>
              </a:extLst>
            </p:cNvPr>
            <p:cNvSpPr/>
            <p:nvPr/>
          </p:nvSpPr>
          <p:spPr>
            <a:xfrm>
              <a:off x="146809" y="6667383"/>
              <a:ext cx="53817" cy="268576"/>
            </a:xfrm>
            <a:custGeom>
              <a:avLst/>
              <a:gdLst>
                <a:gd name="connsiteX0" fmla="*/ 53818 w 53817"/>
                <a:gd name="connsiteY0" fmla="*/ 7065 h 268576"/>
                <a:gd name="connsiteX1" fmla="*/ 49708 w 53817"/>
                <a:gd name="connsiteY1" fmla="*/ 8606 h 268576"/>
                <a:gd name="connsiteX2" fmla="*/ 41515 w 53817"/>
                <a:gd name="connsiteY2" fmla="*/ 5128 h 268576"/>
                <a:gd name="connsiteX3" fmla="*/ 41230 w 53817"/>
                <a:gd name="connsiteY3" fmla="*/ 4239 h 268576"/>
                <a:gd name="connsiteX4" fmla="*/ 41230 w 53817"/>
                <a:gd name="connsiteY4" fmla="*/ 0 h 268576"/>
                <a:gd name="connsiteX5" fmla="*/ 41230 w 53817"/>
                <a:gd name="connsiteY5" fmla="*/ 1 h 268576"/>
                <a:gd name="connsiteX6" fmla="*/ 41230 w 53817"/>
                <a:gd name="connsiteY6" fmla="*/ 1 h 268576"/>
                <a:gd name="connsiteX7" fmla="*/ 0 w 53817"/>
                <a:gd name="connsiteY7" fmla="*/ 268576 h 268576"/>
                <a:gd name="connsiteX8" fmla="*/ 13743 w 53817"/>
                <a:gd name="connsiteY8" fmla="*/ 268576 h 268576"/>
                <a:gd name="connsiteX9" fmla="*/ 52276 w 53817"/>
                <a:gd name="connsiteY9" fmla="*/ 15286 h 26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17" h="268576">
                  <a:moveTo>
                    <a:pt x="53818" y="7065"/>
                  </a:moveTo>
                  <a:lnTo>
                    <a:pt x="49708" y="8606"/>
                  </a:lnTo>
                  <a:cubicBezTo>
                    <a:pt x="46485" y="9908"/>
                    <a:pt x="42817" y="8351"/>
                    <a:pt x="41515" y="5128"/>
                  </a:cubicBezTo>
                  <a:cubicBezTo>
                    <a:pt x="41398" y="4839"/>
                    <a:pt x="41303" y="4542"/>
                    <a:pt x="41230" y="4239"/>
                  </a:cubicBezTo>
                  <a:cubicBezTo>
                    <a:pt x="40779" y="2862"/>
                    <a:pt x="40779" y="1377"/>
                    <a:pt x="41230" y="0"/>
                  </a:cubicBezTo>
                  <a:lnTo>
                    <a:pt x="41230" y="1"/>
                  </a:lnTo>
                  <a:cubicBezTo>
                    <a:pt x="41230" y="1"/>
                    <a:pt x="41230" y="1"/>
                    <a:pt x="41230" y="1"/>
                  </a:cubicBezTo>
                  <a:lnTo>
                    <a:pt x="0" y="268576"/>
                  </a:lnTo>
                  <a:lnTo>
                    <a:pt x="13743" y="268576"/>
                  </a:lnTo>
                  <a:lnTo>
                    <a:pt x="52276" y="15286"/>
                  </a:lnTo>
                  <a:close/>
                </a:path>
              </a:pathLst>
            </a:custGeom>
            <a:solidFill>
              <a:srgbClr val="000000"/>
            </a:solidFill>
            <a:ln w="12844"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52FBAB6-E1A0-41AB-BB2D-D14B9E6E93ED}"/>
                </a:ext>
              </a:extLst>
            </p:cNvPr>
            <p:cNvSpPr/>
            <p:nvPr/>
          </p:nvSpPr>
          <p:spPr>
            <a:xfrm>
              <a:off x="189067" y="6664815"/>
              <a:ext cx="770" cy="1026"/>
            </a:xfrm>
            <a:custGeom>
              <a:avLst/>
              <a:gdLst>
                <a:gd name="connsiteX0" fmla="*/ 0 w 770"/>
                <a:gd name="connsiteY0" fmla="*/ 385 h 1026"/>
                <a:gd name="connsiteX1" fmla="*/ 0 w 770"/>
                <a:gd name="connsiteY1" fmla="*/ 1027 h 1026"/>
                <a:gd name="connsiteX2" fmla="*/ 771 w 770"/>
                <a:gd name="connsiteY2" fmla="*/ 0 h 1026"/>
              </a:gdLst>
              <a:ahLst/>
              <a:cxnLst>
                <a:cxn ang="0">
                  <a:pos x="connsiteX0" y="connsiteY0"/>
                </a:cxn>
                <a:cxn ang="0">
                  <a:pos x="connsiteX1" y="connsiteY1"/>
                </a:cxn>
                <a:cxn ang="0">
                  <a:pos x="connsiteX2" y="connsiteY2"/>
                </a:cxn>
              </a:cxnLst>
              <a:rect l="l" t="t" r="r" b="b"/>
              <a:pathLst>
                <a:path w="770" h="1026">
                  <a:moveTo>
                    <a:pt x="0" y="385"/>
                  </a:moveTo>
                  <a:lnTo>
                    <a:pt x="0" y="1027"/>
                  </a:lnTo>
                  <a:lnTo>
                    <a:pt x="771" y="0"/>
                  </a:lnTo>
                  <a:close/>
                </a:path>
              </a:pathLst>
            </a:custGeom>
            <a:solidFill>
              <a:srgbClr val="000000"/>
            </a:solidFill>
            <a:ln w="12844"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09D348F6-1AC3-4893-A666-81D3E638E589}"/>
                </a:ext>
              </a:extLst>
            </p:cNvPr>
            <p:cNvSpPr/>
            <p:nvPr/>
          </p:nvSpPr>
          <p:spPr>
            <a:xfrm>
              <a:off x="190351" y="6662246"/>
              <a:ext cx="1412" cy="899"/>
            </a:xfrm>
            <a:custGeom>
              <a:avLst/>
              <a:gdLst>
                <a:gd name="connsiteX0" fmla="*/ 771 w 1412"/>
                <a:gd name="connsiteY0" fmla="*/ 899 h 899"/>
                <a:gd name="connsiteX1" fmla="*/ 0 w 1412"/>
                <a:gd name="connsiteY1" fmla="*/ 899 h 899"/>
                <a:gd name="connsiteX2" fmla="*/ 1413 w 1412"/>
                <a:gd name="connsiteY2" fmla="*/ 0 h 899"/>
              </a:gdLst>
              <a:ahLst/>
              <a:cxnLst>
                <a:cxn ang="0">
                  <a:pos x="connsiteX0" y="connsiteY0"/>
                </a:cxn>
                <a:cxn ang="0">
                  <a:pos x="connsiteX1" y="connsiteY1"/>
                </a:cxn>
                <a:cxn ang="0">
                  <a:pos x="connsiteX2" y="connsiteY2"/>
                </a:cxn>
              </a:cxnLst>
              <a:rect l="l" t="t" r="r" b="b"/>
              <a:pathLst>
                <a:path w="1412" h="899">
                  <a:moveTo>
                    <a:pt x="771" y="899"/>
                  </a:moveTo>
                  <a:lnTo>
                    <a:pt x="0" y="899"/>
                  </a:lnTo>
                  <a:cubicBezTo>
                    <a:pt x="420" y="526"/>
                    <a:pt x="897" y="223"/>
                    <a:pt x="1413" y="0"/>
                  </a:cubicBezTo>
                  <a:close/>
                </a:path>
              </a:pathLst>
            </a:custGeom>
            <a:solidFill>
              <a:srgbClr val="000000"/>
            </a:solidFill>
            <a:ln w="12844"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1CAEBAEE-13B5-4D19-924F-02E665B36B00}"/>
                </a:ext>
              </a:extLst>
            </p:cNvPr>
            <p:cNvSpPr/>
            <p:nvPr/>
          </p:nvSpPr>
          <p:spPr>
            <a:xfrm>
              <a:off x="969359" y="0"/>
              <a:ext cx="294648" cy="1823130"/>
            </a:xfrm>
            <a:custGeom>
              <a:avLst/>
              <a:gdLst>
                <a:gd name="connsiteX0" fmla="*/ 5009 w 294648"/>
                <a:gd name="connsiteY0" fmla="*/ 1821974 h 1823130"/>
                <a:gd name="connsiteX1" fmla="*/ 14257 w 294648"/>
                <a:gd name="connsiteY1" fmla="*/ 1819919 h 1823130"/>
                <a:gd name="connsiteX2" fmla="*/ 294649 w 294648"/>
                <a:gd name="connsiteY2" fmla="*/ 0 h 1823130"/>
                <a:gd name="connsiteX3" fmla="*/ 280905 w 294648"/>
                <a:gd name="connsiteY3" fmla="*/ 0 h 1823130"/>
                <a:gd name="connsiteX4" fmla="*/ 0 w 294648"/>
                <a:gd name="connsiteY4" fmla="*/ 1823130 h 1823130"/>
                <a:gd name="connsiteX5" fmla="*/ 5009 w 294648"/>
                <a:gd name="connsiteY5" fmla="*/ 1821974 h 182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8" h="1823130">
                  <a:moveTo>
                    <a:pt x="5009" y="1821974"/>
                  </a:moveTo>
                  <a:lnTo>
                    <a:pt x="14257" y="1819919"/>
                  </a:lnTo>
                  <a:lnTo>
                    <a:pt x="294649" y="0"/>
                  </a:lnTo>
                  <a:lnTo>
                    <a:pt x="280905" y="0"/>
                  </a:lnTo>
                  <a:lnTo>
                    <a:pt x="0" y="1823130"/>
                  </a:lnTo>
                  <a:lnTo>
                    <a:pt x="5009" y="1821974"/>
                  </a:lnTo>
                  <a:close/>
                </a:path>
              </a:pathLst>
            </a:custGeom>
            <a:solidFill>
              <a:srgbClr val="000000"/>
            </a:solidFill>
            <a:ln w="12844"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22A85DD6-916A-4532-BEF8-AA9392AA5A24}"/>
                </a:ext>
              </a:extLst>
            </p:cNvPr>
            <p:cNvSpPr/>
            <p:nvPr/>
          </p:nvSpPr>
          <p:spPr>
            <a:xfrm>
              <a:off x="-1" y="5946044"/>
              <a:ext cx="323034" cy="273713"/>
            </a:xfrm>
            <a:custGeom>
              <a:avLst/>
              <a:gdLst>
                <a:gd name="connsiteX0" fmla="*/ 317640 w 323034"/>
                <a:gd name="connsiteY0" fmla="*/ 273714 h 273713"/>
                <a:gd name="connsiteX1" fmla="*/ 317640 w 323034"/>
                <a:gd name="connsiteY1" fmla="*/ 273714 h 273713"/>
                <a:gd name="connsiteX2" fmla="*/ 314943 w 323034"/>
                <a:gd name="connsiteY2" fmla="*/ 269989 h 273713"/>
                <a:gd name="connsiteX3" fmla="*/ 319695 w 323034"/>
                <a:gd name="connsiteY3" fmla="*/ 260741 h 273713"/>
                <a:gd name="connsiteX4" fmla="*/ 323035 w 323034"/>
                <a:gd name="connsiteY4" fmla="*/ 259456 h 273713"/>
                <a:gd name="connsiteX5" fmla="*/ 0 w 323034"/>
                <a:gd name="connsiteY5" fmla="*/ 0 h 273713"/>
                <a:gd name="connsiteX6" fmla="*/ 0 w 323034"/>
                <a:gd name="connsiteY6" fmla="*/ 18753 h 273713"/>
                <a:gd name="connsiteX7" fmla="*/ 314429 w 323034"/>
                <a:gd name="connsiteY7" fmla="*/ 270631 h 27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034" h="273713">
                  <a:moveTo>
                    <a:pt x="317640" y="273714"/>
                  </a:moveTo>
                  <a:lnTo>
                    <a:pt x="317640" y="273714"/>
                  </a:lnTo>
                  <a:cubicBezTo>
                    <a:pt x="316303" y="272857"/>
                    <a:pt x="315340" y="271526"/>
                    <a:pt x="314943" y="269989"/>
                  </a:cubicBezTo>
                  <a:cubicBezTo>
                    <a:pt x="313896" y="266140"/>
                    <a:pt x="315957" y="262129"/>
                    <a:pt x="319695" y="260741"/>
                  </a:cubicBezTo>
                  <a:lnTo>
                    <a:pt x="323035" y="259456"/>
                  </a:lnTo>
                  <a:lnTo>
                    <a:pt x="0" y="0"/>
                  </a:lnTo>
                  <a:lnTo>
                    <a:pt x="0" y="18753"/>
                  </a:lnTo>
                  <a:lnTo>
                    <a:pt x="314429" y="270631"/>
                  </a:lnTo>
                  <a:close/>
                </a:path>
              </a:pathLst>
            </a:custGeom>
            <a:solidFill>
              <a:srgbClr val="000000"/>
            </a:solidFill>
            <a:ln w="12844"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A9847322-DA43-40C9-8A5A-3681CDA0C833}"/>
                </a:ext>
              </a:extLst>
            </p:cNvPr>
            <p:cNvSpPr/>
            <p:nvPr/>
          </p:nvSpPr>
          <p:spPr>
            <a:xfrm>
              <a:off x="4621899" y="6188160"/>
              <a:ext cx="1129914" cy="747799"/>
            </a:xfrm>
            <a:custGeom>
              <a:avLst/>
              <a:gdLst>
                <a:gd name="connsiteX0" fmla="*/ 2569 w 1129914"/>
                <a:gd name="connsiteY0" fmla="*/ 5138 h 747799"/>
                <a:gd name="connsiteX1" fmla="*/ 0 w 1129914"/>
                <a:gd name="connsiteY1" fmla="*/ 15028 h 747799"/>
                <a:gd name="connsiteX2" fmla="*/ 1103199 w 1129914"/>
                <a:gd name="connsiteY2" fmla="*/ 747799 h 747799"/>
                <a:gd name="connsiteX3" fmla="*/ 1129915 w 1129914"/>
                <a:gd name="connsiteY3" fmla="*/ 747799 h 747799"/>
                <a:gd name="connsiteX4" fmla="*/ 3854 w 1129914"/>
                <a:gd name="connsiteY4" fmla="*/ 0 h 747799"/>
                <a:gd name="connsiteX5" fmla="*/ 2569 w 1129914"/>
                <a:gd name="connsiteY5" fmla="*/ 5138 h 747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9914" h="747799">
                  <a:moveTo>
                    <a:pt x="2569" y="5138"/>
                  </a:moveTo>
                  <a:lnTo>
                    <a:pt x="0" y="15028"/>
                  </a:lnTo>
                  <a:lnTo>
                    <a:pt x="1103199" y="747799"/>
                  </a:lnTo>
                  <a:lnTo>
                    <a:pt x="1129915" y="747799"/>
                  </a:lnTo>
                  <a:lnTo>
                    <a:pt x="3854" y="0"/>
                  </a:lnTo>
                  <a:lnTo>
                    <a:pt x="2569" y="5138"/>
                  </a:lnTo>
                  <a:close/>
                </a:path>
              </a:pathLst>
            </a:custGeom>
            <a:solidFill>
              <a:srgbClr val="000000"/>
            </a:solidFill>
            <a:ln w="12844"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E1D9E354-FEE3-4DCA-BBC9-3D7C6DACDA8D}"/>
                </a:ext>
              </a:extLst>
            </p:cNvPr>
            <p:cNvSpPr/>
            <p:nvPr/>
          </p:nvSpPr>
          <p:spPr>
            <a:xfrm>
              <a:off x="2758445" y="4904623"/>
              <a:ext cx="81689" cy="58056"/>
            </a:xfrm>
            <a:custGeom>
              <a:avLst/>
              <a:gdLst>
                <a:gd name="connsiteX0" fmla="*/ 0 w 81689"/>
                <a:gd name="connsiteY0" fmla="*/ 15542 h 58056"/>
                <a:gd name="connsiteX1" fmla="*/ 64350 w 81689"/>
                <a:gd name="connsiteY1" fmla="*/ 58056 h 58056"/>
                <a:gd name="connsiteX2" fmla="*/ 78607 w 81689"/>
                <a:gd name="connsiteY2" fmla="*/ 52919 h 58056"/>
                <a:gd name="connsiteX3" fmla="*/ 81690 w 81689"/>
                <a:gd name="connsiteY3" fmla="*/ 51891 h 58056"/>
                <a:gd name="connsiteX4" fmla="*/ 3211 w 81689"/>
                <a:gd name="connsiteY4" fmla="*/ 0 h 58056"/>
                <a:gd name="connsiteX5" fmla="*/ 2312 w 81689"/>
                <a:gd name="connsiteY5" fmla="*/ 4881 h 58056"/>
                <a:gd name="connsiteX6" fmla="*/ 0 w 81689"/>
                <a:gd name="connsiteY6" fmla="*/ 15542 h 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89" h="58056">
                  <a:moveTo>
                    <a:pt x="0" y="15542"/>
                  </a:moveTo>
                  <a:lnTo>
                    <a:pt x="64350" y="58056"/>
                  </a:lnTo>
                  <a:lnTo>
                    <a:pt x="78607" y="52919"/>
                  </a:lnTo>
                  <a:lnTo>
                    <a:pt x="81690" y="51891"/>
                  </a:lnTo>
                  <a:lnTo>
                    <a:pt x="3211" y="0"/>
                  </a:lnTo>
                  <a:lnTo>
                    <a:pt x="2312" y="4881"/>
                  </a:lnTo>
                  <a:lnTo>
                    <a:pt x="0" y="15542"/>
                  </a:lnTo>
                  <a:close/>
                </a:path>
              </a:pathLst>
            </a:custGeom>
            <a:solidFill>
              <a:srgbClr val="000000"/>
            </a:solidFill>
            <a:ln w="12844"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56C80569-14A2-49DD-9B91-81DA8474D325}"/>
                </a:ext>
              </a:extLst>
            </p:cNvPr>
            <p:cNvSpPr/>
            <p:nvPr/>
          </p:nvSpPr>
          <p:spPr>
            <a:xfrm>
              <a:off x="4169779" y="4495529"/>
              <a:ext cx="642" cy="899"/>
            </a:xfrm>
            <a:custGeom>
              <a:avLst/>
              <a:gdLst>
                <a:gd name="connsiteX0" fmla="*/ 642 w 642"/>
                <a:gd name="connsiteY0" fmla="*/ 0 h 899"/>
                <a:gd name="connsiteX1" fmla="*/ 642 w 642"/>
                <a:gd name="connsiteY1" fmla="*/ 0 h 899"/>
                <a:gd name="connsiteX2" fmla="*/ 0 w 642"/>
                <a:gd name="connsiteY2" fmla="*/ 899 h 899"/>
              </a:gdLst>
              <a:ahLst/>
              <a:cxnLst>
                <a:cxn ang="0">
                  <a:pos x="connsiteX0" y="connsiteY0"/>
                </a:cxn>
                <a:cxn ang="0">
                  <a:pos x="connsiteX1" y="connsiteY1"/>
                </a:cxn>
                <a:cxn ang="0">
                  <a:pos x="connsiteX2" y="connsiteY2"/>
                </a:cxn>
              </a:cxnLst>
              <a:rect l="l" t="t" r="r" b="b"/>
              <a:pathLst>
                <a:path w="642" h="899">
                  <a:moveTo>
                    <a:pt x="642" y="0"/>
                  </a:moveTo>
                  <a:lnTo>
                    <a:pt x="642" y="0"/>
                  </a:lnTo>
                  <a:cubicBezTo>
                    <a:pt x="504" y="347"/>
                    <a:pt x="283" y="656"/>
                    <a:pt x="0" y="899"/>
                  </a:cubicBezTo>
                  <a:close/>
                </a:path>
              </a:pathLst>
            </a:custGeom>
            <a:solidFill>
              <a:srgbClr val="000000"/>
            </a:solidFill>
            <a:ln w="12844"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F3DE1E9-2A7F-453B-BDF3-68F13E4B35B1}"/>
                </a:ext>
              </a:extLst>
            </p:cNvPr>
            <p:cNvSpPr/>
            <p:nvPr/>
          </p:nvSpPr>
          <p:spPr>
            <a:xfrm>
              <a:off x="3130031" y="3868082"/>
              <a:ext cx="1037949" cy="623209"/>
            </a:xfrm>
            <a:custGeom>
              <a:avLst/>
              <a:gdLst>
                <a:gd name="connsiteX0" fmla="*/ 1037950 w 1037949"/>
                <a:gd name="connsiteY0" fmla="*/ 617686 h 623209"/>
                <a:gd name="connsiteX1" fmla="*/ 20936 w 1037949"/>
                <a:gd name="connsiteY1" fmla="*/ 0 h 623209"/>
                <a:gd name="connsiteX2" fmla="*/ 5266 w 1037949"/>
                <a:gd name="connsiteY2" fmla="*/ 5009 h 623209"/>
                <a:gd name="connsiteX3" fmla="*/ 2055 w 1037949"/>
                <a:gd name="connsiteY3" fmla="*/ 5009 h 623209"/>
                <a:gd name="connsiteX4" fmla="*/ 1028 w 1037949"/>
                <a:gd name="connsiteY4" fmla="*/ 5009 h 623209"/>
                <a:gd name="connsiteX5" fmla="*/ 0 w 1037949"/>
                <a:gd name="connsiteY5" fmla="*/ 5009 h 623209"/>
                <a:gd name="connsiteX6" fmla="*/ 1017784 w 1037949"/>
                <a:gd name="connsiteY6" fmla="*/ 623209 h 623209"/>
                <a:gd name="connsiteX7" fmla="*/ 1032683 w 1037949"/>
                <a:gd name="connsiteY7" fmla="*/ 617814 h 623209"/>
                <a:gd name="connsiteX8" fmla="*/ 1037950 w 1037949"/>
                <a:gd name="connsiteY8" fmla="*/ 617686 h 62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7949" h="623209">
                  <a:moveTo>
                    <a:pt x="1037950" y="617686"/>
                  </a:moveTo>
                  <a:lnTo>
                    <a:pt x="20936" y="0"/>
                  </a:lnTo>
                  <a:lnTo>
                    <a:pt x="5266" y="5009"/>
                  </a:lnTo>
                  <a:lnTo>
                    <a:pt x="2055" y="5009"/>
                  </a:lnTo>
                  <a:cubicBezTo>
                    <a:pt x="2055" y="5009"/>
                    <a:pt x="2055" y="5009"/>
                    <a:pt x="1028" y="5009"/>
                  </a:cubicBezTo>
                  <a:lnTo>
                    <a:pt x="0" y="5009"/>
                  </a:lnTo>
                  <a:lnTo>
                    <a:pt x="1017784" y="623209"/>
                  </a:lnTo>
                  <a:lnTo>
                    <a:pt x="1032683" y="617814"/>
                  </a:lnTo>
                  <a:cubicBezTo>
                    <a:pt x="1034331" y="616986"/>
                    <a:pt x="1036263" y="616939"/>
                    <a:pt x="1037950" y="617686"/>
                  </a:cubicBezTo>
                  <a:close/>
                </a:path>
              </a:pathLst>
            </a:custGeom>
            <a:solidFill>
              <a:srgbClr val="000000"/>
            </a:solidFill>
            <a:ln w="12844"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8F85111F-8510-4F0B-BB4F-62977CC3EC84}"/>
                </a:ext>
              </a:extLst>
            </p:cNvPr>
            <p:cNvSpPr/>
            <p:nvPr/>
          </p:nvSpPr>
          <p:spPr>
            <a:xfrm>
              <a:off x="4168237" y="4485896"/>
              <a:ext cx="1014" cy="835"/>
            </a:xfrm>
            <a:custGeom>
              <a:avLst/>
              <a:gdLst>
                <a:gd name="connsiteX0" fmla="*/ 0 w 1014"/>
                <a:gd name="connsiteY0" fmla="*/ 0 h 835"/>
                <a:gd name="connsiteX1" fmla="*/ 0 w 1014"/>
                <a:gd name="connsiteY1" fmla="*/ 0 h 835"/>
                <a:gd name="connsiteX2" fmla="*/ 771 w 1014"/>
                <a:gd name="connsiteY2" fmla="*/ 642 h 835"/>
                <a:gd name="connsiteX3" fmla="*/ 0 w 1014"/>
                <a:gd name="connsiteY3" fmla="*/ 0 h 835"/>
              </a:gdLst>
              <a:ahLst/>
              <a:cxnLst>
                <a:cxn ang="0">
                  <a:pos x="connsiteX0" y="connsiteY0"/>
                </a:cxn>
                <a:cxn ang="0">
                  <a:pos x="connsiteX1" y="connsiteY1"/>
                </a:cxn>
                <a:cxn ang="0">
                  <a:pos x="connsiteX2" y="connsiteY2"/>
                </a:cxn>
                <a:cxn ang="0">
                  <a:pos x="connsiteX3" y="connsiteY3"/>
                </a:cxn>
              </a:cxnLst>
              <a:rect l="l" t="t" r="r" b="b"/>
              <a:pathLst>
                <a:path w="1014" h="835">
                  <a:moveTo>
                    <a:pt x="0" y="0"/>
                  </a:moveTo>
                  <a:lnTo>
                    <a:pt x="0" y="0"/>
                  </a:lnTo>
                  <a:cubicBezTo>
                    <a:pt x="0" y="0"/>
                    <a:pt x="0" y="0"/>
                    <a:pt x="771" y="642"/>
                  </a:cubicBezTo>
                  <a:cubicBezTo>
                    <a:pt x="1542" y="1285"/>
                    <a:pt x="257" y="129"/>
                    <a:pt x="0" y="0"/>
                  </a:cubicBezTo>
                  <a:close/>
                </a:path>
              </a:pathLst>
            </a:custGeom>
            <a:solidFill>
              <a:srgbClr val="000000"/>
            </a:solidFill>
            <a:ln w="12844"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FC0299AD-1109-403E-853F-20A7D2A352EE}"/>
                </a:ext>
              </a:extLst>
            </p:cNvPr>
            <p:cNvSpPr/>
            <p:nvPr/>
          </p:nvSpPr>
          <p:spPr>
            <a:xfrm>
              <a:off x="3127976" y="3870522"/>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E93021C4-9957-4651-90D7-12D6F360009A}"/>
                </a:ext>
              </a:extLst>
            </p:cNvPr>
            <p:cNvSpPr/>
            <p:nvPr/>
          </p:nvSpPr>
          <p:spPr>
            <a:xfrm>
              <a:off x="3129902" y="3872449"/>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5A04C78E-FBBB-4E47-A25A-6FABD9CDBF07}"/>
                </a:ext>
              </a:extLst>
            </p:cNvPr>
            <p:cNvSpPr/>
            <p:nvPr/>
          </p:nvSpPr>
          <p:spPr>
            <a:xfrm>
              <a:off x="3126948" y="3867953"/>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9087D195-3626-42D6-99C4-1F24E4A8EF91}"/>
                </a:ext>
              </a:extLst>
            </p:cNvPr>
            <p:cNvSpPr/>
            <p:nvPr/>
          </p:nvSpPr>
          <p:spPr>
            <a:xfrm>
              <a:off x="3126773" y="3866155"/>
              <a:ext cx="46" cy="899"/>
            </a:xfrm>
            <a:custGeom>
              <a:avLst/>
              <a:gdLst>
                <a:gd name="connsiteX0" fmla="*/ 47 w 46"/>
                <a:gd name="connsiteY0" fmla="*/ 0 h 899"/>
                <a:gd name="connsiteX1" fmla="*/ 47 w 46"/>
                <a:gd name="connsiteY1" fmla="*/ 899 h 899"/>
                <a:gd name="connsiteX2" fmla="*/ 47 w 46"/>
                <a:gd name="connsiteY2" fmla="*/ 899 h 899"/>
                <a:gd name="connsiteX3" fmla="*/ 47 w 46"/>
                <a:gd name="connsiteY3" fmla="*/ 0 h 899"/>
              </a:gdLst>
              <a:ahLst/>
              <a:cxnLst>
                <a:cxn ang="0">
                  <a:pos x="connsiteX0" y="connsiteY0"/>
                </a:cxn>
                <a:cxn ang="0">
                  <a:pos x="connsiteX1" y="connsiteY1"/>
                </a:cxn>
                <a:cxn ang="0">
                  <a:pos x="connsiteX2" y="connsiteY2"/>
                </a:cxn>
                <a:cxn ang="0">
                  <a:pos x="connsiteX3" y="connsiteY3"/>
                </a:cxn>
              </a:cxnLst>
              <a:rect l="l" t="t" r="r" b="b"/>
              <a:pathLst>
                <a:path w="46" h="899">
                  <a:moveTo>
                    <a:pt x="47" y="0"/>
                  </a:moveTo>
                  <a:cubicBezTo>
                    <a:pt x="-16" y="296"/>
                    <a:pt x="-16" y="602"/>
                    <a:pt x="47" y="899"/>
                  </a:cubicBezTo>
                  <a:lnTo>
                    <a:pt x="47" y="899"/>
                  </a:lnTo>
                  <a:cubicBezTo>
                    <a:pt x="47" y="899"/>
                    <a:pt x="47" y="0"/>
                    <a:pt x="47" y="0"/>
                  </a:cubicBezTo>
                  <a:close/>
                </a:path>
              </a:pathLst>
            </a:custGeom>
            <a:solidFill>
              <a:srgbClr val="000000"/>
            </a:solidFill>
            <a:ln w="12844"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6412EF31-C0FD-4C11-AEAA-0339D760B7F6}"/>
                </a:ext>
              </a:extLst>
            </p:cNvPr>
            <p:cNvSpPr/>
            <p:nvPr/>
          </p:nvSpPr>
          <p:spPr>
            <a:xfrm>
              <a:off x="2586716" y="3537982"/>
              <a:ext cx="125414" cy="567720"/>
            </a:xfrm>
            <a:custGeom>
              <a:avLst/>
              <a:gdLst>
                <a:gd name="connsiteX0" fmla="*/ 109690 w 125414"/>
                <a:gd name="connsiteY0" fmla="*/ 9119 h 567720"/>
                <a:gd name="connsiteX1" fmla="*/ 0 w 125414"/>
                <a:gd name="connsiteY1" fmla="*/ 560014 h 567720"/>
                <a:gd name="connsiteX2" fmla="*/ 8349 w 125414"/>
                <a:gd name="connsiteY2" fmla="*/ 565281 h 567720"/>
                <a:gd name="connsiteX3" fmla="*/ 12202 w 125414"/>
                <a:gd name="connsiteY3" fmla="*/ 567721 h 567720"/>
                <a:gd name="connsiteX4" fmla="*/ 125360 w 125414"/>
                <a:gd name="connsiteY4" fmla="*/ 0 h 567720"/>
                <a:gd name="connsiteX5" fmla="*/ 125360 w 125414"/>
                <a:gd name="connsiteY5" fmla="*/ 1156 h 567720"/>
                <a:gd name="connsiteX6" fmla="*/ 125360 w 125414"/>
                <a:gd name="connsiteY6" fmla="*/ 2440 h 567720"/>
                <a:gd name="connsiteX7" fmla="*/ 124333 w 125414"/>
                <a:gd name="connsiteY7" fmla="*/ 3725 h 567720"/>
                <a:gd name="connsiteX8" fmla="*/ 123434 w 125414"/>
                <a:gd name="connsiteY8" fmla="*/ 4624 h 567720"/>
                <a:gd name="connsiteX9" fmla="*/ 122021 w 125414"/>
                <a:gd name="connsiteY9" fmla="*/ 5394 h 567720"/>
                <a:gd name="connsiteX10" fmla="*/ 121122 w 125414"/>
                <a:gd name="connsiteY10" fmla="*/ 5394 h 56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414" h="567720">
                  <a:moveTo>
                    <a:pt x="109690" y="9119"/>
                  </a:moveTo>
                  <a:lnTo>
                    <a:pt x="0" y="560014"/>
                  </a:lnTo>
                  <a:lnTo>
                    <a:pt x="8349" y="565281"/>
                  </a:lnTo>
                  <a:lnTo>
                    <a:pt x="12202" y="567721"/>
                  </a:lnTo>
                  <a:lnTo>
                    <a:pt x="125360" y="0"/>
                  </a:lnTo>
                  <a:lnTo>
                    <a:pt x="125360" y="1156"/>
                  </a:lnTo>
                  <a:cubicBezTo>
                    <a:pt x="125432" y="1581"/>
                    <a:pt x="125432" y="2015"/>
                    <a:pt x="125360" y="2440"/>
                  </a:cubicBezTo>
                  <a:cubicBezTo>
                    <a:pt x="125091" y="2922"/>
                    <a:pt x="124744" y="3356"/>
                    <a:pt x="124333" y="3725"/>
                  </a:cubicBezTo>
                  <a:lnTo>
                    <a:pt x="123434" y="4624"/>
                  </a:lnTo>
                  <a:cubicBezTo>
                    <a:pt x="123008" y="4955"/>
                    <a:pt x="122530" y="5215"/>
                    <a:pt x="122021" y="5394"/>
                  </a:cubicBezTo>
                  <a:lnTo>
                    <a:pt x="121122" y="5394"/>
                  </a:lnTo>
                  <a:close/>
                </a:path>
              </a:pathLst>
            </a:custGeom>
            <a:solidFill>
              <a:srgbClr val="000000"/>
            </a:solidFill>
            <a:ln w="12844"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75F43504-09AA-446A-9AC4-CAEC5B90A5E8}"/>
                </a:ext>
              </a:extLst>
            </p:cNvPr>
            <p:cNvSpPr/>
            <p:nvPr/>
          </p:nvSpPr>
          <p:spPr>
            <a:xfrm>
              <a:off x="1001085" y="4796858"/>
              <a:ext cx="386100" cy="2139101"/>
            </a:xfrm>
            <a:custGeom>
              <a:avLst/>
              <a:gdLst>
                <a:gd name="connsiteX0" fmla="*/ 381862 w 386100"/>
                <a:gd name="connsiteY0" fmla="*/ 2440 h 2139101"/>
                <a:gd name="connsiteX1" fmla="*/ 378907 w 386100"/>
                <a:gd name="connsiteY1" fmla="*/ 2440 h 2139101"/>
                <a:gd name="connsiteX2" fmla="*/ 377751 w 386100"/>
                <a:gd name="connsiteY2" fmla="*/ 2440 h 2139101"/>
                <a:gd name="connsiteX3" fmla="*/ 376467 w 386100"/>
                <a:gd name="connsiteY3" fmla="*/ 2440 h 2139101"/>
                <a:gd name="connsiteX4" fmla="*/ 376467 w 386100"/>
                <a:gd name="connsiteY4" fmla="*/ 2440 h 2139101"/>
                <a:gd name="connsiteX5" fmla="*/ 372871 w 386100"/>
                <a:gd name="connsiteY5" fmla="*/ 0 h 2139101"/>
                <a:gd name="connsiteX6" fmla="*/ 0 w 386100"/>
                <a:gd name="connsiteY6" fmla="*/ 2139102 h 2139101"/>
                <a:gd name="connsiteX7" fmla="*/ 13615 w 386100"/>
                <a:gd name="connsiteY7" fmla="*/ 2139102 h 2139101"/>
                <a:gd name="connsiteX8" fmla="*/ 386100 w 386100"/>
                <a:gd name="connsiteY8" fmla="*/ 1028 h 213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100" h="2139101">
                  <a:moveTo>
                    <a:pt x="381862" y="2440"/>
                  </a:moveTo>
                  <a:lnTo>
                    <a:pt x="378907" y="2440"/>
                  </a:lnTo>
                  <a:lnTo>
                    <a:pt x="377751" y="2440"/>
                  </a:lnTo>
                  <a:lnTo>
                    <a:pt x="376467" y="2440"/>
                  </a:lnTo>
                  <a:lnTo>
                    <a:pt x="376467" y="2440"/>
                  </a:lnTo>
                  <a:lnTo>
                    <a:pt x="372871" y="0"/>
                  </a:lnTo>
                  <a:lnTo>
                    <a:pt x="0" y="2139102"/>
                  </a:lnTo>
                  <a:lnTo>
                    <a:pt x="13615" y="2139102"/>
                  </a:lnTo>
                  <a:lnTo>
                    <a:pt x="386100" y="1028"/>
                  </a:lnTo>
                  <a:close/>
                </a:path>
              </a:pathLst>
            </a:custGeom>
            <a:solidFill>
              <a:srgbClr val="000000"/>
            </a:solidFill>
            <a:ln w="12844"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21A984B0-7316-4A13-9D64-7222FC8D5F3C}"/>
                </a:ext>
              </a:extLst>
            </p:cNvPr>
            <p:cNvSpPr/>
            <p:nvPr/>
          </p:nvSpPr>
          <p:spPr>
            <a:xfrm>
              <a:off x="3135040" y="3758005"/>
              <a:ext cx="321493" cy="115214"/>
            </a:xfrm>
            <a:custGeom>
              <a:avLst/>
              <a:gdLst>
                <a:gd name="connsiteX0" fmla="*/ 5266 w 321493"/>
                <a:gd name="connsiteY0" fmla="*/ 109306 h 115214"/>
                <a:gd name="connsiteX1" fmla="*/ 0 w 321493"/>
                <a:gd name="connsiteY1" fmla="*/ 115214 h 115214"/>
                <a:gd name="connsiteX2" fmla="*/ 0 w 321493"/>
                <a:gd name="connsiteY2" fmla="*/ 115214 h 115214"/>
                <a:gd name="connsiteX3" fmla="*/ 15670 w 321493"/>
                <a:gd name="connsiteY3" fmla="*/ 110205 h 115214"/>
                <a:gd name="connsiteX4" fmla="*/ 317897 w 321493"/>
                <a:gd name="connsiteY4" fmla="*/ 13230 h 115214"/>
                <a:gd name="connsiteX5" fmla="*/ 320594 w 321493"/>
                <a:gd name="connsiteY5" fmla="*/ 12331 h 115214"/>
                <a:gd name="connsiteX6" fmla="*/ 321493 w 321493"/>
                <a:gd name="connsiteY6" fmla="*/ 12331 h 115214"/>
                <a:gd name="connsiteX7" fmla="*/ 317511 w 321493"/>
                <a:gd name="connsiteY7" fmla="*/ 12973 h 115214"/>
                <a:gd name="connsiteX8" fmla="*/ 312276 w 321493"/>
                <a:gd name="connsiteY8" fmla="*/ 4893 h 115214"/>
                <a:gd name="connsiteX9" fmla="*/ 312374 w 321493"/>
                <a:gd name="connsiteY9" fmla="*/ 4496 h 115214"/>
                <a:gd name="connsiteX10" fmla="*/ 313402 w 321493"/>
                <a:gd name="connsiteY10" fmla="*/ 0 h 115214"/>
                <a:gd name="connsiteX11" fmla="*/ 7450 w 321493"/>
                <a:gd name="connsiteY11" fmla="*/ 98260 h 11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1493" h="115214">
                  <a:moveTo>
                    <a:pt x="5266" y="109306"/>
                  </a:moveTo>
                  <a:cubicBezTo>
                    <a:pt x="4734" y="112095"/>
                    <a:pt x="2710" y="114365"/>
                    <a:pt x="0" y="115214"/>
                  </a:cubicBezTo>
                  <a:lnTo>
                    <a:pt x="0" y="115214"/>
                  </a:lnTo>
                  <a:lnTo>
                    <a:pt x="15670" y="110205"/>
                  </a:lnTo>
                  <a:lnTo>
                    <a:pt x="317897" y="13230"/>
                  </a:lnTo>
                  <a:lnTo>
                    <a:pt x="320594" y="12331"/>
                  </a:lnTo>
                  <a:cubicBezTo>
                    <a:pt x="320594" y="12331"/>
                    <a:pt x="320594" y="12331"/>
                    <a:pt x="321493" y="12331"/>
                  </a:cubicBezTo>
                  <a:cubicBezTo>
                    <a:pt x="320256" y="12927"/>
                    <a:pt x="318873" y="13151"/>
                    <a:pt x="317511" y="12973"/>
                  </a:cubicBezTo>
                  <a:cubicBezTo>
                    <a:pt x="313835" y="12187"/>
                    <a:pt x="311491" y="8570"/>
                    <a:pt x="312276" y="4893"/>
                  </a:cubicBezTo>
                  <a:cubicBezTo>
                    <a:pt x="312305" y="4760"/>
                    <a:pt x="312337" y="4627"/>
                    <a:pt x="312374" y="4496"/>
                  </a:cubicBezTo>
                  <a:lnTo>
                    <a:pt x="313402" y="0"/>
                  </a:lnTo>
                  <a:lnTo>
                    <a:pt x="7450" y="98260"/>
                  </a:lnTo>
                  <a:close/>
                </a:path>
              </a:pathLst>
            </a:custGeom>
            <a:solidFill>
              <a:srgbClr val="000000"/>
            </a:solidFill>
            <a:ln w="12844"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44D03FE5-FBB1-4369-8207-7FCEBFBC116C}"/>
                </a:ext>
              </a:extLst>
            </p:cNvPr>
            <p:cNvSpPr/>
            <p:nvPr/>
          </p:nvSpPr>
          <p:spPr>
            <a:xfrm>
              <a:off x="3126853" y="3865127"/>
              <a:ext cx="141" cy="1669"/>
            </a:xfrm>
            <a:custGeom>
              <a:avLst/>
              <a:gdLst>
                <a:gd name="connsiteX0" fmla="*/ 95 w 141"/>
                <a:gd name="connsiteY0" fmla="*/ 0 h 1669"/>
                <a:gd name="connsiteX1" fmla="*/ 95 w 141"/>
                <a:gd name="connsiteY1" fmla="*/ 900 h 1669"/>
                <a:gd name="connsiteX2" fmla="*/ 95 w 141"/>
                <a:gd name="connsiteY2" fmla="*/ 1670 h 1669"/>
                <a:gd name="connsiteX3" fmla="*/ 95 w 141"/>
                <a:gd name="connsiteY3" fmla="*/ 0 h 1669"/>
              </a:gdLst>
              <a:ahLst/>
              <a:cxnLst>
                <a:cxn ang="0">
                  <a:pos x="connsiteX0" y="connsiteY0"/>
                </a:cxn>
                <a:cxn ang="0">
                  <a:pos x="connsiteX1" y="connsiteY1"/>
                </a:cxn>
                <a:cxn ang="0">
                  <a:pos x="connsiteX2" y="connsiteY2"/>
                </a:cxn>
                <a:cxn ang="0">
                  <a:pos x="connsiteX3" y="connsiteY3"/>
                </a:cxn>
              </a:cxnLst>
              <a:rect l="l" t="t" r="r" b="b"/>
              <a:pathLst>
                <a:path w="141" h="1669">
                  <a:moveTo>
                    <a:pt x="95" y="0"/>
                  </a:moveTo>
                  <a:cubicBezTo>
                    <a:pt x="157" y="297"/>
                    <a:pt x="157" y="603"/>
                    <a:pt x="95" y="900"/>
                  </a:cubicBezTo>
                  <a:cubicBezTo>
                    <a:pt x="95" y="899"/>
                    <a:pt x="95" y="899"/>
                    <a:pt x="95" y="1670"/>
                  </a:cubicBezTo>
                  <a:cubicBezTo>
                    <a:pt x="-32" y="1120"/>
                    <a:pt x="-32" y="550"/>
                    <a:pt x="95" y="0"/>
                  </a:cubicBezTo>
                  <a:close/>
                </a:path>
              </a:pathLst>
            </a:custGeom>
            <a:solidFill>
              <a:srgbClr val="000000"/>
            </a:solidFill>
            <a:ln w="12844"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724F056-C869-4BE9-AB7A-73D63764CFF6}"/>
                </a:ext>
              </a:extLst>
            </p:cNvPr>
            <p:cNvSpPr/>
            <p:nvPr/>
          </p:nvSpPr>
          <p:spPr>
            <a:xfrm>
              <a:off x="3127976" y="3870651"/>
              <a:ext cx="899" cy="899"/>
            </a:xfrm>
            <a:custGeom>
              <a:avLst/>
              <a:gdLst>
                <a:gd name="connsiteX0" fmla="*/ 128 w 899"/>
                <a:gd name="connsiteY0" fmla="*/ 128 h 899"/>
                <a:gd name="connsiteX1" fmla="*/ 899 w 899"/>
                <a:gd name="connsiteY1" fmla="*/ 899 h 899"/>
                <a:gd name="connsiteX2" fmla="*/ 0 w 899"/>
                <a:gd name="connsiteY2" fmla="*/ 0 h 899"/>
              </a:gdLst>
              <a:ahLst/>
              <a:cxnLst>
                <a:cxn ang="0">
                  <a:pos x="connsiteX0" y="connsiteY0"/>
                </a:cxn>
                <a:cxn ang="0">
                  <a:pos x="connsiteX1" y="connsiteY1"/>
                </a:cxn>
                <a:cxn ang="0">
                  <a:pos x="connsiteX2" y="connsiteY2"/>
                </a:cxn>
              </a:cxnLst>
              <a:rect l="l" t="t" r="r" b="b"/>
              <a:pathLst>
                <a:path w="899" h="899">
                  <a:moveTo>
                    <a:pt x="128" y="128"/>
                  </a:moveTo>
                  <a:lnTo>
                    <a:pt x="899" y="899"/>
                  </a:lnTo>
                  <a:lnTo>
                    <a:pt x="0" y="0"/>
                  </a:lnTo>
                  <a:close/>
                </a:path>
              </a:pathLst>
            </a:custGeom>
            <a:solidFill>
              <a:srgbClr val="000000"/>
            </a:solidFill>
            <a:ln w="12844"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8926F1A2-F53D-4C44-99E3-14FD7A318672}"/>
                </a:ext>
              </a:extLst>
            </p:cNvPr>
            <p:cNvSpPr/>
            <p:nvPr/>
          </p:nvSpPr>
          <p:spPr>
            <a:xfrm>
              <a:off x="3126912" y="3867953"/>
              <a:ext cx="36" cy="1155"/>
            </a:xfrm>
            <a:custGeom>
              <a:avLst/>
              <a:gdLst>
                <a:gd name="connsiteX0" fmla="*/ 36 w 36"/>
                <a:gd name="connsiteY0" fmla="*/ 257 h 1155"/>
                <a:gd name="connsiteX1" fmla="*/ 36 w 36"/>
                <a:gd name="connsiteY1" fmla="*/ 257 h 1155"/>
                <a:gd name="connsiteX2" fmla="*/ 36 w 36"/>
                <a:gd name="connsiteY2" fmla="*/ 1156 h 1155"/>
                <a:gd name="connsiteX3" fmla="*/ 36 w 36"/>
                <a:gd name="connsiteY3" fmla="*/ 0 h 1155"/>
              </a:gdLst>
              <a:ahLst/>
              <a:cxnLst>
                <a:cxn ang="0">
                  <a:pos x="connsiteX0" y="connsiteY0"/>
                </a:cxn>
                <a:cxn ang="0">
                  <a:pos x="connsiteX1" y="connsiteY1"/>
                </a:cxn>
                <a:cxn ang="0">
                  <a:pos x="connsiteX2" y="connsiteY2"/>
                </a:cxn>
                <a:cxn ang="0">
                  <a:pos x="connsiteX3" y="connsiteY3"/>
                </a:cxn>
              </a:cxnLst>
              <a:rect l="l" t="t" r="r" b="b"/>
              <a:pathLst>
                <a:path w="36" h="1155">
                  <a:moveTo>
                    <a:pt x="36" y="257"/>
                  </a:moveTo>
                  <a:lnTo>
                    <a:pt x="36" y="257"/>
                  </a:lnTo>
                  <a:cubicBezTo>
                    <a:pt x="-6" y="555"/>
                    <a:pt x="-6" y="858"/>
                    <a:pt x="36" y="1156"/>
                  </a:cubicBezTo>
                  <a:cubicBezTo>
                    <a:pt x="-12" y="772"/>
                    <a:pt x="-12" y="384"/>
                    <a:pt x="36" y="0"/>
                  </a:cubicBezTo>
                  <a:close/>
                </a:path>
              </a:pathLst>
            </a:custGeom>
            <a:solidFill>
              <a:srgbClr val="000000"/>
            </a:solidFill>
            <a:ln w="12844"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AE82D14-2EB8-4505-AF54-7F66B3C0BB3B}"/>
                </a:ext>
              </a:extLst>
            </p:cNvPr>
            <p:cNvSpPr/>
            <p:nvPr/>
          </p:nvSpPr>
          <p:spPr>
            <a:xfrm>
              <a:off x="3129902" y="3872449"/>
              <a:ext cx="1027" cy="12844"/>
            </a:xfrm>
            <a:custGeom>
              <a:avLst/>
              <a:gdLst>
                <a:gd name="connsiteX0" fmla="*/ 0 w 1027"/>
                <a:gd name="connsiteY0" fmla="*/ 0 h 12844"/>
                <a:gd name="connsiteX1" fmla="*/ 0 w 1027"/>
                <a:gd name="connsiteY1" fmla="*/ 0 h 12844"/>
                <a:gd name="connsiteX2" fmla="*/ 1028 w 1027"/>
                <a:gd name="connsiteY2" fmla="*/ 0 h 12844"/>
              </a:gdLst>
              <a:ahLst/>
              <a:cxnLst>
                <a:cxn ang="0">
                  <a:pos x="connsiteX0" y="connsiteY0"/>
                </a:cxn>
                <a:cxn ang="0">
                  <a:pos x="connsiteX1" y="connsiteY1"/>
                </a:cxn>
                <a:cxn ang="0">
                  <a:pos x="connsiteX2" y="connsiteY2"/>
                </a:cxn>
              </a:cxnLst>
              <a:rect l="l" t="t" r="r" b="b"/>
              <a:pathLst>
                <a:path w="1027" h="12844">
                  <a:moveTo>
                    <a:pt x="0" y="0"/>
                  </a:moveTo>
                  <a:lnTo>
                    <a:pt x="0" y="0"/>
                  </a:lnTo>
                  <a:lnTo>
                    <a:pt x="1028" y="0"/>
                  </a:lnTo>
                  <a:close/>
                </a:path>
              </a:pathLst>
            </a:custGeom>
            <a:solidFill>
              <a:srgbClr val="000000"/>
            </a:solidFill>
            <a:ln w="12844"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9857278D-BA66-43B0-9B6C-1698088DB8C6}"/>
                </a:ext>
              </a:extLst>
            </p:cNvPr>
            <p:cNvSpPr/>
            <p:nvPr/>
          </p:nvSpPr>
          <p:spPr>
            <a:xfrm>
              <a:off x="315055" y="6072047"/>
              <a:ext cx="372114" cy="148866"/>
            </a:xfrm>
            <a:custGeom>
              <a:avLst/>
              <a:gdLst>
                <a:gd name="connsiteX0" fmla="*/ 6052 w 372114"/>
                <a:gd name="connsiteY0" fmla="*/ 148866 h 148866"/>
                <a:gd name="connsiteX1" fmla="*/ 9391 w 372114"/>
                <a:gd name="connsiteY1" fmla="*/ 148866 h 148866"/>
                <a:gd name="connsiteX2" fmla="*/ 13502 w 372114"/>
                <a:gd name="connsiteY2" fmla="*/ 147325 h 148866"/>
                <a:gd name="connsiteX3" fmla="*/ 369418 w 372114"/>
                <a:gd name="connsiteY3" fmla="*/ 16184 h 148866"/>
                <a:gd name="connsiteX4" fmla="*/ 371344 w 372114"/>
                <a:gd name="connsiteY4" fmla="*/ 4496 h 148866"/>
                <a:gd name="connsiteX5" fmla="*/ 372115 w 372114"/>
                <a:gd name="connsiteY5" fmla="*/ 0 h 148866"/>
                <a:gd name="connsiteX6" fmla="*/ 8364 w 372114"/>
                <a:gd name="connsiteY6" fmla="*/ 133582 h 148866"/>
                <a:gd name="connsiteX7" fmla="*/ 5024 w 372114"/>
                <a:gd name="connsiteY7" fmla="*/ 134866 h 148866"/>
                <a:gd name="connsiteX8" fmla="*/ 272 w 372114"/>
                <a:gd name="connsiteY8" fmla="*/ 144114 h 148866"/>
                <a:gd name="connsiteX9" fmla="*/ 2969 w 372114"/>
                <a:gd name="connsiteY9" fmla="*/ 147839 h 148866"/>
                <a:gd name="connsiteX10" fmla="*/ 4382 w 372114"/>
                <a:gd name="connsiteY10" fmla="*/ 148609 h 14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114" h="148866">
                  <a:moveTo>
                    <a:pt x="6052" y="148866"/>
                  </a:moveTo>
                  <a:lnTo>
                    <a:pt x="9391" y="148866"/>
                  </a:lnTo>
                  <a:lnTo>
                    <a:pt x="13502" y="147325"/>
                  </a:lnTo>
                  <a:lnTo>
                    <a:pt x="369418" y="16184"/>
                  </a:lnTo>
                  <a:lnTo>
                    <a:pt x="371344" y="4496"/>
                  </a:lnTo>
                  <a:lnTo>
                    <a:pt x="372115" y="0"/>
                  </a:lnTo>
                  <a:lnTo>
                    <a:pt x="8364" y="133582"/>
                  </a:lnTo>
                  <a:lnTo>
                    <a:pt x="5024" y="134866"/>
                  </a:lnTo>
                  <a:cubicBezTo>
                    <a:pt x="1286" y="136255"/>
                    <a:pt x="-775" y="140266"/>
                    <a:pt x="272" y="144114"/>
                  </a:cubicBezTo>
                  <a:cubicBezTo>
                    <a:pt x="669" y="145651"/>
                    <a:pt x="1632" y="146982"/>
                    <a:pt x="2969" y="147839"/>
                  </a:cubicBezTo>
                  <a:lnTo>
                    <a:pt x="4382" y="148609"/>
                  </a:lnTo>
                  <a:close/>
                </a:path>
              </a:pathLst>
            </a:custGeom>
            <a:solidFill>
              <a:srgbClr val="000000"/>
            </a:solidFill>
            <a:ln w="12844"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5DDC88D4-7866-4BF7-BD91-559B2B925F83}"/>
                </a:ext>
              </a:extLst>
            </p:cNvPr>
            <p:cNvSpPr/>
            <p:nvPr/>
          </p:nvSpPr>
          <p:spPr>
            <a:xfrm>
              <a:off x="1550950" y="2044952"/>
              <a:ext cx="899" cy="899"/>
            </a:xfrm>
            <a:custGeom>
              <a:avLst/>
              <a:gdLst>
                <a:gd name="connsiteX0" fmla="*/ 899 w 899"/>
                <a:gd name="connsiteY0" fmla="*/ 899 h 899"/>
                <a:gd name="connsiteX1" fmla="*/ 0 w 899"/>
                <a:gd name="connsiteY1" fmla="*/ 0 h 899"/>
                <a:gd name="connsiteX2" fmla="*/ 0 w 899"/>
                <a:gd name="connsiteY2" fmla="*/ 0 h 899"/>
                <a:gd name="connsiteX3" fmla="*/ 899 w 899"/>
                <a:gd name="connsiteY3" fmla="*/ 899 h 899"/>
              </a:gdLst>
              <a:ahLst/>
              <a:cxnLst>
                <a:cxn ang="0">
                  <a:pos x="connsiteX0" y="connsiteY0"/>
                </a:cxn>
                <a:cxn ang="0">
                  <a:pos x="connsiteX1" y="connsiteY1"/>
                </a:cxn>
                <a:cxn ang="0">
                  <a:pos x="connsiteX2" y="connsiteY2"/>
                </a:cxn>
                <a:cxn ang="0">
                  <a:pos x="connsiteX3" y="connsiteY3"/>
                </a:cxn>
              </a:cxnLst>
              <a:rect l="l" t="t" r="r" b="b"/>
              <a:pathLst>
                <a:path w="899" h="899">
                  <a:moveTo>
                    <a:pt x="899" y="899"/>
                  </a:moveTo>
                  <a:lnTo>
                    <a:pt x="0" y="0"/>
                  </a:lnTo>
                  <a:lnTo>
                    <a:pt x="0" y="0"/>
                  </a:lnTo>
                  <a:cubicBezTo>
                    <a:pt x="370" y="220"/>
                    <a:pt x="679" y="529"/>
                    <a:pt x="899" y="899"/>
                  </a:cubicBezTo>
                  <a:close/>
                </a:path>
              </a:pathLst>
            </a:custGeom>
            <a:solidFill>
              <a:srgbClr val="000000"/>
            </a:solidFill>
            <a:ln w="12844"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62F419D9-0023-4AE9-B13C-9156FA349F59}"/>
                </a:ext>
              </a:extLst>
            </p:cNvPr>
            <p:cNvSpPr/>
            <p:nvPr/>
          </p:nvSpPr>
          <p:spPr>
            <a:xfrm>
              <a:off x="1103454" y="1792817"/>
              <a:ext cx="446340" cy="254832"/>
            </a:xfrm>
            <a:custGeom>
              <a:avLst/>
              <a:gdLst>
                <a:gd name="connsiteX0" fmla="*/ 8220 w 446340"/>
                <a:gd name="connsiteY0" fmla="*/ 5395 h 254832"/>
                <a:gd name="connsiteX1" fmla="*/ 2440 w 446340"/>
                <a:gd name="connsiteY1" fmla="*/ 14129 h 254832"/>
                <a:gd name="connsiteX2" fmla="*/ 0 w 446340"/>
                <a:gd name="connsiteY2" fmla="*/ 14129 h 254832"/>
                <a:gd name="connsiteX3" fmla="*/ 423092 w 446340"/>
                <a:gd name="connsiteY3" fmla="*/ 254832 h 254832"/>
                <a:gd name="connsiteX4" fmla="*/ 441716 w 446340"/>
                <a:gd name="connsiteY4" fmla="*/ 250337 h 254832"/>
                <a:gd name="connsiteX5" fmla="*/ 442872 w 446340"/>
                <a:gd name="connsiteY5" fmla="*/ 250337 h 254832"/>
                <a:gd name="connsiteX6" fmla="*/ 444028 w 446340"/>
                <a:gd name="connsiteY6" fmla="*/ 250337 h 254832"/>
                <a:gd name="connsiteX7" fmla="*/ 444028 w 446340"/>
                <a:gd name="connsiteY7" fmla="*/ 250337 h 254832"/>
                <a:gd name="connsiteX8" fmla="*/ 445441 w 446340"/>
                <a:gd name="connsiteY8" fmla="*/ 250337 h 254832"/>
                <a:gd name="connsiteX9" fmla="*/ 446340 w 446340"/>
                <a:gd name="connsiteY9" fmla="*/ 250337 h 254832"/>
                <a:gd name="connsiteX10" fmla="*/ 446340 w 446340"/>
                <a:gd name="connsiteY10" fmla="*/ 250337 h 254832"/>
                <a:gd name="connsiteX11" fmla="*/ 4881 w 446340"/>
                <a:gd name="connsiteY11" fmla="*/ 0 h 254832"/>
                <a:gd name="connsiteX12" fmla="*/ 3982 w 446340"/>
                <a:gd name="connsiteY12" fmla="*/ 0 h 254832"/>
                <a:gd name="connsiteX13" fmla="*/ 8220 w 446340"/>
                <a:gd name="connsiteY13" fmla="*/ 5395 h 25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340" h="254832">
                  <a:moveTo>
                    <a:pt x="8220" y="5395"/>
                  </a:moveTo>
                  <a:cubicBezTo>
                    <a:pt x="8748" y="9342"/>
                    <a:pt x="6280" y="13072"/>
                    <a:pt x="2440" y="14129"/>
                  </a:cubicBezTo>
                  <a:lnTo>
                    <a:pt x="0" y="14129"/>
                  </a:lnTo>
                  <a:lnTo>
                    <a:pt x="423092" y="254832"/>
                  </a:lnTo>
                  <a:lnTo>
                    <a:pt x="441716" y="250337"/>
                  </a:lnTo>
                  <a:cubicBezTo>
                    <a:pt x="442099" y="250272"/>
                    <a:pt x="442490" y="250272"/>
                    <a:pt x="442872" y="250337"/>
                  </a:cubicBezTo>
                  <a:cubicBezTo>
                    <a:pt x="443247" y="250210"/>
                    <a:pt x="443653" y="250210"/>
                    <a:pt x="444028" y="250337"/>
                  </a:cubicBezTo>
                  <a:lnTo>
                    <a:pt x="444028" y="250337"/>
                  </a:lnTo>
                  <a:lnTo>
                    <a:pt x="445441" y="250337"/>
                  </a:lnTo>
                  <a:cubicBezTo>
                    <a:pt x="445441" y="250337"/>
                    <a:pt x="446083" y="250337"/>
                    <a:pt x="446340" y="250337"/>
                  </a:cubicBezTo>
                  <a:lnTo>
                    <a:pt x="446340" y="250337"/>
                  </a:lnTo>
                  <a:lnTo>
                    <a:pt x="4881" y="0"/>
                  </a:lnTo>
                  <a:lnTo>
                    <a:pt x="3982" y="0"/>
                  </a:lnTo>
                  <a:cubicBezTo>
                    <a:pt x="6299" y="855"/>
                    <a:pt x="7937" y="2941"/>
                    <a:pt x="8220" y="5395"/>
                  </a:cubicBezTo>
                  <a:close/>
                </a:path>
              </a:pathLst>
            </a:custGeom>
            <a:solidFill>
              <a:srgbClr val="000000"/>
            </a:solidFill>
            <a:ln w="12844"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0A0662C-7504-4D3B-A9D3-96B9DD8993FD}"/>
                </a:ext>
              </a:extLst>
            </p:cNvPr>
            <p:cNvSpPr/>
            <p:nvPr/>
          </p:nvSpPr>
          <p:spPr>
            <a:xfrm>
              <a:off x="1552877" y="2046878"/>
              <a:ext cx="110" cy="1412"/>
            </a:xfrm>
            <a:custGeom>
              <a:avLst/>
              <a:gdLst>
                <a:gd name="connsiteX0" fmla="*/ 0 w 110"/>
                <a:gd name="connsiteY0" fmla="*/ 1413 h 1412"/>
                <a:gd name="connsiteX1" fmla="*/ 0 w 110"/>
                <a:gd name="connsiteY1" fmla="*/ 0 h 1412"/>
                <a:gd name="connsiteX2" fmla="*/ 0 w 110"/>
                <a:gd name="connsiteY2" fmla="*/ 0 h 1412"/>
                <a:gd name="connsiteX3" fmla="*/ 0 w 110"/>
                <a:gd name="connsiteY3" fmla="*/ 1413 h 1412"/>
              </a:gdLst>
              <a:ahLst/>
              <a:cxnLst>
                <a:cxn ang="0">
                  <a:pos x="connsiteX0" y="connsiteY0"/>
                </a:cxn>
                <a:cxn ang="0">
                  <a:pos x="connsiteX1" y="connsiteY1"/>
                </a:cxn>
                <a:cxn ang="0">
                  <a:pos x="connsiteX2" y="connsiteY2"/>
                </a:cxn>
                <a:cxn ang="0">
                  <a:pos x="connsiteX3" y="connsiteY3"/>
                </a:cxn>
              </a:cxnLst>
              <a:rect l="l" t="t" r="r" b="b"/>
              <a:pathLst>
                <a:path w="110" h="1412">
                  <a:moveTo>
                    <a:pt x="0" y="1413"/>
                  </a:moveTo>
                  <a:cubicBezTo>
                    <a:pt x="0" y="1413"/>
                    <a:pt x="0" y="514"/>
                    <a:pt x="0" y="0"/>
                  </a:cubicBezTo>
                  <a:lnTo>
                    <a:pt x="0" y="0"/>
                  </a:lnTo>
                  <a:cubicBezTo>
                    <a:pt x="147" y="459"/>
                    <a:pt x="147" y="953"/>
                    <a:pt x="0" y="1413"/>
                  </a:cubicBezTo>
                  <a:close/>
                </a:path>
              </a:pathLst>
            </a:custGeom>
            <a:solidFill>
              <a:srgbClr val="000000"/>
            </a:solidFill>
            <a:ln w="12844"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EF2D6485-6695-49BE-AB3B-E6DD49A56739}"/>
                </a:ext>
              </a:extLst>
            </p:cNvPr>
            <p:cNvSpPr/>
            <p:nvPr/>
          </p:nvSpPr>
          <p:spPr>
            <a:xfrm>
              <a:off x="1553005" y="2049704"/>
              <a:ext cx="47" cy="1412"/>
            </a:xfrm>
            <a:custGeom>
              <a:avLst/>
              <a:gdLst>
                <a:gd name="connsiteX0" fmla="*/ 0 w 47"/>
                <a:gd name="connsiteY0" fmla="*/ 1413 h 1412"/>
                <a:gd name="connsiteX1" fmla="*/ 0 w 47"/>
                <a:gd name="connsiteY1" fmla="*/ 0 h 1412"/>
                <a:gd name="connsiteX2" fmla="*/ 0 w 47"/>
                <a:gd name="connsiteY2" fmla="*/ 1413 h 1412"/>
              </a:gdLst>
              <a:ahLst/>
              <a:cxnLst>
                <a:cxn ang="0">
                  <a:pos x="connsiteX0" y="connsiteY0"/>
                </a:cxn>
                <a:cxn ang="0">
                  <a:pos x="connsiteX1" y="connsiteY1"/>
                </a:cxn>
                <a:cxn ang="0">
                  <a:pos x="connsiteX2" y="connsiteY2"/>
                </a:cxn>
              </a:cxnLst>
              <a:rect l="l" t="t" r="r" b="b"/>
              <a:pathLst>
                <a:path w="47" h="1412">
                  <a:moveTo>
                    <a:pt x="0" y="1413"/>
                  </a:moveTo>
                  <a:cubicBezTo>
                    <a:pt x="64" y="944"/>
                    <a:pt x="64" y="469"/>
                    <a:pt x="0" y="0"/>
                  </a:cubicBezTo>
                  <a:lnTo>
                    <a:pt x="0" y="1413"/>
                  </a:lnTo>
                  <a:close/>
                </a:path>
              </a:pathLst>
            </a:custGeom>
            <a:solidFill>
              <a:srgbClr val="000000"/>
            </a:solidFill>
            <a:ln w="12844"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B4BFF3A7-3E2D-49E9-8E80-AEC432528605}"/>
                </a:ext>
              </a:extLst>
            </p:cNvPr>
            <p:cNvSpPr/>
            <p:nvPr/>
          </p:nvSpPr>
          <p:spPr>
            <a:xfrm>
              <a:off x="595796" y="1968742"/>
              <a:ext cx="370865" cy="226231"/>
            </a:xfrm>
            <a:custGeom>
              <a:avLst/>
              <a:gdLst>
                <a:gd name="connsiteX0" fmla="*/ 363930 w 370865"/>
                <a:gd name="connsiteY0" fmla="*/ 221351 h 226231"/>
                <a:gd name="connsiteX1" fmla="*/ 363930 w 370865"/>
                <a:gd name="connsiteY1" fmla="*/ 221351 h 226231"/>
                <a:gd name="connsiteX2" fmla="*/ 363930 w 370865"/>
                <a:gd name="connsiteY2" fmla="*/ 219681 h 226231"/>
                <a:gd name="connsiteX3" fmla="*/ 363930 w 370865"/>
                <a:gd name="connsiteY3" fmla="*/ 218782 h 226231"/>
                <a:gd name="connsiteX4" fmla="*/ 364957 w 370865"/>
                <a:gd name="connsiteY4" fmla="*/ 217497 h 226231"/>
                <a:gd name="connsiteX5" fmla="*/ 365728 w 370865"/>
                <a:gd name="connsiteY5" fmla="*/ 216598 h 226231"/>
                <a:gd name="connsiteX6" fmla="*/ 367012 w 370865"/>
                <a:gd name="connsiteY6" fmla="*/ 215956 h 226231"/>
                <a:gd name="connsiteX7" fmla="*/ 368297 w 370865"/>
                <a:gd name="connsiteY7" fmla="*/ 215956 h 226231"/>
                <a:gd name="connsiteX8" fmla="*/ 368297 w 370865"/>
                <a:gd name="connsiteY8" fmla="*/ 215956 h 226231"/>
                <a:gd name="connsiteX9" fmla="*/ 370866 w 370865"/>
                <a:gd name="connsiteY9" fmla="*/ 215314 h 226231"/>
                <a:gd name="connsiteX10" fmla="*/ 17390 w 370865"/>
                <a:gd name="connsiteY10" fmla="*/ 4923 h 226231"/>
                <a:gd name="connsiteX11" fmla="*/ 10454 w 370865"/>
                <a:gd name="connsiteY11" fmla="*/ 813 h 226231"/>
                <a:gd name="connsiteX12" fmla="*/ 1235 w 370865"/>
                <a:gd name="connsiteY12" fmla="*/ 3585 h 226231"/>
                <a:gd name="connsiteX13" fmla="*/ 1078 w 370865"/>
                <a:gd name="connsiteY13" fmla="*/ 3896 h 226231"/>
                <a:gd name="connsiteX14" fmla="*/ 3390 w 370865"/>
                <a:gd name="connsiteY14" fmla="*/ 13786 h 226231"/>
                <a:gd name="connsiteX15" fmla="*/ 5702 w 370865"/>
                <a:gd name="connsiteY15" fmla="*/ 15199 h 226231"/>
                <a:gd name="connsiteX16" fmla="*/ 363159 w 370865"/>
                <a:gd name="connsiteY16" fmla="*/ 226232 h 22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865" h="226231">
                  <a:moveTo>
                    <a:pt x="363930" y="221351"/>
                  </a:moveTo>
                  <a:lnTo>
                    <a:pt x="363930" y="221351"/>
                  </a:lnTo>
                  <a:cubicBezTo>
                    <a:pt x="363897" y="220795"/>
                    <a:pt x="363897" y="220237"/>
                    <a:pt x="363930" y="219681"/>
                  </a:cubicBezTo>
                  <a:lnTo>
                    <a:pt x="363930" y="218782"/>
                  </a:lnTo>
                  <a:cubicBezTo>
                    <a:pt x="364199" y="218300"/>
                    <a:pt x="364546" y="217866"/>
                    <a:pt x="364957" y="217497"/>
                  </a:cubicBezTo>
                  <a:lnTo>
                    <a:pt x="365728" y="216598"/>
                  </a:lnTo>
                  <a:lnTo>
                    <a:pt x="367012" y="215956"/>
                  </a:lnTo>
                  <a:cubicBezTo>
                    <a:pt x="367438" y="215887"/>
                    <a:pt x="367872" y="215887"/>
                    <a:pt x="368297" y="215956"/>
                  </a:cubicBezTo>
                  <a:lnTo>
                    <a:pt x="368297" y="215956"/>
                  </a:lnTo>
                  <a:lnTo>
                    <a:pt x="370866" y="215314"/>
                  </a:lnTo>
                  <a:lnTo>
                    <a:pt x="17390" y="4923"/>
                  </a:lnTo>
                  <a:lnTo>
                    <a:pt x="10454" y="813"/>
                  </a:lnTo>
                  <a:cubicBezTo>
                    <a:pt x="7143" y="-967"/>
                    <a:pt x="3015" y="274"/>
                    <a:pt x="1235" y="3585"/>
                  </a:cubicBezTo>
                  <a:cubicBezTo>
                    <a:pt x="1180" y="3687"/>
                    <a:pt x="1127" y="3791"/>
                    <a:pt x="1078" y="3896"/>
                  </a:cubicBezTo>
                  <a:cubicBezTo>
                    <a:pt x="-1009" y="7266"/>
                    <a:pt x="25" y="11689"/>
                    <a:pt x="3390" y="13786"/>
                  </a:cubicBezTo>
                  <a:lnTo>
                    <a:pt x="5702" y="15199"/>
                  </a:lnTo>
                  <a:lnTo>
                    <a:pt x="363159" y="226232"/>
                  </a:lnTo>
                  <a:close/>
                </a:path>
              </a:pathLst>
            </a:custGeom>
            <a:solidFill>
              <a:srgbClr val="000000"/>
            </a:solidFill>
            <a:ln w="12844"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7CC614A0-D877-4705-B73E-ACC2486FE120}"/>
                </a:ext>
              </a:extLst>
            </p:cNvPr>
            <p:cNvSpPr/>
            <p:nvPr/>
          </p:nvSpPr>
          <p:spPr>
            <a:xfrm>
              <a:off x="1552363" y="2045979"/>
              <a:ext cx="12844" cy="1156"/>
            </a:xfrm>
            <a:custGeom>
              <a:avLst/>
              <a:gdLst>
                <a:gd name="connsiteX0" fmla="*/ 0 w 12844"/>
                <a:gd name="connsiteY0" fmla="*/ 899 h 1156"/>
                <a:gd name="connsiteX1" fmla="*/ 0 w 12844"/>
                <a:gd name="connsiteY1" fmla="*/ 0 h 1156"/>
                <a:gd name="connsiteX2" fmla="*/ 0 w 12844"/>
                <a:gd name="connsiteY2" fmla="*/ 1156 h 1156"/>
              </a:gdLst>
              <a:ahLst/>
              <a:cxnLst>
                <a:cxn ang="0">
                  <a:pos x="connsiteX0" y="connsiteY0"/>
                </a:cxn>
                <a:cxn ang="0">
                  <a:pos x="connsiteX1" y="connsiteY1"/>
                </a:cxn>
                <a:cxn ang="0">
                  <a:pos x="connsiteX2" y="connsiteY2"/>
                </a:cxn>
              </a:cxnLst>
              <a:rect l="l" t="t" r="r" b="b"/>
              <a:pathLst>
                <a:path w="12844" h="1156">
                  <a:moveTo>
                    <a:pt x="0" y="899"/>
                  </a:moveTo>
                  <a:lnTo>
                    <a:pt x="0" y="0"/>
                  </a:lnTo>
                  <a:lnTo>
                    <a:pt x="0" y="1156"/>
                  </a:lnTo>
                  <a:close/>
                </a:path>
              </a:pathLst>
            </a:custGeom>
            <a:solidFill>
              <a:srgbClr val="000000"/>
            </a:solidFill>
            <a:ln w="12844"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EFD753D9-FF07-4122-9BED-B5A706ADB05D}"/>
                </a:ext>
              </a:extLst>
            </p:cNvPr>
            <p:cNvSpPr/>
            <p:nvPr/>
          </p:nvSpPr>
          <p:spPr>
            <a:xfrm>
              <a:off x="1553005" y="2049704"/>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3F073CE3-4CAB-4BDC-B5D8-E0FA758A41C8}"/>
                </a:ext>
              </a:extLst>
            </p:cNvPr>
            <p:cNvSpPr/>
            <p:nvPr/>
          </p:nvSpPr>
          <p:spPr>
            <a:xfrm>
              <a:off x="1550051" y="2044181"/>
              <a:ext cx="899" cy="899"/>
            </a:xfrm>
            <a:custGeom>
              <a:avLst/>
              <a:gdLst>
                <a:gd name="connsiteX0" fmla="*/ 899 w 899"/>
                <a:gd name="connsiteY0" fmla="*/ 771 h 899"/>
                <a:gd name="connsiteX1" fmla="*/ 0 w 899"/>
                <a:gd name="connsiteY1" fmla="*/ 0 h 899"/>
                <a:gd name="connsiteX2" fmla="*/ 899 w 899"/>
                <a:gd name="connsiteY2" fmla="*/ 899 h 899"/>
              </a:gdLst>
              <a:ahLst/>
              <a:cxnLst>
                <a:cxn ang="0">
                  <a:pos x="connsiteX0" y="connsiteY0"/>
                </a:cxn>
                <a:cxn ang="0">
                  <a:pos x="connsiteX1" y="connsiteY1"/>
                </a:cxn>
                <a:cxn ang="0">
                  <a:pos x="connsiteX2" y="connsiteY2"/>
                </a:cxn>
              </a:cxnLst>
              <a:rect l="l" t="t" r="r" b="b"/>
              <a:pathLst>
                <a:path w="899" h="899">
                  <a:moveTo>
                    <a:pt x="899" y="771"/>
                  </a:moveTo>
                  <a:cubicBezTo>
                    <a:pt x="899" y="771"/>
                    <a:pt x="899" y="129"/>
                    <a:pt x="0" y="0"/>
                  </a:cubicBezTo>
                  <a:cubicBezTo>
                    <a:pt x="361" y="231"/>
                    <a:pt x="668" y="538"/>
                    <a:pt x="899" y="899"/>
                  </a:cubicBezTo>
                  <a:close/>
                </a:path>
              </a:pathLst>
            </a:custGeom>
            <a:solidFill>
              <a:srgbClr val="000000"/>
            </a:solidFill>
            <a:ln w="12844"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766A3495-E034-42DF-9FBC-8E1CE0B01034}"/>
                </a:ext>
              </a:extLst>
            </p:cNvPr>
            <p:cNvSpPr/>
            <p:nvPr/>
          </p:nvSpPr>
          <p:spPr>
            <a:xfrm>
              <a:off x="965249" y="2043234"/>
              <a:ext cx="581077" cy="153667"/>
            </a:xfrm>
            <a:custGeom>
              <a:avLst/>
              <a:gdLst>
                <a:gd name="connsiteX0" fmla="*/ 0 w 581077"/>
                <a:gd name="connsiteY0" fmla="*/ 140309 h 153667"/>
                <a:gd name="connsiteX1" fmla="*/ 0 w 581077"/>
                <a:gd name="connsiteY1" fmla="*/ 140309 h 153667"/>
                <a:gd name="connsiteX2" fmla="*/ 2440 w 581077"/>
                <a:gd name="connsiteY2" fmla="*/ 140309 h 153667"/>
                <a:gd name="connsiteX3" fmla="*/ 8107 w 581077"/>
                <a:gd name="connsiteY3" fmla="*/ 148316 h 153667"/>
                <a:gd name="connsiteX4" fmla="*/ 8092 w 581077"/>
                <a:gd name="connsiteY4" fmla="*/ 148401 h 153667"/>
                <a:gd name="connsiteX5" fmla="*/ 7321 w 581077"/>
                <a:gd name="connsiteY5" fmla="*/ 153667 h 153667"/>
                <a:gd name="connsiteX6" fmla="*/ 572471 w 581077"/>
                <a:gd name="connsiteY6" fmla="*/ 16618 h 153667"/>
                <a:gd name="connsiteX7" fmla="*/ 574270 w 581077"/>
                <a:gd name="connsiteY7" fmla="*/ 6342 h 153667"/>
                <a:gd name="connsiteX8" fmla="*/ 581077 w 581077"/>
                <a:gd name="connsiteY8" fmla="*/ 49 h 153667"/>
                <a:gd name="connsiteX9" fmla="*/ 579921 w 581077"/>
                <a:gd name="connsiteY9" fmla="*/ 49 h 153667"/>
                <a:gd name="connsiteX10" fmla="*/ 561297 w 581077"/>
                <a:gd name="connsiteY10" fmla="*/ 4544 h 153667"/>
                <a:gd name="connsiteX11" fmla="*/ 2569 w 581077"/>
                <a:gd name="connsiteY11" fmla="*/ 140309 h 15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77" h="153667">
                  <a:moveTo>
                    <a:pt x="0" y="140309"/>
                  </a:moveTo>
                  <a:lnTo>
                    <a:pt x="0" y="140309"/>
                  </a:lnTo>
                  <a:lnTo>
                    <a:pt x="2440" y="140309"/>
                  </a:lnTo>
                  <a:cubicBezTo>
                    <a:pt x="6216" y="140955"/>
                    <a:pt x="8753" y="144540"/>
                    <a:pt x="8107" y="148316"/>
                  </a:cubicBezTo>
                  <a:cubicBezTo>
                    <a:pt x="8102" y="148344"/>
                    <a:pt x="8097" y="148373"/>
                    <a:pt x="8092" y="148401"/>
                  </a:cubicBezTo>
                  <a:lnTo>
                    <a:pt x="7321" y="153667"/>
                  </a:lnTo>
                  <a:lnTo>
                    <a:pt x="572471" y="16618"/>
                  </a:lnTo>
                  <a:lnTo>
                    <a:pt x="574270" y="6342"/>
                  </a:lnTo>
                  <a:cubicBezTo>
                    <a:pt x="574798" y="2916"/>
                    <a:pt x="577620" y="307"/>
                    <a:pt x="581077" y="49"/>
                  </a:cubicBezTo>
                  <a:cubicBezTo>
                    <a:pt x="580694" y="-16"/>
                    <a:pt x="580304" y="-16"/>
                    <a:pt x="579921" y="49"/>
                  </a:cubicBezTo>
                  <a:lnTo>
                    <a:pt x="561297" y="4544"/>
                  </a:lnTo>
                  <a:lnTo>
                    <a:pt x="2569" y="140309"/>
                  </a:lnTo>
                  <a:close/>
                </a:path>
              </a:pathLst>
            </a:custGeom>
            <a:solidFill>
              <a:srgbClr val="000000"/>
            </a:solidFill>
            <a:ln w="12844"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50E86D84-2010-4582-9661-CA5B115BBFBF}"/>
                </a:ext>
              </a:extLst>
            </p:cNvPr>
            <p:cNvSpPr/>
            <p:nvPr/>
          </p:nvSpPr>
          <p:spPr>
            <a:xfrm>
              <a:off x="2120339" y="2923635"/>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7DAB35E1-ECE9-4E51-8740-FFE13BCE9674}"/>
                </a:ext>
              </a:extLst>
            </p:cNvPr>
            <p:cNvSpPr/>
            <p:nvPr/>
          </p:nvSpPr>
          <p:spPr>
            <a:xfrm>
              <a:off x="1889912" y="2923507"/>
              <a:ext cx="230427" cy="78992"/>
            </a:xfrm>
            <a:custGeom>
              <a:avLst/>
              <a:gdLst>
                <a:gd name="connsiteX0" fmla="*/ 0 w 230427"/>
                <a:gd name="connsiteY0" fmla="*/ 78993 h 78992"/>
                <a:gd name="connsiteX1" fmla="*/ 230427 w 230427"/>
                <a:gd name="connsiteY1" fmla="*/ 14771 h 78992"/>
                <a:gd name="connsiteX2" fmla="*/ 228115 w 230427"/>
                <a:gd name="connsiteY2" fmla="*/ 13487 h 78992"/>
                <a:gd name="connsiteX3" fmla="*/ 225932 w 230427"/>
                <a:gd name="connsiteY3" fmla="*/ 3468 h 78992"/>
                <a:gd name="connsiteX4" fmla="*/ 230042 w 230427"/>
                <a:gd name="connsiteY4" fmla="*/ 0 h 78992"/>
                <a:gd name="connsiteX5" fmla="*/ 2697 w 230427"/>
                <a:gd name="connsiteY5" fmla="*/ 63066 h 78992"/>
                <a:gd name="connsiteX6" fmla="*/ 771 w 230427"/>
                <a:gd name="connsiteY6" fmla="*/ 73855 h 7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427" h="78992">
                  <a:moveTo>
                    <a:pt x="0" y="78993"/>
                  </a:moveTo>
                  <a:lnTo>
                    <a:pt x="230427" y="14771"/>
                  </a:lnTo>
                  <a:lnTo>
                    <a:pt x="228115" y="13487"/>
                  </a:lnTo>
                  <a:cubicBezTo>
                    <a:pt x="224839" y="11259"/>
                    <a:pt x="223880" y="6857"/>
                    <a:pt x="225932" y="3468"/>
                  </a:cubicBezTo>
                  <a:cubicBezTo>
                    <a:pt x="226802" y="1824"/>
                    <a:pt x="228275" y="581"/>
                    <a:pt x="230042" y="0"/>
                  </a:cubicBezTo>
                  <a:lnTo>
                    <a:pt x="2697" y="63066"/>
                  </a:lnTo>
                  <a:lnTo>
                    <a:pt x="771" y="73855"/>
                  </a:lnTo>
                  <a:close/>
                </a:path>
              </a:pathLst>
            </a:custGeom>
            <a:solidFill>
              <a:srgbClr val="000000"/>
            </a:solidFill>
            <a:ln w="12844"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CBADA928-8BC7-4AB0-9A91-A447E2402509}"/>
                </a:ext>
              </a:extLst>
            </p:cNvPr>
            <p:cNvSpPr/>
            <p:nvPr/>
          </p:nvSpPr>
          <p:spPr>
            <a:xfrm>
              <a:off x="2114766" y="2924181"/>
              <a:ext cx="632119" cy="384270"/>
            </a:xfrm>
            <a:custGeom>
              <a:avLst/>
              <a:gdLst>
                <a:gd name="connsiteX0" fmla="*/ 1078 w 632119"/>
                <a:gd name="connsiteY0" fmla="*/ 3050 h 384270"/>
                <a:gd name="connsiteX1" fmla="*/ 3261 w 632119"/>
                <a:gd name="connsiteY1" fmla="*/ 13069 h 384270"/>
                <a:gd name="connsiteX2" fmla="*/ 5573 w 632119"/>
                <a:gd name="connsiteY2" fmla="*/ 14353 h 384270"/>
                <a:gd name="connsiteX3" fmla="*/ 629165 w 632119"/>
                <a:gd name="connsiteY3" fmla="*/ 384271 h 384270"/>
                <a:gd name="connsiteX4" fmla="*/ 630193 w 632119"/>
                <a:gd name="connsiteY4" fmla="*/ 379133 h 384270"/>
                <a:gd name="connsiteX5" fmla="*/ 632119 w 632119"/>
                <a:gd name="connsiteY5" fmla="*/ 368858 h 384270"/>
                <a:gd name="connsiteX6" fmla="*/ 10454 w 632119"/>
                <a:gd name="connsiteY6" fmla="*/ 96 h 384270"/>
                <a:gd name="connsiteX7" fmla="*/ 9555 w 632119"/>
                <a:gd name="connsiteY7" fmla="*/ 96 h 384270"/>
                <a:gd name="connsiteX8" fmla="*/ 8142 w 632119"/>
                <a:gd name="connsiteY8" fmla="*/ 96 h 384270"/>
                <a:gd name="connsiteX9" fmla="*/ 6216 w 632119"/>
                <a:gd name="connsiteY9" fmla="*/ 96 h 384270"/>
                <a:gd name="connsiteX10" fmla="*/ 5188 w 632119"/>
                <a:gd name="connsiteY10" fmla="*/ 96 h 384270"/>
                <a:gd name="connsiteX11" fmla="*/ 1078 w 632119"/>
                <a:gd name="connsiteY11" fmla="*/ 3050 h 38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2119" h="384270">
                  <a:moveTo>
                    <a:pt x="1078" y="3050"/>
                  </a:moveTo>
                  <a:cubicBezTo>
                    <a:pt x="-974" y="6439"/>
                    <a:pt x="-15" y="10841"/>
                    <a:pt x="3261" y="13069"/>
                  </a:cubicBezTo>
                  <a:lnTo>
                    <a:pt x="5573" y="14353"/>
                  </a:lnTo>
                  <a:lnTo>
                    <a:pt x="629165" y="384271"/>
                  </a:lnTo>
                  <a:lnTo>
                    <a:pt x="630193" y="379133"/>
                  </a:lnTo>
                  <a:lnTo>
                    <a:pt x="632119" y="368858"/>
                  </a:lnTo>
                  <a:lnTo>
                    <a:pt x="10454" y="96"/>
                  </a:lnTo>
                  <a:lnTo>
                    <a:pt x="9555" y="96"/>
                  </a:lnTo>
                  <a:lnTo>
                    <a:pt x="8142" y="96"/>
                  </a:lnTo>
                  <a:cubicBezTo>
                    <a:pt x="7506" y="-32"/>
                    <a:pt x="6851" y="-32"/>
                    <a:pt x="6216" y="96"/>
                  </a:cubicBezTo>
                  <a:lnTo>
                    <a:pt x="5188" y="96"/>
                  </a:lnTo>
                  <a:cubicBezTo>
                    <a:pt x="3505" y="550"/>
                    <a:pt x="2045" y="1600"/>
                    <a:pt x="1078" y="3050"/>
                  </a:cubicBezTo>
                  <a:close/>
                </a:path>
              </a:pathLst>
            </a:custGeom>
            <a:solidFill>
              <a:srgbClr val="000000"/>
            </a:solidFill>
            <a:ln w="12844"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FCE4150D-AEC7-48E9-8284-60D0AAB69A96}"/>
                </a:ext>
              </a:extLst>
            </p:cNvPr>
            <p:cNvSpPr/>
            <p:nvPr/>
          </p:nvSpPr>
          <p:spPr>
            <a:xfrm>
              <a:off x="1443829" y="2660454"/>
              <a:ext cx="456358" cy="271401"/>
            </a:xfrm>
            <a:custGeom>
              <a:avLst/>
              <a:gdLst>
                <a:gd name="connsiteX0" fmla="*/ 6422 w 456358"/>
                <a:gd name="connsiteY0" fmla="*/ 5138 h 271401"/>
                <a:gd name="connsiteX1" fmla="*/ 6422 w 456358"/>
                <a:gd name="connsiteY1" fmla="*/ 6294 h 271401"/>
                <a:gd name="connsiteX2" fmla="*/ 6422 w 456358"/>
                <a:gd name="connsiteY2" fmla="*/ 7835 h 271401"/>
                <a:gd name="connsiteX3" fmla="*/ 6422 w 456358"/>
                <a:gd name="connsiteY3" fmla="*/ 7835 h 271401"/>
                <a:gd name="connsiteX4" fmla="*/ 5009 w 456358"/>
                <a:gd name="connsiteY4" fmla="*/ 9376 h 271401"/>
                <a:gd name="connsiteX5" fmla="*/ 4367 w 456358"/>
                <a:gd name="connsiteY5" fmla="*/ 9376 h 271401"/>
                <a:gd name="connsiteX6" fmla="*/ 2569 w 456358"/>
                <a:gd name="connsiteY6" fmla="*/ 10275 h 271401"/>
                <a:gd name="connsiteX7" fmla="*/ 2569 w 456358"/>
                <a:gd name="connsiteY7" fmla="*/ 10275 h 271401"/>
                <a:gd name="connsiteX8" fmla="*/ 0 w 456358"/>
                <a:gd name="connsiteY8" fmla="*/ 10918 h 271401"/>
                <a:gd name="connsiteX9" fmla="*/ 434395 w 456358"/>
                <a:gd name="connsiteY9" fmla="*/ 271401 h 271401"/>
                <a:gd name="connsiteX10" fmla="*/ 451349 w 456358"/>
                <a:gd name="connsiteY10" fmla="*/ 266649 h 271401"/>
                <a:gd name="connsiteX11" fmla="*/ 451349 w 456358"/>
                <a:gd name="connsiteY11" fmla="*/ 266649 h 271401"/>
                <a:gd name="connsiteX12" fmla="*/ 452634 w 456358"/>
                <a:gd name="connsiteY12" fmla="*/ 266649 h 271401"/>
                <a:gd name="connsiteX13" fmla="*/ 454047 w 456358"/>
                <a:gd name="connsiteY13" fmla="*/ 266649 h 271401"/>
                <a:gd name="connsiteX14" fmla="*/ 454047 w 456358"/>
                <a:gd name="connsiteY14" fmla="*/ 266649 h 271401"/>
                <a:gd name="connsiteX15" fmla="*/ 456359 w 456358"/>
                <a:gd name="connsiteY15" fmla="*/ 267548 h 271401"/>
                <a:gd name="connsiteX16" fmla="*/ 456359 w 456358"/>
                <a:gd name="connsiteY16" fmla="*/ 267548 h 271401"/>
                <a:gd name="connsiteX17" fmla="*/ 7578 w 456358"/>
                <a:gd name="connsiteY17" fmla="*/ 0 h 271401"/>
                <a:gd name="connsiteX18" fmla="*/ 6679 w 456358"/>
                <a:gd name="connsiteY18" fmla="*/ 5009 h 27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6358" h="271401">
                  <a:moveTo>
                    <a:pt x="6422" y="5138"/>
                  </a:moveTo>
                  <a:lnTo>
                    <a:pt x="6422" y="6294"/>
                  </a:lnTo>
                  <a:lnTo>
                    <a:pt x="6422" y="7835"/>
                  </a:lnTo>
                  <a:lnTo>
                    <a:pt x="6422" y="7835"/>
                  </a:lnTo>
                  <a:cubicBezTo>
                    <a:pt x="6059" y="8438"/>
                    <a:pt x="5579" y="8962"/>
                    <a:pt x="5009" y="9376"/>
                  </a:cubicBezTo>
                  <a:lnTo>
                    <a:pt x="4367" y="9376"/>
                  </a:lnTo>
                  <a:lnTo>
                    <a:pt x="2569" y="10275"/>
                  </a:lnTo>
                  <a:lnTo>
                    <a:pt x="2569" y="10275"/>
                  </a:lnTo>
                  <a:lnTo>
                    <a:pt x="0" y="10918"/>
                  </a:lnTo>
                  <a:lnTo>
                    <a:pt x="434395" y="271401"/>
                  </a:lnTo>
                  <a:lnTo>
                    <a:pt x="451349" y="266649"/>
                  </a:lnTo>
                  <a:lnTo>
                    <a:pt x="451349" y="266649"/>
                  </a:lnTo>
                  <a:cubicBezTo>
                    <a:pt x="451775" y="266584"/>
                    <a:pt x="452208" y="266584"/>
                    <a:pt x="452634" y="266649"/>
                  </a:cubicBezTo>
                  <a:cubicBezTo>
                    <a:pt x="453096" y="266517"/>
                    <a:pt x="453585" y="266517"/>
                    <a:pt x="454047" y="266649"/>
                  </a:cubicBezTo>
                  <a:lnTo>
                    <a:pt x="454047" y="266649"/>
                  </a:lnTo>
                  <a:cubicBezTo>
                    <a:pt x="454885" y="266733"/>
                    <a:pt x="455684" y="267043"/>
                    <a:pt x="456359" y="267548"/>
                  </a:cubicBezTo>
                  <a:lnTo>
                    <a:pt x="456359" y="267548"/>
                  </a:lnTo>
                  <a:lnTo>
                    <a:pt x="7578" y="0"/>
                  </a:lnTo>
                  <a:lnTo>
                    <a:pt x="6679" y="5009"/>
                  </a:lnTo>
                  <a:close/>
                </a:path>
              </a:pathLst>
            </a:custGeom>
            <a:solidFill>
              <a:srgbClr val="000000"/>
            </a:solidFill>
            <a:ln w="12844"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4EFA05E9-77CC-4396-89E8-93093EAEA69B}"/>
                </a:ext>
              </a:extLst>
            </p:cNvPr>
            <p:cNvSpPr/>
            <p:nvPr/>
          </p:nvSpPr>
          <p:spPr>
            <a:xfrm>
              <a:off x="862951" y="2815920"/>
              <a:ext cx="57" cy="850"/>
            </a:xfrm>
            <a:custGeom>
              <a:avLst/>
              <a:gdLst>
                <a:gd name="connsiteX0" fmla="*/ 57 w 57"/>
                <a:gd name="connsiteY0" fmla="*/ 850 h 850"/>
                <a:gd name="connsiteX1" fmla="*/ 57 w 57"/>
                <a:gd name="connsiteY1" fmla="*/ 850 h 850"/>
                <a:gd name="connsiteX2" fmla="*/ 57 w 57"/>
                <a:gd name="connsiteY2" fmla="*/ 208 h 850"/>
                <a:gd name="connsiteX3" fmla="*/ 57 w 57"/>
                <a:gd name="connsiteY3" fmla="*/ 850 h 850"/>
              </a:gdLst>
              <a:ahLst/>
              <a:cxnLst>
                <a:cxn ang="0">
                  <a:pos x="connsiteX0" y="connsiteY0"/>
                </a:cxn>
                <a:cxn ang="0">
                  <a:pos x="connsiteX1" y="connsiteY1"/>
                </a:cxn>
                <a:cxn ang="0">
                  <a:pos x="connsiteX2" y="connsiteY2"/>
                </a:cxn>
                <a:cxn ang="0">
                  <a:pos x="connsiteX3" y="connsiteY3"/>
                </a:cxn>
              </a:cxnLst>
              <a:rect l="l" t="t" r="r" b="b"/>
              <a:pathLst>
                <a:path w="57" h="850">
                  <a:moveTo>
                    <a:pt x="57" y="850"/>
                  </a:moveTo>
                  <a:lnTo>
                    <a:pt x="57" y="850"/>
                  </a:lnTo>
                  <a:cubicBezTo>
                    <a:pt x="57" y="850"/>
                    <a:pt x="57" y="850"/>
                    <a:pt x="57" y="208"/>
                  </a:cubicBezTo>
                  <a:cubicBezTo>
                    <a:pt x="57" y="-434"/>
                    <a:pt x="-71" y="593"/>
                    <a:pt x="57" y="850"/>
                  </a:cubicBezTo>
                  <a:close/>
                </a:path>
              </a:pathLst>
            </a:custGeom>
            <a:solidFill>
              <a:srgbClr val="000000"/>
            </a:solidFill>
            <a:ln w="12844"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9404FB52-B459-4D9F-98AE-1F15F54CC69B}"/>
                </a:ext>
              </a:extLst>
            </p:cNvPr>
            <p:cNvSpPr/>
            <p:nvPr/>
          </p:nvSpPr>
          <p:spPr>
            <a:xfrm>
              <a:off x="877137" y="2658527"/>
              <a:ext cx="567590" cy="159141"/>
            </a:xfrm>
            <a:custGeom>
              <a:avLst/>
              <a:gdLst>
                <a:gd name="connsiteX0" fmla="*/ 0 w 567590"/>
                <a:gd name="connsiteY0" fmla="*/ 152463 h 159141"/>
                <a:gd name="connsiteX1" fmla="*/ 10789 w 567590"/>
                <a:gd name="connsiteY1" fmla="*/ 159142 h 159141"/>
                <a:gd name="connsiteX2" fmla="*/ 565022 w 567590"/>
                <a:gd name="connsiteY2" fmla="*/ 13744 h 159141"/>
                <a:gd name="connsiteX3" fmla="*/ 567591 w 567590"/>
                <a:gd name="connsiteY3" fmla="*/ 13101 h 159141"/>
                <a:gd name="connsiteX4" fmla="*/ 567591 w 567590"/>
                <a:gd name="connsiteY4" fmla="*/ 13101 h 159141"/>
                <a:gd name="connsiteX5" fmla="*/ 565022 w 567590"/>
                <a:gd name="connsiteY5" fmla="*/ 13101 h 159141"/>
                <a:gd name="connsiteX6" fmla="*/ 559405 w 567590"/>
                <a:gd name="connsiteY6" fmla="*/ 5507 h 159141"/>
                <a:gd name="connsiteX7" fmla="*/ 559499 w 567590"/>
                <a:gd name="connsiteY7" fmla="*/ 5009 h 159141"/>
                <a:gd name="connsiteX8" fmla="*/ 560398 w 567590"/>
                <a:gd name="connsiteY8" fmla="*/ 0 h 159141"/>
                <a:gd name="connsiteX9" fmla="*/ 899 w 567590"/>
                <a:gd name="connsiteY9" fmla="*/ 146811 h 15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90" h="159141">
                  <a:moveTo>
                    <a:pt x="0" y="152463"/>
                  </a:moveTo>
                  <a:lnTo>
                    <a:pt x="10789" y="159142"/>
                  </a:lnTo>
                  <a:lnTo>
                    <a:pt x="565022" y="13744"/>
                  </a:lnTo>
                  <a:lnTo>
                    <a:pt x="567591" y="13101"/>
                  </a:lnTo>
                  <a:lnTo>
                    <a:pt x="567591" y="13101"/>
                  </a:lnTo>
                  <a:cubicBezTo>
                    <a:pt x="566746" y="13298"/>
                    <a:pt x="565867" y="13298"/>
                    <a:pt x="565022" y="13101"/>
                  </a:cubicBezTo>
                  <a:cubicBezTo>
                    <a:pt x="561374" y="12555"/>
                    <a:pt x="558859" y="9155"/>
                    <a:pt x="559405" y="5507"/>
                  </a:cubicBezTo>
                  <a:cubicBezTo>
                    <a:pt x="559430" y="5340"/>
                    <a:pt x="559461" y="5174"/>
                    <a:pt x="559499" y="5009"/>
                  </a:cubicBezTo>
                  <a:lnTo>
                    <a:pt x="560398" y="0"/>
                  </a:lnTo>
                  <a:lnTo>
                    <a:pt x="899" y="146811"/>
                  </a:lnTo>
                  <a:close/>
                </a:path>
              </a:pathLst>
            </a:custGeom>
            <a:solidFill>
              <a:srgbClr val="000000"/>
            </a:solidFill>
            <a:ln w="12844"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691650FC-F5B6-4713-B61F-EF14E5FB91A5}"/>
                </a:ext>
              </a:extLst>
            </p:cNvPr>
            <p:cNvSpPr/>
            <p:nvPr/>
          </p:nvSpPr>
          <p:spPr>
            <a:xfrm>
              <a:off x="862944" y="2814330"/>
              <a:ext cx="64" cy="2440"/>
            </a:xfrm>
            <a:custGeom>
              <a:avLst/>
              <a:gdLst>
                <a:gd name="connsiteX0" fmla="*/ 65 w 64"/>
                <a:gd name="connsiteY0" fmla="*/ 1798 h 2440"/>
                <a:gd name="connsiteX1" fmla="*/ 65 w 64"/>
                <a:gd name="connsiteY1" fmla="*/ 2440 h 2440"/>
                <a:gd name="connsiteX2" fmla="*/ 65 w 64"/>
                <a:gd name="connsiteY2" fmla="*/ 2440 h 2440"/>
                <a:gd name="connsiteX3" fmla="*/ 65 w 64"/>
                <a:gd name="connsiteY3" fmla="*/ 0 h 2440"/>
                <a:gd name="connsiteX4" fmla="*/ 65 w 64"/>
                <a:gd name="connsiteY4" fmla="*/ 1798 h 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 h="2440">
                  <a:moveTo>
                    <a:pt x="65" y="1798"/>
                  </a:moveTo>
                  <a:cubicBezTo>
                    <a:pt x="65" y="1798"/>
                    <a:pt x="65" y="1798"/>
                    <a:pt x="65" y="2440"/>
                  </a:cubicBezTo>
                  <a:lnTo>
                    <a:pt x="65" y="2440"/>
                  </a:lnTo>
                  <a:cubicBezTo>
                    <a:pt x="1" y="1628"/>
                    <a:pt x="1" y="812"/>
                    <a:pt x="65" y="0"/>
                  </a:cubicBezTo>
                  <a:cubicBezTo>
                    <a:pt x="-22" y="596"/>
                    <a:pt x="-22" y="1202"/>
                    <a:pt x="65" y="1798"/>
                  </a:cubicBezTo>
                  <a:close/>
                </a:path>
              </a:pathLst>
            </a:custGeom>
            <a:solidFill>
              <a:srgbClr val="000000"/>
            </a:solidFill>
            <a:ln w="12844"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678BA22F-9105-453E-9070-EA2DDC2A62A5}"/>
                </a:ext>
              </a:extLst>
            </p:cNvPr>
            <p:cNvSpPr/>
            <p:nvPr/>
          </p:nvSpPr>
          <p:spPr>
            <a:xfrm>
              <a:off x="863137" y="2817412"/>
              <a:ext cx="770" cy="1669"/>
            </a:xfrm>
            <a:custGeom>
              <a:avLst/>
              <a:gdLst>
                <a:gd name="connsiteX0" fmla="*/ 771 w 770"/>
                <a:gd name="connsiteY0" fmla="*/ 1670 h 1669"/>
                <a:gd name="connsiteX1" fmla="*/ 771 w 770"/>
                <a:gd name="connsiteY1" fmla="*/ 1670 h 1669"/>
                <a:gd name="connsiteX2" fmla="*/ 771 w 770"/>
                <a:gd name="connsiteY2" fmla="*/ 1670 h 1669"/>
                <a:gd name="connsiteX3" fmla="*/ 0 w 770"/>
                <a:gd name="connsiteY3" fmla="*/ 0 h 1669"/>
                <a:gd name="connsiteX4" fmla="*/ 771 w 770"/>
                <a:gd name="connsiteY4" fmla="*/ 1670 h 1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 h="1669">
                  <a:moveTo>
                    <a:pt x="771" y="1670"/>
                  </a:moveTo>
                  <a:cubicBezTo>
                    <a:pt x="771" y="1670"/>
                    <a:pt x="771" y="1670"/>
                    <a:pt x="771" y="1670"/>
                  </a:cubicBezTo>
                  <a:lnTo>
                    <a:pt x="771" y="1670"/>
                  </a:lnTo>
                  <a:lnTo>
                    <a:pt x="0" y="0"/>
                  </a:lnTo>
                  <a:cubicBezTo>
                    <a:pt x="0" y="0"/>
                    <a:pt x="514" y="1284"/>
                    <a:pt x="771" y="1670"/>
                  </a:cubicBezTo>
                  <a:close/>
                </a:path>
              </a:pathLst>
            </a:custGeom>
            <a:solidFill>
              <a:srgbClr val="000000"/>
            </a:solidFill>
            <a:ln w="12844"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D2D78735-3958-4E35-B349-E5A6341BD4A0}"/>
                </a:ext>
              </a:extLst>
            </p:cNvPr>
            <p:cNvSpPr/>
            <p:nvPr/>
          </p:nvSpPr>
          <p:spPr>
            <a:xfrm>
              <a:off x="866091" y="2810990"/>
              <a:ext cx="452120" cy="287071"/>
            </a:xfrm>
            <a:custGeom>
              <a:avLst/>
              <a:gdLst>
                <a:gd name="connsiteX0" fmla="*/ 445184 w 452120"/>
                <a:gd name="connsiteY0" fmla="*/ 282062 h 287071"/>
                <a:gd name="connsiteX1" fmla="*/ 445184 w 452120"/>
                <a:gd name="connsiteY1" fmla="*/ 280392 h 287071"/>
                <a:gd name="connsiteX2" fmla="*/ 445184 w 452120"/>
                <a:gd name="connsiteY2" fmla="*/ 279365 h 287071"/>
                <a:gd name="connsiteX3" fmla="*/ 446083 w 452120"/>
                <a:gd name="connsiteY3" fmla="*/ 278338 h 287071"/>
                <a:gd name="connsiteX4" fmla="*/ 446983 w 452120"/>
                <a:gd name="connsiteY4" fmla="*/ 277310 h 287071"/>
                <a:gd name="connsiteX5" fmla="*/ 447882 w 452120"/>
                <a:gd name="connsiteY5" fmla="*/ 277310 h 287071"/>
                <a:gd name="connsiteX6" fmla="*/ 449423 w 452120"/>
                <a:gd name="connsiteY6" fmla="*/ 276539 h 287071"/>
                <a:gd name="connsiteX7" fmla="*/ 449423 w 452120"/>
                <a:gd name="connsiteY7" fmla="*/ 276539 h 287071"/>
                <a:gd name="connsiteX8" fmla="*/ 452120 w 452120"/>
                <a:gd name="connsiteY8" fmla="*/ 275769 h 287071"/>
                <a:gd name="connsiteX9" fmla="*/ 21835 w 452120"/>
                <a:gd name="connsiteY9" fmla="*/ 6679 h 287071"/>
                <a:gd name="connsiteX10" fmla="*/ 11046 w 452120"/>
                <a:gd name="connsiteY10" fmla="*/ 0 h 287071"/>
                <a:gd name="connsiteX11" fmla="*/ 10404 w 452120"/>
                <a:gd name="connsiteY11" fmla="*/ 4752 h 287071"/>
                <a:gd name="connsiteX12" fmla="*/ 2440 w 452120"/>
                <a:gd name="connsiteY12" fmla="*/ 11303 h 287071"/>
                <a:gd name="connsiteX13" fmla="*/ 0 w 452120"/>
                <a:gd name="connsiteY13" fmla="*/ 10404 h 287071"/>
                <a:gd name="connsiteX14" fmla="*/ 444028 w 452120"/>
                <a:gd name="connsiteY14" fmla="*/ 287072 h 287071"/>
                <a:gd name="connsiteX15" fmla="*/ 444927 w 452120"/>
                <a:gd name="connsiteY15" fmla="*/ 282191 h 28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20" h="287071">
                  <a:moveTo>
                    <a:pt x="445184" y="282062"/>
                  </a:moveTo>
                  <a:cubicBezTo>
                    <a:pt x="445152" y="281506"/>
                    <a:pt x="445152" y="280949"/>
                    <a:pt x="445184" y="280392"/>
                  </a:cubicBezTo>
                  <a:cubicBezTo>
                    <a:pt x="445151" y="280051"/>
                    <a:pt x="445151" y="279707"/>
                    <a:pt x="445184" y="279365"/>
                  </a:cubicBezTo>
                  <a:lnTo>
                    <a:pt x="446083" y="278338"/>
                  </a:lnTo>
                  <a:cubicBezTo>
                    <a:pt x="446312" y="277939"/>
                    <a:pt x="446618" y="277589"/>
                    <a:pt x="446983" y="277310"/>
                  </a:cubicBezTo>
                  <a:lnTo>
                    <a:pt x="447882" y="277310"/>
                  </a:lnTo>
                  <a:cubicBezTo>
                    <a:pt x="448368" y="277002"/>
                    <a:pt x="448885" y="276744"/>
                    <a:pt x="449423" y="276539"/>
                  </a:cubicBezTo>
                  <a:lnTo>
                    <a:pt x="449423" y="276539"/>
                  </a:lnTo>
                  <a:lnTo>
                    <a:pt x="452120" y="275769"/>
                  </a:lnTo>
                  <a:lnTo>
                    <a:pt x="21835" y="6679"/>
                  </a:lnTo>
                  <a:lnTo>
                    <a:pt x="11046" y="0"/>
                  </a:lnTo>
                  <a:lnTo>
                    <a:pt x="10404" y="4752"/>
                  </a:lnTo>
                  <a:cubicBezTo>
                    <a:pt x="9816" y="8652"/>
                    <a:pt x="6380" y="11479"/>
                    <a:pt x="2440" y="11303"/>
                  </a:cubicBezTo>
                  <a:cubicBezTo>
                    <a:pt x="1563" y="11217"/>
                    <a:pt x="723" y="10908"/>
                    <a:pt x="0" y="10404"/>
                  </a:cubicBezTo>
                  <a:lnTo>
                    <a:pt x="444028" y="287072"/>
                  </a:lnTo>
                  <a:lnTo>
                    <a:pt x="444927" y="282191"/>
                  </a:lnTo>
                  <a:close/>
                </a:path>
              </a:pathLst>
            </a:custGeom>
            <a:solidFill>
              <a:srgbClr val="000000"/>
            </a:solidFill>
            <a:ln w="12844"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0E80E915-D282-4BB1-9521-18FF1E3FF5EC}"/>
                </a:ext>
              </a:extLst>
            </p:cNvPr>
            <p:cNvSpPr/>
            <p:nvPr/>
          </p:nvSpPr>
          <p:spPr>
            <a:xfrm>
              <a:off x="1901729" y="293326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4B72C5E4-CA3A-4BD6-85F7-74CFB5009BD7}"/>
                </a:ext>
              </a:extLst>
            </p:cNvPr>
            <p:cNvSpPr/>
            <p:nvPr/>
          </p:nvSpPr>
          <p:spPr>
            <a:xfrm>
              <a:off x="1893637" y="2928467"/>
              <a:ext cx="1284" cy="48"/>
            </a:xfrm>
            <a:custGeom>
              <a:avLst/>
              <a:gdLst>
                <a:gd name="connsiteX0" fmla="*/ 0 w 1284"/>
                <a:gd name="connsiteY0" fmla="*/ 49 h 48"/>
                <a:gd name="connsiteX1" fmla="*/ 0 w 1284"/>
                <a:gd name="connsiteY1" fmla="*/ 49 h 48"/>
                <a:gd name="connsiteX2" fmla="*/ 1285 w 1284"/>
                <a:gd name="connsiteY2" fmla="*/ 49 h 48"/>
                <a:gd name="connsiteX3" fmla="*/ 0 w 1284"/>
                <a:gd name="connsiteY3" fmla="*/ 49 h 48"/>
              </a:gdLst>
              <a:ahLst/>
              <a:cxnLst>
                <a:cxn ang="0">
                  <a:pos x="connsiteX0" y="connsiteY0"/>
                </a:cxn>
                <a:cxn ang="0">
                  <a:pos x="connsiteX1" y="connsiteY1"/>
                </a:cxn>
                <a:cxn ang="0">
                  <a:pos x="connsiteX2" y="connsiteY2"/>
                </a:cxn>
                <a:cxn ang="0">
                  <a:pos x="connsiteX3" y="connsiteY3"/>
                </a:cxn>
              </a:cxnLst>
              <a:rect l="l" t="t" r="r" b="b"/>
              <a:pathLst>
                <a:path w="1284" h="48">
                  <a:moveTo>
                    <a:pt x="0" y="49"/>
                  </a:moveTo>
                  <a:lnTo>
                    <a:pt x="0" y="49"/>
                  </a:lnTo>
                  <a:cubicBezTo>
                    <a:pt x="426" y="-16"/>
                    <a:pt x="859" y="-16"/>
                    <a:pt x="1285" y="49"/>
                  </a:cubicBezTo>
                  <a:cubicBezTo>
                    <a:pt x="859" y="-16"/>
                    <a:pt x="426" y="-16"/>
                    <a:pt x="0" y="49"/>
                  </a:cubicBezTo>
                  <a:close/>
                </a:path>
              </a:pathLst>
            </a:custGeom>
            <a:solidFill>
              <a:srgbClr val="000000"/>
            </a:solidFill>
            <a:ln w="12844"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5BD172EC-B701-4B08-AEAE-1F3ECF23A649}"/>
                </a:ext>
              </a:extLst>
            </p:cNvPr>
            <p:cNvSpPr/>
            <p:nvPr/>
          </p:nvSpPr>
          <p:spPr>
            <a:xfrm>
              <a:off x="1896463" y="2927617"/>
              <a:ext cx="2311" cy="899"/>
            </a:xfrm>
            <a:custGeom>
              <a:avLst/>
              <a:gdLst>
                <a:gd name="connsiteX0" fmla="*/ 2312 w 2311"/>
                <a:gd name="connsiteY0" fmla="*/ 899 h 899"/>
                <a:gd name="connsiteX1" fmla="*/ 2312 w 2311"/>
                <a:gd name="connsiteY1" fmla="*/ 899 h 899"/>
                <a:gd name="connsiteX2" fmla="*/ 0 w 2311"/>
                <a:gd name="connsiteY2" fmla="*/ 0 h 899"/>
                <a:gd name="connsiteX3" fmla="*/ 2312 w 2311"/>
                <a:gd name="connsiteY3" fmla="*/ 899 h 899"/>
              </a:gdLst>
              <a:ahLst/>
              <a:cxnLst>
                <a:cxn ang="0">
                  <a:pos x="connsiteX0" y="connsiteY0"/>
                </a:cxn>
                <a:cxn ang="0">
                  <a:pos x="connsiteX1" y="connsiteY1"/>
                </a:cxn>
                <a:cxn ang="0">
                  <a:pos x="connsiteX2" y="connsiteY2"/>
                </a:cxn>
                <a:cxn ang="0">
                  <a:pos x="connsiteX3" y="connsiteY3"/>
                </a:cxn>
              </a:cxnLst>
              <a:rect l="l" t="t" r="r" b="b"/>
              <a:pathLst>
                <a:path w="2311" h="899">
                  <a:moveTo>
                    <a:pt x="2312" y="899"/>
                  </a:moveTo>
                  <a:lnTo>
                    <a:pt x="2312" y="899"/>
                  </a:lnTo>
                  <a:cubicBezTo>
                    <a:pt x="1637" y="395"/>
                    <a:pt x="838" y="84"/>
                    <a:pt x="0" y="0"/>
                  </a:cubicBezTo>
                  <a:cubicBezTo>
                    <a:pt x="826" y="133"/>
                    <a:pt x="1614" y="439"/>
                    <a:pt x="2312" y="899"/>
                  </a:cubicBezTo>
                  <a:close/>
                </a:path>
              </a:pathLst>
            </a:custGeom>
            <a:solidFill>
              <a:srgbClr val="000000"/>
            </a:solidFill>
            <a:ln w="12844"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288E666C-B6A8-46B8-A701-034875CBE38E}"/>
                </a:ext>
              </a:extLst>
            </p:cNvPr>
            <p:cNvSpPr/>
            <p:nvPr/>
          </p:nvSpPr>
          <p:spPr>
            <a:xfrm>
              <a:off x="1900316" y="2929929"/>
              <a:ext cx="1284" cy="1412"/>
            </a:xfrm>
            <a:custGeom>
              <a:avLst/>
              <a:gdLst>
                <a:gd name="connsiteX0" fmla="*/ 642 w 1284"/>
                <a:gd name="connsiteY0" fmla="*/ 642 h 1412"/>
                <a:gd name="connsiteX1" fmla="*/ 642 w 1284"/>
                <a:gd name="connsiteY1" fmla="*/ 642 h 1412"/>
                <a:gd name="connsiteX2" fmla="*/ 0 w 1284"/>
                <a:gd name="connsiteY2" fmla="*/ 0 h 1412"/>
                <a:gd name="connsiteX3" fmla="*/ 1285 w 1284"/>
                <a:gd name="connsiteY3" fmla="*/ 1413 h 1412"/>
                <a:gd name="connsiteX4" fmla="*/ 642 w 1284"/>
                <a:gd name="connsiteY4" fmla="*/ 642 h 1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 h="1412">
                  <a:moveTo>
                    <a:pt x="642" y="642"/>
                  </a:moveTo>
                  <a:cubicBezTo>
                    <a:pt x="642" y="642"/>
                    <a:pt x="642" y="642"/>
                    <a:pt x="642" y="642"/>
                  </a:cubicBezTo>
                  <a:cubicBezTo>
                    <a:pt x="642" y="642"/>
                    <a:pt x="642" y="642"/>
                    <a:pt x="0" y="0"/>
                  </a:cubicBezTo>
                  <a:cubicBezTo>
                    <a:pt x="524" y="374"/>
                    <a:pt x="962" y="855"/>
                    <a:pt x="1285" y="1413"/>
                  </a:cubicBezTo>
                  <a:lnTo>
                    <a:pt x="642" y="642"/>
                  </a:lnTo>
                  <a:close/>
                </a:path>
              </a:pathLst>
            </a:custGeom>
            <a:solidFill>
              <a:srgbClr val="000000"/>
            </a:solidFill>
            <a:ln w="12844"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220BF765-275B-4538-B355-AB6063D14EA7}"/>
                </a:ext>
              </a:extLst>
            </p:cNvPr>
            <p:cNvSpPr/>
            <p:nvPr/>
          </p:nvSpPr>
          <p:spPr>
            <a:xfrm>
              <a:off x="1316670" y="2928259"/>
              <a:ext cx="576966" cy="171857"/>
            </a:xfrm>
            <a:custGeom>
              <a:avLst/>
              <a:gdLst>
                <a:gd name="connsiteX0" fmla="*/ 0 w 576966"/>
                <a:gd name="connsiteY0" fmla="*/ 158756 h 171857"/>
                <a:gd name="connsiteX1" fmla="*/ 0 w 576966"/>
                <a:gd name="connsiteY1" fmla="*/ 158756 h 171857"/>
                <a:gd name="connsiteX2" fmla="*/ 2697 w 576966"/>
                <a:gd name="connsiteY2" fmla="*/ 158756 h 171857"/>
                <a:gd name="connsiteX3" fmla="*/ 8265 w 576966"/>
                <a:gd name="connsiteY3" fmla="*/ 166610 h 171857"/>
                <a:gd name="connsiteX4" fmla="*/ 8220 w 576966"/>
                <a:gd name="connsiteY4" fmla="*/ 166848 h 171857"/>
                <a:gd name="connsiteX5" fmla="*/ 7321 w 576966"/>
                <a:gd name="connsiteY5" fmla="*/ 171858 h 171857"/>
                <a:gd name="connsiteX6" fmla="*/ 569774 w 576966"/>
                <a:gd name="connsiteY6" fmla="*/ 16954 h 171857"/>
                <a:gd name="connsiteX7" fmla="*/ 571701 w 576966"/>
                <a:gd name="connsiteY7" fmla="*/ 6165 h 171857"/>
                <a:gd name="connsiteX8" fmla="*/ 576967 w 576966"/>
                <a:gd name="connsiteY8" fmla="*/ 0 h 171857"/>
                <a:gd name="connsiteX9" fmla="*/ 560012 w 576966"/>
                <a:gd name="connsiteY9" fmla="*/ 4752 h 171857"/>
                <a:gd name="connsiteX10" fmla="*/ 2826 w 576966"/>
                <a:gd name="connsiteY10" fmla="*/ 158243 h 17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966" h="171857">
                  <a:moveTo>
                    <a:pt x="0" y="158756"/>
                  </a:moveTo>
                  <a:lnTo>
                    <a:pt x="0" y="158756"/>
                  </a:lnTo>
                  <a:cubicBezTo>
                    <a:pt x="889" y="158565"/>
                    <a:pt x="1808" y="158565"/>
                    <a:pt x="2697" y="158756"/>
                  </a:cubicBezTo>
                  <a:cubicBezTo>
                    <a:pt x="6404" y="159388"/>
                    <a:pt x="8897" y="162904"/>
                    <a:pt x="8265" y="166610"/>
                  </a:cubicBezTo>
                  <a:cubicBezTo>
                    <a:pt x="8252" y="166690"/>
                    <a:pt x="8237" y="166769"/>
                    <a:pt x="8220" y="166848"/>
                  </a:cubicBezTo>
                  <a:lnTo>
                    <a:pt x="7321" y="171858"/>
                  </a:lnTo>
                  <a:lnTo>
                    <a:pt x="569774" y="16954"/>
                  </a:lnTo>
                  <a:lnTo>
                    <a:pt x="571701" y="6165"/>
                  </a:lnTo>
                  <a:cubicBezTo>
                    <a:pt x="572200" y="3303"/>
                    <a:pt x="574218" y="941"/>
                    <a:pt x="576967" y="0"/>
                  </a:cubicBezTo>
                  <a:lnTo>
                    <a:pt x="560012" y="4752"/>
                  </a:lnTo>
                  <a:lnTo>
                    <a:pt x="2826" y="158243"/>
                  </a:lnTo>
                  <a:close/>
                </a:path>
              </a:pathLst>
            </a:custGeom>
            <a:solidFill>
              <a:srgbClr val="000000"/>
            </a:solidFill>
            <a:ln w="12844"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5E847194-D158-4F89-A366-01C3D0E03A26}"/>
                </a:ext>
              </a:extLst>
            </p:cNvPr>
            <p:cNvSpPr/>
            <p:nvPr/>
          </p:nvSpPr>
          <p:spPr>
            <a:xfrm>
              <a:off x="1436595" y="2043058"/>
              <a:ext cx="114942" cy="628974"/>
            </a:xfrm>
            <a:custGeom>
              <a:avLst/>
              <a:gdLst>
                <a:gd name="connsiteX0" fmla="*/ 111015 w 114942"/>
                <a:gd name="connsiteY0" fmla="*/ 95 h 628974"/>
                <a:gd name="connsiteX1" fmla="*/ 111015 w 114942"/>
                <a:gd name="connsiteY1" fmla="*/ 95 h 628974"/>
                <a:gd name="connsiteX2" fmla="*/ 109859 w 114942"/>
                <a:gd name="connsiteY2" fmla="*/ 95 h 628974"/>
                <a:gd name="connsiteX3" fmla="*/ 103052 w 114942"/>
                <a:gd name="connsiteY3" fmla="*/ 6389 h 628974"/>
                <a:gd name="connsiteX4" fmla="*/ 101254 w 114942"/>
                <a:gd name="connsiteY4" fmla="*/ 16665 h 628974"/>
                <a:gd name="connsiteX5" fmla="*/ 1068 w 114942"/>
                <a:gd name="connsiteY5" fmla="*/ 615726 h 628974"/>
                <a:gd name="connsiteX6" fmla="*/ 169 w 114942"/>
                <a:gd name="connsiteY6" fmla="*/ 620735 h 628974"/>
                <a:gd name="connsiteX7" fmla="*/ 5194 w 114942"/>
                <a:gd name="connsiteY7" fmla="*/ 628733 h 628974"/>
                <a:gd name="connsiteX8" fmla="*/ 5692 w 114942"/>
                <a:gd name="connsiteY8" fmla="*/ 628827 h 628974"/>
                <a:gd name="connsiteX9" fmla="*/ 8261 w 114942"/>
                <a:gd name="connsiteY9" fmla="*/ 628827 h 628974"/>
                <a:gd name="connsiteX10" fmla="*/ 10059 w 114942"/>
                <a:gd name="connsiteY10" fmla="*/ 627928 h 628974"/>
                <a:gd name="connsiteX11" fmla="*/ 10701 w 114942"/>
                <a:gd name="connsiteY11" fmla="*/ 627928 h 628974"/>
                <a:gd name="connsiteX12" fmla="*/ 12114 w 114942"/>
                <a:gd name="connsiteY12" fmla="*/ 626387 h 628974"/>
                <a:gd name="connsiteX13" fmla="*/ 12114 w 114942"/>
                <a:gd name="connsiteY13" fmla="*/ 626387 h 628974"/>
                <a:gd name="connsiteX14" fmla="*/ 12114 w 114942"/>
                <a:gd name="connsiteY14" fmla="*/ 624846 h 628974"/>
                <a:gd name="connsiteX15" fmla="*/ 12114 w 114942"/>
                <a:gd name="connsiteY15" fmla="*/ 623689 h 628974"/>
                <a:gd name="connsiteX16" fmla="*/ 12114 w 114942"/>
                <a:gd name="connsiteY16" fmla="*/ 623689 h 628974"/>
                <a:gd name="connsiteX17" fmla="*/ 13013 w 114942"/>
                <a:gd name="connsiteY17" fmla="*/ 618680 h 628974"/>
                <a:gd name="connsiteX18" fmla="*/ 114869 w 114942"/>
                <a:gd name="connsiteY18" fmla="*/ 9472 h 628974"/>
                <a:gd name="connsiteX19" fmla="*/ 114869 w 114942"/>
                <a:gd name="connsiteY19" fmla="*/ 9472 h 628974"/>
                <a:gd name="connsiteX20" fmla="*/ 114869 w 114942"/>
                <a:gd name="connsiteY20" fmla="*/ 6646 h 628974"/>
                <a:gd name="connsiteX21" fmla="*/ 114869 w 114942"/>
                <a:gd name="connsiteY21" fmla="*/ 5490 h 628974"/>
                <a:gd name="connsiteX22" fmla="*/ 114869 w 114942"/>
                <a:gd name="connsiteY22" fmla="*/ 4334 h 628974"/>
                <a:gd name="connsiteX23" fmla="*/ 114869 w 114942"/>
                <a:gd name="connsiteY23" fmla="*/ 4334 h 628974"/>
                <a:gd name="connsiteX24" fmla="*/ 113970 w 114942"/>
                <a:gd name="connsiteY24" fmla="*/ 3563 h 628974"/>
                <a:gd name="connsiteX25" fmla="*/ 113071 w 114942"/>
                <a:gd name="connsiteY25" fmla="*/ 2664 h 628974"/>
                <a:gd name="connsiteX26" fmla="*/ 113071 w 114942"/>
                <a:gd name="connsiteY26" fmla="*/ 2664 h 628974"/>
                <a:gd name="connsiteX27" fmla="*/ 112171 w 114942"/>
                <a:gd name="connsiteY27" fmla="*/ 2664 h 62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4942" h="628974">
                  <a:moveTo>
                    <a:pt x="111015" y="95"/>
                  </a:moveTo>
                  <a:lnTo>
                    <a:pt x="111015" y="95"/>
                  </a:lnTo>
                  <a:cubicBezTo>
                    <a:pt x="110641" y="-32"/>
                    <a:pt x="110234" y="-32"/>
                    <a:pt x="109859" y="95"/>
                  </a:cubicBezTo>
                  <a:cubicBezTo>
                    <a:pt x="106402" y="354"/>
                    <a:pt x="103580" y="2963"/>
                    <a:pt x="103052" y="6389"/>
                  </a:cubicBezTo>
                  <a:lnTo>
                    <a:pt x="101254" y="16665"/>
                  </a:lnTo>
                  <a:lnTo>
                    <a:pt x="1068" y="615726"/>
                  </a:lnTo>
                  <a:lnTo>
                    <a:pt x="169" y="620735"/>
                  </a:lnTo>
                  <a:cubicBezTo>
                    <a:pt x="-652" y="624332"/>
                    <a:pt x="1598" y="627912"/>
                    <a:pt x="5194" y="628733"/>
                  </a:cubicBezTo>
                  <a:cubicBezTo>
                    <a:pt x="5359" y="628771"/>
                    <a:pt x="5525" y="628802"/>
                    <a:pt x="5692" y="628827"/>
                  </a:cubicBezTo>
                  <a:cubicBezTo>
                    <a:pt x="6537" y="629024"/>
                    <a:pt x="7416" y="629024"/>
                    <a:pt x="8261" y="628827"/>
                  </a:cubicBezTo>
                  <a:lnTo>
                    <a:pt x="10059" y="627928"/>
                  </a:lnTo>
                  <a:lnTo>
                    <a:pt x="10701" y="627928"/>
                  </a:lnTo>
                  <a:cubicBezTo>
                    <a:pt x="11271" y="627514"/>
                    <a:pt x="11751" y="626990"/>
                    <a:pt x="12114" y="626387"/>
                  </a:cubicBezTo>
                  <a:lnTo>
                    <a:pt x="12114" y="626387"/>
                  </a:lnTo>
                  <a:lnTo>
                    <a:pt x="12114" y="624846"/>
                  </a:lnTo>
                  <a:lnTo>
                    <a:pt x="12114" y="623689"/>
                  </a:lnTo>
                  <a:lnTo>
                    <a:pt x="12114" y="623689"/>
                  </a:lnTo>
                  <a:lnTo>
                    <a:pt x="13013" y="618680"/>
                  </a:lnTo>
                  <a:lnTo>
                    <a:pt x="114869" y="9472"/>
                  </a:lnTo>
                  <a:lnTo>
                    <a:pt x="114869" y="9472"/>
                  </a:lnTo>
                  <a:lnTo>
                    <a:pt x="114869" y="6646"/>
                  </a:lnTo>
                  <a:cubicBezTo>
                    <a:pt x="114967" y="6267"/>
                    <a:pt x="114967" y="5869"/>
                    <a:pt x="114869" y="5490"/>
                  </a:cubicBezTo>
                  <a:lnTo>
                    <a:pt x="114869" y="4334"/>
                  </a:lnTo>
                  <a:lnTo>
                    <a:pt x="114869" y="4334"/>
                  </a:lnTo>
                  <a:cubicBezTo>
                    <a:pt x="114633" y="4010"/>
                    <a:pt x="114325" y="3746"/>
                    <a:pt x="113970" y="3563"/>
                  </a:cubicBezTo>
                  <a:cubicBezTo>
                    <a:pt x="113739" y="3202"/>
                    <a:pt x="113432" y="2895"/>
                    <a:pt x="113071" y="2664"/>
                  </a:cubicBezTo>
                  <a:lnTo>
                    <a:pt x="113071" y="2664"/>
                  </a:lnTo>
                  <a:cubicBezTo>
                    <a:pt x="113071" y="2664"/>
                    <a:pt x="113071" y="2664"/>
                    <a:pt x="112171" y="2664"/>
                  </a:cubicBezTo>
                  <a:close/>
                </a:path>
              </a:pathLst>
            </a:custGeom>
            <a:solidFill>
              <a:srgbClr val="000000"/>
            </a:solidFill>
            <a:ln w="12844"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C3B9A181-2CFB-4ECD-B1DA-FE12D639E19F}"/>
                </a:ext>
              </a:extLst>
            </p:cNvPr>
            <p:cNvSpPr/>
            <p:nvPr/>
          </p:nvSpPr>
          <p:spPr>
            <a:xfrm>
              <a:off x="862832" y="2182977"/>
              <a:ext cx="110496" cy="638860"/>
            </a:xfrm>
            <a:custGeom>
              <a:avLst/>
              <a:gdLst>
                <a:gd name="connsiteX0" fmla="*/ 13663 w 110496"/>
                <a:gd name="connsiteY0" fmla="*/ 632766 h 638860"/>
                <a:gd name="connsiteX1" fmla="*/ 14305 w 110496"/>
                <a:gd name="connsiteY1" fmla="*/ 628013 h 638860"/>
                <a:gd name="connsiteX2" fmla="*/ 15204 w 110496"/>
                <a:gd name="connsiteY2" fmla="*/ 622362 h 638860"/>
                <a:gd name="connsiteX3" fmla="*/ 109610 w 110496"/>
                <a:gd name="connsiteY3" fmla="*/ 13410 h 638860"/>
                <a:gd name="connsiteX4" fmla="*/ 110381 w 110496"/>
                <a:gd name="connsiteY4" fmla="*/ 8144 h 638860"/>
                <a:gd name="connsiteX5" fmla="*/ 104815 w 110496"/>
                <a:gd name="connsiteY5" fmla="*/ 67 h 638860"/>
                <a:gd name="connsiteX6" fmla="*/ 104729 w 110496"/>
                <a:gd name="connsiteY6" fmla="*/ 52 h 638860"/>
                <a:gd name="connsiteX7" fmla="*/ 102289 w 110496"/>
                <a:gd name="connsiteY7" fmla="*/ 52 h 638860"/>
                <a:gd name="connsiteX8" fmla="*/ 101004 w 110496"/>
                <a:gd name="connsiteY8" fmla="*/ 52 h 638860"/>
                <a:gd name="connsiteX9" fmla="*/ 99720 w 110496"/>
                <a:gd name="connsiteY9" fmla="*/ 694 h 638860"/>
                <a:gd name="connsiteX10" fmla="*/ 98949 w 110496"/>
                <a:gd name="connsiteY10" fmla="*/ 1593 h 638860"/>
                <a:gd name="connsiteX11" fmla="*/ 97922 w 110496"/>
                <a:gd name="connsiteY11" fmla="*/ 2878 h 638860"/>
                <a:gd name="connsiteX12" fmla="*/ 97922 w 110496"/>
                <a:gd name="connsiteY12" fmla="*/ 3777 h 638860"/>
                <a:gd name="connsiteX13" fmla="*/ 97922 w 110496"/>
                <a:gd name="connsiteY13" fmla="*/ 5447 h 638860"/>
                <a:gd name="connsiteX14" fmla="*/ 97922 w 110496"/>
                <a:gd name="connsiteY14" fmla="*/ 5447 h 638860"/>
                <a:gd name="connsiteX15" fmla="*/ 97151 w 110496"/>
                <a:gd name="connsiteY15" fmla="*/ 10328 h 638860"/>
                <a:gd name="connsiteX16" fmla="*/ 48 w 110496"/>
                <a:gd name="connsiteY16" fmla="*/ 631225 h 638860"/>
                <a:gd name="connsiteX17" fmla="*/ 48 w 110496"/>
                <a:gd name="connsiteY17" fmla="*/ 631225 h 638860"/>
                <a:gd name="connsiteX18" fmla="*/ 48 w 110496"/>
                <a:gd name="connsiteY18" fmla="*/ 631225 h 638860"/>
                <a:gd name="connsiteX19" fmla="*/ 48 w 110496"/>
                <a:gd name="connsiteY19" fmla="*/ 633665 h 638860"/>
                <a:gd name="connsiteX20" fmla="*/ 48 w 110496"/>
                <a:gd name="connsiteY20" fmla="*/ 634436 h 638860"/>
                <a:gd name="connsiteX21" fmla="*/ 819 w 110496"/>
                <a:gd name="connsiteY21" fmla="*/ 636105 h 638860"/>
                <a:gd name="connsiteX22" fmla="*/ 1846 w 110496"/>
                <a:gd name="connsiteY22" fmla="*/ 637133 h 638860"/>
                <a:gd name="connsiteX23" fmla="*/ 2745 w 110496"/>
                <a:gd name="connsiteY23" fmla="*/ 637904 h 638860"/>
                <a:gd name="connsiteX24" fmla="*/ 2745 w 110496"/>
                <a:gd name="connsiteY24" fmla="*/ 637904 h 638860"/>
                <a:gd name="connsiteX25" fmla="*/ 5186 w 110496"/>
                <a:gd name="connsiteY25" fmla="*/ 638803 h 638860"/>
                <a:gd name="connsiteX26" fmla="*/ 13663 w 110496"/>
                <a:gd name="connsiteY26" fmla="*/ 632766 h 63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496" h="638860">
                  <a:moveTo>
                    <a:pt x="13663" y="632766"/>
                  </a:moveTo>
                  <a:lnTo>
                    <a:pt x="14305" y="628013"/>
                  </a:lnTo>
                  <a:lnTo>
                    <a:pt x="15204" y="622362"/>
                  </a:lnTo>
                  <a:lnTo>
                    <a:pt x="109610" y="13410"/>
                  </a:lnTo>
                  <a:lnTo>
                    <a:pt x="110381" y="8144"/>
                  </a:lnTo>
                  <a:cubicBezTo>
                    <a:pt x="111074" y="4377"/>
                    <a:pt x="108582" y="760"/>
                    <a:pt x="104815" y="67"/>
                  </a:cubicBezTo>
                  <a:cubicBezTo>
                    <a:pt x="104786" y="62"/>
                    <a:pt x="104758" y="57"/>
                    <a:pt x="104729" y="52"/>
                  </a:cubicBezTo>
                  <a:lnTo>
                    <a:pt x="102289" y="52"/>
                  </a:lnTo>
                  <a:cubicBezTo>
                    <a:pt x="101863" y="-17"/>
                    <a:pt x="101430" y="-17"/>
                    <a:pt x="101004" y="52"/>
                  </a:cubicBezTo>
                  <a:lnTo>
                    <a:pt x="99720" y="694"/>
                  </a:lnTo>
                  <a:lnTo>
                    <a:pt x="98949" y="1593"/>
                  </a:lnTo>
                  <a:cubicBezTo>
                    <a:pt x="98538" y="1962"/>
                    <a:pt x="98191" y="2396"/>
                    <a:pt x="97922" y="2878"/>
                  </a:cubicBezTo>
                  <a:lnTo>
                    <a:pt x="97922" y="3777"/>
                  </a:lnTo>
                  <a:cubicBezTo>
                    <a:pt x="97889" y="4333"/>
                    <a:pt x="97889" y="4891"/>
                    <a:pt x="97922" y="5447"/>
                  </a:cubicBezTo>
                  <a:lnTo>
                    <a:pt x="97922" y="5447"/>
                  </a:lnTo>
                  <a:lnTo>
                    <a:pt x="97151" y="10328"/>
                  </a:lnTo>
                  <a:lnTo>
                    <a:pt x="48" y="631225"/>
                  </a:lnTo>
                  <a:lnTo>
                    <a:pt x="48" y="631225"/>
                  </a:lnTo>
                  <a:cubicBezTo>
                    <a:pt x="48" y="631225"/>
                    <a:pt x="48" y="631225"/>
                    <a:pt x="48" y="631225"/>
                  </a:cubicBezTo>
                  <a:cubicBezTo>
                    <a:pt x="-16" y="632037"/>
                    <a:pt x="-16" y="632853"/>
                    <a:pt x="48" y="633665"/>
                  </a:cubicBezTo>
                  <a:cubicBezTo>
                    <a:pt x="104" y="633919"/>
                    <a:pt x="104" y="634182"/>
                    <a:pt x="48" y="634436"/>
                  </a:cubicBezTo>
                  <a:lnTo>
                    <a:pt x="819" y="636105"/>
                  </a:lnTo>
                  <a:lnTo>
                    <a:pt x="1846" y="637133"/>
                  </a:lnTo>
                  <a:lnTo>
                    <a:pt x="2745" y="637904"/>
                  </a:lnTo>
                  <a:lnTo>
                    <a:pt x="2745" y="637904"/>
                  </a:lnTo>
                  <a:cubicBezTo>
                    <a:pt x="3468" y="638408"/>
                    <a:pt x="4309" y="638717"/>
                    <a:pt x="5186" y="638803"/>
                  </a:cubicBezTo>
                  <a:cubicBezTo>
                    <a:pt x="9149" y="639290"/>
                    <a:pt x="12828" y="636670"/>
                    <a:pt x="13663" y="632766"/>
                  </a:cubicBezTo>
                  <a:close/>
                </a:path>
              </a:pathLst>
            </a:custGeom>
            <a:solidFill>
              <a:srgbClr val="000000"/>
            </a:solidFill>
            <a:ln w="12844"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C72A7100-49CA-4A6B-82DA-44E3E67FF02C}"/>
                </a:ext>
              </a:extLst>
            </p:cNvPr>
            <p:cNvSpPr/>
            <p:nvPr/>
          </p:nvSpPr>
          <p:spPr>
            <a:xfrm>
              <a:off x="3126853" y="1552755"/>
              <a:ext cx="500124" cy="2320207"/>
            </a:xfrm>
            <a:custGeom>
              <a:avLst/>
              <a:gdLst>
                <a:gd name="connsiteX0" fmla="*/ 4205 w 500124"/>
                <a:gd name="connsiteY0" fmla="*/ 2320207 h 2320207"/>
                <a:gd name="connsiteX1" fmla="*/ 5233 w 500124"/>
                <a:gd name="connsiteY1" fmla="*/ 2320207 h 2320207"/>
                <a:gd name="connsiteX2" fmla="*/ 8187 w 500124"/>
                <a:gd name="connsiteY2" fmla="*/ 2320207 h 2320207"/>
                <a:gd name="connsiteX3" fmla="*/ 13453 w 500124"/>
                <a:gd name="connsiteY3" fmla="*/ 2314299 h 2320207"/>
                <a:gd name="connsiteX4" fmla="*/ 15893 w 500124"/>
                <a:gd name="connsiteY4" fmla="*/ 2302739 h 2320207"/>
                <a:gd name="connsiteX5" fmla="*/ 500124 w 500124"/>
                <a:gd name="connsiteY5" fmla="*/ 1413 h 2320207"/>
                <a:gd name="connsiteX6" fmla="*/ 495500 w 500124"/>
                <a:gd name="connsiteY6" fmla="*/ 2440 h 2320207"/>
                <a:gd name="connsiteX7" fmla="*/ 493317 w 500124"/>
                <a:gd name="connsiteY7" fmla="*/ 2440 h 2320207"/>
                <a:gd name="connsiteX8" fmla="*/ 492032 w 500124"/>
                <a:gd name="connsiteY8" fmla="*/ 2440 h 2320207"/>
                <a:gd name="connsiteX9" fmla="*/ 491262 w 500124"/>
                <a:gd name="connsiteY9" fmla="*/ 2440 h 2320207"/>
                <a:gd name="connsiteX10" fmla="*/ 486638 w 500124"/>
                <a:gd name="connsiteY10" fmla="*/ 0 h 2320207"/>
                <a:gd name="connsiteX11" fmla="*/ 95 w 500124"/>
                <a:gd name="connsiteY11" fmla="*/ 2311987 h 2320207"/>
                <a:gd name="connsiteX12" fmla="*/ 95 w 500124"/>
                <a:gd name="connsiteY12" fmla="*/ 2311987 h 2320207"/>
                <a:gd name="connsiteX13" fmla="*/ 95 w 500124"/>
                <a:gd name="connsiteY13" fmla="*/ 2313657 h 2320207"/>
                <a:gd name="connsiteX14" fmla="*/ 95 w 500124"/>
                <a:gd name="connsiteY14" fmla="*/ 2313656 h 2320207"/>
                <a:gd name="connsiteX15" fmla="*/ 95 w 500124"/>
                <a:gd name="connsiteY15" fmla="*/ 2314684 h 2320207"/>
                <a:gd name="connsiteX16" fmla="*/ 95 w 500124"/>
                <a:gd name="connsiteY16" fmla="*/ 2314684 h 2320207"/>
                <a:gd name="connsiteX17" fmla="*/ 95 w 500124"/>
                <a:gd name="connsiteY17" fmla="*/ 2315840 h 2320207"/>
                <a:gd name="connsiteX18" fmla="*/ 95 w 500124"/>
                <a:gd name="connsiteY18" fmla="*/ 2317125 h 2320207"/>
                <a:gd name="connsiteX19" fmla="*/ 95 w 500124"/>
                <a:gd name="connsiteY19" fmla="*/ 2317125 h 2320207"/>
                <a:gd name="connsiteX20" fmla="*/ 994 w 500124"/>
                <a:gd name="connsiteY20" fmla="*/ 2318024 h 2320207"/>
                <a:gd name="connsiteX21" fmla="*/ 2022 w 500124"/>
                <a:gd name="connsiteY21" fmla="*/ 2318923 h 2320207"/>
                <a:gd name="connsiteX22" fmla="*/ 2022 w 500124"/>
                <a:gd name="connsiteY22" fmla="*/ 2318923 h 232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0124" h="2320207">
                  <a:moveTo>
                    <a:pt x="4205" y="2320207"/>
                  </a:moveTo>
                  <a:cubicBezTo>
                    <a:pt x="4205" y="2320207"/>
                    <a:pt x="4205" y="2320207"/>
                    <a:pt x="5233" y="2320207"/>
                  </a:cubicBezTo>
                  <a:lnTo>
                    <a:pt x="8187" y="2320207"/>
                  </a:lnTo>
                  <a:cubicBezTo>
                    <a:pt x="10897" y="2319359"/>
                    <a:pt x="12920" y="2317088"/>
                    <a:pt x="13453" y="2314299"/>
                  </a:cubicBezTo>
                  <a:lnTo>
                    <a:pt x="15893" y="2302739"/>
                  </a:lnTo>
                  <a:lnTo>
                    <a:pt x="500124" y="1413"/>
                  </a:lnTo>
                  <a:lnTo>
                    <a:pt x="495500" y="2440"/>
                  </a:lnTo>
                  <a:lnTo>
                    <a:pt x="493317" y="2440"/>
                  </a:lnTo>
                  <a:lnTo>
                    <a:pt x="492032" y="2440"/>
                  </a:lnTo>
                  <a:lnTo>
                    <a:pt x="491262" y="2440"/>
                  </a:lnTo>
                  <a:lnTo>
                    <a:pt x="486638" y="0"/>
                  </a:lnTo>
                  <a:lnTo>
                    <a:pt x="95" y="2311987"/>
                  </a:lnTo>
                  <a:lnTo>
                    <a:pt x="95" y="2311987"/>
                  </a:lnTo>
                  <a:cubicBezTo>
                    <a:pt x="-32" y="2312537"/>
                    <a:pt x="-32" y="2313107"/>
                    <a:pt x="95" y="2313657"/>
                  </a:cubicBezTo>
                  <a:lnTo>
                    <a:pt x="95" y="2313656"/>
                  </a:lnTo>
                  <a:cubicBezTo>
                    <a:pt x="95" y="2313656"/>
                    <a:pt x="95" y="2314427"/>
                    <a:pt x="95" y="2314684"/>
                  </a:cubicBezTo>
                  <a:lnTo>
                    <a:pt x="95" y="2314684"/>
                  </a:lnTo>
                  <a:cubicBezTo>
                    <a:pt x="46" y="2315068"/>
                    <a:pt x="46" y="2315456"/>
                    <a:pt x="95" y="2315840"/>
                  </a:cubicBezTo>
                  <a:cubicBezTo>
                    <a:pt x="23" y="2316266"/>
                    <a:pt x="23" y="2316699"/>
                    <a:pt x="95" y="2317125"/>
                  </a:cubicBezTo>
                  <a:lnTo>
                    <a:pt x="95" y="2317125"/>
                  </a:lnTo>
                  <a:lnTo>
                    <a:pt x="994" y="2318024"/>
                  </a:lnTo>
                  <a:lnTo>
                    <a:pt x="2022" y="2318923"/>
                  </a:lnTo>
                  <a:lnTo>
                    <a:pt x="2022" y="2318923"/>
                  </a:lnTo>
                  <a:close/>
                </a:path>
              </a:pathLst>
            </a:custGeom>
            <a:solidFill>
              <a:srgbClr val="000000"/>
            </a:solidFill>
            <a:ln w="12844"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C60A6FFF-1271-47BD-A93C-AD3AB4E0C62F}"/>
                </a:ext>
              </a:extLst>
            </p:cNvPr>
            <p:cNvSpPr/>
            <p:nvPr/>
          </p:nvSpPr>
          <p:spPr>
            <a:xfrm>
              <a:off x="3447422" y="1469524"/>
              <a:ext cx="511638" cy="2301000"/>
            </a:xfrm>
            <a:custGeom>
              <a:avLst/>
              <a:gdLst>
                <a:gd name="connsiteX0" fmla="*/ 511582 w 511638"/>
                <a:gd name="connsiteY0" fmla="*/ 1284 h 2301000"/>
                <a:gd name="connsiteX1" fmla="*/ 511582 w 511638"/>
                <a:gd name="connsiteY1" fmla="*/ 1284 h 2301000"/>
                <a:gd name="connsiteX2" fmla="*/ 510683 w 511638"/>
                <a:gd name="connsiteY2" fmla="*/ 2569 h 2301000"/>
                <a:gd name="connsiteX3" fmla="*/ 509783 w 511638"/>
                <a:gd name="connsiteY3" fmla="*/ 3596 h 2301000"/>
                <a:gd name="connsiteX4" fmla="*/ 508628 w 511638"/>
                <a:gd name="connsiteY4" fmla="*/ 3596 h 2301000"/>
                <a:gd name="connsiteX5" fmla="*/ 507343 w 511638"/>
                <a:gd name="connsiteY5" fmla="*/ 3596 h 2301000"/>
                <a:gd name="connsiteX6" fmla="*/ 507343 w 511638"/>
                <a:gd name="connsiteY6" fmla="*/ 3596 h 2301000"/>
                <a:gd name="connsiteX7" fmla="*/ 497196 w 511638"/>
                <a:gd name="connsiteY7" fmla="*/ 6037 h 2301000"/>
                <a:gd name="connsiteX8" fmla="*/ 1277 w 511638"/>
                <a:gd name="connsiteY8" fmla="*/ 2287968 h 2301000"/>
                <a:gd name="connsiteX9" fmla="*/ 249 w 511638"/>
                <a:gd name="connsiteY9" fmla="*/ 2292464 h 2301000"/>
                <a:gd name="connsiteX10" fmla="*/ 4989 w 511638"/>
                <a:gd name="connsiteY10" fmla="*/ 2300843 h 2301000"/>
                <a:gd name="connsiteX11" fmla="*/ 5387 w 511638"/>
                <a:gd name="connsiteY11" fmla="*/ 2300941 h 2301000"/>
                <a:gd name="connsiteX12" fmla="*/ 9369 w 511638"/>
                <a:gd name="connsiteY12" fmla="*/ 2300299 h 2301000"/>
                <a:gd name="connsiteX13" fmla="*/ 10782 w 511638"/>
                <a:gd name="connsiteY13" fmla="*/ 2299399 h 2301000"/>
                <a:gd name="connsiteX14" fmla="*/ 11681 w 511638"/>
                <a:gd name="connsiteY14" fmla="*/ 2298500 h 2301000"/>
                <a:gd name="connsiteX15" fmla="*/ 12580 w 511638"/>
                <a:gd name="connsiteY15" fmla="*/ 2297344 h 2301000"/>
                <a:gd name="connsiteX16" fmla="*/ 13222 w 511638"/>
                <a:gd name="connsiteY16" fmla="*/ 2295803 h 2301000"/>
                <a:gd name="connsiteX17" fmla="*/ 13222 w 511638"/>
                <a:gd name="connsiteY17" fmla="*/ 2294904 h 2301000"/>
                <a:gd name="connsiteX18" fmla="*/ 13222 w 511638"/>
                <a:gd name="connsiteY18" fmla="*/ 2294904 h 2301000"/>
                <a:gd name="connsiteX19" fmla="*/ 13222 w 511638"/>
                <a:gd name="connsiteY19" fmla="*/ 2294904 h 2301000"/>
                <a:gd name="connsiteX20" fmla="*/ 14250 w 511638"/>
                <a:gd name="connsiteY20" fmla="*/ 2290151 h 2301000"/>
                <a:gd name="connsiteX21" fmla="*/ 511582 w 511638"/>
                <a:gd name="connsiteY21" fmla="*/ 0 h 2301000"/>
                <a:gd name="connsiteX22" fmla="*/ 511582 w 511638"/>
                <a:gd name="connsiteY22" fmla="*/ 899 h 2301000"/>
                <a:gd name="connsiteX23" fmla="*/ 511582 w 511638"/>
                <a:gd name="connsiteY23" fmla="*/ 1284 h 230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1638" h="2301000">
                  <a:moveTo>
                    <a:pt x="511582" y="1284"/>
                  </a:moveTo>
                  <a:cubicBezTo>
                    <a:pt x="511582" y="1284"/>
                    <a:pt x="511582" y="1284"/>
                    <a:pt x="511582" y="1284"/>
                  </a:cubicBezTo>
                  <a:cubicBezTo>
                    <a:pt x="511313" y="1733"/>
                    <a:pt x="511012" y="2163"/>
                    <a:pt x="510683" y="2569"/>
                  </a:cubicBezTo>
                  <a:lnTo>
                    <a:pt x="509783" y="3596"/>
                  </a:lnTo>
                  <a:lnTo>
                    <a:pt x="508628" y="3596"/>
                  </a:lnTo>
                  <a:lnTo>
                    <a:pt x="507343" y="3596"/>
                  </a:lnTo>
                  <a:lnTo>
                    <a:pt x="507343" y="3596"/>
                  </a:lnTo>
                  <a:lnTo>
                    <a:pt x="497196" y="6037"/>
                  </a:lnTo>
                  <a:lnTo>
                    <a:pt x="1277" y="2287968"/>
                  </a:lnTo>
                  <a:lnTo>
                    <a:pt x="249" y="2292464"/>
                  </a:lnTo>
                  <a:cubicBezTo>
                    <a:pt x="-756" y="2296086"/>
                    <a:pt x="1367" y="2299838"/>
                    <a:pt x="4989" y="2300843"/>
                  </a:cubicBezTo>
                  <a:cubicBezTo>
                    <a:pt x="5121" y="2300880"/>
                    <a:pt x="5253" y="2300912"/>
                    <a:pt x="5387" y="2300941"/>
                  </a:cubicBezTo>
                  <a:cubicBezTo>
                    <a:pt x="6748" y="2301118"/>
                    <a:pt x="8132" y="2300895"/>
                    <a:pt x="9369" y="2300299"/>
                  </a:cubicBezTo>
                  <a:lnTo>
                    <a:pt x="10782" y="2299399"/>
                  </a:lnTo>
                  <a:lnTo>
                    <a:pt x="11681" y="2298500"/>
                  </a:lnTo>
                  <a:cubicBezTo>
                    <a:pt x="12011" y="2298139"/>
                    <a:pt x="12311" y="2297753"/>
                    <a:pt x="12580" y="2297344"/>
                  </a:cubicBezTo>
                  <a:cubicBezTo>
                    <a:pt x="12871" y="2296866"/>
                    <a:pt x="13088" y="2296346"/>
                    <a:pt x="13222" y="2295803"/>
                  </a:cubicBezTo>
                  <a:lnTo>
                    <a:pt x="13222" y="2294904"/>
                  </a:lnTo>
                  <a:lnTo>
                    <a:pt x="13222" y="2294904"/>
                  </a:lnTo>
                  <a:lnTo>
                    <a:pt x="13222" y="2294904"/>
                  </a:lnTo>
                  <a:lnTo>
                    <a:pt x="14250" y="2290151"/>
                  </a:lnTo>
                  <a:lnTo>
                    <a:pt x="511582" y="0"/>
                  </a:lnTo>
                  <a:cubicBezTo>
                    <a:pt x="511582" y="0"/>
                    <a:pt x="511582" y="642"/>
                    <a:pt x="511582" y="899"/>
                  </a:cubicBezTo>
                  <a:cubicBezTo>
                    <a:pt x="511582" y="1156"/>
                    <a:pt x="511710" y="1027"/>
                    <a:pt x="511582" y="1284"/>
                  </a:cubicBezTo>
                  <a:close/>
                </a:path>
              </a:pathLst>
            </a:custGeom>
            <a:solidFill>
              <a:srgbClr val="000000"/>
            </a:solidFill>
            <a:ln w="12844"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D639D55-9299-44A1-857C-1DB4DDE540A8}"/>
                </a:ext>
              </a:extLst>
            </p:cNvPr>
            <p:cNvSpPr/>
            <p:nvPr/>
          </p:nvSpPr>
          <p:spPr>
            <a:xfrm>
              <a:off x="3959004" y="1463168"/>
              <a:ext cx="12844" cy="1089"/>
            </a:xfrm>
            <a:custGeom>
              <a:avLst/>
              <a:gdLst>
                <a:gd name="connsiteX0" fmla="*/ 0 w 12844"/>
                <a:gd name="connsiteY0" fmla="*/ 1090 h 1089"/>
                <a:gd name="connsiteX1" fmla="*/ 0 w 12844"/>
                <a:gd name="connsiteY1" fmla="*/ 319 h 1089"/>
                <a:gd name="connsiteX2" fmla="*/ 0 w 12844"/>
                <a:gd name="connsiteY2" fmla="*/ 1090 h 1089"/>
              </a:gdLst>
              <a:ahLst/>
              <a:cxnLst>
                <a:cxn ang="0">
                  <a:pos x="connsiteX0" y="connsiteY0"/>
                </a:cxn>
                <a:cxn ang="0">
                  <a:pos x="connsiteX1" y="connsiteY1"/>
                </a:cxn>
                <a:cxn ang="0">
                  <a:pos x="connsiteX2" y="connsiteY2"/>
                </a:cxn>
              </a:cxnLst>
              <a:rect l="l" t="t" r="r" b="b"/>
              <a:pathLst>
                <a:path w="12844" h="1089">
                  <a:moveTo>
                    <a:pt x="0" y="1090"/>
                  </a:moveTo>
                  <a:cubicBezTo>
                    <a:pt x="0" y="1090"/>
                    <a:pt x="0" y="1090"/>
                    <a:pt x="0" y="319"/>
                  </a:cubicBezTo>
                  <a:cubicBezTo>
                    <a:pt x="0" y="-451"/>
                    <a:pt x="0" y="319"/>
                    <a:pt x="0" y="1090"/>
                  </a:cubicBezTo>
                  <a:close/>
                </a:path>
              </a:pathLst>
            </a:custGeom>
            <a:solidFill>
              <a:srgbClr val="000000"/>
            </a:solidFill>
            <a:ln w="12844"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F3671FFC-FABB-41F5-878A-7D3DF9439606}"/>
                </a:ext>
              </a:extLst>
            </p:cNvPr>
            <p:cNvSpPr/>
            <p:nvPr/>
          </p:nvSpPr>
          <p:spPr>
            <a:xfrm>
              <a:off x="2383776" y="3531559"/>
              <a:ext cx="323933" cy="110589"/>
            </a:xfrm>
            <a:custGeom>
              <a:avLst/>
              <a:gdLst>
                <a:gd name="connsiteX0" fmla="*/ 0 w 323933"/>
                <a:gd name="connsiteY0" fmla="*/ 110590 h 110589"/>
                <a:gd name="connsiteX1" fmla="*/ 312631 w 323933"/>
                <a:gd name="connsiteY1" fmla="*/ 15542 h 110589"/>
                <a:gd name="connsiteX2" fmla="*/ 323035 w 323933"/>
                <a:gd name="connsiteY2" fmla="*/ 12330 h 110589"/>
                <a:gd name="connsiteX3" fmla="*/ 323934 w 323933"/>
                <a:gd name="connsiteY3" fmla="*/ 12330 h 110589"/>
                <a:gd name="connsiteX4" fmla="*/ 320080 w 323933"/>
                <a:gd name="connsiteY4" fmla="*/ 12973 h 110589"/>
                <a:gd name="connsiteX5" fmla="*/ 314737 w 323933"/>
                <a:gd name="connsiteY5" fmla="*/ 4964 h 110589"/>
                <a:gd name="connsiteX6" fmla="*/ 314814 w 323933"/>
                <a:gd name="connsiteY6" fmla="*/ 4623 h 110589"/>
                <a:gd name="connsiteX7" fmla="*/ 315713 w 323933"/>
                <a:gd name="connsiteY7" fmla="*/ 0 h 110589"/>
                <a:gd name="connsiteX8" fmla="*/ 3083 w 323933"/>
                <a:gd name="connsiteY8" fmla="*/ 95176 h 110589"/>
                <a:gd name="connsiteX9" fmla="*/ 899 w 323933"/>
                <a:gd name="connsiteY9" fmla="*/ 106480 h 1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933" h="110589">
                  <a:moveTo>
                    <a:pt x="0" y="110590"/>
                  </a:moveTo>
                  <a:lnTo>
                    <a:pt x="312631" y="15542"/>
                  </a:lnTo>
                  <a:lnTo>
                    <a:pt x="323035" y="12330"/>
                  </a:lnTo>
                  <a:lnTo>
                    <a:pt x="323934" y="12330"/>
                  </a:lnTo>
                  <a:cubicBezTo>
                    <a:pt x="322747" y="12940"/>
                    <a:pt x="321400" y="13164"/>
                    <a:pt x="320080" y="12973"/>
                  </a:cubicBezTo>
                  <a:cubicBezTo>
                    <a:pt x="316394" y="12236"/>
                    <a:pt x="314001" y="8651"/>
                    <a:pt x="314737" y="4964"/>
                  </a:cubicBezTo>
                  <a:cubicBezTo>
                    <a:pt x="314760" y="4850"/>
                    <a:pt x="314786" y="4736"/>
                    <a:pt x="314814" y="4623"/>
                  </a:cubicBezTo>
                  <a:lnTo>
                    <a:pt x="315713" y="0"/>
                  </a:lnTo>
                  <a:lnTo>
                    <a:pt x="3083" y="95176"/>
                  </a:lnTo>
                  <a:lnTo>
                    <a:pt x="899" y="106480"/>
                  </a:lnTo>
                  <a:close/>
                </a:path>
              </a:pathLst>
            </a:custGeom>
            <a:solidFill>
              <a:srgbClr val="000000"/>
            </a:solidFill>
            <a:ln w="12844"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477ADB61-6F68-48C1-A7EC-2B9FC35864C9}"/>
                </a:ext>
              </a:extLst>
            </p:cNvPr>
            <p:cNvSpPr/>
            <p:nvPr/>
          </p:nvSpPr>
          <p:spPr>
            <a:xfrm>
              <a:off x="3145316" y="1305244"/>
              <a:ext cx="1541" cy="770"/>
            </a:xfrm>
            <a:custGeom>
              <a:avLst/>
              <a:gdLst>
                <a:gd name="connsiteX0" fmla="*/ 1541 w 1541"/>
                <a:gd name="connsiteY0" fmla="*/ 0 h 770"/>
                <a:gd name="connsiteX1" fmla="*/ 0 w 1541"/>
                <a:gd name="connsiteY1" fmla="*/ 771 h 770"/>
                <a:gd name="connsiteX2" fmla="*/ 0 w 1541"/>
                <a:gd name="connsiteY2" fmla="*/ 771 h 770"/>
              </a:gdLst>
              <a:ahLst/>
              <a:cxnLst>
                <a:cxn ang="0">
                  <a:pos x="connsiteX0" y="connsiteY0"/>
                </a:cxn>
                <a:cxn ang="0">
                  <a:pos x="connsiteX1" y="connsiteY1"/>
                </a:cxn>
                <a:cxn ang="0">
                  <a:pos x="connsiteX2" y="connsiteY2"/>
                </a:cxn>
              </a:cxnLst>
              <a:rect l="l" t="t" r="r" b="b"/>
              <a:pathLst>
                <a:path w="1541" h="770">
                  <a:moveTo>
                    <a:pt x="1541" y="0"/>
                  </a:moveTo>
                  <a:lnTo>
                    <a:pt x="0" y="771"/>
                  </a:lnTo>
                  <a:lnTo>
                    <a:pt x="0" y="771"/>
                  </a:lnTo>
                  <a:close/>
                </a:path>
              </a:pathLst>
            </a:custGeom>
            <a:solidFill>
              <a:srgbClr val="000000"/>
            </a:solidFill>
            <a:ln w="12844"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51FA13D7-F318-4653-94E0-18A0A81132ED}"/>
                </a:ext>
              </a:extLst>
            </p:cNvPr>
            <p:cNvSpPr/>
            <p:nvPr/>
          </p:nvSpPr>
          <p:spPr>
            <a:xfrm>
              <a:off x="3143261" y="1306529"/>
              <a:ext cx="1155" cy="1155"/>
            </a:xfrm>
            <a:custGeom>
              <a:avLst/>
              <a:gdLst>
                <a:gd name="connsiteX0" fmla="*/ 1156 w 1155"/>
                <a:gd name="connsiteY0" fmla="*/ 0 h 1155"/>
                <a:gd name="connsiteX1" fmla="*/ 0 w 1155"/>
                <a:gd name="connsiteY1" fmla="*/ 1156 h 1155"/>
                <a:gd name="connsiteX2" fmla="*/ 0 w 1155"/>
                <a:gd name="connsiteY2" fmla="*/ 1156 h 1155"/>
                <a:gd name="connsiteX3" fmla="*/ 1156 w 1155"/>
                <a:gd name="connsiteY3" fmla="*/ 0 h 1155"/>
              </a:gdLst>
              <a:ahLst/>
              <a:cxnLst>
                <a:cxn ang="0">
                  <a:pos x="connsiteX0" y="connsiteY0"/>
                </a:cxn>
                <a:cxn ang="0">
                  <a:pos x="connsiteX1" y="connsiteY1"/>
                </a:cxn>
                <a:cxn ang="0">
                  <a:pos x="connsiteX2" y="connsiteY2"/>
                </a:cxn>
                <a:cxn ang="0">
                  <a:pos x="connsiteX3" y="connsiteY3"/>
                </a:cxn>
              </a:cxnLst>
              <a:rect l="l" t="t" r="r" b="b"/>
              <a:pathLst>
                <a:path w="1155" h="1155">
                  <a:moveTo>
                    <a:pt x="1156" y="0"/>
                  </a:moveTo>
                  <a:lnTo>
                    <a:pt x="0" y="1156"/>
                  </a:lnTo>
                  <a:lnTo>
                    <a:pt x="0" y="1156"/>
                  </a:lnTo>
                  <a:cubicBezTo>
                    <a:pt x="309" y="701"/>
                    <a:pt x="701" y="309"/>
                    <a:pt x="1156" y="0"/>
                  </a:cubicBezTo>
                  <a:close/>
                </a:path>
              </a:pathLst>
            </a:custGeom>
            <a:solidFill>
              <a:srgbClr val="000000"/>
            </a:solidFill>
            <a:ln w="12844"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E501CD55-7FE4-4B0E-B476-550CDD416B3F}"/>
                </a:ext>
              </a:extLst>
            </p:cNvPr>
            <p:cNvSpPr/>
            <p:nvPr/>
          </p:nvSpPr>
          <p:spPr>
            <a:xfrm>
              <a:off x="3142448" y="1308841"/>
              <a:ext cx="41" cy="770"/>
            </a:xfrm>
            <a:custGeom>
              <a:avLst/>
              <a:gdLst>
                <a:gd name="connsiteX0" fmla="*/ 42 w 41"/>
                <a:gd name="connsiteY0" fmla="*/ 0 h 770"/>
                <a:gd name="connsiteX1" fmla="*/ 42 w 41"/>
                <a:gd name="connsiteY1" fmla="*/ 0 h 770"/>
                <a:gd name="connsiteX2" fmla="*/ 42 w 41"/>
                <a:gd name="connsiteY2" fmla="*/ 771 h 770"/>
                <a:gd name="connsiteX3" fmla="*/ 42 w 41"/>
                <a:gd name="connsiteY3" fmla="*/ 771 h 770"/>
                <a:gd name="connsiteX4" fmla="*/ 42 w 41"/>
                <a:gd name="connsiteY4" fmla="*/ 0 h 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 h="770">
                  <a:moveTo>
                    <a:pt x="42" y="0"/>
                  </a:moveTo>
                  <a:cubicBezTo>
                    <a:pt x="42" y="0"/>
                    <a:pt x="42" y="0"/>
                    <a:pt x="42" y="0"/>
                  </a:cubicBezTo>
                  <a:cubicBezTo>
                    <a:pt x="42" y="0"/>
                    <a:pt x="42" y="0"/>
                    <a:pt x="42" y="771"/>
                  </a:cubicBezTo>
                  <a:lnTo>
                    <a:pt x="42" y="771"/>
                  </a:lnTo>
                  <a:cubicBezTo>
                    <a:pt x="-14" y="517"/>
                    <a:pt x="-14" y="254"/>
                    <a:pt x="42" y="0"/>
                  </a:cubicBezTo>
                  <a:close/>
                </a:path>
              </a:pathLst>
            </a:custGeom>
            <a:solidFill>
              <a:srgbClr val="000000"/>
            </a:solidFill>
            <a:ln w="12844"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6F81B608-AF95-4024-91E8-F0CFBDEBFC1C}"/>
                </a:ext>
              </a:extLst>
            </p:cNvPr>
            <p:cNvSpPr/>
            <p:nvPr/>
          </p:nvSpPr>
          <p:spPr>
            <a:xfrm>
              <a:off x="3153151" y="1315135"/>
              <a:ext cx="469202" cy="239804"/>
            </a:xfrm>
            <a:custGeom>
              <a:avLst/>
              <a:gdLst>
                <a:gd name="connsiteX0" fmla="*/ 464964 w 469202"/>
                <a:gd name="connsiteY0" fmla="*/ 239804 h 239804"/>
                <a:gd name="connsiteX1" fmla="*/ 465735 w 469202"/>
                <a:gd name="connsiteY1" fmla="*/ 239804 h 239804"/>
                <a:gd name="connsiteX2" fmla="*/ 461368 w 469202"/>
                <a:gd name="connsiteY2" fmla="*/ 234538 h 239804"/>
                <a:gd name="connsiteX3" fmla="*/ 467020 w 469202"/>
                <a:gd name="connsiteY3" fmla="*/ 225804 h 239804"/>
                <a:gd name="connsiteX4" fmla="*/ 469203 w 469202"/>
                <a:gd name="connsiteY4" fmla="*/ 225804 h 239804"/>
                <a:gd name="connsiteX5" fmla="*/ 16697 w 469202"/>
                <a:gd name="connsiteY5" fmla="*/ 0 h 239804"/>
                <a:gd name="connsiteX6" fmla="*/ 899 w 469202"/>
                <a:gd name="connsiteY6" fmla="*/ 3596 h 239804"/>
                <a:gd name="connsiteX7" fmla="*/ 0 w 469202"/>
                <a:gd name="connsiteY7" fmla="*/ 8220 h 239804"/>
                <a:gd name="connsiteX8" fmla="*/ 460340 w 469202"/>
                <a:gd name="connsiteY8" fmla="*/ 237749 h 23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202" h="239804">
                  <a:moveTo>
                    <a:pt x="464964" y="239804"/>
                  </a:moveTo>
                  <a:lnTo>
                    <a:pt x="465735" y="239804"/>
                  </a:lnTo>
                  <a:cubicBezTo>
                    <a:pt x="463388" y="239035"/>
                    <a:pt x="461690" y="236987"/>
                    <a:pt x="461368" y="234538"/>
                  </a:cubicBezTo>
                  <a:cubicBezTo>
                    <a:pt x="460768" y="230616"/>
                    <a:pt x="463196" y="226864"/>
                    <a:pt x="467020" y="225804"/>
                  </a:cubicBezTo>
                  <a:lnTo>
                    <a:pt x="469203" y="225804"/>
                  </a:lnTo>
                  <a:lnTo>
                    <a:pt x="16697" y="0"/>
                  </a:lnTo>
                  <a:lnTo>
                    <a:pt x="899" y="3596"/>
                  </a:lnTo>
                  <a:lnTo>
                    <a:pt x="0" y="8220"/>
                  </a:lnTo>
                  <a:lnTo>
                    <a:pt x="460340" y="237749"/>
                  </a:lnTo>
                  <a:close/>
                </a:path>
              </a:pathLst>
            </a:custGeom>
            <a:solidFill>
              <a:srgbClr val="000000"/>
            </a:solidFill>
            <a:ln w="12844"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44D45D1A-68D0-49D1-A61E-A4714938EAAB}"/>
                </a:ext>
              </a:extLst>
            </p:cNvPr>
            <p:cNvSpPr/>
            <p:nvPr/>
          </p:nvSpPr>
          <p:spPr>
            <a:xfrm>
              <a:off x="3959646" y="1466184"/>
              <a:ext cx="12844" cy="1284"/>
            </a:xfrm>
            <a:custGeom>
              <a:avLst/>
              <a:gdLst>
                <a:gd name="connsiteX0" fmla="*/ 0 w 12844"/>
                <a:gd name="connsiteY0" fmla="*/ 0 h 1284"/>
                <a:gd name="connsiteX1" fmla="*/ 0 w 12844"/>
                <a:gd name="connsiteY1" fmla="*/ 0 h 1284"/>
                <a:gd name="connsiteX2" fmla="*/ 0 w 12844"/>
                <a:gd name="connsiteY2" fmla="*/ 1284 h 1284"/>
              </a:gdLst>
              <a:ahLst/>
              <a:cxnLst>
                <a:cxn ang="0">
                  <a:pos x="connsiteX0" y="connsiteY0"/>
                </a:cxn>
                <a:cxn ang="0">
                  <a:pos x="connsiteX1" y="connsiteY1"/>
                </a:cxn>
                <a:cxn ang="0">
                  <a:pos x="connsiteX2" y="connsiteY2"/>
                </a:cxn>
              </a:cxnLst>
              <a:rect l="l" t="t" r="r" b="b"/>
              <a:pathLst>
                <a:path w="12844" h="1284">
                  <a:moveTo>
                    <a:pt x="0" y="0"/>
                  </a:moveTo>
                  <a:cubicBezTo>
                    <a:pt x="0" y="0"/>
                    <a:pt x="0" y="0"/>
                    <a:pt x="0" y="0"/>
                  </a:cubicBezTo>
                  <a:cubicBezTo>
                    <a:pt x="0" y="0"/>
                    <a:pt x="0" y="771"/>
                    <a:pt x="0" y="1284"/>
                  </a:cubicBezTo>
                  <a:close/>
                </a:path>
              </a:pathLst>
            </a:custGeom>
            <a:solidFill>
              <a:srgbClr val="000000"/>
            </a:solidFill>
            <a:ln w="12844"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0700830D-91BE-44EA-ACF1-1AB0098D2898}"/>
                </a:ext>
              </a:extLst>
            </p:cNvPr>
            <p:cNvSpPr/>
            <p:nvPr/>
          </p:nvSpPr>
          <p:spPr>
            <a:xfrm>
              <a:off x="3959517" y="1469139"/>
              <a:ext cx="12844" cy="1541"/>
            </a:xfrm>
            <a:custGeom>
              <a:avLst/>
              <a:gdLst>
                <a:gd name="connsiteX0" fmla="*/ 0 w 12844"/>
                <a:gd name="connsiteY0" fmla="*/ 0 h 1541"/>
                <a:gd name="connsiteX1" fmla="*/ 0 w 12844"/>
                <a:gd name="connsiteY1" fmla="*/ 0 h 1541"/>
                <a:gd name="connsiteX2" fmla="*/ 0 w 12844"/>
                <a:gd name="connsiteY2" fmla="*/ 1541 h 1541"/>
                <a:gd name="connsiteX3" fmla="*/ 0 w 12844"/>
                <a:gd name="connsiteY3" fmla="*/ 0 h 1541"/>
              </a:gdLst>
              <a:ahLst/>
              <a:cxnLst>
                <a:cxn ang="0">
                  <a:pos x="connsiteX0" y="connsiteY0"/>
                </a:cxn>
                <a:cxn ang="0">
                  <a:pos x="connsiteX1" y="connsiteY1"/>
                </a:cxn>
                <a:cxn ang="0">
                  <a:pos x="connsiteX2" y="connsiteY2"/>
                </a:cxn>
                <a:cxn ang="0">
                  <a:pos x="connsiteX3" y="connsiteY3"/>
                </a:cxn>
              </a:cxnLst>
              <a:rect l="l" t="t" r="r" b="b"/>
              <a:pathLst>
                <a:path w="12844" h="1541">
                  <a:moveTo>
                    <a:pt x="0" y="0"/>
                  </a:moveTo>
                  <a:cubicBezTo>
                    <a:pt x="0" y="0"/>
                    <a:pt x="0" y="0"/>
                    <a:pt x="0" y="0"/>
                  </a:cubicBezTo>
                  <a:lnTo>
                    <a:pt x="0" y="1541"/>
                  </a:lnTo>
                  <a:cubicBezTo>
                    <a:pt x="0" y="1541"/>
                    <a:pt x="0" y="385"/>
                    <a:pt x="0" y="0"/>
                  </a:cubicBezTo>
                  <a:close/>
                </a:path>
              </a:pathLst>
            </a:custGeom>
            <a:solidFill>
              <a:srgbClr val="000000"/>
            </a:solidFill>
            <a:ln w="12844"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A28AC8E-1094-4E7A-BAFC-0474DA77325C}"/>
                </a:ext>
              </a:extLst>
            </p:cNvPr>
            <p:cNvSpPr/>
            <p:nvPr/>
          </p:nvSpPr>
          <p:spPr>
            <a:xfrm>
              <a:off x="3958746" y="1464258"/>
              <a:ext cx="642" cy="1155"/>
            </a:xfrm>
            <a:custGeom>
              <a:avLst/>
              <a:gdLst>
                <a:gd name="connsiteX0" fmla="*/ 0 w 642"/>
                <a:gd name="connsiteY0" fmla="*/ 0 h 1155"/>
                <a:gd name="connsiteX1" fmla="*/ 0 w 642"/>
                <a:gd name="connsiteY1" fmla="*/ 0 h 1155"/>
                <a:gd name="connsiteX2" fmla="*/ 642 w 642"/>
                <a:gd name="connsiteY2" fmla="*/ 1156 h 1155"/>
                <a:gd name="connsiteX3" fmla="*/ 0 w 642"/>
                <a:gd name="connsiteY3" fmla="*/ 0 h 1155"/>
              </a:gdLst>
              <a:ahLst/>
              <a:cxnLst>
                <a:cxn ang="0">
                  <a:pos x="connsiteX0" y="connsiteY0"/>
                </a:cxn>
                <a:cxn ang="0">
                  <a:pos x="connsiteX1" y="connsiteY1"/>
                </a:cxn>
                <a:cxn ang="0">
                  <a:pos x="connsiteX2" y="connsiteY2"/>
                </a:cxn>
                <a:cxn ang="0">
                  <a:pos x="connsiteX3" y="connsiteY3"/>
                </a:cxn>
              </a:cxnLst>
              <a:rect l="l" t="t" r="r" b="b"/>
              <a:pathLst>
                <a:path w="642" h="1155">
                  <a:moveTo>
                    <a:pt x="0" y="0"/>
                  </a:moveTo>
                  <a:lnTo>
                    <a:pt x="0" y="0"/>
                  </a:lnTo>
                  <a:lnTo>
                    <a:pt x="642" y="1156"/>
                  </a:lnTo>
                  <a:cubicBezTo>
                    <a:pt x="642" y="1156"/>
                    <a:pt x="129" y="0"/>
                    <a:pt x="0" y="0"/>
                  </a:cubicBezTo>
                  <a:close/>
                </a:path>
              </a:pathLst>
            </a:custGeom>
            <a:solidFill>
              <a:srgbClr val="000000"/>
            </a:solidFill>
            <a:ln w="12844"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0A981C11-4DEF-48E9-AA02-DFA8D348E0ED}"/>
                </a:ext>
              </a:extLst>
            </p:cNvPr>
            <p:cNvSpPr/>
            <p:nvPr/>
          </p:nvSpPr>
          <p:spPr>
            <a:xfrm>
              <a:off x="3956948" y="1461689"/>
              <a:ext cx="1027" cy="770"/>
            </a:xfrm>
            <a:custGeom>
              <a:avLst/>
              <a:gdLst>
                <a:gd name="connsiteX0" fmla="*/ 0 w 1027"/>
                <a:gd name="connsiteY0" fmla="*/ 0 h 770"/>
                <a:gd name="connsiteX1" fmla="*/ 0 w 1027"/>
                <a:gd name="connsiteY1" fmla="*/ 0 h 770"/>
                <a:gd name="connsiteX2" fmla="*/ 1027 w 1027"/>
                <a:gd name="connsiteY2" fmla="*/ 771 h 770"/>
                <a:gd name="connsiteX3" fmla="*/ 0 w 1027"/>
                <a:gd name="connsiteY3" fmla="*/ 0 h 770"/>
              </a:gdLst>
              <a:ahLst/>
              <a:cxnLst>
                <a:cxn ang="0">
                  <a:pos x="connsiteX0" y="connsiteY0"/>
                </a:cxn>
                <a:cxn ang="0">
                  <a:pos x="connsiteX1" y="connsiteY1"/>
                </a:cxn>
                <a:cxn ang="0">
                  <a:pos x="connsiteX2" y="connsiteY2"/>
                </a:cxn>
                <a:cxn ang="0">
                  <a:pos x="connsiteX3" y="connsiteY3"/>
                </a:cxn>
              </a:cxnLst>
              <a:rect l="l" t="t" r="r" b="b"/>
              <a:pathLst>
                <a:path w="1027" h="770">
                  <a:moveTo>
                    <a:pt x="0" y="0"/>
                  </a:moveTo>
                  <a:lnTo>
                    <a:pt x="0" y="0"/>
                  </a:lnTo>
                  <a:lnTo>
                    <a:pt x="1027" y="771"/>
                  </a:lnTo>
                  <a:cubicBezTo>
                    <a:pt x="1027" y="771"/>
                    <a:pt x="128" y="128"/>
                    <a:pt x="0" y="0"/>
                  </a:cubicBezTo>
                  <a:close/>
                </a:path>
              </a:pathLst>
            </a:custGeom>
            <a:solidFill>
              <a:srgbClr val="000000"/>
            </a:solidFill>
            <a:ln w="12844"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702DCA8-96FE-478D-98F6-BF72CF7818B1}"/>
                </a:ext>
              </a:extLst>
            </p:cNvPr>
            <p:cNvSpPr/>
            <p:nvPr/>
          </p:nvSpPr>
          <p:spPr>
            <a:xfrm>
              <a:off x="3614428" y="1465927"/>
              <a:ext cx="339309" cy="89396"/>
            </a:xfrm>
            <a:custGeom>
              <a:avLst/>
              <a:gdLst>
                <a:gd name="connsiteX0" fmla="*/ 5742 w 339309"/>
                <a:gd name="connsiteY0" fmla="*/ 75396 h 89396"/>
                <a:gd name="connsiteX1" fmla="*/ 91 w 339309"/>
                <a:gd name="connsiteY1" fmla="*/ 84131 h 89396"/>
                <a:gd name="connsiteX2" fmla="*/ 4458 w 339309"/>
                <a:gd name="connsiteY2" fmla="*/ 89397 h 89396"/>
                <a:gd name="connsiteX3" fmla="*/ 5742 w 339309"/>
                <a:gd name="connsiteY3" fmla="*/ 89397 h 89396"/>
                <a:gd name="connsiteX4" fmla="*/ 7669 w 339309"/>
                <a:gd name="connsiteY4" fmla="*/ 89397 h 89396"/>
                <a:gd name="connsiteX5" fmla="*/ 12293 w 339309"/>
                <a:gd name="connsiteY5" fmla="*/ 88369 h 89396"/>
                <a:gd name="connsiteX6" fmla="*/ 329162 w 339309"/>
                <a:gd name="connsiteY6" fmla="*/ 11303 h 89396"/>
                <a:gd name="connsiteX7" fmla="*/ 339309 w 339309"/>
                <a:gd name="connsiteY7" fmla="*/ 8863 h 89396"/>
                <a:gd name="connsiteX8" fmla="*/ 339309 w 339309"/>
                <a:gd name="connsiteY8" fmla="*/ 8863 h 89396"/>
                <a:gd name="connsiteX9" fmla="*/ 334557 w 339309"/>
                <a:gd name="connsiteY9" fmla="*/ 8863 h 89396"/>
                <a:gd name="connsiteX10" fmla="*/ 316318 w 339309"/>
                <a:gd name="connsiteY10" fmla="*/ 0 h 89396"/>
                <a:gd name="connsiteX11" fmla="*/ 7669 w 339309"/>
                <a:gd name="connsiteY11" fmla="*/ 74626 h 8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09" h="89396">
                  <a:moveTo>
                    <a:pt x="5742" y="75396"/>
                  </a:moveTo>
                  <a:cubicBezTo>
                    <a:pt x="1919" y="76457"/>
                    <a:pt x="-509" y="80208"/>
                    <a:pt x="91" y="84131"/>
                  </a:cubicBezTo>
                  <a:cubicBezTo>
                    <a:pt x="413" y="86580"/>
                    <a:pt x="2111" y="88627"/>
                    <a:pt x="4458" y="89397"/>
                  </a:cubicBezTo>
                  <a:lnTo>
                    <a:pt x="5742" y="89397"/>
                  </a:lnTo>
                  <a:lnTo>
                    <a:pt x="7669" y="89397"/>
                  </a:lnTo>
                  <a:lnTo>
                    <a:pt x="12293" y="88369"/>
                  </a:lnTo>
                  <a:lnTo>
                    <a:pt x="329162" y="11303"/>
                  </a:lnTo>
                  <a:lnTo>
                    <a:pt x="339309" y="8863"/>
                  </a:lnTo>
                  <a:lnTo>
                    <a:pt x="339309" y="8863"/>
                  </a:lnTo>
                  <a:cubicBezTo>
                    <a:pt x="337789" y="9498"/>
                    <a:pt x="336077" y="9498"/>
                    <a:pt x="334557" y="8863"/>
                  </a:cubicBezTo>
                  <a:lnTo>
                    <a:pt x="316318" y="0"/>
                  </a:lnTo>
                  <a:lnTo>
                    <a:pt x="7669" y="74626"/>
                  </a:lnTo>
                  <a:close/>
                </a:path>
              </a:pathLst>
            </a:custGeom>
            <a:solidFill>
              <a:srgbClr val="000000"/>
            </a:solidFill>
            <a:ln w="12844"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95F38B2F-D0F0-4AB6-9E06-211CE372531E}"/>
                </a:ext>
              </a:extLst>
            </p:cNvPr>
            <p:cNvSpPr/>
            <p:nvPr/>
          </p:nvSpPr>
          <p:spPr>
            <a:xfrm>
              <a:off x="3441762" y="1211866"/>
              <a:ext cx="516984" cy="262629"/>
            </a:xfrm>
            <a:custGeom>
              <a:avLst/>
              <a:gdLst>
                <a:gd name="connsiteX0" fmla="*/ 7963 w 516984"/>
                <a:gd name="connsiteY0" fmla="*/ 5266 h 262629"/>
                <a:gd name="connsiteX1" fmla="*/ 2312 w 516984"/>
                <a:gd name="connsiteY1" fmla="*/ 13872 h 262629"/>
                <a:gd name="connsiteX2" fmla="*/ 0 w 516984"/>
                <a:gd name="connsiteY2" fmla="*/ 13872 h 262629"/>
                <a:gd name="connsiteX3" fmla="*/ 489754 w 516984"/>
                <a:gd name="connsiteY3" fmla="*/ 253291 h 262629"/>
                <a:gd name="connsiteX4" fmla="*/ 507993 w 516984"/>
                <a:gd name="connsiteY4" fmla="*/ 262154 h 262629"/>
                <a:gd name="connsiteX5" fmla="*/ 512745 w 516984"/>
                <a:gd name="connsiteY5" fmla="*/ 262154 h 262629"/>
                <a:gd name="connsiteX6" fmla="*/ 514030 w 516984"/>
                <a:gd name="connsiteY6" fmla="*/ 262154 h 262629"/>
                <a:gd name="connsiteX7" fmla="*/ 515186 w 516984"/>
                <a:gd name="connsiteY7" fmla="*/ 262154 h 262629"/>
                <a:gd name="connsiteX8" fmla="*/ 516085 w 516984"/>
                <a:gd name="connsiteY8" fmla="*/ 261126 h 262629"/>
                <a:gd name="connsiteX9" fmla="*/ 516984 w 516984"/>
                <a:gd name="connsiteY9" fmla="*/ 259842 h 262629"/>
                <a:gd name="connsiteX10" fmla="*/ 516984 w 516984"/>
                <a:gd name="connsiteY10" fmla="*/ 259842 h 262629"/>
                <a:gd name="connsiteX11" fmla="*/ 516984 w 516984"/>
                <a:gd name="connsiteY11" fmla="*/ 259071 h 262629"/>
                <a:gd name="connsiteX12" fmla="*/ 516984 w 516984"/>
                <a:gd name="connsiteY12" fmla="*/ 257530 h 262629"/>
                <a:gd name="connsiteX13" fmla="*/ 516984 w 516984"/>
                <a:gd name="connsiteY13" fmla="*/ 256117 h 262629"/>
                <a:gd name="connsiteX14" fmla="*/ 516984 w 516984"/>
                <a:gd name="connsiteY14" fmla="*/ 254832 h 262629"/>
                <a:gd name="connsiteX15" fmla="*/ 516984 w 516984"/>
                <a:gd name="connsiteY15" fmla="*/ 253419 h 262629"/>
                <a:gd name="connsiteX16" fmla="*/ 516984 w 516984"/>
                <a:gd name="connsiteY16" fmla="*/ 253419 h 262629"/>
                <a:gd name="connsiteX17" fmla="*/ 516342 w 516984"/>
                <a:gd name="connsiteY17" fmla="*/ 252263 h 262629"/>
                <a:gd name="connsiteX18" fmla="*/ 515443 w 516984"/>
                <a:gd name="connsiteY18" fmla="*/ 251236 h 262629"/>
                <a:gd name="connsiteX19" fmla="*/ 514415 w 516984"/>
                <a:gd name="connsiteY19" fmla="*/ 250465 h 262629"/>
                <a:gd name="connsiteX20" fmla="*/ 514415 w 516984"/>
                <a:gd name="connsiteY20" fmla="*/ 250465 h 262629"/>
                <a:gd name="connsiteX21" fmla="*/ 4367 w 516984"/>
                <a:gd name="connsiteY21" fmla="*/ 0 h 262629"/>
                <a:gd name="connsiteX22" fmla="*/ 3596 w 516984"/>
                <a:gd name="connsiteY22" fmla="*/ 0 h 262629"/>
                <a:gd name="connsiteX23" fmla="*/ 7963 w 516984"/>
                <a:gd name="connsiteY23" fmla="*/ 5266 h 26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984" h="262629">
                  <a:moveTo>
                    <a:pt x="7963" y="5266"/>
                  </a:moveTo>
                  <a:cubicBezTo>
                    <a:pt x="8616" y="9171"/>
                    <a:pt x="6154" y="12920"/>
                    <a:pt x="2312" y="13872"/>
                  </a:cubicBezTo>
                  <a:lnTo>
                    <a:pt x="0" y="13872"/>
                  </a:lnTo>
                  <a:lnTo>
                    <a:pt x="489754" y="253291"/>
                  </a:lnTo>
                  <a:lnTo>
                    <a:pt x="507993" y="262154"/>
                  </a:lnTo>
                  <a:cubicBezTo>
                    <a:pt x="509514" y="262789"/>
                    <a:pt x="511225" y="262789"/>
                    <a:pt x="512745" y="262154"/>
                  </a:cubicBezTo>
                  <a:lnTo>
                    <a:pt x="514030" y="262154"/>
                  </a:lnTo>
                  <a:lnTo>
                    <a:pt x="515186" y="262154"/>
                  </a:lnTo>
                  <a:lnTo>
                    <a:pt x="516085" y="261126"/>
                  </a:lnTo>
                  <a:cubicBezTo>
                    <a:pt x="516415" y="260720"/>
                    <a:pt x="516715" y="260291"/>
                    <a:pt x="516984" y="259842"/>
                  </a:cubicBezTo>
                  <a:cubicBezTo>
                    <a:pt x="516984" y="259842"/>
                    <a:pt x="516984" y="259842"/>
                    <a:pt x="516984" y="259842"/>
                  </a:cubicBezTo>
                  <a:cubicBezTo>
                    <a:pt x="516984" y="259842"/>
                    <a:pt x="516984" y="259842"/>
                    <a:pt x="516984" y="259071"/>
                  </a:cubicBezTo>
                  <a:lnTo>
                    <a:pt x="516984" y="257530"/>
                  </a:lnTo>
                  <a:lnTo>
                    <a:pt x="516984" y="256117"/>
                  </a:lnTo>
                  <a:cubicBezTo>
                    <a:pt x="516984" y="256117"/>
                    <a:pt x="516984" y="255218"/>
                    <a:pt x="516984" y="254832"/>
                  </a:cubicBezTo>
                  <a:cubicBezTo>
                    <a:pt x="516984" y="254447"/>
                    <a:pt x="516984" y="253805"/>
                    <a:pt x="516984" y="253419"/>
                  </a:cubicBezTo>
                  <a:lnTo>
                    <a:pt x="516984" y="253419"/>
                  </a:lnTo>
                  <a:lnTo>
                    <a:pt x="516342" y="252263"/>
                  </a:lnTo>
                  <a:lnTo>
                    <a:pt x="515443" y="251236"/>
                  </a:lnTo>
                  <a:lnTo>
                    <a:pt x="514415" y="250465"/>
                  </a:lnTo>
                  <a:lnTo>
                    <a:pt x="514415" y="250465"/>
                  </a:lnTo>
                  <a:lnTo>
                    <a:pt x="4367" y="0"/>
                  </a:lnTo>
                  <a:lnTo>
                    <a:pt x="3596" y="0"/>
                  </a:lnTo>
                  <a:cubicBezTo>
                    <a:pt x="5909" y="820"/>
                    <a:pt x="7586" y="2842"/>
                    <a:pt x="7963" y="5266"/>
                  </a:cubicBezTo>
                  <a:close/>
                </a:path>
              </a:pathLst>
            </a:custGeom>
            <a:solidFill>
              <a:srgbClr val="000000"/>
            </a:solidFill>
            <a:ln w="12844"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BF067975-0C78-4830-A314-79CACEA0D3FA}"/>
                </a:ext>
              </a:extLst>
            </p:cNvPr>
            <p:cNvSpPr/>
            <p:nvPr/>
          </p:nvSpPr>
          <p:spPr>
            <a:xfrm>
              <a:off x="3405630" y="1222527"/>
              <a:ext cx="39" cy="899"/>
            </a:xfrm>
            <a:custGeom>
              <a:avLst/>
              <a:gdLst>
                <a:gd name="connsiteX0" fmla="*/ 40 w 39"/>
                <a:gd name="connsiteY0" fmla="*/ 0 h 899"/>
                <a:gd name="connsiteX1" fmla="*/ 40 w 39"/>
                <a:gd name="connsiteY1" fmla="*/ 0 h 899"/>
                <a:gd name="connsiteX2" fmla="*/ 40 w 39"/>
                <a:gd name="connsiteY2" fmla="*/ 899 h 899"/>
                <a:gd name="connsiteX3" fmla="*/ 40 w 39"/>
                <a:gd name="connsiteY3" fmla="*/ 899 h 899"/>
              </a:gdLst>
              <a:ahLst/>
              <a:cxnLst>
                <a:cxn ang="0">
                  <a:pos x="connsiteX0" y="connsiteY0"/>
                </a:cxn>
                <a:cxn ang="0">
                  <a:pos x="connsiteX1" y="connsiteY1"/>
                </a:cxn>
                <a:cxn ang="0">
                  <a:pos x="connsiteX2" y="connsiteY2"/>
                </a:cxn>
                <a:cxn ang="0">
                  <a:pos x="connsiteX3" y="connsiteY3"/>
                </a:cxn>
              </a:cxnLst>
              <a:rect l="l" t="t" r="r" b="b"/>
              <a:pathLst>
                <a:path w="39" h="899">
                  <a:moveTo>
                    <a:pt x="40" y="0"/>
                  </a:moveTo>
                  <a:lnTo>
                    <a:pt x="40" y="0"/>
                  </a:lnTo>
                  <a:cubicBezTo>
                    <a:pt x="-13" y="297"/>
                    <a:pt x="-13" y="602"/>
                    <a:pt x="40" y="899"/>
                  </a:cubicBezTo>
                  <a:cubicBezTo>
                    <a:pt x="40" y="899"/>
                    <a:pt x="40" y="899"/>
                    <a:pt x="40" y="899"/>
                  </a:cubicBezTo>
                  <a:close/>
                </a:path>
              </a:pathLst>
            </a:custGeom>
            <a:solidFill>
              <a:srgbClr val="000000"/>
            </a:solidFill>
            <a:ln w="12844"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4AD709C-7577-443E-BD51-FAED9D80FFDD}"/>
                </a:ext>
              </a:extLst>
            </p:cNvPr>
            <p:cNvSpPr/>
            <p:nvPr/>
          </p:nvSpPr>
          <p:spPr>
            <a:xfrm>
              <a:off x="3453579" y="1245133"/>
              <a:ext cx="12844" cy="1284"/>
            </a:xfrm>
            <a:custGeom>
              <a:avLst/>
              <a:gdLst>
                <a:gd name="connsiteX0" fmla="*/ 0 w 12844"/>
                <a:gd name="connsiteY0" fmla="*/ 771 h 1284"/>
                <a:gd name="connsiteX1" fmla="*/ 0 w 12844"/>
                <a:gd name="connsiteY1" fmla="*/ 0 h 1284"/>
                <a:gd name="connsiteX2" fmla="*/ 0 w 12844"/>
                <a:gd name="connsiteY2" fmla="*/ 1284 h 1284"/>
              </a:gdLst>
              <a:ahLst/>
              <a:cxnLst>
                <a:cxn ang="0">
                  <a:pos x="connsiteX0" y="connsiteY0"/>
                </a:cxn>
                <a:cxn ang="0">
                  <a:pos x="connsiteX1" y="connsiteY1"/>
                </a:cxn>
                <a:cxn ang="0">
                  <a:pos x="connsiteX2" y="connsiteY2"/>
                </a:cxn>
              </a:cxnLst>
              <a:rect l="l" t="t" r="r" b="b"/>
              <a:pathLst>
                <a:path w="12844" h="1284">
                  <a:moveTo>
                    <a:pt x="0" y="771"/>
                  </a:moveTo>
                  <a:cubicBezTo>
                    <a:pt x="0" y="771"/>
                    <a:pt x="0" y="771"/>
                    <a:pt x="0" y="0"/>
                  </a:cubicBezTo>
                  <a:lnTo>
                    <a:pt x="0" y="1284"/>
                  </a:lnTo>
                  <a:close/>
                </a:path>
              </a:pathLst>
            </a:custGeom>
            <a:solidFill>
              <a:srgbClr val="000000"/>
            </a:solidFill>
            <a:ln w="12844"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71CFAA4D-0298-43B5-8D6B-7269724C988B}"/>
                </a:ext>
              </a:extLst>
            </p:cNvPr>
            <p:cNvSpPr/>
            <p:nvPr/>
          </p:nvSpPr>
          <p:spPr>
            <a:xfrm>
              <a:off x="3416588" y="1228564"/>
              <a:ext cx="34422" cy="12715"/>
            </a:xfrm>
            <a:custGeom>
              <a:avLst/>
              <a:gdLst>
                <a:gd name="connsiteX0" fmla="*/ 29799 w 34422"/>
                <a:gd name="connsiteY0" fmla="*/ 7707 h 12715"/>
                <a:gd name="connsiteX1" fmla="*/ 34423 w 34422"/>
                <a:gd name="connsiteY1" fmla="*/ 8477 h 12715"/>
                <a:gd name="connsiteX2" fmla="*/ 34423 w 34422"/>
                <a:gd name="connsiteY2" fmla="*/ 8477 h 12715"/>
                <a:gd name="connsiteX3" fmla="*/ 16955 w 34422"/>
                <a:gd name="connsiteY3" fmla="*/ 0 h 12715"/>
                <a:gd name="connsiteX4" fmla="*/ 899 w 34422"/>
                <a:gd name="connsiteY4" fmla="*/ 3596 h 12715"/>
                <a:gd name="connsiteX5" fmla="*/ 0 w 34422"/>
                <a:gd name="connsiteY5" fmla="*/ 8092 h 12715"/>
                <a:gd name="connsiteX6" fmla="*/ 9505 w 34422"/>
                <a:gd name="connsiteY6" fmla="*/ 12716 h 1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22" h="12715">
                  <a:moveTo>
                    <a:pt x="29799" y="7707"/>
                  </a:moveTo>
                  <a:cubicBezTo>
                    <a:pt x="31382" y="7372"/>
                    <a:pt x="33034" y="7647"/>
                    <a:pt x="34423" y="8477"/>
                  </a:cubicBezTo>
                  <a:lnTo>
                    <a:pt x="34423" y="8477"/>
                  </a:lnTo>
                  <a:lnTo>
                    <a:pt x="16955" y="0"/>
                  </a:lnTo>
                  <a:lnTo>
                    <a:pt x="899" y="3596"/>
                  </a:lnTo>
                  <a:lnTo>
                    <a:pt x="0" y="8092"/>
                  </a:lnTo>
                  <a:lnTo>
                    <a:pt x="9505" y="12716"/>
                  </a:lnTo>
                  <a:close/>
                </a:path>
              </a:pathLst>
            </a:custGeom>
            <a:solidFill>
              <a:srgbClr val="000000"/>
            </a:solidFill>
            <a:ln w="12844"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31946377-A331-4575-BFC8-E9D14193282B}"/>
                </a:ext>
              </a:extLst>
            </p:cNvPr>
            <p:cNvSpPr/>
            <p:nvPr/>
          </p:nvSpPr>
          <p:spPr>
            <a:xfrm>
              <a:off x="3400018" y="1224582"/>
              <a:ext cx="17083" cy="22220"/>
            </a:xfrm>
            <a:custGeom>
              <a:avLst/>
              <a:gdLst>
                <a:gd name="connsiteX0" fmla="*/ 14643 w 17083"/>
                <a:gd name="connsiteY0" fmla="*/ 19010 h 22220"/>
                <a:gd name="connsiteX1" fmla="*/ 16184 w 17083"/>
                <a:gd name="connsiteY1" fmla="*/ 11817 h 22220"/>
                <a:gd name="connsiteX2" fmla="*/ 17083 w 17083"/>
                <a:gd name="connsiteY2" fmla="*/ 7321 h 22220"/>
                <a:gd name="connsiteX3" fmla="*/ 12459 w 17083"/>
                <a:gd name="connsiteY3" fmla="*/ 8477 h 22220"/>
                <a:gd name="connsiteX4" fmla="*/ 4715 w 17083"/>
                <a:gd name="connsiteY4" fmla="*/ 3392 h 22220"/>
                <a:gd name="connsiteX5" fmla="*/ 4624 w 17083"/>
                <a:gd name="connsiteY5" fmla="*/ 2826 h 22220"/>
                <a:gd name="connsiteX6" fmla="*/ 4624 w 17083"/>
                <a:gd name="connsiteY6" fmla="*/ 0 h 22220"/>
                <a:gd name="connsiteX7" fmla="*/ 4624 w 17083"/>
                <a:gd name="connsiteY7" fmla="*/ 0 h 22220"/>
                <a:gd name="connsiteX8" fmla="*/ 0 w 17083"/>
                <a:gd name="connsiteY8" fmla="*/ 22221 h 22220"/>
                <a:gd name="connsiteX9" fmla="*/ 4624 w 17083"/>
                <a:gd name="connsiteY9" fmla="*/ 21193 h 2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83" h="22220">
                  <a:moveTo>
                    <a:pt x="14643" y="19010"/>
                  </a:moveTo>
                  <a:lnTo>
                    <a:pt x="16184" y="11817"/>
                  </a:lnTo>
                  <a:lnTo>
                    <a:pt x="17083" y="7321"/>
                  </a:lnTo>
                  <a:lnTo>
                    <a:pt x="12459" y="8477"/>
                  </a:lnTo>
                  <a:cubicBezTo>
                    <a:pt x="8916" y="9211"/>
                    <a:pt x="5450" y="6935"/>
                    <a:pt x="4715" y="3392"/>
                  </a:cubicBezTo>
                  <a:cubicBezTo>
                    <a:pt x="4677" y="3205"/>
                    <a:pt x="4646" y="3016"/>
                    <a:pt x="4624" y="2826"/>
                  </a:cubicBezTo>
                  <a:cubicBezTo>
                    <a:pt x="4430" y="1894"/>
                    <a:pt x="4430" y="932"/>
                    <a:pt x="4624" y="0"/>
                  </a:cubicBezTo>
                  <a:lnTo>
                    <a:pt x="4624" y="0"/>
                  </a:lnTo>
                  <a:lnTo>
                    <a:pt x="0" y="22221"/>
                  </a:lnTo>
                  <a:lnTo>
                    <a:pt x="4624" y="21193"/>
                  </a:lnTo>
                  <a:close/>
                </a:path>
              </a:pathLst>
            </a:custGeom>
            <a:solidFill>
              <a:srgbClr val="000000"/>
            </a:solidFill>
            <a:ln w="12844"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1BFEDC01-8A54-4A11-94CB-A72403C9B9A5}"/>
                </a:ext>
              </a:extLst>
            </p:cNvPr>
            <p:cNvSpPr/>
            <p:nvPr/>
          </p:nvSpPr>
          <p:spPr>
            <a:xfrm>
              <a:off x="3407340" y="1218802"/>
              <a:ext cx="1284" cy="1412"/>
            </a:xfrm>
            <a:custGeom>
              <a:avLst/>
              <a:gdLst>
                <a:gd name="connsiteX0" fmla="*/ 0 w 1284"/>
                <a:gd name="connsiteY0" fmla="*/ 1413 h 1412"/>
                <a:gd name="connsiteX1" fmla="*/ 0 w 1284"/>
                <a:gd name="connsiteY1" fmla="*/ 1413 h 1412"/>
                <a:gd name="connsiteX2" fmla="*/ 0 w 1284"/>
                <a:gd name="connsiteY2" fmla="*/ 1413 h 1412"/>
                <a:gd name="connsiteX3" fmla="*/ 1285 w 1284"/>
                <a:gd name="connsiteY3" fmla="*/ 0 h 1412"/>
              </a:gdLst>
              <a:ahLst/>
              <a:cxnLst>
                <a:cxn ang="0">
                  <a:pos x="connsiteX0" y="connsiteY0"/>
                </a:cxn>
                <a:cxn ang="0">
                  <a:pos x="connsiteX1" y="connsiteY1"/>
                </a:cxn>
                <a:cxn ang="0">
                  <a:pos x="connsiteX2" y="connsiteY2"/>
                </a:cxn>
                <a:cxn ang="0">
                  <a:pos x="connsiteX3" y="connsiteY3"/>
                </a:cxn>
              </a:cxnLst>
              <a:rect l="l" t="t" r="r" b="b"/>
              <a:pathLst>
                <a:path w="1284" h="1412">
                  <a:moveTo>
                    <a:pt x="0" y="1413"/>
                  </a:moveTo>
                  <a:lnTo>
                    <a:pt x="0" y="1413"/>
                  </a:lnTo>
                  <a:lnTo>
                    <a:pt x="0" y="1413"/>
                  </a:lnTo>
                  <a:cubicBezTo>
                    <a:pt x="358" y="883"/>
                    <a:pt x="791" y="407"/>
                    <a:pt x="1285" y="0"/>
                  </a:cubicBezTo>
                  <a:close/>
                </a:path>
              </a:pathLst>
            </a:custGeom>
            <a:solidFill>
              <a:srgbClr val="000000"/>
            </a:solidFill>
            <a:ln w="12844"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6DDE3449-A0F6-4E73-972F-12FC6ECAF5BD}"/>
                </a:ext>
              </a:extLst>
            </p:cNvPr>
            <p:cNvSpPr/>
            <p:nvPr/>
          </p:nvSpPr>
          <p:spPr>
            <a:xfrm>
              <a:off x="3405876" y="1221884"/>
              <a:ext cx="51" cy="1412"/>
            </a:xfrm>
            <a:custGeom>
              <a:avLst/>
              <a:gdLst>
                <a:gd name="connsiteX0" fmla="*/ 51 w 51"/>
                <a:gd name="connsiteY0" fmla="*/ 0 h 1412"/>
                <a:gd name="connsiteX1" fmla="*/ 51 w 51"/>
                <a:gd name="connsiteY1" fmla="*/ 642 h 1412"/>
                <a:gd name="connsiteX2" fmla="*/ 51 w 51"/>
                <a:gd name="connsiteY2" fmla="*/ 1413 h 1412"/>
                <a:gd name="connsiteX3" fmla="*/ 51 w 51"/>
                <a:gd name="connsiteY3" fmla="*/ 0 h 1412"/>
              </a:gdLst>
              <a:ahLst/>
              <a:cxnLst>
                <a:cxn ang="0">
                  <a:pos x="connsiteX0" y="connsiteY0"/>
                </a:cxn>
                <a:cxn ang="0">
                  <a:pos x="connsiteX1" y="connsiteY1"/>
                </a:cxn>
                <a:cxn ang="0">
                  <a:pos x="connsiteX2" y="connsiteY2"/>
                </a:cxn>
                <a:cxn ang="0">
                  <a:pos x="connsiteX3" y="connsiteY3"/>
                </a:cxn>
              </a:cxnLst>
              <a:rect l="l" t="t" r="r" b="b"/>
              <a:pathLst>
                <a:path w="51" h="1412">
                  <a:moveTo>
                    <a:pt x="51" y="0"/>
                  </a:moveTo>
                  <a:cubicBezTo>
                    <a:pt x="-17" y="209"/>
                    <a:pt x="-17" y="434"/>
                    <a:pt x="51" y="642"/>
                  </a:cubicBezTo>
                  <a:lnTo>
                    <a:pt x="51" y="1413"/>
                  </a:lnTo>
                  <a:cubicBezTo>
                    <a:pt x="29" y="942"/>
                    <a:pt x="29" y="471"/>
                    <a:pt x="51" y="0"/>
                  </a:cubicBezTo>
                  <a:close/>
                </a:path>
              </a:pathLst>
            </a:custGeom>
            <a:solidFill>
              <a:srgbClr val="000000"/>
            </a:solidFill>
            <a:ln w="12844"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287DB0F9-ADE7-4FA7-A228-C027AE0AA76E}"/>
                </a:ext>
              </a:extLst>
            </p:cNvPr>
            <p:cNvSpPr/>
            <p:nvPr/>
          </p:nvSpPr>
          <p:spPr>
            <a:xfrm>
              <a:off x="3408881" y="1218160"/>
              <a:ext cx="1541" cy="770"/>
            </a:xfrm>
            <a:custGeom>
              <a:avLst/>
              <a:gdLst>
                <a:gd name="connsiteX0" fmla="*/ 771 w 1541"/>
                <a:gd name="connsiteY0" fmla="*/ 771 h 770"/>
                <a:gd name="connsiteX1" fmla="*/ 0 w 1541"/>
                <a:gd name="connsiteY1" fmla="*/ 771 h 770"/>
                <a:gd name="connsiteX2" fmla="*/ 0 w 1541"/>
                <a:gd name="connsiteY2" fmla="*/ 771 h 770"/>
                <a:gd name="connsiteX3" fmla="*/ 1541 w 1541"/>
                <a:gd name="connsiteY3" fmla="*/ 0 h 770"/>
              </a:gdLst>
              <a:ahLst/>
              <a:cxnLst>
                <a:cxn ang="0">
                  <a:pos x="connsiteX0" y="connsiteY0"/>
                </a:cxn>
                <a:cxn ang="0">
                  <a:pos x="connsiteX1" y="connsiteY1"/>
                </a:cxn>
                <a:cxn ang="0">
                  <a:pos x="connsiteX2" y="connsiteY2"/>
                </a:cxn>
                <a:cxn ang="0">
                  <a:pos x="connsiteX3" y="connsiteY3"/>
                </a:cxn>
              </a:cxnLst>
              <a:rect l="l" t="t" r="r" b="b"/>
              <a:pathLst>
                <a:path w="1541" h="770">
                  <a:moveTo>
                    <a:pt x="771" y="771"/>
                  </a:moveTo>
                  <a:lnTo>
                    <a:pt x="0" y="771"/>
                  </a:lnTo>
                  <a:lnTo>
                    <a:pt x="0" y="771"/>
                  </a:lnTo>
                  <a:cubicBezTo>
                    <a:pt x="472" y="438"/>
                    <a:pt x="992" y="178"/>
                    <a:pt x="1541" y="0"/>
                  </a:cubicBezTo>
                  <a:close/>
                </a:path>
              </a:pathLst>
            </a:custGeom>
            <a:solidFill>
              <a:srgbClr val="000000"/>
            </a:solidFill>
            <a:ln w="12844"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7213F108-7F98-4852-8BE1-6D7270BCD78A}"/>
                </a:ext>
              </a:extLst>
            </p:cNvPr>
            <p:cNvSpPr/>
            <p:nvPr/>
          </p:nvSpPr>
          <p:spPr>
            <a:xfrm>
              <a:off x="-1" y="2017850"/>
              <a:ext cx="244042" cy="1766100"/>
            </a:xfrm>
            <a:custGeom>
              <a:avLst/>
              <a:gdLst>
                <a:gd name="connsiteX0" fmla="*/ 239547 w 244042"/>
                <a:gd name="connsiteY0" fmla="*/ 2312 h 1766100"/>
                <a:gd name="connsiteX1" fmla="*/ 237106 w 244042"/>
                <a:gd name="connsiteY1" fmla="*/ 2312 h 1766100"/>
                <a:gd name="connsiteX2" fmla="*/ 235693 w 244042"/>
                <a:gd name="connsiteY2" fmla="*/ 2312 h 1766100"/>
                <a:gd name="connsiteX3" fmla="*/ 234794 w 244042"/>
                <a:gd name="connsiteY3" fmla="*/ 2312 h 1766100"/>
                <a:gd name="connsiteX4" fmla="*/ 231069 w 244042"/>
                <a:gd name="connsiteY4" fmla="*/ 0 h 1766100"/>
                <a:gd name="connsiteX5" fmla="*/ 0 w 244042"/>
                <a:gd name="connsiteY5" fmla="*/ 1666942 h 1766100"/>
                <a:gd name="connsiteX6" fmla="*/ 0 w 244042"/>
                <a:gd name="connsiteY6" fmla="*/ 1766101 h 1766100"/>
                <a:gd name="connsiteX7" fmla="*/ 244042 w 244042"/>
                <a:gd name="connsiteY7" fmla="*/ 1156 h 176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042" h="1766100">
                  <a:moveTo>
                    <a:pt x="239547" y="2312"/>
                  </a:moveTo>
                  <a:lnTo>
                    <a:pt x="237106" y="2312"/>
                  </a:lnTo>
                  <a:lnTo>
                    <a:pt x="235693" y="2312"/>
                  </a:lnTo>
                  <a:lnTo>
                    <a:pt x="234794" y="2312"/>
                  </a:lnTo>
                  <a:lnTo>
                    <a:pt x="231069" y="0"/>
                  </a:lnTo>
                  <a:lnTo>
                    <a:pt x="0" y="1666942"/>
                  </a:lnTo>
                  <a:lnTo>
                    <a:pt x="0" y="1766101"/>
                  </a:lnTo>
                  <a:lnTo>
                    <a:pt x="244042" y="1156"/>
                  </a:lnTo>
                  <a:close/>
                </a:path>
              </a:pathLst>
            </a:custGeom>
            <a:solidFill>
              <a:srgbClr val="000000"/>
            </a:solidFill>
            <a:ln w="12844"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D66A8A08-E479-42CB-B7BB-9E7F0E0EC71F}"/>
                </a:ext>
              </a:extLst>
            </p:cNvPr>
            <p:cNvSpPr/>
            <p:nvPr/>
          </p:nvSpPr>
          <p:spPr>
            <a:xfrm>
              <a:off x="642215" y="1918435"/>
              <a:ext cx="12844" cy="1027"/>
            </a:xfrm>
            <a:custGeom>
              <a:avLst/>
              <a:gdLst>
                <a:gd name="connsiteX0" fmla="*/ 0 w 12844"/>
                <a:gd name="connsiteY0" fmla="*/ 1028 h 1027"/>
                <a:gd name="connsiteX1" fmla="*/ 0 w 12844"/>
                <a:gd name="connsiteY1" fmla="*/ 0 h 1027"/>
                <a:gd name="connsiteX2" fmla="*/ 0 w 12844"/>
                <a:gd name="connsiteY2" fmla="*/ 1028 h 1027"/>
              </a:gdLst>
              <a:ahLst/>
              <a:cxnLst>
                <a:cxn ang="0">
                  <a:pos x="connsiteX0" y="connsiteY0"/>
                </a:cxn>
                <a:cxn ang="0">
                  <a:pos x="connsiteX1" y="connsiteY1"/>
                </a:cxn>
                <a:cxn ang="0">
                  <a:pos x="connsiteX2" y="connsiteY2"/>
                </a:cxn>
              </a:cxnLst>
              <a:rect l="l" t="t" r="r" b="b"/>
              <a:pathLst>
                <a:path w="12844" h="1027">
                  <a:moveTo>
                    <a:pt x="0" y="1028"/>
                  </a:moveTo>
                  <a:lnTo>
                    <a:pt x="0" y="0"/>
                  </a:lnTo>
                  <a:lnTo>
                    <a:pt x="0" y="1028"/>
                  </a:lnTo>
                  <a:close/>
                </a:path>
              </a:pathLst>
            </a:custGeom>
            <a:solidFill>
              <a:srgbClr val="000000"/>
            </a:solidFill>
            <a:ln w="12844"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407EE5DD-7B1D-4911-870E-40D8E7EFE513}"/>
                </a:ext>
              </a:extLst>
            </p:cNvPr>
            <p:cNvSpPr/>
            <p:nvPr/>
          </p:nvSpPr>
          <p:spPr>
            <a:xfrm>
              <a:off x="639517" y="1915095"/>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0B831FBD-414E-42DC-B34D-C2177DCAEE4C}"/>
                </a:ext>
              </a:extLst>
            </p:cNvPr>
            <p:cNvSpPr/>
            <p:nvPr/>
          </p:nvSpPr>
          <p:spPr>
            <a:xfrm>
              <a:off x="622978" y="1922673"/>
              <a:ext cx="19548" cy="55366"/>
            </a:xfrm>
            <a:custGeom>
              <a:avLst/>
              <a:gdLst>
                <a:gd name="connsiteX0" fmla="*/ 4466 w 19548"/>
                <a:gd name="connsiteY0" fmla="*/ 55359 h 55366"/>
                <a:gd name="connsiteX1" fmla="*/ 12301 w 19548"/>
                <a:gd name="connsiteY1" fmla="*/ 48809 h 55366"/>
                <a:gd name="connsiteX2" fmla="*/ 19494 w 19548"/>
                <a:gd name="connsiteY2" fmla="*/ 0 h 55366"/>
                <a:gd name="connsiteX3" fmla="*/ 19494 w 19548"/>
                <a:gd name="connsiteY3" fmla="*/ 0 h 55366"/>
                <a:gd name="connsiteX4" fmla="*/ 19494 w 19548"/>
                <a:gd name="connsiteY4" fmla="*/ 0 h 55366"/>
                <a:gd name="connsiteX5" fmla="*/ 19494 w 19548"/>
                <a:gd name="connsiteY5" fmla="*/ 1413 h 55366"/>
                <a:gd name="connsiteX6" fmla="*/ 19494 w 19548"/>
                <a:gd name="connsiteY6" fmla="*/ 2440 h 55366"/>
                <a:gd name="connsiteX7" fmla="*/ 19494 w 19548"/>
                <a:gd name="connsiteY7" fmla="*/ 2440 h 55366"/>
                <a:gd name="connsiteX8" fmla="*/ 18595 w 19548"/>
                <a:gd name="connsiteY8" fmla="*/ 3596 h 55366"/>
                <a:gd name="connsiteX9" fmla="*/ 17567 w 19548"/>
                <a:gd name="connsiteY9" fmla="*/ 4624 h 55366"/>
                <a:gd name="connsiteX10" fmla="*/ 16411 w 19548"/>
                <a:gd name="connsiteY10" fmla="*/ 5266 h 55366"/>
                <a:gd name="connsiteX11" fmla="*/ 15127 w 19548"/>
                <a:gd name="connsiteY11" fmla="*/ 5266 h 55366"/>
                <a:gd name="connsiteX12" fmla="*/ 15127 w 19548"/>
                <a:gd name="connsiteY12" fmla="*/ 5266 h 55366"/>
                <a:gd name="connsiteX13" fmla="*/ 5879 w 19548"/>
                <a:gd name="connsiteY13" fmla="*/ 7450 h 55366"/>
                <a:gd name="connsiteX14" fmla="*/ 99 w 19548"/>
                <a:gd name="connsiteY14" fmla="*/ 45983 h 55366"/>
                <a:gd name="connsiteX15" fmla="*/ 99 w 19548"/>
                <a:gd name="connsiteY15" fmla="*/ 48295 h 55366"/>
                <a:gd name="connsiteX16" fmla="*/ 4466 w 19548"/>
                <a:gd name="connsiteY16" fmla="*/ 55359 h 5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48" h="55366">
                  <a:moveTo>
                    <a:pt x="4466" y="55359"/>
                  </a:moveTo>
                  <a:cubicBezTo>
                    <a:pt x="8378" y="55528"/>
                    <a:pt x="11774" y="52688"/>
                    <a:pt x="12301" y="48809"/>
                  </a:cubicBezTo>
                  <a:lnTo>
                    <a:pt x="19494" y="0"/>
                  </a:lnTo>
                  <a:lnTo>
                    <a:pt x="19494" y="0"/>
                  </a:lnTo>
                  <a:cubicBezTo>
                    <a:pt x="19494" y="0"/>
                    <a:pt x="19494" y="0"/>
                    <a:pt x="19494" y="0"/>
                  </a:cubicBezTo>
                  <a:cubicBezTo>
                    <a:pt x="19566" y="468"/>
                    <a:pt x="19566" y="945"/>
                    <a:pt x="19494" y="1413"/>
                  </a:cubicBezTo>
                  <a:cubicBezTo>
                    <a:pt x="19494" y="1413"/>
                    <a:pt x="19494" y="2184"/>
                    <a:pt x="19494" y="2440"/>
                  </a:cubicBezTo>
                  <a:lnTo>
                    <a:pt x="19494" y="2440"/>
                  </a:lnTo>
                  <a:cubicBezTo>
                    <a:pt x="19226" y="2849"/>
                    <a:pt x="18925" y="3236"/>
                    <a:pt x="18595" y="3596"/>
                  </a:cubicBezTo>
                  <a:cubicBezTo>
                    <a:pt x="18285" y="3971"/>
                    <a:pt x="17941" y="4315"/>
                    <a:pt x="17567" y="4624"/>
                  </a:cubicBezTo>
                  <a:lnTo>
                    <a:pt x="16411" y="5266"/>
                  </a:lnTo>
                  <a:lnTo>
                    <a:pt x="15127" y="5266"/>
                  </a:lnTo>
                  <a:lnTo>
                    <a:pt x="15127" y="5266"/>
                  </a:lnTo>
                  <a:lnTo>
                    <a:pt x="5879" y="7450"/>
                  </a:lnTo>
                  <a:lnTo>
                    <a:pt x="99" y="45983"/>
                  </a:lnTo>
                  <a:cubicBezTo>
                    <a:pt x="-33" y="46748"/>
                    <a:pt x="-33" y="47530"/>
                    <a:pt x="99" y="48295"/>
                  </a:cubicBezTo>
                  <a:cubicBezTo>
                    <a:pt x="-315" y="51389"/>
                    <a:pt x="1513" y="54346"/>
                    <a:pt x="4466" y="55359"/>
                  </a:cubicBezTo>
                  <a:close/>
                </a:path>
              </a:pathLst>
            </a:custGeom>
            <a:solidFill>
              <a:srgbClr val="000000"/>
            </a:solidFill>
            <a:ln w="12844"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A0478C1F-BE38-4203-991C-88F0CA15F59E}"/>
                </a:ext>
              </a:extLst>
            </p:cNvPr>
            <p:cNvSpPr/>
            <p:nvPr/>
          </p:nvSpPr>
          <p:spPr>
            <a:xfrm>
              <a:off x="641315" y="1915985"/>
              <a:ext cx="12844" cy="908"/>
            </a:xfrm>
            <a:custGeom>
              <a:avLst/>
              <a:gdLst>
                <a:gd name="connsiteX0" fmla="*/ 0 w 12844"/>
                <a:gd name="connsiteY0" fmla="*/ 908 h 908"/>
                <a:gd name="connsiteX1" fmla="*/ 0 w 12844"/>
                <a:gd name="connsiteY1" fmla="*/ 266 h 908"/>
                <a:gd name="connsiteX2" fmla="*/ 0 w 12844"/>
                <a:gd name="connsiteY2" fmla="*/ 908 h 908"/>
              </a:gdLst>
              <a:ahLst/>
              <a:cxnLst>
                <a:cxn ang="0">
                  <a:pos x="connsiteX0" y="connsiteY0"/>
                </a:cxn>
                <a:cxn ang="0">
                  <a:pos x="connsiteX1" y="connsiteY1"/>
                </a:cxn>
                <a:cxn ang="0">
                  <a:pos x="connsiteX2" y="connsiteY2"/>
                </a:cxn>
              </a:cxnLst>
              <a:rect l="l" t="t" r="r" b="b"/>
              <a:pathLst>
                <a:path w="12844" h="908">
                  <a:moveTo>
                    <a:pt x="0" y="908"/>
                  </a:moveTo>
                  <a:cubicBezTo>
                    <a:pt x="0" y="908"/>
                    <a:pt x="0" y="908"/>
                    <a:pt x="0" y="266"/>
                  </a:cubicBezTo>
                  <a:cubicBezTo>
                    <a:pt x="0" y="-376"/>
                    <a:pt x="0" y="266"/>
                    <a:pt x="0" y="908"/>
                  </a:cubicBezTo>
                  <a:close/>
                </a:path>
              </a:pathLst>
            </a:custGeom>
            <a:solidFill>
              <a:srgbClr val="000000"/>
            </a:solidFill>
            <a:ln w="12844"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BDCD27A4-27D9-46A9-BECF-38D0212EB014}"/>
                </a:ext>
              </a:extLst>
            </p:cNvPr>
            <p:cNvSpPr/>
            <p:nvPr/>
          </p:nvSpPr>
          <p:spPr>
            <a:xfrm>
              <a:off x="261637" y="1694172"/>
              <a:ext cx="49835" cy="45212"/>
            </a:xfrm>
            <a:custGeom>
              <a:avLst/>
              <a:gdLst>
                <a:gd name="connsiteX0" fmla="*/ 46625 w 49835"/>
                <a:gd name="connsiteY0" fmla="*/ 38019 h 45212"/>
                <a:gd name="connsiteX1" fmla="*/ 48166 w 49835"/>
                <a:gd name="connsiteY1" fmla="*/ 27102 h 45212"/>
                <a:gd name="connsiteX2" fmla="*/ 2184 w 49835"/>
                <a:gd name="connsiteY2" fmla="*/ 0 h 45212"/>
                <a:gd name="connsiteX3" fmla="*/ 1541 w 49835"/>
                <a:gd name="connsiteY3" fmla="*/ 4881 h 45212"/>
                <a:gd name="connsiteX4" fmla="*/ 0 w 49835"/>
                <a:gd name="connsiteY4" fmla="*/ 15927 h 45212"/>
                <a:gd name="connsiteX5" fmla="*/ 49836 w 49835"/>
                <a:gd name="connsiteY5" fmla="*/ 45212 h 45212"/>
                <a:gd name="connsiteX6" fmla="*/ 48166 w 49835"/>
                <a:gd name="connsiteY6" fmla="*/ 43671 h 45212"/>
                <a:gd name="connsiteX7" fmla="*/ 46625 w 49835"/>
                <a:gd name="connsiteY7" fmla="*/ 38019 h 4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35" h="45212">
                  <a:moveTo>
                    <a:pt x="46625" y="38019"/>
                  </a:moveTo>
                  <a:lnTo>
                    <a:pt x="48166" y="27102"/>
                  </a:lnTo>
                  <a:lnTo>
                    <a:pt x="2184" y="0"/>
                  </a:lnTo>
                  <a:lnTo>
                    <a:pt x="1541" y="4881"/>
                  </a:lnTo>
                  <a:lnTo>
                    <a:pt x="0" y="15927"/>
                  </a:lnTo>
                  <a:lnTo>
                    <a:pt x="49836" y="45212"/>
                  </a:lnTo>
                  <a:cubicBezTo>
                    <a:pt x="49220" y="44767"/>
                    <a:pt x="48659" y="44250"/>
                    <a:pt x="48166" y="43671"/>
                  </a:cubicBezTo>
                  <a:cubicBezTo>
                    <a:pt x="46888" y="42084"/>
                    <a:pt x="46330" y="40036"/>
                    <a:pt x="46625" y="38019"/>
                  </a:cubicBezTo>
                  <a:close/>
                </a:path>
              </a:pathLst>
            </a:custGeom>
            <a:solidFill>
              <a:srgbClr val="000000"/>
            </a:solidFill>
            <a:ln w="12844"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05114972-10BB-4AF3-8B65-5A5965973BE7}"/>
                </a:ext>
              </a:extLst>
            </p:cNvPr>
            <p:cNvSpPr/>
            <p:nvPr/>
          </p:nvSpPr>
          <p:spPr>
            <a:xfrm>
              <a:off x="642215" y="1919719"/>
              <a:ext cx="12844" cy="1155"/>
            </a:xfrm>
            <a:custGeom>
              <a:avLst/>
              <a:gdLst>
                <a:gd name="connsiteX0" fmla="*/ 0 w 12844"/>
                <a:gd name="connsiteY0" fmla="*/ 1156 h 1155"/>
                <a:gd name="connsiteX1" fmla="*/ 0 w 12844"/>
                <a:gd name="connsiteY1" fmla="*/ 0 h 1155"/>
                <a:gd name="connsiteX2" fmla="*/ 0 w 12844"/>
                <a:gd name="connsiteY2" fmla="*/ 0 h 1155"/>
                <a:gd name="connsiteX3" fmla="*/ 0 w 12844"/>
                <a:gd name="connsiteY3" fmla="*/ 0 h 1155"/>
              </a:gdLst>
              <a:ahLst/>
              <a:cxnLst>
                <a:cxn ang="0">
                  <a:pos x="connsiteX0" y="connsiteY0"/>
                </a:cxn>
                <a:cxn ang="0">
                  <a:pos x="connsiteX1" y="connsiteY1"/>
                </a:cxn>
                <a:cxn ang="0">
                  <a:pos x="connsiteX2" y="connsiteY2"/>
                </a:cxn>
                <a:cxn ang="0">
                  <a:pos x="connsiteX3" y="connsiteY3"/>
                </a:cxn>
              </a:cxnLst>
              <a:rect l="l" t="t" r="r" b="b"/>
              <a:pathLst>
                <a:path w="12844" h="1155">
                  <a:moveTo>
                    <a:pt x="0" y="1156"/>
                  </a:moveTo>
                  <a:cubicBezTo>
                    <a:pt x="0" y="1156"/>
                    <a:pt x="0" y="385"/>
                    <a:pt x="0" y="0"/>
                  </a:cubicBez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0701A37-0206-4146-870A-61D19FD9F0BF}"/>
                </a:ext>
              </a:extLst>
            </p:cNvPr>
            <p:cNvSpPr/>
            <p:nvPr/>
          </p:nvSpPr>
          <p:spPr>
            <a:xfrm>
              <a:off x="642215" y="1917022"/>
              <a:ext cx="36" cy="1155"/>
            </a:xfrm>
            <a:custGeom>
              <a:avLst/>
              <a:gdLst>
                <a:gd name="connsiteX0" fmla="*/ 0 w 36"/>
                <a:gd name="connsiteY0" fmla="*/ 1156 h 1155"/>
                <a:gd name="connsiteX1" fmla="*/ 0 w 36"/>
                <a:gd name="connsiteY1" fmla="*/ 1156 h 1155"/>
                <a:gd name="connsiteX2" fmla="*/ 0 w 36"/>
                <a:gd name="connsiteY2" fmla="*/ 0 h 1155"/>
                <a:gd name="connsiteX3" fmla="*/ 0 w 36"/>
                <a:gd name="connsiteY3" fmla="*/ 0 h 1155"/>
                <a:gd name="connsiteX4" fmla="*/ 0 w 36"/>
                <a:gd name="connsiteY4" fmla="*/ 1156 h 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 h="1155">
                  <a:moveTo>
                    <a:pt x="0" y="1156"/>
                  </a:moveTo>
                  <a:lnTo>
                    <a:pt x="0" y="1156"/>
                  </a:lnTo>
                  <a:cubicBezTo>
                    <a:pt x="48" y="772"/>
                    <a:pt x="48" y="384"/>
                    <a:pt x="0" y="0"/>
                  </a:cubicBezTo>
                  <a:lnTo>
                    <a:pt x="0" y="0"/>
                  </a:lnTo>
                  <a:cubicBezTo>
                    <a:pt x="41" y="384"/>
                    <a:pt x="41" y="772"/>
                    <a:pt x="0" y="1156"/>
                  </a:cubicBezTo>
                  <a:close/>
                </a:path>
              </a:pathLst>
            </a:custGeom>
            <a:solidFill>
              <a:srgbClr val="000000"/>
            </a:solidFill>
            <a:ln w="12844"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1A7358AF-121B-4B46-B2C6-3F82C9D593DD}"/>
                </a:ext>
              </a:extLst>
            </p:cNvPr>
            <p:cNvSpPr/>
            <p:nvPr/>
          </p:nvSpPr>
          <p:spPr>
            <a:xfrm>
              <a:off x="639646" y="1915223"/>
              <a:ext cx="899" cy="899"/>
            </a:xfrm>
            <a:custGeom>
              <a:avLst/>
              <a:gdLst>
                <a:gd name="connsiteX0" fmla="*/ 899 w 899"/>
                <a:gd name="connsiteY0" fmla="*/ 899 h 899"/>
                <a:gd name="connsiteX1" fmla="*/ 899 w 899"/>
                <a:gd name="connsiteY1" fmla="*/ 899 h 899"/>
                <a:gd name="connsiteX2" fmla="*/ 0 w 899"/>
                <a:gd name="connsiteY2" fmla="*/ 0 h 899"/>
                <a:gd name="connsiteX3" fmla="*/ 0 w 899"/>
                <a:gd name="connsiteY3" fmla="*/ 0 h 899"/>
                <a:gd name="connsiteX4" fmla="*/ 899 w 899"/>
                <a:gd name="connsiteY4" fmla="*/ 899 h 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 h="899">
                  <a:moveTo>
                    <a:pt x="899" y="899"/>
                  </a:moveTo>
                  <a:lnTo>
                    <a:pt x="899" y="899"/>
                  </a:lnTo>
                  <a:cubicBezTo>
                    <a:pt x="633" y="568"/>
                    <a:pt x="331" y="267"/>
                    <a:pt x="0" y="0"/>
                  </a:cubicBezTo>
                  <a:lnTo>
                    <a:pt x="0" y="0"/>
                  </a:lnTo>
                  <a:cubicBezTo>
                    <a:pt x="342" y="254"/>
                    <a:pt x="645" y="557"/>
                    <a:pt x="899" y="899"/>
                  </a:cubicBezTo>
                  <a:close/>
                </a:path>
              </a:pathLst>
            </a:custGeom>
            <a:solidFill>
              <a:srgbClr val="000000"/>
            </a:solidFill>
            <a:ln w="12844"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38057829-625B-42CE-BAB3-4F18BF1E4AF4}"/>
                </a:ext>
              </a:extLst>
            </p:cNvPr>
            <p:cNvSpPr/>
            <p:nvPr/>
          </p:nvSpPr>
          <p:spPr>
            <a:xfrm>
              <a:off x="238261" y="1918435"/>
              <a:ext cx="398687" cy="101727"/>
            </a:xfrm>
            <a:custGeom>
              <a:avLst/>
              <a:gdLst>
                <a:gd name="connsiteX0" fmla="*/ 398688 w 398687"/>
                <a:gd name="connsiteY0" fmla="*/ 9890 h 101727"/>
                <a:gd name="connsiteX1" fmla="*/ 393807 w 398687"/>
                <a:gd name="connsiteY1" fmla="*/ 9890 h 101727"/>
                <a:gd name="connsiteX2" fmla="*/ 378265 w 398687"/>
                <a:gd name="connsiteY2" fmla="*/ 0 h 101727"/>
                <a:gd name="connsiteX3" fmla="*/ 2055 w 398687"/>
                <a:gd name="connsiteY3" fmla="*/ 86828 h 101727"/>
                <a:gd name="connsiteX4" fmla="*/ 4239 w 398687"/>
                <a:gd name="connsiteY4" fmla="*/ 88112 h 101727"/>
                <a:gd name="connsiteX5" fmla="*/ 5780 w 398687"/>
                <a:gd name="connsiteY5" fmla="*/ 98131 h 101727"/>
                <a:gd name="connsiteX6" fmla="*/ 0 w 398687"/>
                <a:gd name="connsiteY6" fmla="*/ 101727 h 101727"/>
                <a:gd name="connsiteX7" fmla="*/ 1028 w 398687"/>
                <a:gd name="connsiteY7" fmla="*/ 101727 h 101727"/>
                <a:gd name="connsiteX8" fmla="*/ 5908 w 398687"/>
                <a:gd name="connsiteY8" fmla="*/ 100571 h 101727"/>
                <a:gd name="connsiteX9" fmla="*/ 388926 w 398687"/>
                <a:gd name="connsiteY9" fmla="*/ 12202 h 101727"/>
                <a:gd name="connsiteX10" fmla="*/ 398174 w 398687"/>
                <a:gd name="connsiteY10" fmla="*/ 10019 h 1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687" h="101727">
                  <a:moveTo>
                    <a:pt x="398688" y="9890"/>
                  </a:moveTo>
                  <a:cubicBezTo>
                    <a:pt x="397133" y="10577"/>
                    <a:pt x="395361" y="10577"/>
                    <a:pt x="393807" y="9890"/>
                  </a:cubicBezTo>
                  <a:lnTo>
                    <a:pt x="378265" y="0"/>
                  </a:lnTo>
                  <a:lnTo>
                    <a:pt x="2055" y="86828"/>
                  </a:lnTo>
                  <a:lnTo>
                    <a:pt x="4239" y="88112"/>
                  </a:lnTo>
                  <a:cubicBezTo>
                    <a:pt x="7239" y="90566"/>
                    <a:pt x="7904" y="94889"/>
                    <a:pt x="5780" y="98131"/>
                  </a:cubicBezTo>
                  <a:cubicBezTo>
                    <a:pt x="4578" y="100223"/>
                    <a:pt x="2408" y="101574"/>
                    <a:pt x="0" y="101727"/>
                  </a:cubicBezTo>
                  <a:lnTo>
                    <a:pt x="1028" y="101727"/>
                  </a:lnTo>
                  <a:lnTo>
                    <a:pt x="5908" y="100571"/>
                  </a:lnTo>
                  <a:lnTo>
                    <a:pt x="388926" y="12202"/>
                  </a:lnTo>
                  <a:lnTo>
                    <a:pt x="398174" y="10019"/>
                  </a:lnTo>
                  <a:close/>
                </a:path>
              </a:pathLst>
            </a:custGeom>
            <a:solidFill>
              <a:srgbClr val="000000"/>
            </a:solidFill>
            <a:ln w="12844"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5385BEEB-97F5-473A-A43C-EE2BAAC11BD1}"/>
                </a:ext>
              </a:extLst>
            </p:cNvPr>
            <p:cNvSpPr/>
            <p:nvPr/>
          </p:nvSpPr>
          <p:spPr>
            <a:xfrm>
              <a:off x="-1" y="1860635"/>
              <a:ext cx="245076" cy="158884"/>
            </a:xfrm>
            <a:custGeom>
              <a:avLst/>
              <a:gdLst>
                <a:gd name="connsiteX0" fmla="*/ 234794 w 245076"/>
                <a:gd name="connsiteY0" fmla="*/ 158885 h 158884"/>
                <a:gd name="connsiteX1" fmla="*/ 235693 w 245076"/>
                <a:gd name="connsiteY1" fmla="*/ 158885 h 158884"/>
                <a:gd name="connsiteX2" fmla="*/ 237106 w 245076"/>
                <a:gd name="connsiteY2" fmla="*/ 158885 h 158884"/>
                <a:gd name="connsiteX3" fmla="*/ 238519 w 245076"/>
                <a:gd name="connsiteY3" fmla="*/ 158885 h 158884"/>
                <a:gd name="connsiteX4" fmla="*/ 244042 w 245076"/>
                <a:gd name="connsiteY4" fmla="*/ 155931 h 158884"/>
                <a:gd name="connsiteX5" fmla="*/ 241859 w 245076"/>
                <a:gd name="connsiteY5" fmla="*/ 145912 h 158884"/>
                <a:gd name="connsiteX6" fmla="*/ 239675 w 245076"/>
                <a:gd name="connsiteY6" fmla="*/ 144628 h 158884"/>
                <a:gd name="connsiteX7" fmla="*/ 0 w 245076"/>
                <a:gd name="connsiteY7" fmla="*/ 0 h 158884"/>
                <a:gd name="connsiteX8" fmla="*/ 0 w 245076"/>
                <a:gd name="connsiteY8" fmla="*/ 17340 h 158884"/>
                <a:gd name="connsiteX9" fmla="*/ 231198 w 245076"/>
                <a:gd name="connsiteY9" fmla="*/ 156573 h 158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076" h="158884">
                  <a:moveTo>
                    <a:pt x="234794" y="158885"/>
                  </a:moveTo>
                  <a:lnTo>
                    <a:pt x="235693" y="158885"/>
                  </a:lnTo>
                  <a:lnTo>
                    <a:pt x="237106" y="158885"/>
                  </a:lnTo>
                  <a:lnTo>
                    <a:pt x="238519" y="158885"/>
                  </a:lnTo>
                  <a:cubicBezTo>
                    <a:pt x="240715" y="158795"/>
                    <a:pt x="242749" y="157707"/>
                    <a:pt x="244042" y="155931"/>
                  </a:cubicBezTo>
                  <a:cubicBezTo>
                    <a:pt x="246027" y="152531"/>
                    <a:pt x="245078" y="148178"/>
                    <a:pt x="241859" y="145912"/>
                  </a:cubicBezTo>
                  <a:lnTo>
                    <a:pt x="239675" y="144628"/>
                  </a:lnTo>
                  <a:lnTo>
                    <a:pt x="0" y="0"/>
                  </a:lnTo>
                  <a:lnTo>
                    <a:pt x="0" y="17340"/>
                  </a:lnTo>
                  <a:lnTo>
                    <a:pt x="231198" y="156573"/>
                  </a:lnTo>
                  <a:close/>
                </a:path>
              </a:pathLst>
            </a:custGeom>
            <a:solidFill>
              <a:srgbClr val="000000"/>
            </a:solidFill>
            <a:ln w="12844"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BF54E7E4-86D0-459D-BFED-02479DDC2DE8}"/>
                </a:ext>
              </a:extLst>
            </p:cNvPr>
            <p:cNvSpPr/>
            <p:nvPr/>
          </p:nvSpPr>
          <p:spPr>
            <a:xfrm>
              <a:off x="308262" y="0"/>
              <a:ext cx="254831" cy="1732191"/>
            </a:xfrm>
            <a:custGeom>
              <a:avLst/>
              <a:gdLst>
                <a:gd name="connsiteX0" fmla="*/ 0 w 254831"/>
                <a:gd name="connsiteY0" fmla="*/ 1732192 h 1732191"/>
                <a:gd name="connsiteX1" fmla="*/ 1028 w 254831"/>
                <a:gd name="connsiteY1" fmla="*/ 1729495 h 1732191"/>
                <a:gd name="connsiteX2" fmla="*/ 10093 w 254831"/>
                <a:gd name="connsiteY2" fmla="*/ 1726255 h 1732191"/>
                <a:gd name="connsiteX3" fmla="*/ 10404 w 254831"/>
                <a:gd name="connsiteY3" fmla="*/ 1726412 h 1732191"/>
                <a:gd name="connsiteX4" fmla="*/ 14257 w 254831"/>
                <a:gd name="connsiteY4" fmla="*/ 1728724 h 1732191"/>
                <a:gd name="connsiteX5" fmla="*/ 254831 w 254831"/>
                <a:gd name="connsiteY5" fmla="*/ 0 h 1732191"/>
                <a:gd name="connsiteX6" fmla="*/ 241088 w 254831"/>
                <a:gd name="connsiteY6" fmla="*/ 0 h 1732191"/>
                <a:gd name="connsiteX7" fmla="*/ 1156 w 254831"/>
                <a:gd name="connsiteY7" fmla="*/ 1721146 h 173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831" h="1732191">
                  <a:moveTo>
                    <a:pt x="0" y="1732192"/>
                  </a:moveTo>
                  <a:cubicBezTo>
                    <a:pt x="228" y="1731253"/>
                    <a:pt x="574" y="1730347"/>
                    <a:pt x="1028" y="1729495"/>
                  </a:cubicBezTo>
                  <a:cubicBezTo>
                    <a:pt x="2636" y="1726096"/>
                    <a:pt x="6695" y="1724646"/>
                    <a:pt x="10093" y="1726255"/>
                  </a:cubicBezTo>
                  <a:cubicBezTo>
                    <a:pt x="10198" y="1726305"/>
                    <a:pt x="10302" y="1726357"/>
                    <a:pt x="10404" y="1726412"/>
                  </a:cubicBezTo>
                  <a:lnTo>
                    <a:pt x="14257" y="1728724"/>
                  </a:lnTo>
                  <a:lnTo>
                    <a:pt x="254831" y="0"/>
                  </a:lnTo>
                  <a:lnTo>
                    <a:pt x="241088" y="0"/>
                  </a:lnTo>
                  <a:lnTo>
                    <a:pt x="1156" y="1721146"/>
                  </a:lnTo>
                  <a:close/>
                </a:path>
              </a:pathLst>
            </a:custGeom>
            <a:solidFill>
              <a:srgbClr val="000000"/>
            </a:solidFill>
            <a:ln w="12844"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F51113E8-FD15-45CC-81DC-E1E4D1676C35}"/>
                </a:ext>
              </a:extLst>
            </p:cNvPr>
            <p:cNvSpPr/>
            <p:nvPr/>
          </p:nvSpPr>
          <p:spPr>
            <a:xfrm>
              <a:off x="309418" y="1737843"/>
              <a:ext cx="1669" cy="1541"/>
            </a:xfrm>
            <a:custGeom>
              <a:avLst/>
              <a:gdLst>
                <a:gd name="connsiteX0" fmla="*/ 0 w 1669"/>
                <a:gd name="connsiteY0" fmla="*/ 0 h 1541"/>
                <a:gd name="connsiteX1" fmla="*/ 1670 w 1669"/>
                <a:gd name="connsiteY1" fmla="*/ 1541 h 1541"/>
                <a:gd name="connsiteX2" fmla="*/ 1670 w 1669"/>
                <a:gd name="connsiteY2" fmla="*/ 1541 h 1541"/>
                <a:gd name="connsiteX3" fmla="*/ 0 w 1669"/>
                <a:gd name="connsiteY3" fmla="*/ 0 h 1541"/>
              </a:gdLst>
              <a:ahLst/>
              <a:cxnLst>
                <a:cxn ang="0">
                  <a:pos x="connsiteX0" y="connsiteY0"/>
                </a:cxn>
                <a:cxn ang="0">
                  <a:pos x="connsiteX1" y="connsiteY1"/>
                </a:cxn>
                <a:cxn ang="0">
                  <a:pos x="connsiteX2" y="connsiteY2"/>
                </a:cxn>
                <a:cxn ang="0">
                  <a:pos x="connsiteX3" y="connsiteY3"/>
                </a:cxn>
              </a:cxnLst>
              <a:rect l="l" t="t" r="r" b="b"/>
              <a:pathLst>
                <a:path w="1669" h="1541">
                  <a:moveTo>
                    <a:pt x="0" y="0"/>
                  </a:moveTo>
                  <a:cubicBezTo>
                    <a:pt x="493" y="579"/>
                    <a:pt x="1054" y="1096"/>
                    <a:pt x="1670" y="1541"/>
                  </a:cubicBezTo>
                  <a:lnTo>
                    <a:pt x="1670" y="1541"/>
                  </a:lnTo>
                  <a:cubicBezTo>
                    <a:pt x="1054" y="1096"/>
                    <a:pt x="493" y="579"/>
                    <a:pt x="0" y="0"/>
                  </a:cubicBezTo>
                  <a:close/>
                </a:path>
              </a:pathLst>
            </a:custGeom>
            <a:solidFill>
              <a:srgbClr val="000000"/>
            </a:solidFill>
            <a:ln w="12844"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D8D3D57F-E596-4DB5-8B4A-659D4B60A7C9}"/>
                </a:ext>
              </a:extLst>
            </p:cNvPr>
            <p:cNvSpPr/>
            <p:nvPr/>
          </p:nvSpPr>
          <p:spPr>
            <a:xfrm>
              <a:off x="115340" y="0"/>
              <a:ext cx="138718" cy="947400"/>
            </a:xfrm>
            <a:custGeom>
              <a:avLst/>
              <a:gdLst>
                <a:gd name="connsiteX0" fmla="*/ 12844 w 138718"/>
                <a:gd name="connsiteY0" fmla="*/ 947401 h 947400"/>
                <a:gd name="connsiteX1" fmla="*/ 138719 w 138718"/>
                <a:gd name="connsiteY1" fmla="*/ 0 h 947400"/>
                <a:gd name="connsiteX2" fmla="*/ 124975 w 138718"/>
                <a:gd name="connsiteY2" fmla="*/ 0 h 947400"/>
                <a:gd name="connsiteX3" fmla="*/ 0 w 138718"/>
                <a:gd name="connsiteY3" fmla="*/ 940336 h 947400"/>
                <a:gd name="connsiteX4" fmla="*/ 8863 w 138718"/>
                <a:gd name="connsiteY4" fmla="*/ 945217 h 947400"/>
                <a:gd name="connsiteX5" fmla="*/ 12844 w 138718"/>
                <a:gd name="connsiteY5" fmla="*/ 947401 h 9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718" h="947400">
                  <a:moveTo>
                    <a:pt x="12844" y="947401"/>
                  </a:moveTo>
                  <a:lnTo>
                    <a:pt x="138719" y="0"/>
                  </a:lnTo>
                  <a:lnTo>
                    <a:pt x="124975" y="0"/>
                  </a:lnTo>
                  <a:lnTo>
                    <a:pt x="0" y="940336"/>
                  </a:lnTo>
                  <a:lnTo>
                    <a:pt x="8863" y="945217"/>
                  </a:lnTo>
                  <a:lnTo>
                    <a:pt x="12844" y="947401"/>
                  </a:lnTo>
                  <a:close/>
                </a:path>
              </a:pathLst>
            </a:custGeom>
            <a:solidFill>
              <a:srgbClr val="000000"/>
            </a:solidFill>
            <a:ln w="12844"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DE26769F-C1C2-4F5F-B8CF-5A8C2AC04A45}"/>
                </a:ext>
              </a:extLst>
            </p:cNvPr>
            <p:cNvSpPr/>
            <p:nvPr/>
          </p:nvSpPr>
          <p:spPr>
            <a:xfrm>
              <a:off x="2138963" y="3187073"/>
              <a:ext cx="293749" cy="179050"/>
            </a:xfrm>
            <a:custGeom>
              <a:avLst/>
              <a:gdLst>
                <a:gd name="connsiteX0" fmla="*/ 8092 w 293749"/>
                <a:gd name="connsiteY0" fmla="*/ 4495 h 179050"/>
                <a:gd name="connsiteX1" fmla="*/ 2697 w 293749"/>
                <a:gd name="connsiteY1" fmla="*/ 13615 h 179050"/>
                <a:gd name="connsiteX2" fmla="*/ 0 w 293749"/>
                <a:gd name="connsiteY2" fmla="*/ 14386 h 179050"/>
                <a:gd name="connsiteX3" fmla="*/ 272685 w 293749"/>
                <a:gd name="connsiteY3" fmla="*/ 179051 h 179050"/>
                <a:gd name="connsiteX4" fmla="*/ 289126 w 293749"/>
                <a:gd name="connsiteY4" fmla="*/ 174170 h 179050"/>
                <a:gd name="connsiteX5" fmla="*/ 290025 w 293749"/>
                <a:gd name="connsiteY5" fmla="*/ 174170 h 179050"/>
                <a:gd name="connsiteX6" fmla="*/ 291951 w 293749"/>
                <a:gd name="connsiteY6" fmla="*/ 174170 h 179050"/>
                <a:gd name="connsiteX7" fmla="*/ 291951 w 293749"/>
                <a:gd name="connsiteY7" fmla="*/ 174170 h 179050"/>
                <a:gd name="connsiteX8" fmla="*/ 293750 w 293749"/>
                <a:gd name="connsiteY8" fmla="*/ 174812 h 179050"/>
                <a:gd name="connsiteX9" fmla="*/ 293750 w 293749"/>
                <a:gd name="connsiteY9" fmla="*/ 174812 h 179050"/>
                <a:gd name="connsiteX10" fmla="*/ 4496 w 293749"/>
                <a:gd name="connsiteY10" fmla="*/ 0 h 179050"/>
                <a:gd name="connsiteX11" fmla="*/ 3596 w 293749"/>
                <a:gd name="connsiteY11" fmla="*/ 0 h 179050"/>
                <a:gd name="connsiteX12" fmla="*/ 8092 w 293749"/>
                <a:gd name="connsiteY12" fmla="*/ 4496 h 17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749" h="179050">
                  <a:moveTo>
                    <a:pt x="8092" y="4495"/>
                  </a:moveTo>
                  <a:cubicBezTo>
                    <a:pt x="8811" y="8454"/>
                    <a:pt x="6513" y="12339"/>
                    <a:pt x="2697" y="13615"/>
                  </a:cubicBezTo>
                  <a:lnTo>
                    <a:pt x="0" y="14386"/>
                  </a:lnTo>
                  <a:lnTo>
                    <a:pt x="272685" y="179051"/>
                  </a:lnTo>
                  <a:lnTo>
                    <a:pt x="289126" y="174170"/>
                  </a:lnTo>
                  <a:lnTo>
                    <a:pt x="290025" y="174170"/>
                  </a:lnTo>
                  <a:cubicBezTo>
                    <a:pt x="290661" y="174041"/>
                    <a:pt x="291316" y="174041"/>
                    <a:pt x="291951" y="174170"/>
                  </a:cubicBezTo>
                  <a:lnTo>
                    <a:pt x="291951" y="174170"/>
                  </a:lnTo>
                  <a:lnTo>
                    <a:pt x="293750" y="174812"/>
                  </a:lnTo>
                  <a:lnTo>
                    <a:pt x="293750" y="174812"/>
                  </a:lnTo>
                  <a:lnTo>
                    <a:pt x="4496" y="0"/>
                  </a:lnTo>
                  <a:lnTo>
                    <a:pt x="3596" y="0"/>
                  </a:lnTo>
                  <a:cubicBezTo>
                    <a:pt x="5770" y="622"/>
                    <a:pt x="7470" y="2321"/>
                    <a:pt x="8092" y="4496"/>
                  </a:cubicBezTo>
                  <a:close/>
                </a:path>
              </a:pathLst>
            </a:custGeom>
            <a:solidFill>
              <a:srgbClr val="000000"/>
            </a:solidFill>
            <a:ln w="12844"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A0365E9A-2121-4761-A421-6828BAF5A028}"/>
                </a:ext>
              </a:extLst>
            </p:cNvPr>
            <p:cNvSpPr/>
            <p:nvPr/>
          </p:nvSpPr>
          <p:spPr>
            <a:xfrm>
              <a:off x="1719853" y="3308838"/>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711C0B5B-B14A-48F1-9AA5-9E715713459C}"/>
                </a:ext>
              </a:extLst>
            </p:cNvPr>
            <p:cNvSpPr/>
            <p:nvPr/>
          </p:nvSpPr>
          <p:spPr>
            <a:xfrm>
              <a:off x="1729615" y="3315132"/>
              <a:ext cx="284501" cy="180463"/>
            </a:xfrm>
            <a:custGeom>
              <a:avLst/>
              <a:gdLst>
                <a:gd name="connsiteX0" fmla="*/ 277309 w 284501"/>
                <a:gd name="connsiteY0" fmla="*/ 175197 h 180463"/>
                <a:gd name="connsiteX1" fmla="*/ 277309 w 284501"/>
                <a:gd name="connsiteY1" fmla="*/ 175197 h 180463"/>
                <a:gd name="connsiteX2" fmla="*/ 277309 w 284501"/>
                <a:gd name="connsiteY2" fmla="*/ 174426 h 180463"/>
                <a:gd name="connsiteX3" fmla="*/ 278079 w 284501"/>
                <a:gd name="connsiteY3" fmla="*/ 172628 h 180463"/>
                <a:gd name="connsiteX4" fmla="*/ 278979 w 284501"/>
                <a:gd name="connsiteY4" fmla="*/ 171472 h 180463"/>
                <a:gd name="connsiteX5" fmla="*/ 279878 w 284501"/>
                <a:gd name="connsiteY5" fmla="*/ 170445 h 180463"/>
                <a:gd name="connsiteX6" fmla="*/ 281804 w 284501"/>
                <a:gd name="connsiteY6" fmla="*/ 169417 h 180463"/>
                <a:gd name="connsiteX7" fmla="*/ 281804 w 284501"/>
                <a:gd name="connsiteY7" fmla="*/ 169417 h 180463"/>
                <a:gd name="connsiteX8" fmla="*/ 281804 w 284501"/>
                <a:gd name="connsiteY8" fmla="*/ 169417 h 180463"/>
                <a:gd name="connsiteX9" fmla="*/ 284502 w 284501"/>
                <a:gd name="connsiteY9" fmla="*/ 168647 h 180463"/>
                <a:gd name="connsiteX10" fmla="*/ 12973 w 284501"/>
                <a:gd name="connsiteY10" fmla="*/ 0 h 180463"/>
                <a:gd name="connsiteX11" fmla="*/ 1028 w 284501"/>
                <a:gd name="connsiteY11" fmla="*/ 3468 h 180463"/>
                <a:gd name="connsiteX12" fmla="*/ 0 w 284501"/>
                <a:gd name="connsiteY12" fmla="*/ 9376 h 180463"/>
                <a:gd name="connsiteX13" fmla="*/ 275511 w 284501"/>
                <a:gd name="connsiteY13" fmla="*/ 180463 h 18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501" h="180463">
                  <a:moveTo>
                    <a:pt x="277309" y="175197"/>
                  </a:moveTo>
                  <a:lnTo>
                    <a:pt x="277309" y="175197"/>
                  </a:lnTo>
                  <a:cubicBezTo>
                    <a:pt x="277365" y="174943"/>
                    <a:pt x="277365" y="174680"/>
                    <a:pt x="277309" y="174426"/>
                  </a:cubicBezTo>
                  <a:cubicBezTo>
                    <a:pt x="277487" y="173796"/>
                    <a:pt x="277746" y="173192"/>
                    <a:pt x="278079" y="172628"/>
                  </a:cubicBezTo>
                  <a:cubicBezTo>
                    <a:pt x="278348" y="172219"/>
                    <a:pt x="278648" y="171833"/>
                    <a:pt x="278979" y="171472"/>
                  </a:cubicBezTo>
                  <a:cubicBezTo>
                    <a:pt x="279314" y="171162"/>
                    <a:pt x="279615" y="170818"/>
                    <a:pt x="279878" y="170445"/>
                  </a:cubicBezTo>
                  <a:lnTo>
                    <a:pt x="281804" y="169417"/>
                  </a:lnTo>
                  <a:lnTo>
                    <a:pt x="281804" y="169417"/>
                  </a:lnTo>
                  <a:lnTo>
                    <a:pt x="281804" y="169417"/>
                  </a:lnTo>
                  <a:lnTo>
                    <a:pt x="284502" y="168647"/>
                  </a:lnTo>
                  <a:lnTo>
                    <a:pt x="12973" y="0"/>
                  </a:lnTo>
                  <a:lnTo>
                    <a:pt x="1028" y="3468"/>
                  </a:lnTo>
                  <a:lnTo>
                    <a:pt x="0" y="9376"/>
                  </a:lnTo>
                  <a:lnTo>
                    <a:pt x="275511" y="180463"/>
                  </a:lnTo>
                  <a:close/>
                </a:path>
              </a:pathLst>
            </a:custGeom>
            <a:solidFill>
              <a:srgbClr val="000000"/>
            </a:solidFill>
            <a:ln w="12844"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DF24A595-1BC3-4D03-8FE6-70622B521EEA}"/>
                </a:ext>
              </a:extLst>
            </p:cNvPr>
            <p:cNvSpPr/>
            <p:nvPr/>
          </p:nvSpPr>
          <p:spPr>
            <a:xfrm>
              <a:off x="2436260" y="3368050"/>
              <a:ext cx="49" cy="1284"/>
            </a:xfrm>
            <a:custGeom>
              <a:avLst/>
              <a:gdLst>
                <a:gd name="connsiteX0" fmla="*/ 49 w 49"/>
                <a:gd name="connsiteY0" fmla="*/ 1027 h 1284"/>
                <a:gd name="connsiteX1" fmla="*/ 49 w 49"/>
                <a:gd name="connsiteY1" fmla="*/ 0 h 1284"/>
                <a:gd name="connsiteX2" fmla="*/ 49 w 49"/>
                <a:gd name="connsiteY2" fmla="*/ 0 h 1284"/>
                <a:gd name="connsiteX3" fmla="*/ 49 w 49"/>
                <a:gd name="connsiteY3" fmla="*/ 1285 h 1284"/>
              </a:gdLst>
              <a:ahLst/>
              <a:cxnLst>
                <a:cxn ang="0">
                  <a:pos x="connsiteX0" y="connsiteY0"/>
                </a:cxn>
                <a:cxn ang="0">
                  <a:pos x="connsiteX1" y="connsiteY1"/>
                </a:cxn>
                <a:cxn ang="0">
                  <a:pos x="connsiteX2" y="connsiteY2"/>
                </a:cxn>
                <a:cxn ang="0">
                  <a:pos x="connsiteX3" y="connsiteY3"/>
                </a:cxn>
              </a:cxnLst>
              <a:rect l="l" t="t" r="r" b="b"/>
              <a:pathLst>
                <a:path w="49" h="1284">
                  <a:moveTo>
                    <a:pt x="49" y="1027"/>
                  </a:moveTo>
                  <a:cubicBezTo>
                    <a:pt x="-16" y="688"/>
                    <a:pt x="-16" y="339"/>
                    <a:pt x="49" y="0"/>
                  </a:cubicBezTo>
                  <a:lnTo>
                    <a:pt x="49" y="0"/>
                  </a:lnTo>
                  <a:cubicBezTo>
                    <a:pt x="49" y="0"/>
                    <a:pt x="49" y="771"/>
                    <a:pt x="49" y="1285"/>
                  </a:cubicBezTo>
                  <a:close/>
                </a:path>
              </a:pathLst>
            </a:custGeom>
            <a:solidFill>
              <a:srgbClr val="000000"/>
            </a:solidFill>
            <a:ln w="12844"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FF229FB5-8CF9-4282-ADCC-CCAAAD60ED30}"/>
                </a:ext>
              </a:extLst>
            </p:cNvPr>
            <p:cNvSpPr/>
            <p:nvPr/>
          </p:nvSpPr>
          <p:spPr>
            <a:xfrm>
              <a:off x="2436181" y="3365481"/>
              <a:ext cx="53" cy="899"/>
            </a:xfrm>
            <a:custGeom>
              <a:avLst/>
              <a:gdLst>
                <a:gd name="connsiteX0" fmla="*/ 0 w 53"/>
                <a:gd name="connsiteY0" fmla="*/ 899 h 899"/>
                <a:gd name="connsiteX1" fmla="*/ 0 w 53"/>
                <a:gd name="connsiteY1" fmla="*/ 0 h 899"/>
                <a:gd name="connsiteX2" fmla="*/ 0 w 53"/>
                <a:gd name="connsiteY2" fmla="*/ 899 h 899"/>
              </a:gdLst>
              <a:ahLst/>
              <a:cxnLst>
                <a:cxn ang="0">
                  <a:pos x="connsiteX0" y="connsiteY0"/>
                </a:cxn>
                <a:cxn ang="0">
                  <a:pos x="connsiteX1" y="connsiteY1"/>
                </a:cxn>
                <a:cxn ang="0">
                  <a:pos x="connsiteX2" y="connsiteY2"/>
                </a:cxn>
              </a:cxnLst>
              <a:rect l="l" t="t" r="r" b="b"/>
              <a:pathLst>
                <a:path w="53" h="899">
                  <a:moveTo>
                    <a:pt x="0" y="899"/>
                  </a:moveTo>
                  <a:cubicBezTo>
                    <a:pt x="71" y="604"/>
                    <a:pt x="71" y="296"/>
                    <a:pt x="0" y="0"/>
                  </a:cubicBezTo>
                  <a:cubicBezTo>
                    <a:pt x="50" y="298"/>
                    <a:pt x="50" y="602"/>
                    <a:pt x="0" y="899"/>
                  </a:cubicBezTo>
                  <a:close/>
                </a:path>
              </a:pathLst>
            </a:custGeom>
            <a:solidFill>
              <a:srgbClr val="000000"/>
            </a:solidFill>
            <a:ln w="12844"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FA41CAB5-6DF3-4357-8130-34B34FC1BB9A}"/>
                </a:ext>
              </a:extLst>
            </p:cNvPr>
            <p:cNvSpPr/>
            <p:nvPr/>
          </p:nvSpPr>
          <p:spPr>
            <a:xfrm>
              <a:off x="2431557" y="3361371"/>
              <a:ext cx="1798" cy="642"/>
            </a:xfrm>
            <a:custGeom>
              <a:avLst/>
              <a:gdLst>
                <a:gd name="connsiteX0" fmla="*/ 1798 w 1798"/>
                <a:gd name="connsiteY0" fmla="*/ 642 h 642"/>
                <a:gd name="connsiteX1" fmla="*/ 1798 w 1798"/>
                <a:gd name="connsiteY1" fmla="*/ 642 h 642"/>
                <a:gd name="connsiteX2" fmla="*/ 0 w 1798"/>
                <a:gd name="connsiteY2" fmla="*/ 0 h 642"/>
              </a:gdLst>
              <a:ahLst/>
              <a:cxnLst>
                <a:cxn ang="0">
                  <a:pos x="connsiteX0" y="connsiteY0"/>
                </a:cxn>
                <a:cxn ang="0">
                  <a:pos x="connsiteX1" y="connsiteY1"/>
                </a:cxn>
                <a:cxn ang="0">
                  <a:pos x="connsiteX2" y="connsiteY2"/>
                </a:cxn>
              </a:cxnLst>
              <a:rect l="l" t="t" r="r" b="b"/>
              <a:pathLst>
                <a:path w="1798" h="642">
                  <a:moveTo>
                    <a:pt x="1798" y="642"/>
                  </a:moveTo>
                  <a:lnTo>
                    <a:pt x="1798" y="642"/>
                  </a:lnTo>
                  <a:lnTo>
                    <a:pt x="0" y="0"/>
                  </a:lnTo>
                  <a:close/>
                </a:path>
              </a:pathLst>
            </a:custGeom>
            <a:solidFill>
              <a:srgbClr val="000000"/>
            </a:solidFill>
            <a:ln w="12844"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545ACB88-92C9-46C1-83B4-B4DB4452DC2E}"/>
                </a:ext>
              </a:extLst>
            </p:cNvPr>
            <p:cNvSpPr/>
            <p:nvPr/>
          </p:nvSpPr>
          <p:spPr>
            <a:xfrm>
              <a:off x="2012190" y="3484164"/>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C188C6E8-C533-44AA-9886-6AE1B1A46962}"/>
                </a:ext>
              </a:extLst>
            </p:cNvPr>
            <p:cNvSpPr/>
            <p:nvPr/>
          </p:nvSpPr>
          <p:spPr>
            <a:xfrm>
              <a:off x="2012318" y="3360858"/>
              <a:ext cx="415770" cy="136278"/>
            </a:xfrm>
            <a:custGeom>
              <a:avLst/>
              <a:gdLst>
                <a:gd name="connsiteX0" fmla="*/ 0 w 415770"/>
                <a:gd name="connsiteY0" fmla="*/ 123306 h 136278"/>
                <a:gd name="connsiteX1" fmla="*/ 2697 w 415770"/>
                <a:gd name="connsiteY1" fmla="*/ 123306 h 136278"/>
                <a:gd name="connsiteX2" fmla="*/ 8152 w 415770"/>
                <a:gd name="connsiteY2" fmla="*/ 131239 h 136278"/>
                <a:gd name="connsiteX3" fmla="*/ 8092 w 415770"/>
                <a:gd name="connsiteY3" fmla="*/ 131527 h 136278"/>
                <a:gd name="connsiteX4" fmla="*/ 7193 w 415770"/>
                <a:gd name="connsiteY4" fmla="*/ 136279 h 136278"/>
                <a:gd name="connsiteX5" fmla="*/ 408321 w 415770"/>
                <a:gd name="connsiteY5" fmla="*/ 17211 h 136278"/>
                <a:gd name="connsiteX6" fmla="*/ 410505 w 415770"/>
                <a:gd name="connsiteY6" fmla="*/ 6037 h 136278"/>
                <a:gd name="connsiteX7" fmla="*/ 415771 w 415770"/>
                <a:gd name="connsiteY7" fmla="*/ 0 h 136278"/>
                <a:gd name="connsiteX8" fmla="*/ 415771 w 415770"/>
                <a:gd name="connsiteY8" fmla="*/ 0 h 136278"/>
                <a:gd name="connsiteX9" fmla="*/ 399330 w 415770"/>
                <a:gd name="connsiteY9" fmla="*/ 4881 h 136278"/>
                <a:gd name="connsiteX10" fmla="*/ 2697 w 415770"/>
                <a:gd name="connsiteY10" fmla="*/ 122150 h 13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5770" h="136278">
                  <a:moveTo>
                    <a:pt x="0" y="123306"/>
                  </a:moveTo>
                  <a:cubicBezTo>
                    <a:pt x="889" y="123111"/>
                    <a:pt x="1809" y="123111"/>
                    <a:pt x="2697" y="123306"/>
                  </a:cubicBezTo>
                  <a:cubicBezTo>
                    <a:pt x="6394" y="123990"/>
                    <a:pt x="8836" y="127543"/>
                    <a:pt x="8152" y="131239"/>
                  </a:cubicBezTo>
                  <a:cubicBezTo>
                    <a:pt x="8134" y="131335"/>
                    <a:pt x="8114" y="131431"/>
                    <a:pt x="8092" y="131527"/>
                  </a:cubicBezTo>
                  <a:lnTo>
                    <a:pt x="7193" y="136279"/>
                  </a:lnTo>
                  <a:lnTo>
                    <a:pt x="408321" y="17211"/>
                  </a:lnTo>
                  <a:lnTo>
                    <a:pt x="410505" y="6037"/>
                  </a:lnTo>
                  <a:cubicBezTo>
                    <a:pt x="410994" y="3199"/>
                    <a:pt x="413025" y="870"/>
                    <a:pt x="415771" y="0"/>
                  </a:cubicBezTo>
                  <a:lnTo>
                    <a:pt x="415771" y="0"/>
                  </a:lnTo>
                  <a:lnTo>
                    <a:pt x="399330" y="4881"/>
                  </a:lnTo>
                  <a:lnTo>
                    <a:pt x="2697" y="122150"/>
                  </a:lnTo>
                  <a:close/>
                </a:path>
              </a:pathLst>
            </a:custGeom>
            <a:solidFill>
              <a:srgbClr val="000000"/>
            </a:solidFill>
            <a:ln w="12844"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1C85A70-2687-4699-8DFF-A0A1768BE4B9}"/>
                </a:ext>
              </a:extLst>
            </p:cNvPr>
            <p:cNvSpPr/>
            <p:nvPr/>
          </p:nvSpPr>
          <p:spPr>
            <a:xfrm>
              <a:off x="1545684" y="3310379"/>
              <a:ext cx="185857" cy="985035"/>
            </a:xfrm>
            <a:custGeom>
              <a:avLst/>
              <a:gdLst>
                <a:gd name="connsiteX0" fmla="*/ 14643 w 185857"/>
                <a:gd name="connsiteY0" fmla="*/ 980411 h 985035"/>
                <a:gd name="connsiteX1" fmla="*/ 184830 w 185857"/>
                <a:gd name="connsiteY1" fmla="*/ 13744 h 985035"/>
                <a:gd name="connsiteX2" fmla="*/ 185857 w 185857"/>
                <a:gd name="connsiteY2" fmla="*/ 7835 h 985035"/>
                <a:gd name="connsiteX3" fmla="*/ 181362 w 185857"/>
                <a:gd name="connsiteY3" fmla="*/ 9120 h 985035"/>
                <a:gd name="connsiteX4" fmla="*/ 173429 w 185857"/>
                <a:gd name="connsiteY4" fmla="*/ 4696 h 985035"/>
                <a:gd name="connsiteX5" fmla="*/ 173270 w 185857"/>
                <a:gd name="connsiteY5" fmla="*/ 3982 h 985035"/>
                <a:gd name="connsiteX6" fmla="*/ 173270 w 185857"/>
                <a:gd name="connsiteY6" fmla="*/ 0 h 985035"/>
                <a:gd name="connsiteX7" fmla="*/ 173270 w 185857"/>
                <a:gd name="connsiteY7" fmla="*/ 1156 h 985035"/>
                <a:gd name="connsiteX8" fmla="*/ 0 w 185857"/>
                <a:gd name="connsiteY8" fmla="*/ 985035 h 985035"/>
                <a:gd name="connsiteX9" fmla="*/ 4367 w 185857"/>
                <a:gd name="connsiteY9" fmla="*/ 983751 h 98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857" h="985035">
                  <a:moveTo>
                    <a:pt x="14643" y="980411"/>
                  </a:moveTo>
                  <a:lnTo>
                    <a:pt x="184830" y="13744"/>
                  </a:lnTo>
                  <a:lnTo>
                    <a:pt x="185857" y="7835"/>
                  </a:lnTo>
                  <a:lnTo>
                    <a:pt x="181362" y="9120"/>
                  </a:lnTo>
                  <a:cubicBezTo>
                    <a:pt x="177950" y="10089"/>
                    <a:pt x="174399" y="8108"/>
                    <a:pt x="173429" y="4696"/>
                  </a:cubicBezTo>
                  <a:cubicBezTo>
                    <a:pt x="173363" y="4462"/>
                    <a:pt x="173310" y="4223"/>
                    <a:pt x="173270" y="3982"/>
                  </a:cubicBezTo>
                  <a:cubicBezTo>
                    <a:pt x="172949" y="2674"/>
                    <a:pt x="172949" y="1308"/>
                    <a:pt x="173270" y="0"/>
                  </a:cubicBezTo>
                  <a:cubicBezTo>
                    <a:pt x="173197" y="382"/>
                    <a:pt x="173197" y="774"/>
                    <a:pt x="173270" y="1156"/>
                  </a:cubicBezTo>
                  <a:lnTo>
                    <a:pt x="0" y="985035"/>
                  </a:lnTo>
                  <a:lnTo>
                    <a:pt x="4367" y="983751"/>
                  </a:lnTo>
                  <a:close/>
                </a:path>
              </a:pathLst>
            </a:custGeom>
            <a:solidFill>
              <a:srgbClr val="000000"/>
            </a:solidFill>
            <a:ln w="12844"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C7F756EF-30F4-46F8-BA55-C577FF12AF1A}"/>
                </a:ext>
              </a:extLst>
            </p:cNvPr>
            <p:cNvSpPr/>
            <p:nvPr/>
          </p:nvSpPr>
          <p:spPr>
            <a:xfrm>
              <a:off x="1721780" y="3305370"/>
              <a:ext cx="2440" cy="1284"/>
            </a:xfrm>
            <a:custGeom>
              <a:avLst/>
              <a:gdLst>
                <a:gd name="connsiteX0" fmla="*/ 2440 w 2440"/>
                <a:gd name="connsiteY0" fmla="*/ 0 h 1284"/>
                <a:gd name="connsiteX1" fmla="*/ 0 w 2440"/>
                <a:gd name="connsiteY1" fmla="*/ 1285 h 1284"/>
                <a:gd name="connsiteX2" fmla="*/ 2440 w 2440"/>
                <a:gd name="connsiteY2" fmla="*/ 0 h 1284"/>
              </a:gdLst>
              <a:ahLst/>
              <a:cxnLst>
                <a:cxn ang="0">
                  <a:pos x="connsiteX0" y="connsiteY0"/>
                </a:cxn>
                <a:cxn ang="0">
                  <a:pos x="connsiteX1" y="connsiteY1"/>
                </a:cxn>
                <a:cxn ang="0">
                  <a:pos x="connsiteX2" y="connsiteY2"/>
                </a:cxn>
              </a:cxnLst>
              <a:rect l="l" t="t" r="r" b="b"/>
              <a:pathLst>
                <a:path w="2440" h="1284">
                  <a:moveTo>
                    <a:pt x="2440" y="0"/>
                  </a:moveTo>
                  <a:cubicBezTo>
                    <a:pt x="1544" y="247"/>
                    <a:pt x="711" y="685"/>
                    <a:pt x="0" y="1285"/>
                  </a:cubicBezTo>
                  <a:cubicBezTo>
                    <a:pt x="711" y="685"/>
                    <a:pt x="1544" y="247"/>
                    <a:pt x="2440" y="0"/>
                  </a:cubicBezTo>
                  <a:close/>
                </a:path>
              </a:pathLst>
            </a:custGeom>
            <a:solidFill>
              <a:srgbClr val="000000"/>
            </a:solidFill>
            <a:ln w="12844"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1FFFE501-129D-49B0-BF98-D6108B4CF457}"/>
                </a:ext>
              </a:extLst>
            </p:cNvPr>
            <p:cNvSpPr/>
            <p:nvPr/>
          </p:nvSpPr>
          <p:spPr>
            <a:xfrm>
              <a:off x="1879636" y="3483889"/>
              <a:ext cx="140948" cy="705044"/>
            </a:xfrm>
            <a:custGeom>
              <a:avLst/>
              <a:gdLst>
                <a:gd name="connsiteX0" fmla="*/ 139875 w 140948"/>
                <a:gd name="connsiteY0" fmla="*/ 13119 h 705044"/>
                <a:gd name="connsiteX1" fmla="*/ 140774 w 140948"/>
                <a:gd name="connsiteY1" fmla="*/ 8366 h 705044"/>
                <a:gd name="connsiteX2" fmla="*/ 135666 w 140948"/>
                <a:gd name="connsiteY2" fmla="*/ 206 h 705044"/>
                <a:gd name="connsiteX3" fmla="*/ 135379 w 140948"/>
                <a:gd name="connsiteY3" fmla="*/ 146 h 705044"/>
                <a:gd name="connsiteX4" fmla="*/ 132682 w 140948"/>
                <a:gd name="connsiteY4" fmla="*/ 146 h 705044"/>
                <a:gd name="connsiteX5" fmla="*/ 132682 w 140948"/>
                <a:gd name="connsiteY5" fmla="*/ 146 h 705044"/>
                <a:gd name="connsiteX6" fmla="*/ 132682 w 140948"/>
                <a:gd name="connsiteY6" fmla="*/ 146 h 705044"/>
                <a:gd name="connsiteX7" fmla="*/ 130755 w 140948"/>
                <a:gd name="connsiteY7" fmla="*/ 1173 h 705044"/>
                <a:gd name="connsiteX8" fmla="*/ 129856 w 140948"/>
                <a:gd name="connsiteY8" fmla="*/ 2200 h 705044"/>
                <a:gd name="connsiteX9" fmla="*/ 128957 w 140948"/>
                <a:gd name="connsiteY9" fmla="*/ 3356 h 705044"/>
                <a:gd name="connsiteX10" fmla="*/ 128186 w 140948"/>
                <a:gd name="connsiteY10" fmla="*/ 5155 h 705044"/>
                <a:gd name="connsiteX11" fmla="*/ 128186 w 140948"/>
                <a:gd name="connsiteY11" fmla="*/ 5925 h 705044"/>
                <a:gd name="connsiteX12" fmla="*/ 128186 w 140948"/>
                <a:gd name="connsiteY12" fmla="*/ 5926 h 705044"/>
                <a:gd name="connsiteX13" fmla="*/ 127287 w 140948"/>
                <a:gd name="connsiteY13" fmla="*/ 10806 h 705044"/>
                <a:gd name="connsiteX14" fmla="*/ 0 w 140948"/>
                <a:gd name="connsiteY14" fmla="*/ 705045 h 705044"/>
                <a:gd name="connsiteX15" fmla="*/ 4367 w 140948"/>
                <a:gd name="connsiteY15" fmla="*/ 703632 h 705044"/>
                <a:gd name="connsiteX16" fmla="*/ 14771 w 140948"/>
                <a:gd name="connsiteY16" fmla="*/ 700293 h 70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948" h="705044">
                  <a:moveTo>
                    <a:pt x="139875" y="13119"/>
                  </a:moveTo>
                  <a:lnTo>
                    <a:pt x="140774" y="8366"/>
                  </a:lnTo>
                  <a:cubicBezTo>
                    <a:pt x="141617" y="4702"/>
                    <a:pt x="139330" y="1049"/>
                    <a:pt x="135666" y="206"/>
                  </a:cubicBezTo>
                  <a:cubicBezTo>
                    <a:pt x="135571" y="184"/>
                    <a:pt x="135475" y="164"/>
                    <a:pt x="135379" y="146"/>
                  </a:cubicBezTo>
                  <a:cubicBezTo>
                    <a:pt x="134491" y="-49"/>
                    <a:pt x="133570" y="-49"/>
                    <a:pt x="132682" y="146"/>
                  </a:cubicBezTo>
                  <a:lnTo>
                    <a:pt x="132682" y="146"/>
                  </a:lnTo>
                  <a:lnTo>
                    <a:pt x="132682" y="146"/>
                  </a:lnTo>
                  <a:lnTo>
                    <a:pt x="130755" y="1173"/>
                  </a:lnTo>
                  <a:cubicBezTo>
                    <a:pt x="130493" y="1547"/>
                    <a:pt x="130192" y="1891"/>
                    <a:pt x="129856" y="2200"/>
                  </a:cubicBezTo>
                  <a:cubicBezTo>
                    <a:pt x="129526" y="2561"/>
                    <a:pt x="129225" y="2948"/>
                    <a:pt x="128957" y="3356"/>
                  </a:cubicBezTo>
                  <a:cubicBezTo>
                    <a:pt x="128623" y="3920"/>
                    <a:pt x="128364" y="4525"/>
                    <a:pt x="128186" y="5155"/>
                  </a:cubicBezTo>
                  <a:cubicBezTo>
                    <a:pt x="128242" y="5409"/>
                    <a:pt x="128242" y="5671"/>
                    <a:pt x="128186" y="5925"/>
                  </a:cubicBezTo>
                  <a:lnTo>
                    <a:pt x="128186" y="5926"/>
                  </a:lnTo>
                  <a:lnTo>
                    <a:pt x="127287" y="10806"/>
                  </a:lnTo>
                  <a:lnTo>
                    <a:pt x="0" y="705045"/>
                  </a:lnTo>
                  <a:lnTo>
                    <a:pt x="4367" y="703632"/>
                  </a:lnTo>
                  <a:lnTo>
                    <a:pt x="14771" y="700293"/>
                  </a:lnTo>
                  <a:close/>
                </a:path>
              </a:pathLst>
            </a:custGeom>
            <a:solidFill>
              <a:srgbClr val="000000"/>
            </a:solidFill>
            <a:ln w="12844"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6BE33F80-CA5F-4524-AB58-0F325E889048}"/>
                </a:ext>
              </a:extLst>
            </p:cNvPr>
            <p:cNvSpPr/>
            <p:nvPr/>
          </p:nvSpPr>
          <p:spPr>
            <a:xfrm>
              <a:off x="1382690" y="4290919"/>
              <a:ext cx="1490583" cy="508508"/>
            </a:xfrm>
            <a:custGeom>
              <a:avLst/>
              <a:gdLst>
                <a:gd name="connsiteX0" fmla="*/ 1481592 w 1490583"/>
                <a:gd name="connsiteY0" fmla="*/ 0 h 508508"/>
                <a:gd name="connsiteX1" fmla="*/ 0 w 1490583"/>
                <a:gd name="connsiteY1" fmla="*/ 493481 h 508508"/>
                <a:gd name="connsiteX2" fmla="*/ 2569 w 1490583"/>
                <a:gd name="connsiteY2" fmla="*/ 495279 h 508508"/>
                <a:gd name="connsiteX3" fmla="*/ 4110 w 1490583"/>
                <a:gd name="connsiteY3" fmla="*/ 505298 h 508508"/>
                <a:gd name="connsiteX4" fmla="*/ 0 w 1490583"/>
                <a:gd name="connsiteY4" fmla="*/ 508509 h 508508"/>
                <a:gd name="connsiteX5" fmla="*/ 0 w 1490583"/>
                <a:gd name="connsiteY5" fmla="*/ 508509 h 508508"/>
                <a:gd name="connsiteX6" fmla="*/ 4239 w 1490583"/>
                <a:gd name="connsiteY6" fmla="*/ 507096 h 508508"/>
                <a:gd name="connsiteX7" fmla="*/ 1489170 w 1490583"/>
                <a:gd name="connsiteY7" fmla="*/ 12716 h 508508"/>
                <a:gd name="connsiteX8" fmla="*/ 1490583 w 1490583"/>
                <a:gd name="connsiteY8" fmla="*/ 5908 h 5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583" h="508508">
                  <a:moveTo>
                    <a:pt x="1481592" y="0"/>
                  </a:moveTo>
                  <a:lnTo>
                    <a:pt x="0" y="493481"/>
                  </a:lnTo>
                  <a:lnTo>
                    <a:pt x="2569" y="495279"/>
                  </a:lnTo>
                  <a:cubicBezTo>
                    <a:pt x="5685" y="497665"/>
                    <a:pt x="6365" y="502085"/>
                    <a:pt x="4110" y="505298"/>
                  </a:cubicBezTo>
                  <a:cubicBezTo>
                    <a:pt x="3190" y="506844"/>
                    <a:pt x="1724" y="507990"/>
                    <a:pt x="0" y="508509"/>
                  </a:cubicBezTo>
                  <a:lnTo>
                    <a:pt x="0" y="508509"/>
                  </a:lnTo>
                  <a:lnTo>
                    <a:pt x="4239" y="507096"/>
                  </a:lnTo>
                  <a:lnTo>
                    <a:pt x="1489170" y="12716"/>
                  </a:lnTo>
                  <a:lnTo>
                    <a:pt x="1490583" y="5908"/>
                  </a:lnTo>
                  <a:close/>
                </a:path>
              </a:pathLst>
            </a:custGeom>
            <a:solidFill>
              <a:srgbClr val="000000"/>
            </a:solidFill>
            <a:ln w="12844"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174F1CC6-E830-4E02-92A7-2EED4155C2C9}"/>
                </a:ext>
              </a:extLst>
            </p:cNvPr>
            <p:cNvSpPr/>
            <p:nvPr/>
          </p:nvSpPr>
          <p:spPr>
            <a:xfrm>
              <a:off x="2887915" y="4289891"/>
              <a:ext cx="18" cy="899"/>
            </a:xfrm>
            <a:custGeom>
              <a:avLst/>
              <a:gdLst>
                <a:gd name="connsiteX0" fmla="*/ 0 w 18"/>
                <a:gd name="connsiteY0" fmla="*/ 899 h 899"/>
                <a:gd name="connsiteX1" fmla="*/ 0 w 18"/>
                <a:gd name="connsiteY1" fmla="*/ 899 h 899"/>
                <a:gd name="connsiteX2" fmla="*/ 0 w 18"/>
                <a:gd name="connsiteY2" fmla="*/ 0 h 899"/>
                <a:gd name="connsiteX3" fmla="*/ 0 w 18"/>
                <a:gd name="connsiteY3" fmla="*/ 0 h 899"/>
              </a:gdLst>
              <a:ahLst/>
              <a:cxnLst>
                <a:cxn ang="0">
                  <a:pos x="connsiteX0" y="connsiteY0"/>
                </a:cxn>
                <a:cxn ang="0">
                  <a:pos x="connsiteX1" y="connsiteY1"/>
                </a:cxn>
                <a:cxn ang="0">
                  <a:pos x="connsiteX2" y="connsiteY2"/>
                </a:cxn>
                <a:cxn ang="0">
                  <a:pos x="connsiteX3" y="connsiteY3"/>
                </a:cxn>
              </a:cxnLst>
              <a:rect l="l" t="t" r="r" b="b"/>
              <a:pathLst>
                <a:path w="18" h="899">
                  <a:moveTo>
                    <a:pt x="0" y="899"/>
                  </a:moveTo>
                  <a:lnTo>
                    <a:pt x="0" y="899"/>
                  </a:lnTo>
                  <a:cubicBezTo>
                    <a:pt x="24" y="600"/>
                    <a:pt x="24" y="299"/>
                    <a:pt x="0" y="0"/>
                  </a:cubicBezTo>
                  <a:lnTo>
                    <a:pt x="0" y="0"/>
                  </a:lnTo>
                  <a:close/>
                </a:path>
              </a:pathLst>
            </a:custGeom>
            <a:solidFill>
              <a:srgbClr val="000000"/>
            </a:solidFill>
            <a:ln w="12844"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EDB6046A-F3C5-4A91-978D-7BC84302A943}"/>
                </a:ext>
              </a:extLst>
            </p:cNvPr>
            <p:cNvSpPr/>
            <p:nvPr/>
          </p:nvSpPr>
          <p:spPr>
            <a:xfrm>
              <a:off x="2885989" y="4287450"/>
              <a:ext cx="770" cy="770"/>
            </a:xfrm>
            <a:custGeom>
              <a:avLst/>
              <a:gdLst>
                <a:gd name="connsiteX0" fmla="*/ 771 w 770"/>
                <a:gd name="connsiteY0" fmla="*/ 771 h 770"/>
                <a:gd name="connsiteX1" fmla="*/ 0 w 770"/>
                <a:gd name="connsiteY1" fmla="*/ 0 h 770"/>
                <a:gd name="connsiteX2" fmla="*/ 0 w 770"/>
                <a:gd name="connsiteY2" fmla="*/ 0 h 770"/>
              </a:gdLst>
              <a:ahLst/>
              <a:cxnLst>
                <a:cxn ang="0">
                  <a:pos x="connsiteX0" y="connsiteY0"/>
                </a:cxn>
                <a:cxn ang="0">
                  <a:pos x="connsiteX1" y="connsiteY1"/>
                </a:cxn>
                <a:cxn ang="0">
                  <a:pos x="connsiteX2" y="connsiteY2"/>
                </a:cxn>
              </a:cxnLst>
              <a:rect l="l" t="t" r="r" b="b"/>
              <a:pathLst>
                <a:path w="770" h="770">
                  <a:moveTo>
                    <a:pt x="771" y="771"/>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D3EDC3B7-1074-4A0B-AE19-96B6055F0731}"/>
                </a:ext>
              </a:extLst>
            </p:cNvPr>
            <p:cNvSpPr/>
            <p:nvPr/>
          </p:nvSpPr>
          <p:spPr>
            <a:xfrm>
              <a:off x="2887915" y="4292203"/>
              <a:ext cx="58" cy="1541"/>
            </a:xfrm>
            <a:custGeom>
              <a:avLst/>
              <a:gdLst>
                <a:gd name="connsiteX0" fmla="*/ 0 w 58"/>
                <a:gd name="connsiteY0" fmla="*/ 1541 h 1541"/>
                <a:gd name="connsiteX1" fmla="*/ 0 w 58"/>
                <a:gd name="connsiteY1" fmla="*/ 0 h 1541"/>
                <a:gd name="connsiteX2" fmla="*/ 0 w 58"/>
                <a:gd name="connsiteY2" fmla="*/ 0 h 1541"/>
                <a:gd name="connsiteX3" fmla="*/ 0 w 58"/>
                <a:gd name="connsiteY3" fmla="*/ 1541 h 1541"/>
              </a:gdLst>
              <a:ahLst/>
              <a:cxnLst>
                <a:cxn ang="0">
                  <a:pos x="connsiteX0" y="connsiteY0"/>
                </a:cxn>
                <a:cxn ang="0">
                  <a:pos x="connsiteX1" y="connsiteY1"/>
                </a:cxn>
                <a:cxn ang="0">
                  <a:pos x="connsiteX2" y="connsiteY2"/>
                </a:cxn>
                <a:cxn ang="0">
                  <a:pos x="connsiteX3" y="connsiteY3"/>
                </a:cxn>
              </a:cxnLst>
              <a:rect l="l" t="t" r="r" b="b"/>
              <a:pathLst>
                <a:path w="58" h="1541">
                  <a:moveTo>
                    <a:pt x="0" y="1541"/>
                  </a:moveTo>
                  <a:cubicBezTo>
                    <a:pt x="64" y="1029"/>
                    <a:pt x="64" y="512"/>
                    <a:pt x="0" y="0"/>
                  </a:cubicBezTo>
                  <a:lnTo>
                    <a:pt x="0" y="0"/>
                  </a:lnTo>
                  <a:cubicBezTo>
                    <a:pt x="77" y="511"/>
                    <a:pt x="77" y="1031"/>
                    <a:pt x="0" y="1541"/>
                  </a:cubicBezTo>
                  <a:close/>
                </a:path>
              </a:pathLst>
            </a:custGeom>
            <a:solidFill>
              <a:srgbClr val="000000"/>
            </a:solidFill>
            <a:ln w="12844"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2B748928-0C6F-4EAF-8ECA-7BEF4AA9D6B0}"/>
                </a:ext>
              </a:extLst>
            </p:cNvPr>
            <p:cNvSpPr/>
            <p:nvPr/>
          </p:nvSpPr>
          <p:spPr>
            <a:xfrm>
              <a:off x="945854" y="4487437"/>
              <a:ext cx="770" cy="770"/>
            </a:xfrm>
            <a:custGeom>
              <a:avLst/>
              <a:gdLst>
                <a:gd name="connsiteX0" fmla="*/ 771 w 770"/>
                <a:gd name="connsiteY0" fmla="*/ 0 h 770"/>
                <a:gd name="connsiteX1" fmla="*/ 0 w 770"/>
                <a:gd name="connsiteY1" fmla="*/ 771 h 770"/>
                <a:gd name="connsiteX2" fmla="*/ 0 w 770"/>
                <a:gd name="connsiteY2" fmla="*/ 771 h 770"/>
                <a:gd name="connsiteX3" fmla="*/ 0 w 770"/>
                <a:gd name="connsiteY3" fmla="*/ 0 h 770"/>
              </a:gdLst>
              <a:ahLst/>
              <a:cxnLst>
                <a:cxn ang="0">
                  <a:pos x="connsiteX0" y="connsiteY0"/>
                </a:cxn>
                <a:cxn ang="0">
                  <a:pos x="connsiteX1" y="connsiteY1"/>
                </a:cxn>
                <a:cxn ang="0">
                  <a:pos x="connsiteX2" y="connsiteY2"/>
                </a:cxn>
                <a:cxn ang="0">
                  <a:pos x="connsiteX3" y="connsiteY3"/>
                </a:cxn>
              </a:cxnLst>
              <a:rect l="l" t="t" r="r" b="b"/>
              <a:pathLst>
                <a:path w="770" h="770">
                  <a:moveTo>
                    <a:pt x="771" y="0"/>
                  </a:moveTo>
                  <a:lnTo>
                    <a:pt x="0" y="771"/>
                  </a:lnTo>
                  <a:lnTo>
                    <a:pt x="0" y="771"/>
                  </a:lnTo>
                  <a:cubicBezTo>
                    <a:pt x="0" y="771"/>
                    <a:pt x="0" y="771"/>
                    <a:pt x="0" y="0"/>
                  </a:cubicBezTo>
                  <a:close/>
                </a:path>
              </a:pathLst>
            </a:custGeom>
            <a:solidFill>
              <a:srgbClr val="000000"/>
            </a:solidFill>
            <a:ln w="12844"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59BA9145-E456-4AA5-992D-D51782530ECB}"/>
                </a:ext>
              </a:extLst>
            </p:cNvPr>
            <p:cNvSpPr/>
            <p:nvPr/>
          </p:nvSpPr>
          <p:spPr>
            <a:xfrm>
              <a:off x="945031" y="4490006"/>
              <a:ext cx="52" cy="1155"/>
            </a:xfrm>
            <a:custGeom>
              <a:avLst/>
              <a:gdLst>
                <a:gd name="connsiteX0" fmla="*/ 52 w 52"/>
                <a:gd name="connsiteY0" fmla="*/ 0 h 1155"/>
                <a:gd name="connsiteX1" fmla="*/ 52 w 52"/>
                <a:gd name="connsiteY1" fmla="*/ 1156 h 1155"/>
                <a:gd name="connsiteX2" fmla="*/ 52 w 52"/>
                <a:gd name="connsiteY2" fmla="*/ 1156 h 1155"/>
                <a:gd name="connsiteX3" fmla="*/ 52 w 52"/>
                <a:gd name="connsiteY3" fmla="*/ 0 h 1155"/>
              </a:gdLst>
              <a:ahLst/>
              <a:cxnLst>
                <a:cxn ang="0">
                  <a:pos x="connsiteX0" y="connsiteY0"/>
                </a:cxn>
                <a:cxn ang="0">
                  <a:pos x="connsiteX1" y="connsiteY1"/>
                </a:cxn>
                <a:cxn ang="0">
                  <a:pos x="connsiteX2" y="connsiteY2"/>
                </a:cxn>
                <a:cxn ang="0">
                  <a:pos x="connsiteX3" y="connsiteY3"/>
                </a:cxn>
              </a:cxnLst>
              <a:rect l="l" t="t" r="r" b="b"/>
              <a:pathLst>
                <a:path w="52" h="1155">
                  <a:moveTo>
                    <a:pt x="52" y="0"/>
                  </a:moveTo>
                  <a:lnTo>
                    <a:pt x="52" y="1156"/>
                  </a:lnTo>
                  <a:lnTo>
                    <a:pt x="52" y="1156"/>
                  </a:lnTo>
                  <a:cubicBezTo>
                    <a:pt x="-17" y="774"/>
                    <a:pt x="-17" y="382"/>
                    <a:pt x="52" y="0"/>
                  </a:cubicBezTo>
                  <a:close/>
                </a:path>
              </a:pathLst>
            </a:custGeom>
            <a:solidFill>
              <a:srgbClr val="000000"/>
            </a:solidFill>
            <a:ln w="12844"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138A2B9B-F3D5-4F16-885A-0D5CF4949D17}"/>
                </a:ext>
              </a:extLst>
            </p:cNvPr>
            <p:cNvSpPr/>
            <p:nvPr/>
          </p:nvSpPr>
          <p:spPr>
            <a:xfrm>
              <a:off x="956258" y="4494502"/>
              <a:ext cx="432256" cy="304026"/>
            </a:xfrm>
            <a:custGeom>
              <a:avLst/>
              <a:gdLst>
                <a:gd name="connsiteX0" fmla="*/ 430927 w 432256"/>
                <a:gd name="connsiteY0" fmla="*/ 301714 h 304026"/>
                <a:gd name="connsiteX1" fmla="*/ 429386 w 432256"/>
                <a:gd name="connsiteY1" fmla="*/ 291696 h 304026"/>
                <a:gd name="connsiteX2" fmla="*/ 426817 w 432256"/>
                <a:gd name="connsiteY2" fmla="*/ 289897 h 304026"/>
                <a:gd name="connsiteX3" fmla="*/ 11431 w 432256"/>
                <a:gd name="connsiteY3" fmla="*/ 0 h 304026"/>
                <a:gd name="connsiteX4" fmla="*/ 1156 w 432256"/>
                <a:gd name="connsiteY4" fmla="*/ 3211 h 304026"/>
                <a:gd name="connsiteX5" fmla="*/ 0 w 432256"/>
                <a:gd name="connsiteY5" fmla="*/ 10019 h 304026"/>
                <a:gd name="connsiteX6" fmla="*/ 418083 w 432256"/>
                <a:gd name="connsiteY6" fmla="*/ 301586 h 304026"/>
                <a:gd name="connsiteX7" fmla="*/ 421679 w 432256"/>
                <a:gd name="connsiteY7" fmla="*/ 304026 h 304026"/>
                <a:gd name="connsiteX8" fmla="*/ 421679 w 432256"/>
                <a:gd name="connsiteY8" fmla="*/ 304026 h 304026"/>
                <a:gd name="connsiteX9" fmla="*/ 422963 w 432256"/>
                <a:gd name="connsiteY9" fmla="*/ 304026 h 304026"/>
                <a:gd name="connsiteX10" fmla="*/ 424120 w 432256"/>
                <a:gd name="connsiteY10" fmla="*/ 304026 h 304026"/>
                <a:gd name="connsiteX11" fmla="*/ 426817 w 432256"/>
                <a:gd name="connsiteY11" fmla="*/ 304026 h 304026"/>
                <a:gd name="connsiteX12" fmla="*/ 430927 w 432256"/>
                <a:gd name="connsiteY12" fmla="*/ 301714 h 30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256" h="304026">
                  <a:moveTo>
                    <a:pt x="430927" y="301714"/>
                  </a:moveTo>
                  <a:cubicBezTo>
                    <a:pt x="433182" y="298501"/>
                    <a:pt x="432502" y="294082"/>
                    <a:pt x="429386" y="291696"/>
                  </a:cubicBezTo>
                  <a:lnTo>
                    <a:pt x="426817" y="289897"/>
                  </a:lnTo>
                  <a:lnTo>
                    <a:pt x="11431" y="0"/>
                  </a:lnTo>
                  <a:lnTo>
                    <a:pt x="1156" y="3211"/>
                  </a:lnTo>
                  <a:lnTo>
                    <a:pt x="0" y="10019"/>
                  </a:lnTo>
                  <a:lnTo>
                    <a:pt x="418083" y="301586"/>
                  </a:lnTo>
                  <a:lnTo>
                    <a:pt x="421679" y="304026"/>
                  </a:lnTo>
                  <a:lnTo>
                    <a:pt x="421679" y="304026"/>
                  </a:lnTo>
                  <a:lnTo>
                    <a:pt x="422963" y="304026"/>
                  </a:lnTo>
                  <a:lnTo>
                    <a:pt x="424120" y="304026"/>
                  </a:lnTo>
                  <a:lnTo>
                    <a:pt x="426817" y="304026"/>
                  </a:lnTo>
                  <a:cubicBezTo>
                    <a:pt x="428408" y="303739"/>
                    <a:pt x="429856" y="302925"/>
                    <a:pt x="430927" y="301714"/>
                  </a:cubicBezTo>
                  <a:close/>
                </a:path>
              </a:pathLst>
            </a:custGeom>
            <a:solidFill>
              <a:srgbClr val="000000"/>
            </a:solidFill>
            <a:ln w="12844"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35FDBC38-FF4F-475E-B7FC-E720CCD96617}"/>
                </a:ext>
              </a:extLst>
            </p:cNvPr>
            <p:cNvSpPr/>
            <p:nvPr/>
          </p:nvSpPr>
          <p:spPr>
            <a:xfrm>
              <a:off x="19008" y="6546133"/>
              <a:ext cx="14101" cy="24147"/>
            </a:xfrm>
            <a:custGeom>
              <a:avLst/>
              <a:gdLst>
                <a:gd name="connsiteX0" fmla="*/ 14000 w 14101"/>
                <a:gd name="connsiteY0" fmla="*/ 1798 h 24147"/>
                <a:gd name="connsiteX1" fmla="*/ 14000 w 14101"/>
                <a:gd name="connsiteY1" fmla="*/ 3340 h 24147"/>
                <a:gd name="connsiteX2" fmla="*/ 14000 w 14101"/>
                <a:gd name="connsiteY2" fmla="*/ 3340 h 24147"/>
                <a:gd name="connsiteX3" fmla="*/ 14000 w 14101"/>
                <a:gd name="connsiteY3" fmla="*/ 3340 h 24147"/>
                <a:gd name="connsiteX4" fmla="*/ 12844 w 14101"/>
                <a:gd name="connsiteY4" fmla="*/ 4496 h 24147"/>
                <a:gd name="connsiteX5" fmla="*/ 11688 w 14101"/>
                <a:gd name="connsiteY5" fmla="*/ 5138 h 24147"/>
                <a:gd name="connsiteX6" fmla="*/ 11688 w 14101"/>
                <a:gd name="connsiteY6" fmla="*/ 5138 h 24147"/>
                <a:gd name="connsiteX7" fmla="*/ 1284 w 14101"/>
                <a:gd name="connsiteY7" fmla="*/ 8991 h 24147"/>
                <a:gd name="connsiteX8" fmla="*/ 0 w 14101"/>
                <a:gd name="connsiteY8" fmla="*/ 17340 h 24147"/>
                <a:gd name="connsiteX9" fmla="*/ 4239 w 14101"/>
                <a:gd name="connsiteY9" fmla="*/ 15799 h 24147"/>
                <a:gd name="connsiteX10" fmla="*/ 4239 w 14101"/>
                <a:gd name="connsiteY10" fmla="*/ 15799 h 24147"/>
                <a:gd name="connsiteX11" fmla="*/ 5395 w 14101"/>
                <a:gd name="connsiteY11" fmla="*/ 15799 h 24147"/>
                <a:gd name="connsiteX12" fmla="*/ 7064 w 14101"/>
                <a:gd name="connsiteY12" fmla="*/ 15799 h 24147"/>
                <a:gd name="connsiteX13" fmla="*/ 6679 w 14101"/>
                <a:gd name="connsiteY13" fmla="*/ 17340 h 24147"/>
                <a:gd name="connsiteX14" fmla="*/ 8349 w 14101"/>
                <a:gd name="connsiteY14" fmla="*/ 17340 h 24147"/>
                <a:gd name="connsiteX15" fmla="*/ 9119 w 14101"/>
                <a:gd name="connsiteY15" fmla="*/ 18111 h 24147"/>
                <a:gd name="connsiteX16" fmla="*/ 10275 w 14101"/>
                <a:gd name="connsiteY16" fmla="*/ 19138 h 24147"/>
                <a:gd name="connsiteX17" fmla="*/ 10275 w 14101"/>
                <a:gd name="connsiteY17" fmla="*/ 20294 h 24147"/>
                <a:gd name="connsiteX18" fmla="*/ 10275 w 14101"/>
                <a:gd name="connsiteY18" fmla="*/ 21450 h 24147"/>
                <a:gd name="connsiteX19" fmla="*/ 10275 w 14101"/>
                <a:gd name="connsiteY19" fmla="*/ 21450 h 24147"/>
                <a:gd name="connsiteX20" fmla="*/ 10275 w 14101"/>
                <a:gd name="connsiteY20" fmla="*/ 22735 h 24147"/>
                <a:gd name="connsiteX21" fmla="*/ 10275 w 14101"/>
                <a:gd name="connsiteY21" fmla="*/ 24147 h 24147"/>
                <a:gd name="connsiteX22" fmla="*/ 13743 w 14101"/>
                <a:gd name="connsiteY22" fmla="*/ 0 h 24147"/>
                <a:gd name="connsiteX23" fmla="*/ 13743 w 14101"/>
                <a:gd name="connsiteY23" fmla="*/ 0 h 24147"/>
                <a:gd name="connsiteX24" fmla="*/ 13743 w 14101"/>
                <a:gd name="connsiteY24" fmla="*/ 0 h 24147"/>
                <a:gd name="connsiteX25" fmla="*/ 14000 w 14101"/>
                <a:gd name="connsiteY25" fmla="*/ 1798 h 2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01" h="24147">
                  <a:moveTo>
                    <a:pt x="14000" y="1798"/>
                  </a:moveTo>
                  <a:cubicBezTo>
                    <a:pt x="14051" y="2311"/>
                    <a:pt x="14051" y="2827"/>
                    <a:pt x="14000" y="3340"/>
                  </a:cubicBezTo>
                  <a:lnTo>
                    <a:pt x="14000" y="3340"/>
                  </a:lnTo>
                  <a:cubicBezTo>
                    <a:pt x="14000" y="3340"/>
                    <a:pt x="14000" y="3340"/>
                    <a:pt x="14000" y="3340"/>
                  </a:cubicBezTo>
                  <a:lnTo>
                    <a:pt x="12844" y="4496"/>
                  </a:lnTo>
                  <a:cubicBezTo>
                    <a:pt x="12506" y="4784"/>
                    <a:pt x="12113" y="5003"/>
                    <a:pt x="11688" y="5138"/>
                  </a:cubicBezTo>
                  <a:lnTo>
                    <a:pt x="11688" y="5138"/>
                  </a:lnTo>
                  <a:lnTo>
                    <a:pt x="1284" y="8991"/>
                  </a:lnTo>
                  <a:lnTo>
                    <a:pt x="0" y="17340"/>
                  </a:lnTo>
                  <a:lnTo>
                    <a:pt x="4239" y="15799"/>
                  </a:lnTo>
                  <a:lnTo>
                    <a:pt x="4239" y="15799"/>
                  </a:lnTo>
                  <a:lnTo>
                    <a:pt x="5395" y="15799"/>
                  </a:lnTo>
                  <a:lnTo>
                    <a:pt x="7064" y="15799"/>
                  </a:lnTo>
                  <a:lnTo>
                    <a:pt x="6679" y="17340"/>
                  </a:lnTo>
                  <a:lnTo>
                    <a:pt x="8349" y="17340"/>
                  </a:lnTo>
                  <a:lnTo>
                    <a:pt x="9119" y="18111"/>
                  </a:lnTo>
                  <a:lnTo>
                    <a:pt x="10275" y="19138"/>
                  </a:lnTo>
                  <a:cubicBezTo>
                    <a:pt x="10324" y="19522"/>
                    <a:pt x="10324" y="19911"/>
                    <a:pt x="10275" y="20294"/>
                  </a:cubicBezTo>
                  <a:cubicBezTo>
                    <a:pt x="10343" y="20677"/>
                    <a:pt x="10343" y="21068"/>
                    <a:pt x="10275" y="21450"/>
                  </a:cubicBezTo>
                  <a:lnTo>
                    <a:pt x="10275" y="21450"/>
                  </a:lnTo>
                  <a:cubicBezTo>
                    <a:pt x="10275" y="21450"/>
                    <a:pt x="10275" y="22349"/>
                    <a:pt x="10275" y="22735"/>
                  </a:cubicBezTo>
                  <a:cubicBezTo>
                    <a:pt x="10275" y="23120"/>
                    <a:pt x="10275" y="23634"/>
                    <a:pt x="10275" y="24147"/>
                  </a:cubicBezTo>
                  <a:lnTo>
                    <a:pt x="13743" y="0"/>
                  </a:lnTo>
                  <a:lnTo>
                    <a:pt x="13743" y="0"/>
                  </a:lnTo>
                  <a:lnTo>
                    <a:pt x="13743" y="0"/>
                  </a:lnTo>
                  <a:cubicBezTo>
                    <a:pt x="14104" y="527"/>
                    <a:pt x="14199" y="1192"/>
                    <a:pt x="14000" y="1798"/>
                  </a:cubicBezTo>
                  <a:close/>
                </a:path>
              </a:pathLst>
            </a:custGeom>
            <a:solidFill>
              <a:srgbClr val="000000"/>
            </a:solidFill>
            <a:ln w="12844"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E4A3934F-9297-4651-AA5E-E734B7C6C536}"/>
                </a:ext>
              </a:extLst>
            </p:cNvPr>
            <p:cNvSpPr/>
            <p:nvPr/>
          </p:nvSpPr>
          <p:spPr>
            <a:xfrm>
              <a:off x="32495" y="6541509"/>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27083719-06B5-46EA-A5D9-569E2915F72F}"/>
                </a:ext>
              </a:extLst>
            </p:cNvPr>
            <p:cNvSpPr/>
            <p:nvPr/>
          </p:nvSpPr>
          <p:spPr>
            <a:xfrm>
              <a:off x="29926" y="6570923"/>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94B15DDE-F2F7-4C61-A33D-60624A8541E5}"/>
                </a:ext>
              </a:extLst>
            </p:cNvPr>
            <p:cNvSpPr/>
            <p:nvPr/>
          </p:nvSpPr>
          <p:spPr>
            <a:xfrm>
              <a:off x="33522" y="6543950"/>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cubicBezTo>
                    <a:pt x="0" y="0"/>
                    <a:pt x="0" y="0"/>
                    <a:pt x="0" y="0"/>
                  </a:cubicBezTo>
                  <a:lnTo>
                    <a:pt x="0" y="0"/>
                  </a:lnTo>
                  <a:close/>
                </a:path>
              </a:pathLst>
            </a:custGeom>
            <a:solidFill>
              <a:srgbClr val="000000"/>
            </a:solidFill>
            <a:ln w="12844"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A8FE6436-616A-4875-83B9-6B86B8E46401}"/>
                </a:ext>
              </a:extLst>
            </p:cNvPr>
            <p:cNvSpPr/>
            <p:nvPr/>
          </p:nvSpPr>
          <p:spPr>
            <a:xfrm>
              <a:off x="384" y="6514536"/>
              <a:ext cx="31211" cy="29413"/>
            </a:xfrm>
            <a:custGeom>
              <a:avLst/>
              <a:gdLst>
                <a:gd name="connsiteX0" fmla="*/ 24533 w 31211"/>
                <a:gd name="connsiteY0" fmla="*/ 24276 h 29413"/>
                <a:gd name="connsiteX1" fmla="*/ 31212 w 31211"/>
                <a:gd name="connsiteY1" fmla="*/ 25688 h 29413"/>
                <a:gd name="connsiteX2" fmla="*/ 31212 w 31211"/>
                <a:gd name="connsiteY2" fmla="*/ 25689 h 29413"/>
                <a:gd name="connsiteX3" fmla="*/ 0 w 31211"/>
                <a:gd name="connsiteY3" fmla="*/ 0 h 29413"/>
                <a:gd name="connsiteX4" fmla="*/ 0 w 31211"/>
                <a:gd name="connsiteY4" fmla="*/ 19010 h 29413"/>
                <a:gd name="connsiteX5" fmla="*/ 12844 w 31211"/>
                <a:gd name="connsiteY5" fmla="*/ 29414 h 2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11" h="29413">
                  <a:moveTo>
                    <a:pt x="24533" y="24276"/>
                  </a:moveTo>
                  <a:cubicBezTo>
                    <a:pt x="26840" y="23358"/>
                    <a:pt x="29473" y="23915"/>
                    <a:pt x="31212" y="25688"/>
                  </a:cubicBezTo>
                  <a:lnTo>
                    <a:pt x="31212" y="25689"/>
                  </a:lnTo>
                  <a:lnTo>
                    <a:pt x="0" y="0"/>
                  </a:lnTo>
                  <a:lnTo>
                    <a:pt x="0" y="19010"/>
                  </a:lnTo>
                  <a:lnTo>
                    <a:pt x="12844" y="29414"/>
                  </a:lnTo>
                  <a:close/>
                </a:path>
              </a:pathLst>
            </a:custGeom>
            <a:solidFill>
              <a:srgbClr val="000000"/>
            </a:solidFill>
            <a:ln w="12844"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8D51AEA4-CC49-4D0E-AECA-9C1F8C089CD1}"/>
                </a:ext>
              </a:extLst>
            </p:cNvPr>
            <p:cNvSpPr/>
            <p:nvPr/>
          </p:nvSpPr>
          <p:spPr>
            <a:xfrm>
              <a:off x="32495" y="6541509"/>
              <a:ext cx="642" cy="1027"/>
            </a:xfrm>
            <a:custGeom>
              <a:avLst/>
              <a:gdLst>
                <a:gd name="connsiteX0" fmla="*/ 642 w 642"/>
                <a:gd name="connsiteY0" fmla="*/ 1027 h 1027"/>
                <a:gd name="connsiteX1" fmla="*/ 0 w 642"/>
                <a:gd name="connsiteY1" fmla="*/ 0 h 1027"/>
                <a:gd name="connsiteX2" fmla="*/ 0 w 642"/>
                <a:gd name="connsiteY2" fmla="*/ 0 h 1027"/>
              </a:gdLst>
              <a:ahLst/>
              <a:cxnLst>
                <a:cxn ang="0">
                  <a:pos x="connsiteX0" y="connsiteY0"/>
                </a:cxn>
                <a:cxn ang="0">
                  <a:pos x="connsiteX1" y="connsiteY1"/>
                </a:cxn>
                <a:cxn ang="0">
                  <a:pos x="connsiteX2" y="connsiteY2"/>
                </a:cxn>
              </a:cxnLst>
              <a:rect l="l" t="t" r="r" b="b"/>
              <a:pathLst>
                <a:path w="642" h="1027">
                  <a:moveTo>
                    <a:pt x="642" y="1027"/>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0ACD9A30-8D66-4699-9B32-E04063C3EBA4}"/>
                </a:ext>
              </a:extLst>
            </p:cNvPr>
            <p:cNvSpPr/>
            <p:nvPr/>
          </p:nvSpPr>
          <p:spPr>
            <a:xfrm>
              <a:off x="33522" y="6543950"/>
              <a:ext cx="47" cy="1284"/>
            </a:xfrm>
            <a:custGeom>
              <a:avLst/>
              <a:gdLst>
                <a:gd name="connsiteX0" fmla="*/ 0 w 47"/>
                <a:gd name="connsiteY0" fmla="*/ 1284 h 1284"/>
                <a:gd name="connsiteX1" fmla="*/ 0 w 47"/>
                <a:gd name="connsiteY1" fmla="*/ 0 h 1284"/>
                <a:gd name="connsiteX2" fmla="*/ 0 w 47"/>
                <a:gd name="connsiteY2" fmla="*/ 0 h 1284"/>
                <a:gd name="connsiteX3" fmla="*/ 0 w 47"/>
                <a:gd name="connsiteY3" fmla="*/ 1285 h 1284"/>
              </a:gdLst>
              <a:ahLst/>
              <a:cxnLst>
                <a:cxn ang="0">
                  <a:pos x="connsiteX0" y="connsiteY0"/>
                </a:cxn>
                <a:cxn ang="0">
                  <a:pos x="connsiteX1" y="connsiteY1"/>
                </a:cxn>
                <a:cxn ang="0">
                  <a:pos x="connsiteX2" y="connsiteY2"/>
                </a:cxn>
                <a:cxn ang="0">
                  <a:pos x="connsiteX3" y="connsiteY3"/>
                </a:cxn>
              </a:cxnLst>
              <a:rect l="l" t="t" r="r" b="b"/>
              <a:pathLst>
                <a:path w="47" h="1284">
                  <a:moveTo>
                    <a:pt x="0" y="1284"/>
                  </a:moveTo>
                  <a:lnTo>
                    <a:pt x="0" y="0"/>
                  </a:lnTo>
                  <a:lnTo>
                    <a:pt x="0" y="0"/>
                  </a:lnTo>
                  <a:cubicBezTo>
                    <a:pt x="63" y="426"/>
                    <a:pt x="63" y="859"/>
                    <a:pt x="0" y="1285"/>
                  </a:cubicBezTo>
                  <a:close/>
                </a:path>
              </a:pathLst>
            </a:custGeom>
            <a:solidFill>
              <a:srgbClr val="000000"/>
            </a:solidFill>
            <a:ln w="12844"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BDB6F7B5-03CA-4A97-AE3E-A40272A9DFB8}"/>
                </a:ext>
              </a:extLst>
            </p:cNvPr>
            <p:cNvSpPr/>
            <p:nvPr/>
          </p:nvSpPr>
          <p:spPr>
            <a:xfrm>
              <a:off x="31596" y="6549473"/>
              <a:ext cx="770" cy="899"/>
            </a:xfrm>
            <a:custGeom>
              <a:avLst/>
              <a:gdLst>
                <a:gd name="connsiteX0" fmla="*/ 771 w 770"/>
                <a:gd name="connsiteY0" fmla="*/ 0 h 899"/>
                <a:gd name="connsiteX1" fmla="*/ 0 w 770"/>
                <a:gd name="connsiteY1" fmla="*/ 899 h 899"/>
                <a:gd name="connsiteX2" fmla="*/ 0 w 770"/>
                <a:gd name="connsiteY2" fmla="*/ 899 h 899"/>
              </a:gdLst>
              <a:ahLst/>
              <a:cxnLst>
                <a:cxn ang="0">
                  <a:pos x="connsiteX0" y="connsiteY0"/>
                </a:cxn>
                <a:cxn ang="0">
                  <a:pos x="connsiteX1" y="connsiteY1"/>
                </a:cxn>
                <a:cxn ang="0">
                  <a:pos x="connsiteX2" y="connsiteY2"/>
                </a:cxn>
              </a:cxnLst>
              <a:rect l="l" t="t" r="r" b="b"/>
              <a:pathLst>
                <a:path w="770" h="899">
                  <a:moveTo>
                    <a:pt x="771" y="0"/>
                  </a:moveTo>
                  <a:lnTo>
                    <a:pt x="0" y="899"/>
                  </a:lnTo>
                  <a:cubicBezTo>
                    <a:pt x="0" y="899"/>
                    <a:pt x="0" y="899"/>
                    <a:pt x="0" y="899"/>
                  </a:cubicBezTo>
                  <a:close/>
                </a:path>
              </a:pathLst>
            </a:custGeom>
            <a:solidFill>
              <a:srgbClr val="000000"/>
            </a:solidFill>
            <a:ln w="12844"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7A8C3527-6517-4252-961F-A14624873B36}"/>
                </a:ext>
              </a:extLst>
            </p:cNvPr>
            <p:cNvSpPr/>
            <p:nvPr/>
          </p:nvSpPr>
          <p:spPr>
            <a:xfrm>
              <a:off x="-1" y="6563216"/>
              <a:ext cx="21450" cy="23248"/>
            </a:xfrm>
            <a:custGeom>
              <a:avLst/>
              <a:gdLst>
                <a:gd name="connsiteX0" fmla="*/ 16441 w 21450"/>
                <a:gd name="connsiteY0" fmla="*/ 6165 h 23248"/>
                <a:gd name="connsiteX1" fmla="*/ 21450 w 21450"/>
                <a:gd name="connsiteY1" fmla="*/ 0 h 23248"/>
                <a:gd name="connsiteX2" fmla="*/ 21450 w 21450"/>
                <a:gd name="connsiteY2" fmla="*/ 0 h 23248"/>
                <a:gd name="connsiteX3" fmla="*/ 17211 w 21450"/>
                <a:gd name="connsiteY3" fmla="*/ 1542 h 23248"/>
                <a:gd name="connsiteX4" fmla="*/ 0 w 21450"/>
                <a:gd name="connsiteY4" fmla="*/ 7964 h 23248"/>
                <a:gd name="connsiteX5" fmla="*/ 0 w 21450"/>
                <a:gd name="connsiteY5" fmla="*/ 23248 h 23248"/>
                <a:gd name="connsiteX6" fmla="*/ 14643 w 21450"/>
                <a:gd name="connsiteY6" fmla="*/ 17725 h 2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50" h="23248">
                  <a:moveTo>
                    <a:pt x="16441" y="6165"/>
                  </a:moveTo>
                  <a:cubicBezTo>
                    <a:pt x="16813" y="3330"/>
                    <a:pt x="18751" y="945"/>
                    <a:pt x="21450" y="0"/>
                  </a:cubicBezTo>
                  <a:lnTo>
                    <a:pt x="21450" y="0"/>
                  </a:lnTo>
                  <a:lnTo>
                    <a:pt x="17211" y="1542"/>
                  </a:lnTo>
                  <a:lnTo>
                    <a:pt x="0" y="7964"/>
                  </a:lnTo>
                  <a:lnTo>
                    <a:pt x="0" y="23248"/>
                  </a:lnTo>
                  <a:lnTo>
                    <a:pt x="14643" y="17725"/>
                  </a:lnTo>
                  <a:close/>
                </a:path>
              </a:pathLst>
            </a:custGeom>
            <a:solidFill>
              <a:srgbClr val="000000"/>
            </a:solidFill>
            <a:ln w="12844"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BF79FBB2-4F92-4D53-A6A7-230069B09339}"/>
                </a:ext>
              </a:extLst>
            </p:cNvPr>
            <p:cNvSpPr/>
            <p:nvPr/>
          </p:nvSpPr>
          <p:spPr>
            <a:xfrm>
              <a:off x="29155" y="6566555"/>
              <a:ext cx="62" cy="1284"/>
            </a:xfrm>
            <a:custGeom>
              <a:avLst/>
              <a:gdLst>
                <a:gd name="connsiteX0" fmla="*/ 0 w 62"/>
                <a:gd name="connsiteY0" fmla="*/ 0 h 1284"/>
                <a:gd name="connsiteX1" fmla="*/ 0 w 62"/>
                <a:gd name="connsiteY1" fmla="*/ 1285 h 1284"/>
                <a:gd name="connsiteX2" fmla="*/ 0 w 62"/>
                <a:gd name="connsiteY2" fmla="*/ 1285 h 1284"/>
                <a:gd name="connsiteX3" fmla="*/ 0 w 62"/>
                <a:gd name="connsiteY3" fmla="*/ 0 h 1284"/>
              </a:gdLst>
              <a:ahLst/>
              <a:cxnLst>
                <a:cxn ang="0">
                  <a:pos x="connsiteX0" y="connsiteY0"/>
                </a:cxn>
                <a:cxn ang="0">
                  <a:pos x="connsiteX1" y="connsiteY1"/>
                </a:cxn>
                <a:cxn ang="0">
                  <a:pos x="connsiteX2" y="connsiteY2"/>
                </a:cxn>
                <a:cxn ang="0">
                  <a:pos x="connsiteX3" y="connsiteY3"/>
                </a:cxn>
              </a:cxnLst>
              <a:rect l="l" t="t" r="r" b="b"/>
              <a:pathLst>
                <a:path w="62" h="1284">
                  <a:moveTo>
                    <a:pt x="0" y="0"/>
                  </a:moveTo>
                  <a:cubicBezTo>
                    <a:pt x="70" y="425"/>
                    <a:pt x="70" y="859"/>
                    <a:pt x="0" y="1285"/>
                  </a:cubicBezTo>
                  <a:lnTo>
                    <a:pt x="0" y="1285"/>
                  </a:lnTo>
                  <a:cubicBezTo>
                    <a:pt x="83" y="860"/>
                    <a:pt x="83" y="424"/>
                    <a:pt x="0" y="0"/>
                  </a:cubicBezTo>
                  <a:close/>
                </a:path>
              </a:pathLst>
            </a:custGeom>
            <a:solidFill>
              <a:srgbClr val="000000"/>
            </a:solidFill>
            <a:ln w="12844"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4ACF075E-95BD-4F05-A8D6-2F7C38391BD2}"/>
                </a:ext>
              </a:extLst>
            </p:cNvPr>
            <p:cNvSpPr/>
            <p:nvPr/>
          </p:nvSpPr>
          <p:spPr>
            <a:xfrm>
              <a:off x="29926" y="6569381"/>
              <a:ext cx="34" cy="1413"/>
            </a:xfrm>
            <a:custGeom>
              <a:avLst/>
              <a:gdLst>
                <a:gd name="connsiteX0" fmla="*/ 0 w 34"/>
                <a:gd name="connsiteY0" fmla="*/ 1413 h 1413"/>
                <a:gd name="connsiteX1" fmla="*/ 0 w 34"/>
                <a:gd name="connsiteY1" fmla="*/ 1413 h 1413"/>
                <a:gd name="connsiteX2" fmla="*/ 0 w 34"/>
                <a:gd name="connsiteY2" fmla="*/ 1413 h 1413"/>
                <a:gd name="connsiteX3" fmla="*/ 0 w 34"/>
                <a:gd name="connsiteY3" fmla="*/ 0 h 1413"/>
                <a:gd name="connsiteX4" fmla="*/ 0 w 34"/>
                <a:gd name="connsiteY4" fmla="*/ 1413 h 1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 h="1413">
                  <a:moveTo>
                    <a:pt x="0" y="1413"/>
                  </a:moveTo>
                  <a:lnTo>
                    <a:pt x="0" y="1413"/>
                  </a:lnTo>
                  <a:lnTo>
                    <a:pt x="0" y="1413"/>
                  </a:lnTo>
                  <a:cubicBezTo>
                    <a:pt x="0" y="1413"/>
                    <a:pt x="0" y="514"/>
                    <a:pt x="0" y="0"/>
                  </a:cubicBezTo>
                  <a:cubicBezTo>
                    <a:pt x="46" y="470"/>
                    <a:pt x="46" y="943"/>
                    <a:pt x="0" y="1413"/>
                  </a:cubicBezTo>
                  <a:close/>
                </a:path>
              </a:pathLst>
            </a:custGeom>
            <a:solidFill>
              <a:srgbClr val="000000"/>
            </a:solidFill>
            <a:ln w="12844"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4F73B72A-D576-4058-A5B6-14D0A0FAFCD5}"/>
                </a:ext>
              </a:extLst>
            </p:cNvPr>
            <p:cNvSpPr/>
            <p:nvPr/>
          </p:nvSpPr>
          <p:spPr>
            <a:xfrm>
              <a:off x="-1156" y="6539660"/>
              <a:ext cx="33092" cy="23812"/>
            </a:xfrm>
            <a:custGeom>
              <a:avLst/>
              <a:gdLst>
                <a:gd name="connsiteX0" fmla="*/ 29927 w 33092"/>
                <a:gd name="connsiteY0" fmla="*/ 12895 h 23812"/>
                <a:gd name="connsiteX1" fmla="*/ 29927 w 33092"/>
                <a:gd name="connsiteY1" fmla="*/ 12895 h 23812"/>
                <a:gd name="connsiteX2" fmla="*/ 31083 w 33092"/>
                <a:gd name="connsiteY2" fmla="*/ 12253 h 23812"/>
                <a:gd name="connsiteX3" fmla="*/ 32239 w 33092"/>
                <a:gd name="connsiteY3" fmla="*/ 11097 h 23812"/>
                <a:gd name="connsiteX4" fmla="*/ 33010 w 33092"/>
                <a:gd name="connsiteY4" fmla="*/ 10198 h 23812"/>
                <a:gd name="connsiteX5" fmla="*/ 33010 w 33092"/>
                <a:gd name="connsiteY5" fmla="*/ 8656 h 23812"/>
                <a:gd name="connsiteX6" fmla="*/ 33010 w 33092"/>
                <a:gd name="connsiteY6" fmla="*/ 7500 h 23812"/>
                <a:gd name="connsiteX7" fmla="*/ 33010 w 33092"/>
                <a:gd name="connsiteY7" fmla="*/ 7500 h 23812"/>
                <a:gd name="connsiteX8" fmla="*/ 33010 w 33092"/>
                <a:gd name="connsiteY8" fmla="*/ 6473 h 23812"/>
                <a:gd name="connsiteX9" fmla="*/ 33010 w 33092"/>
                <a:gd name="connsiteY9" fmla="*/ 5188 h 23812"/>
                <a:gd name="connsiteX10" fmla="*/ 33010 w 33092"/>
                <a:gd name="connsiteY10" fmla="*/ 4417 h 23812"/>
                <a:gd name="connsiteX11" fmla="*/ 33010 w 33092"/>
                <a:gd name="connsiteY11" fmla="*/ 3775 h 23812"/>
                <a:gd name="connsiteX12" fmla="*/ 32368 w 33092"/>
                <a:gd name="connsiteY12" fmla="*/ 2619 h 23812"/>
                <a:gd name="connsiteX13" fmla="*/ 32368 w 33092"/>
                <a:gd name="connsiteY13" fmla="*/ 2619 h 23812"/>
                <a:gd name="connsiteX14" fmla="*/ 32368 w 33092"/>
                <a:gd name="connsiteY14" fmla="*/ 1849 h 23812"/>
                <a:gd name="connsiteX15" fmla="*/ 25689 w 33092"/>
                <a:gd name="connsiteY15" fmla="*/ 436 h 23812"/>
                <a:gd name="connsiteX16" fmla="*/ 12844 w 33092"/>
                <a:gd name="connsiteY16" fmla="*/ 4931 h 23812"/>
                <a:gd name="connsiteX17" fmla="*/ 0 w 33092"/>
                <a:gd name="connsiteY17" fmla="*/ 9684 h 23812"/>
                <a:gd name="connsiteX18" fmla="*/ 0 w 33092"/>
                <a:gd name="connsiteY18" fmla="*/ 23813 h 23812"/>
                <a:gd name="connsiteX19" fmla="*/ 18367 w 33092"/>
                <a:gd name="connsiteY19" fmla="*/ 16877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092" h="23812">
                  <a:moveTo>
                    <a:pt x="29927" y="12895"/>
                  </a:moveTo>
                  <a:lnTo>
                    <a:pt x="29927" y="12895"/>
                  </a:lnTo>
                  <a:cubicBezTo>
                    <a:pt x="30352" y="12760"/>
                    <a:pt x="30745" y="12542"/>
                    <a:pt x="31083" y="12253"/>
                  </a:cubicBezTo>
                  <a:lnTo>
                    <a:pt x="32239" y="11097"/>
                  </a:lnTo>
                  <a:lnTo>
                    <a:pt x="33010" y="10198"/>
                  </a:lnTo>
                  <a:cubicBezTo>
                    <a:pt x="33061" y="9685"/>
                    <a:pt x="33061" y="9169"/>
                    <a:pt x="33010" y="8656"/>
                  </a:cubicBezTo>
                  <a:cubicBezTo>
                    <a:pt x="33121" y="8279"/>
                    <a:pt x="33121" y="7878"/>
                    <a:pt x="33010" y="7500"/>
                  </a:cubicBezTo>
                  <a:lnTo>
                    <a:pt x="33010" y="7500"/>
                  </a:lnTo>
                  <a:cubicBezTo>
                    <a:pt x="33073" y="7161"/>
                    <a:pt x="33073" y="6812"/>
                    <a:pt x="33010" y="6473"/>
                  </a:cubicBezTo>
                  <a:cubicBezTo>
                    <a:pt x="33073" y="6047"/>
                    <a:pt x="33073" y="5614"/>
                    <a:pt x="33010" y="5188"/>
                  </a:cubicBezTo>
                  <a:lnTo>
                    <a:pt x="33010" y="4417"/>
                  </a:lnTo>
                  <a:cubicBezTo>
                    <a:pt x="33010" y="4417"/>
                    <a:pt x="33010" y="4417"/>
                    <a:pt x="33010" y="3775"/>
                  </a:cubicBezTo>
                  <a:lnTo>
                    <a:pt x="32368" y="2619"/>
                  </a:lnTo>
                  <a:lnTo>
                    <a:pt x="32368" y="2619"/>
                  </a:lnTo>
                  <a:cubicBezTo>
                    <a:pt x="32368" y="2619"/>
                    <a:pt x="32368" y="2619"/>
                    <a:pt x="32368" y="1849"/>
                  </a:cubicBezTo>
                  <a:cubicBezTo>
                    <a:pt x="30629" y="76"/>
                    <a:pt x="27996" y="-481"/>
                    <a:pt x="25689" y="436"/>
                  </a:cubicBezTo>
                  <a:lnTo>
                    <a:pt x="12844" y="4931"/>
                  </a:lnTo>
                  <a:lnTo>
                    <a:pt x="0" y="9684"/>
                  </a:lnTo>
                  <a:lnTo>
                    <a:pt x="0" y="23813"/>
                  </a:lnTo>
                  <a:lnTo>
                    <a:pt x="18367" y="16877"/>
                  </a:lnTo>
                  <a:close/>
                </a:path>
              </a:pathLst>
            </a:custGeom>
            <a:solidFill>
              <a:srgbClr val="000000"/>
            </a:solidFill>
            <a:ln w="12844"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64B4DC18-720F-4450-A842-BD4BFF871FD0}"/>
                </a:ext>
              </a:extLst>
            </p:cNvPr>
            <p:cNvSpPr/>
            <p:nvPr/>
          </p:nvSpPr>
          <p:spPr>
            <a:xfrm>
              <a:off x="348850" y="1073147"/>
              <a:ext cx="12844" cy="1284"/>
            </a:xfrm>
            <a:custGeom>
              <a:avLst/>
              <a:gdLst>
                <a:gd name="connsiteX0" fmla="*/ 0 w 12844"/>
                <a:gd name="connsiteY0" fmla="*/ 0 h 1284"/>
                <a:gd name="connsiteX1" fmla="*/ 0 w 12844"/>
                <a:gd name="connsiteY1" fmla="*/ 0 h 1284"/>
                <a:gd name="connsiteX2" fmla="*/ 0 w 12844"/>
                <a:gd name="connsiteY2" fmla="*/ 1284 h 1284"/>
                <a:gd name="connsiteX3" fmla="*/ 0 w 12844"/>
                <a:gd name="connsiteY3" fmla="*/ 0 h 1284"/>
              </a:gdLst>
              <a:ahLst/>
              <a:cxnLst>
                <a:cxn ang="0">
                  <a:pos x="connsiteX0" y="connsiteY0"/>
                </a:cxn>
                <a:cxn ang="0">
                  <a:pos x="connsiteX1" y="connsiteY1"/>
                </a:cxn>
                <a:cxn ang="0">
                  <a:pos x="connsiteX2" y="connsiteY2"/>
                </a:cxn>
                <a:cxn ang="0">
                  <a:pos x="connsiteX3" y="connsiteY3"/>
                </a:cxn>
              </a:cxnLst>
              <a:rect l="l" t="t" r="r" b="b"/>
              <a:pathLst>
                <a:path w="12844" h="1284">
                  <a:moveTo>
                    <a:pt x="0" y="0"/>
                  </a:moveTo>
                  <a:cubicBezTo>
                    <a:pt x="0" y="0"/>
                    <a:pt x="0" y="0"/>
                    <a:pt x="0" y="0"/>
                  </a:cubicBezTo>
                  <a:lnTo>
                    <a:pt x="0" y="1284"/>
                  </a:lnTo>
                  <a:cubicBezTo>
                    <a:pt x="0" y="1284"/>
                    <a:pt x="0" y="257"/>
                    <a:pt x="0" y="0"/>
                  </a:cubicBezTo>
                  <a:close/>
                </a:path>
              </a:pathLst>
            </a:custGeom>
            <a:solidFill>
              <a:srgbClr val="000000"/>
            </a:solidFill>
            <a:ln w="12844"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AB5ED688-2815-4CC9-8545-2EC89E36F8CA}"/>
                </a:ext>
              </a:extLst>
            </p:cNvPr>
            <p:cNvSpPr/>
            <p:nvPr/>
          </p:nvSpPr>
          <p:spPr>
            <a:xfrm>
              <a:off x="345768" y="1068266"/>
              <a:ext cx="1027" cy="899"/>
            </a:xfrm>
            <a:custGeom>
              <a:avLst/>
              <a:gdLst>
                <a:gd name="connsiteX0" fmla="*/ 1028 w 1027"/>
                <a:gd name="connsiteY0" fmla="*/ 899 h 899"/>
                <a:gd name="connsiteX1" fmla="*/ 0 w 1027"/>
                <a:gd name="connsiteY1" fmla="*/ 0 h 899"/>
                <a:gd name="connsiteX2" fmla="*/ 899 w 1027"/>
                <a:gd name="connsiteY2" fmla="*/ 771 h 899"/>
              </a:gdLst>
              <a:ahLst/>
              <a:cxnLst>
                <a:cxn ang="0">
                  <a:pos x="connsiteX0" y="connsiteY0"/>
                </a:cxn>
                <a:cxn ang="0">
                  <a:pos x="connsiteX1" y="connsiteY1"/>
                </a:cxn>
                <a:cxn ang="0">
                  <a:pos x="connsiteX2" y="connsiteY2"/>
                </a:cxn>
              </a:cxnLst>
              <a:rect l="l" t="t" r="r" b="b"/>
              <a:pathLst>
                <a:path w="1027" h="899">
                  <a:moveTo>
                    <a:pt x="1028" y="899"/>
                  </a:moveTo>
                  <a:lnTo>
                    <a:pt x="0" y="0"/>
                  </a:lnTo>
                  <a:lnTo>
                    <a:pt x="899" y="771"/>
                  </a:lnTo>
                  <a:close/>
                </a:path>
              </a:pathLst>
            </a:custGeom>
            <a:solidFill>
              <a:srgbClr val="000000"/>
            </a:solidFill>
            <a:ln w="12844"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83BDBF44-6B22-4D70-84EF-940CE4B1100B}"/>
                </a:ext>
              </a:extLst>
            </p:cNvPr>
            <p:cNvSpPr/>
            <p:nvPr/>
          </p:nvSpPr>
          <p:spPr>
            <a:xfrm>
              <a:off x="-1" y="1071349"/>
              <a:ext cx="334594" cy="79378"/>
            </a:xfrm>
            <a:custGeom>
              <a:avLst/>
              <a:gdLst>
                <a:gd name="connsiteX0" fmla="*/ 334595 w 334594"/>
                <a:gd name="connsiteY0" fmla="*/ 7450 h 79378"/>
                <a:gd name="connsiteX1" fmla="*/ 321108 w 334594"/>
                <a:gd name="connsiteY1" fmla="*/ 0 h 79378"/>
                <a:gd name="connsiteX2" fmla="*/ 0 w 334594"/>
                <a:gd name="connsiteY2" fmla="*/ 64607 h 79378"/>
                <a:gd name="connsiteX3" fmla="*/ 0 w 334594"/>
                <a:gd name="connsiteY3" fmla="*/ 79378 h 79378"/>
                <a:gd name="connsiteX4" fmla="*/ 333952 w 334594"/>
                <a:gd name="connsiteY4" fmla="*/ 12202 h 79378"/>
                <a:gd name="connsiteX5" fmla="*/ 334595 w 334594"/>
                <a:gd name="connsiteY5" fmla="*/ 7450 h 7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594" h="79378">
                  <a:moveTo>
                    <a:pt x="334595" y="7450"/>
                  </a:moveTo>
                  <a:lnTo>
                    <a:pt x="321108" y="0"/>
                  </a:lnTo>
                  <a:lnTo>
                    <a:pt x="0" y="64607"/>
                  </a:lnTo>
                  <a:lnTo>
                    <a:pt x="0" y="79378"/>
                  </a:lnTo>
                  <a:lnTo>
                    <a:pt x="333952" y="12202"/>
                  </a:lnTo>
                  <a:lnTo>
                    <a:pt x="334595" y="7450"/>
                  </a:lnTo>
                  <a:close/>
                </a:path>
              </a:pathLst>
            </a:custGeom>
            <a:solidFill>
              <a:srgbClr val="000000"/>
            </a:solidFill>
            <a:ln w="12844"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2D5F3A4E-37EF-404F-A444-4858DC906229}"/>
                </a:ext>
              </a:extLst>
            </p:cNvPr>
            <p:cNvSpPr/>
            <p:nvPr/>
          </p:nvSpPr>
          <p:spPr>
            <a:xfrm>
              <a:off x="1087270" y="3086616"/>
              <a:ext cx="237634" cy="1354710"/>
            </a:xfrm>
            <a:custGeom>
              <a:avLst/>
              <a:gdLst>
                <a:gd name="connsiteX0" fmla="*/ 14643 w 237634"/>
                <a:gd name="connsiteY0" fmla="*/ 1350087 h 1354710"/>
                <a:gd name="connsiteX1" fmla="*/ 236592 w 237634"/>
                <a:gd name="connsiteY1" fmla="*/ 13244 h 1354710"/>
                <a:gd name="connsiteX2" fmla="*/ 237491 w 237634"/>
                <a:gd name="connsiteY2" fmla="*/ 8235 h 1354710"/>
                <a:gd name="connsiteX3" fmla="*/ 232207 w 237634"/>
                <a:gd name="connsiteY3" fmla="*/ 188 h 1354710"/>
                <a:gd name="connsiteX4" fmla="*/ 231968 w 237634"/>
                <a:gd name="connsiteY4" fmla="*/ 143 h 1354710"/>
                <a:gd name="connsiteX5" fmla="*/ 229271 w 237634"/>
                <a:gd name="connsiteY5" fmla="*/ 143 h 1354710"/>
                <a:gd name="connsiteX6" fmla="*/ 227730 w 237634"/>
                <a:gd name="connsiteY6" fmla="*/ 914 h 1354710"/>
                <a:gd name="connsiteX7" fmla="*/ 226831 w 237634"/>
                <a:gd name="connsiteY7" fmla="*/ 914 h 1354710"/>
                <a:gd name="connsiteX8" fmla="*/ 225932 w 237634"/>
                <a:gd name="connsiteY8" fmla="*/ 1941 h 1354710"/>
                <a:gd name="connsiteX9" fmla="*/ 225032 w 237634"/>
                <a:gd name="connsiteY9" fmla="*/ 2969 h 1354710"/>
                <a:gd name="connsiteX10" fmla="*/ 225032 w 237634"/>
                <a:gd name="connsiteY10" fmla="*/ 3996 h 1354710"/>
                <a:gd name="connsiteX11" fmla="*/ 225032 w 237634"/>
                <a:gd name="connsiteY11" fmla="*/ 5666 h 1354710"/>
                <a:gd name="connsiteX12" fmla="*/ 225032 w 237634"/>
                <a:gd name="connsiteY12" fmla="*/ 5666 h 1354710"/>
                <a:gd name="connsiteX13" fmla="*/ 224133 w 237634"/>
                <a:gd name="connsiteY13" fmla="*/ 10547 h 1354710"/>
                <a:gd name="connsiteX14" fmla="*/ 0 w 237634"/>
                <a:gd name="connsiteY14" fmla="*/ 1354710 h 1354710"/>
                <a:gd name="connsiteX15" fmla="*/ 4495 w 237634"/>
                <a:gd name="connsiteY15" fmla="*/ 1353298 h 1354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7634" h="1354710">
                  <a:moveTo>
                    <a:pt x="14643" y="1350087"/>
                  </a:moveTo>
                  <a:lnTo>
                    <a:pt x="236592" y="13244"/>
                  </a:lnTo>
                  <a:lnTo>
                    <a:pt x="237491" y="8235"/>
                  </a:lnTo>
                  <a:cubicBezTo>
                    <a:pt x="238254" y="4554"/>
                    <a:pt x="235888" y="951"/>
                    <a:pt x="232207" y="188"/>
                  </a:cubicBezTo>
                  <a:cubicBezTo>
                    <a:pt x="232128" y="172"/>
                    <a:pt x="232048" y="157"/>
                    <a:pt x="231968" y="143"/>
                  </a:cubicBezTo>
                  <a:cubicBezTo>
                    <a:pt x="231079" y="-48"/>
                    <a:pt x="230160" y="-48"/>
                    <a:pt x="229271" y="143"/>
                  </a:cubicBezTo>
                  <a:cubicBezTo>
                    <a:pt x="228733" y="348"/>
                    <a:pt x="228216" y="606"/>
                    <a:pt x="227730" y="914"/>
                  </a:cubicBezTo>
                  <a:lnTo>
                    <a:pt x="226831" y="914"/>
                  </a:lnTo>
                  <a:cubicBezTo>
                    <a:pt x="226466" y="1193"/>
                    <a:pt x="226160" y="1543"/>
                    <a:pt x="225932" y="1941"/>
                  </a:cubicBezTo>
                  <a:lnTo>
                    <a:pt x="225032" y="2969"/>
                  </a:lnTo>
                  <a:cubicBezTo>
                    <a:pt x="224999" y="3310"/>
                    <a:pt x="224999" y="3655"/>
                    <a:pt x="225032" y="3996"/>
                  </a:cubicBezTo>
                  <a:cubicBezTo>
                    <a:pt x="225000" y="4552"/>
                    <a:pt x="225000" y="5110"/>
                    <a:pt x="225032" y="5666"/>
                  </a:cubicBezTo>
                  <a:lnTo>
                    <a:pt x="225032" y="5666"/>
                  </a:lnTo>
                  <a:lnTo>
                    <a:pt x="224133" y="10547"/>
                  </a:lnTo>
                  <a:lnTo>
                    <a:pt x="0" y="1354710"/>
                  </a:lnTo>
                  <a:lnTo>
                    <a:pt x="4495" y="1353298"/>
                  </a:lnTo>
                  <a:close/>
                </a:path>
              </a:pathLst>
            </a:custGeom>
            <a:solidFill>
              <a:srgbClr val="000000"/>
            </a:solidFill>
            <a:ln w="12844"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605FCD97-039E-45E5-8A2E-FC19D0EC4A97}"/>
                </a:ext>
              </a:extLst>
            </p:cNvPr>
            <p:cNvSpPr/>
            <p:nvPr/>
          </p:nvSpPr>
          <p:spPr>
            <a:xfrm>
              <a:off x="4636798" y="4680030"/>
              <a:ext cx="376008" cy="1415523"/>
            </a:xfrm>
            <a:custGeom>
              <a:avLst/>
              <a:gdLst>
                <a:gd name="connsiteX0" fmla="*/ 362723 w 376008"/>
                <a:gd name="connsiteY0" fmla="*/ 4826 h 1415523"/>
                <a:gd name="connsiteX1" fmla="*/ 361311 w 376008"/>
                <a:gd name="connsiteY1" fmla="*/ 10220 h 1415523"/>
                <a:gd name="connsiteX2" fmla="*/ 359384 w 376008"/>
                <a:gd name="connsiteY2" fmla="*/ 17798 h 1415523"/>
                <a:gd name="connsiteX3" fmla="*/ 0 w 376008"/>
                <a:gd name="connsiteY3" fmla="*/ 1412312 h 1415523"/>
                <a:gd name="connsiteX4" fmla="*/ 8477 w 376008"/>
                <a:gd name="connsiteY4" fmla="*/ 1406789 h 1415523"/>
                <a:gd name="connsiteX5" fmla="*/ 13284 w 376008"/>
                <a:gd name="connsiteY5" fmla="*/ 1415340 h 1415523"/>
                <a:gd name="connsiteX6" fmla="*/ 13230 w 376008"/>
                <a:gd name="connsiteY6" fmla="*/ 1415523 h 1415523"/>
                <a:gd name="connsiteX7" fmla="*/ 14514 w 376008"/>
                <a:gd name="connsiteY7" fmla="*/ 1410257 h 1415523"/>
                <a:gd name="connsiteX8" fmla="*/ 375953 w 376008"/>
                <a:gd name="connsiteY8" fmla="*/ 8165 h 1415523"/>
                <a:gd name="connsiteX9" fmla="*/ 375953 w 376008"/>
                <a:gd name="connsiteY9" fmla="*/ 8165 h 1415523"/>
                <a:gd name="connsiteX10" fmla="*/ 375953 w 376008"/>
                <a:gd name="connsiteY10" fmla="*/ 6624 h 1415523"/>
                <a:gd name="connsiteX11" fmla="*/ 375953 w 376008"/>
                <a:gd name="connsiteY11" fmla="*/ 6624 h 1415523"/>
                <a:gd name="connsiteX12" fmla="*/ 375953 w 376008"/>
                <a:gd name="connsiteY12" fmla="*/ 5468 h 1415523"/>
                <a:gd name="connsiteX13" fmla="*/ 375953 w 376008"/>
                <a:gd name="connsiteY13" fmla="*/ 4183 h 1415523"/>
                <a:gd name="connsiteX14" fmla="*/ 375953 w 376008"/>
                <a:gd name="connsiteY14" fmla="*/ 4183 h 1415523"/>
                <a:gd name="connsiteX15" fmla="*/ 375953 w 376008"/>
                <a:gd name="connsiteY15" fmla="*/ 3156 h 1415523"/>
                <a:gd name="connsiteX16" fmla="*/ 375183 w 376008"/>
                <a:gd name="connsiteY16" fmla="*/ 2257 h 1415523"/>
                <a:gd name="connsiteX17" fmla="*/ 375183 w 376008"/>
                <a:gd name="connsiteY17" fmla="*/ 2257 h 1415523"/>
                <a:gd name="connsiteX18" fmla="*/ 374412 w 376008"/>
                <a:gd name="connsiteY18" fmla="*/ 1486 h 1415523"/>
                <a:gd name="connsiteX19" fmla="*/ 372357 w 376008"/>
                <a:gd name="connsiteY19" fmla="*/ 587 h 1415523"/>
                <a:gd name="connsiteX20" fmla="*/ 362907 w 376008"/>
                <a:gd name="connsiteY20" fmla="*/ 4353 h 1415523"/>
                <a:gd name="connsiteX21" fmla="*/ 362723 w 376008"/>
                <a:gd name="connsiteY21" fmla="*/ 4826 h 14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6008" h="1415523">
                  <a:moveTo>
                    <a:pt x="362723" y="4826"/>
                  </a:moveTo>
                  <a:lnTo>
                    <a:pt x="361311" y="10220"/>
                  </a:lnTo>
                  <a:lnTo>
                    <a:pt x="359384" y="17798"/>
                  </a:lnTo>
                  <a:lnTo>
                    <a:pt x="0" y="1412312"/>
                  </a:lnTo>
                  <a:cubicBezTo>
                    <a:pt x="835" y="1408459"/>
                    <a:pt x="4616" y="1405996"/>
                    <a:pt x="8477" y="1406789"/>
                  </a:cubicBezTo>
                  <a:cubicBezTo>
                    <a:pt x="12166" y="1407823"/>
                    <a:pt x="14318" y="1411651"/>
                    <a:pt x="13284" y="1415340"/>
                  </a:cubicBezTo>
                  <a:cubicBezTo>
                    <a:pt x="13266" y="1415401"/>
                    <a:pt x="13248" y="1415462"/>
                    <a:pt x="13230" y="1415523"/>
                  </a:cubicBezTo>
                  <a:lnTo>
                    <a:pt x="14514" y="1410257"/>
                  </a:lnTo>
                  <a:lnTo>
                    <a:pt x="375953" y="8165"/>
                  </a:lnTo>
                  <a:lnTo>
                    <a:pt x="375953" y="8165"/>
                  </a:lnTo>
                  <a:cubicBezTo>
                    <a:pt x="376016" y="7653"/>
                    <a:pt x="376016" y="7136"/>
                    <a:pt x="375953" y="6624"/>
                  </a:cubicBezTo>
                  <a:lnTo>
                    <a:pt x="375953" y="6624"/>
                  </a:lnTo>
                  <a:cubicBezTo>
                    <a:pt x="376015" y="6241"/>
                    <a:pt x="376015" y="5851"/>
                    <a:pt x="375953" y="5468"/>
                  </a:cubicBezTo>
                  <a:cubicBezTo>
                    <a:pt x="376028" y="5043"/>
                    <a:pt x="376028" y="4608"/>
                    <a:pt x="375953" y="4183"/>
                  </a:cubicBezTo>
                  <a:lnTo>
                    <a:pt x="375953" y="4183"/>
                  </a:lnTo>
                  <a:cubicBezTo>
                    <a:pt x="375907" y="3842"/>
                    <a:pt x="375907" y="3497"/>
                    <a:pt x="375953" y="3156"/>
                  </a:cubicBezTo>
                  <a:lnTo>
                    <a:pt x="375183" y="2257"/>
                  </a:lnTo>
                  <a:lnTo>
                    <a:pt x="375183" y="2257"/>
                  </a:lnTo>
                  <a:lnTo>
                    <a:pt x="374412" y="1486"/>
                  </a:lnTo>
                  <a:cubicBezTo>
                    <a:pt x="373791" y="1058"/>
                    <a:pt x="373093" y="753"/>
                    <a:pt x="372357" y="587"/>
                  </a:cubicBezTo>
                  <a:cubicBezTo>
                    <a:pt x="368707" y="-982"/>
                    <a:pt x="364477" y="703"/>
                    <a:pt x="362907" y="4353"/>
                  </a:cubicBezTo>
                  <a:cubicBezTo>
                    <a:pt x="362841" y="4508"/>
                    <a:pt x="362779" y="4666"/>
                    <a:pt x="362723" y="4826"/>
                  </a:cubicBezTo>
                  <a:close/>
                </a:path>
              </a:pathLst>
            </a:custGeom>
            <a:solidFill>
              <a:srgbClr val="000000"/>
            </a:solidFill>
            <a:ln w="12844"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4D7881EC-8816-43F7-8EBA-833A80A93757}"/>
                </a:ext>
              </a:extLst>
            </p:cNvPr>
            <p:cNvSpPr/>
            <p:nvPr/>
          </p:nvSpPr>
          <p:spPr>
            <a:xfrm>
              <a:off x="2740463" y="4957541"/>
              <a:ext cx="100314" cy="49579"/>
            </a:xfrm>
            <a:custGeom>
              <a:avLst/>
              <a:gdLst>
                <a:gd name="connsiteX0" fmla="*/ 91837 w 100314"/>
                <a:gd name="connsiteY0" fmla="*/ 9377 h 49579"/>
                <a:gd name="connsiteX1" fmla="*/ 96589 w 100314"/>
                <a:gd name="connsiteY1" fmla="*/ 0 h 49579"/>
                <a:gd name="connsiteX2" fmla="*/ 82332 w 100314"/>
                <a:gd name="connsiteY2" fmla="*/ 5138 h 49579"/>
                <a:gd name="connsiteX3" fmla="*/ 3468 w 100314"/>
                <a:gd name="connsiteY3" fmla="*/ 33267 h 49579"/>
                <a:gd name="connsiteX4" fmla="*/ 899 w 100314"/>
                <a:gd name="connsiteY4" fmla="*/ 45212 h 49579"/>
                <a:gd name="connsiteX5" fmla="*/ 0 w 100314"/>
                <a:gd name="connsiteY5" fmla="*/ 49579 h 49579"/>
                <a:gd name="connsiteX6" fmla="*/ 100314 w 100314"/>
                <a:gd name="connsiteY6" fmla="*/ 13872 h 49579"/>
                <a:gd name="connsiteX7" fmla="*/ 92137 w 100314"/>
                <a:gd name="connsiteY7" fmla="*/ 10356 h 49579"/>
                <a:gd name="connsiteX8" fmla="*/ 91837 w 100314"/>
                <a:gd name="connsiteY8" fmla="*/ 9377 h 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314" h="49579">
                  <a:moveTo>
                    <a:pt x="91837" y="9377"/>
                  </a:moveTo>
                  <a:cubicBezTo>
                    <a:pt x="90840" y="5501"/>
                    <a:pt x="92874" y="1488"/>
                    <a:pt x="96589" y="0"/>
                  </a:cubicBezTo>
                  <a:lnTo>
                    <a:pt x="82332" y="5138"/>
                  </a:lnTo>
                  <a:lnTo>
                    <a:pt x="3468" y="33267"/>
                  </a:lnTo>
                  <a:lnTo>
                    <a:pt x="899" y="45212"/>
                  </a:lnTo>
                  <a:lnTo>
                    <a:pt x="0" y="49579"/>
                  </a:lnTo>
                  <a:lnTo>
                    <a:pt x="100314" y="13872"/>
                  </a:lnTo>
                  <a:cubicBezTo>
                    <a:pt x="97085" y="15159"/>
                    <a:pt x="93424" y="13584"/>
                    <a:pt x="92137" y="10356"/>
                  </a:cubicBezTo>
                  <a:cubicBezTo>
                    <a:pt x="92011" y="10038"/>
                    <a:pt x="91910" y="9710"/>
                    <a:pt x="91837" y="9377"/>
                  </a:cubicBezTo>
                  <a:close/>
                </a:path>
              </a:pathLst>
            </a:custGeom>
            <a:solidFill>
              <a:srgbClr val="000000"/>
            </a:solidFill>
            <a:ln w="12844"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B8071CEF-E1E1-49C6-992B-6B685F3DFB79}"/>
                </a:ext>
              </a:extLst>
            </p:cNvPr>
            <p:cNvSpPr/>
            <p:nvPr/>
          </p:nvSpPr>
          <p:spPr>
            <a:xfrm>
              <a:off x="2832047" y="4485819"/>
              <a:ext cx="1338427" cy="486042"/>
            </a:xfrm>
            <a:custGeom>
              <a:avLst/>
              <a:gdLst>
                <a:gd name="connsiteX0" fmla="*/ 252 w 1338427"/>
                <a:gd name="connsiteY0" fmla="*/ 481099 h 486042"/>
                <a:gd name="connsiteX1" fmla="*/ 7750 w 1338427"/>
                <a:gd name="connsiteY1" fmla="*/ 485895 h 486042"/>
                <a:gd name="connsiteX2" fmla="*/ 8729 w 1338427"/>
                <a:gd name="connsiteY2" fmla="*/ 485594 h 486042"/>
                <a:gd name="connsiteX3" fmla="*/ 1334392 w 1338427"/>
                <a:gd name="connsiteY3" fmla="*/ 13435 h 486042"/>
                <a:gd name="connsiteX4" fmla="*/ 1335291 w 1338427"/>
                <a:gd name="connsiteY4" fmla="*/ 13435 h 486042"/>
                <a:gd name="connsiteX5" fmla="*/ 1336575 w 1338427"/>
                <a:gd name="connsiteY5" fmla="*/ 12664 h 486042"/>
                <a:gd name="connsiteX6" fmla="*/ 1337731 w 1338427"/>
                <a:gd name="connsiteY6" fmla="*/ 11252 h 486042"/>
                <a:gd name="connsiteX7" fmla="*/ 1338373 w 1338427"/>
                <a:gd name="connsiteY7" fmla="*/ 10352 h 486042"/>
                <a:gd name="connsiteX8" fmla="*/ 1338373 w 1338427"/>
                <a:gd name="connsiteY8" fmla="*/ 8940 h 486042"/>
                <a:gd name="connsiteX9" fmla="*/ 1338373 w 1338427"/>
                <a:gd name="connsiteY9" fmla="*/ 7655 h 486042"/>
                <a:gd name="connsiteX10" fmla="*/ 1338373 w 1338427"/>
                <a:gd name="connsiteY10" fmla="*/ 6884 h 486042"/>
                <a:gd name="connsiteX11" fmla="*/ 1338373 w 1338427"/>
                <a:gd name="connsiteY11" fmla="*/ 4829 h 486042"/>
                <a:gd name="connsiteX12" fmla="*/ 1338373 w 1338427"/>
                <a:gd name="connsiteY12" fmla="*/ 4829 h 486042"/>
                <a:gd name="connsiteX13" fmla="*/ 1338373 w 1338427"/>
                <a:gd name="connsiteY13" fmla="*/ 3930 h 486042"/>
                <a:gd name="connsiteX14" fmla="*/ 1337603 w 1338427"/>
                <a:gd name="connsiteY14" fmla="*/ 2517 h 486042"/>
                <a:gd name="connsiteX15" fmla="*/ 1336318 w 1338427"/>
                <a:gd name="connsiteY15" fmla="*/ 1233 h 486042"/>
                <a:gd name="connsiteX16" fmla="*/ 1335548 w 1338427"/>
                <a:gd name="connsiteY16" fmla="*/ 591 h 486042"/>
                <a:gd name="connsiteX17" fmla="*/ 1335548 w 1338427"/>
                <a:gd name="connsiteY17" fmla="*/ 591 h 486042"/>
                <a:gd name="connsiteX18" fmla="*/ 1330282 w 1338427"/>
                <a:gd name="connsiteY18" fmla="*/ 591 h 486042"/>
                <a:gd name="connsiteX19" fmla="*/ 1315382 w 1338427"/>
                <a:gd name="connsiteY19" fmla="*/ 5985 h 486042"/>
                <a:gd name="connsiteX20" fmla="*/ 8087 w 1338427"/>
                <a:gd name="connsiteY20" fmla="*/ 470695 h 486042"/>
                <a:gd name="connsiteX21" fmla="*/ 5005 w 1338427"/>
                <a:gd name="connsiteY21" fmla="*/ 471722 h 486042"/>
                <a:gd name="connsiteX22" fmla="*/ 252 w 1338427"/>
                <a:gd name="connsiteY22" fmla="*/ 481099 h 48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8427" h="486042">
                  <a:moveTo>
                    <a:pt x="252" y="481099"/>
                  </a:moveTo>
                  <a:cubicBezTo>
                    <a:pt x="998" y="484494"/>
                    <a:pt x="4355" y="486641"/>
                    <a:pt x="7750" y="485895"/>
                  </a:cubicBezTo>
                  <a:cubicBezTo>
                    <a:pt x="8084" y="485822"/>
                    <a:pt x="8412" y="485721"/>
                    <a:pt x="8729" y="485594"/>
                  </a:cubicBezTo>
                  <a:lnTo>
                    <a:pt x="1334392" y="13435"/>
                  </a:lnTo>
                  <a:lnTo>
                    <a:pt x="1335291" y="13435"/>
                  </a:lnTo>
                  <a:lnTo>
                    <a:pt x="1336575" y="12664"/>
                  </a:lnTo>
                  <a:cubicBezTo>
                    <a:pt x="1337028" y="12254"/>
                    <a:pt x="1337418" y="11777"/>
                    <a:pt x="1337731" y="11252"/>
                  </a:cubicBezTo>
                  <a:cubicBezTo>
                    <a:pt x="1338014" y="11008"/>
                    <a:pt x="1338235" y="10700"/>
                    <a:pt x="1338373" y="10352"/>
                  </a:cubicBezTo>
                  <a:cubicBezTo>
                    <a:pt x="1338446" y="9884"/>
                    <a:pt x="1338446" y="9408"/>
                    <a:pt x="1338373" y="8940"/>
                  </a:cubicBezTo>
                  <a:cubicBezTo>
                    <a:pt x="1338430" y="8514"/>
                    <a:pt x="1338430" y="8082"/>
                    <a:pt x="1338373" y="7655"/>
                  </a:cubicBezTo>
                  <a:lnTo>
                    <a:pt x="1338373" y="6884"/>
                  </a:lnTo>
                  <a:cubicBezTo>
                    <a:pt x="1338441" y="6201"/>
                    <a:pt x="1338441" y="5512"/>
                    <a:pt x="1338373" y="4829"/>
                  </a:cubicBezTo>
                  <a:lnTo>
                    <a:pt x="1338373" y="4829"/>
                  </a:lnTo>
                  <a:lnTo>
                    <a:pt x="1338373" y="3930"/>
                  </a:lnTo>
                  <a:cubicBezTo>
                    <a:pt x="1338194" y="3420"/>
                    <a:pt x="1337934" y="2943"/>
                    <a:pt x="1337603" y="2517"/>
                  </a:cubicBezTo>
                  <a:cubicBezTo>
                    <a:pt x="1337276" y="1999"/>
                    <a:pt x="1336837" y="1560"/>
                    <a:pt x="1336318" y="1233"/>
                  </a:cubicBezTo>
                  <a:cubicBezTo>
                    <a:pt x="1336318" y="1233"/>
                    <a:pt x="1336318" y="1233"/>
                    <a:pt x="1335548" y="591"/>
                  </a:cubicBezTo>
                  <a:lnTo>
                    <a:pt x="1335548" y="591"/>
                  </a:lnTo>
                  <a:cubicBezTo>
                    <a:pt x="1333881" y="-197"/>
                    <a:pt x="1331949" y="-197"/>
                    <a:pt x="1330282" y="591"/>
                  </a:cubicBezTo>
                  <a:lnTo>
                    <a:pt x="1315382" y="5985"/>
                  </a:lnTo>
                  <a:lnTo>
                    <a:pt x="8087" y="470695"/>
                  </a:lnTo>
                  <a:lnTo>
                    <a:pt x="5005" y="471722"/>
                  </a:lnTo>
                  <a:cubicBezTo>
                    <a:pt x="1290" y="473210"/>
                    <a:pt x="-745" y="477223"/>
                    <a:pt x="252" y="481099"/>
                  </a:cubicBezTo>
                  <a:close/>
                </a:path>
              </a:pathLst>
            </a:custGeom>
            <a:solidFill>
              <a:srgbClr val="000000"/>
            </a:solidFill>
            <a:ln w="12844"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D1713D44-1A0C-43C6-A9A3-084FBA9BFD96}"/>
                </a:ext>
              </a:extLst>
            </p:cNvPr>
            <p:cNvSpPr/>
            <p:nvPr/>
          </p:nvSpPr>
          <p:spPr>
            <a:xfrm>
              <a:off x="253160" y="6500921"/>
              <a:ext cx="364008" cy="152463"/>
            </a:xfrm>
            <a:custGeom>
              <a:avLst/>
              <a:gdLst>
                <a:gd name="connsiteX0" fmla="*/ 10532 w 364008"/>
                <a:gd name="connsiteY0" fmla="*/ 134352 h 152463"/>
                <a:gd name="connsiteX1" fmla="*/ 0 w 364008"/>
                <a:gd name="connsiteY1" fmla="*/ 138334 h 152463"/>
                <a:gd name="connsiteX2" fmla="*/ 8193 w 364008"/>
                <a:gd name="connsiteY2" fmla="*/ 141813 h 152463"/>
                <a:gd name="connsiteX3" fmla="*/ 8477 w 364008"/>
                <a:gd name="connsiteY3" fmla="*/ 142702 h 152463"/>
                <a:gd name="connsiteX4" fmla="*/ 3725 w 364008"/>
                <a:gd name="connsiteY4" fmla="*/ 152463 h 152463"/>
                <a:gd name="connsiteX5" fmla="*/ 361311 w 364008"/>
                <a:gd name="connsiteY5" fmla="*/ 16312 h 152463"/>
                <a:gd name="connsiteX6" fmla="*/ 363237 w 364008"/>
                <a:gd name="connsiteY6" fmla="*/ 4496 h 152463"/>
                <a:gd name="connsiteX7" fmla="*/ 364008 w 364008"/>
                <a:gd name="connsiteY7" fmla="*/ 0 h 15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08" h="152463">
                  <a:moveTo>
                    <a:pt x="10532" y="134352"/>
                  </a:moveTo>
                  <a:lnTo>
                    <a:pt x="0" y="138334"/>
                  </a:lnTo>
                  <a:cubicBezTo>
                    <a:pt x="3223" y="137032"/>
                    <a:pt x="6891" y="138590"/>
                    <a:pt x="8193" y="141813"/>
                  </a:cubicBezTo>
                  <a:cubicBezTo>
                    <a:pt x="8310" y="142101"/>
                    <a:pt x="8405" y="142398"/>
                    <a:pt x="8477" y="142702"/>
                  </a:cubicBezTo>
                  <a:cubicBezTo>
                    <a:pt x="9700" y="146698"/>
                    <a:pt x="7625" y="150961"/>
                    <a:pt x="3725" y="152463"/>
                  </a:cubicBezTo>
                  <a:lnTo>
                    <a:pt x="361311" y="16312"/>
                  </a:lnTo>
                  <a:lnTo>
                    <a:pt x="363237" y="4496"/>
                  </a:lnTo>
                  <a:lnTo>
                    <a:pt x="364008" y="0"/>
                  </a:lnTo>
                  <a:close/>
                </a:path>
              </a:pathLst>
            </a:custGeom>
            <a:solidFill>
              <a:srgbClr val="000000"/>
            </a:solidFill>
            <a:ln w="12844"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EF57928E-4550-450D-A125-65FFFCA5CF3C}"/>
                </a:ext>
              </a:extLst>
            </p:cNvPr>
            <p:cNvSpPr/>
            <p:nvPr/>
          </p:nvSpPr>
          <p:spPr>
            <a:xfrm>
              <a:off x="187851" y="6639181"/>
              <a:ext cx="73922" cy="37267"/>
            </a:xfrm>
            <a:custGeom>
              <a:avLst/>
              <a:gdLst>
                <a:gd name="connsiteX0" fmla="*/ 188 w 73922"/>
                <a:gd name="connsiteY0" fmla="*/ 32441 h 37267"/>
                <a:gd name="connsiteX1" fmla="*/ 7777 w 73922"/>
                <a:gd name="connsiteY1" fmla="*/ 37093 h 37267"/>
                <a:gd name="connsiteX2" fmla="*/ 8666 w 73922"/>
                <a:gd name="connsiteY2" fmla="*/ 36808 h 37267"/>
                <a:gd name="connsiteX3" fmla="*/ 12776 w 73922"/>
                <a:gd name="connsiteY3" fmla="*/ 35268 h 37267"/>
                <a:gd name="connsiteX4" fmla="*/ 20868 w 73922"/>
                <a:gd name="connsiteY4" fmla="*/ 32185 h 37267"/>
                <a:gd name="connsiteX5" fmla="*/ 69034 w 73922"/>
                <a:gd name="connsiteY5" fmla="*/ 14203 h 37267"/>
                <a:gd name="connsiteX6" fmla="*/ 73658 w 73922"/>
                <a:gd name="connsiteY6" fmla="*/ 4826 h 37267"/>
                <a:gd name="connsiteX7" fmla="*/ 66069 w 73922"/>
                <a:gd name="connsiteY7" fmla="*/ 175 h 37267"/>
                <a:gd name="connsiteX8" fmla="*/ 65181 w 73922"/>
                <a:gd name="connsiteY8" fmla="*/ 460 h 37267"/>
                <a:gd name="connsiteX9" fmla="*/ 61070 w 73922"/>
                <a:gd name="connsiteY9" fmla="*/ 2000 h 37267"/>
                <a:gd name="connsiteX10" fmla="*/ 4812 w 73922"/>
                <a:gd name="connsiteY10" fmla="*/ 23065 h 37267"/>
                <a:gd name="connsiteX11" fmla="*/ 4170 w 73922"/>
                <a:gd name="connsiteY11" fmla="*/ 23065 h 37267"/>
                <a:gd name="connsiteX12" fmla="*/ 4170 w 73922"/>
                <a:gd name="connsiteY12" fmla="*/ 23065 h 37267"/>
                <a:gd name="connsiteX13" fmla="*/ 2757 w 73922"/>
                <a:gd name="connsiteY13" fmla="*/ 23964 h 37267"/>
                <a:gd name="connsiteX14" fmla="*/ 2115 w 73922"/>
                <a:gd name="connsiteY14" fmla="*/ 24735 h 37267"/>
                <a:gd name="connsiteX15" fmla="*/ 2115 w 73922"/>
                <a:gd name="connsiteY15" fmla="*/ 24735 h 37267"/>
                <a:gd name="connsiteX16" fmla="*/ 1344 w 73922"/>
                <a:gd name="connsiteY16" fmla="*/ 25763 h 37267"/>
                <a:gd name="connsiteX17" fmla="*/ 1344 w 73922"/>
                <a:gd name="connsiteY17" fmla="*/ 26790 h 37267"/>
                <a:gd name="connsiteX18" fmla="*/ 188 w 73922"/>
                <a:gd name="connsiteY18" fmla="*/ 32441 h 3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922" h="37267">
                  <a:moveTo>
                    <a:pt x="188" y="32441"/>
                  </a:moveTo>
                  <a:cubicBezTo>
                    <a:pt x="999" y="35821"/>
                    <a:pt x="4397" y="37904"/>
                    <a:pt x="7777" y="37093"/>
                  </a:cubicBezTo>
                  <a:cubicBezTo>
                    <a:pt x="8080" y="37020"/>
                    <a:pt x="8377" y="36925"/>
                    <a:pt x="8666" y="36808"/>
                  </a:cubicBezTo>
                  <a:lnTo>
                    <a:pt x="12776" y="35268"/>
                  </a:lnTo>
                  <a:lnTo>
                    <a:pt x="20868" y="32185"/>
                  </a:lnTo>
                  <a:lnTo>
                    <a:pt x="69034" y="14203"/>
                  </a:lnTo>
                  <a:cubicBezTo>
                    <a:pt x="72698" y="12668"/>
                    <a:pt x="74671" y="8668"/>
                    <a:pt x="73658" y="4826"/>
                  </a:cubicBezTo>
                  <a:cubicBezTo>
                    <a:pt x="72847" y="1447"/>
                    <a:pt x="69449" y="-636"/>
                    <a:pt x="66069" y="175"/>
                  </a:cubicBezTo>
                  <a:cubicBezTo>
                    <a:pt x="65766" y="248"/>
                    <a:pt x="65469" y="343"/>
                    <a:pt x="65181" y="460"/>
                  </a:cubicBezTo>
                  <a:lnTo>
                    <a:pt x="61070" y="2000"/>
                  </a:lnTo>
                  <a:lnTo>
                    <a:pt x="4812" y="23065"/>
                  </a:lnTo>
                  <a:lnTo>
                    <a:pt x="4170" y="23065"/>
                  </a:lnTo>
                  <a:lnTo>
                    <a:pt x="4170" y="23065"/>
                  </a:lnTo>
                  <a:cubicBezTo>
                    <a:pt x="3654" y="23288"/>
                    <a:pt x="3177" y="23591"/>
                    <a:pt x="2757" y="23964"/>
                  </a:cubicBezTo>
                  <a:lnTo>
                    <a:pt x="2115" y="24735"/>
                  </a:lnTo>
                  <a:lnTo>
                    <a:pt x="2115" y="24735"/>
                  </a:lnTo>
                  <a:lnTo>
                    <a:pt x="1344" y="25763"/>
                  </a:lnTo>
                  <a:lnTo>
                    <a:pt x="1344" y="26790"/>
                  </a:lnTo>
                  <a:cubicBezTo>
                    <a:pt x="140" y="28410"/>
                    <a:pt x="-283" y="30479"/>
                    <a:pt x="188" y="32441"/>
                  </a:cubicBezTo>
                  <a:close/>
                </a:path>
              </a:pathLst>
            </a:custGeom>
            <a:solidFill>
              <a:srgbClr val="000000"/>
            </a:solidFill>
            <a:ln w="12844"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E3DA5EA9-B9BC-4C41-9397-1A159AE5F153}"/>
                </a:ext>
              </a:extLst>
            </p:cNvPr>
            <p:cNvSpPr/>
            <p:nvPr/>
          </p:nvSpPr>
          <p:spPr>
            <a:xfrm>
              <a:off x="2290012" y="3635342"/>
              <a:ext cx="94662" cy="423863"/>
            </a:xfrm>
            <a:custGeom>
              <a:avLst/>
              <a:gdLst>
                <a:gd name="connsiteX0" fmla="*/ 4239 w 94662"/>
                <a:gd name="connsiteY0" fmla="*/ 421809 h 423863"/>
                <a:gd name="connsiteX1" fmla="*/ 14643 w 94662"/>
                <a:gd name="connsiteY1" fmla="*/ 418469 h 423863"/>
                <a:gd name="connsiteX2" fmla="*/ 93764 w 94662"/>
                <a:gd name="connsiteY2" fmla="*/ 6807 h 423863"/>
                <a:gd name="connsiteX3" fmla="*/ 94663 w 94662"/>
                <a:gd name="connsiteY3" fmla="*/ 2183 h 423863"/>
                <a:gd name="connsiteX4" fmla="*/ 86571 w 94662"/>
                <a:gd name="connsiteY4" fmla="*/ 8349 h 423863"/>
                <a:gd name="connsiteX5" fmla="*/ 81169 w 94662"/>
                <a:gd name="connsiteY5" fmla="*/ 601 h 423863"/>
                <a:gd name="connsiteX6" fmla="*/ 81305 w 94662"/>
                <a:gd name="connsiteY6" fmla="*/ 0 h 423863"/>
                <a:gd name="connsiteX7" fmla="*/ 0 w 94662"/>
                <a:gd name="connsiteY7" fmla="*/ 423864 h 4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62" h="423863">
                  <a:moveTo>
                    <a:pt x="4239" y="421809"/>
                  </a:moveTo>
                  <a:lnTo>
                    <a:pt x="14643" y="418469"/>
                  </a:lnTo>
                  <a:lnTo>
                    <a:pt x="93764" y="6807"/>
                  </a:lnTo>
                  <a:lnTo>
                    <a:pt x="94663" y="2183"/>
                  </a:lnTo>
                  <a:cubicBezTo>
                    <a:pt x="94067" y="6083"/>
                    <a:pt x="90489" y="8809"/>
                    <a:pt x="86571" y="8349"/>
                  </a:cubicBezTo>
                  <a:cubicBezTo>
                    <a:pt x="82939" y="7701"/>
                    <a:pt x="80521" y="4232"/>
                    <a:pt x="81169" y="601"/>
                  </a:cubicBezTo>
                  <a:cubicBezTo>
                    <a:pt x="81205" y="398"/>
                    <a:pt x="81250" y="198"/>
                    <a:pt x="81305" y="0"/>
                  </a:cubicBezTo>
                  <a:lnTo>
                    <a:pt x="0" y="423864"/>
                  </a:lnTo>
                  <a:close/>
                </a:path>
              </a:pathLst>
            </a:custGeom>
            <a:solidFill>
              <a:srgbClr val="000000"/>
            </a:solidFill>
            <a:ln w="12844"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56396C7D-5CAC-4E4F-88B5-B4CC1E1528C1}"/>
                </a:ext>
              </a:extLst>
            </p:cNvPr>
            <p:cNvSpPr/>
            <p:nvPr/>
          </p:nvSpPr>
          <p:spPr>
            <a:xfrm>
              <a:off x="2370562" y="3361018"/>
              <a:ext cx="65195" cy="282594"/>
            </a:xfrm>
            <a:custGeom>
              <a:avLst/>
              <a:gdLst>
                <a:gd name="connsiteX0" fmla="*/ 60353 w 65195"/>
                <a:gd name="connsiteY0" fmla="*/ 96 h 282594"/>
                <a:gd name="connsiteX1" fmla="*/ 60353 w 65195"/>
                <a:gd name="connsiteY1" fmla="*/ 96 h 282594"/>
                <a:gd name="connsiteX2" fmla="*/ 58426 w 65195"/>
                <a:gd name="connsiteY2" fmla="*/ 96 h 282594"/>
                <a:gd name="connsiteX3" fmla="*/ 57013 w 65195"/>
                <a:gd name="connsiteY3" fmla="*/ 96 h 282594"/>
                <a:gd name="connsiteX4" fmla="*/ 51747 w 65195"/>
                <a:gd name="connsiteY4" fmla="*/ 6133 h 282594"/>
                <a:gd name="connsiteX5" fmla="*/ 49564 w 65195"/>
                <a:gd name="connsiteY5" fmla="*/ 17308 h 282594"/>
                <a:gd name="connsiteX6" fmla="*/ 241 w 65195"/>
                <a:gd name="connsiteY6" fmla="*/ 274195 h 282594"/>
                <a:gd name="connsiteX7" fmla="*/ 4907 w 65195"/>
                <a:gd name="connsiteY7" fmla="*/ 282408 h 282594"/>
                <a:gd name="connsiteX8" fmla="*/ 5508 w 65195"/>
                <a:gd name="connsiteY8" fmla="*/ 282544 h 282594"/>
                <a:gd name="connsiteX9" fmla="*/ 13600 w 65195"/>
                <a:gd name="connsiteY9" fmla="*/ 276378 h 282594"/>
                <a:gd name="connsiteX10" fmla="*/ 15783 w 65195"/>
                <a:gd name="connsiteY10" fmla="*/ 265076 h 282594"/>
                <a:gd name="connsiteX11" fmla="*/ 65105 w 65195"/>
                <a:gd name="connsiteY11" fmla="*/ 8188 h 282594"/>
                <a:gd name="connsiteX12" fmla="*/ 65105 w 65195"/>
                <a:gd name="connsiteY12" fmla="*/ 8188 h 282594"/>
                <a:gd name="connsiteX13" fmla="*/ 65105 w 65195"/>
                <a:gd name="connsiteY13" fmla="*/ 6904 h 282594"/>
                <a:gd name="connsiteX14" fmla="*/ 65105 w 65195"/>
                <a:gd name="connsiteY14" fmla="*/ 5234 h 282594"/>
                <a:gd name="connsiteX15" fmla="*/ 65105 w 65195"/>
                <a:gd name="connsiteY15" fmla="*/ 4335 h 282594"/>
                <a:gd name="connsiteX16" fmla="*/ 65105 w 65195"/>
                <a:gd name="connsiteY16" fmla="*/ 2793 h 282594"/>
                <a:gd name="connsiteX17" fmla="*/ 64078 w 65195"/>
                <a:gd name="connsiteY17" fmla="*/ 1637 h 282594"/>
                <a:gd name="connsiteX18" fmla="*/ 63307 w 65195"/>
                <a:gd name="connsiteY18" fmla="*/ 867 h 282594"/>
                <a:gd name="connsiteX19" fmla="*/ 61380 w 65195"/>
                <a:gd name="connsiteY19" fmla="*/ 96 h 28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195" h="282594">
                  <a:moveTo>
                    <a:pt x="60353" y="96"/>
                  </a:moveTo>
                  <a:lnTo>
                    <a:pt x="60353" y="96"/>
                  </a:lnTo>
                  <a:cubicBezTo>
                    <a:pt x="59717" y="-32"/>
                    <a:pt x="59062" y="-32"/>
                    <a:pt x="58426" y="96"/>
                  </a:cubicBezTo>
                  <a:lnTo>
                    <a:pt x="57013" y="96"/>
                  </a:lnTo>
                  <a:cubicBezTo>
                    <a:pt x="54268" y="966"/>
                    <a:pt x="52237" y="3295"/>
                    <a:pt x="51747" y="6133"/>
                  </a:cubicBezTo>
                  <a:lnTo>
                    <a:pt x="49564" y="17308"/>
                  </a:lnTo>
                  <a:lnTo>
                    <a:pt x="241" y="274195"/>
                  </a:lnTo>
                  <a:cubicBezTo>
                    <a:pt x="-738" y="277751"/>
                    <a:pt x="1351" y="281428"/>
                    <a:pt x="4907" y="282408"/>
                  </a:cubicBezTo>
                  <a:cubicBezTo>
                    <a:pt x="5105" y="282462"/>
                    <a:pt x="5306" y="282508"/>
                    <a:pt x="5508" y="282544"/>
                  </a:cubicBezTo>
                  <a:cubicBezTo>
                    <a:pt x="9426" y="283004"/>
                    <a:pt x="13004" y="280278"/>
                    <a:pt x="13600" y="276378"/>
                  </a:cubicBezTo>
                  <a:lnTo>
                    <a:pt x="15783" y="265076"/>
                  </a:lnTo>
                  <a:lnTo>
                    <a:pt x="65105" y="8188"/>
                  </a:lnTo>
                  <a:lnTo>
                    <a:pt x="65105" y="8188"/>
                  </a:lnTo>
                  <a:cubicBezTo>
                    <a:pt x="65105" y="8188"/>
                    <a:pt x="65105" y="7289"/>
                    <a:pt x="65105" y="6904"/>
                  </a:cubicBezTo>
                  <a:cubicBezTo>
                    <a:pt x="65169" y="6349"/>
                    <a:pt x="65169" y="5788"/>
                    <a:pt x="65105" y="5234"/>
                  </a:cubicBezTo>
                  <a:cubicBezTo>
                    <a:pt x="65156" y="4936"/>
                    <a:pt x="65156" y="4632"/>
                    <a:pt x="65105" y="4335"/>
                  </a:cubicBezTo>
                  <a:cubicBezTo>
                    <a:pt x="65225" y="3828"/>
                    <a:pt x="65225" y="3300"/>
                    <a:pt x="65105" y="2793"/>
                  </a:cubicBezTo>
                  <a:cubicBezTo>
                    <a:pt x="64834" y="2350"/>
                    <a:pt x="64486" y="1958"/>
                    <a:pt x="64078" y="1637"/>
                  </a:cubicBezTo>
                  <a:lnTo>
                    <a:pt x="63307" y="867"/>
                  </a:lnTo>
                  <a:lnTo>
                    <a:pt x="61380" y="96"/>
                  </a:lnTo>
                  <a:close/>
                </a:path>
              </a:pathLst>
            </a:custGeom>
            <a:solidFill>
              <a:srgbClr val="000000"/>
            </a:solidFill>
            <a:ln w="12844"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DE938859-D321-4296-A448-7C1BF4BADFC2}"/>
                </a:ext>
              </a:extLst>
            </p:cNvPr>
            <p:cNvSpPr/>
            <p:nvPr/>
          </p:nvSpPr>
          <p:spPr>
            <a:xfrm>
              <a:off x="974112" y="1793403"/>
              <a:ext cx="137376" cy="43341"/>
            </a:xfrm>
            <a:custGeom>
              <a:avLst/>
              <a:gdLst>
                <a:gd name="connsiteX0" fmla="*/ 8092 w 137376"/>
                <a:gd name="connsiteY0" fmla="*/ 34222 h 43341"/>
                <a:gd name="connsiteX1" fmla="*/ 2055 w 137376"/>
                <a:gd name="connsiteY1" fmla="*/ 43341 h 43341"/>
                <a:gd name="connsiteX2" fmla="*/ 129085 w 137376"/>
                <a:gd name="connsiteY2" fmla="*/ 14056 h 43341"/>
                <a:gd name="connsiteX3" fmla="*/ 131526 w 137376"/>
                <a:gd name="connsiteY3" fmla="*/ 14056 h 43341"/>
                <a:gd name="connsiteX4" fmla="*/ 137306 w 137376"/>
                <a:gd name="connsiteY4" fmla="*/ 5322 h 43341"/>
                <a:gd name="connsiteX5" fmla="*/ 133067 w 137376"/>
                <a:gd name="connsiteY5" fmla="*/ 56 h 43341"/>
                <a:gd name="connsiteX6" fmla="*/ 131783 w 137376"/>
                <a:gd name="connsiteY6" fmla="*/ 56 h 43341"/>
                <a:gd name="connsiteX7" fmla="*/ 129471 w 137376"/>
                <a:gd name="connsiteY7" fmla="*/ 56 h 43341"/>
                <a:gd name="connsiteX8" fmla="*/ 9376 w 137376"/>
                <a:gd name="connsiteY8" fmla="*/ 27799 h 43341"/>
                <a:gd name="connsiteX9" fmla="*/ 0 w 137376"/>
                <a:gd name="connsiteY9" fmla="*/ 29855 h 43341"/>
                <a:gd name="connsiteX10" fmla="*/ 8092 w 137376"/>
                <a:gd name="connsiteY10" fmla="*/ 34222 h 4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76" h="43341">
                  <a:moveTo>
                    <a:pt x="8092" y="34222"/>
                  </a:moveTo>
                  <a:cubicBezTo>
                    <a:pt x="8815" y="38381"/>
                    <a:pt x="6167" y="42382"/>
                    <a:pt x="2055" y="43341"/>
                  </a:cubicBezTo>
                  <a:lnTo>
                    <a:pt x="129085" y="14056"/>
                  </a:lnTo>
                  <a:lnTo>
                    <a:pt x="131526" y="14056"/>
                  </a:lnTo>
                  <a:cubicBezTo>
                    <a:pt x="135365" y="12999"/>
                    <a:pt x="137834" y="9269"/>
                    <a:pt x="137306" y="5322"/>
                  </a:cubicBezTo>
                  <a:cubicBezTo>
                    <a:pt x="136978" y="2917"/>
                    <a:pt x="135347" y="890"/>
                    <a:pt x="133067" y="56"/>
                  </a:cubicBezTo>
                  <a:cubicBezTo>
                    <a:pt x="132642" y="-19"/>
                    <a:pt x="132208" y="-19"/>
                    <a:pt x="131783" y="56"/>
                  </a:cubicBezTo>
                  <a:lnTo>
                    <a:pt x="129471" y="56"/>
                  </a:lnTo>
                  <a:lnTo>
                    <a:pt x="9376" y="27799"/>
                  </a:lnTo>
                  <a:lnTo>
                    <a:pt x="0" y="29855"/>
                  </a:lnTo>
                  <a:cubicBezTo>
                    <a:pt x="3437" y="28854"/>
                    <a:pt x="7041" y="30799"/>
                    <a:pt x="8092" y="34222"/>
                  </a:cubicBezTo>
                  <a:close/>
                </a:path>
              </a:pathLst>
            </a:custGeom>
            <a:solidFill>
              <a:srgbClr val="000000"/>
            </a:solidFill>
            <a:ln w="12844"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5263AB2E-F564-4A21-8154-21DD96393A88}"/>
                </a:ext>
              </a:extLst>
            </p:cNvPr>
            <p:cNvSpPr/>
            <p:nvPr/>
          </p:nvSpPr>
          <p:spPr>
            <a:xfrm>
              <a:off x="619865" y="1822222"/>
              <a:ext cx="362152" cy="91588"/>
            </a:xfrm>
            <a:custGeom>
              <a:avLst/>
              <a:gdLst>
                <a:gd name="connsiteX0" fmla="*/ 18367 w 362152"/>
                <a:gd name="connsiteY0" fmla="*/ 91589 h 91588"/>
                <a:gd name="connsiteX1" fmla="*/ 356301 w 362152"/>
                <a:gd name="connsiteY1" fmla="*/ 14523 h 91588"/>
                <a:gd name="connsiteX2" fmla="*/ 362081 w 362152"/>
                <a:gd name="connsiteY2" fmla="*/ 5788 h 91588"/>
                <a:gd name="connsiteX3" fmla="*/ 354812 w 362152"/>
                <a:gd name="connsiteY3" fmla="*/ 45 h 91588"/>
                <a:gd name="connsiteX4" fmla="*/ 354246 w 362152"/>
                <a:gd name="connsiteY4" fmla="*/ 137 h 91588"/>
                <a:gd name="connsiteX5" fmla="*/ 349237 w 362152"/>
                <a:gd name="connsiteY5" fmla="*/ 1293 h 91588"/>
                <a:gd name="connsiteX6" fmla="*/ 0 w 362152"/>
                <a:gd name="connsiteY6" fmla="*/ 81827 h 91588"/>
                <a:gd name="connsiteX7" fmla="*/ 2184 w 362152"/>
                <a:gd name="connsiteY7" fmla="*/ 83111 h 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152" h="91588">
                  <a:moveTo>
                    <a:pt x="18367" y="91589"/>
                  </a:moveTo>
                  <a:lnTo>
                    <a:pt x="356301" y="14523"/>
                  </a:lnTo>
                  <a:cubicBezTo>
                    <a:pt x="360141" y="13466"/>
                    <a:pt x="362610" y="9735"/>
                    <a:pt x="362081" y="5788"/>
                  </a:cubicBezTo>
                  <a:cubicBezTo>
                    <a:pt x="361660" y="2195"/>
                    <a:pt x="358406" y="-376"/>
                    <a:pt x="354812" y="45"/>
                  </a:cubicBezTo>
                  <a:cubicBezTo>
                    <a:pt x="354623" y="68"/>
                    <a:pt x="354434" y="98"/>
                    <a:pt x="354246" y="137"/>
                  </a:cubicBezTo>
                  <a:lnTo>
                    <a:pt x="349237" y="1293"/>
                  </a:lnTo>
                  <a:lnTo>
                    <a:pt x="0" y="81827"/>
                  </a:lnTo>
                  <a:lnTo>
                    <a:pt x="2184" y="83111"/>
                  </a:lnTo>
                  <a:close/>
                </a:path>
              </a:pathLst>
            </a:custGeom>
            <a:solidFill>
              <a:srgbClr val="000000"/>
            </a:solidFill>
            <a:ln w="12844"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72F7F41B-48A0-4047-A571-03961A583AE1}"/>
                </a:ext>
              </a:extLst>
            </p:cNvPr>
            <p:cNvSpPr/>
            <p:nvPr/>
          </p:nvSpPr>
          <p:spPr>
            <a:xfrm>
              <a:off x="1877453" y="2928417"/>
              <a:ext cx="24452" cy="69715"/>
            </a:xfrm>
            <a:custGeom>
              <a:avLst/>
              <a:gdLst>
                <a:gd name="connsiteX0" fmla="*/ 18881 w 24452"/>
                <a:gd name="connsiteY0" fmla="*/ 99 h 69715"/>
                <a:gd name="connsiteX1" fmla="*/ 17468 w 24452"/>
                <a:gd name="connsiteY1" fmla="*/ 99 h 69715"/>
                <a:gd name="connsiteX2" fmla="*/ 16184 w 24452"/>
                <a:gd name="connsiteY2" fmla="*/ 99 h 69715"/>
                <a:gd name="connsiteX3" fmla="*/ 16184 w 24452"/>
                <a:gd name="connsiteY3" fmla="*/ 99 h 69715"/>
                <a:gd name="connsiteX4" fmla="*/ 10918 w 24452"/>
                <a:gd name="connsiteY4" fmla="*/ 6264 h 69715"/>
                <a:gd name="connsiteX5" fmla="*/ 8991 w 24452"/>
                <a:gd name="connsiteY5" fmla="*/ 17054 h 69715"/>
                <a:gd name="connsiteX6" fmla="*/ 0 w 24452"/>
                <a:gd name="connsiteY6" fmla="*/ 67789 h 69715"/>
                <a:gd name="connsiteX7" fmla="*/ 7963 w 24452"/>
                <a:gd name="connsiteY7" fmla="*/ 61495 h 69715"/>
                <a:gd name="connsiteX8" fmla="*/ 13418 w 24452"/>
                <a:gd name="connsiteY8" fmla="*/ 69428 h 69715"/>
                <a:gd name="connsiteX9" fmla="*/ 13358 w 24452"/>
                <a:gd name="connsiteY9" fmla="*/ 69716 h 69715"/>
                <a:gd name="connsiteX10" fmla="*/ 15285 w 24452"/>
                <a:gd name="connsiteY10" fmla="*/ 58926 h 69715"/>
                <a:gd name="connsiteX11" fmla="*/ 24404 w 24452"/>
                <a:gd name="connsiteY11" fmla="*/ 8191 h 69715"/>
                <a:gd name="connsiteX12" fmla="*/ 24404 w 24452"/>
                <a:gd name="connsiteY12" fmla="*/ 8191 h 69715"/>
                <a:gd name="connsiteX13" fmla="*/ 24404 w 24452"/>
                <a:gd name="connsiteY13" fmla="*/ 6393 h 69715"/>
                <a:gd name="connsiteX14" fmla="*/ 24404 w 24452"/>
                <a:gd name="connsiteY14" fmla="*/ 5494 h 69715"/>
                <a:gd name="connsiteX15" fmla="*/ 24404 w 24452"/>
                <a:gd name="connsiteY15" fmla="*/ 5494 h 69715"/>
                <a:gd name="connsiteX16" fmla="*/ 23762 w 24452"/>
                <a:gd name="connsiteY16" fmla="*/ 4081 h 69715"/>
                <a:gd name="connsiteX17" fmla="*/ 23762 w 24452"/>
                <a:gd name="connsiteY17" fmla="*/ 3182 h 69715"/>
                <a:gd name="connsiteX18" fmla="*/ 22478 w 24452"/>
                <a:gd name="connsiteY18" fmla="*/ 1769 h 69715"/>
                <a:gd name="connsiteX19" fmla="*/ 22478 w 24452"/>
                <a:gd name="connsiteY19" fmla="*/ 1769 h 69715"/>
                <a:gd name="connsiteX20" fmla="*/ 20037 w 24452"/>
                <a:gd name="connsiteY20" fmla="*/ 741 h 6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452" h="69715">
                  <a:moveTo>
                    <a:pt x="18881" y="99"/>
                  </a:moveTo>
                  <a:cubicBezTo>
                    <a:pt x="18419" y="-33"/>
                    <a:pt x="17930" y="-33"/>
                    <a:pt x="17468" y="99"/>
                  </a:cubicBezTo>
                  <a:cubicBezTo>
                    <a:pt x="17043" y="34"/>
                    <a:pt x="16609" y="34"/>
                    <a:pt x="16184" y="99"/>
                  </a:cubicBezTo>
                  <a:lnTo>
                    <a:pt x="16184" y="99"/>
                  </a:lnTo>
                  <a:cubicBezTo>
                    <a:pt x="13435" y="1040"/>
                    <a:pt x="11417" y="3402"/>
                    <a:pt x="10918" y="6264"/>
                  </a:cubicBezTo>
                  <a:lnTo>
                    <a:pt x="8991" y="17054"/>
                  </a:lnTo>
                  <a:lnTo>
                    <a:pt x="0" y="67789"/>
                  </a:lnTo>
                  <a:cubicBezTo>
                    <a:pt x="533" y="63893"/>
                    <a:pt x="4050" y="61114"/>
                    <a:pt x="7963" y="61495"/>
                  </a:cubicBezTo>
                  <a:cubicBezTo>
                    <a:pt x="11660" y="62180"/>
                    <a:pt x="14102" y="65731"/>
                    <a:pt x="13418" y="69428"/>
                  </a:cubicBezTo>
                  <a:cubicBezTo>
                    <a:pt x="13400" y="69525"/>
                    <a:pt x="13380" y="69620"/>
                    <a:pt x="13358" y="69716"/>
                  </a:cubicBezTo>
                  <a:lnTo>
                    <a:pt x="15285" y="58926"/>
                  </a:lnTo>
                  <a:lnTo>
                    <a:pt x="24404" y="8191"/>
                  </a:lnTo>
                  <a:lnTo>
                    <a:pt x="24404" y="8191"/>
                  </a:lnTo>
                  <a:cubicBezTo>
                    <a:pt x="24469" y="7594"/>
                    <a:pt x="24469" y="6990"/>
                    <a:pt x="24404" y="6393"/>
                  </a:cubicBezTo>
                  <a:lnTo>
                    <a:pt x="24404" y="5494"/>
                  </a:lnTo>
                  <a:lnTo>
                    <a:pt x="24404" y="5494"/>
                  </a:lnTo>
                  <a:cubicBezTo>
                    <a:pt x="24244" y="5000"/>
                    <a:pt x="24028" y="4526"/>
                    <a:pt x="23762" y="4081"/>
                  </a:cubicBezTo>
                  <a:cubicBezTo>
                    <a:pt x="23762" y="4081"/>
                    <a:pt x="23762" y="3439"/>
                    <a:pt x="23762" y="3182"/>
                  </a:cubicBezTo>
                  <a:cubicBezTo>
                    <a:pt x="23440" y="2624"/>
                    <a:pt x="23002" y="2142"/>
                    <a:pt x="22478" y="1769"/>
                  </a:cubicBezTo>
                  <a:lnTo>
                    <a:pt x="22478" y="1769"/>
                  </a:lnTo>
                  <a:cubicBezTo>
                    <a:pt x="21752" y="1246"/>
                    <a:pt x="20918" y="895"/>
                    <a:pt x="20037" y="741"/>
                  </a:cubicBezTo>
                  <a:close/>
                </a:path>
              </a:pathLst>
            </a:custGeom>
            <a:solidFill>
              <a:srgbClr val="000000"/>
            </a:solidFill>
            <a:ln w="12844"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FC60237B-EC2D-4978-9C8F-9EEC6B3B6F31}"/>
                </a:ext>
              </a:extLst>
            </p:cNvPr>
            <p:cNvSpPr/>
            <p:nvPr/>
          </p:nvSpPr>
          <p:spPr>
            <a:xfrm>
              <a:off x="1827360" y="2988721"/>
              <a:ext cx="63497" cy="286592"/>
            </a:xfrm>
            <a:custGeom>
              <a:avLst/>
              <a:gdLst>
                <a:gd name="connsiteX0" fmla="*/ 4495 w 63497"/>
                <a:gd name="connsiteY0" fmla="*/ 285822 h 286592"/>
                <a:gd name="connsiteX1" fmla="*/ 14514 w 63497"/>
                <a:gd name="connsiteY1" fmla="*/ 282868 h 286592"/>
                <a:gd name="connsiteX2" fmla="*/ 62552 w 63497"/>
                <a:gd name="connsiteY2" fmla="*/ 13136 h 286592"/>
                <a:gd name="connsiteX3" fmla="*/ 63322 w 63497"/>
                <a:gd name="connsiteY3" fmla="*/ 8255 h 286592"/>
                <a:gd name="connsiteX4" fmla="*/ 58215 w 63497"/>
                <a:gd name="connsiteY4" fmla="*/ 95 h 286592"/>
                <a:gd name="connsiteX5" fmla="*/ 57928 w 63497"/>
                <a:gd name="connsiteY5" fmla="*/ 35 h 286592"/>
                <a:gd name="connsiteX6" fmla="*/ 49964 w 63497"/>
                <a:gd name="connsiteY6" fmla="*/ 6329 h 286592"/>
                <a:gd name="connsiteX7" fmla="*/ 0 w 63497"/>
                <a:gd name="connsiteY7" fmla="*/ 286593 h 28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497" h="286592">
                  <a:moveTo>
                    <a:pt x="4495" y="285822"/>
                  </a:moveTo>
                  <a:lnTo>
                    <a:pt x="14514" y="282868"/>
                  </a:lnTo>
                  <a:lnTo>
                    <a:pt x="62552" y="13136"/>
                  </a:lnTo>
                  <a:lnTo>
                    <a:pt x="63322" y="8255"/>
                  </a:lnTo>
                  <a:cubicBezTo>
                    <a:pt x="64166" y="4592"/>
                    <a:pt x="61879" y="938"/>
                    <a:pt x="58215" y="95"/>
                  </a:cubicBezTo>
                  <a:cubicBezTo>
                    <a:pt x="58120" y="73"/>
                    <a:pt x="58024" y="53"/>
                    <a:pt x="57928" y="35"/>
                  </a:cubicBezTo>
                  <a:cubicBezTo>
                    <a:pt x="54014" y="-346"/>
                    <a:pt x="50498" y="2433"/>
                    <a:pt x="49964" y="6329"/>
                  </a:cubicBezTo>
                  <a:lnTo>
                    <a:pt x="0" y="286593"/>
                  </a:lnTo>
                  <a:close/>
                </a:path>
              </a:pathLst>
            </a:custGeom>
            <a:solidFill>
              <a:srgbClr val="000000"/>
            </a:solidFill>
            <a:ln w="12844"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58A0EFD3-0EFD-4D79-948F-248F34505E08}"/>
                </a:ext>
              </a:extLst>
            </p:cNvPr>
            <p:cNvSpPr/>
            <p:nvPr/>
          </p:nvSpPr>
          <p:spPr>
            <a:xfrm>
              <a:off x="3404129" y="1238186"/>
              <a:ext cx="48470" cy="24157"/>
            </a:xfrm>
            <a:custGeom>
              <a:avLst/>
              <a:gdLst>
                <a:gd name="connsiteX0" fmla="*/ 44955 w 48470"/>
                <a:gd name="connsiteY0" fmla="*/ 12213 h 24157"/>
                <a:gd name="connsiteX1" fmla="*/ 45854 w 48470"/>
                <a:gd name="connsiteY1" fmla="*/ 12213 h 24157"/>
                <a:gd name="connsiteX2" fmla="*/ 47396 w 48470"/>
                <a:gd name="connsiteY2" fmla="*/ 11185 h 24157"/>
                <a:gd name="connsiteX3" fmla="*/ 47396 w 48470"/>
                <a:gd name="connsiteY3" fmla="*/ 11185 h 24157"/>
                <a:gd name="connsiteX4" fmla="*/ 48423 w 48470"/>
                <a:gd name="connsiteY4" fmla="*/ 9772 h 24157"/>
                <a:gd name="connsiteX5" fmla="*/ 48423 w 48470"/>
                <a:gd name="connsiteY5" fmla="*/ 8488 h 24157"/>
                <a:gd name="connsiteX6" fmla="*/ 48423 w 48470"/>
                <a:gd name="connsiteY6" fmla="*/ 7075 h 24157"/>
                <a:gd name="connsiteX7" fmla="*/ 48423 w 48470"/>
                <a:gd name="connsiteY7" fmla="*/ 5662 h 24157"/>
                <a:gd name="connsiteX8" fmla="*/ 48423 w 48470"/>
                <a:gd name="connsiteY8" fmla="*/ 4763 h 24157"/>
                <a:gd name="connsiteX9" fmla="*/ 48423 w 48470"/>
                <a:gd name="connsiteY9" fmla="*/ 4763 h 24157"/>
                <a:gd name="connsiteX10" fmla="*/ 48423 w 48470"/>
                <a:gd name="connsiteY10" fmla="*/ 3735 h 24157"/>
                <a:gd name="connsiteX11" fmla="*/ 47524 w 48470"/>
                <a:gd name="connsiteY11" fmla="*/ 2066 h 24157"/>
                <a:gd name="connsiteX12" fmla="*/ 47524 w 48470"/>
                <a:gd name="connsiteY12" fmla="*/ 2066 h 24157"/>
                <a:gd name="connsiteX13" fmla="*/ 46240 w 48470"/>
                <a:gd name="connsiteY13" fmla="*/ 910 h 24157"/>
                <a:gd name="connsiteX14" fmla="*/ 41616 w 48470"/>
                <a:gd name="connsiteY14" fmla="*/ 139 h 24157"/>
                <a:gd name="connsiteX15" fmla="*/ 20936 w 48470"/>
                <a:gd name="connsiteY15" fmla="*/ 4891 h 24157"/>
                <a:gd name="connsiteX16" fmla="*/ 9890 w 48470"/>
                <a:gd name="connsiteY16" fmla="*/ 7460 h 24157"/>
                <a:gd name="connsiteX17" fmla="*/ 0 w 48470"/>
                <a:gd name="connsiteY17" fmla="*/ 9772 h 24157"/>
                <a:gd name="connsiteX18" fmla="*/ 7700 w 48470"/>
                <a:gd name="connsiteY18" fmla="*/ 14589 h 24157"/>
                <a:gd name="connsiteX19" fmla="*/ 7835 w 48470"/>
                <a:gd name="connsiteY19" fmla="*/ 15424 h 24157"/>
                <a:gd name="connsiteX20" fmla="*/ 2184 w 48470"/>
                <a:gd name="connsiteY20" fmla="*/ 24158 h 24157"/>
                <a:gd name="connsiteX21" fmla="*/ 43799 w 48470"/>
                <a:gd name="connsiteY21" fmla="*/ 14525 h 2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470" h="24157">
                  <a:moveTo>
                    <a:pt x="44955" y="12213"/>
                  </a:moveTo>
                  <a:lnTo>
                    <a:pt x="45854" y="12213"/>
                  </a:lnTo>
                  <a:lnTo>
                    <a:pt x="47396" y="11185"/>
                  </a:lnTo>
                  <a:lnTo>
                    <a:pt x="47396" y="11185"/>
                  </a:lnTo>
                  <a:cubicBezTo>
                    <a:pt x="47809" y="10770"/>
                    <a:pt x="48156" y="10294"/>
                    <a:pt x="48423" y="9772"/>
                  </a:cubicBezTo>
                  <a:lnTo>
                    <a:pt x="48423" y="8488"/>
                  </a:lnTo>
                  <a:cubicBezTo>
                    <a:pt x="48483" y="8019"/>
                    <a:pt x="48483" y="7544"/>
                    <a:pt x="48423" y="7075"/>
                  </a:cubicBezTo>
                  <a:cubicBezTo>
                    <a:pt x="48486" y="6606"/>
                    <a:pt x="48486" y="6131"/>
                    <a:pt x="48423" y="5662"/>
                  </a:cubicBezTo>
                  <a:cubicBezTo>
                    <a:pt x="48423" y="5662"/>
                    <a:pt x="48423" y="5020"/>
                    <a:pt x="48423" y="4763"/>
                  </a:cubicBezTo>
                  <a:cubicBezTo>
                    <a:pt x="48423" y="4506"/>
                    <a:pt x="48423" y="4763"/>
                    <a:pt x="48423" y="4763"/>
                  </a:cubicBezTo>
                  <a:lnTo>
                    <a:pt x="48423" y="3735"/>
                  </a:lnTo>
                  <a:cubicBezTo>
                    <a:pt x="48201" y="3140"/>
                    <a:pt x="47898" y="2579"/>
                    <a:pt x="47524" y="2066"/>
                  </a:cubicBezTo>
                  <a:lnTo>
                    <a:pt x="47524" y="2066"/>
                  </a:lnTo>
                  <a:lnTo>
                    <a:pt x="46240" y="910"/>
                  </a:lnTo>
                  <a:cubicBezTo>
                    <a:pt x="44850" y="79"/>
                    <a:pt x="43199" y="-196"/>
                    <a:pt x="41616" y="139"/>
                  </a:cubicBezTo>
                  <a:lnTo>
                    <a:pt x="20936" y="4891"/>
                  </a:lnTo>
                  <a:lnTo>
                    <a:pt x="9890" y="7460"/>
                  </a:lnTo>
                  <a:lnTo>
                    <a:pt x="0" y="9772"/>
                  </a:lnTo>
                  <a:cubicBezTo>
                    <a:pt x="3456" y="8976"/>
                    <a:pt x="6904" y="11133"/>
                    <a:pt x="7700" y="14589"/>
                  </a:cubicBezTo>
                  <a:cubicBezTo>
                    <a:pt x="7764" y="14864"/>
                    <a:pt x="7809" y="15143"/>
                    <a:pt x="7835" y="15424"/>
                  </a:cubicBezTo>
                  <a:cubicBezTo>
                    <a:pt x="8435" y="19346"/>
                    <a:pt x="6007" y="23098"/>
                    <a:pt x="2184" y="24158"/>
                  </a:cubicBezTo>
                  <a:lnTo>
                    <a:pt x="43799" y="14525"/>
                  </a:lnTo>
                  <a:close/>
                </a:path>
              </a:pathLst>
            </a:custGeom>
            <a:solidFill>
              <a:srgbClr val="000000"/>
            </a:solidFill>
            <a:ln w="12844"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BB8F1DFE-01C1-4EB0-9EAA-180E5A6206E5}"/>
                </a:ext>
              </a:extLst>
            </p:cNvPr>
            <p:cNvSpPr/>
            <p:nvPr/>
          </p:nvSpPr>
          <p:spPr>
            <a:xfrm>
              <a:off x="3144545" y="1306015"/>
              <a:ext cx="1155" cy="12844"/>
            </a:xfrm>
            <a:custGeom>
              <a:avLst/>
              <a:gdLst>
                <a:gd name="connsiteX0" fmla="*/ 642 w 1155"/>
                <a:gd name="connsiteY0" fmla="*/ 0 h 12844"/>
                <a:gd name="connsiteX1" fmla="*/ 0 w 1155"/>
                <a:gd name="connsiteY1" fmla="*/ 0 h 12844"/>
                <a:gd name="connsiteX2" fmla="*/ 1156 w 1155"/>
                <a:gd name="connsiteY2" fmla="*/ 0 h 12844"/>
              </a:gdLst>
              <a:ahLst/>
              <a:cxnLst>
                <a:cxn ang="0">
                  <a:pos x="connsiteX0" y="connsiteY0"/>
                </a:cxn>
                <a:cxn ang="0">
                  <a:pos x="connsiteX1" y="connsiteY1"/>
                </a:cxn>
                <a:cxn ang="0">
                  <a:pos x="connsiteX2" y="connsiteY2"/>
                </a:cxn>
              </a:cxnLst>
              <a:rect l="l" t="t" r="r" b="b"/>
              <a:pathLst>
                <a:path w="1155" h="12844">
                  <a:moveTo>
                    <a:pt x="642" y="0"/>
                  </a:moveTo>
                  <a:lnTo>
                    <a:pt x="0" y="0"/>
                  </a:lnTo>
                  <a:lnTo>
                    <a:pt x="1156" y="0"/>
                  </a:lnTo>
                  <a:close/>
                </a:path>
              </a:pathLst>
            </a:custGeom>
            <a:solidFill>
              <a:srgbClr val="000000"/>
            </a:solidFill>
            <a:ln w="12844"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B18D82E2-502F-4296-885F-482FC9CB22CB}"/>
                </a:ext>
              </a:extLst>
            </p:cNvPr>
            <p:cNvSpPr/>
            <p:nvPr/>
          </p:nvSpPr>
          <p:spPr>
            <a:xfrm>
              <a:off x="3146857" y="1245739"/>
              <a:ext cx="265839" cy="72606"/>
            </a:xfrm>
            <a:custGeom>
              <a:avLst/>
              <a:gdLst>
                <a:gd name="connsiteX0" fmla="*/ 8092 w 265839"/>
                <a:gd name="connsiteY0" fmla="*/ 67597 h 72606"/>
                <a:gd name="connsiteX1" fmla="*/ 7193 w 265839"/>
                <a:gd name="connsiteY1" fmla="*/ 72607 h 72606"/>
                <a:gd name="connsiteX2" fmla="*/ 22991 w 265839"/>
                <a:gd name="connsiteY2" fmla="*/ 69010 h 72606"/>
                <a:gd name="connsiteX3" fmla="*/ 260097 w 265839"/>
                <a:gd name="connsiteY3" fmla="*/ 14550 h 72606"/>
                <a:gd name="connsiteX4" fmla="*/ 265749 w 265839"/>
                <a:gd name="connsiteY4" fmla="*/ 5816 h 72606"/>
                <a:gd name="connsiteX5" fmla="*/ 258749 w 265839"/>
                <a:gd name="connsiteY5" fmla="*/ 29 h 72606"/>
                <a:gd name="connsiteX6" fmla="*/ 257914 w 265839"/>
                <a:gd name="connsiteY6" fmla="*/ 164 h 72606"/>
                <a:gd name="connsiteX7" fmla="*/ 253290 w 265839"/>
                <a:gd name="connsiteY7" fmla="*/ 1192 h 72606"/>
                <a:gd name="connsiteX8" fmla="*/ 0 w 265839"/>
                <a:gd name="connsiteY8" fmla="*/ 59377 h 72606"/>
                <a:gd name="connsiteX9" fmla="*/ 0 w 265839"/>
                <a:gd name="connsiteY9" fmla="*/ 59377 h 72606"/>
                <a:gd name="connsiteX10" fmla="*/ 2569 w 265839"/>
                <a:gd name="connsiteY10" fmla="*/ 59377 h 72606"/>
                <a:gd name="connsiteX11" fmla="*/ 8168 w 265839"/>
                <a:gd name="connsiteY11" fmla="*/ 67208 h 72606"/>
                <a:gd name="connsiteX12" fmla="*/ 8092 w 265839"/>
                <a:gd name="connsiteY12" fmla="*/ 67597 h 7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839" h="72606">
                  <a:moveTo>
                    <a:pt x="8092" y="67597"/>
                  </a:moveTo>
                  <a:lnTo>
                    <a:pt x="7193" y="72607"/>
                  </a:lnTo>
                  <a:lnTo>
                    <a:pt x="22991" y="69010"/>
                  </a:lnTo>
                  <a:lnTo>
                    <a:pt x="260097" y="14550"/>
                  </a:lnTo>
                  <a:cubicBezTo>
                    <a:pt x="263921" y="13490"/>
                    <a:pt x="266349" y="9738"/>
                    <a:pt x="265749" y="5816"/>
                  </a:cubicBezTo>
                  <a:cubicBezTo>
                    <a:pt x="265414" y="2285"/>
                    <a:pt x="262280" y="-306"/>
                    <a:pt x="258749" y="29"/>
                  </a:cubicBezTo>
                  <a:cubicBezTo>
                    <a:pt x="258468" y="56"/>
                    <a:pt x="258189" y="101"/>
                    <a:pt x="257914" y="164"/>
                  </a:cubicBezTo>
                  <a:lnTo>
                    <a:pt x="253290" y="1192"/>
                  </a:lnTo>
                  <a:lnTo>
                    <a:pt x="0" y="59377"/>
                  </a:lnTo>
                  <a:lnTo>
                    <a:pt x="0" y="59377"/>
                  </a:lnTo>
                  <a:cubicBezTo>
                    <a:pt x="851" y="59246"/>
                    <a:pt x="1718" y="59246"/>
                    <a:pt x="2569" y="59377"/>
                  </a:cubicBezTo>
                  <a:cubicBezTo>
                    <a:pt x="6278" y="59993"/>
                    <a:pt x="8785" y="63499"/>
                    <a:pt x="8168" y="67208"/>
                  </a:cubicBezTo>
                  <a:cubicBezTo>
                    <a:pt x="8146" y="67339"/>
                    <a:pt x="8121" y="67468"/>
                    <a:pt x="8092" y="67597"/>
                  </a:cubicBezTo>
                  <a:close/>
                </a:path>
              </a:pathLst>
            </a:custGeom>
            <a:solidFill>
              <a:srgbClr val="000000"/>
            </a:solidFill>
            <a:ln w="12844"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1F441F71-47DB-4F1E-98D8-A5ED18BAE888}"/>
                </a:ext>
              </a:extLst>
            </p:cNvPr>
            <p:cNvSpPr/>
            <p:nvPr/>
          </p:nvSpPr>
          <p:spPr>
            <a:xfrm>
              <a:off x="3143261" y="1306657"/>
              <a:ext cx="899" cy="1027"/>
            </a:xfrm>
            <a:custGeom>
              <a:avLst/>
              <a:gdLst>
                <a:gd name="connsiteX0" fmla="*/ 0 w 899"/>
                <a:gd name="connsiteY0" fmla="*/ 1027 h 1027"/>
                <a:gd name="connsiteX1" fmla="*/ 0 w 899"/>
                <a:gd name="connsiteY1" fmla="*/ 1027 h 1027"/>
                <a:gd name="connsiteX2" fmla="*/ 899 w 899"/>
                <a:gd name="connsiteY2" fmla="*/ 0 h 1027"/>
              </a:gdLst>
              <a:ahLst/>
              <a:cxnLst>
                <a:cxn ang="0">
                  <a:pos x="connsiteX0" y="connsiteY0"/>
                </a:cxn>
                <a:cxn ang="0">
                  <a:pos x="connsiteX1" y="connsiteY1"/>
                </a:cxn>
                <a:cxn ang="0">
                  <a:pos x="connsiteX2" y="connsiteY2"/>
                </a:cxn>
              </a:cxnLst>
              <a:rect l="l" t="t" r="r" b="b"/>
              <a:pathLst>
                <a:path w="899" h="1027">
                  <a:moveTo>
                    <a:pt x="0" y="1027"/>
                  </a:moveTo>
                  <a:lnTo>
                    <a:pt x="0" y="1027"/>
                  </a:lnTo>
                  <a:lnTo>
                    <a:pt x="899" y="0"/>
                  </a:lnTo>
                  <a:close/>
                </a:path>
              </a:pathLst>
            </a:custGeom>
            <a:solidFill>
              <a:srgbClr val="000000"/>
            </a:solidFill>
            <a:ln w="12844"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EA6427C1-AE85-40AC-A616-4442A4536DE7}"/>
                </a:ext>
              </a:extLst>
            </p:cNvPr>
            <p:cNvSpPr/>
            <p:nvPr/>
          </p:nvSpPr>
          <p:spPr>
            <a:xfrm>
              <a:off x="3141923" y="1309740"/>
              <a:ext cx="52" cy="1412"/>
            </a:xfrm>
            <a:custGeom>
              <a:avLst/>
              <a:gdLst>
                <a:gd name="connsiteX0" fmla="*/ 53 w 52"/>
                <a:gd name="connsiteY0" fmla="*/ 385 h 1412"/>
                <a:gd name="connsiteX1" fmla="*/ 53 w 52"/>
                <a:gd name="connsiteY1" fmla="*/ 1413 h 1412"/>
                <a:gd name="connsiteX2" fmla="*/ 53 w 52"/>
                <a:gd name="connsiteY2" fmla="*/ 0 h 1412"/>
              </a:gdLst>
              <a:ahLst/>
              <a:cxnLst>
                <a:cxn ang="0">
                  <a:pos x="connsiteX0" y="connsiteY0"/>
                </a:cxn>
                <a:cxn ang="0">
                  <a:pos x="connsiteX1" y="connsiteY1"/>
                </a:cxn>
                <a:cxn ang="0">
                  <a:pos x="connsiteX2" y="connsiteY2"/>
                </a:cxn>
              </a:cxnLst>
              <a:rect l="l" t="t" r="r" b="b"/>
              <a:pathLst>
                <a:path w="52" h="1412">
                  <a:moveTo>
                    <a:pt x="53" y="385"/>
                  </a:moveTo>
                  <a:lnTo>
                    <a:pt x="53" y="1413"/>
                  </a:lnTo>
                  <a:cubicBezTo>
                    <a:pt x="-18" y="945"/>
                    <a:pt x="-18" y="468"/>
                    <a:pt x="53" y="0"/>
                  </a:cubicBezTo>
                  <a:close/>
                </a:path>
              </a:pathLst>
            </a:custGeom>
            <a:solidFill>
              <a:srgbClr val="000000"/>
            </a:solidFill>
            <a:ln w="12844"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3431181B-909B-4D50-B146-BF1650F274F1}"/>
                </a:ext>
              </a:extLst>
            </p:cNvPr>
            <p:cNvSpPr/>
            <p:nvPr/>
          </p:nvSpPr>
          <p:spPr>
            <a:xfrm>
              <a:off x="2698380" y="3303315"/>
              <a:ext cx="58908" cy="240770"/>
            </a:xfrm>
            <a:custGeom>
              <a:avLst/>
              <a:gdLst>
                <a:gd name="connsiteX0" fmla="*/ 210 w 58908"/>
                <a:gd name="connsiteY0" fmla="*/ 232355 h 240770"/>
                <a:gd name="connsiteX1" fmla="*/ 5136 w 58908"/>
                <a:gd name="connsiteY1" fmla="*/ 240627 h 240770"/>
                <a:gd name="connsiteX2" fmla="*/ 5477 w 58908"/>
                <a:gd name="connsiteY2" fmla="*/ 240704 h 240770"/>
                <a:gd name="connsiteX3" fmla="*/ 9330 w 58908"/>
                <a:gd name="connsiteY3" fmla="*/ 240062 h 240770"/>
                <a:gd name="connsiteX4" fmla="*/ 10743 w 58908"/>
                <a:gd name="connsiteY4" fmla="*/ 239291 h 240770"/>
                <a:gd name="connsiteX5" fmla="*/ 11642 w 58908"/>
                <a:gd name="connsiteY5" fmla="*/ 238391 h 240770"/>
                <a:gd name="connsiteX6" fmla="*/ 12669 w 58908"/>
                <a:gd name="connsiteY6" fmla="*/ 237107 h 240770"/>
                <a:gd name="connsiteX7" fmla="*/ 12669 w 58908"/>
                <a:gd name="connsiteY7" fmla="*/ 235822 h 240770"/>
                <a:gd name="connsiteX8" fmla="*/ 12669 w 58908"/>
                <a:gd name="connsiteY8" fmla="*/ 234667 h 240770"/>
                <a:gd name="connsiteX9" fmla="*/ 58909 w 58908"/>
                <a:gd name="connsiteY9" fmla="*/ 2184 h 240770"/>
                <a:gd name="connsiteX10" fmla="*/ 50688 w 58908"/>
                <a:gd name="connsiteY10" fmla="*/ 8349 h 240770"/>
                <a:gd name="connsiteX11" fmla="*/ 45493 w 58908"/>
                <a:gd name="connsiteY11" fmla="*/ 244 h 240770"/>
                <a:gd name="connsiteX12" fmla="*/ 45551 w 58908"/>
                <a:gd name="connsiteY12" fmla="*/ 0 h 240770"/>
                <a:gd name="connsiteX13" fmla="*/ 44523 w 58908"/>
                <a:gd name="connsiteY13" fmla="*/ 5138 h 240770"/>
                <a:gd name="connsiteX14" fmla="*/ 82 w 58908"/>
                <a:gd name="connsiteY14" fmla="*/ 227731 h 24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908" h="240770">
                  <a:moveTo>
                    <a:pt x="210" y="232355"/>
                  </a:moveTo>
                  <a:cubicBezTo>
                    <a:pt x="-714" y="235999"/>
                    <a:pt x="1492" y="239702"/>
                    <a:pt x="5136" y="240627"/>
                  </a:cubicBezTo>
                  <a:cubicBezTo>
                    <a:pt x="5249" y="240655"/>
                    <a:pt x="5363" y="240681"/>
                    <a:pt x="5477" y="240704"/>
                  </a:cubicBezTo>
                  <a:cubicBezTo>
                    <a:pt x="6797" y="240895"/>
                    <a:pt x="8143" y="240670"/>
                    <a:pt x="9330" y="240062"/>
                  </a:cubicBezTo>
                  <a:cubicBezTo>
                    <a:pt x="9839" y="239883"/>
                    <a:pt x="10317" y="239622"/>
                    <a:pt x="10743" y="239291"/>
                  </a:cubicBezTo>
                  <a:lnTo>
                    <a:pt x="11642" y="238391"/>
                  </a:lnTo>
                  <a:cubicBezTo>
                    <a:pt x="12053" y="238023"/>
                    <a:pt x="12400" y="237589"/>
                    <a:pt x="12669" y="237107"/>
                  </a:cubicBezTo>
                  <a:cubicBezTo>
                    <a:pt x="12741" y="236682"/>
                    <a:pt x="12741" y="236248"/>
                    <a:pt x="12669" y="235822"/>
                  </a:cubicBezTo>
                  <a:lnTo>
                    <a:pt x="12669" y="234667"/>
                  </a:lnTo>
                  <a:lnTo>
                    <a:pt x="58909" y="2184"/>
                  </a:lnTo>
                  <a:cubicBezTo>
                    <a:pt x="58251" y="6102"/>
                    <a:pt x="54634" y="8815"/>
                    <a:pt x="50688" y="8349"/>
                  </a:cubicBezTo>
                  <a:cubicBezTo>
                    <a:pt x="47016" y="7546"/>
                    <a:pt x="44689" y="3917"/>
                    <a:pt x="45493" y="244"/>
                  </a:cubicBezTo>
                  <a:cubicBezTo>
                    <a:pt x="45510" y="163"/>
                    <a:pt x="45530" y="81"/>
                    <a:pt x="45551" y="0"/>
                  </a:cubicBezTo>
                  <a:lnTo>
                    <a:pt x="44523" y="5138"/>
                  </a:lnTo>
                  <a:lnTo>
                    <a:pt x="82" y="227731"/>
                  </a:lnTo>
                  <a:close/>
                </a:path>
              </a:pathLst>
            </a:custGeom>
            <a:solidFill>
              <a:srgbClr val="000000"/>
            </a:solidFill>
            <a:ln w="12844"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6AD02671-A3CF-4EA5-90FF-96B45781B44B}"/>
                </a:ext>
              </a:extLst>
            </p:cNvPr>
            <p:cNvSpPr/>
            <p:nvPr/>
          </p:nvSpPr>
          <p:spPr>
            <a:xfrm>
              <a:off x="2745306" y="1304890"/>
              <a:ext cx="409853" cy="2006825"/>
            </a:xfrm>
            <a:custGeom>
              <a:avLst/>
              <a:gdLst>
                <a:gd name="connsiteX0" fmla="*/ 4790 w 409853"/>
                <a:gd name="connsiteY0" fmla="*/ 2006774 h 2006825"/>
                <a:gd name="connsiteX1" fmla="*/ 13011 w 409853"/>
                <a:gd name="connsiteY1" fmla="*/ 2000608 h 2006825"/>
                <a:gd name="connsiteX2" fmla="*/ 407845 w 409853"/>
                <a:gd name="connsiteY2" fmla="*/ 18080 h 2006825"/>
                <a:gd name="connsiteX3" fmla="*/ 408744 w 409853"/>
                <a:gd name="connsiteY3" fmla="*/ 13456 h 2006825"/>
                <a:gd name="connsiteX4" fmla="*/ 409643 w 409853"/>
                <a:gd name="connsiteY4" fmla="*/ 8447 h 2006825"/>
                <a:gd name="connsiteX5" fmla="*/ 404717 w 409853"/>
                <a:gd name="connsiteY5" fmla="*/ 175 h 2006825"/>
                <a:gd name="connsiteX6" fmla="*/ 404377 w 409853"/>
                <a:gd name="connsiteY6" fmla="*/ 98 h 2006825"/>
                <a:gd name="connsiteX7" fmla="*/ 401808 w 409853"/>
                <a:gd name="connsiteY7" fmla="*/ 98 h 2006825"/>
                <a:gd name="connsiteX8" fmla="*/ 401808 w 409853"/>
                <a:gd name="connsiteY8" fmla="*/ 98 h 2006825"/>
                <a:gd name="connsiteX9" fmla="*/ 400781 w 409853"/>
                <a:gd name="connsiteY9" fmla="*/ 98 h 2006825"/>
                <a:gd name="connsiteX10" fmla="*/ 399625 w 409853"/>
                <a:gd name="connsiteY10" fmla="*/ 98 h 2006825"/>
                <a:gd name="connsiteX11" fmla="*/ 399625 w 409853"/>
                <a:gd name="connsiteY11" fmla="*/ 98 h 2006825"/>
                <a:gd name="connsiteX12" fmla="*/ 398854 w 409853"/>
                <a:gd name="connsiteY12" fmla="*/ 869 h 2006825"/>
                <a:gd name="connsiteX13" fmla="*/ 397955 w 409853"/>
                <a:gd name="connsiteY13" fmla="*/ 1896 h 2006825"/>
                <a:gd name="connsiteX14" fmla="*/ 397955 w 409853"/>
                <a:gd name="connsiteY14" fmla="*/ 1896 h 2006825"/>
                <a:gd name="connsiteX15" fmla="*/ 397955 w 409853"/>
                <a:gd name="connsiteY15" fmla="*/ 2667 h 2006825"/>
                <a:gd name="connsiteX16" fmla="*/ 397955 w 409853"/>
                <a:gd name="connsiteY16" fmla="*/ 4080 h 2006825"/>
                <a:gd name="connsiteX17" fmla="*/ 397955 w 409853"/>
                <a:gd name="connsiteY17" fmla="*/ 4080 h 2006825"/>
                <a:gd name="connsiteX18" fmla="*/ 3249 w 409853"/>
                <a:gd name="connsiteY18" fmla="*/ 1985966 h 2006825"/>
                <a:gd name="connsiteX19" fmla="*/ 1322 w 409853"/>
                <a:gd name="connsiteY19" fmla="*/ 1996242 h 2006825"/>
                <a:gd name="connsiteX20" fmla="*/ 2777 w 409853"/>
                <a:gd name="connsiteY20" fmla="*/ 2005759 h 2006825"/>
                <a:gd name="connsiteX21" fmla="*/ 4790 w 409853"/>
                <a:gd name="connsiteY21" fmla="*/ 2006774 h 200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9853" h="2006825">
                  <a:moveTo>
                    <a:pt x="4790" y="2006774"/>
                  </a:moveTo>
                  <a:cubicBezTo>
                    <a:pt x="8736" y="2007240"/>
                    <a:pt x="12353" y="2004527"/>
                    <a:pt x="13011" y="2000608"/>
                  </a:cubicBezTo>
                  <a:lnTo>
                    <a:pt x="407845" y="18080"/>
                  </a:lnTo>
                  <a:lnTo>
                    <a:pt x="408744" y="13456"/>
                  </a:lnTo>
                  <a:lnTo>
                    <a:pt x="409643" y="8447"/>
                  </a:lnTo>
                  <a:cubicBezTo>
                    <a:pt x="410567" y="4802"/>
                    <a:pt x="408362" y="1099"/>
                    <a:pt x="404717" y="175"/>
                  </a:cubicBezTo>
                  <a:cubicBezTo>
                    <a:pt x="404605" y="146"/>
                    <a:pt x="404491" y="121"/>
                    <a:pt x="404377" y="98"/>
                  </a:cubicBezTo>
                  <a:cubicBezTo>
                    <a:pt x="403526" y="-33"/>
                    <a:pt x="402659" y="-33"/>
                    <a:pt x="401808" y="98"/>
                  </a:cubicBezTo>
                  <a:lnTo>
                    <a:pt x="401808" y="98"/>
                  </a:lnTo>
                  <a:lnTo>
                    <a:pt x="400781" y="98"/>
                  </a:lnTo>
                  <a:lnTo>
                    <a:pt x="399625" y="98"/>
                  </a:lnTo>
                  <a:lnTo>
                    <a:pt x="399625" y="98"/>
                  </a:lnTo>
                  <a:cubicBezTo>
                    <a:pt x="399337" y="322"/>
                    <a:pt x="399078" y="581"/>
                    <a:pt x="398854" y="869"/>
                  </a:cubicBezTo>
                  <a:lnTo>
                    <a:pt x="397955" y="1896"/>
                  </a:lnTo>
                  <a:cubicBezTo>
                    <a:pt x="397955" y="1896"/>
                    <a:pt x="397955" y="1896"/>
                    <a:pt x="397955" y="1896"/>
                  </a:cubicBezTo>
                  <a:cubicBezTo>
                    <a:pt x="397899" y="2150"/>
                    <a:pt x="397899" y="2413"/>
                    <a:pt x="397955" y="2667"/>
                  </a:cubicBezTo>
                  <a:cubicBezTo>
                    <a:pt x="397884" y="3135"/>
                    <a:pt x="397884" y="3611"/>
                    <a:pt x="397955" y="4080"/>
                  </a:cubicBezTo>
                  <a:lnTo>
                    <a:pt x="397955" y="4080"/>
                  </a:lnTo>
                  <a:lnTo>
                    <a:pt x="3249" y="1985966"/>
                  </a:lnTo>
                  <a:lnTo>
                    <a:pt x="1322" y="1996242"/>
                  </a:lnTo>
                  <a:cubicBezTo>
                    <a:pt x="-904" y="1999271"/>
                    <a:pt x="-253" y="2003532"/>
                    <a:pt x="2777" y="2005759"/>
                  </a:cubicBezTo>
                  <a:cubicBezTo>
                    <a:pt x="3387" y="2006207"/>
                    <a:pt x="4067" y="2006550"/>
                    <a:pt x="4790" y="2006774"/>
                  </a:cubicBezTo>
                  <a:close/>
                </a:path>
              </a:pathLst>
            </a:custGeom>
            <a:solidFill>
              <a:srgbClr val="000000"/>
            </a:solidFill>
            <a:ln w="12844"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06AC08C3-23FA-486B-A130-C97866018B00}"/>
                </a:ext>
              </a:extLst>
            </p:cNvPr>
            <p:cNvSpPr/>
            <p:nvPr/>
          </p:nvSpPr>
          <p:spPr>
            <a:xfrm>
              <a:off x="616012" y="1907132"/>
              <a:ext cx="25357" cy="22862"/>
            </a:xfrm>
            <a:custGeom>
              <a:avLst/>
              <a:gdLst>
                <a:gd name="connsiteX0" fmla="*/ 20936 w 25357"/>
                <a:gd name="connsiteY0" fmla="*/ 21193 h 22862"/>
                <a:gd name="connsiteX1" fmla="*/ 22221 w 25357"/>
                <a:gd name="connsiteY1" fmla="*/ 21193 h 22862"/>
                <a:gd name="connsiteX2" fmla="*/ 23377 w 25357"/>
                <a:gd name="connsiteY2" fmla="*/ 20551 h 22862"/>
                <a:gd name="connsiteX3" fmla="*/ 24404 w 25357"/>
                <a:gd name="connsiteY3" fmla="*/ 19523 h 22862"/>
                <a:gd name="connsiteX4" fmla="*/ 25303 w 25357"/>
                <a:gd name="connsiteY4" fmla="*/ 18368 h 22862"/>
                <a:gd name="connsiteX5" fmla="*/ 25303 w 25357"/>
                <a:gd name="connsiteY5" fmla="*/ 18368 h 22862"/>
                <a:gd name="connsiteX6" fmla="*/ 25303 w 25357"/>
                <a:gd name="connsiteY6" fmla="*/ 17340 h 22862"/>
                <a:gd name="connsiteX7" fmla="*/ 25303 w 25357"/>
                <a:gd name="connsiteY7" fmla="*/ 15927 h 22862"/>
                <a:gd name="connsiteX8" fmla="*/ 25303 w 25357"/>
                <a:gd name="connsiteY8" fmla="*/ 15927 h 22862"/>
                <a:gd name="connsiteX9" fmla="*/ 25303 w 25357"/>
                <a:gd name="connsiteY9" fmla="*/ 14771 h 22862"/>
                <a:gd name="connsiteX10" fmla="*/ 25303 w 25357"/>
                <a:gd name="connsiteY10" fmla="*/ 13358 h 22862"/>
                <a:gd name="connsiteX11" fmla="*/ 25303 w 25357"/>
                <a:gd name="connsiteY11" fmla="*/ 12331 h 22862"/>
                <a:gd name="connsiteX12" fmla="*/ 25303 w 25357"/>
                <a:gd name="connsiteY12" fmla="*/ 12331 h 22862"/>
                <a:gd name="connsiteX13" fmla="*/ 25303 w 25357"/>
                <a:gd name="connsiteY13" fmla="*/ 11046 h 22862"/>
                <a:gd name="connsiteX14" fmla="*/ 25303 w 25357"/>
                <a:gd name="connsiteY14" fmla="*/ 10404 h 22862"/>
                <a:gd name="connsiteX15" fmla="*/ 25303 w 25357"/>
                <a:gd name="connsiteY15" fmla="*/ 10404 h 22862"/>
                <a:gd name="connsiteX16" fmla="*/ 24147 w 25357"/>
                <a:gd name="connsiteY16" fmla="*/ 9376 h 22862"/>
                <a:gd name="connsiteX17" fmla="*/ 24147 w 25357"/>
                <a:gd name="connsiteY17" fmla="*/ 9377 h 22862"/>
                <a:gd name="connsiteX18" fmla="*/ 24147 w 25357"/>
                <a:gd name="connsiteY18" fmla="*/ 9377 h 22862"/>
                <a:gd name="connsiteX19" fmla="*/ 23120 w 25357"/>
                <a:gd name="connsiteY19" fmla="*/ 9377 h 22862"/>
                <a:gd name="connsiteX20" fmla="*/ 7193 w 25357"/>
                <a:gd name="connsiteY20" fmla="*/ 0 h 22862"/>
                <a:gd name="connsiteX21" fmla="*/ 9376 w 25357"/>
                <a:gd name="connsiteY21" fmla="*/ 9890 h 22862"/>
                <a:gd name="connsiteX22" fmla="*/ 258 w 25357"/>
                <a:gd name="connsiteY22" fmla="*/ 12979 h 22862"/>
                <a:gd name="connsiteX23" fmla="*/ 0 w 25357"/>
                <a:gd name="connsiteY23" fmla="*/ 12844 h 22862"/>
                <a:gd name="connsiteX24" fmla="*/ 1028 w 25357"/>
                <a:gd name="connsiteY24" fmla="*/ 13487 h 22862"/>
                <a:gd name="connsiteX25" fmla="*/ 16954 w 25357"/>
                <a:gd name="connsiteY25" fmla="*/ 22863 h 22862"/>
                <a:gd name="connsiteX26" fmla="*/ 20936 w 25357"/>
                <a:gd name="connsiteY26" fmla="*/ 21193 h 2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357" h="22862">
                  <a:moveTo>
                    <a:pt x="20936" y="21193"/>
                  </a:moveTo>
                  <a:lnTo>
                    <a:pt x="22221" y="21193"/>
                  </a:lnTo>
                  <a:lnTo>
                    <a:pt x="23377" y="20551"/>
                  </a:lnTo>
                  <a:cubicBezTo>
                    <a:pt x="23751" y="20242"/>
                    <a:pt x="24095" y="19898"/>
                    <a:pt x="24404" y="19523"/>
                  </a:cubicBezTo>
                  <a:cubicBezTo>
                    <a:pt x="24734" y="19163"/>
                    <a:pt x="25035" y="18776"/>
                    <a:pt x="25303" y="18368"/>
                  </a:cubicBezTo>
                  <a:lnTo>
                    <a:pt x="25303" y="18368"/>
                  </a:lnTo>
                  <a:cubicBezTo>
                    <a:pt x="25303" y="18368"/>
                    <a:pt x="25303" y="18368"/>
                    <a:pt x="25303" y="17340"/>
                  </a:cubicBezTo>
                  <a:cubicBezTo>
                    <a:pt x="25376" y="16872"/>
                    <a:pt x="25376" y="16395"/>
                    <a:pt x="25303" y="15927"/>
                  </a:cubicBezTo>
                  <a:cubicBezTo>
                    <a:pt x="25303" y="15927"/>
                    <a:pt x="25303" y="15927"/>
                    <a:pt x="25303" y="15927"/>
                  </a:cubicBezTo>
                  <a:cubicBezTo>
                    <a:pt x="25303" y="15927"/>
                    <a:pt x="25303" y="15156"/>
                    <a:pt x="25303" y="14771"/>
                  </a:cubicBezTo>
                  <a:lnTo>
                    <a:pt x="25303" y="13358"/>
                  </a:lnTo>
                  <a:lnTo>
                    <a:pt x="25303" y="12331"/>
                  </a:lnTo>
                  <a:lnTo>
                    <a:pt x="25303" y="12331"/>
                  </a:lnTo>
                  <a:cubicBezTo>
                    <a:pt x="25354" y="11904"/>
                    <a:pt x="25354" y="11473"/>
                    <a:pt x="25303" y="11046"/>
                  </a:cubicBezTo>
                  <a:cubicBezTo>
                    <a:pt x="25303" y="11046"/>
                    <a:pt x="25303" y="11046"/>
                    <a:pt x="25303" y="10404"/>
                  </a:cubicBezTo>
                  <a:lnTo>
                    <a:pt x="25303" y="10404"/>
                  </a:lnTo>
                  <a:cubicBezTo>
                    <a:pt x="24982" y="9995"/>
                    <a:pt x="24591" y="9647"/>
                    <a:pt x="24147" y="9376"/>
                  </a:cubicBezTo>
                  <a:lnTo>
                    <a:pt x="24147" y="9377"/>
                  </a:lnTo>
                  <a:lnTo>
                    <a:pt x="24147" y="9377"/>
                  </a:lnTo>
                  <a:lnTo>
                    <a:pt x="23120" y="9377"/>
                  </a:lnTo>
                  <a:lnTo>
                    <a:pt x="7193" y="0"/>
                  </a:lnTo>
                  <a:cubicBezTo>
                    <a:pt x="10512" y="2139"/>
                    <a:pt x="11486" y="6553"/>
                    <a:pt x="9376" y="9890"/>
                  </a:cubicBezTo>
                  <a:cubicBezTo>
                    <a:pt x="7711" y="13261"/>
                    <a:pt x="3629" y="14644"/>
                    <a:pt x="258" y="12979"/>
                  </a:cubicBezTo>
                  <a:cubicBezTo>
                    <a:pt x="171" y="12936"/>
                    <a:pt x="85" y="12891"/>
                    <a:pt x="0" y="12844"/>
                  </a:cubicBezTo>
                  <a:lnTo>
                    <a:pt x="1028" y="13487"/>
                  </a:lnTo>
                  <a:lnTo>
                    <a:pt x="16954" y="22863"/>
                  </a:lnTo>
                  <a:cubicBezTo>
                    <a:pt x="18442" y="22816"/>
                    <a:pt x="19860" y="22222"/>
                    <a:pt x="20936" y="21193"/>
                  </a:cubicBezTo>
                  <a:close/>
                </a:path>
              </a:pathLst>
            </a:custGeom>
            <a:solidFill>
              <a:srgbClr val="000000"/>
            </a:solidFill>
            <a:ln w="12844"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F25344CE-39D3-4CDC-BFE0-3DB5DBEFE833}"/>
                </a:ext>
              </a:extLst>
            </p:cNvPr>
            <p:cNvSpPr/>
            <p:nvPr/>
          </p:nvSpPr>
          <p:spPr>
            <a:xfrm>
              <a:off x="1831727" y="3186767"/>
              <a:ext cx="315330" cy="101904"/>
            </a:xfrm>
            <a:custGeom>
              <a:avLst/>
              <a:gdLst>
                <a:gd name="connsiteX0" fmla="*/ 8220 w 315330"/>
                <a:gd name="connsiteY0" fmla="*/ 92914 h 101904"/>
                <a:gd name="connsiteX1" fmla="*/ 2826 w 315330"/>
                <a:gd name="connsiteY1" fmla="*/ 101905 h 101904"/>
                <a:gd name="connsiteX2" fmla="*/ 2826 w 315330"/>
                <a:gd name="connsiteY2" fmla="*/ 101905 h 101904"/>
                <a:gd name="connsiteX3" fmla="*/ 307108 w 315330"/>
                <a:gd name="connsiteY3" fmla="*/ 14692 h 101904"/>
                <a:gd name="connsiteX4" fmla="*/ 309805 w 315330"/>
                <a:gd name="connsiteY4" fmla="*/ 13921 h 101904"/>
                <a:gd name="connsiteX5" fmla="*/ 315200 w 315330"/>
                <a:gd name="connsiteY5" fmla="*/ 4801 h 101904"/>
                <a:gd name="connsiteX6" fmla="*/ 311218 w 315330"/>
                <a:gd name="connsiteY6" fmla="*/ 49 h 101904"/>
                <a:gd name="connsiteX7" fmla="*/ 309677 w 315330"/>
                <a:gd name="connsiteY7" fmla="*/ 49 h 101904"/>
                <a:gd name="connsiteX8" fmla="*/ 308392 w 315330"/>
                <a:gd name="connsiteY8" fmla="*/ 49 h 101904"/>
                <a:gd name="connsiteX9" fmla="*/ 307108 w 315330"/>
                <a:gd name="connsiteY9" fmla="*/ 49 h 101904"/>
                <a:gd name="connsiteX10" fmla="*/ 10019 w 315330"/>
                <a:gd name="connsiteY10" fmla="*/ 85207 h 101904"/>
                <a:gd name="connsiteX11" fmla="*/ 0 w 315330"/>
                <a:gd name="connsiteY11" fmla="*/ 88161 h 101904"/>
                <a:gd name="connsiteX12" fmla="*/ 8135 w 315330"/>
                <a:gd name="connsiteY12" fmla="*/ 92594 h 101904"/>
                <a:gd name="connsiteX13" fmla="*/ 8220 w 315330"/>
                <a:gd name="connsiteY13" fmla="*/ 92914 h 10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330" h="101904">
                  <a:moveTo>
                    <a:pt x="8220" y="92914"/>
                  </a:moveTo>
                  <a:cubicBezTo>
                    <a:pt x="8988" y="96850"/>
                    <a:pt x="6660" y="100730"/>
                    <a:pt x="2826" y="101905"/>
                  </a:cubicBezTo>
                  <a:lnTo>
                    <a:pt x="2826" y="101905"/>
                  </a:lnTo>
                  <a:lnTo>
                    <a:pt x="307108" y="14692"/>
                  </a:lnTo>
                  <a:lnTo>
                    <a:pt x="309805" y="13921"/>
                  </a:lnTo>
                  <a:cubicBezTo>
                    <a:pt x="313620" y="12645"/>
                    <a:pt x="315918" y="8760"/>
                    <a:pt x="315200" y="4801"/>
                  </a:cubicBezTo>
                  <a:cubicBezTo>
                    <a:pt x="314753" y="2650"/>
                    <a:pt x="313258" y="865"/>
                    <a:pt x="311218" y="49"/>
                  </a:cubicBezTo>
                  <a:lnTo>
                    <a:pt x="309677" y="49"/>
                  </a:lnTo>
                  <a:lnTo>
                    <a:pt x="308392" y="49"/>
                  </a:lnTo>
                  <a:cubicBezTo>
                    <a:pt x="307966" y="-16"/>
                    <a:pt x="307533" y="-16"/>
                    <a:pt x="307108" y="49"/>
                  </a:cubicBezTo>
                  <a:lnTo>
                    <a:pt x="10019" y="85207"/>
                  </a:lnTo>
                  <a:lnTo>
                    <a:pt x="0" y="88161"/>
                  </a:lnTo>
                  <a:cubicBezTo>
                    <a:pt x="3470" y="87139"/>
                    <a:pt x="7112" y="89123"/>
                    <a:pt x="8135" y="92594"/>
                  </a:cubicBezTo>
                  <a:cubicBezTo>
                    <a:pt x="8166" y="92700"/>
                    <a:pt x="8194" y="92806"/>
                    <a:pt x="8220" y="92914"/>
                  </a:cubicBezTo>
                  <a:close/>
                </a:path>
              </a:pathLst>
            </a:custGeom>
            <a:solidFill>
              <a:srgbClr val="000000"/>
            </a:solidFill>
            <a:ln w="12844"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F9E3263C-7441-4B5F-AE3D-3BDF13B5A966}"/>
                </a:ext>
              </a:extLst>
            </p:cNvPr>
            <p:cNvSpPr/>
            <p:nvPr/>
          </p:nvSpPr>
          <p:spPr>
            <a:xfrm>
              <a:off x="1720897" y="3274716"/>
              <a:ext cx="119196" cy="44782"/>
            </a:xfrm>
            <a:custGeom>
              <a:avLst/>
              <a:gdLst>
                <a:gd name="connsiteX0" fmla="*/ 6149 w 119196"/>
                <a:gd name="connsiteY0" fmla="*/ 44783 h 44782"/>
                <a:gd name="connsiteX1" fmla="*/ 10645 w 119196"/>
                <a:gd name="connsiteY1" fmla="*/ 43498 h 44782"/>
                <a:gd name="connsiteX2" fmla="*/ 22590 w 119196"/>
                <a:gd name="connsiteY2" fmla="*/ 40031 h 44782"/>
                <a:gd name="connsiteX3" fmla="*/ 113656 w 119196"/>
                <a:gd name="connsiteY3" fmla="*/ 14342 h 44782"/>
                <a:gd name="connsiteX4" fmla="*/ 113656 w 119196"/>
                <a:gd name="connsiteY4" fmla="*/ 14342 h 44782"/>
                <a:gd name="connsiteX5" fmla="*/ 119051 w 119196"/>
                <a:gd name="connsiteY5" fmla="*/ 5351 h 44782"/>
                <a:gd name="connsiteX6" fmla="*/ 111410 w 119196"/>
                <a:gd name="connsiteY6" fmla="*/ 112 h 44782"/>
                <a:gd name="connsiteX7" fmla="*/ 110959 w 119196"/>
                <a:gd name="connsiteY7" fmla="*/ 213 h 44782"/>
                <a:gd name="connsiteX8" fmla="*/ 106464 w 119196"/>
                <a:gd name="connsiteY8" fmla="*/ 1497 h 44782"/>
                <a:gd name="connsiteX9" fmla="*/ 3709 w 119196"/>
                <a:gd name="connsiteY9" fmla="*/ 31039 h 44782"/>
                <a:gd name="connsiteX10" fmla="*/ 3709 w 119196"/>
                <a:gd name="connsiteY10" fmla="*/ 31039 h 44782"/>
                <a:gd name="connsiteX11" fmla="*/ 1268 w 119196"/>
                <a:gd name="connsiteY11" fmla="*/ 32324 h 44782"/>
                <a:gd name="connsiteX12" fmla="*/ 1268 w 119196"/>
                <a:gd name="connsiteY12" fmla="*/ 32324 h 44782"/>
                <a:gd name="connsiteX13" fmla="*/ 1268 w 119196"/>
                <a:gd name="connsiteY13" fmla="*/ 32324 h 44782"/>
                <a:gd name="connsiteX14" fmla="*/ 241 w 119196"/>
                <a:gd name="connsiteY14" fmla="*/ 33480 h 44782"/>
                <a:gd name="connsiteX15" fmla="*/ 241 w 119196"/>
                <a:gd name="connsiteY15" fmla="*/ 33480 h 44782"/>
                <a:gd name="connsiteX16" fmla="*/ 241 w 119196"/>
                <a:gd name="connsiteY16" fmla="*/ 33480 h 44782"/>
                <a:gd name="connsiteX17" fmla="*/ 241 w 119196"/>
                <a:gd name="connsiteY17" fmla="*/ 34508 h 44782"/>
                <a:gd name="connsiteX18" fmla="*/ 241 w 119196"/>
                <a:gd name="connsiteY18" fmla="*/ 38489 h 44782"/>
                <a:gd name="connsiteX19" fmla="*/ 6149 w 119196"/>
                <a:gd name="connsiteY19" fmla="*/ 44783 h 4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196" h="44782">
                  <a:moveTo>
                    <a:pt x="6149" y="44783"/>
                  </a:moveTo>
                  <a:lnTo>
                    <a:pt x="10645" y="43498"/>
                  </a:lnTo>
                  <a:lnTo>
                    <a:pt x="22590" y="40031"/>
                  </a:lnTo>
                  <a:lnTo>
                    <a:pt x="113656" y="14342"/>
                  </a:lnTo>
                  <a:lnTo>
                    <a:pt x="113656" y="14342"/>
                  </a:lnTo>
                  <a:cubicBezTo>
                    <a:pt x="117490" y="13167"/>
                    <a:pt x="119819" y="9287"/>
                    <a:pt x="119051" y="5351"/>
                  </a:cubicBezTo>
                  <a:cubicBezTo>
                    <a:pt x="118388" y="1794"/>
                    <a:pt x="114967" y="-551"/>
                    <a:pt x="111410" y="112"/>
                  </a:cubicBezTo>
                  <a:cubicBezTo>
                    <a:pt x="111259" y="140"/>
                    <a:pt x="111108" y="174"/>
                    <a:pt x="110959" y="213"/>
                  </a:cubicBezTo>
                  <a:lnTo>
                    <a:pt x="106464" y="1497"/>
                  </a:lnTo>
                  <a:lnTo>
                    <a:pt x="3709" y="31039"/>
                  </a:lnTo>
                  <a:lnTo>
                    <a:pt x="3709" y="31039"/>
                  </a:lnTo>
                  <a:cubicBezTo>
                    <a:pt x="2812" y="31286"/>
                    <a:pt x="1979" y="31724"/>
                    <a:pt x="1268" y="32324"/>
                  </a:cubicBezTo>
                  <a:lnTo>
                    <a:pt x="1268" y="32324"/>
                  </a:lnTo>
                  <a:lnTo>
                    <a:pt x="1268" y="32324"/>
                  </a:lnTo>
                  <a:lnTo>
                    <a:pt x="241" y="33480"/>
                  </a:lnTo>
                  <a:lnTo>
                    <a:pt x="241" y="33480"/>
                  </a:lnTo>
                  <a:lnTo>
                    <a:pt x="241" y="33480"/>
                  </a:lnTo>
                  <a:lnTo>
                    <a:pt x="241" y="34508"/>
                  </a:lnTo>
                  <a:cubicBezTo>
                    <a:pt x="-80" y="35815"/>
                    <a:pt x="-80" y="37182"/>
                    <a:pt x="241" y="38489"/>
                  </a:cubicBezTo>
                  <a:cubicBezTo>
                    <a:pt x="297" y="41795"/>
                    <a:pt x="2853" y="44519"/>
                    <a:pt x="6149" y="44783"/>
                  </a:cubicBezTo>
                  <a:close/>
                </a:path>
              </a:pathLst>
            </a:custGeom>
            <a:solidFill>
              <a:srgbClr val="000000"/>
            </a:solidFill>
            <a:ln w="12844"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EC3F09B4-DDB6-464A-BFFB-5CEB20E21ADF}"/>
                </a:ext>
              </a:extLst>
            </p:cNvPr>
            <p:cNvSpPr/>
            <p:nvPr/>
          </p:nvSpPr>
          <p:spPr>
            <a:xfrm>
              <a:off x="2587487" y="4103262"/>
              <a:ext cx="297603" cy="193436"/>
            </a:xfrm>
            <a:custGeom>
              <a:avLst/>
              <a:gdLst>
                <a:gd name="connsiteX0" fmla="*/ 9505 w 297603"/>
                <a:gd name="connsiteY0" fmla="*/ 10019 h 193436"/>
                <a:gd name="connsiteX1" fmla="*/ 317 w 297603"/>
                <a:gd name="connsiteY1" fmla="*/ 12893 h 193436"/>
                <a:gd name="connsiteX2" fmla="*/ 0 w 297603"/>
                <a:gd name="connsiteY2" fmla="*/ 12716 h 193436"/>
                <a:gd name="connsiteX3" fmla="*/ 276795 w 297603"/>
                <a:gd name="connsiteY3" fmla="*/ 187656 h 193436"/>
                <a:gd name="connsiteX4" fmla="*/ 286043 w 297603"/>
                <a:gd name="connsiteY4" fmla="*/ 193436 h 193436"/>
                <a:gd name="connsiteX5" fmla="*/ 287071 w 297603"/>
                <a:gd name="connsiteY5" fmla="*/ 188427 h 193436"/>
                <a:gd name="connsiteX6" fmla="*/ 295163 w 297603"/>
                <a:gd name="connsiteY6" fmla="*/ 182390 h 193436"/>
                <a:gd name="connsiteX7" fmla="*/ 297603 w 297603"/>
                <a:gd name="connsiteY7" fmla="*/ 183289 h 193436"/>
                <a:gd name="connsiteX8" fmla="*/ 297603 w 297603"/>
                <a:gd name="connsiteY8" fmla="*/ 183289 h 193436"/>
                <a:gd name="connsiteX9" fmla="*/ 11560 w 297603"/>
                <a:gd name="connsiteY9" fmla="*/ 2440 h 193436"/>
                <a:gd name="connsiteX10" fmla="*/ 7707 w 297603"/>
                <a:gd name="connsiteY10" fmla="*/ 0 h 193436"/>
                <a:gd name="connsiteX11" fmla="*/ 9505 w 297603"/>
                <a:gd name="connsiteY11" fmla="*/ 10019 h 19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7603" h="193436">
                  <a:moveTo>
                    <a:pt x="9505" y="10019"/>
                  </a:moveTo>
                  <a:cubicBezTo>
                    <a:pt x="7761" y="13350"/>
                    <a:pt x="3648" y="14636"/>
                    <a:pt x="317" y="12893"/>
                  </a:cubicBezTo>
                  <a:cubicBezTo>
                    <a:pt x="210" y="12837"/>
                    <a:pt x="104" y="12778"/>
                    <a:pt x="0" y="12716"/>
                  </a:cubicBezTo>
                  <a:lnTo>
                    <a:pt x="276795" y="187656"/>
                  </a:lnTo>
                  <a:lnTo>
                    <a:pt x="286043" y="193436"/>
                  </a:lnTo>
                  <a:lnTo>
                    <a:pt x="287071" y="188427"/>
                  </a:lnTo>
                  <a:cubicBezTo>
                    <a:pt x="287727" y="184579"/>
                    <a:pt x="291287" y="181924"/>
                    <a:pt x="295163" y="182390"/>
                  </a:cubicBezTo>
                  <a:cubicBezTo>
                    <a:pt x="296020" y="182554"/>
                    <a:pt x="296844" y="182858"/>
                    <a:pt x="297603" y="183289"/>
                  </a:cubicBezTo>
                  <a:lnTo>
                    <a:pt x="297603" y="183289"/>
                  </a:lnTo>
                  <a:lnTo>
                    <a:pt x="11560" y="2440"/>
                  </a:lnTo>
                  <a:lnTo>
                    <a:pt x="7707" y="0"/>
                  </a:lnTo>
                  <a:cubicBezTo>
                    <a:pt x="10850" y="2346"/>
                    <a:pt x="11636" y="6726"/>
                    <a:pt x="9505" y="10019"/>
                  </a:cubicBezTo>
                  <a:close/>
                </a:path>
              </a:pathLst>
            </a:custGeom>
            <a:solidFill>
              <a:srgbClr val="000000"/>
            </a:solidFill>
            <a:ln w="12844"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2F6D58D6-9BF4-496E-9B19-E07E70444160}"/>
                </a:ext>
              </a:extLst>
            </p:cNvPr>
            <p:cNvSpPr/>
            <p:nvPr/>
          </p:nvSpPr>
          <p:spPr>
            <a:xfrm>
              <a:off x="2887915" y="4290148"/>
              <a:ext cx="21" cy="899"/>
            </a:xfrm>
            <a:custGeom>
              <a:avLst/>
              <a:gdLst>
                <a:gd name="connsiteX0" fmla="*/ 0 w 21"/>
                <a:gd name="connsiteY0" fmla="*/ 899 h 899"/>
                <a:gd name="connsiteX1" fmla="*/ 0 w 21"/>
                <a:gd name="connsiteY1" fmla="*/ 899 h 899"/>
                <a:gd name="connsiteX2" fmla="*/ 0 w 21"/>
                <a:gd name="connsiteY2" fmla="*/ 0 h 899"/>
                <a:gd name="connsiteX3" fmla="*/ 0 w 21"/>
                <a:gd name="connsiteY3" fmla="*/ 899 h 899"/>
              </a:gdLst>
              <a:ahLst/>
              <a:cxnLst>
                <a:cxn ang="0">
                  <a:pos x="connsiteX0" y="connsiteY0"/>
                </a:cxn>
                <a:cxn ang="0">
                  <a:pos x="connsiteX1" y="connsiteY1"/>
                </a:cxn>
                <a:cxn ang="0">
                  <a:pos x="connsiteX2" y="connsiteY2"/>
                </a:cxn>
                <a:cxn ang="0">
                  <a:pos x="connsiteX3" y="connsiteY3"/>
                </a:cxn>
              </a:cxnLst>
              <a:rect l="l" t="t" r="r" b="b"/>
              <a:pathLst>
                <a:path w="21" h="899">
                  <a:moveTo>
                    <a:pt x="0" y="899"/>
                  </a:moveTo>
                  <a:lnTo>
                    <a:pt x="0" y="899"/>
                  </a:lnTo>
                  <a:lnTo>
                    <a:pt x="0" y="0"/>
                  </a:lnTo>
                  <a:cubicBezTo>
                    <a:pt x="29" y="299"/>
                    <a:pt x="29" y="600"/>
                    <a:pt x="0" y="899"/>
                  </a:cubicBezTo>
                  <a:close/>
                </a:path>
              </a:pathLst>
            </a:custGeom>
            <a:solidFill>
              <a:srgbClr val="000000"/>
            </a:solidFill>
            <a:ln w="12844"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8B57E037-1B14-4322-827C-CD4875BE33C4}"/>
                </a:ext>
              </a:extLst>
            </p:cNvPr>
            <p:cNvSpPr/>
            <p:nvPr/>
          </p:nvSpPr>
          <p:spPr>
            <a:xfrm>
              <a:off x="2887915" y="4292460"/>
              <a:ext cx="48" cy="1412"/>
            </a:xfrm>
            <a:custGeom>
              <a:avLst/>
              <a:gdLst>
                <a:gd name="connsiteX0" fmla="*/ 0 w 48"/>
                <a:gd name="connsiteY0" fmla="*/ 1413 h 1412"/>
                <a:gd name="connsiteX1" fmla="*/ 0 w 48"/>
                <a:gd name="connsiteY1" fmla="*/ 1413 h 1412"/>
                <a:gd name="connsiteX2" fmla="*/ 0 w 48"/>
                <a:gd name="connsiteY2" fmla="*/ 0 h 1412"/>
                <a:gd name="connsiteX3" fmla="*/ 0 w 48"/>
                <a:gd name="connsiteY3" fmla="*/ 1413 h 1412"/>
              </a:gdLst>
              <a:ahLst/>
              <a:cxnLst>
                <a:cxn ang="0">
                  <a:pos x="connsiteX0" y="connsiteY0"/>
                </a:cxn>
                <a:cxn ang="0">
                  <a:pos x="connsiteX1" y="connsiteY1"/>
                </a:cxn>
                <a:cxn ang="0">
                  <a:pos x="connsiteX2" y="connsiteY2"/>
                </a:cxn>
                <a:cxn ang="0">
                  <a:pos x="connsiteX3" y="connsiteY3"/>
                </a:cxn>
              </a:cxnLst>
              <a:rect l="l" t="t" r="r" b="b"/>
              <a:pathLst>
                <a:path w="48" h="1412">
                  <a:moveTo>
                    <a:pt x="0" y="1413"/>
                  </a:moveTo>
                  <a:lnTo>
                    <a:pt x="0" y="1413"/>
                  </a:lnTo>
                  <a:cubicBezTo>
                    <a:pt x="65" y="944"/>
                    <a:pt x="65" y="468"/>
                    <a:pt x="0" y="0"/>
                  </a:cubicBezTo>
                  <a:cubicBezTo>
                    <a:pt x="54" y="470"/>
                    <a:pt x="54" y="943"/>
                    <a:pt x="0" y="1413"/>
                  </a:cubicBezTo>
                  <a:close/>
                </a:path>
              </a:pathLst>
            </a:custGeom>
            <a:solidFill>
              <a:srgbClr val="000000"/>
            </a:solidFill>
            <a:ln w="12844"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9F7D22B0-F6EE-4FFB-AA9A-86A63D3F415F}"/>
                </a:ext>
              </a:extLst>
            </p:cNvPr>
            <p:cNvSpPr/>
            <p:nvPr/>
          </p:nvSpPr>
          <p:spPr>
            <a:xfrm>
              <a:off x="2886888" y="428847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82E5DBFE-E319-415B-8CE7-B3671AA46020}"/>
                </a:ext>
              </a:extLst>
            </p:cNvPr>
            <p:cNvSpPr/>
            <p:nvPr/>
          </p:nvSpPr>
          <p:spPr>
            <a:xfrm>
              <a:off x="2443245" y="4010269"/>
              <a:ext cx="154773" cy="106534"/>
            </a:xfrm>
            <a:custGeom>
              <a:avLst/>
              <a:gdLst>
                <a:gd name="connsiteX0" fmla="*/ 5009 w 154773"/>
                <a:gd name="connsiteY0" fmla="*/ 129 h 106534"/>
                <a:gd name="connsiteX1" fmla="*/ 7963 w 154773"/>
                <a:gd name="connsiteY1" fmla="*/ 4496 h 106534"/>
                <a:gd name="connsiteX2" fmla="*/ 2826 w 154773"/>
                <a:gd name="connsiteY2" fmla="*/ 13615 h 106534"/>
                <a:gd name="connsiteX3" fmla="*/ 0 w 154773"/>
                <a:gd name="connsiteY3" fmla="*/ 14514 h 106534"/>
                <a:gd name="connsiteX4" fmla="*/ 144113 w 154773"/>
                <a:gd name="connsiteY4" fmla="*/ 105581 h 106534"/>
                <a:gd name="connsiteX5" fmla="*/ 144113 w 154773"/>
                <a:gd name="connsiteY5" fmla="*/ 105581 h 106534"/>
                <a:gd name="connsiteX6" fmla="*/ 153442 w 154773"/>
                <a:gd name="connsiteY6" fmla="*/ 103200 h 106534"/>
                <a:gd name="connsiteX7" fmla="*/ 153618 w 154773"/>
                <a:gd name="connsiteY7" fmla="*/ 102884 h 106534"/>
                <a:gd name="connsiteX8" fmla="*/ 151692 w 154773"/>
                <a:gd name="connsiteY8" fmla="*/ 92865 h 106534"/>
                <a:gd name="connsiteX9" fmla="*/ 143343 w 154773"/>
                <a:gd name="connsiteY9" fmla="*/ 87599 h 106534"/>
                <a:gd name="connsiteX10" fmla="*/ 4881 w 154773"/>
                <a:gd name="connsiteY10" fmla="*/ 0 h 10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773" h="106534">
                  <a:moveTo>
                    <a:pt x="5009" y="129"/>
                  </a:moveTo>
                  <a:cubicBezTo>
                    <a:pt x="6541" y="1129"/>
                    <a:pt x="7605" y="2702"/>
                    <a:pt x="7963" y="4496"/>
                  </a:cubicBezTo>
                  <a:cubicBezTo>
                    <a:pt x="8830" y="8401"/>
                    <a:pt x="6615" y="12333"/>
                    <a:pt x="2826" y="13615"/>
                  </a:cubicBezTo>
                  <a:lnTo>
                    <a:pt x="0" y="14514"/>
                  </a:lnTo>
                  <a:lnTo>
                    <a:pt x="144113" y="105581"/>
                  </a:lnTo>
                  <a:lnTo>
                    <a:pt x="144113" y="105581"/>
                  </a:lnTo>
                  <a:cubicBezTo>
                    <a:pt x="147347" y="107499"/>
                    <a:pt x="151523" y="106433"/>
                    <a:pt x="153442" y="103200"/>
                  </a:cubicBezTo>
                  <a:cubicBezTo>
                    <a:pt x="153503" y="103096"/>
                    <a:pt x="153562" y="102991"/>
                    <a:pt x="153618" y="102884"/>
                  </a:cubicBezTo>
                  <a:cubicBezTo>
                    <a:pt x="155722" y="99559"/>
                    <a:pt x="154878" y="95172"/>
                    <a:pt x="151692" y="92865"/>
                  </a:cubicBezTo>
                  <a:lnTo>
                    <a:pt x="143343" y="87599"/>
                  </a:lnTo>
                  <a:lnTo>
                    <a:pt x="4881" y="0"/>
                  </a:lnTo>
                  <a:close/>
                </a:path>
              </a:pathLst>
            </a:custGeom>
            <a:solidFill>
              <a:srgbClr val="000000"/>
            </a:solidFill>
            <a:ln w="12844"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B39E1D52-7054-435C-B6E2-CA4ADBC02F7C}"/>
                </a:ext>
              </a:extLst>
            </p:cNvPr>
            <p:cNvSpPr/>
            <p:nvPr/>
          </p:nvSpPr>
          <p:spPr>
            <a:xfrm>
              <a:off x="2294251" y="4009755"/>
              <a:ext cx="157144" cy="61396"/>
            </a:xfrm>
            <a:custGeom>
              <a:avLst/>
              <a:gdLst>
                <a:gd name="connsiteX0" fmla="*/ 156958 w 157144"/>
                <a:gd name="connsiteY0" fmla="*/ 5009 h 61396"/>
                <a:gd name="connsiteX1" fmla="*/ 154003 w 157144"/>
                <a:gd name="connsiteY1" fmla="*/ 642 h 61396"/>
                <a:gd name="connsiteX2" fmla="*/ 152077 w 157144"/>
                <a:gd name="connsiteY2" fmla="*/ 0 h 61396"/>
                <a:gd name="connsiteX3" fmla="*/ 151435 w 157144"/>
                <a:gd name="connsiteY3" fmla="*/ 0 h 61396"/>
                <a:gd name="connsiteX4" fmla="*/ 148737 w 157144"/>
                <a:gd name="connsiteY4" fmla="*/ 0 h 61396"/>
                <a:gd name="connsiteX5" fmla="*/ 10404 w 157144"/>
                <a:gd name="connsiteY5" fmla="*/ 44056 h 61396"/>
                <a:gd name="connsiteX6" fmla="*/ 0 w 157144"/>
                <a:gd name="connsiteY6" fmla="*/ 47396 h 61396"/>
                <a:gd name="connsiteX7" fmla="*/ 8049 w 157144"/>
                <a:gd name="connsiteY7" fmla="*/ 51604 h 61396"/>
                <a:gd name="connsiteX8" fmla="*/ 8220 w 157144"/>
                <a:gd name="connsiteY8" fmla="*/ 52277 h 61396"/>
                <a:gd name="connsiteX9" fmla="*/ 3083 w 157144"/>
                <a:gd name="connsiteY9" fmla="*/ 61396 h 61396"/>
                <a:gd name="connsiteX10" fmla="*/ 148994 w 157144"/>
                <a:gd name="connsiteY10" fmla="*/ 15028 h 61396"/>
                <a:gd name="connsiteX11" fmla="*/ 151820 w 157144"/>
                <a:gd name="connsiteY11" fmla="*/ 14129 h 61396"/>
                <a:gd name="connsiteX12" fmla="*/ 156958 w 157144"/>
                <a:gd name="connsiteY12" fmla="*/ 5009 h 6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144" h="61396">
                  <a:moveTo>
                    <a:pt x="156958" y="5009"/>
                  </a:moveTo>
                  <a:cubicBezTo>
                    <a:pt x="156600" y="3216"/>
                    <a:pt x="155535" y="1642"/>
                    <a:pt x="154003" y="642"/>
                  </a:cubicBezTo>
                  <a:lnTo>
                    <a:pt x="152077" y="0"/>
                  </a:lnTo>
                  <a:lnTo>
                    <a:pt x="151435" y="0"/>
                  </a:lnTo>
                  <a:lnTo>
                    <a:pt x="148737" y="0"/>
                  </a:lnTo>
                  <a:lnTo>
                    <a:pt x="10404" y="44056"/>
                  </a:lnTo>
                  <a:lnTo>
                    <a:pt x="0" y="47396"/>
                  </a:lnTo>
                  <a:cubicBezTo>
                    <a:pt x="3385" y="46335"/>
                    <a:pt x="6988" y="48219"/>
                    <a:pt x="8049" y="51604"/>
                  </a:cubicBezTo>
                  <a:cubicBezTo>
                    <a:pt x="8118" y="51825"/>
                    <a:pt x="8175" y="52049"/>
                    <a:pt x="8220" y="52277"/>
                  </a:cubicBezTo>
                  <a:cubicBezTo>
                    <a:pt x="9087" y="56182"/>
                    <a:pt x="6872" y="60114"/>
                    <a:pt x="3083" y="61396"/>
                  </a:cubicBezTo>
                  <a:lnTo>
                    <a:pt x="148994" y="15028"/>
                  </a:lnTo>
                  <a:lnTo>
                    <a:pt x="151820" y="14129"/>
                  </a:lnTo>
                  <a:cubicBezTo>
                    <a:pt x="155610" y="12847"/>
                    <a:pt x="157825" y="8915"/>
                    <a:pt x="156958" y="5009"/>
                  </a:cubicBezTo>
                  <a:close/>
                </a:path>
              </a:pathLst>
            </a:custGeom>
            <a:solidFill>
              <a:srgbClr val="000000"/>
            </a:solidFill>
            <a:ln w="12844"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87FA84FB-1309-428F-824B-DDE0A705FFF1}"/>
                </a:ext>
              </a:extLst>
            </p:cNvPr>
            <p:cNvSpPr/>
            <p:nvPr/>
          </p:nvSpPr>
          <p:spPr>
            <a:xfrm>
              <a:off x="-1" y="876114"/>
              <a:ext cx="124204" cy="82075"/>
            </a:xfrm>
            <a:custGeom>
              <a:avLst/>
              <a:gdLst>
                <a:gd name="connsiteX0" fmla="*/ 117269 w 124204"/>
                <a:gd name="connsiteY0" fmla="*/ 82076 h 82075"/>
                <a:gd name="connsiteX1" fmla="*/ 117269 w 124204"/>
                <a:gd name="connsiteY1" fmla="*/ 82076 h 82075"/>
                <a:gd name="connsiteX2" fmla="*/ 114828 w 124204"/>
                <a:gd name="connsiteY2" fmla="*/ 72185 h 82075"/>
                <a:gd name="connsiteX3" fmla="*/ 124074 w 124204"/>
                <a:gd name="connsiteY3" fmla="*/ 68911 h 82075"/>
                <a:gd name="connsiteX4" fmla="*/ 124205 w 124204"/>
                <a:gd name="connsiteY4" fmla="*/ 68974 h 82075"/>
                <a:gd name="connsiteX5" fmla="*/ 115599 w 124204"/>
                <a:gd name="connsiteY5" fmla="*/ 64222 h 82075"/>
                <a:gd name="connsiteX6" fmla="*/ 0 w 124204"/>
                <a:gd name="connsiteY6" fmla="*/ 0 h 82075"/>
                <a:gd name="connsiteX7" fmla="*/ 0 w 124204"/>
                <a:gd name="connsiteY7" fmla="*/ 16826 h 82075"/>
                <a:gd name="connsiteX8" fmla="*/ 117140 w 124204"/>
                <a:gd name="connsiteY8" fmla="*/ 82076 h 8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04" h="82075">
                  <a:moveTo>
                    <a:pt x="117269" y="82076"/>
                  </a:moveTo>
                  <a:lnTo>
                    <a:pt x="117269" y="82076"/>
                  </a:lnTo>
                  <a:cubicBezTo>
                    <a:pt x="113976" y="79937"/>
                    <a:pt x="112909" y="75610"/>
                    <a:pt x="114828" y="72185"/>
                  </a:cubicBezTo>
                  <a:cubicBezTo>
                    <a:pt x="116477" y="68728"/>
                    <a:pt x="120617" y="67262"/>
                    <a:pt x="124074" y="68911"/>
                  </a:cubicBezTo>
                  <a:cubicBezTo>
                    <a:pt x="124118" y="68931"/>
                    <a:pt x="124161" y="68953"/>
                    <a:pt x="124205" y="68974"/>
                  </a:cubicBezTo>
                  <a:lnTo>
                    <a:pt x="115599" y="64222"/>
                  </a:lnTo>
                  <a:lnTo>
                    <a:pt x="0" y="0"/>
                  </a:lnTo>
                  <a:lnTo>
                    <a:pt x="0" y="16826"/>
                  </a:lnTo>
                  <a:lnTo>
                    <a:pt x="117140" y="82076"/>
                  </a:lnTo>
                  <a:close/>
                </a:path>
              </a:pathLst>
            </a:custGeom>
            <a:solidFill>
              <a:srgbClr val="000000"/>
            </a:solidFill>
            <a:ln w="12844"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E7218A0B-A9E9-4017-B4E8-3B3C047B8956}"/>
                </a:ext>
              </a:extLst>
            </p:cNvPr>
            <p:cNvSpPr/>
            <p:nvPr/>
          </p:nvSpPr>
          <p:spPr>
            <a:xfrm>
              <a:off x="346795" y="1069165"/>
              <a:ext cx="1962" cy="3082"/>
            </a:xfrm>
            <a:custGeom>
              <a:avLst/>
              <a:gdLst>
                <a:gd name="connsiteX0" fmla="*/ 1927 w 1962"/>
                <a:gd name="connsiteY0" fmla="*/ 3083 h 3082"/>
                <a:gd name="connsiteX1" fmla="*/ 1927 w 1962"/>
                <a:gd name="connsiteY1" fmla="*/ 2055 h 3082"/>
                <a:gd name="connsiteX2" fmla="*/ 1927 w 1962"/>
                <a:gd name="connsiteY2" fmla="*/ 899 h 3082"/>
                <a:gd name="connsiteX3" fmla="*/ 0 w 1962"/>
                <a:gd name="connsiteY3" fmla="*/ 0 h 3082"/>
                <a:gd name="connsiteX4" fmla="*/ 0 w 1962"/>
                <a:gd name="connsiteY4" fmla="*/ 0 h 3082"/>
                <a:gd name="connsiteX5" fmla="*/ 1927 w 1962"/>
                <a:gd name="connsiteY5" fmla="*/ 3083 h 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2" h="3082">
                  <a:moveTo>
                    <a:pt x="1927" y="3083"/>
                  </a:moveTo>
                  <a:cubicBezTo>
                    <a:pt x="1927" y="3083"/>
                    <a:pt x="1927" y="3083"/>
                    <a:pt x="1927" y="2055"/>
                  </a:cubicBezTo>
                  <a:cubicBezTo>
                    <a:pt x="1975" y="1671"/>
                    <a:pt x="1975" y="1283"/>
                    <a:pt x="1927" y="899"/>
                  </a:cubicBezTo>
                  <a:lnTo>
                    <a:pt x="0" y="0"/>
                  </a:lnTo>
                  <a:lnTo>
                    <a:pt x="0" y="0"/>
                  </a:lnTo>
                  <a:cubicBezTo>
                    <a:pt x="845" y="886"/>
                    <a:pt x="1501" y="1935"/>
                    <a:pt x="1927" y="3083"/>
                  </a:cubicBezTo>
                  <a:close/>
                </a:path>
              </a:pathLst>
            </a:custGeom>
            <a:solidFill>
              <a:srgbClr val="000000"/>
            </a:solidFill>
            <a:ln w="12844"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817C91B7-665F-4716-921E-EA7E558C2789}"/>
                </a:ext>
              </a:extLst>
            </p:cNvPr>
            <p:cNvSpPr/>
            <p:nvPr/>
          </p:nvSpPr>
          <p:spPr>
            <a:xfrm>
              <a:off x="348722" y="1072376"/>
              <a:ext cx="101" cy="2697"/>
            </a:xfrm>
            <a:custGeom>
              <a:avLst/>
              <a:gdLst>
                <a:gd name="connsiteX0" fmla="*/ 0 w 101"/>
                <a:gd name="connsiteY0" fmla="*/ 1541 h 2697"/>
                <a:gd name="connsiteX1" fmla="*/ 0 w 101"/>
                <a:gd name="connsiteY1" fmla="*/ 0 h 2697"/>
                <a:gd name="connsiteX2" fmla="*/ 0 w 101"/>
                <a:gd name="connsiteY2" fmla="*/ 2697 h 2697"/>
                <a:gd name="connsiteX3" fmla="*/ 0 w 101"/>
                <a:gd name="connsiteY3" fmla="*/ 1541 h 2697"/>
              </a:gdLst>
              <a:ahLst/>
              <a:cxnLst>
                <a:cxn ang="0">
                  <a:pos x="connsiteX0" y="connsiteY0"/>
                </a:cxn>
                <a:cxn ang="0">
                  <a:pos x="connsiteX1" y="connsiteY1"/>
                </a:cxn>
                <a:cxn ang="0">
                  <a:pos x="connsiteX2" y="connsiteY2"/>
                </a:cxn>
                <a:cxn ang="0">
                  <a:pos x="connsiteX3" y="connsiteY3"/>
                </a:cxn>
              </a:cxnLst>
              <a:rect l="l" t="t" r="r" b="b"/>
              <a:pathLst>
                <a:path w="101" h="2697">
                  <a:moveTo>
                    <a:pt x="0" y="1541"/>
                  </a:moveTo>
                  <a:lnTo>
                    <a:pt x="0" y="0"/>
                  </a:lnTo>
                  <a:cubicBezTo>
                    <a:pt x="136" y="894"/>
                    <a:pt x="136" y="1803"/>
                    <a:pt x="0" y="2697"/>
                  </a:cubicBezTo>
                  <a:cubicBezTo>
                    <a:pt x="62" y="2315"/>
                    <a:pt x="62" y="1924"/>
                    <a:pt x="0" y="1541"/>
                  </a:cubicBezTo>
                  <a:close/>
                </a:path>
              </a:pathLst>
            </a:custGeom>
            <a:solidFill>
              <a:srgbClr val="000000"/>
            </a:solidFill>
            <a:ln w="12844"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704B3169-C3A9-4E85-8FD3-4E964E329FF6}"/>
                </a:ext>
              </a:extLst>
            </p:cNvPr>
            <p:cNvSpPr/>
            <p:nvPr/>
          </p:nvSpPr>
          <p:spPr>
            <a:xfrm>
              <a:off x="114131" y="944476"/>
              <a:ext cx="231379" cy="134322"/>
            </a:xfrm>
            <a:custGeom>
              <a:avLst/>
              <a:gdLst>
                <a:gd name="connsiteX0" fmla="*/ 228939 w 231379"/>
                <a:gd name="connsiteY0" fmla="*/ 122762 h 134322"/>
                <a:gd name="connsiteX1" fmla="*/ 231379 w 231379"/>
                <a:gd name="connsiteY1" fmla="*/ 123533 h 134322"/>
                <a:gd name="connsiteX2" fmla="*/ 231379 w 231379"/>
                <a:gd name="connsiteY2" fmla="*/ 123533 h 134322"/>
                <a:gd name="connsiteX3" fmla="*/ 14310 w 231379"/>
                <a:gd name="connsiteY3" fmla="*/ 2924 h 134322"/>
                <a:gd name="connsiteX4" fmla="*/ 10329 w 231379"/>
                <a:gd name="connsiteY4" fmla="*/ 741 h 134322"/>
                <a:gd name="connsiteX5" fmla="*/ 1016 w 231379"/>
                <a:gd name="connsiteY5" fmla="*/ 3822 h 134322"/>
                <a:gd name="connsiteX6" fmla="*/ 952 w 231379"/>
                <a:gd name="connsiteY6" fmla="*/ 3952 h 134322"/>
                <a:gd name="connsiteX7" fmla="*/ 3393 w 231379"/>
                <a:gd name="connsiteY7" fmla="*/ 13842 h 134322"/>
                <a:gd name="connsiteX8" fmla="*/ 206975 w 231379"/>
                <a:gd name="connsiteY8" fmla="*/ 126873 h 134322"/>
                <a:gd name="connsiteX9" fmla="*/ 220462 w 231379"/>
                <a:gd name="connsiteY9" fmla="*/ 134322 h 134322"/>
                <a:gd name="connsiteX10" fmla="*/ 221104 w 231379"/>
                <a:gd name="connsiteY10" fmla="*/ 129313 h 134322"/>
                <a:gd name="connsiteX11" fmla="*/ 228939 w 231379"/>
                <a:gd name="connsiteY11" fmla="*/ 122762 h 13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79" h="134322">
                  <a:moveTo>
                    <a:pt x="228939" y="122762"/>
                  </a:moveTo>
                  <a:cubicBezTo>
                    <a:pt x="229812" y="122762"/>
                    <a:pt x="230665" y="123031"/>
                    <a:pt x="231379" y="123533"/>
                  </a:cubicBezTo>
                  <a:lnTo>
                    <a:pt x="231379" y="123533"/>
                  </a:lnTo>
                  <a:lnTo>
                    <a:pt x="14310" y="2924"/>
                  </a:lnTo>
                  <a:lnTo>
                    <a:pt x="10329" y="741"/>
                  </a:lnTo>
                  <a:cubicBezTo>
                    <a:pt x="6906" y="-980"/>
                    <a:pt x="2737" y="399"/>
                    <a:pt x="1016" y="3822"/>
                  </a:cubicBezTo>
                  <a:cubicBezTo>
                    <a:pt x="994" y="3865"/>
                    <a:pt x="973" y="3908"/>
                    <a:pt x="952" y="3952"/>
                  </a:cubicBezTo>
                  <a:cubicBezTo>
                    <a:pt x="-968" y="7377"/>
                    <a:pt x="100" y="11703"/>
                    <a:pt x="3393" y="13842"/>
                  </a:cubicBezTo>
                  <a:lnTo>
                    <a:pt x="206975" y="126873"/>
                  </a:lnTo>
                  <a:lnTo>
                    <a:pt x="220462" y="134322"/>
                  </a:lnTo>
                  <a:lnTo>
                    <a:pt x="221104" y="129313"/>
                  </a:lnTo>
                  <a:cubicBezTo>
                    <a:pt x="221631" y="125433"/>
                    <a:pt x="225027" y="122594"/>
                    <a:pt x="228939" y="122762"/>
                  </a:cubicBezTo>
                  <a:close/>
                </a:path>
              </a:pathLst>
            </a:custGeom>
            <a:solidFill>
              <a:srgbClr val="000000"/>
            </a:solidFill>
            <a:ln w="12844"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53178798-8687-4DF5-9CA7-3C1653BCA221}"/>
                </a:ext>
              </a:extLst>
            </p:cNvPr>
            <p:cNvSpPr/>
            <p:nvPr/>
          </p:nvSpPr>
          <p:spPr>
            <a:xfrm>
              <a:off x="242404" y="1697769"/>
              <a:ext cx="20389" cy="57041"/>
            </a:xfrm>
            <a:custGeom>
              <a:avLst/>
              <a:gdLst>
                <a:gd name="connsiteX0" fmla="*/ 12554 w 20389"/>
                <a:gd name="connsiteY0" fmla="*/ 7963 h 57041"/>
                <a:gd name="connsiteX1" fmla="*/ 6727 w 20389"/>
                <a:gd name="connsiteY1" fmla="*/ 300 h 57041"/>
                <a:gd name="connsiteX2" fmla="*/ 6774 w 20389"/>
                <a:gd name="connsiteY2" fmla="*/ 0 h 57041"/>
                <a:gd name="connsiteX3" fmla="*/ 95 w 20389"/>
                <a:gd name="connsiteY3" fmla="*/ 49065 h 57041"/>
                <a:gd name="connsiteX4" fmla="*/ 95 w 20389"/>
                <a:gd name="connsiteY4" fmla="*/ 51249 h 57041"/>
                <a:gd name="connsiteX5" fmla="*/ 5747 w 20389"/>
                <a:gd name="connsiteY5" fmla="*/ 57029 h 57041"/>
                <a:gd name="connsiteX6" fmla="*/ 13582 w 20389"/>
                <a:gd name="connsiteY6" fmla="*/ 50350 h 57041"/>
                <a:gd name="connsiteX7" fmla="*/ 18848 w 20389"/>
                <a:gd name="connsiteY7" fmla="*/ 11817 h 57041"/>
                <a:gd name="connsiteX8" fmla="*/ 20389 w 20389"/>
                <a:gd name="connsiteY8" fmla="*/ 771 h 57041"/>
                <a:gd name="connsiteX9" fmla="*/ 12554 w 20389"/>
                <a:gd name="connsiteY9" fmla="*/ 7963 h 5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89" h="57041">
                  <a:moveTo>
                    <a:pt x="12554" y="7963"/>
                  </a:moveTo>
                  <a:cubicBezTo>
                    <a:pt x="8829" y="7457"/>
                    <a:pt x="6220" y="4026"/>
                    <a:pt x="6727" y="300"/>
                  </a:cubicBezTo>
                  <a:cubicBezTo>
                    <a:pt x="6740" y="200"/>
                    <a:pt x="6756" y="100"/>
                    <a:pt x="6774" y="0"/>
                  </a:cubicBezTo>
                  <a:lnTo>
                    <a:pt x="95" y="49065"/>
                  </a:lnTo>
                  <a:cubicBezTo>
                    <a:pt x="-32" y="49788"/>
                    <a:pt x="-32" y="50527"/>
                    <a:pt x="95" y="51249"/>
                  </a:cubicBezTo>
                  <a:cubicBezTo>
                    <a:pt x="467" y="54226"/>
                    <a:pt x="2779" y="56590"/>
                    <a:pt x="5747" y="57029"/>
                  </a:cubicBezTo>
                  <a:cubicBezTo>
                    <a:pt x="9724" y="57256"/>
                    <a:pt x="13176" y="54313"/>
                    <a:pt x="13582" y="50350"/>
                  </a:cubicBezTo>
                  <a:lnTo>
                    <a:pt x="18848" y="11817"/>
                  </a:lnTo>
                  <a:lnTo>
                    <a:pt x="20389" y="771"/>
                  </a:lnTo>
                  <a:cubicBezTo>
                    <a:pt x="20181" y="4906"/>
                    <a:pt x="16693" y="8109"/>
                    <a:pt x="12554" y="7963"/>
                  </a:cubicBezTo>
                  <a:close/>
                </a:path>
              </a:pathLst>
            </a:custGeom>
            <a:solidFill>
              <a:srgbClr val="000000"/>
            </a:solidFill>
            <a:ln w="12844"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D8DFAE7B-00E7-43F3-9191-E52529177E74}"/>
                </a:ext>
              </a:extLst>
            </p:cNvPr>
            <p:cNvSpPr/>
            <p:nvPr/>
          </p:nvSpPr>
          <p:spPr>
            <a:xfrm>
              <a:off x="249627" y="1067617"/>
              <a:ext cx="99324" cy="638121"/>
            </a:xfrm>
            <a:custGeom>
              <a:avLst/>
              <a:gdLst>
                <a:gd name="connsiteX0" fmla="*/ 5331 w 99324"/>
                <a:gd name="connsiteY0" fmla="*/ 638115 h 638121"/>
                <a:gd name="connsiteX1" fmla="*/ 13166 w 99324"/>
                <a:gd name="connsiteY1" fmla="*/ 631436 h 638121"/>
                <a:gd name="connsiteX2" fmla="*/ 13808 w 99324"/>
                <a:gd name="connsiteY2" fmla="*/ 626555 h 638121"/>
                <a:gd name="connsiteX3" fmla="*/ 99223 w 99324"/>
                <a:gd name="connsiteY3" fmla="*/ 7457 h 638121"/>
                <a:gd name="connsiteX4" fmla="*/ 99223 w 99324"/>
                <a:gd name="connsiteY4" fmla="*/ 7457 h 638121"/>
                <a:gd name="connsiteX5" fmla="*/ 99223 w 99324"/>
                <a:gd name="connsiteY5" fmla="*/ 4759 h 638121"/>
                <a:gd name="connsiteX6" fmla="*/ 99223 w 99324"/>
                <a:gd name="connsiteY6" fmla="*/ 4759 h 638121"/>
                <a:gd name="connsiteX7" fmla="*/ 97296 w 99324"/>
                <a:gd name="connsiteY7" fmla="*/ 1548 h 638121"/>
                <a:gd name="connsiteX8" fmla="*/ 96397 w 99324"/>
                <a:gd name="connsiteY8" fmla="*/ 778 h 638121"/>
                <a:gd name="connsiteX9" fmla="*/ 96397 w 99324"/>
                <a:gd name="connsiteY9" fmla="*/ 778 h 638121"/>
                <a:gd name="connsiteX10" fmla="*/ 93957 w 99324"/>
                <a:gd name="connsiteY10" fmla="*/ 7 h 638121"/>
                <a:gd name="connsiteX11" fmla="*/ 86122 w 99324"/>
                <a:gd name="connsiteY11" fmla="*/ 6558 h 638121"/>
                <a:gd name="connsiteX12" fmla="*/ 85480 w 99324"/>
                <a:gd name="connsiteY12" fmla="*/ 11567 h 638121"/>
                <a:gd name="connsiteX13" fmla="*/ 84837 w 99324"/>
                <a:gd name="connsiteY13" fmla="*/ 16319 h 638121"/>
                <a:gd name="connsiteX14" fmla="*/ 65 w 99324"/>
                <a:gd name="connsiteY14" fmla="*/ 630537 h 638121"/>
                <a:gd name="connsiteX15" fmla="*/ 5331 w 99324"/>
                <a:gd name="connsiteY15" fmla="*/ 638115 h 6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324" h="638121">
                  <a:moveTo>
                    <a:pt x="5331" y="638115"/>
                  </a:moveTo>
                  <a:cubicBezTo>
                    <a:pt x="9286" y="638277"/>
                    <a:pt x="12700" y="635368"/>
                    <a:pt x="13166" y="631436"/>
                  </a:cubicBezTo>
                  <a:lnTo>
                    <a:pt x="13808" y="626555"/>
                  </a:lnTo>
                  <a:lnTo>
                    <a:pt x="99223" y="7457"/>
                  </a:lnTo>
                  <a:lnTo>
                    <a:pt x="99223" y="7457"/>
                  </a:lnTo>
                  <a:cubicBezTo>
                    <a:pt x="99359" y="6563"/>
                    <a:pt x="99359" y="5653"/>
                    <a:pt x="99223" y="4759"/>
                  </a:cubicBezTo>
                  <a:lnTo>
                    <a:pt x="99223" y="4759"/>
                  </a:lnTo>
                  <a:cubicBezTo>
                    <a:pt x="98813" y="3566"/>
                    <a:pt x="98157" y="2472"/>
                    <a:pt x="97296" y="1548"/>
                  </a:cubicBezTo>
                  <a:lnTo>
                    <a:pt x="96397" y="778"/>
                  </a:lnTo>
                  <a:lnTo>
                    <a:pt x="96397" y="778"/>
                  </a:lnTo>
                  <a:cubicBezTo>
                    <a:pt x="95683" y="276"/>
                    <a:pt x="94830" y="6"/>
                    <a:pt x="93957" y="7"/>
                  </a:cubicBezTo>
                  <a:cubicBezTo>
                    <a:pt x="90045" y="-161"/>
                    <a:pt x="86649" y="2678"/>
                    <a:pt x="86122" y="6558"/>
                  </a:cubicBezTo>
                  <a:lnTo>
                    <a:pt x="85480" y="11567"/>
                  </a:lnTo>
                  <a:lnTo>
                    <a:pt x="84837" y="16319"/>
                  </a:lnTo>
                  <a:lnTo>
                    <a:pt x="65" y="630537"/>
                  </a:lnTo>
                  <a:cubicBezTo>
                    <a:pt x="-421" y="634049"/>
                    <a:pt x="1870" y="637346"/>
                    <a:pt x="5331" y="638115"/>
                  </a:cubicBezTo>
                  <a:close/>
                </a:path>
              </a:pathLst>
            </a:custGeom>
            <a:solidFill>
              <a:srgbClr val="000000"/>
            </a:solidFill>
            <a:ln w="12844"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98773EF1-8E9D-4145-9D21-56119B28E1D1}"/>
                </a:ext>
              </a:extLst>
            </p:cNvPr>
            <p:cNvSpPr/>
            <p:nvPr/>
          </p:nvSpPr>
          <p:spPr>
            <a:xfrm>
              <a:off x="130882" y="5035635"/>
              <a:ext cx="725061" cy="257273"/>
            </a:xfrm>
            <a:custGeom>
              <a:avLst/>
              <a:gdLst>
                <a:gd name="connsiteX0" fmla="*/ 725062 w 725061"/>
                <a:gd name="connsiteY0" fmla="*/ 0 h 257273"/>
                <a:gd name="connsiteX1" fmla="*/ 3211 w 725061"/>
                <a:gd name="connsiteY1" fmla="*/ 242116 h 257273"/>
                <a:gd name="connsiteX2" fmla="*/ 0 w 725061"/>
                <a:gd name="connsiteY2" fmla="*/ 243272 h 257273"/>
                <a:gd name="connsiteX3" fmla="*/ 8073 w 725061"/>
                <a:gd name="connsiteY3" fmla="*/ 247021 h 257273"/>
                <a:gd name="connsiteX4" fmla="*/ 8349 w 725061"/>
                <a:gd name="connsiteY4" fmla="*/ 248025 h 257273"/>
                <a:gd name="connsiteX5" fmla="*/ 3468 w 725061"/>
                <a:gd name="connsiteY5" fmla="*/ 257273 h 257273"/>
                <a:gd name="connsiteX6" fmla="*/ 722750 w 725061"/>
                <a:gd name="connsiteY6" fmla="*/ 15927 h 257273"/>
                <a:gd name="connsiteX7" fmla="*/ 724548 w 725061"/>
                <a:gd name="connsiteY7" fmla="*/ 4624 h 25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061" h="257273">
                  <a:moveTo>
                    <a:pt x="725062" y="0"/>
                  </a:moveTo>
                  <a:lnTo>
                    <a:pt x="3211" y="242116"/>
                  </a:lnTo>
                  <a:lnTo>
                    <a:pt x="0" y="243272"/>
                  </a:lnTo>
                  <a:cubicBezTo>
                    <a:pt x="3264" y="242078"/>
                    <a:pt x="6879" y="243756"/>
                    <a:pt x="8073" y="247021"/>
                  </a:cubicBezTo>
                  <a:cubicBezTo>
                    <a:pt x="8193" y="247347"/>
                    <a:pt x="8285" y="247683"/>
                    <a:pt x="8349" y="248025"/>
                  </a:cubicBezTo>
                  <a:cubicBezTo>
                    <a:pt x="9257" y="251894"/>
                    <a:pt x="7174" y="255840"/>
                    <a:pt x="3468" y="257273"/>
                  </a:cubicBezTo>
                  <a:lnTo>
                    <a:pt x="722750" y="15927"/>
                  </a:lnTo>
                  <a:lnTo>
                    <a:pt x="724548" y="4624"/>
                  </a:lnTo>
                  <a:close/>
                </a:path>
              </a:pathLst>
            </a:custGeom>
            <a:solidFill>
              <a:srgbClr val="000000"/>
            </a:solidFill>
            <a:ln w="12844"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808402B0-0544-48F2-8DFF-9817F0D21EE1}"/>
                </a:ext>
              </a:extLst>
            </p:cNvPr>
            <p:cNvSpPr/>
            <p:nvPr/>
          </p:nvSpPr>
          <p:spPr>
            <a:xfrm>
              <a:off x="4418445" y="6190215"/>
              <a:ext cx="205509" cy="745744"/>
            </a:xfrm>
            <a:custGeom>
              <a:avLst/>
              <a:gdLst>
                <a:gd name="connsiteX0" fmla="*/ 205509 w 205509"/>
                <a:gd name="connsiteY0" fmla="*/ 3083 h 745744"/>
                <a:gd name="connsiteX1" fmla="*/ 197032 w 205509"/>
                <a:gd name="connsiteY1" fmla="*/ 8606 h 745744"/>
                <a:gd name="connsiteX2" fmla="*/ 192199 w 205509"/>
                <a:gd name="connsiteY2" fmla="*/ 279 h 745744"/>
                <a:gd name="connsiteX3" fmla="*/ 192279 w 205509"/>
                <a:gd name="connsiteY3" fmla="*/ 0 h 745744"/>
                <a:gd name="connsiteX4" fmla="*/ 0 w 205509"/>
                <a:gd name="connsiteY4" fmla="*/ 745745 h 745744"/>
                <a:gd name="connsiteX5" fmla="*/ 14000 w 205509"/>
                <a:gd name="connsiteY5" fmla="*/ 745745 h 745744"/>
                <a:gd name="connsiteX6" fmla="*/ 203454 w 205509"/>
                <a:gd name="connsiteY6" fmla="*/ 13615 h 74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509" h="745744">
                  <a:moveTo>
                    <a:pt x="205509" y="3083"/>
                  </a:moveTo>
                  <a:cubicBezTo>
                    <a:pt x="204675" y="6936"/>
                    <a:pt x="200894" y="9399"/>
                    <a:pt x="197032" y="8606"/>
                  </a:cubicBezTo>
                  <a:cubicBezTo>
                    <a:pt x="193398" y="7641"/>
                    <a:pt x="191234" y="3914"/>
                    <a:pt x="192199" y="279"/>
                  </a:cubicBezTo>
                  <a:cubicBezTo>
                    <a:pt x="192223" y="186"/>
                    <a:pt x="192250" y="93"/>
                    <a:pt x="192279" y="0"/>
                  </a:cubicBezTo>
                  <a:lnTo>
                    <a:pt x="0" y="745745"/>
                  </a:lnTo>
                  <a:lnTo>
                    <a:pt x="14000" y="745745"/>
                  </a:lnTo>
                  <a:lnTo>
                    <a:pt x="203454" y="13615"/>
                  </a:lnTo>
                  <a:close/>
                </a:path>
              </a:pathLst>
            </a:custGeom>
            <a:solidFill>
              <a:srgbClr val="000000"/>
            </a:solidFill>
            <a:ln w="12844"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8DD3D143-BC79-4A8F-8390-B917B9C06E0D}"/>
                </a:ext>
              </a:extLst>
            </p:cNvPr>
            <p:cNvSpPr/>
            <p:nvPr/>
          </p:nvSpPr>
          <p:spPr>
            <a:xfrm>
              <a:off x="4610568" y="6086670"/>
              <a:ext cx="39516" cy="112299"/>
            </a:xfrm>
            <a:custGeom>
              <a:avLst/>
              <a:gdLst>
                <a:gd name="connsiteX0" fmla="*/ 5422 w 39516"/>
                <a:gd name="connsiteY0" fmla="*/ 112151 h 112299"/>
                <a:gd name="connsiteX1" fmla="*/ 13899 w 39516"/>
                <a:gd name="connsiteY1" fmla="*/ 106628 h 112299"/>
                <a:gd name="connsiteX2" fmla="*/ 15184 w 39516"/>
                <a:gd name="connsiteY2" fmla="*/ 101490 h 112299"/>
                <a:gd name="connsiteX3" fmla="*/ 36634 w 39516"/>
                <a:gd name="connsiteY3" fmla="*/ 18773 h 112299"/>
                <a:gd name="connsiteX4" fmla="*/ 39203 w 39516"/>
                <a:gd name="connsiteY4" fmla="*/ 8883 h 112299"/>
                <a:gd name="connsiteX5" fmla="*/ 34634 w 39516"/>
                <a:gd name="connsiteY5" fmla="*/ 203 h 112299"/>
                <a:gd name="connsiteX6" fmla="*/ 34450 w 39516"/>
                <a:gd name="connsiteY6" fmla="*/ 149 h 112299"/>
                <a:gd name="connsiteX7" fmla="*/ 25973 w 39516"/>
                <a:gd name="connsiteY7" fmla="*/ 5672 h 112299"/>
                <a:gd name="connsiteX8" fmla="*/ 284 w 39516"/>
                <a:gd name="connsiteY8" fmla="*/ 103546 h 112299"/>
                <a:gd name="connsiteX9" fmla="*/ 4868 w 39516"/>
                <a:gd name="connsiteY9" fmla="*/ 112012 h 112299"/>
                <a:gd name="connsiteX10" fmla="*/ 5422 w 39516"/>
                <a:gd name="connsiteY10" fmla="*/ 112151 h 11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16" h="112299">
                  <a:moveTo>
                    <a:pt x="5422" y="112151"/>
                  </a:moveTo>
                  <a:cubicBezTo>
                    <a:pt x="9284" y="112944"/>
                    <a:pt x="13065" y="110481"/>
                    <a:pt x="13899" y="106628"/>
                  </a:cubicBezTo>
                  <a:lnTo>
                    <a:pt x="15184" y="101490"/>
                  </a:lnTo>
                  <a:lnTo>
                    <a:pt x="36634" y="18773"/>
                  </a:lnTo>
                  <a:lnTo>
                    <a:pt x="39203" y="8883"/>
                  </a:lnTo>
                  <a:cubicBezTo>
                    <a:pt x="40338" y="5224"/>
                    <a:pt x="38292" y="1338"/>
                    <a:pt x="34634" y="203"/>
                  </a:cubicBezTo>
                  <a:cubicBezTo>
                    <a:pt x="34573" y="184"/>
                    <a:pt x="34511" y="166"/>
                    <a:pt x="34450" y="149"/>
                  </a:cubicBezTo>
                  <a:cubicBezTo>
                    <a:pt x="30588" y="-645"/>
                    <a:pt x="26807" y="1818"/>
                    <a:pt x="25973" y="5672"/>
                  </a:cubicBezTo>
                  <a:lnTo>
                    <a:pt x="284" y="103546"/>
                  </a:lnTo>
                  <a:cubicBezTo>
                    <a:pt x="-788" y="107149"/>
                    <a:pt x="1265" y="110939"/>
                    <a:pt x="4868" y="112012"/>
                  </a:cubicBezTo>
                  <a:cubicBezTo>
                    <a:pt x="5051" y="112066"/>
                    <a:pt x="5235" y="112113"/>
                    <a:pt x="5422" y="112151"/>
                  </a:cubicBezTo>
                  <a:close/>
                </a:path>
              </a:pathLst>
            </a:custGeom>
            <a:solidFill>
              <a:srgbClr val="000000"/>
            </a:solidFill>
            <a:ln w="12844"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ED6B1246-B730-4CF4-9353-CD108C41D7BD}"/>
                </a:ext>
              </a:extLst>
            </p:cNvPr>
            <p:cNvSpPr/>
            <p:nvPr/>
          </p:nvSpPr>
          <p:spPr>
            <a:xfrm>
              <a:off x="-1" y="4679332"/>
              <a:ext cx="131654" cy="55616"/>
            </a:xfrm>
            <a:custGeom>
              <a:avLst/>
              <a:gdLst>
                <a:gd name="connsiteX0" fmla="*/ 131654 w 131654"/>
                <a:gd name="connsiteY0" fmla="*/ 14000 h 55616"/>
                <a:gd name="connsiteX1" fmla="*/ 123605 w 131654"/>
                <a:gd name="connsiteY1" fmla="*/ 9792 h 55616"/>
                <a:gd name="connsiteX2" fmla="*/ 123434 w 131654"/>
                <a:gd name="connsiteY2" fmla="*/ 9119 h 55616"/>
                <a:gd name="connsiteX3" fmla="*/ 128572 w 131654"/>
                <a:gd name="connsiteY3" fmla="*/ 0 h 55616"/>
                <a:gd name="connsiteX4" fmla="*/ 128572 w 131654"/>
                <a:gd name="connsiteY4" fmla="*/ 0 h 55616"/>
                <a:gd name="connsiteX5" fmla="*/ 0 w 131654"/>
                <a:gd name="connsiteY5" fmla="*/ 40588 h 55616"/>
                <a:gd name="connsiteX6" fmla="*/ 0 w 131654"/>
                <a:gd name="connsiteY6" fmla="*/ 55616 h 55616"/>
                <a:gd name="connsiteX7" fmla="*/ 121764 w 131654"/>
                <a:gd name="connsiteY7" fmla="*/ 17083 h 5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654" h="55616">
                  <a:moveTo>
                    <a:pt x="131654" y="14000"/>
                  </a:moveTo>
                  <a:cubicBezTo>
                    <a:pt x="128270" y="15061"/>
                    <a:pt x="124666" y="13177"/>
                    <a:pt x="123605" y="9792"/>
                  </a:cubicBezTo>
                  <a:cubicBezTo>
                    <a:pt x="123536" y="9571"/>
                    <a:pt x="123479" y="9347"/>
                    <a:pt x="123434" y="9119"/>
                  </a:cubicBezTo>
                  <a:cubicBezTo>
                    <a:pt x="122628" y="5223"/>
                    <a:pt x="124821" y="1329"/>
                    <a:pt x="128572" y="0"/>
                  </a:cubicBezTo>
                  <a:lnTo>
                    <a:pt x="128572" y="0"/>
                  </a:lnTo>
                  <a:lnTo>
                    <a:pt x="0" y="40588"/>
                  </a:lnTo>
                  <a:lnTo>
                    <a:pt x="0" y="55616"/>
                  </a:lnTo>
                  <a:lnTo>
                    <a:pt x="121764" y="17083"/>
                  </a:lnTo>
                  <a:close/>
                </a:path>
              </a:pathLst>
            </a:custGeom>
            <a:solidFill>
              <a:srgbClr val="000000"/>
            </a:solidFill>
            <a:ln w="12844"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7CE77844-5CA1-4FE0-AD71-899547275A8C}"/>
                </a:ext>
              </a:extLst>
            </p:cNvPr>
            <p:cNvSpPr/>
            <p:nvPr/>
          </p:nvSpPr>
          <p:spPr>
            <a:xfrm>
              <a:off x="2328160" y="6331504"/>
              <a:ext cx="137948" cy="604456"/>
            </a:xfrm>
            <a:custGeom>
              <a:avLst/>
              <a:gdLst>
                <a:gd name="connsiteX0" fmla="*/ 137948 w 137948"/>
                <a:gd name="connsiteY0" fmla="*/ 2312 h 604456"/>
                <a:gd name="connsiteX1" fmla="*/ 129728 w 137948"/>
                <a:gd name="connsiteY1" fmla="*/ 8349 h 604456"/>
                <a:gd name="connsiteX2" fmla="*/ 124590 w 137948"/>
                <a:gd name="connsiteY2" fmla="*/ 0 h 604456"/>
                <a:gd name="connsiteX3" fmla="*/ 0 w 137948"/>
                <a:gd name="connsiteY3" fmla="*/ 604456 h 604456"/>
                <a:gd name="connsiteX4" fmla="*/ 13744 w 137948"/>
                <a:gd name="connsiteY4" fmla="*/ 604456 h 604456"/>
                <a:gd name="connsiteX5" fmla="*/ 137948 w 137948"/>
                <a:gd name="connsiteY5" fmla="*/ 6422 h 60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48" h="604456">
                  <a:moveTo>
                    <a:pt x="137948" y="2312"/>
                  </a:moveTo>
                  <a:cubicBezTo>
                    <a:pt x="137291" y="6216"/>
                    <a:pt x="133649" y="8890"/>
                    <a:pt x="129728" y="8349"/>
                  </a:cubicBezTo>
                  <a:cubicBezTo>
                    <a:pt x="126005" y="7460"/>
                    <a:pt x="123706" y="3724"/>
                    <a:pt x="124590" y="0"/>
                  </a:cubicBezTo>
                  <a:lnTo>
                    <a:pt x="0" y="604456"/>
                  </a:lnTo>
                  <a:lnTo>
                    <a:pt x="13744" y="604456"/>
                  </a:lnTo>
                  <a:lnTo>
                    <a:pt x="137948" y="6422"/>
                  </a:lnTo>
                  <a:close/>
                </a:path>
              </a:pathLst>
            </a:custGeom>
            <a:solidFill>
              <a:srgbClr val="000000"/>
            </a:solidFill>
            <a:ln w="12844"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46EBF08D-B845-46D7-81B7-BE8667B3DFB4}"/>
                </a:ext>
              </a:extLst>
            </p:cNvPr>
            <p:cNvSpPr/>
            <p:nvPr/>
          </p:nvSpPr>
          <p:spPr>
            <a:xfrm>
              <a:off x="-1" y="6563473"/>
              <a:ext cx="29979" cy="208849"/>
            </a:xfrm>
            <a:custGeom>
              <a:avLst/>
              <a:gdLst>
                <a:gd name="connsiteX0" fmla="*/ 29927 w 29979"/>
                <a:gd name="connsiteY0" fmla="*/ 7321 h 208849"/>
                <a:gd name="connsiteX1" fmla="*/ 29927 w 29979"/>
                <a:gd name="connsiteY1" fmla="*/ 5652 h 208849"/>
                <a:gd name="connsiteX2" fmla="*/ 29927 w 29979"/>
                <a:gd name="connsiteY2" fmla="*/ 4367 h 208849"/>
                <a:gd name="connsiteX3" fmla="*/ 29927 w 29979"/>
                <a:gd name="connsiteY3" fmla="*/ 3083 h 208849"/>
                <a:gd name="connsiteX4" fmla="*/ 29927 w 29979"/>
                <a:gd name="connsiteY4" fmla="*/ 1927 h 208849"/>
                <a:gd name="connsiteX5" fmla="*/ 28771 w 29979"/>
                <a:gd name="connsiteY5" fmla="*/ 899 h 208849"/>
                <a:gd name="connsiteX6" fmla="*/ 26716 w 29979"/>
                <a:gd name="connsiteY6" fmla="*/ 0 h 208849"/>
                <a:gd name="connsiteX7" fmla="*/ 25689 w 29979"/>
                <a:gd name="connsiteY7" fmla="*/ 0 h 208849"/>
                <a:gd name="connsiteX8" fmla="*/ 24918 w 29979"/>
                <a:gd name="connsiteY8" fmla="*/ 0 h 208849"/>
                <a:gd name="connsiteX9" fmla="*/ 22606 w 29979"/>
                <a:gd name="connsiteY9" fmla="*/ 0 h 208849"/>
                <a:gd name="connsiteX10" fmla="*/ 21450 w 29979"/>
                <a:gd name="connsiteY10" fmla="*/ 0 h 208849"/>
                <a:gd name="connsiteX11" fmla="*/ 16441 w 29979"/>
                <a:gd name="connsiteY11" fmla="*/ 6165 h 208849"/>
                <a:gd name="connsiteX12" fmla="*/ 14643 w 29979"/>
                <a:gd name="connsiteY12" fmla="*/ 17725 h 208849"/>
                <a:gd name="connsiteX13" fmla="*/ 0 w 29979"/>
                <a:gd name="connsiteY13" fmla="*/ 116370 h 208849"/>
                <a:gd name="connsiteX14" fmla="*/ 0 w 29979"/>
                <a:gd name="connsiteY14" fmla="*/ 208850 h 208849"/>
                <a:gd name="connsiteX15" fmla="*/ 29927 w 29979"/>
                <a:gd name="connsiteY15" fmla="*/ 7450 h 20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979" h="208849">
                  <a:moveTo>
                    <a:pt x="29927" y="7321"/>
                  </a:moveTo>
                  <a:cubicBezTo>
                    <a:pt x="29992" y="6767"/>
                    <a:pt x="29992" y="6206"/>
                    <a:pt x="29927" y="5652"/>
                  </a:cubicBezTo>
                  <a:cubicBezTo>
                    <a:pt x="29927" y="5652"/>
                    <a:pt x="29927" y="4752"/>
                    <a:pt x="29927" y="4367"/>
                  </a:cubicBezTo>
                  <a:cubicBezTo>
                    <a:pt x="29997" y="3942"/>
                    <a:pt x="29997" y="3508"/>
                    <a:pt x="29927" y="3083"/>
                  </a:cubicBezTo>
                  <a:cubicBezTo>
                    <a:pt x="29976" y="2699"/>
                    <a:pt x="29976" y="2310"/>
                    <a:pt x="29927" y="1927"/>
                  </a:cubicBezTo>
                  <a:lnTo>
                    <a:pt x="28771" y="899"/>
                  </a:lnTo>
                  <a:lnTo>
                    <a:pt x="26716" y="0"/>
                  </a:lnTo>
                  <a:lnTo>
                    <a:pt x="25689" y="0"/>
                  </a:lnTo>
                  <a:lnTo>
                    <a:pt x="24918" y="0"/>
                  </a:lnTo>
                  <a:lnTo>
                    <a:pt x="22606" y="0"/>
                  </a:lnTo>
                  <a:lnTo>
                    <a:pt x="21450" y="0"/>
                  </a:lnTo>
                  <a:cubicBezTo>
                    <a:pt x="18751" y="945"/>
                    <a:pt x="16813" y="3329"/>
                    <a:pt x="16441" y="6165"/>
                  </a:cubicBezTo>
                  <a:lnTo>
                    <a:pt x="14643" y="17725"/>
                  </a:lnTo>
                  <a:lnTo>
                    <a:pt x="0" y="116370"/>
                  </a:lnTo>
                  <a:lnTo>
                    <a:pt x="0" y="208850"/>
                  </a:lnTo>
                  <a:lnTo>
                    <a:pt x="29927" y="7450"/>
                  </a:lnTo>
                  <a:close/>
                </a:path>
              </a:pathLst>
            </a:custGeom>
            <a:solidFill>
              <a:srgbClr val="000000"/>
            </a:solidFill>
            <a:ln w="12844"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C3D6B078-16F1-47C0-A916-057EE83D9D11}"/>
                </a:ext>
              </a:extLst>
            </p:cNvPr>
            <p:cNvSpPr/>
            <p:nvPr/>
          </p:nvSpPr>
          <p:spPr>
            <a:xfrm>
              <a:off x="-1" y="5278523"/>
              <a:ext cx="139444" cy="59340"/>
            </a:xfrm>
            <a:custGeom>
              <a:avLst/>
              <a:gdLst>
                <a:gd name="connsiteX0" fmla="*/ 139232 w 139444"/>
                <a:gd name="connsiteY0" fmla="*/ 5137 h 59340"/>
                <a:gd name="connsiteX1" fmla="*/ 131888 w 139444"/>
                <a:gd name="connsiteY1" fmla="*/ 109 h 59340"/>
                <a:gd name="connsiteX2" fmla="*/ 130884 w 139444"/>
                <a:gd name="connsiteY2" fmla="*/ 384 h 59340"/>
                <a:gd name="connsiteX3" fmla="*/ 117269 w 139444"/>
                <a:gd name="connsiteY3" fmla="*/ 4880 h 59340"/>
                <a:gd name="connsiteX4" fmla="*/ 0 w 139444"/>
                <a:gd name="connsiteY4" fmla="*/ 44312 h 59340"/>
                <a:gd name="connsiteX5" fmla="*/ 0 w 139444"/>
                <a:gd name="connsiteY5" fmla="*/ 59340 h 59340"/>
                <a:gd name="connsiteX6" fmla="*/ 134352 w 139444"/>
                <a:gd name="connsiteY6" fmla="*/ 14385 h 59340"/>
                <a:gd name="connsiteX7" fmla="*/ 139232 w 139444"/>
                <a:gd name="connsiteY7" fmla="*/ 5137 h 5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4" h="59340">
                  <a:moveTo>
                    <a:pt x="139232" y="5137"/>
                  </a:moveTo>
                  <a:cubicBezTo>
                    <a:pt x="138593" y="1720"/>
                    <a:pt x="135305" y="-531"/>
                    <a:pt x="131888" y="109"/>
                  </a:cubicBezTo>
                  <a:cubicBezTo>
                    <a:pt x="131546" y="172"/>
                    <a:pt x="131210" y="265"/>
                    <a:pt x="130884" y="384"/>
                  </a:cubicBezTo>
                  <a:lnTo>
                    <a:pt x="117269" y="4880"/>
                  </a:lnTo>
                  <a:lnTo>
                    <a:pt x="0" y="44312"/>
                  </a:lnTo>
                  <a:lnTo>
                    <a:pt x="0" y="59340"/>
                  </a:lnTo>
                  <a:lnTo>
                    <a:pt x="134352" y="14385"/>
                  </a:lnTo>
                  <a:cubicBezTo>
                    <a:pt x="138058" y="12952"/>
                    <a:pt x="140141" y="9006"/>
                    <a:pt x="139232" y="5137"/>
                  </a:cubicBezTo>
                  <a:close/>
                </a:path>
              </a:pathLst>
            </a:custGeom>
            <a:solidFill>
              <a:srgbClr val="000000"/>
            </a:solidFill>
            <a:ln w="12844"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975E9CBA-B89E-47D4-B526-207F9FD90BA0}"/>
                </a:ext>
              </a:extLst>
            </p:cNvPr>
            <p:cNvSpPr/>
            <p:nvPr/>
          </p:nvSpPr>
          <p:spPr>
            <a:xfrm>
              <a:off x="2453074" y="6235685"/>
              <a:ext cx="33070" cy="104236"/>
            </a:xfrm>
            <a:custGeom>
              <a:avLst/>
              <a:gdLst>
                <a:gd name="connsiteX0" fmla="*/ 30759 w 33070"/>
                <a:gd name="connsiteY0" fmla="*/ 13486 h 104236"/>
                <a:gd name="connsiteX1" fmla="*/ 33071 w 33070"/>
                <a:gd name="connsiteY1" fmla="*/ 2440 h 104236"/>
                <a:gd name="connsiteX2" fmla="*/ 24850 w 33070"/>
                <a:gd name="connsiteY2" fmla="*/ 8477 h 104236"/>
                <a:gd name="connsiteX3" fmla="*/ 19677 w 33070"/>
                <a:gd name="connsiteY3" fmla="*/ 143 h 104236"/>
                <a:gd name="connsiteX4" fmla="*/ 19712 w 33070"/>
                <a:gd name="connsiteY4" fmla="*/ 0 h 104236"/>
                <a:gd name="connsiteX5" fmla="*/ 189 w 33070"/>
                <a:gd name="connsiteY5" fmla="*/ 95819 h 104236"/>
                <a:gd name="connsiteX6" fmla="*/ 5327 w 33070"/>
                <a:gd name="connsiteY6" fmla="*/ 104167 h 104236"/>
                <a:gd name="connsiteX7" fmla="*/ 13547 w 33070"/>
                <a:gd name="connsiteY7" fmla="*/ 98130 h 104236"/>
                <a:gd name="connsiteX8" fmla="*/ 16116 w 33070"/>
                <a:gd name="connsiteY8" fmla="*/ 85286 h 10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70" h="104236">
                  <a:moveTo>
                    <a:pt x="30759" y="13486"/>
                  </a:moveTo>
                  <a:lnTo>
                    <a:pt x="33071" y="2440"/>
                  </a:lnTo>
                  <a:cubicBezTo>
                    <a:pt x="32413" y="6344"/>
                    <a:pt x="28772" y="9018"/>
                    <a:pt x="24850" y="8477"/>
                  </a:cubicBezTo>
                  <a:cubicBezTo>
                    <a:pt x="21120" y="7604"/>
                    <a:pt x="18804" y="3873"/>
                    <a:pt x="19677" y="143"/>
                  </a:cubicBezTo>
                  <a:cubicBezTo>
                    <a:pt x="19689" y="95"/>
                    <a:pt x="19700" y="47"/>
                    <a:pt x="19712" y="0"/>
                  </a:cubicBezTo>
                  <a:lnTo>
                    <a:pt x="189" y="95819"/>
                  </a:lnTo>
                  <a:cubicBezTo>
                    <a:pt x="-695" y="99542"/>
                    <a:pt x="1604" y="103279"/>
                    <a:pt x="5327" y="104167"/>
                  </a:cubicBezTo>
                  <a:cubicBezTo>
                    <a:pt x="9248" y="104708"/>
                    <a:pt x="12890" y="102034"/>
                    <a:pt x="13547" y="98130"/>
                  </a:cubicBezTo>
                  <a:lnTo>
                    <a:pt x="16116" y="85286"/>
                  </a:lnTo>
                  <a:close/>
                </a:path>
              </a:pathLst>
            </a:custGeom>
            <a:solidFill>
              <a:srgbClr val="000000"/>
            </a:solidFill>
            <a:ln w="12844"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F4BD97DF-8E54-4BDB-888C-69EE6D761189}"/>
                </a:ext>
              </a:extLst>
            </p:cNvPr>
            <p:cNvSpPr/>
            <p:nvPr/>
          </p:nvSpPr>
          <p:spPr>
            <a:xfrm>
              <a:off x="1883104" y="4056856"/>
              <a:ext cx="419554" cy="145179"/>
            </a:xfrm>
            <a:custGeom>
              <a:avLst/>
              <a:gdLst>
                <a:gd name="connsiteX0" fmla="*/ 419367 w 419554"/>
                <a:gd name="connsiteY0" fmla="*/ 5176 h 145179"/>
                <a:gd name="connsiteX1" fmla="*/ 411820 w 419554"/>
                <a:gd name="connsiteY1" fmla="*/ 123 h 145179"/>
                <a:gd name="connsiteX2" fmla="*/ 411147 w 419554"/>
                <a:gd name="connsiteY2" fmla="*/ 295 h 145179"/>
                <a:gd name="connsiteX3" fmla="*/ 406908 w 419554"/>
                <a:gd name="connsiteY3" fmla="*/ 1708 h 145179"/>
                <a:gd name="connsiteX4" fmla="*/ 10404 w 419554"/>
                <a:gd name="connsiteY4" fmla="*/ 127840 h 145179"/>
                <a:gd name="connsiteX5" fmla="*/ 0 w 419554"/>
                <a:gd name="connsiteY5" fmla="*/ 131179 h 145179"/>
                <a:gd name="connsiteX6" fmla="*/ 8049 w 419554"/>
                <a:gd name="connsiteY6" fmla="*/ 135387 h 145179"/>
                <a:gd name="connsiteX7" fmla="*/ 8220 w 419554"/>
                <a:gd name="connsiteY7" fmla="*/ 136060 h 145179"/>
                <a:gd name="connsiteX8" fmla="*/ 3211 w 419554"/>
                <a:gd name="connsiteY8" fmla="*/ 145180 h 145179"/>
                <a:gd name="connsiteX9" fmla="*/ 414229 w 419554"/>
                <a:gd name="connsiteY9" fmla="*/ 14295 h 145179"/>
                <a:gd name="connsiteX10" fmla="*/ 419367 w 419554"/>
                <a:gd name="connsiteY10" fmla="*/ 5176 h 14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554" h="145179">
                  <a:moveTo>
                    <a:pt x="419367" y="5176"/>
                  </a:moveTo>
                  <a:cubicBezTo>
                    <a:pt x="418678" y="1697"/>
                    <a:pt x="415299" y="-565"/>
                    <a:pt x="411820" y="123"/>
                  </a:cubicBezTo>
                  <a:cubicBezTo>
                    <a:pt x="411592" y="169"/>
                    <a:pt x="411368" y="226"/>
                    <a:pt x="411147" y="295"/>
                  </a:cubicBezTo>
                  <a:lnTo>
                    <a:pt x="406908" y="1708"/>
                  </a:lnTo>
                  <a:lnTo>
                    <a:pt x="10404" y="127840"/>
                  </a:lnTo>
                  <a:lnTo>
                    <a:pt x="0" y="131179"/>
                  </a:lnTo>
                  <a:cubicBezTo>
                    <a:pt x="3385" y="130119"/>
                    <a:pt x="6988" y="132002"/>
                    <a:pt x="8049" y="135387"/>
                  </a:cubicBezTo>
                  <a:cubicBezTo>
                    <a:pt x="8118" y="135608"/>
                    <a:pt x="8175" y="135833"/>
                    <a:pt x="8220" y="136060"/>
                  </a:cubicBezTo>
                  <a:cubicBezTo>
                    <a:pt x="9101" y="139930"/>
                    <a:pt x="6950" y="143847"/>
                    <a:pt x="3211" y="145180"/>
                  </a:cubicBezTo>
                  <a:lnTo>
                    <a:pt x="414229" y="14295"/>
                  </a:lnTo>
                  <a:cubicBezTo>
                    <a:pt x="418019" y="13013"/>
                    <a:pt x="420234" y="9082"/>
                    <a:pt x="419367" y="5176"/>
                  </a:cubicBezTo>
                  <a:close/>
                </a:path>
              </a:pathLst>
            </a:custGeom>
            <a:solidFill>
              <a:srgbClr val="000000"/>
            </a:solidFill>
            <a:ln w="12844"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671FC3AA-585A-4AC1-A2E0-6820298A7C9D}"/>
                </a:ext>
              </a:extLst>
            </p:cNvPr>
            <p:cNvSpPr/>
            <p:nvPr/>
          </p:nvSpPr>
          <p:spPr>
            <a:xfrm>
              <a:off x="1550051" y="4187740"/>
              <a:ext cx="341470" cy="120390"/>
            </a:xfrm>
            <a:custGeom>
              <a:avLst/>
              <a:gdLst>
                <a:gd name="connsiteX0" fmla="*/ 341274 w 341470"/>
                <a:gd name="connsiteY0" fmla="*/ 5176 h 120390"/>
                <a:gd name="connsiteX1" fmla="*/ 333726 w 341470"/>
                <a:gd name="connsiteY1" fmla="*/ 123 h 120390"/>
                <a:gd name="connsiteX2" fmla="*/ 333053 w 341470"/>
                <a:gd name="connsiteY2" fmla="*/ 295 h 120390"/>
                <a:gd name="connsiteX3" fmla="*/ 328686 w 341470"/>
                <a:gd name="connsiteY3" fmla="*/ 1708 h 120390"/>
                <a:gd name="connsiteX4" fmla="*/ 10275 w 341470"/>
                <a:gd name="connsiteY4" fmla="*/ 103050 h 120390"/>
                <a:gd name="connsiteX5" fmla="*/ 0 w 341470"/>
                <a:gd name="connsiteY5" fmla="*/ 106390 h 120390"/>
                <a:gd name="connsiteX6" fmla="*/ 7981 w 341470"/>
                <a:gd name="connsiteY6" fmla="*/ 110331 h 120390"/>
                <a:gd name="connsiteX7" fmla="*/ 8220 w 341470"/>
                <a:gd name="connsiteY7" fmla="*/ 111271 h 120390"/>
                <a:gd name="connsiteX8" fmla="*/ 3211 w 341470"/>
                <a:gd name="connsiteY8" fmla="*/ 120390 h 120390"/>
                <a:gd name="connsiteX9" fmla="*/ 336264 w 341470"/>
                <a:gd name="connsiteY9" fmla="*/ 14295 h 120390"/>
                <a:gd name="connsiteX10" fmla="*/ 341274 w 341470"/>
                <a:gd name="connsiteY10" fmla="*/ 5176 h 12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70" h="120390">
                  <a:moveTo>
                    <a:pt x="341274" y="5176"/>
                  </a:moveTo>
                  <a:cubicBezTo>
                    <a:pt x="340585" y="1697"/>
                    <a:pt x="337206" y="-565"/>
                    <a:pt x="333726" y="123"/>
                  </a:cubicBezTo>
                  <a:cubicBezTo>
                    <a:pt x="333499" y="169"/>
                    <a:pt x="333274" y="226"/>
                    <a:pt x="333053" y="295"/>
                  </a:cubicBezTo>
                  <a:lnTo>
                    <a:pt x="328686" y="1708"/>
                  </a:lnTo>
                  <a:lnTo>
                    <a:pt x="10275" y="103050"/>
                  </a:lnTo>
                  <a:lnTo>
                    <a:pt x="0" y="106390"/>
                  </a:lnTo>
                  <a:cubicBezTo>
                    <a:pt x="3292" y="105274"/>
                    <a:pt x="6865" y="107039"/>
                    <a:pt x="7981" y="110331"/>
                  </a:cubicBezTo>
                  <a:cubicBezTo>
                    <a:pt x="8085" y="110638"/>
                    <a:pt x="8165" y="110952"/>
                    <a:pt x="8220" y="111271"/>
                  </a:cubicBezTo>
                  <a:cubicBezTo>
                    <a:pt x="9101" y="115140"/>
                    <a:pt x="6950" y="119058"/>
                    <a:pt x="3211" y="120390"/>
                  </a:cubicBezTo>
                  <a:lnTo>
                    <a:pt x="336264" y="14295"/>
                  </a:lnTo>
                  <a:cubicBezTo>
                    <a:pt x="340003" y="12963"/>
                    <a:pt x="342155" y="9046"/>
                    <a:pt x="341274" y="5176"/>
                  </a:cubicBezTo>
                  <a:close/>
                </a:path>
              </a:pathLst>
            </a:custGeom>
            <a:solidFill>
              <a:srgbClr val="000000"/>
            </a:solidFill>
            <a:ln w="12844"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D0292E2A-32FE-4C83-AEC0-60892B762416}"/>
                </a:ext>
              </a:extLst>
            </p:cNvPr>
            <p:cNvSpPr/>
            <p:nvPr/>
          </p:nvSpPr>
          <p:spPr>
            <a:xfrm>
              <a:off x="1091509" y="4293796"/>
              <a:ext cx="466702" cy="160246"/>
            </a:xfrm>
            <a:custGeom>
              <a:avLst/>
              <a:gdLst>
                <a:gd name="connsiteX0" fmla="*/ 8477 w 466702"/>
                <a:gd name="connsiteY0" fmla="*/ 150998 h 160246"/>
                <a:gd name="connsiteX1" fmla="*/ 3339 w 466702"/>
                <a:gd name="connsiteY1" fmla="*/ 160246 h 160246"/>
                <a:gd name="connsiteX2" fmla="*/ 461496 w 466702"/>
                <a:gd name="connsiteY2" fmla="*/ 14334 h 160246"/>
                <a:gd name="connsiteX3" fmla="*/ 461496 w 466702"/>
                <a:gd name="connsiteY3" fmla="*/ 14334 h 160246"/>
                <a:gd name="connsiteX4" fmla="*/ 466506 w 466702"/>
                <a:gd name="connsiteY4" fmla="*/ 5215 h 160246"/>
                <a:gd name="connsiteX5" fmla="*/ 459225 w 466702"/>
                <a:gd name="connsiteY5" fmla="*/ 94 h 160246"/>
                <a:gd name="connsiteX6" fmla="*/ 458285 w 466702"/>
                <a:gd name="connsiteY6" fmla="*/ 334 h 160246"/>
                <a:gd name="connsiteX7" fmla="*/ 453918 w 466702"/>
                <a:gd name="connsiteY7" fmla="*/ 1618 h 160246"/>
                <a:gd name="connsiteX8" fmla="*/ 10147 w 466702"/>
                <a:gd name="connsiteY8" fmla="*/ 142907 h 160246"/>
                <a:gd name="connsiteX9" fmla="*/ 0 w 466702"/>
                <a:gd name="connsiteY9" fmla="*/ 146118 h 160246"/>
                <a:gd name="connsiteX10" fmla="*/ 8209 w 466702"/>
                <a:gd name="connsiteY10" fmla="*/ 150003 h 160246"/>
                <a:gd name="connsiteX11" fmla="*/ 8477 w 466702"/>
                <a:gd name="connsiteY11" fmla="*/ 150998 h 16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702" h="160246">
                  <a:moveTo>
                    <a:pt x="8477" y="150998"/>
                  </a:moveTo>
                  <a:cubicBezTo>
                    <a:pt x="9355" y="154937"/>
                    <a:pt x="7148" y="158911"/>
                    <a:pt x="3339" y="160246"/>
                  </a:cubicBezTo>
                  <a:lnTo>
                    <a:pt x="461496" y="14334"/>
                  </a:lnTo>
                  <a:lnTo>
                    <a:pt x="461496" y="14334"/>
                  </a:lnTo>
                  <a:cubicBezTo>
                    <a:pt x="465235" y="13002"/>
                    <a:pt x="467387" y="9084"/>
                    <a:pt x="466506" y="5215"/>
                  </a:cubicBezTo>
                  <a:cubicBezTo>
                    <a:pt x="465909" y="1791"/>
                    <a:pt x="462650" y="-502"/>
                    <a:pt x="459225" y="94"/>
                  </a:cubicBezTo>
                  <a:cubicBezTo>
                    <a:pt x="458906" y="150"/>
                    <a:pt x="458592" y="230"/>
                    <a:pt x="458285" y="334"/>
                  </a:cubicBezTo>
                  <a:lnTo>
                    <a:pt x="453918" y="1618"/>
                  </a:lnTo>
                  <a:lnTo>
                    <a:pt x="10147" y="142907"/>
                  </a:lnTo>
                  <a:lnTo>
                    <a:pt x="0" y="146118"/>
                  </a:lnTo>
                  <a:cubicBezTo>
                    <a:pt x="3340" y="144924"/>
                    <a:pt x="7015" y="146663"/>
                    <a:pt x="8209" y="150003"/>
                  </a:cubicBezTo>
                  <a:cubicBezTo>
                    <a:pt x="8325" y="150327"/>
                    <a:pt x="8415" y="150660"/>
                    <a:pt x="8477" y="150998"/>
                  </a:cubicBezTo>
                  <a:close/>
                </a:path>
              </a:pathLst>
            </a:custGeom>
            <a:solidFill>
              <a:srgbClr val="000000"/>
            </a:solidFill>
            <a:ln w="12844"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C6EF1310-50E0-4A7C-899D-B10A7E0B18E2}"/>
                </a:ext>
              </a:extLst>
            </p:cNvPr>
            <p:cNvSpPr/>
            <p:nvPr/>
          </p:nvSpPr>
          <p:spPr>
            <a:xfrm>
              <a:off x="949708" y="4439618"/>
              <a:ext cx="150470" cy="58095"/>
            </a:xfrm>
            <a:custGeom>
              <a:avLst/>
              <a:gdLst>
                <a:gd name="connsiteX0" fmla="*/ 8477 w 150470"/>
                <a:gd name="connsiteY0" fmla="*/ 53342 h 58095"/>
                <a:gd name="connsiteX1" fmla="*/ 7707 w 150470"/>
                <a:gd name="connsiteY1" fmla="*/ 58095 h 58095"/>
                <a:gd name="connsiteX2" fmla="*/ 17982 w 150470"/>
                <a:gd name="connsiteY2" fmla="*/ 54884 h 58095"/>
                <a:gd name="connsiteX3" fmla="*/ 145141 w 150470"/>
                <a:gd name="connsiteY3" fmla="*/ 14424 h 58095"/>
                <a:gd name="connsiteX4" fmla="*/ 145141 w 150470"/>
                <a:gd name="connsiteY4" fmla="*/ 14424 h 58095"/>
                <a:gd name="connsiteX5" fmla="*/ 150279 w 150470"/>
                <a:gd name="connsiteY5" fmla="*/ 5176 h 58095"/>
                <a:gd name="connsiteX6" fmla="*/ 142731 w 150470"/>
                <a:gd name="connsiteY6" fmla="*/ 123 h 58095"/>
                <a:gd name="connsiteX7" fmla="*/ 142058 w 150470"/>
                <a:gd name="connsiteY7" fmla="*/ 295 h 58095"/>
                <a:gd name="connsiteX8" fmla="*/ 137563 w 150470"/>
                <a:gd name="connsiteY8" fmla="*/ 1708 h 58095"/>
                <a:gd name="connsiteX9" fmla="*/ 771 w 150470"/>
                <a:gd name="connsiteY9" fmla="*/ 45508 h 58095"/>
                <a:gd name="connsiteX10" fmla="*/ 0 w 150470"/>
                <a:gd name="connsiteY10" fmla="*/ 45508 h 58095"/>
                <a:gd name="connsiteX11" fmla="*/ 3596 w 150470"/>
                <a:gd name="connsiteY11" fmla="*/ 44866 h 58095"/>
                <a:gd name="connsiteX12" fmla="*/ 8603 w 150470"/>
                <a:gd name="connsiteY12" fmla="*/ 52875 h 58095"/>
                <a:gd name="connsiteX13" fmla="*/ 8477 w 150470"/>
                <a:gd name="connsiteY13" fmla="*/ 53342 h 5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70" h="58095">
                  <a:moveTo>
                    <a:pt x="8477" y="53342"/>
                  </a:moveTo>
                  <a:lnTo>
                    <a:pt x="7707" y="58095"/>
                  </a:lnTo>
                  <a:lnTo>
                    <a:pt x="17982" y="54884"/>
                  </a:lnTo>
                  <a:lnTo>
                    <a:pt x="145141" y="14424"/>
                  </a:lnTo>
                  <a:lnTo>
                    <a:pt x="145141" y="14424"/>
                  </a:lnTo>
                  <a:cubicBezTo>
                    <a:pt x="148949" y="13089"/>
                    <a:pt x="151157" y="9115"/>
                    <a:pt x="150279" y="5176"/>
                  </a:cubicBezTo>
                  <a:cubicBezTo>
                    <a:pt x="149590" y="1697"/>
                    <a:pt x="146211" y="-565"/>
                    <a:pt x="142731" y="123"/>
                  </a:cubicBezTo>
                  <a:cubicBezTo>
                    <a:pt x="142504" y="169"/>
                    <a:pt x="142279" y="226"/>
                    <a:pt x="142058" y="295"/>
                  </a:cubicBezTo>
                  <a:lnTo>
                    <a:pt x="137563" y="1708"/>
                  </a:lnTo>
                  <a:lnTo>
                    <a:pt x="771" y="45508"/>
                  </a:lnTo>
                  <a:lnTo>
                    <a:pt x="0" y="45508"/>
                  </a:lnTo>
                  <a:cubicBezTo>
                    <a:pt x="1120" y="44976"/>
                    <a:pt x="2362" y="44754"/>
                    <a:pt x="3596" y="44866"/>
                  </a:cubicBezTo>
                  <a:cubicBezTo>
                    <a:pt x="7191" y="45695"/>
                    <a:pt x="9432" y="49281"/>
                    <a:pt x="8603" y="52875"/>
                  </a:cubicBezTo>
                  <a:cubicBezTo>
                    <a:pt x="8567" y="53032"/>
                    <a:pt x="8525" y="53188"/>
                    <a:pt x="8477" y="53342"/>
                  </a:cubicBezTo>
                  <a:close/>
                </a:path>
              </a:pathLst>
            </a:custGeom>
            <a:solidFill>
              <a:srgbClr val="000000"/>
            </a:solidFill>
            <a:ln w="12844"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3F95446B-0190-4D06-BBBC-39024E730B11}"/>
                </a:ext>
              </a:extLst>
            </p:cNvPr>
            <p:cNvSpPr/>
            <p:nvPr/>
          </p:nvSpPr>
          <p:spPr>
            <a:xfrm>
              <a:off x="945516" y="4488593"/>
              <a:ext cx="81" cy="2312"/>
            </a:xfrm>
            <a:custGeom>
              <a:avLst/>
              <a:gdLst>
                <a:gd name="connsiteX0" fmla="*/ 82 w 81"/>
                <a:gd name="connsiteY0" fmla="*/ 0 h 2312"/>
                <a:gd name="connsiteX1" fmla="*/ 82 w 81"/>
                <a:gd name="connsiteY1" fmla="*/ 1413 h 2312"/>
                <a:gd name="connsiteX2" fmla="*/ 82 w 81"/>
                <a:gd name="connsiteY2" fmla="*/ 2312 h 2312"/>
                <a:gd name="connsiteX3" fmla="*/ 82 w 81"/>
                <a:gd name="connsiteY3" fmla="*/ 0 h 2312"/>
              </a:gdLst>
              <a:ahLst/>
              <a:cxnLst>
                <a:cxn ang="0">
                  <a:pos x="connsiteX0" y="connsiteY0"/>
                </a:cxn>
                <a:cxn ang="0">
                  <a:pos x="connsiteX1" y="connsiteY1"/>
                </a:cxn>
                <a:cxn ang="0">
                  <a:pos x="connsiteX2" y="connsiteY2"/>
                </a:cxn>
                <a:cxn ang="0">
                  <a:pos x="connsiteX3" y="connsiteY3"/>
                </a:cxn>
              </a:cxnLst>
              <a:rect l="l" t="t" r="r" b="b"/>
              <a:pathLst>
                <a:path w="81" h="2312">
                  <a:moveTo>
                    <a:pt x="82" y="0"/>
                  </a:moveTo>
                  <a:cubicBezTo>
                    <a:pt x="82" y="0"/>
                    <a:pt x="82" y="1028"/>
                    <a:pt x="82" y="1413"/>
                  </a:cubicBezTo>
                  <a:cubicBezTo>
                    <a:pt x="40" y="1711"/>
                    <a:pt x="40" y="2014"/>
                    <a:pt x="82" y="2312"/>
                  </a:cubicBezTo>
                  <a:cubicBezTo>
                    <a:pt x="-27" y="1546"/>
                    <a:pt x="-27" y="767"/>
                    <a:pt x="82" y="0"/>
                  </a:cubicBezTo>
                  <a:close/>
                </a:path>
              </a:pathLst>
            </a:custGeom>
            <a:solidFill>
              <a:srgbClr val="000000"/>
            </a:solidFill>
            <a:ln w="12844"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69D7845B-7488-475F-9F69-C8764779DFE3}"/>
                </a:ext>
              </a:extLst>
            </p:cNvPr>
            <p:cNvSpPr/>
            <p:nvPr/>
          </p:nvSpPr>
          <p:spPr>
            <a:xfrm>
              <a:off x="946625" y="4486410"/>
              <a:ext cx="770" cy="1027"/>
            </a:xfrm>
            <a:custGeom>
              <a:avLst/>
              <a:gdLst>
                <a:gd name="connsiteX0" fmla="*/ 771 w 770"/>
                <a:gd name="connsiteY0" fmla="*/ 0 h 1027"/>
                <a:gd name="connsiteX1" fmla="*/ 0 w 770"/>
                <a:gd name="connsiteY1" fmla="*/ 1027 h 1027"/>
                <a:gd name="connsiteX2" fmla="*/ 0 w 770"/>
                <a:gd name="connsiteY2" fmla="*/ 1027 h 1027"/>
                <a:gd name="connsiteX3" fmla="*/ 771 w 770"/>
                <a:gd name="connsiteY3" fmla="*/ 0 h 1027"/>
              </a:gdLst>
              <a:ahLst/>
              <a:cxnLst>
                <a:cxn ang="0">
                  <a:pos x="connsiteX0" y="connsiteY0"/>
                </a:cxn>
                <a:cxn ang="0">
                  <a:pos x="connsiteX1" y="connsiteY1"/>
                </a:cxn>
                <a:cxn ang="0">
                  <a:pos x="connsiteX2" y="connsiteY2"/>
                </a:cxn>
                <a:cxn ang="0">
                  <a:pos x="connsiteX3" y="connsiteY3"/>
                </a:cxn>
              </a:cxnLst>
              <a:rect l="l" t="t" r="r" b="b"/>
              <a:pathLst>
                <a:path w="770" h="1027">
                  <a:moveTo>
                    <a:pt x="771" y="0"/>
                  </a:moveTo>
                  <a:lnTo>
                    <a:pt x="0" y="1027"/>
                  </a:lnTo>
                  <a:lnTo>
                    <a:pt x="0" y="1027"/>
                  </a:lnTo>
                  <a:cubicBezTo>
                    <a:pt x="208" y="651"/>
                    <a:pt x="467" y="305"/>
                    <a:pt x="771" y="0"/>
                  </a:cubicBezTo>
                  <a:close/>
                </a:path>
              </a:pathLst>
            </a:custGeom>
            <a:solidFill>
              <a:srgbClr val="000000"/>
            </a:solidFill>
            <a:ln w="12844"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64738F12-3DA4-4EC1-9B09-935F6C11D4A7}"/>
                </a:ext>
              </a:extLst>
            </p:cNvPr>
            <p:cNvSpPr/>
            <p:nvPr/>
          </p:nvSpPr>
          <p:spPr>
            <a:xfrm>
              <a:off x="546267" y="6505031"/>
              <a:ext cx="83744" cy="430928"/>
            </a:xfrm>
            <a:custGeom>
              <a:avLst/>
              <a:gdLst>
                <a:gd name="connsiteX0" fmla="*/ 75782 w 83744"/>
                <a:gd name="connsiteY0" fmla="*/ 8092 h 430928"/>
                <a:gd name="connsiteX1" fmla="*/ 70165 w 83744"/>
                <a:gd name="connsiteY1" fmla="*/ 498 h 430928"/>
                <a:gd name="connsiteX2" fmla="*/ 70258 w 83744"/>
                <a:gd name="connsiteY2" fmla="*/ 0 h 430928"/>
                <a:gd name="connsiteX3" fmla="*/ 68332 w 83744"/>
                <a:gd name="connsiteY3" fmla="*/ 11817 h 430928"/>
                <a:gd name="connsiteX4" fmla="*/ 0 w 83744"/>
                <a:gd name="connsiteY4" fmla="*/ 430929 h 430928"/>
                <a:gd name="connsiteX5" fmla="*/ 13872 w 83744"/>
                <a:gd name="connsiteY5" fmla="*/ 430929 h 430928"/>
                <a:gd name="connsiteX6" fmla="*/ 83745 w 83744"/>
                <a:gd name="connsiteY6" fmla="*/ 1670 h 430928"/>
                <a:gd name="connsiteX7" fmla="*/ 75782 w 83744"/>
                <a:gd name="connsiteY7" fmla="*/ 8092 h 43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44" h="430928">
                  <a:moveTo>
                    <a:pt x="75782" y="8092"/>
                  </a:moveTo>
                  <a:cubicBezTo>
                    <a:pt x="72133" y="7546"/>
                    <a:pt x="69619" y="4146"/>
                    <a:pt x="70165" y="498"/>
                  </a:cubicBezTo>
                  <a:cubicBezTo>
                    <a:pt x="70190" y="331"/>
                    <a:pt x="70221" y="165"/>
                    <a:pt x="70258" y="0"/>
                  </a:cubicBezTo>
                  <a:lnTo>
                    <a:pt x="68332" y="11817"/>
                  </a:lnTo>
                  <a:lnTo>
                    <a:pt x="0" y="430929"/>
                  </a:lnTo>
                  <a:lnTo>
                    <a:pt x="13872" y="430929"/>
                  </a:lnTo>
                  <a:lnTo>
                    <a:pt x="83745" y="1670"/>
                  </a:lnTo>
                  <a:cubicBezTo>
                    <a:pt x="83212" y="5583"/>
                    <a:pt x="79719" y="8401"/>
                    <a:pt x="75782" y="8092"/>
                  </a:cubicBezTo>
                  <a:close/>
                </a:path>
              </a:pathLst>
            </a:custGeom>
            <a:solidFill>
              <a:srgbClr val="000000"/>
            </a:solidFill>
            <a:ln w="12844"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CA38F4D5-A2FC-4637-B25C-2FEC9B73A400}"/>
                </a:ext>
              </a:extLst>
            </p:cNvPr>
            <p:cNvSpPr/>
            <p:nvPr/>
          </p:nvSpPr>
          <p:spPr>
            <a:xfrm>
              <a:off x="616357" y="6076414"/>
              <a:ext cx="83528" cy="436732"/>
            </a:xfrm>
            <a:custGeom>
              <a:avLst/>
              <a:gdLst>
                <a:gd name="connsiteX0" fmla="*/ 75565 w 83528"/>
                <a:gd name="connsiteY0" fmla="*/ 8092 h 436732"/>
                <a:gd name="connsiteX1" fmla="*/ 69948 w 83528"/>
                <a:gd name="connsiteY1" fmla="*/ 498 h 436732"/>
                <a:gd name="connsiteX2" fmla="*/ 70042 w 83528"/>
                <a:gd name="connsiteY2" fmla="*/ 0 h 436732"/>
                <a:gd name="connsiteX3" fmla="*/ 68115 w 83528"/>
                <a:gd name="connsiteY3" fmla="*/ 11688 h 436732"/>
                <a:gd name="connsiteX4" fmla="*/ 940 w 83528"/>
                <a:gd name="connsiteY4" fmla="*/ 424121 h 436732"/>
                <a:gd name="connsiteX5" fmla="*/ 169 w 83528"/>
                <a:gd name="connsiteY5" fmla="*/ 428617 h 436732"/>
                <a:gd name="connsiteX6" fmla="*/ 5194 w 83528"/>
                <a:gd name="connsiteY6" fmla="*/ 436615 h 436732"/>
                <a:gd name="connsiteX7" fmla="*/ 5692 w 83528"/>
                <a:gd name="connsiteY7" fmla="*/ 436709 h 436732"/>
                <a:gd name="connsiteX8" fmla="*/ 13656 w 83528"/>
                <a:gd name="connsiteY8" fmla="*/ 430287 h 436732"/>
                <a:gd name="connsiteX9" fmla="*/ 83529 w 83528"/>
                <a:gd name="connsiteY9" fmla="*/ 1670 h 436732"/>
                <a:gd name="connsiteX10" fmla="*/ 75565 w 83528"/>
                <a:gd name="connsiteY10" fmla="*/ 8092 h 43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8" h="436732">
                  <a:moveTo>
                    <a:pt x="75565" y="8092"/>
                  </a:moveTo>
                  <a:cubicBezTo>
                    <a:pt x="71917" y="7546"/>
                    <a:pt x="69402" y="4146"/>
                    <a:pt x="69948" y="498"/>
                  </a:cubicBezTo>
                  <a:cubicBezTo>
                    <a:pt x="69973" y="331"/>
                    <a:pt x="70004" y="165"/>
                    <a:pt x="70042" y="0"/>
                  </a:cubicBezTo>
                  <a:lnTo>
                    <a:pt x="68115" y="11688"/>
                  </a:lnTo>
                  <a:lnTo>
                    <a:pt x="940" y="424121"/>
                  </a:lnTo>
                  <a:lnTo>
                    <a:pt x="169" y="428617"/>
                  </a:lnTo>
                  <a:cubicBezTo>
                    <a:pt x="-652" y="432213"/>
                    <a:pt x="1598" y="435794"/>
                    <a:pt x="5194" y="436615"/>
                  </a:cubicBezTo>
                  <a:cubicBezTo>
                    <a:pt x="5359" y="436653"/>
                    <a:pt x="5525" y="436684"/>
                    <a:pt x="5692" y="436709"/>
                  </a:cubicBezTo>
                  <a:cubicBezTo>
                    <a:pt x="9629" y="437017"/>
                    <a:pt x="13123" y="434200"/>
                    <a:pt x="13656" y="430287"/>
                  </a:cubicBezTo>
                  <a:lnTo>
                    <a:pt x="83529" y="1670"/>
                  </a:lnTo>
                  <a:cubicBezTo>
                    <a:pt x="83058" y="5618"/>
                    <a:pt x="79523" y="8469"/>
                    <a:pt x="75565" y="8092"/>
                  </a:cubicBezTo>
                  <a:close/>
                </a:path>
              </a:pathLst>
            </a:custGeom>
            <a:solidFill>
              <a:srgbClr val="000000"/>
            </a:solidFill>
            <a:ln w="12844"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809A87A3-80CB-4230-85B5-22EC02806EEB}"/>
                </a:ext>
              </a:extLst>
            </p:cNvPr>
            <p:cNvSpPr/>
            <p:nvPr/>
          </p:nvSpPr>
          <p:spPr>
            <a:xfrm>
              <a:off x="2472099" y="5014699"/>
              <a:ext cx="266051" cy="1229532"/>
            </a:xfrm>
            <a:custGeom>
              <a:avLst/>
              <a:gdLst>
                <a:gd name="connsiteX0" fmla="*/ 5826 w 266051"/>
                <a:gd name="connsiteY0" fmla="*/ 1229463 h 1229532"/>
                <a:gd name="connsiteX1" fmla="*/ 14046 w 266051"/>
                <a:gd name="connsiteY1" fmla="*/ 1223426 h 1229532"/>
                <a:gd name="connsiteX2" fmla="*/ 15074 w 266051"/>
                <a:gd name="connsiteY2" fmla="*/ 1218674 h 1229532"/>
                <a:gd name="connsiteX3" fmla="*/ 263740 w 266051"/>
                <a:gd name="connsiteY3" fmla="*/ 12973 h 1229532"/>
                <a:gd name="connsiteX4" fmla="*/ 266051 w 266051"/>
                <a:gd name="connsiteY4" fmla="*/ 2312 h 1229532"/>
                <a:gd name="connsiteX5" fmla="*/ 257831 w 266051"/>
                <a:gd name="connsiteY5" fmla="*/ 8349 h 1229532"/>
                <a:gd name="connsiteX6" fmla="*/ 252574 w 266051"/>
                <a:gd name="connsiteY6" fmla="*/ 501 h 1229532"/>
                <a:gd name="connsiteX7" fmla="*/ 252693 w 266051"/>
                <a:gd name="connsiteY7" fmla="*/ 0 h 1229532"/>
                <a:gd name="connsiteX8" fmla="*/ 252693 w 266051"/>
                <a:gd name="connsiteY8" fmla="*/ 0 h 1229532"/>
                <a:gd name="connsiteX9" fmla="*/ 431 w 266051"/>
                <a:gd name="connsiteY9" fmla="*/ 1220215 h 1229532"/>
                <a:gd name="connsiteX10" fmla="*/ 431 w 266051"/>
                <a:gd name="connsiteY10" fmla="*/ 1220215 h 1229532"/>
                <a:gd name="connsiteX11" fmla="*/ 4536 w 266051"/>
                <a:gd name="connsiteY11" fmla="*/ 1229124 h 1229532"/>
                <a:gd name="connsiteX12" fmla="*/ 5826 w 266051"/>
                <a:gd name="connsiteY12" fmla="*/ 1229463 h 12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051" h="1229532">
                  <a:moveTo>
                    <a:pt x="5826" y="1229463"/>
                  </a:moveTo>
                  <a:cubicBezTo>
                    <a:pt x="9747" y="1230004"/>
                    <a:pt x="13389" y="1227330"/>
                    <a:pt x="14046" y="1223426"/>
                  </a:cubicBezTo>
                  <a:lnTo>
                    <a:pt x="15074" y="1218674"/>
                  </a:lnTo>
                  <a:lnTo>
                    <a:pt x="263740" y="12973"/>
                  </a:lnTo>
                  <a:lnTo>
                    <a:pt x="266051" y="2312"/>
                  </a:lnTo>
                  <a:cubicBezTo>
                    <a:pt x="265334" y="6178"/>
                    <a:pt x="261735" y="8821"/>
                    <a:pt x="257831" y="8349"/>
                  </a:cubicBezTo>
                  <a:cubicBezTo>
                    <a:pt x="254212" y="7633"/>
                    <a:pt x="251859" y="4120"/>
                    <a:pt x="252574" y="501"/>
                  </a:cubicBezTo>
                  <a:cubicBezTo>
                    <a:pt x="252607" y="333"/>
                    <a:pt x="252647" y="165"/>
                    <a:pt x="252693" y="0"/>
                  </a:cubicBezTo>
                  <a:lnTo>
                    <a:pt x="252693" y="0"/>
                  </a:lnTo>
                  <a:lnTo>
                    <a:pt x="431" y="1220215"/>
                  </a:lnTo>
                  <a:lnTo>
                    <a:pt x="431" y="1220215"/>
                  </a:lnTo>
                  <a:cubicBezTo>
                    <a:pt x="-895" y="1223809"/>
                    <a:pt x="943" y="1227797"/>
                    <a:pt x="4536" y="1229124"/>
                  </a:cubicBezTo>
                  <a:cubicBezTo>
                    <a:pt x="4954" y="1229278"/>
                    <a:pt x="5386" y="1229392"/>
                    <a:pt x="5826" y="1229463"/>
                  </a:cubicBezTo>
                  <a:close/>
                </a:path>
              </a:pathLst>
            </a:custGeom>
            <a:solidFill>
              <a:srgbClr val="000000"/>
            </a:solidFill>
            <a:ln w="12844"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A28CA41A-38D0-40BA-8F0A-8269D4973A92}"/>
                </a:ext>
              </a:extLst>
            </p:cNvPr>
            <p:cNvSpPr/>
            <p:nvPr/>
          </p:nvSpPr>
          <p:spPr>
            <a:xfrm>
              <a:off x="2724930" y="5000441"/>
              <a:ext cx="16431" cy="22661"/>
            </a:xfrm>
            <a:custGeom>
              <a:avLst/>
              <a:gdLst>
                <a:gd name="connsiteX0" fmla="*/ 5386 w 16431"/>
                <a:gd name="connsiteY0" fmla="*/ 22607 h 22661"/>
                <a:gd name="connsiteX1" fmla="*/ 13606 w 16431"/>
                <a:gd name="connsiteY1" fmla="*/ 16570 h 22661"/>
                <a:gd name="connsiteX2" fmla="*/ 14505 w 16431"/>
                <a:gd name="connsiteY2" fmla="*/ 11689 h 22661"/>
                <a:gd name="connsiteX3" fmla="*/ 15533 w 16431"/>
                <a:gd name="connsiteY3" fmla="*/ 6679 h 22661"/>
                <a:gd name="connsiteX4" fmla="*/ 16432 w 16431"/>
                <a:gd name="connsiteY4" fmla="*/ 2312 h 22661"/>
                <a:gd name="connsiteX5" fmla="*/ 8340 w 16431"/>
                <a:gd name="connsiteY5" fmla="*/ 8349 h 22661"/>
                <a:gd name="connsiteX6" fmla="*/ 2996 w 16431"/>
                <a:gd name="connsiteY6" fmla="*/ 341 h 22661"/>
                <a:gd name="connsiteX7" fmla="*/ 3073 w 16431"/>
                <a:gd name="connsiteY7" fmla="*/ 0 h 22661"/>
                <a:gd name="connsiteX8" fmla="*/ 3074 w 16431"/>
                <a:gd name="connsiteY8" fmla="*/ 0 h 22661"/>
                <a:gd name="connsiteX9" fmla="*/ 248 w 16431"/>
                <a:gd name="connsiteY9" fmla="*/ 14258 h 22661"/>
                <a:gd name="connsiteX10" fmla="*/ 248 w 16431"/>
                <a:gd name="connsiteY10" fmla="*/ 14258 h 22661"/>
                <a:gd name="connsiteX11" fmla="*/ 4884 w 16431"/>
                <a:gd name="connsiteY11" fmla="*/ 22487 h 22661"/>
                <a:gd name="connsiteX12" fmla="*/ 5386 w 16431"/>
                <a:gd name="connsiteY12" fmla="*/ 22607 h 2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31" h="22661">
                  <a:moveTo>
                    <a:pt x="5386" y="22607"/>
                  </a:moveTo>
                  <a:cubicBezTo>
                    <a:pt x="9290" y="23079"/>
                    <a:pt x="12889" y="20436"/>
                    <a:pt x="13606" y="16570"/>
                  </a:cubicBezTo>
                  <a:lnTo>
                    <a:pt x="14505" y="11689"/>
                  </a:lnTo>
                  <a:lnTo>
                    <a:pt x="15533" y="6679"/>
                  </a:lnTo>
                  <a:lnTo>
                    <a:pt x="16432" y="2312"/>
                  </a:lnTo>
                  <a:cubicBezTo>
                    <a:pt x="15775" y="6160"/>
                    <a:pt x="12215" y="8816"/>
                    <a:pt x="8340" y="8349"/>
                  </a:cubicBezTo>
                  <a:cubicBezTo>
                    <a:pt x="4653" y="7613"/>
                    <a:pt x="2260" y="4028"/>
                    <a:pt x="2996" y="341"/>
                  </a:cubicBezTo>
                  <a:cubicBezTo>
                    <a:pt x="3019" y="227"/>
                    <a:pt x="3045" y="113"/>
                    <a:pt x="3073" y="0"/>
                  </a:cubicBezTo>
                  <a:lnTo>
                    <a:pt x="3074" y="0"/>
                  </a:lnTo>
                  <a:lnTo>
                    <a:pt x="248" y="14258"/>
                  </a:lnTo>
                  <a:lnTo>
                    <a:pt x="248" y="14258"/>
                  </a:lnTo>
                  <a:cubicBezTo>
                    <a:pt x="-744" y="17811"/>
                    <a:pt x="1332" y="21495"/>
                    <a:pt x="4884" y="22487"/>
                  </a:cubicBezTo>
                  <a:cubicBezTo>
                    <a:pt x="5050" y="22534"/>
                    <a:pt x="5217" y="22574"/>
                    <a:pt x="5386" y="22607"/>
                  </a:cubicBezTo>
                  <a:close/>
                </a:path>
              </a:pathLst>
            </a:custGeom>
            <a:solidFill>
              <a:srgbClr val="000000"/>
            </a:solidFill>
            <a:ln w="12844"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AF3D390C-91C5-448F-AC0C-65741C034B3D}"/>
                </a:ext>
              </a:extLst>
            </p:cNvPr>
            <p:cNvSpPr/>
            <p:nvPr/>
          </p:nvSpPr>
          <p:spPr>
            <a:xfrm>
              <a:off x="2727883" y="4907705"/>
              <a:ext cx="32874" cy="101652"/>
            </a:xfrm>
            <a:custGeom>
              <a:avLst/>
              <a:gdLst>
                <a:gd name="connsiteX0" fmla="*/ 5387 w 32874"/>
                <a:gd name="connsiteY0" fmla="*/ 101599 h 101652"/>
                <a:gd name="connsiteX1" fmla="*/ 13479 w 32874"/>
                <a:gd name="connsiteY1" fmla="*/ 95562 h 101652"/>
                <a:gd name="connsiteX2" fmla="*/ 16048 w 32874"/>
                <a:gd name="connsiteY2" fmla="*/ 83617 h 101652"/>
                <a:gd name="connsiteX3" fmla="*/ 30562 w 32874"/>
                <a:gd name="connsiteY3" fmla="*/ 12973 h 101652"/>
                <a:gd name="connsiteX4" fmla="*/ 32874 w 32874"/>
                <a:gd name="connsiteY4" fmla="*/ 2312 h 101652"/>
                <a:gd name="connsiteX5" fmla="*/ 24654 w 32874"/>
                <a:gd name="connsiteY5" fmla="*/ 8349 h 101652"/>
                <a:gd name="connsiteX6" fmla="*/ 19397 w 32874"/>
                <a:gd name="connsiteY6" fmla="*/ 501 h 101652"/>
                <a:gd name="connsiteX7" fmla="*/ 19516 w 32874"/>
                <a:gd name="connsiteY7" fmla="*/ 0 h 101652"/>
                <a:gd name="connsiteX8" fmla="*/ 19516 w 32874"/>
                <a:gd name="connsiteY8" fmla="*/ 0 h 101652"/>
                <a:gd name="connsiteX9" fmla="*/ 249 w 32874"/>
                <a:gd name="connsiteY9" fmla="*/ 93122 h 101652"/>
                <a:gd name="connsiteX10" fmla="*/ 249 w 32874"/>
                <a:gd name="connsiteY10" fmla="*/ 93122 h 101652"/>
                <a:gd name="connsiteX11" fmla="*/ 4989 w 32874"/>
                <a:gd name="connsiteY11" fmla="*/ 101501 h 101652"/>
                <a:gd name="connsiteX12" fmla="*/ 5387 w 32874"/>
                <a:gd name="connsiteY12" fmla="*/ 101599 h 10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74" h="101652">
                  <a:moveTo>
                    <a:pt x="5387" y="101599"/>
                  </a:moveTo>
                  <a:cubicBezTo>
                    <a:pt x="9263" y="102065"/>
                    <a:pt x="12822" y="99410"/>
                    <a:pt x="13479" y="95562"/>
                  </a:cubicBezTo>
                  <a:lnTo>
                    <a:pt x="16048" y="83617"/>
                  </a:lnTo>
                  <a:lnTo>
                    <a:pt x="30562" y="12973"/>
                  </a:lnTo>
                  <a:lnTo>
                    <a:pt x="32874" y="2312"/>
                  </a:lnTo>
                  <a:cubicBezTo>
                    <a:pt x="32157" y="6178"/>
                    <a:pt x="28558" y="8821"/>
                    <a:pt x="24654" y="8349"/>
                  </a:cubicBezTo>
                  <a:cubicBezTo>
                    <a:pt x="21035" y="7633"/>
                    <a:pt x="18681" y="4120"/>
                    <a:pt x="19397" y="501"/>
                  </a:cubicBezTo>
                  <a:cubicBezTo>
                    <a:pt x="19430" y="333"/>
                    <a:pt x="19470" y="165"/>
                    <a:pt x="19516" y="0"/>
                  </a:cubicBezTo>
                  <a:lnTo>
                    <a:pt x="19516" y="0"/>
                  </a:lnTo>
                  <a:lnTo>
                    <a:pt x="249" y="93122"/>
                  </a:lnTo>
                  <a:lnTo>
                    <a:pt x="249" y="93122"/>
                  </a:lnTo>
                  <a:cubicBezTo>
                    <a:pt x="-756" y="96744"/>
                    <a:pt x="1366" y="100496"/>
                    <a:pt x="4989" y="101501"/>
                  </a:cubicBezTo>
                  <a:cubicBezTo>
                    <a:pt x="5121" y="101538"/>
                    <a:pt x="5254" y="101570"/>
                    <a:pt x="5387" y="101599"/>
                  </a:cubicBezTo>
                  <a:close/>
                </a:path>
              </a:pathLst>
            </a:custGeom>
            <a:solidFill>
              <a:srgbClr val="000000"/>
            </a:solidFill>
            <a:ln w="12844"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B0BCF502-405F-46F2-B04C-5CC53A4CE5C1}"/>
                </a:ext>
              </a:extLst>
            </p:cNvPr>
            <p:cNvSpPr/>
            <p:nvPr/>
          </p:nvSpPr>
          <p:spPr>
            <a:xfrm>
              <a:off x="2749064" y="4286241"/>
              <a:ext cx="138899" cy="629353"/>
            </a:xfrm>
            <a:custGeom>
              <a:avLst/>
              <a:gdLst>
                <a:gd name="connsiteX0" fmla="*/ 3473 w 138899"/>
                <a:gd name="connsiteY0" fmla="*/ 629299 h 629353"/>
                <a:gd name="connsiteX1" fmla="*/ 11693 w 138899"/>
                <a:gd name="connsiteY1" fmla="*/ 623262 h 629353"/>
                <a:gd name="connsiteX2" fmla="*/ 12592 w 138899"/>
                <a:gd name="connsiteY2" fmla="*/ 618253 h 629353"/>
                <a:gd name="connsiteX3" fmla="*/ 138852 w 138899"/>
                <a:gd name="connsiteY3" fmla="*/ 7760 h 629353"/>
                <a:gd name="connsiteX4" fmla="*/ 138852 w 138899"/>
                <a:gd name="connsiteY4" fmla="*/ 7760 h 629353"/>
                <a:gd name="connsiteX5" fmla="*/ 138852 w 138899"/>
                <a:gd name="connsiteY5" fmla="*/ 6219 h 629353"/>
                <a:gd name="connsiteX6" fmla="*/ 138852 w 138899"/>
                <a:gd name="connsiteY6" fmla="*/ 6219 h 629353"/>
                <a:gd name="connsiteX7" fmla="*/ 138852 w 138899"/>
                <a:gd name="connsiteY7" fmla="*/ 5063 h 629353"/>
                <a:gd name="connsiteX8" fmla="*/ 138852 w 138899"/>
                <a:gd name="connsiteY8" fmla="*/ 3907 h 629353"/>
                <a:gd name="connsiteX9" fmla="*/ 138852 w 138899"/>
                <a:gd name="connsiteY9" fmla="*/ 3907 h 629353"/>
                <a:gd name="connsiteX10" fmla="*/ 138852 w 138899"/>
                <a:gd name="connsiteY10" fmla="*/ 2622 h 629353"/>
                <a:gd name="connsiteX11" fmla="*/ 138852 w 138899"/>
                <a:gd name="connsiteY11" fmla="*/ 1852 h 629353"/>
                <a:gd name="connsiteX12" fmla="*/ 138852 w 138899"/>
                <a:gd name="connsiteY12" fmla="*/ 1852 h 629353"/>
                <a:gd name="connsiteX13" fmla="*/ 137953 w 138899"/>
                <a:gd name="connsiteY13" fmla="*/ 952 h 629353"/>
                <a:gd name="connsiteX14" fmla="*/ 135512 w 138899"/>
                <a:gd name="connsiteY14" fmla="*/ 53 h 629353"/>
                <a:gd name="connsiteX15" fmla="*/ 127420 w 138899"/>
                <a:gd name="connsiteY15" fmla="*/ 6090 h 629353"/>
                <a:gd name="connsiteX16" fmla="*/ 126393 w 138899"/>
                <a:gd name="connsiteY16" fmla="*/ 11099 h 629353"/>
                <a:gd name="connsiteX17" fmla="*/ 124980 w 138899"/>
                <a:gd name="connsiteY17" fmla="*/ 17907 h 629353"/>
                <a:gd name="connsiteX18" fmla="*/ 261 w 138899"/>
                <a:gd name="connsiteY18" fmla="*/ 621592 h 629353"/>
                <a:gd name="connsiteX19" fmla="*/ 3473 w 138899"/>
                <a:gd name="connsiteY19" fmla="*/ 629299 h 62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899" h="629353">
                  <a:moveTo>
                    <a:pt x="3473" y="629299"/>
                  </a:moveTo>
                  <a:cubicBezTo>
                    <a:pt x="7376" y="629772"/>
                    <a:pt x="10976" y="627129"/>
                    <a:pt x="11693" y="623262"/>
                  </a:cubicBezTo>
                  <a:lnTo>
                    <a:pt x="12592" y="618253"/>
                  </a:lnTo>
                  <a:lnTo>
                    <a:pt x="138852" y="7760"/>
                  </a:lnTo>
                  <a:lnTo>
                    <a:pt x="138852" y="7760"/>
                  </a:lnTo>
                  <a:cubicBezTo>
                    <a:pt x="138916" y="7248"/>
                    <a:pt x="138916" y="6730"/>
                    <a:pt x="138852" y="6219"/>
                  </a:cubicBezTo>
                  <a:lnTo>
                    <a:pt x="138852" y="6219"/>
                  </a:lnTo>
                  <a:lnTo>
                    <a:pt x="138852" y="5063"/>
                  </a:lnTo>
                  <a:cubicBezTo>
                    <a:pt x="138900" y="4679"/>
                    <a:pt x="138900" y="4290"/>
                    <a:pt x="138852" y="3907"/>
                  </a:cubicBezTo>
                  <a:lnTo>
                    <a:pt x="138852" y="3907"/>
                  </a:lnTo>
                  <a:cubicBezTo>
                    <a:pt x="138903" y="3480"/>
                    <a:pt x="138903" y="3049"/>
                    <a:pt x="138852" y="2622"/>
                  </a:cubicBezTo>
                  <a:lnTo>
                    <a:pt x="138852" y="1852"/>
                  </a:lnTo>
                  <a:lnTo>
                    <a:pt x="138852" y="1852"/>
                  </a:lnTo>
                  <a:lnTo>
                    <a:pt x="137953" y="952"/>
                  </a:lnTo>
                  <a:cubicBezTo>
                    <a:pt x="137194" y="521"/>
                    <a:pt x="136369" y="217"/>
                    <a:pt x="135512" y="53"/>
                  </a:cubicBezTo>
                  <a:cubicBezTo>
                    <a:pt x="131637" y="-413"/>
                    <a:pt x="128077" y="2242"/>
                    <a:pt x="127420" y="6090"/>
                  </a:cubicBezTo>
                  <a:lnTo>
                    <a:pt x="126393" y="11099"/>
                  </a:lnTo>
                  <a:lnTo>
                    <a:pt x="124980" y="17907"/>
                  </a:lnTo>
                  <a:lnTo>
                    <a:pt x="261" y="621592"/>
                  </a:lnTo>
                  <a:cubicBezTo>
                    <a:pt x="-603" y="624596"/>
                    <a:pt x="731" y="627798"/>
                    <a:pt x="3473" y="629299"/>
                  </a:cubicBezTo>
                  <a:close/>
                </a:path>
              </a:pathLst>
            </a:custGeom>
            <a:solidFill>
              <a:srgbClr val="000000"/>
            </a:solidFill>
            <a:ln w="12844"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3A52FF18-A24F-439C-A4E1-935815DC625E}"/>
                </a:ext>
              </a:extLst>
            </p:cNvPr>
            <p:cNvSpPr/>
            <p:nvPr/>
          </p:nvSpPr>
          <p:spPr>
            <a:xfrm>
              <a:off x="686230" y="5040259"/>
              <a:ext cx="182558" cy="1044280"/>
            </a:xfrm>
            <a:custGeom>
              <a:avLst/>
              <a:gdLst>
                <a:gd name="connsiteX0" fmla="*/ 5692 w 182558"/>
                <a:gd name="connsiteY0" fmla="*/ 1044247 h 1044280"/>
                <a:gd name="connsiteX1" fmla="*/ 13656 w 182558"/>
                <a:gd name="connsiteY1" fmla="*/ 1037825 h 1044280"/>
                <a:gd name="connsiteX2" fmla="*/ 182558 w 182558"/>
                <a:gd name="connsiteY2" fmla="*/ 1670 h 1044280"/>
                <a:gd name="connsiteX3" fmla="*/ 174595 w 182558"/>
                <a:gd name="connsiteY3" fmla="*/ 8092 h 1044280"/>
                <a:gd name="connsiteX4" fmla="*/ 168883 w 182558"/>
                <a:gd name="connsiteY4" fmla="*/ 343 h 1044280"/>
                <a:gd name="connsiteX5" fmla="*/ 168943 w 182558"/>
                <a:gd name="connsiteY5" fmla="*/ 0 h 1044280"/>
                <a:gd name="connsiteX6" fmla="*/ 167145 w 182558"/>
                <a:gd name="connsiteY6" fmla="*/ 11303 h 1044280"/>
                <a:gd name="connsiteX7" fmla="*/ 940 w 182558"/>
                <a:gd name="connsiteY7" fmla="*/ 1031660 h 1044280"/>
                <a:gd name="connsiteX8" fmla="*/ 169 w 182558"/>
                <a:gd name="connsiteY8" fmla="*/ 1036155 h 1044280"/>
                <a:gd name="connsiteX9" fmla="*/ 5194 w 182558"/>
                <a:gd name="connsiteY9" fmla="*/ 1044153 h 1044280"/>
                <a:gd name="connsiteX10" fmla="*/ 5692 w 182558"/>
                <a:gd name="connsiteY10" fmla="*/ 1044247 h 104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558" h="1044280">
                  <a:moveTo>
                    <a:pt x="5692" y="1044247"/>
                  </a:moveTo>
                  <a:cubicBezTo>
                    <a:pt x="9650" y="1044624"/>
                    <a:pt x="13185" y="1041773"/>
                    <a:pt x="13656" y="1037825"/>
                  </a:cubicBezTo>
                  <a:lnTo>
                    <a:pt x="182558" y="1670"/>
                  </a:lnTo>
                  <a:cubicBezTo>
                    <a:pt x="182026" y="5583"/>
                    <a:pt x="178532" y="8401"/>
                    <a:pt x="174595" y="8092"/>
                  </a:cubicBezTo>
                  <a:cubicBezTo>
                    <a:pt x="170878" y="7530"/>
                    <a:pt x="168320" y="4060"/>
                    <a:pt x="168883" y="343"/>
                  </a:cubicBezTo>
                  <a:cubicBezTo>
                    <a:pt x="168900" y="228"/>
                    <a:pt x="168920" y="114"/>
                    <a:pt x="168943" y="0"/>
                  </a:cubicBezTo>
                  <a:lnTo>
                    <a:pt x="167145" y="11303"/>
                  </a:lnTo>
                  <a:lnTo>
                    <a:pt x="940" y="1031660"/>
                  </a:lnTo>
                  <a:lnTo>
                    <a:pt x="169" y="1036155"/>
                  </a:lnTo>
                  <a:cubicBezTo>
                    <a:pt x="-652" y="1039752"/>
                    <a:pt x="1598" y="1043332"/>
                    <a:pt x="5194" y="1044153"/>
                  </a:cubicBezTo>
                  <a:cubicBezTo>
                    <a:pt x="5359" y="1044191"/>
                    <a:pt x="5525" y="1044222"/>
                    <a:pt x="5692" y="1044247"/>
                  </a:cubicBezTo>
                  <a:close/>
                </a:path>
              </a:pathLst>
            </a:custGeom>
            <a:solidFill>
              <a:srgbClr val="000000"/>
            </a:solidFill>
            <a:ln w="12844"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0E97199C-A4C2-4AED-83CA-7266195254A5}"/>
                </a:ext>
              </a:extLst>
            </p:cNvPr>
            <p:cNvSpPr/>
            <p:nvPr/>
          </p:nvSpPr>
          <p:spPr>
            <a:xfrm>
              <a:off x="856026" y="4484840"/>
              <a:ext cx="102327" cy="563020"/>
            </a:xfrm>
            <a:custGeom>
              <a:avLst/>
              <a:gdLst>
                <a:gd name="connsiteX0" fmla="*/ 102159 w 102327"/>
                <a:gd name="connsiteY0" fmla="*/ 8120 h 563020"/>
                <a:gd name="connsiteX1" fmla="*/ 97134 w 102327"/>
                <a:gd name="connsiteY1" fmla="*/ 122 h 563020"/>
                <a:gd name="connsiteX2" fmla="*/ 96636 w 102327"/>
                <a:gd name="connsiteY2" fmla="*/ 28 h 563020"/>
                <a:gd name="connsiteX3" fmla="*/ 93039 w 102327"/>
                <a:gd name="connsiteY3" fmla="*/ 670 h 563020"/>
                <a:gd name="connsiteX4" fmla="*/ 93039 w 102327"/>
                <a:gd name="connsiteY4" fmla="*/ 670 h 563020"/>
                <a:gd name="connsiteX5" fmla="*/ 91755 w 102327"/>
                <a:gd name="connsiteY5" fmla="*/ 670 h 563020"/>
                <a:gd name="connsiteX6" fmla="*/ 91755 w 102327"/>
                <a:gd name="connsiteY6" fmla="*/ 670 h 563020"/>
                <a:gd name="connsiteX7" fmla="*/ 90856 w 102327"/>
                <a:gd name="connsiteY7" fmla="*/ 1955 h 563020"/>
                <a:gd name="connsiteX8" fmla="*/ 90856 w 102327"/>
                <a:gd name="connsiteY8" fmla="*/ 2726 h 563020"/>
                <a:gd name="connsiteX9" fmla="*/ 90856 w 102327"/>
                <a:gd name="connsiteY9" fmla="*/ 2726 h 563020"/>
                <a:gd name="connsiteX10" fmla="*/ 90085 w 102327"/>
                <a:gd name="connsiteY10" fmla="*/ 5037 h 563020"/>
                <a:gd name="connsiteX11" fmla="*/ 90085 w 102327"/>
                <a:gd name="connsiteY11" fmla="*/ 5037 h 563020"/>
                <a:gd name="connsiteX12" fmla="*/ 90085 w 102327"/>
                <a:gd name="connsiteY12" fmla="*/ 5037 h 563020"/>
                <a:gd name="connsiteX13" fmla="*/ 1331 w 102327"/>
                <a:gd name="connsiteY13" fmla="*/ 549253 h 563020"/>
                <a:gd name="connsiteX14" fmla="*/ 560 w 102327"/>
                <a:gd name="connsiteY14" fmla="*/ 553878 h 563020"/>
                <a:gd name="connsiteX15" fmla="*/ 4109 w 102327"/>
                <a:gd name="connsiteY15" fmla="*/ 562827 h 563020"/>
                <a:gd name="connsiteX16" fmla="*/ 4542 w 102327"/>
                <a:gd name="connsiteY16" fmla="*/ 562997 h 563020"/>
                <a:gd name="connsiteX17" fmla="*/ 12506 w 102327"/>
                <a:gd name="connsiteY17" fmla="*/ 556575 h 563020"/>
                <a:gd name="connsiteX18" fmla="*/ 99975 w 102327"/>
                <a:gd name="connsiteY18" fmla="*/ 19166 h 563020"/>
                <a:gd name="connsiteX19" fmla="*/ 101131 w 102327"/>
                <a:gd name="connsiteY19" fmla="*/ 12359 h 56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327" h="563020">
                  <a:moveTo>
                    <a:pt x="102159" y="8120"/>
                  </a:moveTo>
                  <a:cubicBezTo>
                    <a:pt x="102980" y="4524"/>
                    <a:pt x="100730" y="943"/>
                    <a:pt x="97134" y="122"/>
                  </a:cubicBezTo>
                  <a:cubicBezTo>
                    <a:pt x="96969" y="84"/>
                    <a:pt x="96803" y="53"/>
                    <a:pt x="96636" y="28"/>
                  </a:cubicBezTo>
                  <a:cubicBezTo>
                    <a:pt x="95401" y="-83"/>
                    <a:pt x="94159" y="139"/>
                    <a:pt x="93039" y="670"/>
                  </a:cubicBezTo>
                  <a:lnTo>
                    <a:pt x="93039" y="670"/>
                  </a:lnTo>
                  <a:lnTo>
                    <a:pt x="91755" y="670"/>
                  </a:lnTo>
                  <a:lnTo>
                    <a:pt x="91755" y="670"/>
                  </a:lnTo>
                  <a:cubicBezTo>
                    <a:pt x="91384" y="1044"/>
                    <a:pt x="91080" y="1479"/>
                    <a:pt x="90856" y="1955"/>
                  </a:cubicBezTo>
                  <a:cubicBezTo>
                    <a:pt x="90856" y="1955"/>
                    <a:pt x="90856" y="1955"/>
                    <a:pt x="90856" y="2726"/>
                  </a:cubicBezTo>
                  <a:lnTo>
                    <a:pt x="90856" y="2726"/>
                  </a:lnTo>
                  <a:cubicBezTo>
                    <a:pt x="90486" y="3454"/>
                    <a:pt x="90226" y="4233"/>
                    <a:pt x="90085" y="5037"/>
                  </a:cubicBezTo>
                  <a:lnTo>
                    <a:pt x="90085" y="5037"/>
                  </a:lnTo>
                  <a:lnTo>
                    <a:pt x="90085" y="5037"/>
                  </a:lnTo>
                  <a:lnTo>
                    <a:pt x="1331" y="549253"/>
                  </a:lnTo>
                  <a:lnTo>
                    <a:pt x="560" y="553878"/>
                  </a:lnTo>
                  <a:cubicBezTo>
                    <a:pt x="-931" y="557329"/>
                    <a:pt x="657" y="561336"/>
                    <a:pt x="4109" y="562827"/>
                  </a:cubicBezTo>
                  <a:cubicBezTo>
                    <a:pt x="4251" y="562889"/>
                    <a:pt x="4396" y="562946"/>
                    <a:pt x="4542" y="562997"/>
                  </a:cubicBezTo>
                  <a:cubicBezTo>
                    <a:pt x="8479" y="563306"/>
                    <a:pt x="11973" y="560488"/>
                    <a:pt x="12506" y="556575"/>
                  </a:cubicBezTo>
                  <a:lnTo>
                    <a:pt x="99975" y="19166"/>
                  </a:lnTo>
                  <a:lnTo>
                    <a:pt x="101131" y="12359"/>
                  </a:lnTo>
                  <a:close/>
                </a:path>
              </a:pathLst>
            </a:custGeom>
            <a:solidFill>
              <a:srgbClr val="000000"/>
            </a:solidFill>
            <a:ln w="12844"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EFDF66E1-B966-4F87-A7C7-26B59E3229D2}"/>
                </a:ext>
              </a:extLst>
            </p:cNvPr>
            <p:cNvSpPr/>
            <p:nvPr/>
          </p:nvSpPr>
          <p:spPr>
            <a:xfrm>
              <a:off x="3405653" y="1212251"/>
              <a:ext cx="44178" cy="20809"/>
            </a:xfrm>
            <a:custGeom>
              <a:avLst/>
              <a:gdLst>
                <a:gd name="connsiteX0" fmla="*/ 6824 w 44178"/>
                <a:gd name="connsiteY0" fmla="*/ 20808 h 20809"/>
                <a:gd name="connsiteX1" fmla="*/ 11449 w 44178"/>
                <a:gd name="connsiteY1" fmla="*/ 19652 h 20809"/>
                <a:gd name="connsiteX2" fmla="*/ 27504 w 44178"/>
                <a:gd name="connsiteY2" fmla="*/ 16055 h 20809"/>
                <a:gd name="connsiteX3" fmla="*/ 36109 w 44178"/>
                <a:gd name="connsiteY3" fmla="*/ 14000 h 20809"/>
                <a:gd name="connsiteX4" fmla="*/ 38422 w 44178"/>
                <a:gd name="connsiteY4" fmla="*/ 14000 h 20809"/>
                <a:gd name="connsiteX5" fmla="*/ 44073 w 44178"/>
                <a:gd name="connsiteY5" fmla="*/ 5395 h 20809"/>
                <a:gd name="connsiteX6" fmla="*/ 39706 w 44178"/>
                <a:gd name="connsiteY6" fmla="*/ 0 h 20809"/>
                <a:gd name="connsiteX7" fmla="*/ 38422 w 44178"/>
                <a:gd name="connsiteY7" fmla="*/ 0 h 20809"/>
                <a:gd name="connsiteX8" fmla="*/ 36623 w 44178"/>
                <a:gd name="connsiteY8" fmla="*/ 0 h 20809"/>
                <a:gd name="connsiteX9" fmla="*/ 5155 w 44178"/>
                <a:gd name="connsiteY9" fmla="*/ 7193 h 20809"/>
                <a:gd name="connsiteX10" fmla="*/ 5155 w 44178"/>
                <a:gd name="connsiteY10" fmla="*/ 7193 h 20809"/>
                <a:gd name="connsiteX11" fmla="*/ 3613 w 44178"/>
                <a:gd name="connsiteY11" fmla="*/ 7964 h 20809"/>
                <a:gd name="connsiteX12" fmla="*/ 2714 w 44178"/>
                <a:gd name="connsiteY12" fmla="*/ 7964 h 20809"/>
                <a:gd name="connsiteX13" fmla="*/ 1430 w 44178"/>
                <a:gd name="connsiteY13" fmla="*/ 9376 h 20809"/>
                <a:gd name="connsiteX14" fmla="*/ 788 w 44178"/>
                <a:gd name="connsiteY14" fmla="*/ 9376 h 20809"/>
                <a:gd name="connsiteX15" fmla="*/ 146 w 44178"/>
                <a:gd name="connsiteY15" fmla="*/ 10789 h 20809"/>
                <a:gd name="connsiteX16" fmla="*/ 146 w 44178"/>
                <a:gd name="connsiteY16" fmla="*/ 10789 h 20809"/>
                <a:gd name="connsiteX17" fmla="*/ 146 w 44178"/>
                <a:gd name="connsiteY17" fmla="*/ 11688 h 20809"/>
                <a:gd name="connsiteX18" fmla="*/ 146 w 44178"/>
                <a:gd name="connsiteY18" fmla="*/ 14514 h 20809"/>
                <a:gd name="connsiteX19" fmla="*/ 6824 w 44178"/>
                <a:gd name="connsiteY19" fmla="*/ 20808 h 2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20809">
                  <a:moveTo>
                    <a:pt x="6824" y="20808"/>
                  </a:moveTo>
                  <a:lnTo>
                    <a:pt x="11449" y="19652"/>
                  </a:lnTo>
                  <a:lnTo>
                    <a:pt x="27504" y="16055"/>
                  </a:lnTo>
                  <a:lnTo>
                    <a:pt x="36109" y="14000"/>
                  </a:lnTo>
                  <a:lnTo>
                    <a:pt x="38422" y="14000"/>
                  </a:lnTo>
                  <a:cubicBezTo>
                    <a:pt x="42264" y="13048"/>
                    <a:pt x="44726" y="9299"/>
                    <a:pt x="44073" y="5395"/>
                  </a:cubicBezTo>
                  <a:cubicBezTo>
                    <a:pt x="43740" y="2922"/>
                    <a:pt x="42055" y="841"/>
                    <a:pt x="39706" y="0"/>
                  </a:cubicBezTo>
                  <a:lnTo>
                    <a:pt x="38422" y="0"/>
                  </a:lnTo>
                  <a:lnTo>
                    <a:pt x="36623" y="0"/>
                  </a:lnTo>
                  <a:lnTo>
                    <a:pt x="5155" y="7193"/>
                  </a:lnTo>
                  <a:lnTo>
                    <a:pt x="5155" y="7193"/>
                  </a:lnTo>
                  <a:cubicBezTo>
                    <a:pt x="4605" y="7371"/>
                    <a:pt x="4086" y="7631"/>
                    <a:pt x="3613" y="7964"/>
                  </a:cubicBezTo>
                  <a:lnTo>
                    <a:pt x="2714" y="7964"/>
                  </a:lnTo>
                  <a:cubicBezTo>
                    <a:pt x="2221" y="8371"/>
                    <a:pt x="1788" y="8846"/>
                    <a:pt x="1430" y="9376"/>
                  </a:cubicBezTo>
                  <a:cubicBezTo>
                    <a:pt x="1430" y="9376"/>
                    <a:pt x="1430" y="9376"/>
                    <a:pt x="788" y="9376"/>
                  </a:cubicBezTo>
                  <a:cubicBezTo>
                    <a:pt x="549" y="9836"/>
                    <a:pt x="335" y="10308"/>
                    <a:pt x="146" y="10789"/>
                  </a:cubicBezTo>
                  <a:cubicBezTo>
                    <a:pt x="146" y="10789"/>
                    <a:pt x="146" y="10789"/>
                    <a:pt x="146" y="10789"/>
                  </a:cubicBezTo>
                  <a:lnTo>
                    <a:pt x="146" y="11688"/>
                  </a:lnTo>
                  <a:cubicBezTo>
                    <a:pt x="-49" y="12620"/>
                    <a:pt x="-49" y="13582"/>
                    <a:pt x="146" y="14514"/>
                  </a:cubicBezTo>
                  <a:cubicBezTo>
                    <a:pt x="285" y="18082"/>
                    <a:pt x="3255" y="20881"/>
                    <a:pt x="6824" y="20808"/>
                  </a:cubicBezTo>
                  <a:close/>
                </a:path>
              </a:pathLst>
            </a:custGeom>
            <a:solidFill>
              <a:srgbClr val="000000"/>
            </a:solidFill>
            <a:ln w="12844"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14DED69F-AD4E-4733-BE23-8FC142EFA391}"/>
                </a:ext>
              </a:extLst>
            </p:cNvPr>
            <p:cNvSpPr/>
            <p:nvPr/>
          </p:nvSpPr>
          <p:spPr>
            <a:xfrm>
              <a:off x="123266" y="4653757"/>
              <a:ext cx="93227" cy="40126"/>
            </a:xfrm>
            <a:custGeom>
              <a:avLst/>
              <a:gdLst>
                <a:gd name="connsiteX0" fmla="*/ 88021 w 93227"/>
                <a:gd name="connsiteY0" fmla="*/ 14400 h 40126"/>
                <a:gd name="connsiteX1" fmla="*/ 93031 w 93227"/>
                <a:gd name="connsiteY1" fmla="*/ 5281 h 40126"/>
                <a:gd name="connsiteX2" fmla="*/ 87508 w 93227"/>
                <a:gd name="connsiteY2" fmla="*/ 143 h 40126"/>
                <a:gd name="connsiteX3" fmla="*/ 84810 w 93227"/>
                <a:gd name="connsiteY3" fmla="*/ 143 h 40126"/>
                <a:gd name="connsiteX4" fmla="*/ 5304 w 93227"/>
                <a:gd name="connsiteY4" fmla="*/ 25832 h 40126"/>
                <a:gd name="connsiteX5" fmla="*/ 166 w 93227"/>
                <a:gd name="connsiteY5" fmla="*/ 34951 h 40126"/>
                <a:gd name="connsiteX6" fmla="*/ 7713 w 93227"/>
                <a:gd name="connsiteY6" fmla="*/ 40004 h 40126"/>
                <a:gd name="connsiteX7" fmla="*/ 8387 w 93227"/>
                <a:gd name="connsiteY7" fmla="*/ 39832 h 40126"/>
                <a:gd name="connsiteX8" fmla="*/ 12882 w 93227"/>
                <a:gd name="connsiteY8" fmla="*/ 38419 h 4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27" h="40126">
                  <a:moveTo>
                    <a:pt x="88021" y="14400"/>
                  </a:moveTo>
                  <a:cubicBezTo>
                    <a:pt x="91760" y="13068"/>
                    <a:pt x="93912" y="9150"/>
                    <a:pt x="93031" y="5281"/>
                  </a:cubicBezTo>
                  <a:cubicBezTo>
                    <a:pt x="92495" y="2553"/>
                    <a:pt x="90266" y="480"/>
                    <a:pt x="87508" y="143"/>
                  </a:cubicBezTo>
                  <a:cubicBezTo>
                    <a:pt x="86619" y="-48"/>
                    <a:pt x="85699" y="-48"/>
                    <a:pt x="84810" y="143"/>
                  </a:cubicBezTo>
                  <a:lnTo>
                    <a:pt x="5304" y="25832"/>
                  </a:lnTo>
                  <a:cubicBezTo>
                    <a:pt x="1554" y="27161"/>
                    <a:pt x="-640" y="31055"/>
                    <a:pt x="166" y="34951"/>
                  </a:cubicBezTo>
                  <a:cubicBezTo>
                    <a:pt x="855" y="38430"/>
                    <a:pt x="4234" y="40692"/>
                    <a:pt x="7713" y="40004"/>
                  </a:cubicBezTo>
                  <a:cubicBezTo>
                    <a:pt x="7941" y="39958"/>
                    <a:pt x="8165" y="39901"/>
                    <a:pt x="8387" y="39832"/>
                  </a:cubicBezTo>
                  <a:lnTo>
                    <a:pt x="12882" y="38419"/>
                  </a:lnTo>
                  <a:close/>
                </a:path>
              </a:pathLst>
            </a:custGeom>
            <a:solidFill>
              <a:srgbClr val="000000"/>
            </a:solidFill>
            <a:ln w="12844"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DA0C02A4-4705-445C-B381-08E62F049C02}"/>
                </a:ext>
              </a:extLst>
            </p:cNvPr>
            <p:cNvSpPr/>
            <p:nvPr/>
          </p:nvSpPr>
          <p:spPr>
            <a:xfrm>
              <a:off x="307800" y="1725598"/>
              <a:ext cx="317803" cy="193033"/>
            </a:xfrm>
            <a:custGeom>
              <a:avLst/>
              <a:gdLst>
                <a:gd name="connsiteX0" fmla="*/ 316690 w 317803"/>
                <a:gd name="connsiteY0" fmla="*/ 189240 h 193033"/>
                <a:gd name="connsiteX1" fmla="*/ 314506 w 317803"/>
                <a:gd name="connsiteY1" fmla="*/ 179350 h 193033"/>
                <a:gd name="connsiteX2" fmla="*/ 312323 w 317803"/>
                <a:gd name="connsiteY2" fmla="*/ 178065 h 193033"/>
                <a:gd name="connsiteX3" fmla="*/ 14334 w 317803"/>
                <a:gd name="connsiteY3" fmla="*/ 3125 h 193033"/>
                <a:gd name="connsiteX4" fmla="*/ 10481 w 317803"/>
                <a:gd name="connsiteY4" fmla="*/ 813 h 193033"/>
                <a:gd name="connsiteX5" fmla="*/ 1262 w 317803"/>
                <a:gd name="connsiteY5" fmla="*/ 3585 h 193033"/>
                <a:gd name="connsiteX6" fmla="*/ 1105 w 317803"/>
                <a:gd name="connsiteY6" fmla="*/ 3896 h 193033"/>
                <a:gd name="connsiteX7" fmla="*/ 77 w 317803"/>
                <a:gd name="connsiteY7" fmla="*/ 6593 h 193033"/>
                <a:gd name="connsiteX8" fmla="*/ 1619 w 317803"/>
                <a:gd name="connsiteY8" fmla="*/ 12244 h 193033"/>
                <a:gd name="connsiteX9" fmla="*/ 3288 w 317803"/>
                <a:gd name="connsiteY9" fmla="*/ 13786 h 193033"/>
                <a:gd name="connsiteX10" fmla="*/ 3288 w 317803"/>
                <a:gd name="connsiteY10" fmla="*/ 13786 h 193033"/>
                <a:gd name="connsiteX11" fmla="*/ 307313 w 317803"/>
                <a:gd name="connsiteY11" fmla="*/ 192194 h 193033"/>
                <a:gd name="connsiteX12" fmla="*/ 316555 w 317803"/>
                <a:gd name="connsiteY12" fmla="*/ 189498 h 193033"/>
                <a:gd name="connsiteX13" fmla="*/ 316690 w 317803"/>
                <a:gd name="connsiteY13" fmla="*/ 189240 h 1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7803" h="193033">
                  <a:moveTo>
                    <a:pt x="316690" y="189240"/>
                  </a:moveTo>
                  <a:cubicBezTo>
                    <a:pt x="318800" y="185903"/>
                    <a:pt x="317825" y="181488"/>
                    <a:pt x="314506" y="179350"/>
                  </a:cubicBezTo>
                  <a:lnTo>
                    <a:pt x="312323" y="178065"/>
                  </a:lnTo>
                  <a:lnTo>
                    <a:pt x="14334" y="3125"/>
                  </a:lnTo>
                  <a:lnTo>
                    <a:pt x="10481" y="813"/>
                  </a:lnTo>
                  <a:cubicBezTo>
                    <a:pt x="7170" y="-967"/>
                    <a:pt x="3042" y="274"/>
                    <a:pt x="1262" y="3585"/>
                  </a:cubicBezTo>
                  <a:cubicBezTo>
                    <a:pt x="1207" y="3687"/>
                    <a:pt x="1154" y="3791"/>
                    <a:pt x="1105" y="3896"/>
                  </a:cubicBezTo>
                  <a:cubicBezTo>
                    <a:pt x="651" y="4748"/>
                    <a:pt x="306" y="5654"/>
                    <a:pt x="77" y="6593"/>
                  </a:cubicBezTo>
                  <a:cubicBezTo>
                    <a:pt x="-218" y="8609"/>
                    <a:pt x="341" y="10657"/>
                    <a:pt x="1619" y="12244"/>
                  </a:cubicBezTo>
                  <a:cubicBezTo>
                    <a:pt x="2111" y="12823"/>
                    <a:pt x="2672" y="13341"/>
                    <a:pt x="3288" y="13786"/>
                  </a:cubicBezTo>
                  <a:lnTo>
                    <a:pt x="3288" y="13786"/>
                  </a:lnTo>
                  <a:lnTo>
                    <a:pt x="307313" y="192194"/>
                  </a:lnTo>
                  <a:cubicBezTo>
                    <a:pt x="310610" y="194002"/>
                    <a:pt x="314748" y="192795"/>
                    <a:pt x="316555" y="189498"/>
                  </a:cubicBezTo>
                  <a:cubicBezTo>
                    <a:pt x="316602" y="189413"/>
                    <a:pt x="316647" y="189327"/>
                    <a:pt x="316690" y="189240"/>
                  </a:cubicBezTo>
                  <a:close/>
                </a:path>
              </a:pathLst>
            </a:custGeom>
            <a:solidFill>
              <a:srgbClr val="000000"/>
            </a:solidFill>
            <a:ln w="12844"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016893" y="365125"/>
            <a:ext cx="5669280" cy="1325563"/>
          </a:xfrm>
        </p:spPr>
        <p:txBody>
          <a:bodyPr/>
          <a:lstStyle>
            <a:lvl1pP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10" name="Text Placeholder 7">
            <a:extLst>
              <a:ext uri="{FF2B5EF4-FFF2-40B4-BE49-F238E27FC236}">
                <a16:creationId xmlns:a16="http://schemas.microsoft.com/office/drawing/2014/main" id="{8CAA5FDF-024E-4518-94A8-CCFF36F61770}"/>
              </a:ext>
            </a:extLst>
          </p:cNvPr>
          <p:cNvSpPr>
            <a:spLocks noGrp="1"/>
          </p:cNvSpPr>
          <p:nvPr>
            <p:ph type="body" sz="quarter" idx="13" hasCustomPrompt="1"/>
          </p:nvPr>
        </p:nvSpPr>
        <p:spPr>
          <a:xfrm>
            <a:off x="6015158" y="2103120"/>
            <a:ext cx="5669280" cy="64008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1" name="Text Placeholder 7">
            <a:extLst>
              <a:ext uri="{FF2B5EF4-FFF2-40B4-BE49-F238E27FC236}">
                <a16:creationId xmlns:a16="http://schemas.microsoft.com/office/drawing/2014/main" id="{7C8A1D56-1555-4374-8016-842861FD554F}"/>
              </a:ext>
            </a:extLst>
          </p:cNvPr>
          <p:cNvSpPr>
            <a:spLocks noGrp="1"/>
          </p:cNvSpPr>
          <p:nvPr>
            <p:ph type="body" sz="quarter" idx="14" hasCustomPrompt="1"/>
          </p:nvPr>
        </p:nvSpPr>
        <p:spPr>
          <a:xfrm>
            <a:off x="6015158" y="1691640"/>
            <a:ext cx="566928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2" name="Text Placeholder 7">
            <a:extLst>
              <a:ext uri="{FF2B5EF4-FFF2-40B4-BE49-F238E27FC236}">
                <a16:creationId xmlns:a16="http://schemas.microsoft.com/office/drawing/2014/main" id="{A9FD7831-866F-4D83-9851-7C1EC44256F9}"/>
              </a:ext>
            </a:extLst>
          </p:cNvPr>
          <p:cNvSpPr>
            <a:spLocks noGrp="1"/>
          </p:cNvSpPr>
          <p:nvPr>
            <p:ph type="body" sz="quarter" idx="15" hasCustomPrompt="1"/>
          </p:nvPr>
        </p:nvSpPr>
        <p:spPr>
          <a:xfrm>
            <a:off x="6023174" y="3319272"/>
            <a:ext cx="5669280" cy="36576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13" name="Text Placeholder 7">
            <a:extLst>
              <a:ext uri="{FF2B5EF4-FFF2-40B4-BE49-F238E27FC236}">
                <a16:creationId xmlns:a16="http://schemas.microsoft.com/office/drawing/2014/main" id="{F88E22F4-8FE4-4E59-A16B-40858C5C60FC}"/>
              </a:ext>
            </a:extLst>
          </p:cNvPr>
          <p:cNvSpPr>
            <a:spLocks noGrp="1"/>
          </p:cNvSpPr>
          <p:nvPr>
            <p:ph type="body" sz="quarter" idx="16" hasCustomPrompt="1"/>
          </p:nvPr>
        </p:nvSpPr>
        <p:spPr>
          <a:xfrm>
            <a:off x="6023174" y="2898648"/>
            <a:ext cx="566928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9" name="Text Placeholder 7">
            <a:extLst>
              <a:ext uri="{FF2B5EF4-FFF2-40B4-BE49-F238E27FC236}">
                <a16:creationId xmlns:a16="http://schemas.microsoft.com/office/drawing/2014/main" id="{270A9661-E377-43D7-96E8-70CD35163958}"/>
              </a:ext>
            </a:extLst>
          </p:cNvPr>
          <p:cNvSpPr>
            <a:spLocks noGrp="1"/>
          </p:cNvSpPr>
          <p:nvPr>
            <p:ph type="body" sz="quarter" idx="17" hasCustomPrompt="1"/>
          </p:nvPr>
        </p:nvSpPr>
        <p:spPr>
          <a:xfrm>
            <a:off x="6024437" y="4270248"/>
            <a:ext cx="5669280" cy="36576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20" name="Text Placeholder 7">
            <a:extLst>
              <a:ext uri="{FF2B5EF4-FFF2-40B4-BE49-F238E27FC236}">
                <a16:creationId xmlns:a16="http://schemas.microsoft.com/office/drawing/2014/main" id="{3B3F01A4-87E3-450B-951E-0784E7C2B6DA}"/>
              </a:ext>
            </a:extLst>
          </p:cNvPr>
          <p:cNvSpPr>
            <a:spLocks noGrp="1"/>
          </p:cNvSpPr>
          <p:nvPr>
            <p:ph type="body" sz="quarter" idx="18" hasCustomPrompt="1"/>
          </p:nvPr>
        </p:nvSpPr>
        <p:spPr>
          <a:xfrm>
            <a:off x="6024437" y="3858768"/>
            <a:ext cx="566928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21" name="Text Placeholder 7">
            <a:extLst>
              <a:ext uri="{FF2B5EF4-FFF2-40B4-BE49-F238E27FC236}">
                <a16:creationId xmlns:a16="http://schemas.microsoft.com/office/drawing/2014/main" id="{07183A59-7582-4A62-94A7-0FC05D4E3F13}"/>
              </a:ext>
            </a:extLst>
          </p:cNvPr>
          <p:cNvSpPr>
            <a:spLocks noGrp="1"/>
          </p:cNvSpPr>
          <p:nvPr>
            <p:ph type="body" sz="quarter" idx="19" hasCustomPrompt="1"/>
          </p:nvPr>
        </p:nvSpPr>
        <p:spPr>
          <a:xfrm>
            <a:off x="6025896" y="5230368"/>
            <a:ext cx="5669280" cy="640080"/>
          </a:xfrm>
        </p:spPr>
        <p:txBody>
          <a:bodyPr>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ext</a:t>
            </a:r>
          </a:p>
        </p:txBody>
      </p:sp>
      <p:sp>
        <p:nvSpPr>
          <p:cNvPr id="22" name="Text Placeholder 7">
            <a:extLst>
              <a:ext uri="{FF2B5EF4-FFF2-40B4-BE49-F238E27FC236}">
                <a16:creationId xmlns:a16="http://schemas.microsoft.com/office/drawing/2014/main" id="{AF629732-FB4B-4F7C-85A0-756352911849}"/>
              </a:ext>
            </a:extLst>
          </p:cNvPr>
          <p:cNvSpPr>
            <a:spLocks noGrp="1"/>
          </p:cNvSpPr>
          <p:nvPr>
            <p:ph type="body" sz="quarter" idx="20" hasCustomPrompt="1"/>
          </p:nvPr>
        </p:nvSpPr>
        <p:spPr>
          <a:xfrm>
            <a:off x="6025896" y="4800600"/>
            <a:ext cx="5669280" cy="365760"/>
          </a:xfrm>
        </p:spPr>
        <p:txBody>
          <a:bodyPr>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EDIT TITLE</a:t>
            </a:r>
          </a:p>
        </p:txBody>
      </p:sp>
      <p:sp>
        <p:nvSpPr>
          <p:cNvPr id="15" name="Footer Placeholder 4">
            <a:extLst>
              <a:ext uri="{FF2B5EF4-FFF2-40B4-BE49-F238E27FC236}">
                <a16:creationId xmlns:a16="http://schemas.microsoft.com/office/drawing/2014/main" id="{EF9214E9-6126-4AC1-90E2-D969038661B4}"/>
              </a:ext>
            </a:extLst>
          </p:cNvPr>
          <p:cNvSpPr>
            <a:spLocks noGrp="1"/>
          </p:cNvSpPr>
          <p:nvPr>
            <p:ph type="ftr" sz="quarter" idx="11"/>
          </p:nvPr>
        </p:nvSpPr>
        <p:spPr>
          <a:xfrm>
            <a:off x="6025896" y="6356350"/>
            <a:ext cx="3017520" cy="365125"/>
          </a:xfrm>
        </p:spPr>
        <p:txBody>
          <a:bodyPr/>
          <a:lstStyle>
            <a:lvl1pPr algn="l">
              <a:defRPr/>
            </a:lvl1pPr>
          </a:lstStyle>
          <a:p>
            <a:r>
              <a:rPr lang="en-US"/>
              <a:t>Pitch deck title</a:t>
            </a:r>
          </a:p>
        </p:txBody>
      </p:sp>
      <p:sp>
        <p:nvSpPr>
          <p:cNvPr id="16" name="Slide Number Placeholder 5">
            <a:extLst>
              <a:ext uri="{FF2B5EF4-FFF2-40B4-BE49-F238E27FC236}">
                <a16:creationId xmlns:a16="http://schemas.microsoft.com/office/drawing/2014/main" id="{F79F1588-A4C7-4DC1-A75C-D24B4A0CAA28}"/>
              </a:ext>
            </a:extLst>
          </p:cNvPr>
          <p:cNvSpPr>
            <a:spLocks noGrp="1"/>
          </p:cNvSpPr>
          <p:nvPr>
            <p:ph type="sldNum" sz="quarter" idx="12"/>
          </p:nvPr>
        </p:nvSpPr>
        <p:spPr>
          <a:xfrm>
            <a:off x="10065684" y="6356350"/>
            <a:ext cx="1645920" cy="365125"/>
          </a:xfr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574163278"/>
      </p:ext>
    </p:extLst>
  </p:cSld>
  <p:clrMapOvr>
    <a:masterClrMapping/>
  </p:clrMapOvr>
  <p:extLst>
    <p:ext uri="{DCECCB84-F9BA-43D5-87BE-67443E8EF086}">
      <p15:sldGuideLst xmlns:p15="http://schemas.microsoft.com/office/powerpoint/2012/main">
        <p15:guide id="1" pos="3840" userDrawn="1">
          <p15:clr>
            <a:srgbClr val="FBAE40"/>
          </p15:clr>
        </p15:guide>
        <p15:guide id="2" pos="2568" userDrawn="1">
          <p15:clr>
            <a:srgbClr val="5ACBF0"/>
          </p15:clr>
        </p15:guide>
        <p15:guide id="3" pos="5136" userDrawn="1">
          <p15:clr>
            <a:srgbClr val="5ACBF0"/>
          </p15:clr>
        </p15:guide>
        <p15:guide id="4" pos="73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Product Overview">
    <p:bg>
      <p:bgPr>
        <a:solidFill>
          <a:schemeClr val="bg1"/>
        </a:solidFill>
        <a:effectLst/>
      </p:bgPr>
    </p:bg>
    <p:spTree>
      <p:nvGrpSpPr>
        <p:cNvPr id="1" name=""/>
        <p:cNvGrpSpPr/>
        <p:nvPr/>
      </p:nvGrpSpPr>
      <p:grpSpPr>
        <a:xfrm>
          <a:off x="0" y="0"/>
          <a:ext cx="0" cy="0"/>
          <a:chOff x="0" y="0"/>
          <a:chExt cx="0" cy="0"/>
        </a:xfrm>
      </p:grpSpPr>
      <p:grpSp>
        <p:nvGrpSpPr>
          <p:cNvPr id="16" name="Picture Placeholder 1029" descr="abstract colorful illustration of buildings&#10;">
            <a:extLst>
              <a:ext uri="{FF2B5EF4-FFF2-40B4-BE49-F238E27FC236}">
                <a16:creationId xmlns:a16="http://schemas.microsoft.com/office/drawing/2014/main" id="{E6C69263-6E67-4BC8-BDFE-C037A7B066B5}"/>
              </a:ext>
            </a:extLst>
          </p:cNvPr>
          <p:cNvGrpSpPr/>
          <p:nvPr userDrawn="1"/>
        </p:nvGrpSpPr>
        <p:grpSpPr>
          <a:xfrm>
            <a:off x="0" y="4773471"/>
            <a:ext cx="12188971" cy="2132947"/>
            <a:chOff x="0" y="4773471"/>
            <a:chExt cx="12188971" cy="2132947"/>
          </a:xfrm>
        </p:grpSpPr>
        <p:sp>
          <p:nvSpPr>
            <p:cNvPr id="20" name="Freeform: Shape 19">
              <a:extLst>
                <a:ext uri="{FF2B5EF4-FFF2-40B4-BE49-F238E27FC236}">
                  <a16:creationId xmlns:a16="http://schemas.microsoft.com/office/drawing/2014/main" id="{65163CAA-2FE4-48F1-A9BE-F30EDFFC9773}"/>
                </a:ext>
              </a:extLst>
            </p:cNvPr>
            <p:cNvSpPr/>
            <p:nvPr/>
          </p:nvSpPr>
          <p:spPr>
            <a:xfrm>
              <a:off x="3529680" y="6457710"/>
              <a:ext cx="76561" cy="4570"/>
            </a:xfrm>
            <a:custGeom>
              <a:avLst/>
              <a:gdLst>
                <a:gd name="connsiteX0" fmla="*/ 0 w 76561"/>
                <a:gd name="connsiteY0" fmla="*/ 4571 h 4570"/>
                <a:gd name="connsiteX1" fmla="*/ 68435 w 76561"/>
                <a:gd name="connsiteY1" fmla="*/ 4571 h 4570"/>
                <a:gd name="connsiteX2" fmla="*/ 76561 w 76561"/>
                <a:gd name="connsiteY2" fmla="*/ 4571 h 4570"/>
                <a:gd name="connsiteX3" fmla="*/ 72879 w 76561"/>
                <a:gd name="connsiteY3" fmla="*/ 0 h 4570"/>
                <a:gd name="connsiteX4" fmla="*/ 0 w 76561"/>
                <a:gd name="connsiteY4" fmla="*/ 0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61" h="4570">
                  <a:moveTo>
                    <a:pt x="0" y="4571"/>
                  </a:moveTo>
                  <a:lnTo>
                    <a:pt x="68435" y="4571"/>
                  </a:lnTo>
                  <a:lnTo>
                    <a:pt x="76561" y="4571"/>
                  </a:lnTo>
                  <a:cubicBezTo>
                    <a:pt x="74733" y="3644"/>
                    <a:pt x="73387" y="1981"/>
                    <a:pt x="72879" y="0"/>
                  </a:cubicBezTo>
                  <a:lnTo>
                    <a:pt x="0" y="0"/>
                  </a:lnTo>
                  <a:close/>
                </a:path>
              </a:pathLst>
            </a:custGeom>
            <a:solidFill>
              <a:srgbClr val="0A4054"/>
            </a:solidFill>
            <a:ln w="126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4B32C1F0-47C1-4B75-ABB5-7DF030AAADB7}"/>
                </a:ext>
              </a:extLst>
            </p:cNvPr>
            <p:cNvSpPr/>
            <p:nvPr/>
          </p:nvSpPr>
          <p:spPr>
            <a:xfrm>
              <a:off x="3611066" y="6453520"/>
              <a:ext cx="542021" cy="410359"/>
            </a:xfrm>
            <a:custGeom>
              <a:avLst/>
              <a:gdLst>
                <a:gd name="connsiteX0" fmla="*/ 539101 w 542021"/>
                <a:gd name="connsiteY0" fmla="*/ 4063 h 410359"/>
                <a:gd name="connsiteX1" fmla="*/ 534912 w 542021"/>
                <a:gd name="connsiteY1" fmla="*/ 2412 h 410359"/>
                <a:gd name="connsiteX2" fmla="*/ 392201 w 542021"/>
                <a:gd name="connsiteY2" fmla="*/ 2412 h 410359"/>
                <a:gd name="connsiteX3" fmla="*/ 387503 w 542021"/>
                <a:gd name="connsiteY3" fmla="*/ 4317 h 410359"/>
                <a:gd name="connsiteX4" fmla="*/ 381155 w 542021"/>
                <a:gd name="connsiteY4" fmla="*/ 0 h 410359"/>
                <a:gd name="connsiteX5" fmla="*/ 4190 w 542021"/>
                <a:gd name="connsiteY5" fmla="*/ 0 h 410359"/>
                <a:gd name="connsiteX6" fmla="*/ 0 w 542021"/>
                <a:gd name="connsiteY6" fmla="*/ 4698 h 410359"/>
                <a:gd name="connsiteX7" fmla="*/ 46978 w 542021"/>
                <a:gd name="connsiteY7" fmla="*/ 6475 h 410359"/>
                <a:gd name="connsiteX8" fmla="*/ 48247 w 542021"/>
                <a:gd name="connsiteY8" fmla="*/ 6475 h 410359"/>
                <a:gd name="connsiteX9" fmla="*/ 49517 w 542021"/>
                <a:gd name="connsiteY9" fmla="*/ 6475 h 410359"/>
                <a:gd name="connsiteX10" fmla="*/ 50660 w 542021"/>
                <a:gd name="connsiteY10" fmla="*/ 7237 h 410359"/>
                <a:gd name="connsiteX11" fmla="*/ 51676 w 542021"/>
                <a:gd name="connsiteY11" fmla="*/ 7999 h 410359"/>
                <a:gd name="connsiteX12" fmla="*/ 52437 w 542021"/>
                <a:gd name="connsiteY12" fmla="*/ 9142 h 410359"/>
                <a:gd name="connsiteX13" fmla="*/ 53199 w 542021"/>
                <a:gd name="connsiteY13" fmla="*/ 10284 h 410359"/>
                <a:gd name="connsiteX14" fmla="*/ 53199 w 542021"/>
                <a:gd name="connsiteY14" fmla="*/ 11554 h 410359"/>
                <a:gd name="connsiteX15" fmla="*/ 53199 w 542021"/>
                <a:gd name="connsiteY15" fmla="*/ 12824 h 410359"/>
                <a:gd name="connsiteX16" fmla="*/ 53199 w 542021"/>
                <a:gd name="connsiteY16" fmla="*/ 410359 h 410359"/>
                <a:gd name="connsiteX17" fmla="*/ 542022 w 542021"/>
                <a:gd name="connsiteY17" fmla="*/ 410359 h 410359"/>
                <a:gd name="connsiteX18" fmla="*/ 542022 w 542021"/>
                <a:gd name="connsiteY18" fmla="*/ 3301 h 410359"/>
                <a:gd name="connsiteX19" fmla="*/ 539101 w 542021"/>
                <a:gd name="connsiteY19" fmla="*/ 4063 h 41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021" h="410359">
                  <a:moveTo>
                    <a:pt x="539101" y="4063"/>
                  </a:moveTo>
                  <a:cubicBezTo>
                    <a:pt x="537552" y="4050"/>
                    <a:pt x="536054" y="3466"/>
                    <a:pt x="534912" y="2412"/>
                  </a:cubicBezTo>
                  <a:lnTo>
                    <a:pt x="392201" y="2412"/>
                  </a:lnTo>
                  <a:cubicBezTo>
                    <a:pt x="390931" y="3619"/>
                    <a:pt x="389255" y="4304"/>
                    <a:pt x="387503" y="4317"/>
                  </a:cubicBezTo>
                  <a:cubicBezTo>
                    <a:pt x="384710" y="4304"/>
                    <a:pt x="382196" y="2603"/>
                    <a:pt x="381155" y="0"/>
                  </a:cubicBezTo>
                  <a:lnTo>
                    <a:pt x="4190" y="0"/>
                  </a:lnTo>
                  <a:cubicBezTo>
                    <a:pt x="3695" y="2184"/>
                    <a:pt x="2120" y="3961"/>
                    <a:pt x="0" y="4698"/>
                  </a:cubicBezTo>
                  <a:lnTo>
                    <a:pt x="46978" y="6475"/>
                  </a:lnTo>
                  <a:lnTo>
                    <a:pt x="48247" y="6475"/>
                  </a:lnTo>
                  <a:lnTo>
                    <a:pt x="49517" y="6475"/>
                  </a:lnTo>
                  <a:lnTo>
                    <a:pt x="50660" y="7237"/>
                  </a:lnTo>
                  <a:lnTo>
                    <a:pt x="51676" y="7999"/>
                  </a:lnTo>
                  <a:cubicBezTo>
                    <a:pt x="51967" y="8355"/>
                    <a:pt x="52234" y="8735"/>
                    <a:pt x="52437" y="9142"/>
                  </a:cubicBezTo>
                  <a:lnTo>
                    <a:pt x="53199" y="10284"/>
                  </a:lnTo>
                  <a:cubicBezTo>
                    <a:pt x="53199" y="10284"/>
                    <a:pt x="53199" y="11173"/>
                    <a:pt x="53199" y="11554"/>
                  </a:cubicBezTo>
                  <a:cubicBezTo>
                    <a:pt x="53199" y="11935"/>
                    <a:pt x="53199" y="12316"/>
                    <a:pt x="53199" y="12824"/>
                  </a:cubicBezTo>
                  <a:lnTo>
                    <a:pt x="53199" y="410359"/>
                  </a:lnTo>
                  <a:lnTo>
                    <a:pt x="542022" y="410359"/>
                  </a:lnTo>
                  <a:lnTo>
                    <a:pt x="542022" y="3301"/>
                  </a:lnTo>
                  <a:cubicBezTo>
                    <a:pt x="541108" y="3746"/>
                    <a:pt x="540117" y="4012"/>
                    <a:pt x="539101" y="4063"/>
                  </a:cubicBezTo>
                  <a:close/>
                </a:path>
              </a:pathLst>
            </a:custGeom>
            <a:solidFill>
              <a:schemeClr val="tx2"/>
            </a:solidFill>
            <a:ln w="126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FFA39C9-E9B6-46B1-9668-3643E375AE4A}"/>
                </a:ext>
              </a:extLst>
            </p:cNvPr>
            <p:cNvSpPr/>
            <p:nvPr/>
          </p:nvSpPr>
          <p:spPr>
            <a:xfrm>
              <a:off x="3193599" y="5908575"/>
              <a:ext cx="73133" cy="548499"/>
            </a:xfrm>
            <a:custGeom>
              <a:avLst/>
              <a:gdLst>
                <a:gd name="connsiteX0" fmla="*/ 68435 w 73133"/>
                <a:gd name="connsiteY0" fmla="*/ 547611 h 548499"/>
                <a:gd name="connsiteX1" fmla="*/ 68435 w 73133"/>
                <a:gd name="connsiteY1" fmla="*/ 6094 h 548499"/>
                <a:gd name="connsiteX2" fmla="*/ 68435 w 73133"/>
                <a:gd name="connsiteY2" fmla="*/ 5333 h 548499"/>
                <a:gd name="connsiteX3" fmla="*/ 68435 w 73133"/>
                <a:gd name="connsiteY3" fmla="*/ 3936 h 548499"/>
                <a:gd name="connsiteX4" fmla="*/ 68435 w 73133"/>
                <a:gd name="connsiteY4" fmla="*/ 2793 h 548499"/>
                <a:gd name="connsiteX5" fmla="*/ 69197 w 73133"/>
                <a:gd name="connsiteY5" fmla="*/ 1651 h 548499"/>
                <a:gd name="connsiteX6" fmla="*/ 70086 w 73133"/>
                <a:gd name="connsiteY6" fmla="*/ 762 h 548499"/>
                <a:gd name="connsiteX7" fmla="*/ 71102 w 73133"/>
                <a:gd name="connsiteY7" fmla="*/ 0 h 548499"/>
                <a:gd name="connsiteX8" fmla="*/ 72371 w 73133"/>
                <a:gd name="connsiteY8" fmla="*/ 0 h 548499"/>
                <a:gd name="connsiteX9" fmla="*/ 73133 w 73133"/>
                <a:gd name="connsiteY9" fmla="*/ 0 h 548499"/>
                <a:gd name="connsiteX10" fmla="*/ 0 w 73133"/>
                <a:gd name="connsiteY10" fmla="*/ 0 h 548499"/>
                <a:gd name="connsiteX11" fmla="*/ 0 w 73133"/>
                <a:gd name="connsiteY11" fmla="*/ 548500 h 548499"/>
                <a:gd name="connsiteX12" fmla="*/ 67419 w 73133"/>
                <a:gd name="connsiteY12" fmla="*/ 548500 h 54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3" h="548499">
                  <a:moveTo>
                    <a:pt x="68435" y="547611"/>
                  </a:moveTo>
                  <a:lnTo>
                    <a:pt x="68435" y="6094"/>
                  </a:lnTo>
                  <a:cubicBezTo>
                    <a:pt x="68384" y="5843"/>
                    <a:pt x="68384" y="5584"/>
                    <a:pt x="68435" y="5333"/>
                  </a:cubicBezTo>
                  <a:cubicBezTo>
                    <a:pt x="68372" y="4869"/>
                    <a:pt x="68372" y="4399"/>
                    <a:pt x="68435" y="3936"/>
                  </a:cubicBezTo>
                  <a:cubicBezTo>
                    <a:pt x="68384" y="3556"/>
                    <a:pt x="68384" y="3173"/>
                    <a:pt x="68435" y="2793"/>
                  </a:cubicBezTo>
                  <a:cubicBezTo>
                    <a:pt x="68600" y="2359"/>
                    <a:pt x="68854" y="1969"/>
                    <a:pt x="69197" y="1651"/>
                  </a:cubicBezTo>
                  <a:lnTo>
                    <a:pt x="70086" y="762"/>
                  </a:lnTo>
                  <a:lnTo>
                    <a:pt x="71102" y="0"/>
                  </a:lnTo>
                  <a:lnTo>
                    <a:pt x="72371" y="0"/>
                  </a:lnTo>
                  <a:lnTo>
                    <a:pt x="73133" y="0"/>
                  </a:lnTo>
                  <a:lnTo>
                    <a:pt x="0" y="0"/>
                  </a:lnTo>
                  <a:lnTo>
                    <a:pt x="0" y="548500"/>
                  </a:lnTo>
                  <a:lnTo>
                    <a:pt x="67419" y="548500"/>
                  </a:lnTo>
                  <a:close/>
                </a:path>
              </a:pathLst>
            </a:custGeom>
            <a:solidFill>
              <a:schemeClr val="accent4"/>
            </a:solidFill>
            <a:ln w="126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CDD224F9-2B9E-472B-A7F6-93C5E1C46CBF}"/>
                </a:ext>
              </a:extLst>
            </p:cNvPr>
            <p:cNvSpPr/>
            <p:nvPr/>
          </p:nvSpPr>
          <p:spPr>
            <a:xfrm>
              <a:off x="6514038" y="6435490"/>
              <a:ext cx="22980" cy="429023"/>
            </a:xfrm>
            <a:custGeom>
              <a:avLst/>
              <a:gdLst>
                <a:gd name="connsiteX0" fmla="*/ 22981 w 22980"/>
                <a:gd name="connsiteY0" fmla="*/ 81894 h 429023"/>
                <a:gd name="connsiteX1" fmla="*/ 21839 w 22980"/>
                <a:gd name="connsiteY1" fmla="*/ 0 h 429023"/>
                <a:gd name="connsiteX2" fmla="*/ 0 w 22980"/>
                <a:gd name="connsiteY2" fmla="*/ 0 h 429023"/>
                <a:gd name="connsiteX3" fmla="*/ 0 w 22980"/>
                <a:gd name="connsiteY3" fmla="*/ 429023 h 429023"/>
                <a:gd name="connsiteX4" fmla="*/ 16125 w 22980"/>
                <a:gd name="connsiteY4" fmla="*/ 429023 h 429023"/>
                <a:gd name="connsiteX5" fmla="*/ 16125 w 22980"/>
                <a:gd name="connsiteY5" fmla="*/ 91163 h 429023"/>
                <a:gd name="connsiteX6" fmla="*/ 22981 w 22980"/>
                <a:gd name="connsiteY6" fmla="*/ 81894 h 4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80" h="429023">
                  <a:moveTo>
                    <a:pt x="22981" y="81894"/>
                  </a:moveTo>
                  <a:lnTo>
                    <a:pt x="21839" y="0"/>
                  </a:lnTo>
                  <a:lnTo>
                    <a:pt x="0" y="0"/>
                  </a:lnTo>
                  <a:lnTo>
                    <a:pt x="0" y="429023"/>
                  </a:lnTo>
                  <a:lnTo>
                    <a:pt x="16125" y="429023"/>
                  </a:lnTo>
                  <a:lnTo>
                    <a:pt x="16125" y="91163"/>
                  </a:lnTo>
                  <a:cubicBezTo>
                    <a:pt x="16544" y="87049"/>
                    <a:pt x="19172" y="83494"/>
                    <a:pt x="22981" y="81894"/>
                  </a:cubicBezTo>
                  <a:close/>
                </a:path>
              </a:pathLst>
            </a:custGeom>
            <a:solidFill>
              <a:srgbClr val="0A4054"/>
            </a:solidFill>
            <a:ln w="126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3619AFA-0717-4855-8C32-8B29569294AC}"/>
                </a:ext>
              </a:extLst>
            </p:cNvPr>
            <p:cNvSpPr/>
            <p:nvPr/>
          </p:nvSpPr>
          <p:spPr>
            <a:xfrm>
              <a:off x="6538289" y="6439680"/>
              <a:ext cx="370996" cy="68181"/>
            </a:xfrm>
            <a:custGeom>
              <a:avLst/>
              <a:gdLst>
                <a:gd name="connsiteX0" fmla="*/ 0 w 370996"/>
                <a:gd name="connsiteY0" fmla="*/ 0 h 68181"/>
                <a:gd name="connsiteX1" fmla="*/ 0 w 370996"/>
                <a:gd name="connsiteY1" fmla="*/ 68181 h 68181"/>
                <a:gd name="connsiteX2" fmla="*/ 338366 w 370996"/>
                <a:gd name="connsiteY2" fmla="*/ 68181 h 68181"/>
                <a:gd name="connsiteX3" fmla="*/ 370997 w 370996"/>
                <a:gd name="connsiteY3" fmla="*/ 68181 h 68181"/>
                <a:gd name="connsiteX4" fmla="*/ 370997 w 370996"/>
                <a:gd name="connsiteY4" fmla="*/ 508 h 68181"/>
                <a:gd name="connsiteX5" fmla="*/ 338239 w 370996"/>
                <a:gd name="connsiteY5" fmla="*/ 0 h 68181"/>
                <a:gd name="connsiteX6" fmla="*/ 0 w 370996"/>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6" h="68181">
                  <a:moveTo>
                    <a:pt x="0" y="0"/>
                  </a:moveTo>
                  <a:lnTo>
                    <a:pt x="0" y="68181"/>
                  </a:lnTo>
                  <a:lnTo>
                    <a:pt x="338366" y="68181"/>
                  </a:lnTo>
                  <a:lnTo>
                    <a:pt x="370997" y="68181"/>
                  </a:lnTo>
                  <a:lnTo>
                    <a:pt x="370997" y="508"/>
                  </a:lnTo>
                  <a:lnTo>
                    <a:pt x="338239" y="0"/>
                  </a:lnTo>
                  <a:lnTo>
                    <a:pt x="0" y="0"/>
                  </a:lnTo>
                  <a:close/>
                </a:path>
              </a:pathLst>
            </a:custGeom>
            <a:solidFill>
              <a:schemeClr val="tx2"/>
            </a:solidFill>
            <a:ln w="126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3C87C896-E3F6-43FF-A39B-99A9EC24B871}"/>
                </a:ext>
              </a:extLst>
            </p:cNvPr>
            <p:cNvSpPr/>
            <p:nvPr/>
          </p:nvSpPr>
          <p:spPr>
            <a:xfrm>
              <a:off x="5177965" y="5641943"/>
              <a:ext cx="28186" cy="190959"/>
            </a:xfrm>
            <a:custGeom>
              <a:avLst/>
              <a:gdLst>
                <a:gd name="connsiteX0" fmla="*/ 28187 w 28186"/>
                <a:gd name="connsiteY0" fmla="*/ 190959 h 190959"/>
                <a:gd name="connsiteX1" fmla="*/ 28187 w 28186"/>
                <a:gd name="connsiteY1" fmla="*/ 10411 h 190959"/>
                <a:gd name="connsiteX2" fmla="*/ 26155 w 28186"/>
                <a:gd name="connsiteY2" fmla="*/ 0 h 190959"/>
                <a:gd name="connsiteX3" fmla="*/ 0 w 28186"/>
                <a:gd name="connsiteY3" fmla="*/ 0 h 190959"/>
                <a:gd name="connsiteX4" fmla="*/ 0 w 28186"/>
                <a:gd name="connsiteY4" fmla="*/ 9650 h 190959"/>
                <a:gd name="connsiteX5" fmla="*/ 0 w 28186"/>
                <a:gd name="connsiteY5" fmla="*/ 190959 h 190959"/>
                <a:gd name="connsiteX6" fmla="*/ 28187 w 28186"/>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86" h="190959">
                  <a:moveTo>
                    <a:pt x="28187" y="190959"/>
                  </a:moveTo>
                  <a:lnTo>
                    <a:pt x="28187" y="10411"/>
                  </a:lnTo>
                  <a:lnTo>
                    <a:pt x="26155" y="0"/>
                  </a:lnTo>
                  <a:lnTo>
                    <a:pt x="0" y="0"/>
                  </a:lnTo>
                  <a:lnTo>
                    <a:pt x="0" y="9650"/>
                  </a:lnTo>
                  <a:lnTo>
                    <a:pt x="0" y="190959"/>
                  </a:lnTo>
                  <a:lnTo>
                    <a:pt x="28187" y="190959"/>
                  </a:lnTo>
                  <a:close/>
                </a:path>
              </a:pathLst>
            </a:custGeom>
            <a:solidFill>
              <a:schemeClr val="accent5"/>
            </a:solidFill>
            <a:ln w="126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38B541B1-0032-417D-96A4-CE1AC4AAA28D}"/>
                </a:ext>
              </a:extLst>
            </p:cNvPr>
            <p:cNvSpPr/>
            <p:nvPr/>
          </p:nvSpPr>
          <p:spPr>
            <a:xfrm>
              <a:off x="4693967" y="4834557"/>
              <a:ext cx="245046" cy="953018"/>
            </a:xfrm>
            <a:custGeom>
              <a:avLst/>
              <a:gdLst>
                <a:gd name="connsiteX0" fmla="*/ 86591 w 245046"/>
                <a:gd name="connsiteY0" fmla="*/ 166454 h 953018"/>
                <a:gd name="connsiteX1" fmla="*/ 89258 w 245046"/>
                <a:gd name="connsiteY1" fmla="*/ 166454 h 953018"/>
                <a:gd name="connsiteX2" fmla="*/ 90400 w 245046"/>
                <a:gd name="connsiteY2" fmla="*/ 167216 h 953018"/>
                <a:gd name="connsiteX3" fmla="*/ 91416 w 245046"/>
                <a:gd name="connsiteY3" fmla="*/ 167978 h 953018"/>
                <a:gd name="connsiteX4" fmla="*/ 92940 w 245046"/>
                <a:gd name="connsiteY4" fmla="*/ 170136 h 953018"/>
                <a:gd name="connsiteX5" fmla="*/ 92940 w 245046"/>
                <a:gd name="connsiteY5" fmla="*/ 170136 h 953018"/>
                <a:gd name="connsiteX6" fmla="*/ 99542 w 245046"/>
                <a:gd name="connsiteY6" fmla="*/ 186134 h 953018"/>
                <a:gd name="connsiteX7" fmla="*/ 99542 w 245046"/>
                <a:gd name="connsiteY7" fmla="*/ 186134 h 953018"/>
                <a:gd name="connsiteX8" fmla="*/ 99542 w 245046"/>
                <a:gd name="connsiteY8" fmla="*/ 187277 h 953018"/>
                <a:gd name="connsiteX9" fmla="*/ 99542 w 245046"/>
                <a:gd name="connsiteY9" fmla="*/ 188801 h 953018"/>
                <a:gd name="connsiteX10" fmla="*/ 99542 w 245046"/>
                <a:gd name="connsiteY10" fmla="*/ 188801 h 953018"/>
                <a:gd name="connsiteX11" fmla="*/ 99542 w 245046"/>
                <a:gd name="connsiteY11" fmla="*/ 953018 h 953018"/>
                <a:gd name="connsiteX12" fmla="*/ 245046 w 245046"/>
                <a:gd name="connsiteY12" fmla="*/ 953018 h 953018"/>
                <a:gd name="connsiteX13" fmla="*/ 245046 w 245046"/>
                <a:gd name="connsiteY13" fmla="*/ 15236 h 953018"/>
                <a:gd name="connsiteX14" fmla="*/ 240983 w 245046"/>
                <a:gd name="connsiteY14" fmla="*/ 0 h 953018"/>
                <a:gd name="connsiteX15" fmla="*/ 0 w 245046"/>
                <a:gd name="connsiteY15" fmla="*/ 0 h 953018"/>
                <a:gd name="connsiteX16" fmla="*/ 0 w 245046"/>
                <a:gd name="connsiteY16" fmla="*/ 166454 h 9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046" h="953018">
                  <a:moveTo>
                    <a:pt x="86591" y="166454"/>
                  </a:moveTo>
                  <a:cubicBezTo>
                    <a:pt x="87467" y="166273"/>
                    <a:pt x="88382" y="166273"/>
                    <a:pt x="89258" y="166454"/>
                  </a:cubicBezTo>
                  <a:lnTo>
                    <a:pt x="90400" y="167216"/>
                  </a:lnTo>
                  <a:cubicBezTo>
                    <a:pt x="90794" y="167397"/>
                    <a:pt x="91137" y="167656"/>
                    <a:pt x="91416" y="167978"/>
                  </a:cubicBezTo>
                  <a:cubicBezTo>
                    <a:pt x="92063" y="168587"/>
                    <a:pt x="92584" y="169321"/>
                    <a:pt x="92940" y="170136"/>
                  </a:cubicBezTo>
                  <a:lnTo>
                    <a:pt x="92940" y="170136"/>
                  </a:lnTo>
                  <a:lnTo>
                    <a:pt x="99542" y="186134"/>
                  </a:lnTo>
                  <a:lnTo>
                    <a:pt x="99542" y="186134"/>
                  </a:lnTo>
                  <a:cubicBezTo>
                    <a:pt x="99606" y="186513"/>
                    <a:pt x="99606" y="186899"/>
                    <a:pt x="99542" y="187277"/>
                  </a:cubicBezTo>
                  <a:cubicBezTo>
                    <a:pt x="99618" y="187782"/>
                    <a:pt x="99618" y="188295"/>
                    <a:pt x="99542" y="188801"/>
                  </a:cubicBezTo>
                  <a:lnTo>
                    <a:pt x="99542" y="188801"/>
                  </a:lnTo>
                  <a:lnTo>
                    <a:pt x="99542" y="953018"/>
                  </a:lnTo>
                  <a:lnTo>
                    <a:pt x="245046" y="953018"/>
                  </a:lnTo>
                  <a:lnTo>
                    <a:pt x="245046" y="15236"/>
                  </a:lnTo>
                  <a:lnTo>
                    <a:pt x="240983" y="0"/>
                  </a:lnTo>
                  <a:lnTo>
                    <a:pt x="0" y="0"/>
                  </a:lnTo>
                  <a:lnTo>
                    <a:pt x="0" y="166454"/>
                  </a:lnTo>
                  <a:close/>
                </a:path>
              </a:pathLst>
            </a:custGeom>
            <a:solidFill>
              <a:srgbClr val="22B0AE"/>
            </a:solidFill>
            <a:ln w="12690" cap="flat">
              <a:solidFill>
                <a:schemeClr val="accent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85B3F5DC-2D30-4A19-9799-B243B363C5CD}"/>
                </a:ext>
              </a:extLst>
            </p:cNvPr>
            <p:cNvSpPr/>
            <p:nvPr/>
          </p:nvSpPr>
          <p:spPr>
            <a:xfrm>
              <a:off x="3464165" y="5752278"/>
              <a:ext cx="138012" cy="701114"/>
            </a:xfrm>
            <a:custGeom>
              <a:avLst/>
              <a:gdLst>
                <a:gd name="connsiteX0" fmla="*/ 65515 w 138012"/>
                <a:gd name="connsiteY0" fmla="*/ 62468 h 701114"/>
                <a:gd name="connsiteX1" fmla="*/ 65515 w 138012"/>
                <a:gd name="connsiteY1" fmla="*/ 701115 h 701114"/>
                <a:gd name="connsiteX2" fmla="*/ 138013 w 138012"/>
                <a:gd name="connsiteY2" fmla="*/ 701115 h 701114"/>
                <a:gd name="connsiteX3" fmla="*/ 138013 w 138012"/>
                <a:gd name="connsiteY3" fmla="*/ 0 h 701114"/>
                <a:gd name="connsiteX4" fmla="*/ 0 w 138012"/>
                <a:gd name="connsiteY4" fmla="*/ 0 h 701114"/>
                <a:gd name="connsiteX5" fmla="*/ 0 w 138012"/>
                <a:gd name="connsiteY5" fmla="*/ 55485 h 701114"/>
                <a:gd name="connsiteX6" fmla="*/ 58151 w 138012"/>
                <a:gd name="connsiteY6" fmla="*/ 55485 h 701114"/>
                <a:gd name="connsiteX7" fmla="*/ 65502 w 138012"/>
                <a:gd name="connsiteY7" fmla="*/ 62077 h 701114"/>
                <a:gd name="connsiteX8" fmla="*/ 65515 w 138012"/>
                <a:gd name="connsiteY8" fmla="*/ 62468 h 70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12" h="701114">
                  <a:moveTo>
                    <a:pt x="65515" y="62468"/>
                  </a:moveTo>
                  <a:lnTo>
                    <a:pt x="65515" y="701115"/>
                  </a:lnTo>
                  <a:lnTo>
                    <a:pt x="138013" y="701115"/>
                  </a:lnTo>
                  <a:lnTo>
                    <a:pt x="138013" y="0"/>
                  </a:lnTo>
                  <a:lnTo>
                    <a:pt x="0" y="0"/>
                  </a:lnTo>
                  <a:lnTo>
                    <a:pt x="0" y="55485"/>
                  </a:lnTo>
                  <a:lnTo>
                    <a:pt x="58151" y="55485"/>
                  </a:lnTo>
                  <a:cubicBezTo>
                    <a:pt x="61998" y="55274"/>
                    <a:pt x="65299" y="58226"/>
                    <a:pt x="65502" y="62077"/>
                  </a:cubicBezTo>
                  <a:cubicBezTo>
                    <a:pt x="65515" y="62206"/>
                    <a:pt x="65515" y="62337"/>
                    <a:pt x="65515" y="62468"/>
                  </a:cubicBezTo>
                  <a:close/>
                </a:path>
              </a:pathLst>
            </a:custGeom>
            <a:solidFill>
              <a:schemeClr val="accent4"/>
            </a:solidFill>
            <a:ln w="126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6EC0B84-3C55-44D5-85A6-039E581E2067}"/>
                </a:ext>
              </a:extLst>
            </p:cNvPr>
            <p:cNvSpPr/>
            <p:nvPr/>
          </p:nvSpPr>
          <p:spPr>
            <a:xfrm>
              <a:off x="3975080" y="5464443"/>
              <a:ext cx="16633" cy="990346"/>
            </a:xfrm>
            <a:custGeom>
              <a:avLst/>
              <a:gdLst>
                <a:gd name="connsiteX0" fmla="*/ 16633 w 16633"/>
                <a:gd name="connsiteY0" fmla="*/ 989839 h 990346"/>
                <a:gd name="connsiteX1" fmla="*/ 16633 w 16633"/>
                <a:gd name="connsiteY1" fmla="*/ 988823 h 990346"/>
                <a:gd name="connsiteX2" fmla="*/ 16633 w 16633"/>
                <a:gd name="connsiteY2" fmla="*/ 155662 h 990346"/>
                <a:gd name="connsiteX3" fmla="*/ 16633 w 16633"/>
                <a:gd name="connsiteY3" fmla="*/ 11427 h 990346"/>
                <a:gd name="connsiteX4" fmla="*/ 0 w 16633"/>
                <a:gd name="connsiteY4" fmla="*/ 0 h 990346"/>
                <a:gd name="connsiteX5" fmla="*/ 0 w 16633"/>
                <a:gd name="connsiteY5" fmla="*/ 990347 h 990346"/>
                <a:gd name="connsiteX6" fmla="*/ 16633 w 16633"/>
                <a:gd name="connsiteY6" fmla="*/ 989839 h 9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3" h="990346">
                  <a:moveTo>
                    <a:pt x="16633" y="989839"/>
                  </a:moveTo>
                  <a:lnTo>
                    <a:pt x="16633" y="988823"/>
                  </a:lnTo>
                  <a:lnTo>
                    <a:pt x="16633" y="155662"/>
                  </a:lnTo>
                  <a:lnTo>
                    <a:pt x="16633" y="11427"/>
                  </a:lnTo>
                  <a:lnTo>
                    <a:pt x="0" y="0"/>
                  </a:lnTo>
                  <a:lnTo>
                    <a:pt x="0" y="990347"/>
                  </a:lnTo>
                  <a:lnTo>
                    <a:pt x="16633" y="989839"/>
                  </a:lnTo>
                  <a:close/>
                </a:path>
              </a:pathLst>
            </a:custGeom>
            <a:solidFill>
              <a:srgbClr val="E8E7E3"/>
            </a:solidFill>
            <a:ln w="126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3EA2312A-1417-4B5C-9328-7091F12170E7}"/>
                </a:ext>
              </a:extLst>
            </p:cNvPr>
            <p:cNvSpPr/>
            <p:nvPr/>
          </p:nvSpPr>
          <p:spPr>
            <a:xfrm>
              <a:off x="3615637" y="5462030"/>
              <a:ext cx="357031" cy="992759"/>
            </a:xfrm>
            <a:custGeom>
              <a:avLst/>
              <a:gdLst>
                <a:gd name="connsiteX0" fmla="*/ 0 w 357031"/>
                <a:gd name="connsiteY0" fmla="*/ 992759 h 992759"/>
                <a:gd name="connsiteX1" fmla="*/ 357031 w 357031"/>
                <a:gd name="connsiteY1" fmla="*/ 992759 h 992759"/>
                <a:gd name="connsiteX2" fmla="*/ 357031 w 357031"/>
                <a:gd name="connsiteY2" fmla="*/ 635 h 992759"/>
                <a:gd name="connsiteX3" fmla="*/ 356142 w 357031"/>
                <a:gd name="connsiteY3" fmla="*/ 0 h 992759"/>
                <a:gd name="connsiteX4" fmla="*/ 0 w 357031"/>
                <a:gd name="connsiteY4" fmla="*/ 0 h 992759"/>
                <a:gd name="connsiteX5" fmla="*/ 0 w 357031"/>
                <a:gd name="connsiteY5" fmla="*/ 283391 h 992759"/>
                <a:gd name="connsiteX6" fmla="*/ 0 w 357031"/>
                <a:gd name="connsiteY6" fmla="*/ 992632 h 992759"/>
                <a:gd name="connsiteX7" fmla="*/ 0 w 357031"/>
                <a:gd name="connsiteY7" fmla="*/ 992759 h 9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31" h="992759">
                  <a:moveTo>
                    <a:pt x="0" y="992759"/>
                  </a:moveTo>
                  <a:lnTo>
                    <a:pt x="357031" y="992759"/>
                  </a:lnTo>
                  <a:lnTo>
                    <a:pt x="357031" y="635"/>
                  </a:lnTo>
                  <a:lnTo>
                    <a:pt x="356142" y="0"/>
                  </a:lnTo>
                  <a:lnTo>
                    <a:pt x="0" y="0"/>
                  </a:lnTo>
                  <a:lnTo>
                    <a:pt x="0" y="283391"/>
                  </a:lnTo>
                  <a:lnTo>
                    <a:pt x="0" y="992632"/>
                  </a:lnTo>
                  <a:lnTo>
                    <a:pt x="0" y="992759"/>
                  </a:lnTo>
                  <a:close/>
                </a:path>
              </a:pathLst>
            </a:custGeom>
            <a:solidFill>
              <a:schemeClr val="accent1"/>
            </a:solidFill>
            <a:ln w="12690" cap="flat">
              <a:solidFill>
                <a:schemeClr val="accent1"/>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EF4CA11C-CC73-4357-8C98-80EAE36186E8}"/>
                </a:ext>
              </a:extLst>
            </p:cNvPr>
            <p:cNvSpPr/>
            <p:nvPr/>
          </p:nvSpPr>
          <p:spPr>
            <a:xfrm>
              <a:off x="4019137" y="5628866"/>
              <a:ext cx="13966" cy="817543"/>
            </a:xfrm>
            <a:custGeom>
              <a:avLst/>
              <a:gdLst>
                <a:gd name="connsiteX0" fmla="*/ 13966 w 13966"/>
                <a:gd name="connsiteY0" fmla="*/ 817544 h 817543"/>
                <a:gd name="connsiteX1" fmla="*/ 13966 w 13966"/>
                <a:gd name="connsiteY1" fmla="*/ 8253 h 817543"/>
                <a:gd name="connsiteX2" fmla="*/ 0 w 13966"/>
                <a:gd name="connsiteY2" fmla="*/ 0 h 817543"/>
                <a:gd name="connsiteX3" fmla="*/ 0 w 13966"/>
                <a:gd name="connsiteY3" fmla="*/ 817544 h 817543"/>
                <a:gd name="connsiteX4" fmla="*/ 13966 w 13966"/>
                <a:gd name="connsiteY4" fmla="*/ 817544 h 81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6" h="817543">
                  <a:moveTo>
                    <a:pt x="13966" y="817544"/>
                  </a:moveTo>
                  <a:lnTo>
                    <a:pt x="13966" y="8253"/>
                  </a:lnTo>
                  <a:lnTo>
                    <a:pt x="0" y="0"/>
                  </a:lnTo>
                  <a:lnTo>
                    <a:pt x="0" y="817544"/>
                  </a:lnTo>
                  <a:lnTo>
                    <a:pt x="13966" y="817544"/>
                  </a:lnTo>
                  <a:close/>
                </a:path>
              </a:pathLst>
            </a:custGeom>
            <a:solidFill>
              <a:schemeClr val="accent5"/>
            </a:solidFill>
            <a:ln w="126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8DD8B5C3-8762-4956-AEE0-3D5BDDAACC21}"/>
                </a:ext>
              </a:extLst>
            </p:cNvPr>
            <p:cNvSpPr/>
            <p:nvPr/>
          </p:nvSpPr>
          <p:spPr>
            <a:xfrm>
              <a:off x="4005552" y="5627088"/>
              <a:ext cx="11046" cy="819321"/>
            </a:xfrm>
            <a:custGeom>
              <a:avLst/>
              <a:gdLst>
                <a:gd name="connsiteX0" fmla="*/ 11046 w 11046"/>
                <a:gd name="connsiteY0" fmla="*/ 819321 h 819321"/>
                <a:gd name="connsiteX1" fmla="*/ 11046 w 11046"/>
                <a:gd name="connsiteY1" fmla="*/ 381 h 819321"/>
                <a:gd name="connsiteX2" fmla="*/ 10411 w 11046"/>
                <a:gd name="connsiteY2" fmla="*/ 0 h 819321"/>
                <a:gd name="connsiteX3" fmla="*/ 0 w 11046"/>
                <a:gd name="connsiteY3" fmla="*/ 0 h 819321"/>
                <a:gd name="connsiteX4" fmla="*/ 0 w 11046"/>
                <a:gd name="connsiteY4" fmla="*/ 819321 h 819321"/>
                <a:gd name="connsiteX5" fmla="*/ 11046 w 11046"/>
                <a:gd name="connsiteY5" fmla="*/ 819321 h 8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46" h="819321">
                  <a:moveTo>
                    <a:pt x="11046" y="819321"/>
                  </a:moveTo>
                  <a:lnTo>
                    <a:pt x="11046" y="381"/>
                  </a:lnTo>
                  <a:lnTo>
                    <a:pt x="10411" y="0"/>
                  </a:lnTo>
                  <a:lnTo>
                    <a:pt x="0" y="0"/>
                  </a:lnTo>
                  <a:lnTo>
                    <a:pt x="0" y="819321"/>
                  </a:lnTo>
                  <a:lnTo>
                    <a:pt x="11046" y="819321"/>
                  </a:lnTo>
                  <a:close/>
                </a:path>
              </a:pathLst>
            </a:custGeom>
            <a:solidFill>
              <a:schemeClr val="accent5"/>
            </a:solidFill>
            <a:ln w="126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3F92E61E-B929-4B4F-B51B-08C61C735ABE}"/>
                </a:ext>
              </a:extLst>
            </p:cNvPr>
            <p:cNvSpPr/>
            <p:nvPr/>
          </p:nvSpPr>
          <p:spPr>
            <a:xfrm>
              <a:off x="4166927" y="6448187"/>
              <a:ext cx="343572" cy="416326"/>
            </a:xfrm>
            <a:custGeom>
              <a:avLst/>
              <a:gdLst>
                <a:gd name="connsiteX0" fmla="*/ 32631 w 343572"/>
                <a:gd name="connsiteY0" fmla="*/ 0 h 416326"/>
                <a:gd name="connsiteX1" fmla="*/ 25393 w 343572"/>
                <a:gd name="connsiteY1" fmla="*/ 0 h 416326"/>
                <a:gd name="connsiteX2" fmla="*/ 0 w 343572"/>
                <a:gd name="connsiteY2" fmla="*/ 889 h 416326"/>
                <a:gd name="connsiteX3" fmla="*/ 0 w 343572"/>
                <a:gd name="connsiteY3" fmla="*/ 2412 h 416326"/>
                <a:gd name="connsiteX4" fmla="*/ 0 w 343572"/>
                <a:gd name="connsiteY4" fmla="*/ 4063 h 416326"/>
                <a:gd name="connsiteX5" fmla="*/ 0 w 343572"/>
                <a:gd name="connsiteY5" fmla="*/ 416326 h 416326"/>
                <a:gd name="connsiteX6" fmla="*/ 343572 w 343572"/>
                <a:gd name="connsiteY6" fmla="*/ 416326 h 416326"/>
                <a:gd name="connsiteX7" fmla="*/ 343572 w 343572"/>
                <a:gd name="connsiteY7" fmla="*/ 0 h 416326"/>
                <a:gd name="connsiteX8" fmla="*/ 32631 w 343572"/>
                <a:gd name="connsiteY8" fmla="*/ 0 h 41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572" h="416326">
                  <a:moveTo>
                    <a:pt x="32631" y="0"/>
                  </a:moveTo>
                  <a:lnTo>
                    <a:pt x="25393" y="0"/>
                  </a:lnTo>
                  <a:lnTo>
                    <a:pt x="0" y="889"/>
                  </a:lnTo>
                  <a:lnTo>
                    <a:pt x="0" y="2412"/>
                  </a:lnTo>
                  <a:lnTo>
                    <a:pt x="0" y="4063"/>
                  </a:lnTo>
                  <a:lnTo>
                    <a:pt x="0" y="416326"/>
                  </a:lnTo>
                  <a:lnTo>
                    <a:pt x="343572" y="416326"/>
                  </a:lnTo>
                  <a:lnTo>
                    <a:pt x="343572" y="0"/>
                  </a:lnTo>
                  <a:lnTo>
                    <a:pt x="32631" y="0"/>
                  </a:lnTo>
                  <a:close/>
                </a:path>
              </a:pathLst>
            </a:custGeom>
            <a:solidFill>
              <a:schemeClr val="bg1">
                <a:lumMod val="95000"/>
              </a:schemeClr>
            </a:solidFill>
            <a:ln w="126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960ED26F-5EED-45DA-B0CF-6B5D71F53B41}"/>
                </a:ext>
              </a:extLst>
            </p:cNvPr>
            <p:cNvSpPr/>
            <p:nvPr/>
          </p:nvSpPr>
          <p:spPr>
            <a:xfrm>
              <a:off x="4157024" y="5628231"/>
              <a:ext cx="353475" cy="159344"/>
            </a:xfrm>
            <a:custGeom>
              <a:avLst/>
              <a:gdLst>
                <a:gd name="connsiteX0" fmla="*/ 353476 w 353475"/>
                <a:gd name="connsiteY0" fmla="*/ 0 h 159344"/>
                <a:gd name="connsiteX1" fmla="*/ 292024 w 353475"/>
                <a:gd name="connsiteY1" fmla="*/ 0 h 159344"/>
                <a:gd name="connsiteX2" fmla="*/ 253299 w 353475"/>
                <a:gd name="connsiteY2" fmla="*/ 0 h 159344"/>
                <a:gd name="connsiteX3" fmla="*/ 137124 w 353475"/>
                <a:gd name="connsiteY3" fmla="*/ 0 h 159344"/>
                <a:gd name="connsiteX4" fmla="*/ 91797 w 353475"/>
                <a:gd name="connsiteY4" fmla="*/ 0 h 159344"/>
                <a:gd name="connsiteX5" fmla="*/ 0 w 353475"/>
                <a:gd name="connsiteY5" fmla="*/ 0 h 159344"/>
                <a:gd name="connsiteX6" fmla="*/ 0 w 353475"/>
                <a:gd name="connsiteY6" fmla="*/ 159344 h 159344"/>
                <a:gd name="connsiteX7" fmla="*/ 353476 w 353475"/>
                <a:gd name="connsiteY7" fmla="*/ 159344 h 159344"/>
                <a:gd name="connsiteX8" fmla="*/ 353476 w 353475"/>
                <a:gd name="connsiteY8" fmla="*/ 0 h 15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475" h="159344">
                  <a:moveTo>
                    <a:pt x="353476" y="0"/>
                  </a:moveTo>
                  <a:lnTo>
                    <a:pt x="292024" y="0"/>
                  </a:lnTo>
                  <a:lnTo>
                    <a:pt x="253299" y="0"/>
                  </a:lnTo>
                  <a:lnTo>
                    <a:pt x="137124" y="0"/>
                  </a:lnTo>
                  <a:lnTo>
                    <a:pt x="91797" y="0"/>
                  </a:lnTo>
                  <a:lnTo>
                    <a:pt x="0" y="0"/>
                  </a:lnTo>
                  <a:lnTo>
                    <a:pt x="0" y="159344"/>
                  </a:lnTo>
                  <a:lnTo>
                    <a:pt x="353476" y="159344"/>
                  </a:lnTo>
                  <a:lnTo>
                    <a:pt x="353476" y="0"/>
                  </a:lnTo>
                  <a:close/>
                </a:path>
              </a:pathLst>
            </a:custGeom>
            <a:solidFill>
              <a:schemeClr val="accent3"/>
            </a:solidFill>
            <a:ln w="126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AA250B60-54FA-4BB2-85E8-A996B47472E4}"/>
                </a:ext>
              </a:extLst>
            </p:cNvPr>
            <p:cNvSpPr/>
            <p:nvPr/>
          </p:nvSpPr>
          <p:spPr>
            <a:xfrm>
              <a:off x="4134169" y="6104486"/>
              <a:ext cx="9776" cy="2285"/>
            </a:xfrm>
            <a:custGeom>
              <a:avLst/>
              <a:gdLst>
                <a:gd name="connsiteX0" fmla="*/ 0 w 9776"/>
                <a:gd name="connsiteY0" fmla="*/ 0 h 2285"/>
                <a:gd name="connsiteX1" fmla="*/ 9142 w 9776"/>
                <a:gd name="connsiteY1" fmla="*/ 2285 h 2285"/>
                <a:gd name="connsiteX2" fmla="*/ 9777 w 9776"/>
                <a:gd name="connsiteY2" fmla="*/ 0 h 2285"/>
              </a:gdLst>
              <a:ahLst/>
              <a:cxnLst>
                <a:cxn ang="0">
                  <a:pos x="connsiteX0" y="connsiteY0"/>
                </a:cxn>
                <a:cxn ang="0">
                  <a:pos x="connsiteX1" y="connsiteY1"/>
                </a:cxn>
                <a:cxn ang="0">
                  <a:pos x="connsiteX2" y="connsiteY2"/>
                </a:cxn>
              </a:cxnLst>
              <a:rect l="l" t="t" r="r" b="b"/>
              <a:pathLst>
                <a:path w="9776" h="2285">
                  <a:moveTo>
                    <a:pt x="0" y="0"/>
                  </a:moveTo>
                  <a:lnTo>
                    <a:pt x="9142" y="2285"/>
                  </a:lnTo>
                  <a:cubicBezTo>
                    <a:pt x="9218" y="1498"/>
                    <a:pt x="9434" y="724"/>
                    <a:pt x="9777" y="0"/>
                  </a:cubicBezTo>
                  <a:close/>
                </a:path>
              </a:pathLst>
            </a:custGeom>
            <a:solidFill>
              <a:srgbClr val="F39896"/>
            </a:solidFill>
            <a:ln w="126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B23FB189-DEE6-4F0A-8A82-E44EEA57EC36}"/>
                </a:ext>
              </a:extLst>
            </p:cNvPr>
            <p:cNvSpPr/>
            <p:nvPr/>
          </p:nvSpPr>
          <p:spPr>
            <a:xfrm>
              <a:off x="4156389" y="6104486"/>
              <a:ext cx="36312" cy="335829"/>
            </a:xfrm>
            <a:custGeom>
              <a:avLst/>
              <a:gdLst>
                <a:gd name="connsiteX0" fmla="*/ 2159 w 36312"/>
                <a:gd name="connsiteY0" fmla="*/ 335448 h 335829"/>
                <a:gd name="connsiteX1" fmla="*/ 3428 w 36312"/>
                <a:gd name="connsiteY1" fmla="*/ 335448 h 335829"/>
                <a:gd name="connsiteX2" fmla="*/ 35678 w 36312"/>
                <a:gd name="connsiteY2" fmla="*/ 334432 h 335829"/>
                <a:gd name="connsiteX3" fmla="*/ 36313 w 36312"/>
                <a:gd name="connsiteY3" fmla="*/ 334432 h 335829"/>
                <a:gd name="connsiteX4" fmla="*/ 36313 w 36312"/>
                <a:gd name="connsiteY4" fmla="*/ 0 h 335829"/>
                <a:gd name="connsiteX5" fmla="*/ 0 w 36312"/>
                <a:gd name="connsiteY5" fmla="*/ 0 h 335829"/>
                <a:gd name="connsiteX6" fmla="*/ 635 w 36312"/>
                <a:gd name="connsiteY6" fmla="*/ 2920 h 335829"/>
                <a:gd name="connsiteX7" fmla="*/ 635 w 36312"/>
                <a:gd name="connsiteY7" fmla="*/ 335829 h 335829"/>
                <a:gd name="connsiteX8" fmla="*/ 635 w 36312"/>
                <a:gd name="connsiteY8" fmla="*/ 335829 h 3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12" h="335829">
                  <a:moveTo>
                    <a:pt x="2159" y="335448"/>
                  </a:moveTo>
                  <a:lnTo>
                    <a:pt x="3428" y="335448"/>
                  </a:lnTo>
                  <a:lnTo>
                    <a:pt x="35678" y="334432"/>
                  </a:lnTo>
                  <a:lnTo>
                    <a:pt x="36313" y="334432"/>
                  </a:lnTo>
                  <a:lnTo>
                    <a:pt x="36313" y="0"/>
                  </a:lnTo>
                  <a:lnTo>
                    <a:pt x="0" y="0"/>
                  </a:lnTo>
                  <a:cubicBezTo>
                    <a:pt x="406" y="927"/>
                    <a:pt x="622" y="1917"/>
                    <a:pt x="635" y="2920"/>
                  </a:cubicBezTo>
                  <a:lnTo>
                    <a:pt x="635" y="335829"/>
                  </a:lnTo>
                  <a:lnTo>
                    <a:pt x="635" y="335829"/>
                  </a:lnTo>
                  <a:close/>
                </a:path>
              </a:pathLst>
            </a:custGeom>
            <a:solidFill>
              <a:schemeClr val="accent3"/>
            </a:solidFill>
            <a:ln w="126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183B798F-8246-4FEA-9C57-E99A46BDCE91}"/>
                </a:ext>
              </a:extLst>
            </p:cNvPr>
            <p:cNvSpPr/>
            <p:nvPr/>
          </p:nvSpPr>
          <p:spPr>
            <a:xfrm>
              <a:off x="5210976" y="5852836"/>
              <a:ext cx="761" cy="273741"/>
            </a:xfrm>
            <a:custGeom>
              <a:avLst/>
              <a:gdLst>
                <a:gd name="connsiteX0" fmla="*/ 762 w 761"/>
                <a:gd name="connsiteY0" fmla="*/ 273742 h 273741"/>
                <a:gd name="connsiteX1" fmla="*/ 762 w 761"/>
                <a:gd name="connsiteY1" fmla="*/ 0 h 273741"/>
                <a:gd name="connsiteX2" fmla="*/ 0 w 761"/>
                <a:gd name="connsiteY2" fmla="*/ 0 h 273741"/>
                <a:gd name="connsiteX3" fmla="*/ 0 w 761"/>
                <a:gd name="connsiteY3" fmla="*/ 273742 h 273741"/>
              </a:gdLst>
              <a:ahLst/>
              <a:cxnLst>
                <a:cxn ang="0">
                  <a:pos x="connsiteX0" y="connsiteY0"/>
                </a:cxn>
                <a:cxn ang="0">
                  <a:pos x="connsiteX1" y="connsiteY1"/>
                </a:cxn>
                <a:cxn ang="0">
                  <a:pos x="connsiteX2" y="connsiteY2"/>
                </a:cxn>
                <a:cxn ang="0">
                  <a:pos x="connsiteX3" y="connsiteY3"/>
                </a:cxn>
              </a:cxnLst>
              <a:rect l="l" t="t" r="r" b="b"/>
              <a:pathLst>
                <a:path w="761" h="273741">
                  <a:moveTo>
                    <a:pt x="762" y="273742"/>
                  </a:moveTo>
                  <a:lnTo>
                    <a:pt x="762" y="0"/>
                  </a:lnTo>
                  <a:lnTo>
                    <a:pt x="0" y="0"/>
                  </a:lnTo>
                  <a:lnTo>
                    <a:pt x="0" y="273742"/>
                  </a:lnTo>
                  <a:close/>
                </a:path>
              </a:pathLst>
            </a:custGeom>
            <a:solidFill>
              <a:srgbClr val="F4F5F3"/>
            </a:solidFill>
            <a:ln w="126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53C53FD-4BC1-47D1-8204-DB26D118CF58}"/>
                </a:ext>
              </a:extLst>
            </p:cNvPr>
            <p:cNvSpPr/>
            <p:nvPr/>
          </p:nvSpPr>
          <p:spPr>
            <a:xfrm>
              <a:off x="5212881" y="5852836"/>
              <a:ext cx="319956" cy="586462"/>
            </a:xfrm>
            <a:custGeom>
              <a:avLst/>
              <a:gdLst>
                <a:gd name="connsiteX0" fmla="*/ 8126 w 319956"/>
                <a:gd name="connsiteY0" fmla="*/ 273742 h 586462"/>
                <a:gd name="connsiteX1" fmla="*/ 9015 w 319956"/>
                <a:gd name="connsiteY1" fmla="*/ 273742 h 586462"/>
                <a:gd name="connsiteX2" fmla="*/ 10411 w 319956"/>
                <a:gd name="connsiteY2" fmla="*/ 273742 h 586462"/>
                <a:gd name="connsiteX3" fmla="*/ 11554 w 319956"/>
                <a:gd name="connsiteY3" fmla="*/ 274377 h 586462"/>
                <a:gd name="connsiteX4" fmla="*/ 12697 w 319956"/>
                <a:gd name="connsiteY4" fmla="*/ 275139 h 586462"/>
                <a:gd name="connsiteX5" fmla="*/ 13586 w 319956"/>
                <a:gd name="connsiteY5" fmla="*/ 276281 h 586462"/>
                <a:gd name="connsiteX6" fmla="*/ 14220 w 319956"/>
                <a:gd name="connsiteY6" fmla="*/ 277043 h 586462"/>
                <a:gd name="connsiteX7" fmla="*/ 15236 w 319956"/>
                <a:gd name="connsiteY7" fmla="*/ 279075 h 586462"/>
                <a:gd name="connsiteX8" fmla="*/ 15236 w 319956"/>
                <a:gd name="connsiteY8" fmla="*/ 279075 h 586462"/>
                <a:gd name="connsiteX9" fmla="*/ 15236 w 319956"/>
                <a:gd name="connsiteY9" fmla="*/ 280344 h 586462"/>
                <a:gd name="connsiteX10" fmla="*/ 15236 w 319956"/>
                <a:gd name="connsiteY10" fmla="*/ 281741 h 586462"/>
                <a:gd name="connsiteX11" fmla="*/ 15236 w 319956"/>
                <a:gd name="connsiteY11" fmla="*/ 281741 h 586462"/>
                <a:gd name="connsiteX12" fmla="*/ 15236 w 319956"/>
                <a:gd name="connsiteY12" fmla="*/ 586463 h 586462"/>
                <a:gd name="connsiteX13" fmla="*/ 319956 w 319956"/>
                <a:gd name="connsiteY13" fmla="*/ 586463 h 586462"/>
                <a:gd name="connsiteX14" fmla="*/ 319956 w 319956"/>
                <a:gd name="connsiteY14" fmla="*/ 0 h 586462"/>
                <a:gd name="connsiteX15" fmla="*/ 0 w 319956"/>
                <a:gd name="connsiteY15" fmla="*/ 0 h 586462"/>
                <a:gd name="connsiteX16" fmla="*/ 0 w 319956"/>
                <a:gd name="connsiteY16" fmla="*/ 273234 h 58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9956" h="586462">
                  <a:moveTo>
                    <a:pt x="8126" y="273742"/>
                  </a:moveTo>
                  <a:lnTo>
                    <a:pt x="9015" y="273742"/>
                  </a:lnTo>
                  <a:lnTo>
                    <a:pt x="10411" y="273742"/>
                  </a:lnTo>
                  <a:cubicBezTo>
                    <a:pt x="10830" y="273869"/>
                    <a:pt x="11224" y="274097"/>
                    <a:pt x="11554" y="274377"/>
                  </a:cubicBezTo>
                  <a:lnTo>
                    <a:pt x="12697" y="275139"/>
                  </a:lnTo>
                  <a:lnTo>
                    <a:pt x="13586" y="276281"/>
                  </a:lnTo>
                  <a:lnTo>
                    <a:pt x="14220" y="277043"/>
                  </a:lnTo>
                  <a:lnTo>
                    <a:pt x="15236" y="279075"/>
                  </a:lnTo>
                  <a:lnTo>
                    <a:pt x="15236" y="279075"/>
                  </a:lnTo>
                  <a:cubicBezTo>
                    <a:pt x="15312" y="279494"/>
                    <a:pt x="15312" y="279925"/>
                    <a:pt x="15236" y="280344"/>
                  </a:cubicBezTo>
                  <a:cubicBezTo>
                    <a:pt x="15312" y="280801"/>
                    <a:pt x="15312" y="281284"/>
                    <a:pt x="15236" y="281741"/>
                  </a:cubicBezTo>
                  <a:lnTo>
                    <a:pt x="15236" y="281741"/>
                  </a:lnTo>
                  <a:lnTo>
                    <a:pt x="15236" y="586463"/>
                  </a:lnTo>
                  <a:lnTo>
                    <a:pt x="319956" y="586463"/>
                  </a:lnTo>
                  <a:lnTo>
                    <a:pt x="319956" y="0"/>
                  </a:lnTo>
                  <a:lnTo>
                    <a:pt x="0" y="0"/>
                  </a:lnTo>
                  <a:lnTo>
                    <a:pt x="0" y="273234"/>
                  </a:lnTo>
                  <a:close/>
                </a:path>
              </a:pathLst>
            </a:custGeom>
            <a:solidFill>
              <a:schemeClr val="accent3"/>
            </a:solidFill>
            <a:ln w="126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724B5820-D7A1-4CB0-90A5-EBD49595DF9D}"/>
                </a:ext>
              </a:extLst>
            </p:cNvPr>
            <p:cNvSpPr/>
            <p:nvPr/>
          </p:nvSpPr>
          <p:spPr>
            <a:xfrm>
              <a:off x="7962476" y="6518527"/>
              <a:ext cx="212669" cy="345986"/>
            </a:xfrm>
            <a:custGeom>
              <a:avLst/>
              <a:gdLst>
                <a:gd name="connsiteX0" fmla="*/ 158963 w 212669"/>
                <a:gd name="connsiteY0" fmla="*/ 0 h 345986"/>
                <a:gd name="connsiteX1" fmla="*/ 84179 w 212669"/>
                <a:gd name="connsiteY1" fmla="*/ 0 h 345986"/>
                <a:gd name="connsiteX2" fmla="*/ 0 w 212669"/>
                <a:gd name="connsiteY2" fmla="*/ 0 h 345986"/>
                <a:gd name="connsiteX3" fmla="*/ 0 w 212669"/>
                <a:gd name="connsiteY3" fmla="*/ 345986 h 345986"/>
                <a:gd name="connsiteX4" fmla="*/ 212670 w 212669"/>
                <a:gd name="connsiteY4" fmla="*/ 345986 h 345986"/>
                <a:gd name="connsiteX5" fmla="*/ 212670 w 212669"/>
                <a:gd name="connsiteY5" fmla="*/ 2032 h 345986"/>
                <a:gd name="connsiteX6" fmla="*/ 158963 w 212669"/>
                <a:gd name="connsiteY6" fmla="*/ 0 h 34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69" h="345986">
                  <a:moveTo>
                    <a:pt x="158963" y="0"/>
                  </a:moveTo>
                  <a:lnTo>
                    <a:pt x="84179" y="0"/>
                  </a:lnTo>
                  <a:lnTo>
                    <a:pt x="0" y="0"/>
                  </a:lnTo>
                  <a:lnTo>
                    <a:pt x="0" y="345986"/>
                  </a:lnTo>
                  <a:lnTo>
                    <a:pt x="212670" y="345986"/>
                  </a:lnTo>
                  <a:lnTo>
                    <a:pt x="212670" y="2032"/>
                  </a:lnTo>
                  <a:lnTo>
                    <a:pt x="158963" y="0"/>
                  </a:lnTo>
                  <a:close/>
                </a:path>
              </a:pathLst>
            </a:custGeom>
            <a:solidFill>
              <a:srgbClr val="66B2B0"/>
            </a:solidFill>
            <a:ln w="126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1AE9EAD7-2BD7-478B-8DAE-E1C3C9D8D08A}"/>
                </a:ext>
              </a:extLst>
            </p:cNvPr>
            <p:cNvSpPr/>
            <p:nvPr/>
          </p:nvSpPr>
          <p:spPr>
            <a:xfrm>
              <a:off x="7906865" y="6522717"/>
              <a:ext cx="53199" cy="341796"/>
            </a:xfrm>
            <a:custGeom>
              <a:avLst/>
              <a:gdLst>
                <a:gd name="connsiteX0" fmla="*/ 0 w 53199"/>
                <a:gd name="connsiteY0" fmla="*/ 0 h 341796"/>
                <a:gd name="connsiteX1" fmla="*/ 53199 w 53199"/>
                <a:gd name="connsiteY1" fmla="*/ 0 h 341796"/>
                <a:gd name="connsiteX2" fmla="*/ 53199 w 53199"/>
                <a:gd name="connsiteY2" fmla="*/ 341796 h 341796"/>
                <a:gd name="connsiteX3" fmla="*/ 0 w 53199"/>
                <a:gd name="connsiteY3" fmla="*/ 341796 h 341796"/>
              </a:gdLst>
              <a:ahLst/>
              <a:cxnLst>
                <a:cxn ang="0">
                  <a:pos x="connsiteX0" y="connsiteY0"/>
                </a:cxn>
                <a:cxn ang="0">
                  <a:pos x="connsiteX1" y="connsiteY1"/>
                </a:cxn>
                <a:cxn ang="0">
                  <a:pos x="connsiteX2" y="connsiteY2"/>
                </a:cxn>
                <a:cxn ang="0">
                  <a:pos x="connsiteX3" y="connsiteY3"/>
                </a:cxn>
              </a:cxnLst>
              <a:rect l="l" t="t" r="r" b="b"/>
              <a:pathLst>
                <a:path w="53199" h="341796">
                  <a:moveTo>
                    <a:pt x="0" y="0"/>
                  </a:moveTo>
                  <a:lnTo>
                    <a:pt x="53199" y="0"/>
                  </a:lnTo>
                  <a:lnTo>
                    <a:pt x="53199" y="341796"/>
                  </a:lnTo>
                  <a:lnTo>
                    <a:pt x="0" y="341796"/>
                  </a:lnTo>
                  <a:close/>
                </a:path>
              </a:pathLst>
            </a:custGeom>
            <a:solidFill>
              <a:schemeClr val="accent3"/>
            </a:solidFill>
            <a:ln w="126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C10900DB-C70A-4283-A7A3-5A76D72F56A6}"/>
                </a:ext>
              </a:extLst>
            </p:cNvPr>
            <p:cNvSpPr/>
            <p:nvPr/>
          </p:nvSpPr>
          <p:spPr>
            <a:xfrm>
              <a:off x="7843254" y="5954918"/>
              <a:ext cx="196418" cy="553959"/>
            </a:xfrm>
            <a:custGeom>
              <a:avLst/>
              <a:gdLst>
                <a:gd name="connsiteX0" fmla="*/ 0 w 196418"/>
                <a:gd name="connsiteY0" fmla="*/ 3174 h 553959"/>
                <a:gd name="connsiteX1" fmla="*/ 0 w 196418"/>
                <a:gd name="connsiteY1" fmla="*/ 551420 h 553959"/>
                <a:gd name="connsiteX2" fmla="*/ 62468 w 196418"/>
                <a:gd name="connsiteY2" fmla="*/ 553959 h 553959"/>
                <a:gd name="connsiteX3" fmla="*/ 196418 w 196418"/>
                <a:gd name="connsiteY3" fmla="*/ 553959 h 553959"/>
                <a:gd name="connsiteX4" fmla="*/ 196418 w 196418"/>
                <a:gd name="connsiteY4" fmla="*/ 0 h 553959"/>
                <a:gd name="connsiteX5" fmla="*/ 0 w 196418"/>
                <a:gd name="connsiteY5" fmla="*/ 0 h 553959"/>
                <a:gd name="connsiteX6" fmla="*/ 0 w 196418"/>
                <a:gd name="connsiteY6" fmla="*/ 3174 h 55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418" h="553959">
                  <a:moveTo>
                    <a:pt x="0" y="3174"/>
                  </a:moveTo>
                  <a:lnTo>
                    <a:pt x="0" y="551420"/>
                  </a:lnTo>
                  <a:lnTo>
                    <a:pt x="62468" y="553959"/>
                  </a:lnTo>
                  <a:lnTo>
                    <a:pt x="196418" y="553959"/>
                  </a:lnTo>
                  <a:lnTo>
                    <a:pt x="196418" y="0"/>
                  </a:lnTo>
                  <a:lnTo>
                    <a:pt x="0" y="0"/>
                  </a:lnTo>
                  <a:lnTo>
                    <a:pt x="0" y="3174"/>
                  </a:lnTo>
                  <a:close/>
                </a:path>
              </a:pathLst>
            </a:custGeom>
            <a:solidFill>
              <a:schemeClr val="bg1">
                <a:lumMod val="95000"/>
              </a:schemeClr>
            </a:solidFill>
            <a:ln w="126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4070532-A6F9-4973-B9ED-5D2BAE5C0A98}"/>
                </a:ext>
              </a:extLst>
            </p:cNvPr>
            <p:cNvSpPr/>
            <p:nvPr/>
          </p:nvSpPr>
          <p:spPr>
            <a:xfrm>
              <a:off x="5535758" y="5679145"/>
              <a:ext cx="172548" cy="128491"/>
            </a:xfrm>
            <a:custGeom>
              <a:avLst/>
              <a:gdLst>
                <a:gd name="connsiteX0" fmla="*/ 0 w 172548"/>
                <a:gd name="connsiteY0" fmla="*/ 128364 h 128491"/>
                <a:gd name="connsiteX1" fmla="*/ 1143 w 172548"/>
                <a:gd name="connsiteY1" fmla="*/ 128364 h 128491"/>
                <a:gd name="connsiteX2" fmla="*/ 2666 w 172548"/>
                <a:gd name="connsiteY2" fmla="*/ 128364 h 128491"/>
                <a:gd name="connsiteX3" fmla="*/ 172548 w 172548"/>
                <a:gd name="connsiteY3" fmla="*/ 128364 h 128491"/>
                <a:gd name="connsiteX4" fmla="*/ 172548 w 172548"/>
                <a:gd name="connsiteY4" fmla="*/ 0 h 128491"/>
                <a:gd name="connsiteX5" fmla="*/ 0 w 172548"/>
                <a:gd name="connsiteY5" fmla="*/ 0 h 128491"/>
                <a:gd name="connsiteX6" fmla="*/ 0 w 172548"/>
                <a:gd name="connsiteY6" fmla="*/ 128491 h 12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48" h="128491">
                  <a:moveTo>
                    <a:pt x="0" y="128364"/>
                  </a:moveTo>
                  <a:lnTo>
                    <a:pt x="1143" y="128364"/>
                  </a:lnTo>
                  <a:lnTo>
                    <a:pt x="2666" y="128364"/>
                  </a:lnTo>
                  <a:lnTo>
                    <a:pt x="172548" y="128364"/>
                  </a:lnTo>
                  <a:lnTo>
                    <a:pt x="172548" y="0"/>
                  </a:lnTo>
                  <a:lnTo>
                    <a:pt x="0" y="0"/>
                  </a:lnTo>
                  <a:lnTo>
                    <a:pt x="0" y="128491"/>
                  </a:lnTo>
                  <a:close/>
                </a:path>
              </a:pathLst>
            </a:custGeom>
            <a:solidFill>
              <a:schemeClr val="accent5"/>
            </a:solidFill>
            <a:ln w="126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2AB6079-5A5A-4731-B390-D74485B0AE24}"/>
                </a:ext>
              </a:extLst>
            </p:cNvPr>
            <p:cNvSpPr/>
            <p:nvPr/>
          </p:nvSpPr>
          <p:spPr>
            <a:xfrm>
              <a:off x="5015193" y="5658576"/>
              <a:ext cx="149947" cy="467367"/>
            </a:xfrm>
            <a:custGeom>
              <a:avLst/>
              <a:gdLst>
                <a:gd name="connsiteX0" fmla="*/ 3809 w 149947"/>
                <a:gd name="connsiteY0" fmla="*/ 191086 h 467367"/>
                <a:gd name="connsiteX1" fmla="*/ 3047 w 149947"/>
                <a:gd name="connsiteY1" fmla="*/ 192229 h 467367"/>
                <a:gd name="connsiteX2" fmla="*/ 2032 w 149947"/>
                <a:gd name="connsiteY2" fmla="*/ 193118 h 467367"/>
                <a:gd name="connsiteX3" fmla="*/ 2032 w 149947"/>
                <a:gd name="connsiteY3" fmla="*/ 193118 h 467367"/>
                <a:gd name="connsiteX4" fmla="*/ 2032 w 149947"/>
                <a:gd name="connsiteY4" fmla="*/ 193118 h 467367"/>
                <a:gd name="connsiteX5" fmla="*/ 0 w 149947"/>
                <a:gd name="connsiteY5" fmla="*/ 193879 h 467367"/>
                <a:gd name="connsiteX6" fmla="*/ 0 w 149947"/>
                <a:gd name="connsiteY6" fmla="*/ 467367 h 467367"/>
                <a:gd name="connsiteX7" fmla="*/ 149948 w 149947"/>
                <a:gd name="connsiteY7" fmla="*/ 467367 h 467367"/>
                <a:gd name="connsiteX8" fmla="*/ 149948 w 149947"/>
                <a:gd name="connsiteY8" fmla="*/ 0 h 467367"/>
                <a:gd name="connsiteX9" fmla="*/ 4698 w 149947"/>
                <a:gd name="connsiteY9" fmla="*/ 0 h 467367"/>
                <a:gd name="connsiteX10" fmla="*/ 4698 w 149947"/>
                <a:gd name="connsiteY10" fmla="*/ 187785 h 467367"/>
                <a:gd name="connsiteX11" fmla="*/ 4698 w 149947"/>
                <a:gd name="connsiteY11" fmla="*/ 188547 h 467367"/>
                <a:gd name="connsiteX12" fmla="*/ 4698 w 149947"/>
                <a:gd name="connsiteY12" fmla="*/ 189943 h 46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947" h="467367">
                  <a:moveTo>
                    <a:pt x="3809" y="191086"/>
                  </a:moveTo>
                  <a:lnTo>
                    <a:pt x="3047" y="192229"/>
                  </a:lnTo>
                  <a:cubicBezTo>
                    <a:pt x="2768" y="192589"/>
                    <a:pt x="2425" y="192892"/>
                    <a:pt x="2032" y="193118"/>
                  </a:cubicBezTo>
                  <a:lnTo>
                    <a:pt x="2032" y="193118"/>
                  </a:lnTo>
                  <a:lnTo>
                    <a:pt x="2032" y="193118"/>
                  </a:lnTo>
                  <a:cubicBezTo>
                    <a:pt x="1396" y="193482"/>
                    <a:pt x="711" y="193740"/>
                    <a:pt x="0" y="193879"/>
                  </a:cubicBezTo>
                  <a:lnTo>
                    <a:pt x="0" y="467367"/>
                  </a:lnTo>
                  <a:lnTo>
                    <a:pt x="149948" y="467367"/>
                  </a:lnTo>
                  <a:lnTo>
                    <a:pt x="149948" y="0"/>
                  </a:lnTo>
                  <a:lnTo>
                    <a:pt x="4698" y="0"/>
                  </a:lnTo>
                  <a:lnTo>
                    <a:pt x="4698" y="187785"/>
                  </a:lnTo>
                  <a:cubicBezTo>
                    <a:pt x="4698" y="187785"/>
                    <a:pt x="4698" y="187785"/>
                    <a:pt x="4698" y="188547"/>
                  </a:cubicBezTo>
                  <a:cubicBezTo>
                    <a:pt x="4774" y="189010"/>
                    <a:pt x="4774" y="189481"/>
                    <a:pt x="4698" y="189943"/>
                  </a:cubicBezTo>
                  <a:close/>
                </a:path>
              </a:pathLst>
            </a:custGeom>
            <a:solidFill>
              <a:srgbClr val="66B2B0"/>
            </a:solidFill>
            <a:ln w="126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2AB6729F-E17F-4BC7-A555-4D8BEC8A7540}"/>
                </a:ext>
              </a:extLst>
            </p:cNvPr>
            <p:cNvSpPr/>
            <p:nvPr/>
          </p:nvSpPr>
          <p:spPr>
            <a:xfrm>
              <a:off x="4260248" y="5594203"/>
              <a:ext cx="143218" cy="20187"/>
            </a:xfrm>
            <a:custGeom>
              <a:avLst/>
              <a:gdLst>
                <a:gd name="connsiteX0" fmla="*/ 33900 w 143218"/>
                <a:gd name="connsiteY0" fmla="*/ 20188 h 20187"/>
                <a:gd name="connsiteX1" fmla="*/ 143219 w 143218"/>
                <a:gd name="connsiteY1" fmla="*/ 20188 h 20187"/>
                <a:gd name="connsiteX2" fmla="*/ 143219 w 143218"/>
                <a:gd name="connsiteY2" fmla="*/ 0 h 20187"/>
                <a:gd name="connsiteX3" fmla="*/ 0 w 143218"/>
                <a:gd name="connsiteY3" fmla="*/ 0 h 20187"/>
                <a:gd name="connsiteX4" fmla="*/ 27298 w 143218"/>
                <a:gd name="connsiteY4" fmla="*/ 20188 h 20187"/>
                <a:gd name="connsiteX5" fmla="*/ 33900 w 143218"/>
                <a:gd name="connsiteY5" fmla="*/ 20188 h 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18" h="20187">
                  <a:moveTo>
                    <a:pt x="33900" y="20188"/>
                  </a:moveTo>
                  <a:lnTo>
                    <a:pt x="143219" y="20188"/>
                  </a:lnTo>
                  <a:lnTo>
                    <a:pt x="143219" y="0"/>
                  </a:lnTo>
                  <a:lnTo>
                    <a:pt x="0" y="0"/>
                  </a:lnTo>
                  <a:lnTo>
                    <a:pt x="27298" y="20188"/>
                  </a:lnTo>
                  <a:lnTo>
                    <a:pt x="33900" y="20188"/>
                  </a:lnTo>
                  <a:close/>
                </a:path>
              </a:pathLst>
            </a:custGeom>
            <a:solidFill>
              <a:schemeClr val="accent5"/>
            </a:solidFill>
            <a:ln w="126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76D6962-7CA5-4DAC-AAAB-66C011E431B9}"/>
                </a:ext>
              </a:extLst>
            </p:cNvPr>
            <p:cNvSpPr/>
            <p:nvPr/>
          </p:nvSpPr>
          <p:spPr>
            <a:xfrm>
              <a:off x="4255677" y="5594203"/>
              <a:ext cx="27805" cy="20187"/>
            </a:xfrm>
            <a:custGeom>
              <a:avLst/>
              <a:gdLst>
                <a:gd name="connsiteX0" fmla="*/ 381 w 27805"/>
                <a:gd name="connsiteY0" fmla="*/ 0 h 20187"/>
                <a:gd name="connsiteX1" fmla="*/ 0 w 27805"/>
                <a:gd name="connsiteY1" fmla="*/ 0 h 20187"/>
                <a:gd name="connsiteX2" fmla="*/ 0 w 27805"/>
                <a:gd name="connsiteY2" fmla="*/ 20188 h 20187"/>
                <a:gd name="connsiteX3" fmla="*/ 27806 w 27805"/>
                <a:gd name="connsiteY3" fmla="*/ 20188 h 20187"/>
                <a:gd name="connsiteX4" fmla="*/ 381 w 27805"/>
                <a:gd name="connsiteY4" fmla="*/ 0 h 2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05" h="20187">
                  <a:moveTo>
                    <a:pt x="381" y="0"/>
                  </a:moveTo>
                  <a:lnTo>
                    <a:pt x="0" y="0"/>
                  </a:lnTo>
                  <a:lnTo>
                    <a:pt x="0" y="20188"/>
                  </a:lnTo>
                  <a:lnTo>
                    <a:pt x="27806" y="20188"/>
                  </a:lnTo>
                  <a:lnTo>
                    <a:pt x="381" y="0"/>
                  </a:lnTo>
                  <a:close/>
                </a:path>
              </a:pathLst>
            </a:custGeom>
            <a:solidFill>
              <a:srgbClr val="F39896"/>
            </a:solidFill>
            <a:ln w="126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5E2FB88-E092-44D7-819D-5F70D21E8FCB}"/>
                </a:ext>
              </a:extLst>
            </p:cNvPr>
            <p:cNvSpPr/>
            <p:nvPr/>
          </p:nvSpPr>
          <p:spPr>
            <a:xfrm>
              <a:off x="7837668" y="6519797"/>
              <a:ext cx="66657" cy="344716"/>
            </a:xfrm>
            <a:custGeom>
              <a:avLst/>
              <a:gdLst>
                <a:gd name="connsiteX0" fmla="*/ 0 w 66657"/>
                <a:gd name="connsiteY0" fmla="*/ 0 h 344716"/>
                <a:gd name="connsiteX1" fmla="*/ 0 w 66657"/>
                <a:gd name="connsiteY1" fmla="*/ 344717 h 344716"/>
                <a:gd name="connsiteX2" fmla="*/ 66658 w 66657"/>
                <a:gd name="connsiteY2" fmla="*/ 344717 h 344716"/>
                <a:gd name="connsiteX3" fmla="*/ 66658 w 66657"/>
                <a:gd name="connsiteY3" fmla="*/ 2793 h 344716"/>
                <a:gd name="connsiteX4" fmla="*/ 0 w 66657"/>
                <a:gd name="connsiteY4" fmla="*/ 0 h 34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57" h="344716">
                  <a:moveTo>
                    <a:pt x="0" y="0"/>
                  </a:moveTo>
                  <a:lnTo>
                    <a:pt x="0" y="344717"/>
                  </a:lnTo>
                  <a:lnTo>
                    <a:pt x="66658" y="344717"/>
                  </a:lnTo>
                  <a:lnTo>
                    <a:pt x="66658" y="2793"/>
                  </a:lnTo>
                  <a:lnTo>
                    <a:pt x="0" y="0"/>
                  </a:lnTo>
                  <a:close/>
                </a:path>
              </a:pathLst>
            </a:custGeom>
            <a:solidFill>
              <a:schemeClr val="accent6">
                <a:lumMod val="50000"/>
              </a:schemeClr>
            </a:solidFill>
            <a:ln w="12690" cap="flat">
              <a:solidFill>
                <a:schemeClr val="tx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DCAA7085-5AAD-45E4-95A8-20DB92E63E28}"/>
                </a:ext>
              </a:extLst>
            </p:cNvPr>
            <p:cNvSpPr/>
            <p:nvPr/>
          </p:nvSpPr>
          <p:spPr>
            <a:xfrm>
              <a:off x="7720096" y="6514083"/>
              <a:ext cx="116302" cy="349414"/>
            </a:xfrm>
            <a:custGeom>
              <a:avLst/>
              <a:gdLst>
                <a:gd name="connsiteX0" fmla="*/ 92051 w 116302"/>
                <a:gd name="connsiteY0" fmla="*/ 4698 h 349414"/>
                <a:gd name="connsiteX1" fmla="*/ 85830 w 116302"/>
                <a:gd name="connsiteY1" fmla="*/ 0 h 349414"/>
                <a:gd name="connsiteX2" fmla="*/ 79228 w 116302"/>
                <a:gd name="connsiteY2" fmla="*/ 0 h 349414"/>
                <a:gd name="connsiteX3" fmla="*/ 79228 w 116302"/>
                <a:gd name="connsiteY3" fmla="*/ 1016 h 349414"/>
                <a:gd name="connsiteX4" fmla="*/ 78593 w 116302"/>
                <a:gd name="connsiteY4" fmla="*/ 1904 h 349414"/>
                <a:gd name="connsiteX5" fmla="*/ 77196 w 116302"/>
                <a:gd name="connsiteY5" fmla="*/ 2793 h 349414"/>
                <a:gd name="connsiteX6" fmla="*/ 76434 w 116302"/>
                <a:gd name="connsiteY6" fmla="*/ 2793 h 349414"/>
                <a:gd name="connsiteX7" fmla="*/ 73768 w 116302"/>
                <a:gd name="connsiteY7" fmla="*/ 2793 h 349414"/>
                <a:gd name="connsiteX8" fmla="*/ 73768 w 116302"/>
                <a:gd name="connsiteY8" fmla="*/ 2793 h 349414"/>
                <a:gd name="connsiteX9" fmla="*/ 50787 w 116302"/>
                <a:gd name="connsiteY9" fmla="*/ 1904 h 349414"/>
                <a:gd name="connsiteX10" fmla="*/ 0 w 116302"/>
                <a:gd name="connsiteY10" fmla="*/ 1904 h 349414"/>
                <a:gd name="connsiteX11" fmla="*/ 0 w 116302"/>
                <a:gd name="connsiteY11" fmla="*/ 349415 h 349414"/>
                <a:gd name="connsiteX12" fmla="*/ 116302 w 116302"/>
                <a:gd name="connsiteY12" fmla="*/ 349415 h 349414"/>
                <a:gd name="connsiteX13" fmla="*/ 116302 w 116302"/>
                <a:gd name="connsiteY13" fmla="*/ 5587 h 349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2" h="349414">
                  <a:moveTo>
                    <a:pt x="92051" y="4698"/>
                  </a:moveTo>
                  <a:cubicBezTo>
                    <a:pt x="89207" y="4583"/>
                    <a:pt x="86719" y="2704"/>
                    <a:pt x="85830" y="0"/>
                  </a:cubicBezTo>
                  <a:lnTo>
                    <a:pt x="79228" y="0"/>
                  </a:lnTo>
                  <a:cubicBezTo>
                    <a:pt x="79291" y="330"/>
                    <a:pt x="79291" y="686"/>
                    <a:pt x="79228" y="1016"/>
                  </a:cubicBezTo>
                  <a:lnTo>
                    <a:pt x="78593" y="1904"/>
                  </a:lnTo>
                  <a:cubicBezTo>
                    <a:pt x="78174" y="2273"/>
                    <a:pt x="77704" y="2577"/>
                    <a:pt x="77196" y="2793"/>
                  </a:cubicBezTo>
                  <a:lnTo>
                    <a:pt x="76434" y="2793"/>
                  </a:lnTo>
                  <a:cubicBezTo>
                    <a:pt x="75559" y="2971"/>
                    <a:pt x="74644" y="2971"/>
                    <a:pt x="73768" y="2793"/>
                  </a:cubicBezTo>
                  <a:lnTo>
                    <a:pt x="73768" y="2793"/>
                  </a:lnTo>
                  <a:lnTo>
                    <a:pt x="50787" y="1904"/>
                  </a:lnTo>
                  <a:lnTo>
                    <a:pt x="0" y="1904"/>
                  </a:lnTo>
                  <a:lnTo>
                    <a:pt x="0" y="349415"/>
                  </a:lnTo>
                  <a:lnTo>
                    <a:pt x="116302" y="349415"/>
                  </a:lnTo>
                  <a:lnTo>
                    <a:pt x="116302" y="5587"/>
                  </a:lnTo>
                  <a:close/>
                </a:path>
              </a:pathLst>
            </a:custGeom>
            <a:solidFill>
              <a:schemeClr val="accent4"/>
            </a:solidFill>
            <a:ln w="126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62967586-076C-4C53-A869-78F0F255B759}"/>
                </a:ext>
              </a:extLst>
            </p:cNvPr>
            <p:cNvSpPr/>
            <p:nvPr/>
          </p:nvSpPr>
          <p:spPr>
            <a:xfrm>
              <a:off x="4417306" y="5602456"/>
              <a:ext cx="13839" cy="11934"/>
            </a:xfrm>
            <a:custGeom>
              <a:avLst/>
              <a:gdLst>
                <a:gd name="connsiteX0" fmla="*/ 0 w 13839"/>
                <a:gd name="connsiteY0" fmla="*/ 0 h 11934"/>
                <a:gd name="connsiteX1" fmla="*/ 0 w 13839"/>
                <a:gd name="connsiteY1" fmla="*/ 11935 h 11934"/>
                <a:gd name="connsiteX2" fmla="*/ 13839 w 13839"/>
                <a:gd name="connsiteY2" fmla="*/ 11935 h 11934"/>
                <a:gd name="connsiteX3" fmla="*/ 0 w 13839"/>
                <a:gd name="connsiteY3" fmla="*/ 0 h 11934"/>
              </a:gdLst>
              <a:ahLst/>
              <a:cxnLst>
                <a:cxn ang="0">
                  <a:pos x="connsiteX0" y="connsiteY0"/>
                </a:cxn>
                <a:cxn ang="0">
                  <a:pos x="connsiteX1" y="connsiteY1"/>
                </a:cxn>
                <a:cxn ang="0">
                  <a:pos x="connsiteX2" y="connsiteY2"/>
                </a:cxn>
                <a:cxn ang="0">
                  <a:pos x="connsiteX3" y="connsiteY3"/>
                </a:cxn>
              </a:cxnLst>
              <a:rect l="l" t="t" r="r" b="b"/>
              <a:pathLst>
                <a:path w="13839" h="11934">
                  <a:moveTo>
                    <a:pt x="0" y="0"/>
                  </a:moveTo>
                  <a:lnTo>
                    <a:pt x="0" y="11935"/>
                  </a:lnTo>
                  <a:lnTo>
                    <a:pt x="13839" y="11935"/>
                  </a:lnTo>
                  <a:lnTo>
                    <a:pt x="0" y="0"/>
                  </a:lnTo>
                  <a:close/>
                </a:path>
              </a:pathLst>
            </a:custGeom>
            <a:solidFill>
              <a:srgbClr val="9FD1D0"/>
            </a:solidFill>
            <a:ln w="126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7F2962D-F770-438F-9E89-A8E5115288CC}"/>
                </a:ext>
              </a:extLst>
            </p:cNvPr>
            <p:cNvSpPr/>
            <p:nvPr/>
          </p:nvSpPr>
          <p:spPr>
            <a:xfrm>
              <a:off x="6877798" y="6517384"/>
              <a:ext cx="31487" cy="347129"/>
            </a:xfrm>
            <a:custGeom>
              <a:avLst/>
              <a:gdLst>
                <a:gd name="connsiteX0" fmla="*/ 0 w 31487"/>
                <a:gd name="connsiteY0" fmla="*/ 0 h 347129"/>
                <a:gd name="connsiteX1" fmla="*/ 31488 w 31487"/>
                <a:gd name="connsiteY1" fmla="*/ 0 h 347129"/>
                <a:gd name="connsiteX2" fmla="*/ 31488 w 31487"/>
                <a:gd name="connsiteY2" fmla="*/ 347129 h 347129"/>
                <a:gd name="connsiteX3" fmla="*/ 0 w 31487"/>
                <a:gd name="connsiteY3" fmla="*/ 347129 h 347129"/>
              </a:gdLst>
              <a:ahLst/>
              <a:cxnLst>
                <a:cxn ang="0">
                  <a:pos x="connsiteX0" y="connsiteY0"/>
                </a:cxn>
                <a:cxn ang="0">
                  <a:pos x="connsiteX1" y="connsiteY1"/>
                </a:cxn>
                <a:cxn ang="0">
                  <a:pos x="connsiteX2" y="connsiteY2"/>
                </a:cxn>
                <a:cxn ang="0">
                  <a:pos x="connsiteX3" y="connsiteY3"/>
                </a:cxn>
              </a:cxnLst>
              <a:rect l="l" t="t" r="r" b="b"/>
              <a:pathLst>
                <a:path w="31487" h="347129">
                  <a:moveTo>
                    <a:pt x="0" y="0"/>
                  </a:moveTo>
                  <a:lnTo>
                    <a:pt x="31488" y="0"/>
                  </a:lnTo>
                  <a:lnTo>
                    <a:pt x="31488" y="347129"/>
                  </a:lnTo>
                  <a:lnTo>
                    <a:pt x="0" y="347129"/>
                  </a:lnTo>
                  <a:close/>
                </a:path>
              </a:pathLst>
            </a:custGeom>
            <a:solidFill>
              <a:schemeClr val="tx2"/>
            </a:solidFill>
            <a:ln w="126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4F0434BF-5E94-4724-88D8-73FC589EB192}"/>
                </a:ext>
              </a:extLst>
            </p:cNvPr>
            <p:cNvSpPr/>
            <p:nvPr/>
          </p:nvSpPr>
          <p:spPr>
            <a:xfrm>
              <a:off x="6544002" y="6517384"/>
              <a:ext cx="331383" cy="347129"/>
            </a:xfrm>
            <a:custGeom>
              <a:avLst/>
              <a:gdLst>
                <a:gd name="connsiteX0" fmla="*/ 0 w 331383"/>
                <a:gd name="connsiteY0" fmla="*/ 0 h 347129"/>
                <a:gd name="connsiteX1" fmla="*/ 331383 w 331383"/>
                <a:gd name="connsiteY1" fmla="*/ 0 h 347129"/>
                <a:gd name="connsiteX2" fmla="*/ 331383 w 331383"/>
                <a:gd name="connsiteY2" fmla="*/ 347129 h 347129"/>
                <a:gd name="connsiteX3" fmla="*/ 0 w 331383"/>
                <a:gd name="connsiteY3" fmla="*/ 347129 h 347129"/>
              </a:gdLst>
              <a:ahLst/>
              <a:cxnLst>
                <a:cxn ang="0">
                  <a:pos x="connsiteX0" y="connsiteY0"/>
                </a:cxn>
                <a:cxn ang="0">
                  <a:pos x="connsiteX1" y="connsiteY1"/>
                </a:cxn>
                <a:cxn ang="0">
                  <a:pos x="connsiteX2" y="connsiteY2"/>
                </a:cxn>
                <a:cxn ang="0">
                  <a:pos x="connsiteX3" y="connsiteY3"/>
                </a:cxn>
              </a:cxnLst>
              <a:rect l="l" t="t" r="r" b="b"/>
              <a:pathLst>
                <a:path w="331383" h="347129">
                  <a:moveTo>
                    <a:pt x="0" y="0"/>
                  </a:moveTo>
                  <a:lnTo>
                    <a:pt x="331383" y="0"/>
                  </a:lnTo>
                  <a:lnTo>
                    <a:pt x="331383" y="347129"/>
                  </a:lnTo>
                  <a:lnTo>
                    <a:pt x="0" y="347129"/>
                  </a:lnTo>
                  <a:close/>
                </a:path>
              </a:pathLst>
            </a:custGeom>
            <a:solidFill>
              <a:schemeClr val="accent1">
                <a:lumMod val="75000"/>
              </a:schemeClr>
            </a:solidFill>
            <a:ln w="126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787B10D2-EF86-46E3-BF6E-2150660F12DE}"/>
                </a:ext>
              </a:extLst>
            </p:cNvPr>
            <p:cNvSpPr/>
            <p:nvPr/>
          </p:nvSpPr>
          <p:spPr>
            <a:xfrm>
              <a:off x="5833622" y="6449584"/>
              <a:ext cx="118206" cy="414548"/>
            </a:xfrm>
            <a:custGeom>
              <a:avLst/>
              <a:gdLst>
                <a:gd name="connsiteX0" fmla="*/ 118206 w 118206"/>
                <a:gd name="connsiteY0" fmla="*/ 360715 h 414548"/>
                <a:gd name="connsiteX1" fmla="*/ 118206 w 118206"/>
                <a:gd name="connsiteY1" fmla="*/ 0 h 414548"/>
                <a:gd name="connsiteX2" fmla="*/ 64880 w 118206"/>
                <a:gd name="connsiteY2" fmla="*/ 0 h 414548"/>
                <a:gd name="connsiteX3" fmla="*/ 63483 w 118206"/>
                <a:gd name="connsiteY3" fmla="*/ 0 h 414548"/>
                <a:gd name="connsiteX4" fmla="*/ 0 w 118206"/>
                <a:gd name="connsiteY4" fmla="*/ 0 h 414548"/>
                <a:gd name="connsiteX5" fmla="*/ 0 w 118206"/>
                <a:gd name="connsiteY5" fmla="*/ 414549 h 414548"/>
                <a:gd name="connsiteX6" fmla="*/ 117699 w 118206"/>
                <a:gd name="connsiteY6" fmla="*/ 414549 h 414548"/>
                <a:gd name="connsiteX7" fmla="*/ 117699 w 118206"/>
                <a:gd name="connsiteY7" fmla="*/ 360334 h 41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14548">
                  <a:moveTo>
                    <a:pt x="118206" y="360715"/>
                  </a:moveTo>
                  <a:lnTo>
                    <a:pt x="118206" y="0"/>
                  </a:lnTo>
                  <a:lnTo>
                    <a:pt x="64880" y="0"/>
                  </a:lnTo>
                  <a:lnTo>
                    <a:pt x="63483" y="0"/>
                  </a:lnTo>
                  <a:lnTo>
                    <a:pt x="0" y="0"/>
                  </a:lnTo>
                  <a:lnTo>
                    <a:pt x="0" y="414549"/>
                  </a:lnTo>
                  <a:lnTo>
                    <a:pt x="117699" y="414549"/>
                  </a:lnTo>
                  <a:lnTo>
                    <a:pt x="117699" y="360334"/>
                  </a:lnTo>
                  <a:close/>
                </a:path>
              </a:pathLst>
            </a:custGeom>
            <a:solidFill>
              <a:schemeClr val="tx2"/>
            </a:solidFill>
            <a:ln w="126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CD87B287-1191-4632-BD9E-452B78699BA5}"/>
                </a:ext>
              </a:extLst>
            </p:cNvPr>
            <p:cNvSpPr/>
            <p:nvPr/>
          </p:nvSpPr>
          <p:spPr>
            <a:xfrm>
              <a:off x="5740301" y="5868580"/>
              <a:ext cx="313735" cy="642709"/>
            </a:xfrm>
            <a:custGeom>
              <a:avLst/>
              <a:gdLst>
                <a:gd name="connsiteX0" fmla="*/ 77831 w 313735"/>
                <a:gd name="connsiteY0" fmla="*/ 571100 h 642709"/>
                <a:gd name="connsiteX1" fmla="*/ 77831 w 313735"/>
                <a:gd name="connsiteY1" fmla="*/ 571100 h 642709"/>
                <a:gd name="connsiteX2" fmla="*/ 82910 w 313735"/>
                <a:gd name="connsiteY2" fmla="*/ 571100 h 642709"/>
                <a:gd name="connsiteX3" fmla="*/ 218002 w 313735"/>
                <a:gd name="connsiteY3" fmla="*/ 571100 h 642709"/>
                <a:gd name="connsiteX4" fmla="*/ 224859 w 313735"/>
                <a:gd name="connsiteY4" fmla="*/ 578083 h 642709"/>
                <a:gd name="connsiteX5" fmla="*/ 224859 w 313735"/>
                <a:gd name="connsiteY5" fmla="*/ 642710 h 642709"/>
                <a:gd name="connsiteX6" fmla="*/ 313736 w 313735"/>
                <a:gd name="connsiteY6" fmla="*/ 642710 h 642709"/>
                <a:gd name="connsiteX7" fmla="*/ 313736 w 313735"/>
                <a:gd name="connsiteY7" fmla="*/ 0 h 642709"/>
                <a:gd name="connsiteX8" fmla="*/ 0 w 313735"/>
                <a:gd name="connsiteY8" fmla="*/ 0 h 642709"/>
                <a:gd name="connsiteX9" fmla="*/ 0 w 313735"/>
                <a:gd name="connsiteY9" fmla="*/ 571354 h 6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35" h="642709">
                  <a:moveTo>
                    <a:pt x="77831" y="571100"/>
                  </a:moveTo>
                  <a:lnTo>
                    <a:pt x="77831" y="571100"/>
                  </a:lnTo>
                  <a:lnTo>
                    <a:pt x="82910" y="571100"/>
                  </a:lnTo>
                  <a:lnTo>
                    <a:pt x="218002" y="571100"/>
                  </a:lnTo>
                  <a:cubicBezTo>
                    <a:pt x="221811" y="571163"/>
                    <a:pt x="224859" y="574274"/>
                    <a:pt x="224859" y="578083"/>
                  </a:cubicBezTo>
                  <a:lnTo>
                    <a:pt x="224859" y="642710"/>
                  </a:lnTo>
                  <a:lnTo>
                    <a:pt x="313736" y="642710"/>
                  </a:lnTo>
                  <a:lnTo>
                    <a:pt x="313736" y="0"/>
                  </a:lnTo>
                  <a:lnTo>
                    <a:pt x="0" y="0"/>
                  </a:lnTo>
                  <a:lnTo>
                    <a:pt x="0" y="571354"/>
                  </a:lnTo>
                  <a:close/>
                </a:path>
              </a:pathLst>
            </a:custGeom>
            <a:solidFill>
              <a:schemeClr val="accent2"/>
            </a:solidFill>
            <a:ln w="126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F73B91B9-7ADA-4344-9A93-63A9D7A91B69}"/>
                </a:ext>
              </a:extLst>
            </p:cNvPr>
            <p:cNvSpPr/>
            <p:nvPr/>
          </p:nvSpPr>
          <p:spPr>
            <a:xfrm>
              <a:off x="5965667" y="6514083"/>
              <a:ext cx="102335" cy="299262"/>
            </a:xfrm>
            <a:custGeom>
              <a:avLst/>
              <a:gdLst>
                <a:gd name="connsiteX0" fmla="*/ 0 w 102335"/>
                <a:gd name="connsiteY0" fmla="*/ 299262 h 299262"/>
                <a:gd name="connsiteX1" fmla="*/ 102336 w 102335"/>
                <a:gd name="connsiteY1" fmla="*/ 299262 h 299262"/>
                <a:gd name="connsiteX2" fmla="*/ 90401 w 102335"/>
                <a:gd name="connsiteY2" fmla="*/ 297104 h 299262"/>
                <a:gd name="connsiteX3" fmla="*/ 95098 w 102335"/>
                <a:gd name="connsiteY3" fmla="*/ 293803 h 299262"/>
                <a:gd name="connsiteX4" fmla="*/ 95098 w 102335"/>
                <a:gd name="connsiteY4" fmla="*/ 5460 h 299262"/>
                <a:gd name="connsiteX5" fmla="*/ 89639 w 102335"/>
                <a:gd name="connsiteY5" fmla="*/ 0 h 299262"/>
                <a:gd name="connsiteX6" fmla="*/ 0 w 102335"/>
                <a:gd name="connsiteY6" fmla="*/ 0 h 29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335" h="299262">
                  <a:moveTo>
                    <a:pt x="0" y="299262"/>
                  </a:moveTo>
                  <a:lnTo>
                    <a:pt x="102336" y="299262"/>
                  </a:lnTo>
                  <a:cubicBezTo>
                    <a:pt x="102336" y="298501"/>
                    <a:pt x="89639" y="297739"/>
                    <a:pt x="90401" y="297104"/>
                  </a:cubicBezTo>
                  <a:cubicBezTo>
                    <a:pt x="91378" y="295339"/>
                    <a:pt x="93105" y="294133"/>
                    <a:pt x="95098" y="293803"/>
                  </a:cubicBezTo>
                  <a:lnTo>
                    <a:pt x="95098" y="5460"/>
                  </a:lnTo>
                  <a:cubicBezTo>
                    <a:pt x="92318" y="4964"/>
                    <a:pt x="90134" y="2781"/>
                    <a:pt x="89639" y="0"/>
                  </a:cubicBezTo>
                  <a:lnTo>
                    <a:pt x="0" y="0"/>
                  </a:lnTo>
                  <a:close/>
                </a:path>
              </a:pathLst>
            </a:custGeom>
            <a:solidFill>
              <a:schemeClr val="tx2"/>
            </a:solidFill>
            <a:ln w="126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F7E893C6-5679-4B29-A437-4AF0765B35A2}"/>
                </a:ext>
              </a:extLst>
            </p:cNvPr>
            <p:cNvSpPr/>
            <p:nvPr/>
          </p:nvSpPr>
          <p:spPr>
            <a:xfrm>
              <a:off x="4524212" y="6449711"/>
              <a:ext cx="1523" cy="414802"/>
            </a:xfrm>
            <a:custGeom>
              <a:avLst/>
              <a:gdLst>
                <a:gd name="connsiteX0" fmla="*/ 0 w 1523"/>
                <a:gd name="connsiteY0" fmla="*/ 0 h 414802"/>
                <a:gd name="connsiteX1" fmla="*/ 1523 w 1523"/>
                <a:gd name="connsiteY1" fmla="*/ 0 h 414802"/>
                <a:gd name="connsiteX2" fmla="*/ 1523 w 1523"/>
                <a:gd name="connsiteY2" fmla="*/ 414803 h 414802"/>
                <a:gd name="connsiteX3" fmla="*/ 0 w 1523"/>
                <a:gd name="connsiteY3" fmla="*/ 414803 h 414802"/>
              </a:gdLst>
              <a:ahLst/>
              <a:cxnLst>
                <a:cxn ang="0">
                  <a:pos x="connsiteX0" y="connsiteY0"/>
                </a:cxn>
                <a:cxn ang="0">
                  <a:pos x="connsiteX1" y="connsiteY1"/>
                </a:cxn>
                <a:cxn ang="0">
                  <a:pos x="connsiteX2" y="connsiteY2"/>
                </a:cxn>
                <a:cxn ang="0">
                  <a:pos x="connsiteX3" y="connsiteY3"/>
                </a:cxn>
              </a:cxnLst>
              <a:rect l="l" t="t" r="r" b="b"/>
              <a:pathLst>
                <a:path w="1523" h="414802">
                  <a:moveTo>
                    <a:pt x="0" y="0"/>
                  </a:moveTo>
                  <a:lnTo>
                    <a:pt x="1523" y="0"/>
                  </a:lnTo>
                  <a:lnTo>
                    <a:pt x="1523" y="414803"/>
                  </a:lnTo>
                  <a:lnTo>
                    <a:pt x="0" y="414803"/>
                  </a:lnTo>
                  <a:close/>
                </a:path>
              </a:pathLst>
            </a:custGeom>
            <a:solidFill>
              <a:srgbClr val="F9C996"/>
            </a:solidFill>
            <a:ln w="126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3EC8BFA-CCC8-4F53-8AD8-F0B43B78D803}"/>
                </a:ext>
              </a:extLst>
            </p:cNvPr>
            <p:cNvSpPr/>
            <p:nvPr/>
          </p:nvSpPr>
          <p:spPr>
            <a:xfrm>
              <a:off x="4528275" y="6449711"/>
              <a:ext cx="240602" cy="414802"/>
            </a:xfrm>
            <a:custGeom>
              <a:avLst/>
              <a:gdLst>
                <a:gd name="connsiteX0" fmla="*/ 0 w 240602"/>
                <a:gd name="connsiteY0" fmla="*/ 0 h 414802"/>
                <a:gd name="connsiteX1" fmla="*/ 240602 w 240602"/>
                <a:gd name="connsiteY1" fmla="*/ 0 h 414802"/>
                <a:gd name="connsiteX2" fmla="*/ 240602 w 240602"/>
                <a:gd name="connsiteY2" fmla="*/ 414803 h 414802"/>
                <a:gd name="connsiteX3" fmla="*/ 0 w 240602"/>
                <a:gd name="connsiteY3" fmla="*/ 414803 h 414802"/>
              </a:gdLst>
              <a:ahLst/>
              <a:cxnLst>
                <a:cxn ang="0">
                  <a:pos x="connsiteX0" y="connsiteY0"/>
                </a:cxn>
                <a:cxn ang="0">
                  <a:pos x="connsiteX1" y="connsiteY1"/>
                </a:cxn>
                <a:cxn ang="0">
                  <a:pos x="connsiteX2" y="connsiteY2"/>
                </a:cxn>
                <a:cxn ang="0">
                  <a:pos x="connsiteX3" y="connsiteY3"/>
                </a:cxn>
              </a:cxnLst>
              <a:rect l="l" t="t" r="r" b="b"/>
              <a:pathLst>
                <a:path w="240602" h="414802">
                  <a:moveTo>
                    <a:pt x="0" y="0"/>
                  </a:moveTo>
                  <a:lnTo>
                    <a:pt x="240602" y="0"/>
                  </a:lnTo>
                  <a:lnTo>
                    <a:pt x="240602" y="414803"/>
                  </a:lnTo>
                  <a:lnTo>
                    <a:pt x="0" y="414803"/>
                  </a:lnTo>
                  <a:close/>
                </a:path>
              </a:pathLst>
            </a:custGeom>
            <a:solidFill>
              <a:schemeClr val="tx2"/>
            </a:solidFill>
            <a:ln w="126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BAC5BF1D-73F6-4E9F-9EFC-1BF915EDEA32}"/>
                </a:ext>
              </a:extLst>
            </p:cNvPr>
            <p:cNvSpPr/>
            <p:nvPr/>
          </p:nvSpPr>
          <p:spPr>
            <a:xfrm>
              <a:off x="5177965" y="5835315"/>
              <a:ext cx="30599" cy="291263"/>
            </a:xfrm>
            <a:custGeom>
              <a:avLst/>
              <a:gdLst>
                <a:gd name="connsiteX0" fmla="*/ 0 w 30599"/>
                <a:gd name="connsiteY0" fmla="*/ 0 h 291263"/>
                <a:gd name="connsiteX1" fmla="*/ 0 w 30599"/>
                <a:gd name="connsiteY1" fmla="*/ 291263 h 291263"/>
                <a:gd name="connsiteX2" fmla="*/ 30599 w 30599"/>
                <a:gd name="connsiteY2" fmla="*/ 291263 h 291263"/>
                <a:gd name="connsiteX3" fmla="*/ 30599 w 30599"/>
                <a:gd name="connsiteY3" fmla="*/ 16252 h 291263"/>
                <a:gd name="connsiteX4" fmla="*/ 28060 w 30599"/>
                <a:gd name="connsiteY4" fmla="*/ 11046 h 291263"/>
                <a:gd name="connsiteX5" fmla="*/ 28060 w 30599"/>
                <a:gd name="connsiteY5" fmla="*/ 0 h 29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99" h="291263">
                  <a:moveTo>
                    <a:pt x="0" y="0"/>
                  </a:moveTo>
                  <a:lnTo>
                    <a:pt x="0" y="291263"/>
                  </a:lnTo>
                  <a:lnTo>
                    <a:pt x="30599" y="291263"/>
                  </a:lnTo>
                  <a:lnTo>
                    <a:pt x="30599" y="16252"/>
                  </a:lnTo>
                  <a:cubicBezTo>
                    <a:pt x="29012" y="14988"/>
                    <a:pt x="28072" y="13075"/>
                    <a:pt x="28060" y="11046"/>
                  </a:cubicBezTo>
                  <a:lnTo>
                    <a:pt x="28060" y="0"/>
                  </a:lnTo>
                  <a:close/>
                </a:path>
              </a:pathLst>
            </a:custGeom>
            <a:solidFill>
              <a:srgbClr val="F2494C"/>
            </a:solidFill>
            <a:ln w="126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4483B0C4-5057-4228-A38D-47A3E13DCE5F}"/>
                </a:ext>
              </a:extLst>
            </p:cNvPr>
            <p:cNvSpPr/>
            <p:nvPr/>
          </p:nvSpPr>
          <p:spPr>
            <a:xfrm>
              <a:off x="5536519" y="5852836"/>
              <a:ext cx="1396" cy="586589"/>
            </a:xfrm>
            <a:custGeom>
              <a:avLst/>
              <a:gdLst>
                <a:gd name="connsiteX0" fmla="*/ 0 w 1396"/>
                <a:gd name="connsiteY0" fmla="*/ 0 h 586589"/>
                <a:gd name="connsiteX1" fmla="*/ 0 w 1396"/>
                <a:gd name="connsiteY1" fmla="*/ 586590 h 586589"/>
                <a:gd name="connsiteX2" fmla="*/ 1397 w 1396"/>
                <a:gd name="connsiteY2" fmla="*/ 586590 h 586589"/>
                <a:gd name="connsiteX3" fmla="*/ 1397 w 1396"/>
                <a:gd name="connsiteY3" fmla="*/ 0 h 586589"/>
              </a:gdLst>
              <a:ahLst/>
              <a:cxnLst>
                <a:cxn ang="0">
                  <a:pos x="connsiteX0" y="connsiteY0"/>
                </a:cxn>
                <a:cxn ang="0">
                  <a:pos x="connsiteX1" y="connsiteY1"/>
                </a:cxn>
                <a:cxn ang="0">
                  <a:pos x="connsiteX2" y="connsiteY2"/>
                </a:cxn>
                <a:cxn ang="0">
                  <a:pos x="connsiteX3" y="connsiteY3"/>
                </a:cxn>
              </a:cxnLst>
              <a:rect l="l" t="t" r="r" b="b"/>
              <a:pathLst>
                <a:path w="1396" h="586589">
                  <a:moveTo>
                    <a:pt x="0" y="0"/>
                  </a:moveTo>
                  <a:lnTo>
                    <a:pt x="0" y="586590"/>
                  </a:lnTo>
                  <a:lnTo>
                    <a:pt x="1397" y="586590"/>
                  </a:lnTo>
                  <a:lnTo>
                    <a:pt x="1397" y="0"/>
                  </a:lnTo>
                  <a:close/>
                </a:path>
              </a:pathLst>
            </a:custGeom>
            <a:solidFill>
              <a:srgbClr val="F9AA19"/>
            </a:solidFill>
            <a:ln w="126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68F57A7-0482-4C65-99CE-7BCF30A61C94}"/>
                </a:ext>
              </a:extLst>
            </p:cNvPr>
            <p:cNvSpPr/>
            <p:nvPr/>
          </p:nvSpPr>
          <p:spPr>
            <a:xfrm>
              <a:off x="5540455" y="5820587"/>
              <a:ext cx="185752" cy="619093"/>
            </a:xfrm>
            <a:custGeom>
              <a:avLst/>
              <a:gdLst>
                <a:gd name="connsiteX0" fmla="*/ 1524 w 185752"/>
                <a:gd name="connsiteY0" fmla="*/ 7745 h 619093"/>
                <a:gd name="connsiteX1" fmla="*/ 1524 w 185752"/>
                <a:gd name="connsiteY1" fmla="*/ 7745 h 619093"/>
                <a:gd name="connsiteX2" fmla="*/ 0 w 185752"/>
                <a:gd name="connsiteY2" fmla="*/ 13078 h 619093"/>
                <a:gd name="connsiteX3" fmla="*/ 0 w 185752"/>
                <a:gd name="connsiteY3" fmla="*/ 21204 h 619093"/>
                <a:gd name="connsiteX4" fmla="*/ 1904 w 185752"/>
                <a:gd name="connsiteY4" fmla="*/ 25774 h 619093"/>
                <a:gd name="connsiteX5" fmla="*/ 0 w 185752"/>
                <a:gd name="connsiteY5" fmla="*/ 30472 h 619093"/>
                <a:gd name="connsiteX6" fmla="*/ 0 w 185752"/>
                <a:gd name="connsiteY6" fmla="*/ 619094 h 619093"/>
                <a:gd name="connsiteX7" fmla="*/ 185753 w 185752"/>
                <a:gd name="connsiteY7" fmla="*/ 619094 h 619093"/>
                <a:gd name="connsiteX8" fmla="*/ 185753 w 185752"/>
                <a:gd name="connsiteY8" fmla="*/ 0 h 619093"/>
                <a:gd name="connsiteX9" fmla="*/ 3809 w 185752"/>
                <a:gd name="connsiteY9"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52" h="619093">
                  <a:moveTo>
                    <a:pt x="1524" y="7745"/>
                  </a:moveTo>
                  <a:lnTo>
                    <a:pt x="1524" y="7745"/>
                  </a:lnTo>
                  <a:lnTo>
                    <a:pt x="0" y="13078"/>
                  </a:lnTo>
                  <a:lnTo>
                    <a:pt x="0" y="21204"/>
                  </a:lnTo>
                  <a:cubicBezTo>
                    <a:pt x="1219" y="22415"/>
                    <a:pt x="1904" y="24059"/>
                    <a:pt x="1904" y="25774"/>
                  </a:cubicBezTo>
                  <a:cubicBezTo>
                    <a:pt x="1892" y="27527"/>
                    <a:pt x="1206" y="29208"/>
                    <a:pt x="0" y="30472"/>
                  </a:cubicBezTo>
                  <a:lnTo>
                    <a:pt x="0" y="619094"/>
                  </a:lnTo>
                  <a:lnTo>
                    <a:pt x="185753" y="619094"/>
                  </a:lnTo>
                  <a:lnTo>
                    <a:pt x="185753" y="0"/>
                  </a:lnTo>
                  <a:lnTo>
                    <a:pt x="3809" y="0"/>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6C50A717-6C77-462E-9CE3-001A1ED5817D}"/>
                </a:ext>
              </a:extLst>
            </p:cNvPr>
            <p:cNvSpPr/>
            <p:nvPr/>
          </p:nvSpPr>
          <p:spPr>
            <a:xfrm>
              <a:off x="5965667" y="6815885"/>
              <a:ext cx="131665" cy="18029"/>
            </a:xfrm>
            <a:custGeom>
              <a:avLst/>
              <a:gdLst>
                <a:gd name="connsiteX0" fmla="*/ 0 w 131665"/>
                <a:gd name="connsiteY0" fmla="*/ 18029 h 18029"/>
                <a:gd name="connsiteX1" fmla="*/ 131665 w 131665"/>
                <a:gd name="connsiteY1" fmla="*/ 18029 h 18029"/>
                <a:gd name="connsiteX2" fmla="*/ 105637 w 131665"/>
                <a:gd name="connsiteY2" fmla="*/ 4698 h 18029"/>
                <a:gd name="connsiteX3" fmla="*/ 101955 w 131665"/>
                <a:gd name="connsiteY3" fmla="*/ 0 h 18029"/>
                <a:gd name="connsiteX4" fmla="*/ 381 w 131665"/>
                <a:gd name="connsiteY4" fmla="*/ 0 h 1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65" h="18029">
                  <a:moveTo>
                    <a:pt x="0" y="18029"/>
                  </a:moveTo>
                  <a:lnTo>
                    <a:pt x="131665" y="18029"/>
                  </a:lnTo>
                  <a:lnTo>
                    <a:pt x="105637" y="4698"/>
                  </a:lnTo>
                  <a:cubicBezTo>
                    <a:pt x="103719" y="3822"/>
                    <a:pt x="102348" y="2069"/>
                    <a:pt x="101955" y="0"/>
                  </a:cubicBezTo>
                  <a:lnTo>
                    <a:pt x="381" y="0"/>
                  </a:lnTo>
                  <a:close/>
                </a:path>
              </a:pathLst>
            </a:custGeom>
            <a:solidFill>
              <a:schemeClr val="accent1"/>
            </a:solidFill>
            <a:ln w="126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DBC6B08A-3E0E-4ED7-8372-A27A0960329F}"/>
                </a:ext>
              </a:extLst>
            </p:cNvPr>
            <p:cNvSpPr/>
            <p:nvPr/>
          </p:nvSpPr>
          <p:spPr>
            <a:xfrm>
              <a:off x="5965667" y="6832010"/>
              <a:ext cx="124808" cy="32503"/>
            </a:xfrm>
            <a:custGeom>
              <a:avLst/>
              <a:gdLst>
                <a:gd name="connsiteX0" fmla="*/ 119984 w 124808"/>
                <a:gd name="connsiteY0" fmla="*/ 0 h 32503"/>
                <a:gd name="connsiteX1" fmla="*/ 0 w 124808"/>
                <a:gd name="connsiteY1" fmla="*/ 0 h 32503"/>
                <a:gd name="connsiteX2" fmla="*/ 0 w 124808"/>
                <a:gd name="connsiteY2" fmla="*/ 32504 h 32503"/>
                <a:gd name="connsiteX3" fmla="*/ 124809 w 124808"/>
                <a:gd name="connsiteY3" fmla="*/ 32504 h 32503"/>
                <a:gd name="connsiteX4" fmla="*/ 124809 w 124808"/>
                <a:gd name="connsiteY4" fmla="*/ 2793 h 32503"/>
                <a:gd name="connsiteX5" fmla="*/ 119984 w 124808"/>
                <a:gd name="connsiteY5" fmla="*/ 0 h 3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8" h="32503">
                  <a:moveTo>
                    <a:pt x="119984" y="0"/>
                  </a:moveTo>
                  <a:lnTo>
                    <a:pt x="0" y="0"/>
                  </a:lnTo>
                  <a:lnTo>
                    <a:pt x="0" y="32504"/>
                  </a:lnTo>
                  <a:lnTo>
                    <a:pt x="124809" y="32504"/>
                  </a:lnTo>
                  <a:lnTo>
                    <a:pt x="124809" y="2793"/>
                  </a:lnTo>
                  <a:lnTo>
                    <a:pt x="119984" y="0"/>
                  </a:lnTo>
                  <a:close/>
                </a:path>
              </a:pathLst>
            </a:custGeom>
            <a:solidFill>
              <a:schemeClr val="accent2"/>
            </a:solidFill>
            <a:ln w="126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7EA9B146-B392-467E-898E-A760BFDE5D59}"/>
                </a:ext>
              </a:extLst>
            </p:cNvPr>
            <p:cNvSpPr/>
            <p:nvPr/>
          </p:nvSpPr>
          <p:spPr>
            <a:xfrm>
              <a:off x="7104434" y="6480310"/>
              <a:ext cx="39613" cy="31360"/>
            </a:xfrm>
            <a:custGeom>
              <a:avLst/>
              <a:gdLst>
                <a:gd name="connsiteX0" fmla="*/ 10157 w 39613"/>
                <a:gd name="connsiteY0" fmla="*/ 29583 h 31360"/>
                <a:gd name="connsiteX1" fmla="*/ 11173 w 39613"/>
                <a:gd name="connsiteY1" fmla="*/ 30218 h 31360"/>
                <a:gd name="connsiteX2" fmla="*/ 20950 w 39613"/>
                <a:gd name="connsiteY2" fmla="*/ 30218 h 31360"/>
                <a:gd name="connsiteX3" fmla="*/ 22092 w 39613"/>
                <a:gd name="connsiteY3" fmla="*/ 31361 h 31360"/>
                <a:gd name="connsiteX4" fmla="*/ 39614 w 39613"/>
                <a:gd name="connsiteY4" fmla="*/ 31361 h 31360"/>
                <a:gd name="connsiteX5" fmla="*/ 39614 w 39613"/>
                <a:gd name="connsiteY5" fmla="*/ 0 h 31360"/>
                <a:gd name="connsiteX6" fmla="*/ 0 w 39613"/>
                <a:gd name="connsiteY6" fmla="*/ 0 h 31360"/>
                <a:gd name="connsiteX7" fmla="*/ 0 w 39613"/>
                <a:gd name="connsiteY7" fmla="*/ 27679 h 31360"/>
                <a:gd name="connsiteX8" fmla="*/ 0 w 39613"/>
                <a:gd name="connsiteY8" fmla="*/ 29583 h 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13" h="31360">
                  <a:moveTo>
                    <a:pt x="10157" y="29583"/>
                  </a:moveTo>
                  <a:cubicBezTo>
                    <a:pt x="10589" y="29583"/>
                    <a:pt x="10983" y="29837"/>
                    <a:pt x="11173" y="30218"/>
                  </a:cubicBezTo>
                  <a:lnTo>
                    <a:pt x="20950" y="30218"/>
                  </a:lnTo>
                  <a:cubicBezTo>
                    <a:pt x="21585" y="30218"/>
                    <a:pt x="22092" y="30726"/>
                    <a:pt x="22092" y="31361"/>
                  </a:cubicBezTo>
                  <a:lnTo>
                    <a:pt x="39614" y="31361"/>
                  </a:lnTo>
                  <a:lnTo>
                    <a:pt x="39614" y="0"/>
                  </a:lnTo>
                  <a:lnTo>
                    <a:pt x="0" y="0"/>
                  </a:lnTo>
                  <a:lnTo>
                    <a:pt x="0" y="27679"/>
                  </a:lnTo>
                  <a:cubicBezTo>
                    <a:pt x="89" y="28314"/>
                    <a:pt x="89" y="28949"/>
                    <a:pt x="0" y="29583"/>
                  </a:cubicBezTo>
                  <a:close/>
                </a:path>
              </a:pathLst>
            </a:custGeom>
            <a:solidFill>
              <a:schemeClr val="accent5"/>
            </a:solidFill>
            <a:ln w="126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6DFA37EC-5A19-472D-A087-733B77FDA4DC}"/>
                </a:ext>
              </a:extLst>
            </p:cNvPr>
            <p:cNvSpPr/>
            <p:nvPr/>
          </p:nvSpPr>
          <p:spPr>
            <a:xfrm>
              <a:off x="7146460" y="6480310"/>
              <a:ext cx="28821" cy="31360"/>
            </a:xfrm>
            <a:custGeom>
              <a:avLst/>
              <a:gdLst>
                <a:gd name="connsiteX0" fmla="*/ 0 w 28821"/>
                <a:gd name="connsiteY0" fmla="*/ 0 h 31360"/>
                <a:gd name="connsiteX1" fmla="*/ 28822 w 28821"/>
                <a:gd name="connsiteY1" fmla="*/ 0 h 31360"/>
                <a:gd name="connsiteX2" fmla="*/ 28822 w 28821"/>
                <a:gd name="connsiteY2" fmla="*/ 31361 h 31360"/>
                <a:gd name="connsiteX3" fmla="*/ 0 w 28821"/>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8821" h="31360">
                  <a:moveTo>
                    <a:pt x="0" y="0"/>
                  </a:moveTo>
                  <a:lnTo>
                    <a:pt x="28822" y="0"/>
                  </a:lnTo>
                  <a:lnTo>
                    <a:pt x="28822" y="31361"/>
                  </a:lnTo>
                  <a:lnTo>
                    <a:pt x="0" y="31361"/>
                  </a:lnTo>
                  <a:close/>
                </a:path>
              </a:pathLst>
            </a:custGeom>
            <a:solidFill>
              <a:srgbClr val="0A4054"/>
            </a:solidFill>
            <a:ln w="126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D94FAD2-640E-4EE4-A1DC-03DCBD197C98}"/>
                </a:ext>
              </a:extLst>
            </p:cNvPr>
            <p:cNvSpPr/>
            <p:nvPr/>
          </p:nvSpPr>
          <p:spPr>
            <a:xfrm>
              <a:off x="6923125" y="6509893"/>
              <a:ext cx="252156" cy="354620"/>
            </a:xfrm>
            <a:custGeom>
              <a:avLst/>
              <a:gdLst>
                <a:gd name="connsiteX0" fmla="*/ 180292 w 252156"/>
                <a:gd name="connsiteY0" fmla="*/ 0 h 354620"/>
                <a:gd name="connsiteX1" fmla="*/ 174833 w 252156"/>
                <a:gd name="connsiteY1" fmla="*/ 2920 h 354620"/>
                <a:gd name="connsiteX2" fmla="*/ 0 w 252156"/>
                <a:gd name="connsiteY2" fmla="*/ 2920 h 354620"/>
                <a:gd name="connsiteX3" fmla="*/ 0 w 252156"/>
                <a:gd name="connsiteY3" fmla="*/ 354620 h 354620"/>
                <a:gd name="connsiteX4" fmla="*/ 252156 w 252156"/>
                <a:gd name="connsiteY4" fmla="*/ 354620 h 354620"/>
                <a:gd name="connsiteX5" fmla="*/ 252156 w 252156"/>
                <a:gd name="connsiteY5" fmla="*/ 0 h 35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156" h="354620">
                  <a:moveTo>
                    <a:pt x="180292" y="0"/>
                  </a:moveTo>
                  <a:cubicBezTo>
                    <a:pt x="179023" y="1765"/>
                    <a:pt x="177004" y="2857"/>
                    <a:pt x="174833" y="2920"/>
                  </a:cubicBezTo>
                  <a:lnTo>
                    <a:pt x="0" y="2920"/>
                  </a:lnTo>
                  <a:lnTo>
                    <a:pt x="0" y="354620"/>
                  </a:lnTo>
                  <a:lnTo>
                    <a:pt x="252156" y="354620"/>
                  </a:lnTo>
                  <a:lnTo>
                    <a:pt x="252156" y="0"/>
                  </a:lnTo>
                  <a:close/>
                </a:path>
              </a:pathLst>
            </a:custGeom>
            <a:solidFill>
              <a:schemeClr val="accent5"/>
            </a:solidFill>
            <a:ln w="126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E020D906-B679-41FD-B2AF-60E4F08E2371}"/>
                </a:ext>
              </a:extLst>
            </p:cNvPr>
            <p:cNvSpPr/>
            <p:nvPr/>
          </p:nvSpPr>
          <p:spPr>
            <a:xfrm>
              <a:off x="7243717" y="5904639"/>
              <a:ext cx="461397" cy="959874"/>
            </a:xfrm>
            <a:custGeom>
              <a:avLst/>
              <a:gdLst>
                <a:gd name="connsiteX0" fmla="*/ 461397 w 461397"/>
                <a:gd name="connsiteY0" fmla="*/ 602842 h 959874"/>
                <a:gd name="connsiteX1" fmla="*/ 461397 w 461397"/>
                <a:gd name="connsiteY1" fmla="*/ 602207 h 959874"/>
                <a:gd name="connsiteX2" fmla="*/ 461397 w 461397"/>
                <a:gd name="connsiteY2" fmla="*/ 601191 h 959874"/>
                <a:gd name="connsiteX3" fmla="*/ 461397 w 461397"/>
                <a:gd name="connsiteY3" fmla="*/ 0 h 959874"/>
                <a:gd name="connsiteX4" fmla="*/ 0 w 461397"/>
                <a:gd name="connsiteY4" fmla="*/ 0 h 959874"/>
                <a:gd name="connsiteX5" fmla="*/ 0 w 461397"/>
                <a:gd name="connsiteY5" fmla="*/ 959874 h 959874"/>
                <a:gd name="connsiteX6" fmla="*/ 461397 w 461397"/>
                <a:gd name="connsiteY6" fmla="*/ 959874 h 959874"/>
                <a:gd name="connsiteX7" fmla="*/ 461397 w 461397"/>
                <a:gd name="connsiteY7" fmla="*/ 603984 h 959874"/>
                <a:gd name="connsiteX8" fmla="*/ 461397 w 461397"/>
                <a:gd name="connsiteY8" fmla="*/ 602842 h 9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397" h="959874">
                  <a:moveTo>
                    <a:pt x="461397" y="602842"/>
                  </a:moveTo>
                  <a:lnTo>
                    <a:pt x="461397" y="602207"/>
                  </a:lnTo>
                  <a:lnTo>
                    <a:pt x="461397" y="601191"/>
                  </a:lnTo>
                  <a:lnTo>
                    <a:pt x="461397" y="0"/>
                  </a:lnTo>
                  <a:lnTo>
                    <a:pt x="0" y="0"/>
                  </a:lnTo>
                  <a:lnTo>
                    <a:pt x="0" y="959874"/>
                  </a:lnTo>
                  <a:lnTo>
                    <a:pt x="461397" y="959874"/>
                  </a:lnTo>
                  <a:lnTo>
                    <a:pt x="461397" y="603984"/>
                  </a:lnTo>
                  <a:lnTo>
                    <a:pt x="461397" y="602842"/>
                  </a:lnTo>
                  <a:close/>
                </a:path>
              </a:pathLst>
            </a:custGeom>
            <a:solidFill>
              <a:schemeClr val="accent1"/>
            </a:solidFill>
            <a:ln w="126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7F546834-2D0A-4421-871A-8D276CA884EF}"/>
                </a:ext>
              </a:extLst>
            </p:cNvPr>
            <p:cNvSpPr/>
            <p:nvPr/>
          </p:nvSpPr>
          <p:spPr>
            <a:xfrm>
              <a:off x="7189120" y="5905147"/>
              <a:ext cx="52183" cy="959366"/>
            </a:xfrm>
            <a:custGeom>
              <a:avLst/>
              <a:gdLst>
                <a:gd name="connsiteX0" fmla="*/ 0 w 52183"/>
                <a:gd name="connsiteY0" fmla="*/ 14093 h 959366"/>
                <a:gd name="connsiteX1" fmla="*/ 0 w 52183"/>
                <a:gd name="connsiteY1" fmla="*/ 563990 h 959366"/>
                <a:gd name="connsiteX2" fmla="*/ 0 w 52183"/>
                <a:gd name="connsiteY2" fmla="*/ 565767 h 959366"/>
                <a:gd name="connsiteX3" fmla="*/ 0 w 52183"/>
                <a:gd name="connsiteY3" fmla="*/ 603477 h 959366"/>
                <a:gd name="connsiteX4" fmla="*/ 0 w 52183"/>
                <a:gd name="connsiteY4" fmla="*/ 959366 h 959366"/>
                <a:gd name="connsiteX5" fmla="*/ 52184 w 52183"/>
                <a:gd name="connsiteY5" fmla="*/ 959366 h 959366"/>
                <a:gd name="connsiteX6" fmla="*/ 52184 w 52183"/>
                <a:gd name="connsiteY6" fmla="*/ 0 h 959366"/>
                <a:gd name="connsiteX7" fmla="*/ 0 w 52183"/>
                <a:gd name="connsiteY7" fmla="*/ 14093 h 95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83" h="959366">
                  <a:moveTo>
                    <a:pt x="0" y="14093"/>
                  </a:moveTo>
                  <a:lnTo>
                    <a:pt x="0" y="563990"/>
                  </a:lnTo>
                  <a:lnTo>
                    <a:pt x="0" y="565767"/>
                  </a:lnTo>
                  <a:lnTo>
                    <a:pt x="0" y="603477"/>
                  </a:lnTo>
                  <a:lnTo>
                    <a:pt x="0" y="959366"/>
                  </a:lnTo>
                  <a:lnTo>
                    <a:pt x="52184" y="959366"/>
                  </a:lnTo>
                  <a:lnTo>
                    <a:pt x="52184" y="0"/>
                  </a:lnTo>
                  <a:lnTo>
                    <a:pt x="0" y="14093"/>
                  </a:lnTo>
                  <a:close/>
                </a:path>
              </a:pathLst>
            </a:custGeom>
            <a:solidFill>
              <a:schemeClr val="accent6">
                <a:lumMod val="50000"/>
              </a:schemeClr>
            </a:solidFill>
            <a:ln w="12690" cap="flat">
              <a:solidFill>
                <a:schemeClr val="accent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A501315A-96A6-4657-AD01-06C395BBD168}"/>
                </a:ext>
              </a:extLst>
            </p:cNvPr>
            <p:cNvSpPr/>
            <p:nvPr/>
          </p:nvSpPr>
          <p:spPr>
            <a:xfrm>
              <a:off x="5007194" y="5850297"/>
              <a:ext cx="4190" cy="269298"/>
            </a:xfrm>
            <a:custGeom>
              <a:avLst/>
              <a:gdLst>
                <a:gd name="connsiteX0" fmla="*/ 0 w 4190"/>
                <a:gd name="connsiteY0" fmla="*/ 265235 h 269298"/>
                <a:gd name="connsiteX1" fmla="*/ 2539 w 4190"/>
                <a:gd name="connsiteY1" fmla="*/ 267267 h 269298"/>
                <a:gd name="connsiteX2" fmla="*/ 2539 w 4190"/>
                <a:gd name="connsiteY2" fmla="*/ 267267 h 269298"/>
                <a:gd name="connsiteX3" fmla="*/ 3428 w 4190"/>
                <a:gd name="connsiteY3" fmla="*/ 268282 h 269298"/>
                <a:gd name="connsiteX4" fmla="*/ 4190 w 4190"/>
                <a:gd name="connsiteY4" fmla="*/ 269298 h 269298"/>
                <a:gd name="connsiteX5" fmla="*/ 4190 w 4190"/>
                <a:gd name="connsiteY5" fmla="*/ 269298 h 269298"/>
                <a:gd name="connsiteX6" fmla="*/ 4190 w 4190"/>
                <a:gd name="connsiteY6" fmla="*/ 2539 h 269298"/>
                <a:gd name="connsiteX7" fmla="*/ 2412 w 4190"/>
                <a:gd name="connsiteY7" fmla="*/ 2539 h 269298"/>
                <a:gd name="connsiteX8" fmla="*/ 2412 w 4190"/>
                <a:gd name="connsiteY8" fmla="*/ 2539 h 269298"/>
                <a:gd name="connsiteX9" fmla="*/ 635 w 4190"/>
                <a:gd name="connsiteY9" fmla="*/ 889 h 269298"/>
                <a:gd name="connsiteX10" fmla="*/ 635 w 4190"/>
                <a:gd name="connsiteY10" fmla="*/ 889 h 269298"/>
                <a:gd name="connsiteX11" fmla="*/ 635 w 4190"/>
                <a:gd name="connsiteY11" fmla="*/ 0 h 269298"/>
                <a:gd name="connsiteX12" fmla="*/ 635 w 4190"/>
                <a:gd name="connsiteY12" fmla="*/ 266632 h 26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0" h="269298">
                  <a:moveTo>
                    <a:pt x="0" y="265235"/>
                  </a:moveTo>
                  <a:lnTo>
                    <a:pt x="2539" y="267267"/>
                  </a:lnTo>
                  <a:lnTo>
                    <a:pt x="2539" y="267267"/>
                  </a:lnTo>
                  <a:cubicBezTo>
                    <a:pt x="2895" y="267546"/>
                    <a:pt x="3200" y="267889"/>
                    <a:pt x="3428" y="268282"/>
                  </a:cubicBezTo>
                  <a:lnTo>
                    <a:pt x="4190" y="269298"/>
                  </a:lnTo>
                  <a:cubicBezTo>
                    <a:pt x="4190" y="269298"/>
                    <a:pt x="4190" y="269298"/>
                    <a:pt x="4190" y="269298"/>
                  </a:cubicBezTo>
                  <a:lnTo>
                    <a:pt x="4190" y="2539"/>
                  </a:lnTo>
                  <a:lnTo>
                    <a:pt x="2412" y="2539"/>
                  </a:lnTo>
                  <a:lnTo>
                    <a:pt x="2412" y="2539"/>
                  </a:lnTo>
                  <a:cubicBezTo>
                    <a:pt x="1727" y="2091"/>
                    <a:pt x="1130" y="1534"/>
                    <a:pt x="635" y="889"/>
                  </a:cubicBezTo>
                  <a:lnTo>
                    <a:pt x="635" y="889"/>
                  </a:lnTo>
                  <a:lnTo>
                    <a:pt x="635" y="0"/>
                  </a:lnTo>
                  <a:lnTo>
                    <a:pt x="635" y="266632"/>
                  </a:lnTo>
                  <a:close/>
                </a:path>
              </a:pathLst>
            </a:custGeom>
            <a:solidFill>
              <a:srgbClr val="F9C996"/>
            </a:solidFill>
            <a:ln w="126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0082C504-781B-42A8-8CEB-72D149A07A22}"/>
                </a:ext>
              </a:extLst>
            </p:cNvPr>
            <p:cNvSpPr/>
            <p:nvPr/>
          </p:nvSpPr>
          <p:spPr>
            <a:xfrm>
              <a:off x="5004147" y="5845091"/>
              <a:ext cx="12696" cy="269171"/>
            </a:xfrm>
            <a:custGeom>
              <a:avLst/>
              <a:gdLst>
                <a:gd name="connsiteX0" fmla="*/ 0 w 12696"/>
                <a:gd name="connsiteY0" fmla="*/ 269171 h 269171"/>
                <a:gd name="connsiteX1" fmla="*/ 0 w 12696"/>
                <a:gd name="connsiteY1" fmla="*/ 127 h 269171"/>
                <a:gd name="connsiteX2" fmla="*/ 0 w 12696"/>
                <a:gd name="connsiteY2" fmla="*/ 0 h 269171"/>
                <a:gd name="connsiteX3" fmla="*/ 0 w 12696"/>
                <a:gd name="connsiteY3" fmla="*/ 269171 h 269171"/>
                <a:gd name="connsiteX4" fmla="*/ 0 w 12696"/>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269171">
                  <a:moveTo>
                    <a:pt x="0" y="269171"/>
                  </a:moveTo>
                  <a:lnTo>
                    <a:pt x="0" y="127"/>
                  </a:lnTo>
                  <a:lnTo>
                    <a:pt x="0" y="0"/>
                  </a:lnTo>
                  <a:lnTo>
                    <a:pt x="0" y="269171"/>
                  </a:lnTo>
                  <a:lnTo>
                    <a:pt x="0" y="269171"/>
                  </a:lnTo>
                  <a:close/>
                </a:path>
              </a:pathLst>
            </a:custGeom>
            <a:solidFill>
              <a:srgbClr val="F9AA19"/>
            </a:solidFill>
            <a:ln w="126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72DD9E9-AD68-46F6-8F59-348CA6175DCD}"/>
                </a:ext>
              </a:extLst>
            </p:cNvPr>
            <p:cNvSpPr/>
            <p:nvPr/>
          </p:nvSpPr>
          <p:spPr>
            <a:xfrm>
              <a:off x="4106745" y="5801288"/>
              <a:ext cx="403373" cy="300785"/>
            </a:xfrm>
            <a:custGeom>
              <a:avLst/>
              <a:gdLst>
                <a:gd name="connsiteX0" fmla="*/ 43422 w 403373"/>
                <a:gd name="connsiteY0" fmla="*/ 299135 h 300785"/>
                <a:gd name="connsiteX1" fmla="*/ 47613 w 403373"/>
                <a:gd name="connsiteY1" fmla="*/ 300786 h 300785"/>
                <a:gd name="connsiteX2" fmla="*/ 85703 w 403373"/>
                <a:gd name="connsiteY2" fmla="*/ 300786 h 300785"/>
                <a:gd name="connsiteX3" fmla="*/ 85703 w 403373"/>
                <a:gd name="connsiteY3" fmla="*/ 191213 h 300785"/>
                <a:gd name="connsiteX4" fmla="*/ 92559 w 403373"/>
                <a:gd name="connsiteY4" fmla="*/ 184230 h 300785"/>
                <a:gd name="connsiteX5" fmla="*/ 403374 w 403373"/>
                <a:gd name="connsiteY5" fmla="*/ 184230 h 300785"/>
                <a:gd name="connsiteX6" fmla="*/ 403374 w 403373"/>
                <a:gd name="connsiteY6" fmla="*/ 0 h 300785"/>
                <a:gd name="connsiteX7" fmla="*/ 0 w 403373"/>
                <a:gd name="connsiteY7" fmla="*/ 0 h 300785"/>
                <a:gd name="connsiteX8" fmla="*/ 0 w 403373"/>
                <a:gd name="connsiteY8" fmla="*/ 296596 h 300785"/>
                <a:gd name="connsiteX9" fmla="*/ 17394 w 403373"/>
                <a:gd name="connsiteY9" fmla="*/ 300786 h 300785"/>
                <a:gd name="connsiteX10" fmla="*/ 39106 w 403373"/>
                <a:gd name="connsiteY10" fmla="*/ 300786 h 300785"/>
                <a:gd name="connsiteX11" fmla="*/ 43422 w 403373"/>
                <a:gd name="connsiteY11" fmla="*/ 299135 h 3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373" h="300785">
                  <a:moveTo>
                    <a:pt x="43422" y="299135"/>
                  </a:moveTo>
                  <a:cubicBezTo>
                    <a:pt x="44959" y="299199"/>
                    <a:pt x="46444" y="299783"/>
                    <a:pt x="47613" y="300786"/>
                  </a:cubicBezTo>
                  <a:lnTo>
                    <a:pt x="85703" y="300786"/>
                  </a:lnTo>
                  <a:lnTo>
                    <a:pt x="85703" y="191213"/>
                  </a:lnTo>
                  <a:cubicBezTo>
                    <a:pt x="85703" y="187405"/>
                    <a:pt x="88750" y="184300"/>
                    <a:pt x="92559" y="184230"/>
                  </a:cubicBezTo>
                  <a:lnTo>
                    <a:pt x="403374" y="184230"/>
                  </a:lnTo>
                  <a:lnTo>
                    <a:pt x="403374" y="0"/>
                  </a:lnTo>
                  <a:lnTo>
                    <a:pt x="0" y="0"/>
                  </a:lnTo>
                  <a:lnTo>
                    <a:pt x="0" y="296596"/>
                  </a:lnTo>
                  <a:lnTo>
                    <a:pt x="17394" y="300786"/>
                  </a:lnTo>
                  <a:lnTo>
                    <a:pt x="39106" y="300786"/>
                  </a:lnTo>
                  <a:cubicBezTo>
                    <a:pt x="40337" y="299796"/>
                    <a:pt x="41848" y="299212"/>
                    <a:pt x="43422" y="299135"/>
                  </a:cubicBezTo>
                  <a:close/>
                </a:path>
              </a:pathLst>
            </a:custGeom>
            <a:solidFill>
              <a:srgbClr val="66B2B0"/>
            </a:solidFill>
            <a:ln w="12690" cap="flat">
              <a:solidFill>
                <a:schemeClr val="accent1"/>
              </a:solid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A9A6CCDF-4C7E-4688-8C6C-BC388B1BDA88}"/>
                </a:ext>
              </a:extLst>
            </p:cNvPr>
            <p:cNvSpPr/>
            <p:nvPr/>
          </p:nvSpPr>
          <p:spPr>
            <a:xfrm>
              <a:off x="4206541" y="5998976"/>
              <a:ext cx="304720" cy="439688"/>
            </a:xfrm>
            <a:custGeom>
              <a:avLst/>
              <a:gdLst>
                <a:gd name="connsiteX0" fmla="*/ 303324 w 304720"/>
                <a:gd name="connsiteY0" fmla="*/ 255966 h 439688"/>
                <a:gd name="connsiteX1" fmla="*/ 302689 w 304720"/>
                <a:gd name="connsiteY1" fmla="*/ 255966 h 439688"/>
                <a:gd name="connsiteX2" fmla="*/ 301419 w 304720"/>
                <a:gd name="connsiteY2" fmla="*/ 255966 h 439688"/>
                <a:gd name="connsiteX3" fmla="*/ 300404 w 304720"/>
                <a:gd name="connsiteY3" fmla="*/ 255205 h 439688"/>
                <a:gd name="connsiteX4" fmla="*/ 299388 w 304720"/>
                <a:gd name="connsiteY4" fmla="*/ 254316 h 439688"/>
                <a:gd name="connsiteX5" fmla="*/ 298626 w 304720"/>
                <a:gd name="connsiteY5" fmla="*/ 253173 h 439688"/>
                <a:gd name="connsiteX6" fmla="*/ 298626 w 304720"/>
                <a:gd name="connsiteY6" fmla="*/ 252031 h 439688"/>
                <a:gd name="connsiteX7" fmla="*/ 298626 w 304720"/>
                <a:gd name="connsiteY7" fmla="*/ 250634 h 439688"/>
                <a:gd name="connsiteX8" fmla="*/ 298626 w 304720"/>
                <a:gd name="connsiteY8" fmla="*/ 250634 h 439688"/>
                <a:gd name="connsiteX9" fmla="*/ 298626 w 304720"/>
                <a:gd name="connsiteY9" fmla="*/ 136363 h 439688"/>
                <a:gd name="connsiteX10" fmla="*/ 304721 w 304720"/>
                <a:gd name="connsiteY10" fmla="*/ 129634 h 439688"/>
                <a:gd name="connsiteX11" fmla="*/ 304721 w 304720"/>
                <a:gd name="connsiteY11" fmla="*/ 0 h 439688"/>
                <a:gd name="connsiteX12" fmla="*/ 0 w 304720"/>
                <a:gd name="connsiteY12" fmla="*/ 0 h 439688"/>
                <a:gd name="connsiteX13" fmla="*/ 0 w 304720"/>
                <a:gd name="connsiteY13" fmla="*/ 439688 h 439688"/>
                <a:gd name="connsiteX14" fmla="*/ 303832 w 304720"/>
                <a:gd name="connsiteY14" fmla="*/ 439688 h 439688"/>
                <a:gd name="connsiteX15" fmla="*/ 303832 w 304720"/>
                <a:gd name="connsiteY15" fmla="*/ 256093 h 43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720" h="439688">
                  <a:moveTo>
                    <a:pt x="303324" y="255966"/>
                  </a:moveTo>
                  <a:lnTo>
                    <a:pt x="302689" y="255966"/>
                  </a:lnTo>
                  <a:lnTo>
                    <a:pt x="301419" y="255966"/>
                  </a:lnTo>
                  <a:lnTo>
                    <a:pt x="300404" y="255205"/>
                  </a:lnTo>
                  <a:lnTo>
                    <a:pt x="299388" y="254316"/>
                  </a:lnTo>
                  <a:lnTo>
                    <a:pt x="298626" y="253173"/>
                  </a:lnTo>
                  <a:cubicBezTo>
                    <a:pt x="298677" y="252792"/>
                    <a:pt x="298677" y="252411"/>
                    <a:pt x="298626" y="252031"/>
                  </a:cubicBezTo>
                  <a:cubicBezTo>
                    <a:pt x="298626" y="252031"/>
                    <a:pt x="298626" y="251142"/>
                    <a:pt x="298626" y="250634"/>
                  </a:cubicBezTo>
                  <a:cubicBezTo>
                    <a:pt x="298626" y="250126"/>
                    <a:pt x="298626" y="250634"/>
                    <a:pt x="298626" y="250634"/>
                  </a:cubicBezTo>
                  <a:lnTo>
                    <a:pt x="298626" y="136363"/>
                  </a:lnTo>
                  <a:cubicBezTo>
                    <a:pt x="298614" y="132884"/>
                    <a:pt x="301254" y="129964"/>
                    <a:pt x="304721" y="129634"/>
                  </a:cubicBezTo>
                  <a:lnTo>
                    <a:pt x="304721" y="0"/>
                  </a:lnTo>
                  <a:lnTo>
                    <a:pt x="0" y="0"/>
                  </a:lnTo>
                  <a:lnTo>
                    <a:pt x="0" y="439688"/>
                  </a:lnTo>
                  <a:lnTo>
                    <a:pt x="303832" y="439688"/>
                  </a:lnTo>
                  <a:lnTo>
                    <a:pt x="303832" y="256093"/>
                  </a:lnTo>
                  <a:close/>
                </a:path>
              </a:pathLst>
            </a:custGeom>
            <a:solidFill>
              <a:schemeClr val="accent3"/>
            </a:solidFill>
            <a:ln w="126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83798BE7-AE75-4D56-8A0C-661C0F953B44}"/>
                </a:ext>
              </a:extLst>
            </p:cNvPr>
            <p:cNvSpPr/>
            <p:nvPr/>
          </p:nvSpPr>
          <p:spPr>
            <a:xfrm>
              <a:off x="4982055" y="5809540"/>
              <a:ext cx="19552" cy="304468"/>
            </a:xfrm>
            <a:custGeom>
              <a:avLst/>
              <a:gdLst>
                <a:gd name="connsiteX0" fmla="*/ 14093 w 19552"/>
                <a:gd name="connsiteY0" fmla="*/ 304468 h 304468"/>
                <a:gd name="connsiteX1" fmla="*/ 19553 w 19552"/>
                <a:gd name="connsiteY1" fmla="*/ 304468 h 304468"/>
                <a:gd name="connsiteX2" fmla="*/ 19553 w 19552"/>
                <a:gd name="connsiteY2" fmla="*/ 31615 h 304468"/>
                <a:gd name="connsiteX3" fmla="*/ 17521 w 19552"/>
                <a:gd name="connsiteY3" fmla="*/ 28187 h 304468"/>
                <a:gd name="connsiteX4" fmla="*/ 17521 w 19552"/>
                <a:gd name="connsiteY4" fmla="*/ 28187 h 304468"/>
                <a:gd name="connsiteX5" fmla="*/ 14982 w 19552"/>
                <a:gd name="connsiteY5" fmla="*/ 24124 h 304468"/>
                <a:gd name="connsiteX6" fmla="*/ 14982 w 19552"/>
                <a:gd name="connsiteY6" fmla="*/ 24124 h 304468"/>
                <a:gd name="connsiteX7" fmla="*/ 0 w 19552"/>
                <a:gd name="connsiteY7" fmla="*/ 0 h 304468"/>
                <a:gd name="connsiteX8" fmla="*/ 0 w 19552"/>
                <a:gd name="connsiteY8" fmla="*/ 293168 h 304468"/>
                <a:gd name="connsiteX9" fmla="*/ 14093 w 19552"/>
                <a:gd name="connsiteY9" fmla="*/ 304468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2" h="304468">
                  <a:moveTo>
                    <a:pt x="14093" y="304468"/>
                  </a:moveTo>
                  <a:lnTo>
                    <a:pt x="19553" y="304468"/>
                  </a:lnTo>
                  <a:lnTo>
                    <a:pt x="19553" y="31615"/>
                  </a:lnTo>
                  <a:lnTo>
                    <a:pt x="17521" y="28187"/>
                  </a:lnTo>
                  <a:lnTo>
                    <a:pt x="17521" y="28187"/>
                  </a:lnTo>
                  <a:lnTo>
                    <a:pt x="14982" y="24124"/>
                  </a:lnTo>
                  <a:lnTo>
                    <a:pt x="14982" y="24124"/>
                  </a:lnTo>
                  <a:lnTo>
                    <a:pt x="0" y="0"/>
                  </a:lnTo>
                  <a:lnTo>
                    <a:pt x="0" y="293168"/>
                  </a:lnTo>
                  <a:lnTo>
                    <a:pt x="14093" y="304468"/>
                  </a:lnTo>
                  <a:close/>
                </a:path>
              </a:pathLst>
            </a:custGeom>
            <a:solidFill>
              <a:schemeClr val="accent2"/>
            </a:solidFill>
            <a:ln w="126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B30090B1-11A3-4B31-81FC-B351FA2FF3E0}"/>
                </a:ext>
              </a:extLst>
            </p:cNvPr>
            <p:cNvSpPr/>
            <p:nvPr/>
          </p:nvSpPr>
          <p:spPr>
            <a:xfrm>
              <a:off x="4794144" y="5801288"/>
              <a:ext cx="185498" cy="299643"/>
            </a:xfrm>
            <a:custGeom>
              <a:avLst/>
              <a:gdLst>
                <a:gd name="connsiteX0" fmla="*/ 0 w 185498"/>
                <a:gd name="connsiteY0" fmla="*/ 0 h 299643"/>
                <a:gd name="connsiteX1" fmla="*/ 0 w 185498"/>
                <a:gd name="connsiteY1" fmla="*/ 218892 h 299643"/>
                <a:gd name="connsiteX2" fmla="*/ 9523 w 185498"/>
                <a:gd name="connsiteY2" fmla="*/ 225240 h 299643"/>
                <a:gd name="connsiteX3" fmla="*/ 9523 w 185498"/>
                <a:gd name="connsiteY3" fmla="*/ 225240 h 299643"/>
                <a:gd name="connsiteX4" fmla="*/ 10411 w 185498"/>
                <a:gd name="connsiteY4" fmla="*/ 226256 h 299643"/>
                <a:gd name="connsiteX5" fmla="*/ 11173 w 185498"/>
                <a:gd name="connsiteY5" fmla="*/ 227272 h 299643"/>
                <a:gd name="connsiteX6" fmla="*/ 11173 w 185498"/>
                <a:gd name="connsiteY6" fmla="*/ 228542 h 299643"/>
                <a:gd name="connsiteX7" fmla="*/ 11173 w 185498"/>
                <a:gd name="connsiteY7" fmla="*/ 229938 h 299643"/>
                <a:gd name="connsiteX8" fmla="*/ 11173 w 185498"/>
                <a:gd name="connsiteY8" fmla="*/ 299643 h 299643"/>
                <a:gd name="connsiteX9" fmla="*/ 185499 w 185498"/>
                <a:gd name="connsiteY9" fmla="*/ 299643 h 299643"/>
                <a:gd name="connsiteX10" fmla="*/ 185499 w 185498"/>
                <a:gd name="connsiteY10" fmla="*/ 4317 h 299643"/>
                <a:gd name="connsiteX11" fmla="*/ 182832 w 185498"/>
                <a:gd name="connsiteY11" fmla="*/ 0 h 299643"/>
                <a:gd name="connsiteX12" fmla="*/ 0 w 185498"/>
                <a:gd name="connsiteY12" fmla="*/ 0 h 29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498" h="299643">
                  <a:moveTo>
                    <a:pt x="0" y="0"/>
                  </a:moveTo>
                  <a:lnTo>
                    <a:pt x="0" y="218892"/>
                  </a:lnTo>
                  <a:lnTo>
                    <a:pt x="9523" y="225240"/>
                  </a:lnTo>
                  <a:cubicBezTo>
                    <a:pt x="9523" y="225240"/>
                    <a:pt x="9523" y="225240"/>
                    <a:pt x="9523" y="225240"/>
                  </a:cubicBezTo>
                  <a:lnTo>
                    <a:pt x="10411" y="226256"/>
                  </a:lnTo>
                  <a:cubicBezTo>
                    <a:pt x="10742" y="226528"/>
                    <a:pt x="11008" y="226877"/>
                    <a:pt x="11173" y="227272"/>
                  </a:cubicBezTo>
                  <a:cubicBezTo>
                    <a:pt x="11249" y="227692"/>
                    <a:pt x="11249" y="228121"/>
                    <a:pt x="11173" y="228542"/>
                  </a:cubicBezTo>
                  <a:cubicBezTo>
                    <a:pt x="11249" y="229005"/>
                    <a:pt x="11249" y="229475"/>
                    <a:pt x="11173" y="229938"/>
                  </a:cubicBezTo>
                  <a:lnTo>
                    <a:pt x="11173" y="299643"/>
                  </a:lnTo>
                  <a:lnTo>
                    <a:pt x="185499" y="299643"/>
                  </a:lnTo>
                  <a:lnTo>
                    <a:pt x="185499" y="4317"/>
                  </a:lnTo>
                  <a:lnTo>
                    <a:pt x="182832" y="0"/>
                  </a:lnTo>
                  <a:lnTo>
                    <a:pt x="0" y="0"/>
                  </a:lnTo>
                  <a:close/>
                </a:path>
              </a:pathLst>
            </a:custGeom>
            <a:solidFill>
              <a:schemeClr val="accent5"/>
            </a:solidFill>
            <a:ln w="126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03FCCAED-A7BD-4827-B4C6-6E649C59BC4E}"/>
                </a:ext>
              </a:extLst>
            </p:cNvPr>
            <p:cNvSpPr/>
            <p:nvPr/>
          </p:nvSpPr>
          <p:spPr>
            <a:xfrm>
              <a:off x="4806713" y="6104486"/>
              <a:ext cx="185625" cy="9522"/>
            </a:xfrm>
            <a:custGeom>
              <a:avLst/>
              <a:gdLst>
                <a:gd name="connsiteX0" fmla="*/ 185626 w 185625"/>
                <a:gd name="connsiteY0" fmla="*/ 9523 h 9522"/>
                <a:gd name="connsiteX1" fmla="*/ 173691 w 185625"/>
                <a:gd name="connsiteY1" fmla="*/ 0 h 9522"/>
                <a:gd name="connsiteX2" fmla="*/ 0 w 185625"/>
                <a:gd name="connsiteY2" fmla="*/ 0 h 9522"/>
                <a:gd name="connsiteX3" fmla="*/ 0 w 185625"/>
                <a:gd name="connsiteY3" fmla="*/ 9523 h 9522"/>
                <a:gd name="connsiteX4" fmla="*/ 185626 w 185625"/>
                <a:gd name="connsiteY4" fmla="*/ 9523 h 9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25" h="9522">
                  <a:moveTo>
                    <a:pt x="185626" y="9523"/>
                  </a:moveTo>
                  <a:lnTo>
                    <a:pt x="173691" y="0"/>
                  </a:lnTo>
                  <a:lnTo>
                    <a:pt x="0" y="0"/>
                  </a:lnTo>
                  <a:lnTo>
                    <a:pt x="0" y="9523"/>
                  </a:lnTo>
                  <a:lnTo>
                    <a:pt x="185626" y="9523"/>
                  </a:lnTo>
                  <a:close/>
                </a:path>
              </a:pathLst>
            </a:custGeom>
            <a:solidFill>
              <a:schemeClr val="accent2"/>
            </a:solidFill>
            <a:ln w="126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32644D5A-1E70-409F-BC43-9E08AFC2C60C}"/>
                </a:ext>
              </a:extLst>
            </p:cNvPr>
            <p:cNvSpPr/>
            <p:nvPr/>
          </p:nvSpPr>
          <p:spPr>
            <a:xfrm>
              <a:off x="7837668" y="5868580"/>
              <a:ext cx="202004" cy="83798"/>
            </a:xfrm>
            <a:custGeom>
              <a:avLst/>
              <a:gdLst>
                <a:gd name="connsiteX0" fmla="*/ 5332 w 202004"/>
                <a:gd name="connsiteY0" fmla="*/ 83799 h 83798"/>
                <a:gd name="connsiteX1" fmla="*/ 202005 w 202004"/>
                <a:gd name="connsiteY1" fmla="*/ 83799 h 83798"/>
                <a:gd name="connsiteX2" fmla="*/ 202005 w 202004"/>
                <a:gd name="connsiteY2" fmla="*/ 0 h 83798"/>
                <a:gd name="connsiteX3" fmla="*/ 0 w 202004"/>
                <a:gd name="connsiteY3" fmla="*/ 0 h 83798"/>
                <a:gd name="connsiteX4" fmla="*/ 0 w 202004"/>
                <a:gd name="connsiteY4" fmla="*/ 78466 h 83798"/>
                <a:gd name="connsiteX5" fmla="*/ 5332 w 202004"/>
                <a:gd name="connsiteY5" fmla="*/ 83799 h 8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004" h="83798">
                  <a:moveTo>
                    <a:pt x="5332" y="83799"/>
                  </a:moveTo>
                  <a:lnTo>
                    <a:pt x="202005" y="83799"/>
                  </a:lnTo>
                  <a:lnTo>
                    <a:pt x="202005" y="0"/>
                  </a:lnTo>
                  <a:lnTo>
                    <a:pt x="0" y="0"/>
                  </a:lnTo>
                  <a:lnTo>
                    <a:pt x="0" y="78466"/>
                  </a:lnTo>
                  <a:cubicBezTo>
                    <a:pt x="2717" y="78953"/>
                    <a:pt x="4850" y="81080"/>
                    <a:pt x="5332" y="83799"/>
                  </a:cubicBez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DD6BEDAE-28FB-4947-8E6E-4DE37B2656DC}"/>
                </a:ext>
              </a:extLst>
            </p:cNvPr>
            <p:cNvSpPr/>
            <p:nvPr/>
          </p:nvSpPr>
          <p:spPr>
            <a:xfrm>
              <a:off x="7819384" y="5869088"/>
              <a:ext cx="15743" cy="86464"/>
            </a:xfrm>
            <a:custGeom>
              <a:avLst/>
              <a:gdLst>
                <a:gd name="connsiteX0" fmla="*/ 10157 w 15743"/>
                <a:gd name="connsiteY0" fmla="*/ 84560 h 86464"/>
                <a:gd name="connsiteX1" fmla="*/ 10157 w 15743"/>
                <a:gd name="connsiteY1" fmla="*/ 84560 h 86464"/>
                <a:gd name="connsiteX2" fmla="*/ 15744 w 15743"/>
                <a:gd name="connsiteY2" fmla="*/ 77958 h 86464"/>
                <a:gd name="connsiteX3" fmla="*/ 15744 w 15743"/>
                <a:gd name="connsiteY3" fmla="*/ 0 h 86464"/>
                <a:gd name="connsiteX4" fmla="*/ 0 w 15743"/>
                <a:gd name="connsiteY4" fmla="*/ 3428 h 86464"/>
                <a:gd name="connsiteX5" fmla="*/ 0 w 15743"/>
                <a:gd name="connsiteY5" fmla="*/ 86465 h 8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3" h="86464">
                  <a:moveTo>
                    <a:pt x="10157" y="84560"/>
                  </a:moveTo>
                  <a:lnTo>
                    <a:pt x="10157" y="84560"/>
                  </a:lnTo>
                  <a:cubicBezTo>
                    <a:pt x="10170" y="81296"/>
                    <a:pt x="12532" y="78513"/>
                    <a:pt x="15744" y="77958"/>
                  </a:cubicBezTo>
                  <a:lnTo>
                    <a:pt x="15744" y="0"/>
                  </a:lnTo>
                  <a:lnTo>
                    <a:pt x="0" y="3428"/>
                  </a:lnTo>
                  <a:lnTo>
                    <a:pt x="0" y="86465"/>
                  </a:lnTo>
                  <a:close/>
                </a:path>
              </a:pathLst>
            </a:custGeom>
            <a:solidFill>
              <a:srgbClr val="F4F5F3"/>
            </a:solidFill>
            <a:ln w="126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0C9DC656-608B-4530-8CE5-0D9296D6ED76}"/>
                </a:ext>
              </a:extLst>
            </p:cNvPr>
            <p:cNvSpPr/>
            <p:nvPr/>
          </p:nvSpPr>
          <p:spPr>
            <a:xfrm>
              <a:off x="7800086" y="5966091"/>
              <a:ext cx="6855" cy="544309"/>
            </a:xfrm>
            <a:custGeom>
              <a:avLst/>
              <a:gdLst>
                <a:gd name="connsiteX0" fmla="*/ 5713 w 6855"/>
                <a:gd name="connsiteY0" fmla="*/ 544310 h 544309"/>
                <a:gd name="connsiteX1" fmla="*/ 6856 w 6855"/>
                <a:gd name="connsiteY1" fmla="*/ 541897 h 544309"/>
                <a:gd name="connsiteX2" fmla="*/ 6856 w 6855"/>
                <a:gd name="connsiteY2" fmla="*/ 0 h 544309"/>
                <a:gd name="connsiteX3" fmla="*/ 0 w 6855"/>
                <a:gd name="connsiteY3" fmla="*/ 1270 h 544309"/>
                <a:gd name="connsiteX4" fmla="*/ 0 w 6855"/>
                <a:gd name="connsiteY4" fmla="*/ 544056 h 544309"/>
                <a:gd name="connsiteX5" fmla="*/ 0 w 6855"/>
                <a:gd name="connsiteY5" fmla="*/ 544056 h 54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5" h="544309">
                  <a:moveTo>
                    <a:pt x="5713" y="544310"/>
                  </a:moveTo>
                  <a:cubicBezTo>
                    <a:pt x="5942" y="543446"/>
                    <a:pt x="6323" y="542621"/>
                    <a:pt x="6856" y="541897"/>
                  </a:cubicBezTo>
                  <a:lnTo>
                    <a:pt x="6856" y="0"/>
                  </a:lnTo>
                  <a:lnTo>
                    <a:pt x="0" y="1270"/>
                  </a:lnTo>
                  <a:lnTo>
                    <a:pt x="0" y="544056"/>
                  </a:lnTo>
                  <a:lnTo>
                    <a:pt x="0" y="544056"/>
                  </a:lnTo>
                  <a:close/>
                </a:path>
              </a:pathLst>
            </a:custGeom>
            <a:solidFill>
              <a:srgbClr val="F9C996"/>
            </a:solidFill>
            <a:ln w="126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77303D9F-D327-49AA-9BF1-3C0F52D612EF}"/>
                </a:ext>
              </a:extLst>
            </p:cNvPr>
            <p:cNvSpPr/>
            <p:nvPr/>
          </p:nvSpPr>
          <p:spPr>
            <a:xfrm>
              <a:off x="7809354" y="5965330"/>
              <a:ext cx="1904" cy="540119"/>
            </a:xfrm>
            <a:custGeom>
              <a:avLst/>
              <a:gdLst>
                <a:gd name="connsiteX0" fmla="*/ 1904 w 1904"/>
                <a:gd name="connsiteY0" fmla="*/ 0 h 540119"/>
                <a:gd name="connsiteX1" fmla="*/ 0 w 1904"/>
                <a:gd name="connsiteY1" fmla="*/ 0 h 540119"/>
                <a:gd name="connsiteX2" fmla="*/ 0 w 1904"/>
                <a:gd name="connsiteY2" fmla="*/ 0 h 540119"/>
                <a:gd name="connsiteX3" fmla="*/ 0 w 1904"/>
                <a:gd name="connsiteY3" fmla="*/ 540120 h 540119"/>
                <a:gd name="connsiteX4" fmla="*/ 1904 w 1904"/>
                <a:gd name="connsiteY4" fmla="*/ 539485 h 54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 h="540119">
                  <a:moveTo>
                    <a:pt x="1904" y="0"/>
                  </a:moveTo>
                  <a:lnTo>
                    <a:pt x="0" y="0"/>
                  </a:lnTo>
                  <a:lnTo>
                    <a:pt x="0" y="0"/>
                  </a:lnTo>
                  <a:lnTo>
                    <a:pt x="0" y="540120"/>
                  </a:lnTo>
                  <a:lnTo>
                    <a:pt x="1904" y="539485"/>
                  </a:lnTo>
                  <a:close/>
                </a:path>
              </a:pathLst>
            </a:custGeom>
            <a:solidFill>
              <a:srgbClr val="E8E7E3"/>
            </a:solidFill>
            <a:ln w="126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37DD44F-770C-462F-AFEB-3FDF6A89CD21}"/>
                </a:ext>
              </a:extLst>
            </p:cNvPr>
            <p:cNvSpPr/>
            <p:nvPr/>
          </p:nvSpPr>
          <p:spPr>
            <a:xfrm>
              <a:off x="7814560" y="5959235"/>
              <a:ext cx="15870" cy="545071"/>
            </a:xfrm>
            <a:custGeom>
              <a:avLst/>
              <a:gdLst>
                <a:gd name="connsiteX0" fmla="*/ 14982 w 15870"/>
                <a:gd name="connsiteY0" fmla="*/ 0 h 545071"/>
                <a:gd name="connsiteX1" fmla="*/ 4698 w 15870"/>
                <a:gd name="connsiteY1" fmla="*/ 0 h 545071"/>
                <a:gd name="connsiteX2" fmla="*/ 4698 w 15870"/>
                <a:gd name="connsiteY2" fmla="*/ 889 h 545071"/>
                <a:gd name="connsiteX3" fmla="*/ 4063 w 15870"/>
                <a:gd name="connsiteY3" fmla="*/ 2159 h 545071"/>
                <a:gd name="connsiteX4" fmla="*/ 4063 w 15870"/>
                <a:gd name="connsiteY4" fmla="*/ 3174 h 545071"/>
                <a:gd name="connsiteX5" fmla="*/ 3047 w 15870"/>
                <a:gd name="connsiteY5" fmla="*/ 4063 h 545071"/>
                <a:gd name="connsiteX6" fmla="*/ 2032 w 15870"/>
                <a:gd name="connsiteY6" fmla="*/ 4825 h 545071"/>
                <a:gd name="connsiteX7" fmla="*/ 762 w 15870"/>
                <a:gd name="connsiteY7" fmla="*/ 4825 h 545071"/>
                <a:gd name="connsiteX8" fmla="*/ 0 w 15870"/>
                <a:gd name="connsiteY8" fmla="*/ 4825 h 545071"/>
                <a:gd name="connsiteX9" fmla="*/ 0 w 15870"/>
                <a:gd name="connsiteY9" fmla="*/ 4825 h 545071"/>
                <a:gd name="connsiteX10" fmla="*/ 0 w 15870"/>
                <a:gd name="connsiteY10" fmla="*/ 545072 h 545071"/>
                <a:gd name="connsiteX11" fmla="*/ 15871 w 15870"/>
                <a:gd name="connsiteY11" fmla="*/ 545072 h 54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70" h="545071">
                  <a:moveTo>
                    <a:pt x="14982" y="0"/>
                  </a:moveTo>
                  <a:lnTo>
                    <a:pt x="4698" y="0"/>
                  </a:lnTo>
                  <a:cubicBezTo>
                    <a:pt x="4660" y="295"/>
                    <a:pt x="4660" y="594"/>
                    <a:pt x="4698" y="889"/>
                  </a:cubicBezTo>
                  <a:lnTo>
                    <a:pt x="4063" y="2159"/>
                  </a:lnTo>
                  <a:cubicBezTo>
                    <a:pt x="4101" y="2496"/>
                    <a:pt x="4101" y="2837"/>
                    <a:pt x="4063" y="3174"/>
                  </a:cubicBezTo>
                  <a:lnTo>
                    <a:pt x="3047" y="4063"/>
                  </a:lnTo>
                  <a:lnTo>
                    <a:pt x="2032" y="4825"/>
                  </a:lnTo>
                  <a:lnTo>
                    <a:pt x="762" y="4825"/>
                  </a:lnTo>
                  <a:lnTo>
                    <a:pt x="0" y="4825"/>
                  </a:lnTo>
                  <a:lnTo>
                    <a:pt x="0" y="4825"/>
                  </a:lnTo>
                  <a:lnTo>
                    <a:pt x="0" y="545072"/>
                  </a:lnTo>
                  <a:lnTo>
                    <a:pt x="15871" y="545072"/>
                  </a:lnTo>
                  <a:close/>
                </a:path>
              </a:pathLst>
            </a:custGeom>
            <a:solidFill>
              <a:srgbClr val="9FD1D0"/>
            </a:solidFill>
            <a:ln w="126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A776067B-B7D2-4542-83A8-442CB5F0FB36}"/>
                </a:ext>
              </a:extLst>
            </p:cNvPr>
            <p:cNvSpPr/>
            <p:nvPr/>
          </p:nvSpPr>
          <p:spPr>
            <a:xfrm>
              <a:off x="7825860" y="5956188"/>
              <a:ext cx="3681" cy="634"/>
            </a:xfrm>
            <a:custGeom>
              <a:avLst/>
              <a:gdLst>
                <a:gd name="connsiteX0" fmla="*/ 0 w 3681"/>
                <a:gd name="connsiteY0" fmla="*/ 635 h 634"/>
                <a:gd name="connsiteX1" fmla="*/ 3682 w 3681"/>
                <a:gd name="connsiteY1" fmla="*/ 635 h 634"/>
                <a:gd name="connsiteX2" fmla="*/ 3682 w 3681"/>
                <a:gd name="connsiteY2" fmla="*/ 0 h 634"/>
                <a:gd name="connsiteX3" fmla="*/ 0 w 3681"/>
                <a:gd name="connsiteY3" fmla="*/ 635 h 634"/>
              </a:gdLst>
              <a:ahLst/>
              <a:cxnLst>
                <a:cxn ang="0">
                  <a:pos x="connsiteX0" y="connsiteY0"/>
                </a:cxn>
                <a:cxn ang="0">
                  <a:pos x="connsiteX1" y="connsiteY1"/>
                </a:cxn>
                <a:cxn ang="0">
                  <a:pos x="connsiteX2" y="connsiteY2"/>
                </a:cxn>
                <a:cxn ang="0">
                  <a:pos x="connsiteX3" y="connsiteY3"/>
                </a:cxn>
              </a:cxnLst>
              <a:rect l="l" t="t" r="r" b="b"/>
              <a:pathLst>
                <a:path w="3681" h="634">
                  <a:moveTo>
                    <a:pt x="0" y="635"/>
                  </a:moveTo>
                  <a:lnTo>
                    <a:pt x="3682" y="635"/>
                  </a:lnTo>
                  <a:lnTo>
                    <a:pt x="3682" y="0"/>
                  </a:lnTo>
                  <a:lnTo>
                    <a:pt x="0" y="635"/>
                  </a:lnTo>
                  <a:close/>
                </a:path>
              </a:pathLst>
            </a:custGeom>
            <a:solidFill>
              <a:srgbClr val="088A8F"/>
            </a:solidFill>
            <a:ln w="126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5F151A63-71E1-4D5B-82E4-7E4064D11AC6}"/>
                </a:ext>
              </a:extLst>
            </p:cNvPr>
            <p:cNvSpPr/>
            <p:nvPr/>
          </p:nvSpPr>
          <p:spPr>
            <a:xfrm>
              <a:off x="4788430" y="6033003"/>
              <a:ext cx="4570" cy="93574"/>
            </a:xfrm>
            <a:custGeom>
              <a:avLst/>
              <a:gdLst>
                <a:gd name="connsiteX0" fmla="*/ 4571 w 4570"/>
                <a:gd name="connsiteY0" fmla="*/ 93575 h 93574"/>
                <a:gd name="connsiteX1" fmla="*/ 4571 w 4570"/>
                <a:gd name="connsiteY1" fmla="*/ 90020 h 93574"/>
                <a:gd name="connsiteX2" fmla="*/ 4571 w 4570"/>
                <a:gd name="connsiteY2" fmla="*/ 87988 h 93574"/>
                <a:gd name="connsiteX3" fmla="*/ 4571 w 4570"/>
                <a:gd name="connsiteY3" fmla="*/ 70213 h 93574"/>
                <a:gd name="connsiteX4" fmla="*/ 4571 w 4570"/>
                <a:gd name="connsiteY4" fmla="*/ 3047 h 93574"/>
                <a:gd name="connsiteX5" fmla="*/ 0 w 4570"/>
                <a:gd name="connsiteY5" fmla="*/ 0 h 93574"/>
                <a:gd name="connsiteX6" fmla="*/ 0 w 4570"/>
                <a:gd name="connsiteY6" fmla="*/ 93575 h 93574"/>
                <a:gd name="connsiteX7" fmla="*/ 4571 w 4570"/>
                <a:gd name="connsiteY7" fmla="*/ 93575 h 9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0" h="93574">
                  <a:moveTo>
                    <a:pt x="4571" y="93575"/>
                  </a:moveTo>
                  <a:lnTo>
                    <a:pt x="4571" y="90020"/>
                  </a:lnTo>
                  <a:lnTo>
                    <a:pt x="4571" y="87988"/>
                  </a:lnTo>
                  <a:lnTo>
                    <a:pt x="4571" y="70213"/>
                  </a:lnTo>
                  <a:lnTo>
                    <a:pt x="4571" y="3047"/>
                  </a:lnTo>
                  <a:lnTo>
                    <a:pt x="0" y="0"/>
                  </a:lnTo>
                  <a:lnTo>
                    <a:pt x="0" y="93575"/>
                  </a:lnTo>
                  <a:lnTo>
                    <a:pt x="4571" y="93575"/>
                  </a:lnTo>
                  <a:close/>
                </a:path>
              </a:pathLst>
            </a:custGeom>
            <a:solidFill>
              <a:srgbClr val="9FD1D0"/>
            </a:solidFill>
            <a:ln w="126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113CC5BA-071E-416D-A78D-7EE14C675FD5}"/>
                </a:ext>
              </a:extLst>
            </p:cNvPr>
            <p:cNvSpPr/>
            <p:nvPr/>
          </p:nvSpPr>
          <p:spPr>
            <a:xfrm>
              <a:off x="4518118" y="6140418"/>
              <a:ext cx="695905" cy="304468"/>
            </a:xfrm>
            <a:custGeom>
              <a:avLst/>
              <a:gdLst>
                <a:gd name="connsiteX0" fmla="*/ 694890 w 695905"/>
                <a:gd name="connsiteY0" fmla="*/ 0 h 304468"/>
                <a:gd name="connsiteX1" fmla="*/ 0 w 695905"/>
                <a:gd name="connsiteY1" fmla="*/ 0 h 304468"/>
                <a:gd name="connsiteX2" fmla="*/ 0 w 695905"/>
                <a:gd name="connsiteY2" fmla="*/ 101574 h 304468"/>
                <a:gd name="connsiteX3" fmla="*/ 0 w 695905"/>
                <a:gd name="connsiteY3" fmla="*/ 101574 h 304468"/>
                <a:gd name="connsiteX4" fmla="*/ 635 w 695905"/>
                <a:gd name="connsiteY4" fmla="*/ 101574 h 304468"/>
                <a:gd name="connsiteX5" fmla="*/ 1904 w 695905"/>
                <a:gd name="connsiteY5" fmla="*/ 101574 h 304468"/>
                <a:gd name="connsiteX6" fmla="*/ 3047 w 695905"/>
                <a:gd name="connsiteY6" fmla="*/ 102336 h 304468"/>
                <a:gd name="connsiteX7" fmla="*/ 3936 w 695905"/>
                <a:gd name="connsiteY7" fmla="*/ 103225 h 304468"/>
                <a:gd name="connsiteX8" fmla="*/ 4698 w 695905"/>
                <a:gd name="connsiteY8" fmla="*/ 104367 h 304468"/>
                <a:gd name="connsiteX9" fmla="*/ 4698 w 695905"/>
                <a:gd name="connsiteY9" fmla="*/ 105256 h 304468"/>
                <a:gd name="connsiteX10" fmla="*/ 250633 w 695905"/>
                <a:gd name="connsiteY10" fmla="*/ 105256 h 304468"/>
                <a:gd name="connsiteX11" fmla="*/ 257362 w 695905"/>
                <a:gd name="connsiteY11" fmla="*/ 99542 h 304468"/>
                <a:gd name="connsiteX12" fmla="*/ 264218 w 695905"/>
                <a:gd name="connsiteY12" fmla="*/ 106399 h 304468"/>
                <a:gd name="connsiteX13" fmla="*/ 264218 w 695905"/>
                <a:gd name="connsiteY13" fmla="*/ 106526 h 304468"/>
                <a:gd name="connsiteX14" fmla="*/ 264218 w 695905"/>
                <a:gd name="connsiteY14" fmla="*/ 304468 h 304468"/>
                <a:gd name="connsiteX15" fmla="*/ 695906 w 695905"/>
                <a:gd name="connsiteY15" fmla="*/ 304468 h 304468"/>
                <a:gd name="connsiteX16" fmla="*/ 695906 w 695905"/>
                <a:gd name="connsiteY16" fmla="*/ 0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5905" h="304468">
                  <a:moveTo>
                    <a:pt x="694890" y="0"/>
                  </a:moveTo>
                  <a:lnTo>
                    <a:pt x="0" y="0"/>
                  </a:lnTo>
                  <a:lnTo>
                    <a:pt x="0" y="101574"/>
                  </a:lnTo>
                  <a:lnTo>
                    <a:pt x="0" y="101574"/>
                  </a:lnTo>
                  <a:lnTo>
                    <a:pt x="635" y="101574"/>
                  </a:lnTo>
                  <a:lnTo>
                    <a:pt x="1904" y="101574"/>
                  </a:lnTo>
                  <a:lnTo>
                    <a:pt x="3047" y="102336"/>
                  </a:lnTo>
                  <a:lnTo>
                    <a:pt x="3936" y="103225"/>
                  </a:lnTo>
                  <a:lnTo>
                    <a:pt x="4698" y="104367"/>
                  </a:lnTo>
                  <a:lnTo>
                    <a:pt x="4698" y="105256"/>
                  </a:lnTo>
                  <a:lnTo>
                    <a:pt x="250633" y="105256"/>
                  </a:lnTo>
                  <a:cubicBezTo>
                    <a:pt x="251229" y="101993"/>
                    <a:pt x="254048" y="99606"/>
                    <a:pt x="257362" y="99542"/>
                  </a:cubicBezTo>
                  <a:cubicBezTo>
                    <a:pt x="261145" y="99542"/>
                    <a:pt x="264218" y="102615"/>
                    <a:pt x="264218" y="106399"/>
                  </a:cubicBezTo>
                  <a:cubicBezTo>
                    <a:pt x="264218" y="106437"/>
                    <a:pt x="264218" y="106488"/>
                    <a:pt x="264218" y="106526"/>
                  </a:cubicBezTo>
                  <a:lnTo>
                    <a:pt x="264218" y="304468"/>
                  </a:lnTo>
                  <a:lnTo>
                    <a:pt x="695906" y="304468"/>
                  </a:lnTo>
                  <a:lnTo>
                    <a:pt x="695906" y="0"/>
                  </a:lnTo>
                  <a:close/>
                </a:path>
              </a:pathLst>
            </a:custGeom>
            <a:solidFill>
              <a:schemeClr val="accent1">
                <a:lumMod val="75000"/>
              </a:schemeClr>
            </a:solidFill>
            <a:ln w="126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BDEFBCD1-18AE-4CC0-AFAC-858C8B8C5A6C}"/>
                </a:ext>
              </a:extLst>
            </p:cNvPr>
            <p:cNvSpPr/>
            <p:nvPr/>
          </p:nvSpPr>
          <p:spPr>
            <a:xfrm>
              <a:off x="4524212" y="6250499"/>
              <a:ext cx="245173" cy="189562"/>
            </a:xfrm>
            <a:custGeom>
              <a:avLst/>
              <a:gdLst>
                <a:gd name="connsiteX0" fmla="*/ 0 w 245173"/>
                <a:gd name="connsiteY0" fmla="*/ 0 h 189562"/>
                <a:gd name="connsiteX1" fmla="*/ 0 w 245173"/>
                <a:gd name="connsiteY1" fmla="*/ 189563 h 189562"/>
                <a:gd name="connsiteX2" fmla="*/ 2793 w 245173"/>
                <a:gd name="connsiteY2" fmla="*/ 189563 h 189562"/>
                <a:gd name="connsiteX3" fmla="*/ 245174 w 245173"/>
                <a:gd name="connsiteY3" fmla="*/ 189563 h 189562"/>
                <a:gd name="connsiteX4" fmla="*/ 245174 w 245173"/>
                <a:gd name="connsiteY4" fmla="*/ 0 h 189562"/>
                <a:gd name="connsiteX5" fmla="*/ 0 w 245173"/>
                <a:gd name="connsiteY5" fmla="*/ 0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0" y="0"/>
                  </a:moveTo>
                  <a:lnTo>
                    <a:pt x="0" y="189563"/>
                  </a:lnTo>
                  <a:lnTo>
                    <a:pt x="2793" y="189563"/>
                  </a:lnTo>
                  <a:lnTo>
                    <a:pt x="245174" y="189563"/>
                  </a:lnTo>
                  <a:lnTo>
                    <a:pt x="245174" y="0"/>
                  </a:lnTo>
                  <a:lnTo>
                    <a:pt x="0" y="0"/>
                  </a:lnTo>
                  <a:close/>
                </a:path>
              </a:pathLst>
            </a:custGeom>
            <a:solidFill>
              <a:schemeClr val="tx2"/>
            </a:solidFill>
            <a:ln w="126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7638EDDE-D088-4EAE-851E-FDADC18E8533}"/>
                </a:ext>
              </a:extLst>
            </p:cNvPr>
            <p:cNvSpPr/>
            <p:nvPr/>
          </p:nvSpPr>
          <p:spPr>
            <a:xfrm>
              <a:off x="4782971" y="6028559"/>
              <a:ext cx="3682" cy="98526"/>
            </a:xfrm>
            <a:custGeom>
              <a:avLst/>
              <a:gdLst>
                <a:gd name="connsiteX0" fmla="*/ 3682 w 3682"/>
                <a:gd name="connsiteY0" fmla="*/ 2793 h 98526"/>
                <a:gd name="connsiteX1" fmla="*/ 1016 w 3682"/>
                <a:gd name="connsiteY1" fmla="*/ 1016 h 98526"/>
                <a:gd name="connsiteX2" fmla="*/ 1016 w 3682"/>
                <a:gd name="connsiteY2" fmla="*/ 1016 h 98526"/>
                <a:gd name="connsiteX3" fmla="*/ 0 w 3682"/>
                <a:gd name="connsiteY3" fmla="*/ 0 h 98526"/>
                <a:gd name="connsiteX4" fmla="*/ 0 w 3682"/>
                <a:gd name="connsiteY4" fmla="*/ 0 h 98526"/>
                <a:gd name="connsiteX5" fmla="*/ 0 w 3682"/>
                <a:gd name="connsiteY5" fmla="*/ 98527 h 98526"/>
                <a:gd name="connsiteX6" fmla="*/ 3682 w 3682"/>
                <a:gd name="connsiteY6" fmla="*/ 98527 h 9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2" h="98526">
                  <a:moveTo>
                    <a:pt x="3682" y="2793"/>
                  </a:moveTo>
                  <a:lnTo>
                    <a:pt x="1016" y="1016"/>
                  </a:lnTo>
                  <a:lnTo>
                    <a:pt x="1016" y="1016"/>
                  </a:lnTo>
                  <a:cubicBezTo>
                    <a:pt x="647" y="710"/>
                    <a:pt x="305" y="370"/>
                    <a:pt x="0" y="0"/>
                  </a:cubicBezTo>
                  <a:lnTo>
                    <a:pt x="0" y="0"/>
                  </a:lnTo>
                  <a:lnTo>
                    <a:pt x="0" y="98527"/>
                  </a:lnTo>
                  <a:lnTo>
                    <a:pt x="3682" y="98527"/>
                  </a:lnTo>
                  <a:close/>
                </a:path>
              </a:pathLst>
            </a:custGeom>
            <a:solidFill>
              <a:srgbClr val="66B2B0"/>
            </a:solidFill>
            <a:ln w="126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EB89ABBE-862E-44CB-8D65-464C664E80EA}"/>
                </a:ext>
              </a:extLst>
            </p:cNvPr>
            <p:cNvSpPr/>
            <p:nvPr/>
          </p:nvSpPr>
          <p:spPr>
            <a:xfrm>
              <a:off x="4524212" y="5014724"/>
              <a:ext cx="255076" cy="1111854"/>
            </a:xfrm>
            <a:custGeom>
              <a:avLst/>
              <a:gdLst>
                <a:gd name="connsiteX0" fmla="*/ 0 w 255076"/>
                <a:gd name="connsiteY0" fmla="*/ 977396 h 1111854"/>
                <a:gd name="connsiteX1" fmla="*/ 0 w 255076"/>
                <a:gd name="connsiteY1" fmla="*/ 1111855 h 1111854"/>
                <a:gd name="connsiteX2" fmla="*/ 255077 w 255076"/>
                <a:gd name="connsiteY2" fmla="*/ 1111855 h 1111854"/>
                <a:gd name="connsiteX3" fmla="*/ 255077 w 255076"/>
                <a:gd name="connsiteY3" fmla="*/ 8253 h 1111854"/>
                <a:gd name="connsiteX4" fmla="*/ 251776 w 255076"/>
                <a:gd name="connsiteY4" fmla="*/ 0 h 1111854"/>
                <a:gd name="connsiteX5" fmla="*/ 162899 w 255076"/>
                <a:gd name="connsiteY5" fmla="*/ 0 h 1111854"/>
                <a:gd name="connsiteX6" fmla="*/ 0 w 255076"/>
                <a:gd name="connsiteY6" fmla="*/ 0 h 1111854"/>
                <a:gd name="connsiteX7" fmla="*/ 0 w 255076"/>
                <a:gd name="connsiteY7" fmla="*/ 606524 h 1111854"/>
                <a:gd name="connsiteX8" fmla="*/ 0 w 255076"/>
                <a:gd name="connsiteY8" fmla="*/ 779708 h 1111854"/>
                <a:gd name="connsiteX9" fmla="*/ 0 w 255076"/>
                <a:gd name="connsiteY9" fmla="*/ 977396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0" y="977396"/>
                  </a:moveTo>
                  <a:lnTo>
                    <a:pt x="0" y="1111855"/>
                  </a:lnTo>
                  <a:lnTo>
                    <a:pt x="255077" y="1111855"/>
                  </a:lnTo>
                  <a:lnTo>
                    <a:pt x="255077" y="8253"/>
                  </a:lnTo>
                  <a:lnTo>
                    <a:pt x="251776" y="0"/>
                  </a:lnTo>
                  <a:lnTo>
                    <a:pt x="162899" y="0"/>
                  </a:lnTo>
                  <a:lnTo>
                    <a:pt x="0" y="0"/>
                  </a:lnTo>
                  <a:lnTo>
                    <a:pt x="0" y="606524"/>
                  </a:lnTo>
                  <a:lnTo>
                    <a:pt x="0" y="779708"/>
                  </a:lnTo>
                  <a:lnTo>
                    <a:pt x="0" y="977396"/>
                  </a:lnTo>
                  <a:close/>
                </a:path>
              </a:pathLst>
            </a:custGeom>
            <a:solidFill>
              <a:schemeClr val="accent3"/>
            </a:solidFill>
            <a:ln w="126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1AD2090-9F82-4E77-ABDF-BE87C46F06B7}"/>
                </a:ext>
              </a:extLst>
            </p:cNvPr>
            <p:cNvSpPr/>
            <p:nvPr/>
          </p:nvSpPr>
          <p:spPr>
            <a:xfrm>
              <a:off x="4782971" y="6444124"/>
              <a:ext cx="1037827" cy="420262"/>
            </a:xfrm>
            <a:custGeom>
              <a:avLst/>
              <a:gdLst>
                <a:gd name="connsiteX0" fmla="*/ 1034908 w 1037827"/>
                <a:gd name="connsiteY0" fmla="*/ 5460 h 420262"/>
                <a:gd name="connsiteX1" fmla="*/ 441210 w 1037827"/>
                <a:gd name="connsiteY1" fmla="*/ 5460 h 420262"/>
                <a:gd name="connsiteX2" fmla="*/ 438925 w 1037827"/>
                <a:gd name="connsiteY2" fmla="*/ 5460 h 420262"/>
                <a:gd name="connsiteX3" fmla="*/ 432449 w 1037827"/>
                <a:gd name="connsiteY3" fmla="*/ 0 h 420262"/>
                <a:gd name="connsiteX4" fmla="*/ 0 w 1037827"/>
                <a:gd name="connsiteY4" fmla="*/ 0 h 420262"/>
                <a:gd name="connsiteX5" fmla="*/ 0 w 1037827"/>
                <a:gd name="connsiteY5" fmla="*/ 1270 h 420262"/>
                <a:gd name="connsiteX6" fmla="*/ 0 w 1037827"/>
                <a:gd name="connsiteY6" fmla="*/ 420262 h 420262"/>
                <a:gd name="connsiteX7" fmla="*/ 1037828 w 1037827"/>
                <a:gd name="connsiteY7" fmla="*/ 420262 h 420262"/>
                <a:gd name="connsiteX8" fmla="*/ 1037828 w 1037827"/>
                <a:gd name="connsiteY8" fmla="*/ 5460 h 42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7827" h="420262">
                  <a:moveTo>
                    <a:pt x="1034908" y="5460"/>
                  </a:moveTo>
                  <a:lnTo>
                    <a:pt x="441210" y="5460"/>
                  </a:lnTo>
                  <a:cubicBezTo>
                    <a:pt x="440448" y="5586"/>
                    <a:pt x="439687" y="5586"/>
                    <a:pt x="438925" y="5460"/>
                  </a:cubicBezTo>
                  <a:cubicBezTo>
                    <a:pt x="435751" y="5396"/>
                    <a:pt x="433046" y="3123"/>
                    <a:pt x="432449" y="0"/>
                  </a:cubicBezTo>
                  <a:lnTo>
                    <a:pt x="0" y="0"/>
                  </a:lnTo>
                  <a:cubicBezTo>
                    <a:pt x="76" y="419"/>
                    <a:pt x="76" y="851"/>
                    <a:pt x="0" y="1270"/>
                  </a:cubicBezTo>
                  <a:lnTo>
                    <a:pt x="0" y="420262"/>
                  </a:lnTo>
                  <a:lnTo>
                    <a:pt x="1037828" y="420262"/>
                  </a:lnTo>
                  <a:lnTo>
                    <a:pt x="1037828" y="5460"/>
                  </a:lnTo>
                  <a:close/>
                </a:path>
              </a:pathLst>
            </a:custGeom>
            <a:solidFill>
              <a:schemeClr val="accent1"/>
            </a:solidFill>
            <a:ln w="126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7E6E6D96-DD47-49AB-B980-78E04C75F664}"/>
                </a:ext>
              </a:extLst>
            </p:cNvPr>
            <p:cNvSpPr/>
            <p:nvPr/>
          </p:nvSpPr>
          <p:spPr>
            <a:xfrm>
              <a:off x="4525736" y="6449711"/>
              <a:ext cx="2539" cy="414802"/>
            </a:xfrm>
            <a:custGeom>
              <a:avLst/>
              <a:gdLst>
                <a:gd name="connsiteX0" fmla="*/ 1269 w 2539"/>
                <a:gd name="connsiteY0" fmla="*/ 0 h 414802"/>
                <a:gd name="connsiteX1" fmla="*/ 0 w 2539"/>
                <a:gd name="connsiteY1" fmla="*/ 0 h 414802"/>
                <a:gd name="connsiteX2" fmla="*/ 0 w 2539"/>
                <a:gd name="connsiteY2" fmla="*/ 414803 h 414802"/>
                <a:gd name="connsiteX3" fmla="*/ 2539 w 2539"/>
                <a:gd name="connsiteY3" fmla="*/ 414803 h 414802"/>
                <a:gd name="connsiteX4" fmla="*/ 2539 w 2539"/>
                <a:gd name="connsiteY4" fmla="*/ 0 h 414802"/>
                <a:gd name="connsiteX5" fmla="*/ 1269 w 2539"/>
                <a:gd name="connsiteY5" fmla="*/ 0 h 41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414802">
                  <a:moveTo>
                    <a:pt x="1269" y="0"/>
                  </a:moveTo>
                  <a:lnTo>
                    <a:pt x="0" y="0"/>
                  </a:lnTo>
                  <a:lnTo>
                    <a:pt x="0" y="414803"/>
                  </a:lnTo>
                  <a:lnTo>
                    <a:pt x="2539" y="414803"/>
                  </a:lnTo>
                  <a:lnTo>
                    <a:pt x="2539" y="0"/>
                  </a:lnTo>
                  <a:lnTo>
                    <a:pt x="1269" y="0"/>
                  </a:lnTo>
                  <a:close/>
                </a:path>
              </a:pathLst>
            </a:custGeom>
            <a:solidFill>
              <a:srgbClr val="000000"/>
            </a:solidFill>
            <a:ln w="126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E859B289-990C-4C12-9FE9-06D83319A631}"/>
                </a:ext>
              </a:extLst>
            </p:cNvPr>
            <p:cNvSpPr/>
            <p:nvPr/>
          </p:nvSpPr>
          <p:spPr>
            <a:xfrm>
              <a:off x="4199558" y="5985136"/>
              <a:ext cx="310814" cy="14220"/>
            </a:xfrm>
            <a:custGeom>
              <a:avLst/>
              <a:gdLst>
                <a:gd name="connsiteX0" fmla="*/ 6983 w 310814"/>
                <a:gd name="connsiteY0" fmla="*/ 7364 h 14220"/>
                <a:gd name="connsiteX1" fmla="*/ 6983 w 310814"/>
                <a:gd name="connsiteY1" fmla="*/ 14220 h 14220"/>
                <a:gd name="connsiteX2" fmla="*/ 310815 w 310814"/>
                <a:gd name="connsiteY2" fmla="*/ 14220 h 14220"/>
                <a:gd name="connsiteX3" fmla="*/ 310815 w 310814"/>
                <a:gd name="connsiteY3" fmla="*/ 0 h 14220"/>
                <a:gd name="connsiteX4" fmla="*/ 0 w 310814"/>
                <a:gd name="connsiteY4" fmla="*/ 0 h 14220"/>
                <a:gd name="connsiteX5" fmla="*/ 6996 w 310814"/>
                <a:gd name="connsiteY5" fmla="*/ 6973 h 14220"/>
                <a:gd name="connsiteX6" fmla="*/ 6983 w 310814"/>
                <a:gd name="connsiteY6" fmla="*/ 7364 h 1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814" h="14220">
                  <a:moveTo>
                    <a:pt x="6983" y="7364"/>
                  </a:moveTo>
                  <a:lnTo>
                    <a:pt x="6983" y="14220"/>
                  </a:lnTo>
                  <a:lnTo>
                    <a:pt x="310815" y="14220"/>
                  </a:lnTo>
                  <a:lnTo>
                    <a:pt x="310815" y="0"/>
                  </a:lnTo>
                  <a:lnTo>
                    <a:pt x="0" y="0"/>
                  </a:lnTo>
                  <a:cubicBezTo>
                    <a:pt x="3860" y="-6"/>
                    <a:pt x="6983" y="3116"/>
                    <a:pt x="6996" y="6973"/>
                  </a:cubicBezTo>
                  <a:cubicBezTo>
                    <a:pt x="6996" y="7104"/>
                    <a:pt x="6996" y="7233"/>
                    <a:pt x="6983" y="7364"/>
                  </a:cubicBezTo>
                  <a:close/>
                </a:path>
              </a:pathLst>
            </a:custGeom>
            <a:solidFill>
              <a:srgbClr val="000000"/>
            </a:solidFill>
            <a:ln w="126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49D8D543-8531-4638-928B-77E3B9EE6BF5}"/>
                </a:ext>
              </a:extLst>
            </p:cNvPr>
            <p:cNvSpPr/>
            <p:nvPr/>
          </p:nvSpPr>
          <p:spPr>
            <a:xfrm>
              <a:off x="3615383" y="6456313"/>
              <a:ext cx="376964" cy="1015"/>
            </a:xfrm>
            <a:custGeom>
              <a:avLst/>
              <a:gdLst>
                <a:gd name="connsiteX0" fmla="*/ 358682 w 376964"/>
                <a:gd name="connsiteY0" fmla="*/ 1016 h 1015"/>
                <a:gd name="connsiteX1" fmla="*/ 0 w 376964"/>
                <a:gd name="connsiteY1" fmla="*/ 1016 h 1015"/>
                <a:gd name="connsiteX2" fmla="*/ 0 w 376964"/>
                <a:gd name="connsiteY2" fmla="*/ 1016 h 1015"/>
                <a:gd name="connsiteX3" fmla="*/ 376965 w 376964"/>
                <a:gd name="connsiteY3" fmla="*/ 1016 h 1015"/>
                <a:gd name="connsiteX4" fmla="*/ 376965 w 376964"/>
                <a:gd name="connsiteY4" fmla="*/ 0 h 1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64" h="1015">
                  <a:moveTo>
                    <a:pt x="358682" y="1016"/>
                  </a:moveTo>
                  <a:lnTo>
                    <a:pt x="0" y="1016"/>
                  </a:lnTo>
                  <a:lnTo>
                    <a:pt x="0" y="1016"/>
                  </a:lnTo>
                  <a:lnTo>
                    <a:pt x="376965" y="1016"/>
                  </a:lnTo>
                  <a:cubicBezTo>
                    <a:pt x="376965" y="1016"/>
                    <a:pt x="376965" y="1016"/>
                    <a:pt x="376965" y="0"/>
                  </a:cubicBezTo>
                  <a:close/>
                </a:path>
              </a:pathLst>
            </a:custGeom>
            <a:solidFill>
              <a:srgbClr val="000000"/>
            </a:solidFill>
            <a:ln w="126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659B18C6-D216-4ADF-90CE-E1BAC59641AE}"/>
                </a:ext>
              </a:extLst>
            </p:cNvPr>
            <p:cNvSpPr/>
            <p:nvPr/>
          </p:nvSpPr>
          <p:spPr>
            <a:xfrm>
              <a:off x="3529680" y="6456059"/>
              <a:ext cx="72878" cy="1650"/>
            </a:xfrm>
            <a:custGeom>
              <a:avLst/>
              <a:gdLst>
                <a:gd name="connsiteX0" fmla="*/ 0 w 72878"/>
                <a:gd name="connsiteY0" fmla="*/ 1651 h 1650"/>
                <a:gd name="connsiteX1" fmla="*/ 72879 w 72878"/>
                <a:gd name="connsiteY1" fmla="*/ 1651 h 1650"/>
                <a:gd name="connsiteX2" fmla="*/ 72879 w 72878"/>
                <a:gd name="connsiteY2" fmla="*/ 0 h 1650"/>
                <a:gd name="connsiteX3" fmla="*/ 72879 w 72878"/>
                <a:gd name="connsiteY3" fmla="*/ 0 h 1650"/>
                <a:gd name="connsiteX4" fmla="*/ 0 w 72878"/>
                <a:gd name="connsiteY4" fmla="*/ 0 h 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78" h="1650">
                  <a:moveTo>
                    <a:pt x="0" y="1651"/>
                  </a:moveTo>
                  <a:lnTo>
                    <a:pt x="72879" y="1651"/>
                  </a:lnTo>
                  <a:cubicBezTo>
                    <a:pt x="72803" y="1105"/>
                    <a:pt x="72803" y="546"/>
                    <a:pt x="72879" y="0"/>
                  </a:cubicBezTo>
                  <a:lnTo>
                    <a:pt x="72879" y="0"/>
                  </a:lnTo>
                  <a:lnTo>
                    <a:pt x="0" y="0"/>
                  </a:lnTo>
                  <a:close/>
                </a:path>
              </a:pathLst>
            </a:custGeom>
            <a:solidFill>
              <a:srgbClr val="000000"/>
            </a:solidFill>
            <a:ln w="126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E40C7830-BFF0-4D21-B7DA-44B59D1F6775}"/>
                </a:ext>
              </a:extLst>
            </p:cNvPr>
            <p:cNvSpPr/>
            <p:nvPr/>
          </p:nvSpPr>
          <p:spPr>
            <a:xfrm>
              <a:off x="3271810" y="5894101"/>
              <a:ext cx="5205" cy="3428"/>
            </a:xfrm>
            <a:custGeom>
              <a:avLst/>
              <a:gdLst>
                <a:gd name="connsiteX0" fmla="*/ 5206 w 5205"/>
                <a:gd name="connsiteY0" fmla="*/ 3428 h 3428"/>
                <a:gd name="connsiteX1" fmla="*/ 5206 w 5205"/>
                <a:gd name="connsiteY1" fmla="*/ 1016 h 3428"/>
                <a:gd name="connsiteX2" fmla="*/ 889 w 5205"/>
                <a:gd name="connsiteY2" fmla="*/ 0 h 3428"/>
                <a:gd name="connsiteX3" fmla="*/ 0 w 5205"/>
                <a:gd name="connsiteY3" fmla="*/ 0 h 3428"/>
                <a:gd name="connsiteX4" fmla="*/ 5206 w 5205"/>
                <a:gd name="connsiteY4" fmla="*/ 3428 h 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3428">
                  <a:moveTo>
                    <a:pt x="5206" y="3428"/>
                  </a:moveTo>
                  <a:lnTo>
                    <a:pt x="5206" y="1016"/>
                  </a:lnTo>
                  <a:lnTo>
                    <a:pt x="889" y="0"/>
                  </a:lnTo>
                  <a:lnTo>
                    <a:pt x="0" y="0"/>
                  </a:lnTo>
                  <a:cubicBezTo>
                    <a:pt x="2171" y="281"/>
                    <a:pt x="4088" y="1545"/>
                    <a:pt x="5206" y="3428"/>
                  </a:cubicBezTo>
                  <a:close/>
                </a:path>
              </a:pathLst>
            </a:custGeom>
            <a:solidFill>
              <a:srgbClr val="000000"/>
            </a:solidFill>
            <a:ln w="126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AF1146C-D935-4F05-BFFF-74C815E9BABD}"/>
                </a:ext>
              </a:extLst>
            </p:cNvPr>
            <p:cNvSpPr/>
            <p:nvPr/>
          </p:nvSpPr>
          <p:spPr>
            <a:xfrm>
              <a:off x="3274476" y="5903623"/>
              <a:ext cx="2539" cy="2539"/>
            </a:xfrm>
            <a:custGeom>
              <a:avLst/>
              <a:gdLst>
                <a:gd name="connsiteX0" fmla="*/ 2539 w 2539"/>
                <a:gd name="connsiteY0" fmla="*/ 0 h 2539"/>
                <a:gd name="connsiteX1" fmla="*/ 0 w 2539"/>
                <a:gd name="connsiteY1" fmla="*/ 2539 h 2539"/>
                <a:gd name="connsiteX2" fmla="*/ 2539 w 2539"/>
                <a:gd name="connsiteY2" fmla="*/ 2539 h 2539"/>
              </a:gdLst>
              <a:ahLst/>
              <a:cxnLst>
                <a:cxn ang="0">
                  <a:pos x="connsiteX0" y="connsiteY0"/>
                </a:cxn>
                <a:cxn ang="0">
                  <a:pos x="connsiteX1" y="connsiteY1"/>
                </a:cxn>
                <a:cxn ang="0">
                  <a:pos x="connsiteX2" y="connsiteY2"/>
                </a:cxn>
              </a:cxnLst>
              <a:rect l="l" t="t" r="r" b="b"/>
              <a:pathLst>
                <a:path w="2539" h="2539">
                  <a:moveTo>
                    <a:pt x="2539" y="0"/>
                  </a:moveTo>
                  <a:cubicBezTo>
                    <a:pt x="1968" y="1082"/>
                    <a:pt x="1079" y="1967"/>
                    <a:pt x="0" y="2539"/>
                  </a:cubicBezTo>
                  <a:lnTo>
                    <a:pt x="2539" y="2539"/>
                  </a:lnTo>
                  <a:close/>
                </a:path>
              </a:pathLst>
            </a:custGeom>
            <a:solidFill>
              <a:srgbClr val="000000"/>
            </a:solidFill>
            <a:ln w="126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DE72089F-54C4-4497-B7A6-FA87D8CE83DD}"/>
                </a:ext>
              </a:extLst>
            </p:cNvPr>
            <p:cNvSpPr/>
            <p:nvPr/>
          </p:nvSpPr>
          <p:spPr>
            <a:xfrm>
              <a:off x="3194614" y="5893974"/>
              <a:ext cx="82401" cy="13712"/>
            </a:xfrm>
            <a:custGeom>
              <a:avLst/>
              <a:gdLst>
                <a:gd name="connsiteX0" fmla="*/ 0 w 82401"/>
                <a:gd name="connsiteY0" fmla="*/ 13713 h 13712"/>
                <a:gd name="connsiteX1" fmla="*/ 74022 w 82401"/>
                <a:gd name="connsiteY1" fmla="*/ 13713 h 13712"/>
                <a:gd name="connsiteX2" fmla="*/ 79862 w 82401"/>
                <a:gd name="connsiteY2" fmla="*/ 12570 h 13712"/>
                <a:gd name="connsiteX3" fmla="*/ 82402 w 82401"/>
                <a:gd name="connsiteY3" fmla="*/ 10030 h 13712"/>
                <a:gd name="connsiteX4" fmla="*/ 82402 w 82401"/>
                <a:gd name="connsiteY4" fmla="*/ 3555 h 13712"/>
                <a:gd name="connsiteX5" fmla="*/ 77196 w 82401"/>
                <a:gd name="connsiteY5" fmla="*/ 0 h 13712"/>
                <a:gd name="connsiteX6" fmla="*/ 0 w 82401"/>
                <a:gd name="connsiteY6" fmla="*/ 0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 h="13712">
                  <a:moveTo>
                    <a:pt x="0" y="13713"/>
                  </a:moveTo>
                  <a:lnTo>
                    <a:pt x="74022" y="13713"/>
                  </a:lnTo>
                  <a:lnTo>
                    <a:pt x="79862" y="12570"/>
                  </a:lnTo>
                  <a:cubicBezTo>
                    <a:pt x="80941" y="11997"/>
                    <a:pt x="81830" y="11112"/>
                    <a:pt x="82402" y="10030"/>
                  </a:cubicBezTo>
                  <a:lnTo>
                    <a:pt x="82402" y="3555"/>
                  </a:lnTo>
                  <a:cubicBezTo>
                    <a:pt x="81310" y="1624"/>
                    <a:pt x="79392" y="309"/>
                    <a:pt x="77196" y="0"/>
                  </a:cubicBezTo>
                  <a:lnTo>
                    <a:pt x="0" y="0"/>
                  </a:lnTo>
                  <a:close/>
                </a:path>
              </a:pathLst>
            </a:custGeom>
            <a:solidFill>
              <a:srgbClr val="000000"/>
            </a:solidFill>
            <a:ln w="126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7E24D58A-BB13-4D9E-A5F3-7ECB0C342816}"/>
                </a:ext>
              </a:extLst>
            </p:cNvPr>
            <p:cNvSpPr/>
            <p:nvPr/>
          </p:nvSpPr>
          <p:spPr>
            <a:xfrm>
              <a:off x="6922617" y="6430793"/>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4"/>
                    <a:pt x="127" y="381"/>
                    <a:pt x="0" y="0"/>
                  </a:cubicBezTo>
                  <a:close/>
                </a:path>
              </a:pathLst>
            </a:custGeom>
            <a:solidFill>
              <a:srgbClr val="000000"/>
            </a:solidFill>
            <a:ln w="126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BF0EEBC9-CD1F-49CC-BE65-B02AEBDDD9E3}"/>
                </a:ext>
              </a:extLst>
            </p:cNvPr>
            <p:cNvSpPr/>
            <p:nvPr/>
          </p:nvSpPr>
          <p:spPr>
            <a:xfrm>
              <a:off x="6918935" y="6427110"/>
              <a:ext cx="1143" cy="761"/>
            </a:xfrm>
            <a:custGeom>
              <a:avLst/>
              <a:gdLst>
                <a:gd name="connsiteX0" fmla="*/ 0 w 1143"/>
                <a:gd name="connsiteY0" fmla="*/ 0 h 761"/>
                <a:gd name="connsiteX1" fmla="*/ 1143 w 1143"/>
                <a:gd name="connsiteY1" fmla="*/ 762 h 761"/>
              </a:gdLst>
              <a:ahLst/>
              <a:cxnLst>
                <a:cxn ang="0">
                  <a:pos x="connsiteX0" y="connsiteY0"/>
                </a:cxn>
                <a:cxn ang="0">
                  <a:pos x="connsiteX1" y="connsiteY1"/>
                </a:cxn>
              </a:cxnLst>
              <a:rect l="l" t="t" r="r" b="b"/>
              <a:pathLst>
                <a:path w="1143" h="761">
                  <a:moveTo>
                    <a:pt x="0" y="0"/>
                  </a:moveTo>
                  <a:lnTo>
                    <a:pt x="1143" y="762"/>
                  </a:lnTo>
                  <a:close/>
                </a:path>
              </a:pathLst>
            </a:custGeom>
            <a:solidFill>
              <a:srgbClr val="000000"/>
            </a:solidFill>
            <a:ln w="126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27B3DB14-8331-49A1-A559-EC71BA6456CD}"/>
                </a:ext>
              </a:extLst>
            </p:cNvPr>
            <p:cNvSpPr/>
            <p:nvPr/>
          </p:nvSpPr>
          <p:spPr>
            <a:xfrm>
              <a:off x="6876655" y="6425841"/>
              <a:ext cx="41010" cy="6348"/>
            </a:xfrm>
            <a:custGeom>
              <a:avLst/>
              <a:gdLst>
                <a:gd name="connsiteX0" fmla="*/ 6730 w 41010"/>
                <a:gd name="connsiteY0" fmla="*/ 6348 h 6348"/>
                <a:gd name="connsiteX1" fmla="*/ 32885 w 41010"/>
                <a:gd name="connsiteY1" fmla="*/ 6348 h 6348"/>
                <a:gd name="connsiteX2" fmla="*/ 39487 w 41010"/>
                <a:gd name="connsiteY2" fmla="*/ 635 h 6348"/>
                <a:gd name="connsiteX3" fmla="*/ 41011 w 41010"/>
                <a:gd name="connsiteY3" fmla="*/ 635 h 6348"/>
                <a:gd name="connsiteX4" fmla="*/ 39614 w 41010"/>
                <a:gd name="connsiteY4" fmla="*/ 635 h 6348"/>
                <a:gd name="connsiteX5" fmla="*/ 0 w 41010"/>
                <a:gd name="connsiteY5" fmla="*/ 0 h 6348"/>
                <a:gd name="connsiteX6" fmla="*/ 0 w 41010"/>
                <a:gd name="connsiteY6" fmla="*/ 0 h 6348"/>
                <a:gd name="connsiteX7" fmla="*/ 6730 w 41010"/>
                <a:gd name="connsiteY7"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10" h="6348">
                  <a:moveTo>
                    <a:pt x="6730" y="6348"/>
                  </a:moveTo>
                  <a:lnTo>
                    <a:pt x="32885" y="6348"/>
                  </a:lnTo>
                  <a:cubicBezTo>
                    <a:pt x="33430" y="3111"/>
                    <a:pt x="36198" y="711"/>
                    <a:pt x="39487" y="635"/>
                  </a:cubicBezTo>
                  <a:cubicBezTo>
                    <a:pt x="39995" y="559"/>
                    <a:pt x="40502" y="559"/>
                    <a:pt x="41011" y="635"/>
                  </a:cubicBezTo>
                  <a:cubicBezTo>
                    <a:pt x="40554" y="584"/>
                    <a:pt x="40084" y="584"/>
                    <a:pt x="39614" y="635"/>
                  </a:cubicBezTo>
                  <a:lnTo>
                    <a:pt x="0" y="0"/>
                  </a:lnTo>
                  <a:lnTo>
                    <a:pt x="0" y="0"/>
                  </a:lnTo>
                  <a:cubicBezTo>
                    <a:pt x="3568" y="0"/>
                    <a:pt x="6527" y="2781"/>
                    <a:pt x="6730" y="6348"/>
                  </a:cubicBezTo>
                  <a:close/>
                </a:path>
              </a:pathLst>
            </a:custGeom>
            <a:solidFill>
              <a:srgbClr val="000000"/>
            </a:solidFill>
            <a:ln w="1269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23685DF-F675-4775-99B3-3AAD6DA83CBA}"/>
                </a:ext>
              </a:extLst>
            </p:cNvPr>
            <p:cNvSpPr/>
            <p:nvPr/>
          </p:nvSpPr>
          <p:spPr>
            <a:xfrm>
              <a:off x="6921093" y="6428634"/>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18317AB4-1A72-4F0C-B193-7E83F893217B}"/>
                </a:ext>
              </a:extLst>
            </p:cNvPr>
            <p:cNvSpPr/>
            <p:nvPr/>
          </p:nvSpPr>
          <p:spPr>
            <a:xfrm>
              <a:off x="6876655" y="6434094"/>
              <a:ext cx="32757" cy="5586"/>
            </a:xfrm>
            <a:custGeom>
              <a:avLst/>
              <a:gdLst>
                <a:gd name="connsiteX0" fmla="*/ 0 w 32757"/>
                <a:gd name="connsiteY0" fmla="*/ 5587 h 5586"/>
                <a:gd name="connsiteX1" fmla="*/ 0 w 32757"/>
                <a:gd name="connsiteY1" fmla="*/ 5587 h 5586"/>
                <a:gd name="connsiteX2" fmla="*/ 32758 w 32757"/>
                <a:gd name="connsiteY2" fmla="*/ 5587 h 5586"/>
                <a:gd name="connsiteX3" fmla="*/ 32758 w 32757"/>
                <a:gd name="connsiteY3" fmla="*/ 0 h 5586"/>
                <a:gd name="connsiteX4" fmla="*/ 6603 w 32757"/>
                <a:gd name="connsiteY4" fmla="*/ 0 h 5586"/>
                <a:gd name="connsiteX5" fmla="*/ 0 w 32757"/>
                <a:gd name="connsiteY5"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7" h="5586">
                  <a:moveTo>
                    <a:pt x="0" y="5587"/>
                  </a:moveTo>
                  <a:lnTo>
                    <a:pt x="0" y="5587"/>
                  </a:lnTo>
                  <a:lnTo>
                    <a:pt x="32758" y="5587"/>
                  </a:lnTo>
                  <a:lnTo>
                    <a:pt x="32758" y="0"/>
                  </a:lnTo>
                  <a:lnTo>
                    <a:pt x="6603" y="0"/>
                  </a:lnTo>
                  <a:cubicBezTo>
                    <a:pt x="6006" y="3187"/>
                    <a:pt x="3251" y="5523"/>
                    <a:pt x="0" y="5587"/>
                  </a:cubicBezTo>
                  <a:close/>
                </a:path>
              </a:pathLst>
            </a:custGeom>
            <a:solidFill>
              <a:srgbClr val="000000"/>
            </a:solidFill>
            <a:ln w="1269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5D52699E-E9C4-42EF-B802-A0D0CF456FA1}"/>
                </a:ext>
              </a:extLst>
            </p:cNvPr>
            <p:cNvSpPr/>
            <p:nvPr/>
          </p:nvSpPr>
          <p:spPr>
            <a:xfrm>
              <a:off x="6507055" y="6425333"/>
              <a:ext cx="375948" cy="6348"/>
            </a:xfrm>
            <a:custGeom>
              <a:avLst/>
              <a:gdLst>
                <a:gd name="connsiteX0" fmla="*/ 6348 w 375948"/>
                <a:gd name="connsiteY0" fmla="*/ 6348 h 6348"/>
                <a:gd name="connsiteX1" fmla="*/ 29711 w 375948"/>
                <a:gd name="connsiteY1" fmla="*/ 6348 h 6348"/>
                <a:gd name="connsiteX2" fmla="*/ 375949 w 375948"/>
                <a:gd name="connsiteY2" fmla="*/ 6348 h 6348"/>
                <a:gd name="connsiteX3" fmla="*/ 369220 w 375948"/>
                <a:gd name="connsiteY3" fmla="*/ 0 h 6348"/>
                <a:gd name="connsiteX4" fmla="*/ 0 w 375948"/>
                <a:gd name="connsiteY4" fmla="*/ 0 h 6348"/>
                <a:gd name="connsiteX5" fmla="*/ 6348 w 375948"/>
                <a:gd name="connsiteY5"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48" h="6348">
                  <a:moveTo>
                    <a:pt x="6348" y="6348"/>
                  </a:moveTo>
                  <a:lnTo>
                    <a:pt x="29711" y="6348"/>
                  </a:lnTo>
                  <a:lnTo>
                    <a:pt x="375949" y="6348"/>
                  </a:lnTo>
                  <a:cubicBezTo>
                    <a:pt x="375746" y="2781"/>
                    <a:pt x="372788" y="0"/>
                    <a:pt x="369220" y="0"/>
                  </a:cubicBezTo>
                  <a:lnTo>
                    <a:pt x="0" y="0"/>
                  </a:lnTo>
                  <a:cubicBezTo>
                    <a:pt x="3403" y="241"/>
                    <a:pt x="6107" y="2946"/>
                    <a:pt x="6348" y="6348"/>
                  </a:cubicBezTo>
                  <a:close/>
                </a:path>
              </a:pathLst>
            </a:custGeom>
            <a:solidFill>
              <a:srgbClr val="000000"/>
            </a:solidFill>
            <a:ln w="1269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D8920FB-6629-4A03-A65F-49F3A17BE454}"/>
                </a:ext>
              </a:extLst>
            </p:cNvPr>
            <p:cNvSpPr/>
            <p:nvPr/>
          </p:nvSpPr>
          <p:spPr>
            <a:xfrm>
              <a:off x="6514038" y="6434094"/>
              <a:ext cx="21838" cy="5586"/>
            </a:xfrm>
            <a:custGeom>
              <a:avLst/>
              <a:gdLst>
                <a:gd name="connsiteX0" fmla="*/ 21839 w 21838"/>
                <a:gd name="connsiteY0" fmla="*/ 508 h 5586"/>
                <a:gd name="connsiteX1" fmla="*/ 0 w 21838"/>
                <a:gd name="connsiteY1" fmla="*/ 0 h 5586"/>
                <a:gd name="connsiteX2" fmla="*/ 0 w 21838"/>
                <a:gd name="connsiteY2" fmla="*/ 5587 h 5586"/>
                <a:gd name="connsiteX3" fmla="*/ 21839 w 21838"/>
                <a:gd name="connsiteY3" fmla="*/ 5587 h 5586"/>
                <a:gd name="connsiteX4" fmla="*/ 21839 w 21838"/>
                <a:gd name="connsiteY4" fmla="*/ 508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586">
                  <a:moveTo>
                    <a:pt x="21839" y="508"/>
                  </a:moveTo>
                  <a:lnTo>
                    <a:pt x="0" y="0"/>
                  </a:lnTo>
                  <a:lnTo>
                    <a:pt x="0" y="5587"/>
                  </a:lnTo>
                  <a:lnTo>
                    <a:pt x="21839" y="5587"/>
                  </a:lnTo>
                  <a:lnTo>
                    <a:pt x="21839" y="508"/>
                  </a:lnTo>
                  <a:close/>
                </a:path>
              </a:pathLst>
            </a:custGeom>
            <a:solidFill>
              <a:srgbClr val="000000"/>
            </a:solidFill>
            <a:ln w="1269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0B24C897-8B5B-451E-8FDA-0FA82C90FCDA}"/>
                </a:ext>
              </a:extLst>
            </p:cNvPr>
            <p:cNvSpPr/>
            <p:nvPr/>
          </p:nvSpPr>
          <p:spPr>
            <a:xfrm>
              <a:off x="6538796" y="6434602"/>
              <a:ext cx="344207" cy="5078"/>
            </a:xfrm>
            <a:custGeom>
              <a:avLst/>
              <a:gdLst>
                <a:gd name="connsiteX0" fmla="*/ 337732 w 344207"/>
                <a:gd name="connsiteY0" fmla="*/ 5079 h 5078"/>
                <a:gd name="connsiteX1" fmla="*/ 337732 w 344207"/>
                <a:gd name="connsiteY1" fmla="*/ 5079 h 5078"/>
                <a:gd name="connsiteX2" fmla="*/ 344207 w 344207"/>
                <a:gd name="connsiteY2" fmla="*/ 0 h 5078"/>
                <a:gd name="connsiteX3" fmla="*/ 0 w 344207"/>
                <a:gd name="connsiteY3" fmla="*/ 0 h 5078"/>
                <a:gd name="connsiteX4" fmla="*/ 0 w 344207"/>
                <a:gd name="connsiteY4" fmla="*/ 5079 h 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7" h="5078">
                  <a:moveTo>
                    <a:pt x="337732" y="5079"/>
                  </a:moveTo>
                  <a:lnTo>
                    <a:pt x="337732" y="5079"/>
                  </a:lnTo>
                  <a:cubicBezTo>
                    <a:pt x="340780" y="5015"/>
                    <a:pt x="343420" y="2946"/>
                    <a:pt x="344207" y="0"/>
                  </a:cubicBezTo>
                  <a:lnTo>
                    <a:pt x="0" y="0"/>
                  </a:lnTo>
                  <a:lnTo>
                    <a:pt x="0" y="5079"/>
                  </a:lnTo>
                  <a:close/>
                </a:path>
              </a:pathLst>
            </a:custGeom>
            <a:solidFill>
              <a:srgbClr val="000000"/>
            </a:solidFill>
            <a:ln w="1269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16C80FA0-0660-4156-BF02-72C74E8F8CED}"/>
                </a:ext>
              </a:extLst>
            </p:cNvPr>
            <p:cNvSpPr/>
            <p:nvPr/>
          </p:nvSpPr>
          <p:spPr>
            <a:xfrm>
              <a:off x="6513657" y="6432189"/>
              <a:ext cx="23361" cy="2412"/>
            </a:xfrm>
            <a:custGeom>
              <a:avLst/>
              <a:gdLst>
                <a:gd name="connsiteX0" fmla="*/ 22219 w 23361"/>
                <a:gd name="connsiteY0" fmla="*/ 1270 h 2412"/>
                <a:gd name="connsiteX1" fmla="*/ 23222 w 23361"/>
                <a:gd name="connsiteY1" fmla="*/ 13 h 2412"/>
                <a:gd name="connsiteX2" fmla="*/ 23361 w 23361"/>
                <a:gd name="connsiteY2" fmla="*/ 0 h 2412"/>
                <a:gd name="connsiteX3" fmla="*/ 23361 w 23361"/>
                <a:gd name="connsiteY3" fmla="*/ 0 h 2412"/>
                <a:gd name="connsiteX4" fmla="*/ 0 w 23361"/>
                <a:gd name="connsiteY4" fmla="*/ 0 h 2412"/>
                <a:gd name="connsiteX5" fmla="*/ 0 w 23361"/>
                <a:gd name="connsiteY5" fmla="*/ 1143 h 2412"/>
                <a:gd name="connsiteX6" fmla="*/ 0 w 23361"/>
                <a:gd name="connsiteY6" fmla="*/ 2412 h 2412"/>
                <a:gd name="connsiteX7" fmla="*/ 21838 w 23361"/>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1" h="2412">
                  <a:moveTo>
                    <a:pt x="22219" y="1270"/>
                  </a:moveTo>
                  <a:cubicBezTo>
                    <a:pt x="22142" y="647"/>
                    <a:pt x="22600" y="76"/>
                    <a:pt x="23222" y="13"/>
                  </a:cubicBezTo>
                  <a:cubicBezTo>
                    <a:pt x="23273" y="0"/>
                    <a:pt x="23324" y="0"/>
                    <a:pt x="23361" y="0"/>
                  </a:cubicBezTo>
                  <a:lnTo>
                    <a:pt x="23361" y="0"/>
                  </a:lnTo>
                  <a:lnTo>
                    <a:pt x="0" y="0"/>
                  </a:lnTo>
                  <a:cubicBezTo>
                    <a:pt x="64" y="381"/>
                    <a:pt x="64" y="762"/>
                    <a:pt x="0" y="1143"/>
                  </a:cubicBezTo>
                  <a:lnTo>
                    <a:pt x="0" y="2412"/>
                  </a:lnTo>
                  <a:lnTo>
                    <a:pt x="21838" y="2412"/>
                  </a:lnTo>
                  <a:close/>
                </a:path>
              </a:pathLst>
            </a:custGeom>
            <a:solidFill>
              <a:srgbClr val="000000"/>
            </a:solidFill>
            <a:ln w="1269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B68B6E43-D115-4DF4-A660-6A12D8FB3187}"/>
                </a:ext>
              </a:extLst>
            </p:cNvPr>
            <p:cNvSpPr/>
            <p:nvPr/>
          </p:nvSpPr>
          <p:spPr>
            <a:xfrm>
              <a:off x="6537019" y="6431954"/>
              <a:ext cx="372774" cy="2647"/>
            </a:xfrm>
            <a:custGeom>
              <a:avLst/>
              <a:gdLst>
                <a:gd name="connsiteX0" fmla="*/ 1778 w 372774"/>
                <a:gd name="connsiteY0" fmla="*/ 1505 h 2647"/>
                <a:gd name="connsiteX1" fmla="*/ 1778 w 372774"/>
                <a:gd name="connsiteY1" fmla="*/ 2648 h 2647"/>
                <a:gd name="connsiteX2" fmla="*/ 372775 w 372774"/>
                <a:gd name="connsiteY2" fmla="*/ 2648 h 2647"/>
                <a:gd name="connsiteX3" fmla="*/ 372775 w 372774"/>
                <a:gd name="connsiteY3" fmla="*/ 1505 h 2647"/>
                <a:gd name="connsiteX4" fmla="*/ 372775 w 372774"/>
                <a:gd name="connsiteY4" fmla="*/ 235 h 2647"/>
                <a:gd name="connsiteX5" fmla="*/ 0 w 372774"/>
                <a:gd name="connsiteY5" fmla="*/ 235 h 2647"/>
                <a:gd name="connsiteX6" fmla="*/ 1600 w 372774"/>
                <a:gd name="connsiteY6" fmla="*/ 451 h 2647"/>
                <a:gd name="connsiteX7" fmla="*/ 1778 w 372774"/>
                <a:gd name="connsiteY7" fmla="*/ 1505 h 2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774" h="2647">
                  <a:moveTo>
                    <a:pt x="1778" y="1505"/>
                  </a:moveTo>
                  <a:lnTo>
                    <a:pt x="1778" y="2648"/>
                  </a:lnTo>
                  <a:lnTo>
                    <a:pt x="372775" y="2648"/>
                  </a:lnTo>
                  <a:lnTo>
                    <a:pt x="372775" y="1505"/>
                  </a:lnTo>
                  <a:cubicBezTo>
                    <a:pt x="372699" y="1086"/>
                    <a:pt x="372699" y="654"/>
                    <a:pt x="372775" y="235"/>
                  </a:cubicBezTo>
                  <a:lnTo>
                    <a:pt x="0" y="235"/>
                  </a:lnTo>
                  <a:cubicBezTo>
                    <a:pt x="495" y="-146"/>
                    <a:pt x="1219" y="-57"/>
                    <a:pt x="1600" y="451"/>
                  </a:cubicBezTo>
                  <a:cubicBezTo>
                    <a:pt x="1829" y="756"/>
                    <a:pt x="1892" y="1149"/>
                    <a:pt x="1778" y="1505"/>
                  </a:cubicBezTo>
                  <a:close/>
                </a:path>
              </a:pathLst>
            </a:custGeom>
            <a:solidFill>
              <a:srgbClr val="000000"/>
            </a:solidFill>
            <a:ln w="1269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A68DF871-CA35-4749-B525-723156AEF738}"/>
                </a:ext>
              </a:extLst>
            </p:cNvPr>
            <p:cNvSpPr/>
            <p:nvPr/>
          </p:nvSpPr>
          <p:spPr>
            <a:xfrm>
              <a:off x="6875386" y="6521701"/>
              <a:ext cx="2412" cy="342812"/>
            </a:xfrm>
            <a:custGeom>
              <a:avLst/>
              <a:gdLst>
                <a:gd name="connsiteX0" fmla="*/ 1269 w 2412"/>
                <a:gd name="connsiteY0" fmla="*/ 0 h 342812"/>
                <a:gd name="connsiteX1" fmla="*/ 0 w 2412"/>
                <a:gd name="connsiteY1" fmla="*/ 0 h 342812"/>
                <a:gd name="connsiteX2" fmla="*/ 0 w 2412"/>
                <a:gd name="connsiteY2" fmla="*/ 342812 h 342812"/>
                <a:gd name="connsiteX3" fmla="*/ 2412 w 2412"/>
                <a:gd name="connsiteY3" fmla="*/ 342812 h 342812"/>
                <a:gd name="connsiteX4" fmla="*/ 2412 w 2412"/>
                <a:gd name="connsiteY4" fmla="*/ 0 h 342812"/>
                <a:gd name="connsiteX5" fmla="*/ 1269 w 2412"/>
                <a:gd name="connsiteY5" fmla="*/ 0 h 342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342812">
                  <a:moveTo>
                    <a:pt x="1269" y="0"/>
                  </a:moveTo>
                  <a:lnTo>
                    <a:pt x="0" y="0"/>
                  </a:lnTo>
                  <a:lnTo>
                    <a:pt x="0" y="342812"/>
                  </a:lnTo>
                  <a:lnTo>
                    <a:pt x="2412" y="342812"/>
                  </a:lnTo>
                  <a:lnTo>
                    <a:pt x="2412" y="0"/>
                  </a:lnTo>
                  <a:lnTo>
                    <a:pt x="1269" y="0"/>
                  </a:lnTo>
                  <a:close/>
                </a:path>
              </a:pathLst>
            </a:custGeom>
            <a:solidFill>
              <a:srgbClr val="000000"/>
            </a:solidFill>
            <a:ln w="1269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ECFC182C-2542-4113-80D3-C8889B7028A9}"/>
                </a:ext>
              </a:extLst>
            </p:cNvPr>
            <p:cNvSpPr/>
            <p:nvPr/>
          </p:nvSpPr>
          <p:spPr>
            <a:xfrm>
              <a:off x="6536371" y="6432180"/>
              <a:ext cx="2433" cy="75936"/>
            </a:xfrm>
            <a:custGeom>
              <a:avLst/>
              <a:gdLst>
                <a:gd name="connsiteX0" fmla="*/ 2425 w 2433"/>
                <a:gd name="connsiteY0" fmla="*/ 75682 h 75936"/>
                <a:gd name="connsiteX1" fmla="*/ 2425 w 2433"/>
                <a:gd name="connsiteY1" fmla="*/ 1279 h 75936"/>
                <a:gd name="connsiteX2" fmla="*/ 1422 w 2433"/>
                <a:gd name="connsiteY2" fmla="*/ 10 h 75936"/>
                <a:gd name="connsiteX3" fmla="*/ 1155 w 2433"/>
                <a:gd name="connsiteY3" fmla="*/ 10 h 75936"/>
                <a:gd name="connsiteX4" fmla="*/ 0 w 2433"/>
                <a:gd name="connsiteY4" fmla="*/ 1139 h 75936"/>
                <a:gd name="connsiteX5" fmla="*/ 12 w 2433"/>
                <a:gd name="connsiteY5" fmla="*/ 1279 h 75936"/>
                <a:gd name="connsiteX6" fmla="*/ 12 w 2433"/>
                <a:gd name="connsiteY6" fmla="*/ 75936 h 75936"/>
                <a:gd name="connsiteX7" fmla="*/ 1155 w 2433"/>
                <a:gd name="connsiteY7" fmla="*/ 75936 h 7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 h="75936">
                  <a:moveTo>
                    <a:pt x="2425" y="75682"/>
                  </a:moveTo>
                  <a:lnTo>
                    <a:pt x="2425" y="1279"/>
                  </a:lnTo>
                  <a:cubicBezTo>
                    <a:pt x="2501" y="657"/>
                    <a:pt x="2057" y="86"/>
                    <a:pt x="1422" y="10"/>
                  </a:cubicBezTo>
                  <a:cubicBezTo>
                    <a:pt x="1333" y="-3"/>
                    <a:pt x="1244" y="-3"/>
                    <a:pt x="1155" y="10"/>
                  </a:cubicBezTo>
                  <a:cubicBezTo>
                    <a:pt x="520" y="10"/>
                    <a:pt x="12" y="517"/>
                    <a:pt x="0" y="1139"/>
                  </a:cubicBezTo>
                  <a:cubicBezTo>
                    <a:pt x="0" y="1190"/>
                    <a:pt x="12" y="1228"/>
                    <a:pt x="12" y="1279"/>
                  </a:cubicBezTo>
                  <a:lnTo>
                    <a:pt x="12" y="75936"/>
                  </a:lnTo>
                  <a:lnTo>
                    <a:pt x="1155" y="75936"/>
                  </a:lnTo>
                  <a:close/>
                </a:path>
              </a:pathLst>
            </a:custGeom>
            <a:solidFill>
              <a:srgbClr val="000000"/>
            </a:solidFill>
            <a:ln w="1269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DFEBCFBD-8913-48A4-8801-923D6A088BAB}"/>
                </a:ext>
              </a:extLst>
            </p:cNvPr>
            <p:cNvSpPr/>
            <p:nvPr/>
          </p:nvSpPr>
          <p:spPr>
            <a:xfrm>
              <a:off x="7144048" y="6480310"/>
              <a:ext cx="2412" cy="31360"/>
            </a:xfrm>
            <a:custGeom>
              <a:avLst/>
              <a:gdLst>
                <a:gd name="connsiteX0" fmla="*/ 0 w 2412"/>
                <a:gd name="connsiteY0" fmla="*/ 0 h 31360"/>
                <a:gd name="connsiteX1" fmla="*/ 2412 w 2412"/>
                <a:gd name="connsiteY1" fmla="*/ 0 h 31360"/>
                <a:gd name="connsiteX2" fmla="*/ 2412 w 2412"/>
                <a:gd name="connsiteY2" fmla="*/ 31361 h 31360"/>
                <a:gd name="connsiteX3" fmla="*/ 0 w 2412"/>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412" h="31360">
                  <a:moveTo>
                    <a:pt x="0" y="0"/>
                  </a:moveTo>
                  <a:lnTo>
                    <a:pt x="2412" y="0"/>
                  </a:lnTo>
                  <a:lnTo>
                    <a:pt x="2412" y="31361"/>
                  </a:lnTo>
                  <a:lnTo>
                    <a:pt x="0" y="31361"/>
                  </a:lnTo>
                  <a:close/>
                </a:path>
              </a:pathLst>
            </a:custGeom>
            <a:solidFill>
              <a:srgbClr val="000000"/>
            </a:solidFill>
            <a:ln w="1269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8D75019A-0BB2-44E0-86BF-E2352E4FDBD5}"/>
                </a:ext>
              </a:extLst>
            </p:cNvPr>
            <p:cNvSpPr/>
            <p:nvPr/>
          </p:nvSpPr>
          <p:spPr>
            <a:xfrm>
              <a:off x="5215674" y="5631786"/>
              <a:ext cx="38" cy="1269"/>
            </a:xfrm>
            <a:custGeom>
              <a:avLst/>
              <a:gdLst>
                <a:gd name="connsiteX0" fmla="*/ 0 w 38"/>
                <a:gd name="connsiteY0" fmla="*/ 0 h 1269"/>
                <a:gd name="connsiteX1" fmla="*/ 0 w 38"/>
                <a:gd name="connsiteY1" fmla="*/ 1270 h 1269"/>
                <a:gd name="connsiteX2" fmla="*/ 0 w 38"/>
                <a:gd name="connsiteY2" fmla="*/ 0 h 1269"/>
              </a:gdLst>
              <a:ahLst/>
              <a:cxnLst>
                <a:cxn ang="0">
                  <a:pos x="connsiteX0" y="connsiteY0"/>
                </a:cxn>
                <a:cxn ang="0">
                  <a:pos x="connsiteX1" y="connsiteY1"/>
                </a:cxn>
                <a:cxn ang="0">
                  <a:pos x="connsiteX2" y="connsiteY2"/>
                </a:cxn>
              </a:cxnLst>
              <a:rect l="l" t="t" r="r" b="b"/>
              <a:pathLst>
                <a:path w="38" h="1269">
                  <a:moveTo>
                    <a:pt x="0" y="0"/>
                  </a:moveTo>
                  <a:cubicBezTo>
                    <a:pt x="51" y="422"/>
                    <a:pt x="51" y="848"/>
                    <a:pt x="0" y="1270"/>
                  </a:cubicBezTo>
                  <a:cubicBezTo>
                    <a:pt x="51" y="848"/>
                    <a:pt x="51" y="422"/>
                    <a:pt x="0" y="0"/>
                  </a:cubicBezTo>
                  <a:close/>
                </a:path>
              </a:pathLst>
            </a:custGeom>
            <a:solidFill>
              <a:srgbClr val="000000"/>
            </a:solidFill>
            <a:ln w="1269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2A58C6E-3C2A-4C21-9DBB-1D9E1DB52366}"/>
                </a:ext>
              </a:extLst>
            </p:cNvPr>
            <p:cNvSpPr/>
            <p:nvPr/>
          </p:nvSpPr>
          <p:spPr>
            <a:xfrm>
              <a:off x="5171108" y="5628215"/>
              <a:ext cx="39359" cy="13728"/>
            </a:xfrm>
            <a:custGeom>
              <a:avLst/>
              <a:gdLst>
                <a:gd name="connsiteX0" fmla="*/ 6856 w 39359"/>
                <a:gd name="connsiteY0" fmla="*/ 6872 h 13728"/>
                <a:gd name="connsiteX1" fmla="*/ 6856 w 39359"/>
                <a:gd name="connsiteY1" fmla="*/ 13728 h 13728"/>
                <a:gd name="connsiteX2" fmla="*/ 33011 w 39359"/>
                <a:gd name="connsiteY2" fmla="*/ 13728 h 13728"/>
                <a:gd name="connsiteX3" fmla="*/ 31869 w 39359"/>
                <a:gd name="connsiteY3" fmla="*/ 8142 h 13728"/>
                <a:gd name="connsiteX4" fmla="*/ 37087 w 39359"/>
                <a:gd name="connsiteY4" fmla="*/ 187 h 13728"/>
                <a:gd name="connsiteX5" fmla="*/ 37328 w 39359"/>
                <a:gd name="connsiteY5" fmla="*/ 143 h 13728"/>
                <a:gd name="connsiteX6" fmla="*/ 39360 w 39359"/>
                <a:gd name="connsiteY6" fmla="*/ 143 h 13728"/>
                <a:gd name="connsiteX7" fmla="*/ 0 w 39359"/>
                <a:gd name="connsiteY7" fmla="*/ 143 h 13728"/>
                <a:gd name="connsiteX8" fmla="*/ 6856 w 39359"/>
                <a:gd name="connsiteY8" fmla="*/ 6872 h 1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59" h="13728">
                  <a:moveTo>
                    <a:pt x="6856" y="6872"/>
                  </a:moveTo>
                  <a:lnTo>
                    <a:pt x="6856" y="13728"/>
                  </a:lnTo>
                  <a:lnTo>
                    <a:pt x="33011" y="13728"/>
                  </a:lnTo>
                  <a:lnTo>
                    <a:pt x="31869" y="8142"/>
                  </a:lnTo>
                  <a:cubicBezTo>
                    <a:pt x="31119" y="4503"/>
                    <a:pt x="33456" y="941"/>
                    <a:pt x="37087" y="187"/>
                  </a:cubicBezTo>
                  <a:cubicBezTo>
                    <a:pt x="37176" y="171"/>
                    <a:pt x="37252" y="157"/>
                    <a:pt x="37328" y="143"/>
                  </a:cubicBezTo>
                  <a:cubicBezTo>
                    <a:pt x="37989" y="-48"/>
                    <a:pt x="38700" y="-48"/>
                    <a:pt x="39360" y="143"/>
                  </a:cubicBezTo>
                  <a:lnTo>
                    <a:pt x="0" y="143"/>
                  </a:lnTo>
                  <a:cubicBezTo>
                    <a:pt x="3733" y="142"/>
                    <a:pt x="6793" y="3135"/>
                    <a:pt x="6856" y="6872"/>
                  </a:cubicBezTo>
                  <a:close/>
                </a:path>
              </a:pathLst>
            </a:custGeom>
            <a:solidFill>
              <a:srgbClr val="000000"/>
            </a:solidFill>
            <a:ln w="1269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0F2E3CCC-E40E-42C0-85BB-EEC5C11D9CC3}"/>
                </a:ext>
              </a:extLst>
            </p:cNvPr>
            <p:cNvSpPr/>
            <p:nvPr/>
          </p:nvSpPr>
          <p:spPr>
            <a:xfrm>
              <a:off x="5211738" y="5628612"/>
              <a:ext cx="1269" cy="12696"/>
            </a:xfrm>
            <a:custGeom>
              <a:avLst/>
              <a:gdLst>
                <a:gd name="connsiteX0" fmla="*/ 0 w 1269"/>
                <a:gd name="connsiteY0" fmla="*/ 0 h 12696"/>
                <a:gd name="connsiteX1" fmla="*/ 1269 w 1269"/>
                <a:gd name="connsiteY1" fmla="*/ 0 h 12696"/>
              </a:gdLst>
              <a:ahLst/>
              <a:cxnLst>
                <a:cxn ang="0">
                  <a:pos x="connsiteX0" y="connsiteY0"/>
                </a:cxn>
                <a:cxn ang="0">
                  <a:pos x="connsiteX1" y="connsiteY1"/>
                </a:cxn>
              </a:cxnLst>
              <a:rect l="l" t="t" r="r" b="b"/>
              <a:pathLst>
                <a:path w="1269" h="12696">
                  <a:moveTo>
                    <a:pt x="0" y="0"/>
                  </a:moveTo>
                  <a:lnTo>
                    <a:pt x="1269" y="0"/>
                  </a:lnTo>
                  <a:close/>
                </a:path>
              </a:pathLst>
            </a:custGeom>
            <a:solidFill>
              <a:srgbClr val="000000"/>
            </a:solidFill>
            <a:ln w="1269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5B9AE1AB-23FA-4607-819D-64C8A5C7EE16}"/>
                </a:ext>
              </a:extLst>
            </p:cNvPr>
            <p:cNvSpPr/>
            <p:nvPr/>
          </p:nvSpPr>
          <p:spPr>
            <a:xfrm>
              <a:off x="5214023" y="5629754"/>
              <a:ext cx="1015" cy="1015"/>
            </a:xfrm>
            <a:custGeom>
              <a:avLst/>
              <a:gdLst>
                <a:gd name="connsiteX0" fmla="*/ 0 w 1015"/>
                <a:gd name="connsiteY0" fmla="*/ 0 h 1015"/>
                <a:gd name="connsiteX1" fmla="*/ 1016 w 1015"/>
                <a:gd name="connsiteY1" fmla="*/ 1016 h 1015"/>
              </a:gdLst>
              <a:ahLst/>
              <a:cxnLst>
                <a:cxn ang="0">
                  <a:pos x="connsiteX0" y="connsiteY0"/>
                </a:cxn>
                <a:cxn ang="0">
                  <a:pos x="connsiteX1" y="connsiteY1"/>
                </a:cxn>
              </a:cxnLst>
              <a:rect l="l" t="t" r="r" b="b"/>
              <a:pathLst>
                <a:path w="1015" h="1015">
                  <a:moveTo>
                    <a:pt x="0" y="0"/>
                  </a:moveTo>
                  <a:lnTo>
                    <a:pt x="1016" y="1016"/>
                  </a:lnTo>
                  <a:close/>
                </a:path>
              </a:pathLst>
            </a:custGeom>
            <a:solidFill>
              <a:srgbClr val="000000"/>
            </a:solidFill>
            <a:ln w="1269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438CAD40-02C6-44F4-8FD2-945013103504}"/>
                </a:ext>
              </a:extLst>
            </p:cNvPr>
            <p:cNvSpPr/>
            <p:nvPr/>
          </p:nvSpPr>
          <p:spPr>
            <a:xfrm>
              <a:off x="4680254" y="4827447"/>
              <a:ext cx="13712" cy="173564"/>
            </a:xfrm>
            <a:custGeom>
              <a:avLst/>
              <a:gdLst>
                <a:gd name="connsiteX0" fmla="*/ 13713 w 13712"/>
                <a:gd name="connsiteY0" fmla="*/ 173565 h 173564"/>
                <a:gd name="connsiteX1" fmla="*/ 13713 w 13712"/>
                <a:gd name="connsiteY1" fmla="*/ 6983 h 173564"/>
                <a:gd name="connsiteX2" fmla="*/ 6856 w 13712"/>
                <a:gd name="connsiteY2" fmla="*/ 6983 h 173564"/>
                <a:gd name="connsiteX3" fmla="*/ 0 w 13712"/>
                <a:gd name="connsiteY3" fmla="*/ 0 h 173564"/>
                <a:gd name="connsiteX4" fmla="*/ 0 w 13712"/>
                <a:gd name="connsiteY4" fmla="*/ 173565 h 173564"/>
                <a:gd name="connsiteX5" fmla="*/ 13713 w 13712"/>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73564">
                  <a:moveTo>
                    <a:pt x="13713" y="173565"/>
                  </a:moveTo>
                  <a:lnTo>
                    <a:pt x="13713" y="6983"/>
                  </a:lnTo>
                  <a:lnTo>
                    <a:pt x="6856" y="6983"/>
                  </a:lnTo>
                  <a:cubicBezTo>
                    <a:pt x="3047" y="6914"/>
                    <a:pt x="0" y="3808"/>
                    <a:pt x="0" y="0"/>
                  </a:cubicBezTo>
                  <a:lnTo>
                    <a:pt x="0" y="173565"/>
                  </a:lnTo>
                  <a:lnTo>
                    <a:pt x="13713" y="173565"/>
                  </a:lnTo>
                  <a:close/>
                </a:path>
              </a:pathLst>
            </a:custGeom>
            <a:solidFill>
              <a:srgbClr val="000000"/>
            </a:solidFill>
            <a:ln w="1269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B0AD269C-1339-4067-ADF6-E4230F2FA555}"/>
                </a:ext>
              </a:extLst>
            </p:cNvPr>
            <p:cNvSpPr/>
            <p:nvPr/>
          </p:nvSpPr>
          <p:spPr>
            <a:xfrm>
              <a:off x="3529299" y="6453393"/>
              <a:ext cx="72625" cy="2412"/>
            </a:xfrm>
            <a:custGeom>
              <a:avLst/>
              <a:gdLst>
                <a:gd name="connsiteX0" fmla="*/ 0 w 72625"/>
                <a:gd name="connsiteY0" fmla="*/ 2412 h 2412"/>
                <a:gd name="connsiteX1" fmla="*/ 72625 w 72625"/>
                <a:gd name="connsiteY1" fmla="*/ 2412 h 2412"/>
                <a:gd name="connsiteX2" fmla="*/ 72625 w 72625"/>
                <a:gd name="connsiteY2" fmla="*/ 1270 h 2412"/>
                <a:gd name="connsiteX3" fmla="*/ 72625 w 72625"/>
                <a:gd name="connsiteY3" fmla="*/ 0 h 2412"/>
                <a:gd name="connsiteX4" fmla="*/ 0 w 72625"/>
                <a:gd name="connsiteY4" fmla="*/ 0 h 2412"/>
                <a:gd name="connsiteX5" fmla="*/ 0 w 72625"/>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25" h="2412">
                  <a:moveTo>
                    <a:pt x="0" y="2412"/>
                  </a:moveTo>
                  <a:lnTo>
                    <a:pt x="72625" y="2412"/>
                  </a:lnTo>
                  <a:lnTo>
                    <a:pt x="72625" y="1270"/>
                  </a:lnTo>
                  <a:lnTo>
                    <a:pt x="72625" y="0"/>
                  </a:lnTo>
                  <a:lnTo>
                    <a:pt x="0" y="0"/>
                  </a:lnTo>
                  <a:lnTo>
                    <a:pt x="0" y="2412"/>
                  </a:lnTo>
                  <a:close/>
                </a:path>
              </a:pathLst>
            </a:custGeom>
            <a:solidFill>
              <a:srgbClr val="000000"/>
            </a:solidFill>
            <a:ln w="1269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B9C73C7C-4CF0-499C-9726-63B39B7B1B9D}"/>
                </a:ext>
              </a:extLst>
            </p:cNvPr>
            <p:cNvSpPr/>
            <p:nvPr/>
          </p:nvSpPr>
          <p:spPr>
            <a:xfrm>
              <a:off x="3974191" y="6454154"/>
              <a:ext cx="17775" cy="2539"/>
            </a:xfrm>
            <a:custGeom>
              <a:avLst/>
              <a:gdLst>
                <a:gd name="connsiteX0" fmla="*/ 17775 w 17775"/>
                <a:gd name="connsiteY0" fmla="*/ 2539 h 2539"/>
                <a:gd name="connsiteX1" fmla="*/ 17775 w 17775"/>
                <a:gd name="connsiteY1" fmla="*/ 1016 h 2539"/>
                <a:gd name="connsiteX2" fmla="*/ 17775 w 17775"/>
                <a:gd name="connsiteY2" fmla="*/ 0 h 2539"/>
                <a:gd name="connsiteX3" fmla="*/ 1143 w 17775"/>
                <a:gd name="connsiteY3" fmla="*/ 0 h 2539"/>
                <a:gd name="connsiteX4" fmla="*/ 1143 w 17775"/>
                <a:gd name="connsiteY4" fmla="*/ 1270 h 2539"/>
                <a:gd name="connsiteX5" fmla="*/ 0 w 17775"/>
                <a:gd name="connsiteY5" fmla="*/ 2539 h 2539"/>
                <a:gd name="connsiteX6" fmla="*/ 0 w 17775"/>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75" h="2539">
                  <a:moveTo>
                    <a:pt x="17775" y="2539"/>
                  </a:moveTo>
                  <a:cubicBezTo>
                    <a:pt x="17775" y="2539"/>
                    <a:pt x="17775" y="1524"/>
                    <a:pt x="17775" y="1016"/>
                  </a:cubicBezTo>
                  <a:lnTo>
                    <a:pt x="17775" y="0"/>
                  </a:lnTo>
                  <a:lnTo>
                    <a:pt x="1143" y="0"/>
                  </a:lnTo>
                  <a:lnTo>
                    <a:pt x="1143" y="1270"/>
                  </a:lnTo>
                  <a:cubicBezTo>
                    <a:pt x="1143" y="1930"/>
                    <a:pt x="647" y="2476"/>
                    <a:pt x="0" y="2539"/>
                  </a:cubicBezTo>
                  <a:lnTo>
                    <a:pt x="0" y="2539"/>
                  </a:lnTo>
                  <a:close/>
                </a:path>
              </a:pathLst>
            </a:custGeom>
            <a:solidFill>
              <a:srgbClr val="000000"/>
            </a:solidFill>
            <a:ln w="1269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51416851-CBBB-4D41-9C87-474D7D09ADDA}"/>
                </a:ext>
              </a:extLst>
            </p:cNvPr>
            <p:cNvSpPr/>
            <p:nvPr/>
          </p:nvSpPr>
          <p:spPr>
            <a:xfrm>
              <a:off x="3615637" y="6454789"/>
              <a:ext cx="358427" cy="2539"/>
            </a:xfrm>
            <a:custGeom>
              <a:avLst/>
              <a:gdLst>
                <a:gd name="connsiteX0" fmla="*/ 0 w 358427"/>
                <a:gd name="connsiteY0" fmla="*/ 1270 h 2539"/>
                <a:gd name="connsiteX1" fmla="*/ 0 w 358427"/>
                <a:gd name="connsiteY1" fmla="*/ 2539 h 2539"/>
                <a:gd name="connsiteX2" fmla="*/ 358428 w 358427"/>
                <a:gd name="connsiteY2" fmla="*/ 2539 h 2539"/>
                <a:gd name="connsiteX3" fmla="*/ 357158 w 358427"/>
                <a:gd name="connsiteY3" fmla="*/ 1270 h 2539"/>
                <a:gd name="connsiteX4" fmla="*/ 357158 w 358427"/>
                <a:gd name="connsiteY4" fmla="*/ 0 h 2539"/>
                <a:gd name="connsiteX5" fmla="*/ 0 w 358427"/>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427" h="2539">
                  <a:moveTo>
                    <a:pt x="0" y="1270"/>
                  </a:moveTo>
                  <a:cubicBezTo>
                    <a:pt x="51" y="1689"/>
                    <a:pt x="51" y="2120"/>
                    <a:pt x="0" y="2539"/>
                  </a:cubicBezTo>
                  <a:lnTo>
                    <a:pt x="358428" y="2539"/>
                  </a:lnTo>
                  <a:cubicBezTo>
                    <a:pt x="357730" y="2539"/>
                    <a:pt x="357158" y="1968"/>
                    <a:pt x="357158" y="1270"/>
                  </a:cubicBezTo>
                  <a:lnTo>
                    <a:pt x="357158" y="0"/>
                  </a:lnTo>
                  <a:lnTo>
                    <a:pt x="0" y="0"/>
                  </a:lnTo>
                  <a:close/>
                </a:path>
              </a:pathLst>
            </a:custGeom>
            <a:solidFill>
              <a:srgbClr val="000000"/>
            </a:solidFill>
            <a:ln w="1269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26A382D3-6ED3-48EC-B812-C6FC306F5515}"/>
                </a:ext>
              </a:extLst>
            </p:cNvPr>
            <p:cNvSpPr/>
            <p:nvPr/>
          </p:nvSpPr>
          <p:spPr>
            <a:xfrm>
              <a:off x="4941552" y="4820971"/>
              <a:ext cx="1269" cy="12696"/>
            </a:xfrm>
            <a:custGeom>
              <a:avLst/>
              <a:gdLst>
                <a:gd name="connsiteX0" fmla="*/ 0 w 1269"/>
                <a:gd name="connsiteY0" fmla="*/ 0 h 12696"/>
                <a:gd name="connsiteX1" fmla="*/ 1269 w 1269"/>
                <a:gd name="connsiteY1" fmla="*/ 0 h 12696"/>
              </a:gdLst>
              <a:ahLst/>
              <a:cxnLst>
                <a:cxn ang="0">
                  <a:pos x="connsiteX0" y="connsiteY0"/>
                </a:cxn>
                <a:cxn ang="0">
                  <a:pos x="connsiteX1" y="connsiteY1"/>
                </a:cxn>
              </a:cxnLst>
              <a:rect l="l" t="t" r="r" b="b"/>
              <a:pathLst>
                <a:path w="1269" h="12696">
                  <a:moveTo>
                    <a:pt x="0" y="0"/>
                  </a:moveTo>
                  <a:lnTo>
                    <a:pt x="1269" y="0"/>
                  </a:lnTo>
                  <a:close/>
                </a:path>
              </a:pathLst>
            </a:custGeom>
            <a:solidFill>
              <a:srgbClr val="000000"/>
            </a:solidFill>
            <a:ln w="1269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5AAFA4CC-22A7-4565-B356-964153AC0D99}"/>
                </a:ext>
              </a:extLst>
            </p:cNvPr>
            <p:cNvSpPr/>
            <p:nvPr/>
          </p:nvSpPr>
          <p:spPr>
            <a:xfrm>
              <a:off x="4943838" y="4822114"/>
              <a:ext cx="1015" cy="888"/>
            </a:xfrm>
            <a:custGeom>
              <a:avLst/>
              <a:gdLst>
                <a:gd name="connsiteX0" fmla="*/ 0 w 1015"/>
                <a:gd name="connsiteY0" fmla="*/ 0 h 888"/>
                <a:gd name="connsiteX1" fmla="*/ 1016 w 1015"/>
                <a:gd name="connsiteY1" fmla="*/ 889 h 888"/>
                <a:gd name="connsiteX2" fmla="*/ 0 w 1015"/>
                <a:gd name="connsiteY2" fmla="*/ 0 h 888"/>
              </a:gdLst>
              <a:ahLst/>
              <a:cxnLst>
                <a:cxn ang="0">
                  <a:pos x="connsiteX0" y="connsiteY0"/>
                </a:cxn>
                <a:cxn ang="0">
                  <a:pos x="connsiteX1" y="connsiteY1"/>
                </a:cxn>
                <a:cxn ang="0">
                  <a:pos x="connsiteX2" y="connsiteY2"/>
                </a:cxn>
              </a:cxnLst>
              <a:rect l="l" t="t" r="r" b="b"/>
              <a:pathLst>
                <a:path w="1015" h="888">
                  <a:moveTo>
                    <a:pt x="0" y="0"/>
                  </a:moveTo>
                  <a:cubicBezTo>
                    <a:pt x="394" y="226"/>
                    <a:pt x="736" y="528"/>
                    <a:pt x="1016" y="889"/>
                  </a:cubicBezTo>
                  <a:cubicBezTo>
                    <a:pt x="736" y="528"/>
                    <a:pt x="394" y="226"/>
                    <a:pt x="0" y="0"/>
                  </a:cubicBezTo>
                  <a:close/>
                </a:path>
              </a:pathLst>
            </a:custGeom>
            <a:solidFill>
              <a:srgbClr val="000000"/>
            </a:solidFill>
            <a:ln w="1269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6FF8871C-FC23-4B62-911D-BB0CC5D5C7F2}"/>
                </a:ext>
              </a:extLst>
            </p:cNvPr>
            <p:cNvSpPr/>
            <p:nvPr/>
          </p:nvSpPr>
          <p:spPr>
            <a:xfrm>
              <a:off x="4945615" y="4824400"/>
              <a:ext cx="635" cy="1269"/>
            </a:xfrm>
            <a:custGeom>
              <a:avLst/>
              <a:gdLst>
                <a:gd name="connsiteX0" fmla="*/ 0 w 635"/>
                <a:gd name="connsiteY0" fmla="*/ 0 h 1269"/>
                <a:gd name="connsiteX1" fmla="*/ 635 w 635"/>
                <a:gd name="connsiteY1" fmla="*/ 1270 h 1269"/>
                <a:gd name="connsiteX2" fmla="*/ 0 w 635"/>
                <a:gd name="connsiteY2" fmla="*/ 0 h 1269"/>
              </a:gdLst>
              <a:ahLst/>
              <a:cxnLst>
                <a:cxn ang="0">
                  <a:pos x="connsiteX0" y="connsiteY0"/>
                </a:cxn>
                <a:cxn ang="0">
                  <a:pos x="connsiteX1" y="connsiteY1"/>
                </a:cxn>
                <a:cxn ang="0">
                  <a:pos x="connsiteX2" y="connsiteY2"/>
                </a:cxn>
              </a:cxnLst>
              <a:rect l="l" t="t" r="r" b="b"/>
              <a:pathLst>
                <a:path w="635" h="1269">
                  <a:moveTo>
                    <a:pt x="0" y="0"/>
                  </a:moveTo>
                  <a:cubicBezTo>
                    <a:pt x="241" y="410"/>
                    <a:pt x="444" y="834"/>
                    <a:pt x="635" y="1270"/>
                  </a:cubicBezTo>
                  <a:cubicBezTo>
                    <a:pt x="444" y="834"/>
                    <a:pt x="241" y="410"/>
                    <a:pt x="0" y="0"/>
                  </a:cubicBezTo>
                  <a:close/>
                </a:path>
              </a:pathLst>
            </a:custGeom>
            <a:solidFill>
              <a:srgbClr val="000000"/>
            </a:solidFill>
            <a:ln w="1269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A9857BA-6D07-4C6B-88C4-92B27960BB16}"/>
                </a:ext>
              </a:extLst>
            </p:cNvPr>
            <p:cNvSpPr/>
            <p:nvPr/>
          </p:nvSpPr>
          <p:spPr>
            <a:xfrm>
              <a:off x="4680254" y="4820703"/>
              <a:ext cx="260028" cy="13726"/>
            </a:xfrm>
            <a:custGeom>
              <a:avLst/>
              <a:gdLst>
                <a:gd name="connsiteX0" fmla="*/ 6856 w 260028"/>
                <a:gd name="connsiteY0" fmla="*/ 13727 h 13726"/>
                <a:gd name="connsiteX1" fmla="*/ 254188 w 260028"/>
                <a:gd name="connsiteY1" fmla="*/ 13727 h 13726"/>
                <a:gd name="connsiteX2" fmla="*/ 252791 w 260028"/>
                <a:gd name="connsiteY2" fmla="*/ 8521 h 13726"/>
                <a:gd name="connsiteX3" fmla="*/ 257743 w 260028"/>
                <a:gd name="connsiteY3" fmla="*/ 141 h 13726"/>
                <a:gd name="connsiteX4" fmla="*/ 260028 w 260028"/>
                <a:gd name="connsiteY4" fmla="*/ 141 h 13726"/>
                <a:gd name="connsiteX5" fmla="*/ 6856 w 260028"/>
                <a:gd name="connsiteY5" fmla="*/ 141 h 13726"/>
                <a:gd name="connsiteX6" fmla="*/ 0 w 260028"/>
                <a:gd name="connsiteY6" fmla="*/ 6997 h 13726"/>
                <a:gd name="connsiteX7" fmla="*/ 6856 w 260028"/>
                <a:gd name="connsiteY7" fmla="*/ 13727 h 1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028" h="13726">
                  <a:moveTo>
                    <a:pt x="6856" y="13727"/>
                  </a:moveTo>
                  <a:lnTo>
                    <a:pt x="254188" y="13727"/>
                  </a:lnTo>
                  <a:lnTo>
                    <a:pt x="252791" y="8521"/>
                  </a:lnTo>
                  <a:cubicBezTo>
                    <a:pt x="251902" y="4848"/>
                    <a:pt x="254099" y="1135"/>
                    <a:pt x="257743" y="141"/>
                  </a:cubicBezTo>
                  <a:cubicBezTo>
                    <a:pt x="258492" y="-47"/>
                    <a:pt x="259279" y="-47"/>
                    <a:pt x="260028" y="141"/>
                  </a:cubicBezTo>
                  <a:lnTo>
                    <a:pt x="6856" y="141"/>
                  </a:lnTo>
                  <a:cubicBezTo>
                    <a:pt x="3073" y="141"/>
                    <a:pt x="0" y="3211"/>
                    <a:pt x="0" y="6997"/>
                  </a:cubicBezTo>
                  <a:cubicBezTo>
                    <a:pt x="140" y="10706"/>
                    <a:pt x="3149" y="13662"/>
                    <a:pt x="6856" y="13727"/>
                  </a:cubicBezTo>
                  <a:close/>
                </a:path>
              </a:pathLst>
            </a:custGeom>
            <a:solidFill>
              <a:srgbClr val="000000"/>
            </a:solidFill>
            <a:ln w="1269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6E09C001-79F3-4E19-A066-BE330C5DF322}"/>
                </a:ext>
              </a:extLst>
            </p:cNvPr>
            <p:cNvSpPr/>
            <p:nvPr/>
          </p:nvSpPr>
          <p:spPr>
            <a:xfrm>
              <a:off x="4933018" y="4821592"/>
              <a:ext cx="21103" cy="31629"/>
            </a:xfrm>
            <a:custGeom>
              <a:avLst/>
              <a:gdLst>
                <a:gd name="connsiteX0" fmla="*/ 27 w 21103"/>
                <a:gd name="connsiteY0" fmla="*/ 7632 h 31629"/>
                <a:gd name="connsiteX1" fmla="*/ 1424 w 21103"/>
                <a:gd name="connsiteY1" fmla="*/ 12838 h 31629"/>
                <a:gd name="connsiteX2" fmla="*/ 5995 w 21103"/>
                <a:gd name="connsiteY2" fmla="*/ 28201 h 31629"/>
                <a:gd name="connsiteX3" fmla="*/ 5995 w 21103"/>
                <a:gd name="connsiteY3" fmla="*/ 5855 h 31629"/>
                <a:gd name="connsiteX4" fmla="*/ 7125 w 21103"/>
                <a:gd name="connsiteY4" fmla="*/ 4705 h 31629"/>
                <a:gd name="connsiteX5" fmla="*/ 7265 w 21103"/>
                <a:gd name="connsiteY5" fmla="*/ 4712 h 31629"/>
                <a:gd name="connsiteX6" fmla="*/ 8407 w 21103"/>
                <a:gd name="connsiteY6" fmla="*/ 5855 h 31629"/>
                <a:gd name="connsiteX7" fmla="*/ 8407 w 21103"/>
                <a:gd name="connsiteY7" fmla="*/ 29090 h 31629"/>
                <a:gd name="connsiteX8" fmla="*/ 14375 w 21103"/>
                <a:gd name="connsiteY8" fmla="*/ 25662 h 31629"/>
                <a:gd name="connsiteX9" fmla="*/ 21104 w 21103"/>
                <a:gd name="connsiteY9" fmla="*/ 31629 h 31629"/>
                <a:gd name="connsiteX10" fmla="*/ 21104 w 21103"/>
                <a:gd name="connsiteY10" fmla="*/ 30740 h 31629"/>
                <a:gd name="connsiteX11" fmla="*/ 13994 w 21103"/>
                <a:gd name="connsiteY11" fmla="*/ 4077 h 31629"/>
                <a:gd name="connsiteX12" fmla="*/ 13994 w 21103"/>
                <a:gd name="connsiteY12" fmla="*/ 4077 h 31629"/>
                <a:gd name="connsiteX13" fmla="*/ 13359 w 21103"/>
                <a:gd name="connsiteY13" fmla="*/ 2807 h 31629"/>
                <a:gd name="connsiteX14" fmla="*/ 12597 w 21103"/>
                <a:gd name="connsiteY14" fmla="*/ 1792 h 31629"/>
                <a:gd name="connsiteX15" fmla="*/ 11581 w 21103"/>
                <a:gd name="connsiteY15" fmla="*/ 903 h 31629"/>
                <a:gd name="connsiteX16" fmla="*/ 10565 w 21103"/>
                <a:gd name="connsiteY16" fmla="*/ 141 h 31629"/>
                <a:gd name="connsiteX17" fmla="*/ 9296 w 21103"/>
                <a:gd name="connsiteY17" fmla="*/ 141 h 31629"/>
                <a:gd name="connsiteX18" fmla="*/ 8026 w 21103"/>
                <a:gd name="connsiteY18" fmla="*/ 141 h 31629"/>
                <a:gd name="connsiteX19" fmla="*/ 5741 w 21103"/>
                <a:gd name="connsiteY19" fmla="*/ 141 h 31629"/>
                <a:gd name="connsiteX20" fmla="*/ 27 w 21103"/>
                <a:gd name="connsiteY20" fmla="*/ 7632 h 3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103" h="31629">
                  <a:moveTo>
                    <a:pt x="27" y="7632"/>
                  </a:moveTo>
                  <a:lnTo>
                    <a:pt x="1424" y="12838"/>
                  </a:lnTo>
                  <a:lnTo>
                    <a:pt x="5995" y="28201"/>
                  </a:lnTo>
                  <a:lnTo>
                    <a:pt x="5995" y="5855"/>
                  </a:lnTo>
                  <a:cubicBezTo>
                    <a:pt x="5995" y="5224"/>
                    <a:pt x="6503" y="4709"/>
                    <a:pt x="7125" y="4705"/>
                  </a:cubicBezTo>
                  <a:cubicBezTo>
                    <a:pt x="7175" y="4705"/>
                    <a:pt x="7214" y="4707"/>
                    <a:pt x="7265" y="4712"/>
                  </a:cubicBezTo>
                  <a:cubicBezTo>
                    <a:pt x="7899" y="4712"/>
                    <a:pt x="8407" y="5224"/>
                    <a:pt x="8407" y="5855"/>
                  </a:cubicBezTo>
                  <a:lnTo>
                    <a:pt x="8407" y="29090"/>
                  </a:lnTo>
                  <a:cubicBezTo>
                    <a:pt x="9651" y="26978"/>
                    <a:pt x="11924" y="25677"/>
                    <a:pt x="14375" y="25662"/>
                  </a:cubicBezTo>
                  <a:cubicBezTo>
                    <a:pt x="17765" y="25749"/>
                    <a:pt x="20609" y="28268"/>
                    <a:pt x="21104" y="31629"/>
                  </a:cubicBezTo>
                  <a:cubicBezTo>
                    <a:pt x="21104" y="31629"/>
                    <a:pt x="21104" y="31629"/>
                    <a:pt x="21104" y="30740"/>
                  </a:cubicBezTo>
                  <a:lnTo>
                    <a:pt x="13994" y="4077"/>
                  </a:lnTo>
                  <a:lnTo>
                    <a:pt x="13994" y="4077"/>
                  </a:lnTo>
                  <a:cubicBezTo>
                    <a:pt x="13803" y="3641"/>
                    <a:pt x="13600" y="3218"/>
                    <a:pt x="13359" y="2807"/>
                  </a:cubicBezTo>
                  <a:lnTo>
                    <a:pt x="12597" y="1792"/>
                  </a:lnTo>
                  <a:cubicBezTo>
                    <a:pt x="12318" y="1431"/>
                    <a:pt x="11975" y="1129"/>
                    <a:pt x="11581" y="903"/>
                  </a:cubicBezTo>
                  <a:lnTo>
                    <a:pt x="10565" y="141"/>
                  </a:lnTo>
                  <a:lnTo>
                    <a:pt x="9296" y="141"/>
                  </a:lnTo>
                  <a:lnTo>
                    <a:pt x="8026" y="141"/>
                  </a:lnTo>
                  <a:cubicBezTo>
                    <a:pt x="7277" y="-47"/>
                    <a:pt x="6490" y="-47"/>
                    <a:pt x="5741" y="141"/>
                  </a:cubicBezTo>
                  <a:cubicBezTo>
                    <a:pt x="2186" y="784"/>
                    <a:pt x="-290" y="4033"/>
                    <a:pt x="27" y="7632"/>
                  </a:cubicBezTo>
                  <a:close/>
                </a:path>
              </a:pathLst>
            </a:custGeom>
            <a:solidFill>
              <a:srgbClr val="000000"/>
            </a:solidFill>
            <a:ln w="1269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45ACC7EE-4A9C-425E-98EF-6EF9984327D1}"/>
                </a:ext>
              </a:extLst>
            </p:cNvPr>
            <p:cNvSpPr/>
            <p:nvPr/>
          </p:nvSpPr>
          <p:spPr>
            <a:xfrm>
              <a:off x="4938378" y="4826297"/>
              <a:ext cx="2412" cy="961278"/>
            </a:xfrm>
            <a:custGeom>
              <a:avLst/>
              <a:gdLst>
                <a:gd name="connsiteX0" fmla="*/ 1396 w 2412"/>
                <a:gd name="connsiteY0" fmla="*/ 961278 h 961278"/>
                <a:gd name="connsiteX1" fmla="*/ 1396 w 2412"/>
                <a:gd name="connsiteY1" fmla="*/ 961278 h 961278"/>
                <a:gd name="connsiteX2" fmla="*/ 1396 w 2412"/>
                <a:gd name="connsiteY2" fmla="*/ 27813 h 961278"/>
                <a:gd name="connsiteX3" fmla="*/ 2412 w 2412"/>
                <a:gd name="connsiteY3" fmla="*/ 24385 h 961278"/>
                <a:gd name="connsiteX4" fmla="*/ 2412 w 2412"/>
                <a:gd name="connsiteY4" fmla="*/ 1150 h 961278"/>
                <a:gd name="connsiteX5" fmla="*/ 1269 w 2412"/>
                <a:gd name="connsiteY5" fmla="*/ 7 h 961278"/>
                <a:gd name="connsiteX6" fmla="*/ 12 w 2412"/>
                <a:gd name="connsiteY6" fmla="*/ 1016 h 961278"/>
                <a:gd name="connsiteX7" fmla="*/ 0 w 2412"/>
                <a:gd name="connsiteY7" fmla="*/ 1150 h 961278"/>
                <a:gd name="connsiteX8" fmla="*/ 0 w 2412"/>
                <a:gd name="connsiteY8" fmla="*/ 961278 h 96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 h="961278">
                  <a:moveTo>
                    <a:pt x="1396" y="961278"/>
                  </a:moveTo>
                  <a:lnTo>
                    <a:pt x="1396" y="961278"/>
                  </a:lnTo>
                  <a:lnTo>
                    <a:pt x="1396" y="27813"/>
                  </a:lnTo>
                  <a:cubicBezTo>
                    <a:pt x="1460" y="26607"/>
                    <a:pt x="1815" y="25433"/>
                    <a:pt x="2412" y="24385"/>
                  </a:cubicBezTo>
                  <a:lnTo>
                    <a:pt x="2412" y="1150"/>
                  </a:lnTo>
                  <a:cubicBezTo>
                    <a:pt x="2412" y="519"/>
                    <a:pt x="1904" y="7"/>
                    <a:pt x="1269" y="7"/>
                  </a:cubicBezTo>
                  <a:cubicBezTo>
                    <a:pt x="647" y="-63"/>
                    <a:pt x="76" y="389"/>
                    <a:pt x="12" y="1016"/>
                  </a:cubicBezTo>
                  <a:cubicBezTo>
                    <a:pt x="0" y="1060"/>
                    <a:pt x="0" y="1105"/>
                    <a:pt x="0" y="1150"/>
                  </a:cubicBezTo>
                  <a:lnTo>
                    <a:pt x="0" y="961278"/>
                  </a:lnTo>
                  <a:close/>
                </a:path>
              </a:pathLst>
            </a:custGeom>
            <a:solidFill>
              <a:srgbClr val="000000"/>
            </a:solidFill>
            <a:ln w="1269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2AA09303-6444-4E19-9C1B-F0073587454E}"/>
                </a:ext>
              </a:extLst>
            </p:cNvPr>
            <p:cNvSpPr/>
            <p:nvPr/>
          </p:nvSpPr>
          <p:spPr>
            <a:xfrm>
              <a:off x="4939902" y="4847254"/>
              <a:ext cx="13839" cy="940321"/>
            </a:xfrm>
            <a:custGeom>
              <a:avLst/>
              <a:gdLst>
                <a:gd name="connsiteX0" fmla="*/ 6983 w 13839"/>
                <a:gd name="connsiteY0" fmla="*/ 0 h 940321"/>
                <a:gd name="connsiteX1" fmla="*/ 1016 w 13839"/>
                <a:gd name="connsiteY1" fmla="*/ 3428 h 940321"/>
                <a:gd name="connsiteX2" fmla="*/ 0 w 13839"/>
                <a:gd name="connsiteY2" fmla="*/ 6856 h 940321"/>
                <a:gd name="connsiteX3" fmla="*/ 0 w 13839"/>
                <a:gd name="connsiteY3" fmla="*/ 940321 h 940321"/>
                <a:gd name="connsiteX4" fmla="*/ 13839 w 13839"/>
                <a:gd name="connsiteY4" fmla="*/ 940321 h 940321"/>
                <a:gd name="connsiteX5" fmla="*/ 13839 w 13839"/>
                <a:gd name="connsiteY5" fmla="*/ 6856 h 940321"/>
                <a:gd name="connsiteX6" fmla="*/ 13839 w 13839"/>
                <a:gd name="connsiteY6" fmla="*/ 5967 h 940321"/>
                <a:gd name="connsiteX7" fmla="*/ 6983 w 13839"/>
                <a:gd name="connsiteY7" fmla="*/ 0 h 94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940321">
                  <a:moveTo>
                    <a:pt x="6983" y="0"/>
                  </a:moveTo>
                  <a:cubicBezTo>
                    <a:pt x="4533" y="15"/>
                    <a:pt x="2260" y="1317"/>
                    <a:pt x="1016" y="3428"/>
                  </a:cubicBezTo>
                  <a:cubicBezTo>
                    <a:pt x="419" y="4476"/>
                    <a:pt x="64" y="5650"/>
                    <a:pt x="0" y="6856"/>
                  </a:cubicBezTo>
                  <a:lnTo>
                    <a:pt x="0" y="940321"/>
                  </a:lnTo>
                  <a:lnTo>
                    <a:pt x="13839" y="940321"/>
                  </a:lnTo>
                  <a:lnTo>
                    <a:pt x="13839" y="6856"/>
                  </a:lnTo>
                  <a:cubicBezTo>
                    <a:pt x="13839" y="6856"/>
                    <a:pt x="13839" y="6856"/>
                    <a:pt x="13839" y="5967"/>
                  </a:cubicBezTo>
                  <a:cubicBezTo>
                    <a:pt x="13344" y="2560"/>
                    <a:pt x="10424" y="26"/>
                    <a:pt x="6983" y="0"/>
                  </a:cubicBezTo>
                  <a:close/>
                </a:path>
              </a:pathLst>
            </a:custGeom>
            <a:solidFill>
              <a:srgbClr val="000000"/>
            </a:solidFill>
            <a:ln w="1269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6F9E1EEA-38C2-492B-AD00-D297D35252F6}"/>
                </a:ext>
              </a:extLst>
            </p:cNvPr>
            <p:cNvSpPr/>
            <p:nvPr/>
          </p:nvSpPr>
          <p:spPr>
            <a:xfrm>
              <a:off x="3975969" y="5448699"/>
              <a:ext cx="1269" cy="12696"/>
            </a:xfrm>
            <a:custGeom>
              <a:avLst/>
              <a:gdLst>
                <a:gd name="connsiteX0" fmla="*/ 0 w 1269"/>
                <a:gd name="connsiteY0" fmla="*/ 0 h 12696"/>
                <a:gd name="connsiteX1" fmla="*/ 1270 w 1269"/>
                <a:gd name="connsiteY1" fmla="*/ 0 h 12696"/>
              </a:gdLst>
              <a:ahLst/>
              <a:cxnLst>
                <a:cxn ang="0">
                  <a:pos x="connsiteX0" y="connsiteY0"/>
                </a:cxn>
                <a:cxn ang="0">
                  <a:pos x="connsiteX1" y="connsiteY1"/>
                </a:cxn>
              </a:cxnLst>
              <a:rect l="l" t="t" r="r" b="b"/>
              <a:pathLst>
                <a:path w="1269" h="12696">
                  <a:moveTo>
                    <a:pt x="0" y="0"/>
                  </a:moveTo>
                  <a:lnTo>
                    <a:pt x="1270" y="0"/>
                  </a:lnTo>
                  <a:close/>
                </a:path>
              </a:pathLst>
            </a:custGeom>
            <a:solidFill>
              <a:srgbClr val="000000"/>
            </a:solidFill>
            <a:ln w="1269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CF15E165-60AE-40E2-99F7-9174FAD08E56}"/>
                </a:ext>
              </a:extLst>
            </p:cNvPr>
            <p:cNvSpPr/>
            <p:nvPr/>
          </p:nvSpPr>
          <p:spPr>
            <a:xfrm>
              <a:off x="3608781" y="5448381"/>
              <a:ext cx="365791" cy="13649"/>
            </a:xfrm>
            <a:custGeom>
              <a:avLst/>
              <a:gdLst>
                <a:gd name="connsiteX0" fmla="*/ 6856 w 365791"/>
                <a:gd name="connsiteY0" fmla="*/ 6793 h 13649"/>
                <a:gd name="connsiteX1" fmla="*/ 6856 w 365791"/>
                <a:gd name="connsiteY1" fmla="*/ 13649 h 13649"/>
                <a:gd name="connsiteX2" fmla="*/ 362998 w 365791"/>
                <a:gd name="connsiteY2" fmla="*/ 13649 h 13649"/>
                <a:gd name="connsiteX3" fmla="*/ 361221 w 365791"/>
                <a:gd name="connsiteY3" fmla="*/ 12506 h 13649"/>
                <a:gd name="connsiteX4" fmla="*/ 359443 w 365791"/>
                <a:gd name="connsiteY4" fmla="*/ 2857 h 13649"/>
                <a:gd name="connsiteX5" fmla="*/ 365792 w 365791"/>
                <a:gd name="connsiteY5" fmla="*/ 64 h 13649"/>
                <a:gd name="connsiteX6" fmla="*/ 0 w 365791"/>
                <a:gd name="connsiteY6" fmla="*/ 64 h 13649"/>
                <a:gd name="connsiteX7" fmla="*/ 6856 w 365791"/>
                <a:gd name="connsiteY7" fmla="*/ 6793 h 1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91" h="13649">
                  <a:moveTo>
                    <a:pt x="6856" y="6793"/>
                  </a:moveTo>
                  <a:lnTo>
                    <a:pt x="6856" y="13649"/>
                  </a:lnTo>
                  <a:lnTo>
                    <a:pt x="362998" y="13649"/>
                  </a:lnTo>
                  <a:lnTo>
                    <a:pt x="361221" y="12506"/>
                  </a:lnTo>
                  <a:cubicBezTo>
                    <a:pt x="358085" y="10319"/>
                    <a:pt x="357298" y="6018"/>
                    <a:pt x="359443" y="2857"/>
                  </a:cubicBezTo>
                  <a:cubicBezTo>
                    <a:pt x="360865" y="800"/>
                    <a:pt x="363316" y="-282"/>
                    <a:pt x="365792" y="64"/>
                  </a:cubicBezTo>
                  <a:lnTo>
                    <a:pt x="0" y="64"/>
                  </a:lnTo>
                  <a:cubicBezTo>
                    <a:pt x="3733" y="64"/>
                    <a:pt x="6793" y="3056"/>
                    <a:pt x="6856" y="6793"/>
                  </a:cubicBezTo>
                  <a:close/>
                </a:path>
              </a:pathLst>
            </a:custGeom>
            <a:solidFill>
              <a:srgbClr val="000000"/>
            </a:solidFill>
            <a:ln w="1269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9F4ADA2-7BED-4CDB-B385-46CBAE3BEC8B}"/>
                </a:ext>
              </a:extLst>
            </p:cNvPr>
            <p:cNvSpPr/>
            <p:nvPr/>
          </p:nvSpPr>
          <p:spPr>
            <a:xfrm>
              <a:off x="4003902" y="5467998"/>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381288EA-5484-4DFC-A8FF-33C9E490A399}"/>
                </a:ext>
              </a:extLst>
            </p:cNvPr>
            <p:cNvSpPr/>
            <p:nvPr/>
          </p:nvSpPr>
          <p:spPr>
            <a:xfrm>
              <a:off x="4005171" y="5470156"/>
              <a:ext cx="56" cy="1506"/>
            </a:xfrm>
            <a:custGeom>
              <a:avLst/>
              <a:gdLst>
                <a:gd name="connsiteX0" fmla="*/ 0 w 56"/>
                <a:gd name="connsiteY0" fmla="*/ 0 h 1506"/>
                <a:gd name="connsiteX1" fmla="*/ 0 w 56"/>
                <a:gd name="connsiteY1" fmla="*/ 1397 h 1506"/>
                <a:gd name="connsiteX2" fmla="*/ 0 w 56"/>
                <a:gd name="connsiteY2" fmla="*/ 0 h 1506"/>
              </a:gdLst>
              <a:ahLst/>
              <a:cxnLst>
                <a:cxn ang="0">
                  <a:pos x="connsiteX0" y="connsiteY0"/>
                </a:cxn>
                <a:cxn ang="0">
                  <a:pos x="connsiteX1" y="connsiteY1"/>
                </a:cxn>
                <a:cxn ang="0">
                  <a:pos x="connsiteX2" y="connsiteY2"/>
                </a:cxn>
              </a:cxnLst>
              <a:rect l="l" t="t" r="r" b="b"/>
              <a:pathLst>
                <a:path w="56" h="1506">
                  <a:moveTo>
                    <a:pt x="0" y="0"/>
                  </a:moveTo>
                  <a:cubicBezTo>
                    <a:pt x="0" y="0"/>
                    <a:pt x="0" y="889"/>
                    <a:pt x="0" y="1397"/>
                  </a:cubicBezTo>
                  <a:cubicBezTo>
                    <a:pt x="0" y="1904"/>
                    <a:pt x="127" y="508"/>
                    <a:pt x="0" y="0"/>
                  </a:cubicBezTo>
                  <a:close/>
                </a:path>
              </a:pathLst>
            </a:custGeom>
            <a:solidFill>
              <a:srgbClr val="000000"/>
            </a:solidFill>
            <a:ln w="1269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6E976800-980C-40B4-9014-6C5BAEEF1E65}"/>
                </a:ext>
              </a:extLst>
            </p:cNvPr>
            <p:cNvSpPr/>
            <p:nvPr/>
          </p:nvSpPr>
          <p:spPr>
            <a:xfrm>
              <a:off x="3967016" y="5449188"/>
              <a:ext cx="35996" cy="26681"/>
            </a:xfrm>
            <a:custGeom>
              <a:avLst/>
              <a:gdLst>
                <a:gd name="connsiteX0" fmla="*/ 1208 w 35996"/>
                <a:gd name="connsiteY0" fmla="*/ 2050 h 26681"/>
                <a:gd name="connsiteX1" fmla="*/ 2985 w 35996"/>
                <a:gd name="connsiteY1" fmla="*/ 11700 h 26681"/>
                <a:gd name="connsiteX2" fmla="*/ 4763 w 35996"/>
                <a:gd name="connsiteY2" fmla="*/ 12842 h 26681"/>
                <a:gd name="connsiteX3" fmla="*/ 5652 w 35996"/>
                <a:gd name="connsiteY3" fmla="*/ 13477 h 26681"/>
                <a:gd name="connsiteX4" fmla="*/ 5652 w 35996"/>
                <a:gd name="connsiteY4" fmla="*/ 5986 h 26681"/>
                <a:gd name="connsiteX5" fmla="*/ 6921 w 35996"/>
                <a:gd name="connsiteY5" fmla="*/ 4717 h 26681"/>
                <a:gd name="connsiteX6" fmla="*/ 8064 w 35996"/>
                <a:gd name="connsiteY6" fmla="*/ 5986 h 26681"/>
                <a:gd name="connsiteX7" fmla="*/ 8064 w 35996"/>
                <a:gd name="connsiteY7" fmla="*/ 15255 h 26681"/>
                <a:gd name="connsiteX8" fmla="*/ 24697 w 35996"/>
                <a:gd name="connsiteY8" fmla="*/ 26682 h 26681"/>
                <a:gd name="connsiteX9" fmla="*/ 24697 w 35996"/>
                <a:gd name="connsiteY9" fmla="*/ 22746 h 26681"/>
                <a:gd name="connsiteX10" fmla="*/ 31565 w 35996"/>
                <a:gd name="connsiteY10" fmla="*/ 15905 h 26681"/>
                <a:gd name="connsiteX11" fmla="*/ 35996 w 35996"/>
                <a:gd name="connsiteY11" fmla="*/ 17540 h 26681"/>
                <a:gd name="connsiteX12" fmla="*/ 35996 w 35996"/>
                <a:gd name="connsiteY12" fmla="*/ 17540 h 26681"/>
                <a:gd name="connsiteX13" fmla="*/ 11238 w 35996"/>
                <a:gd name="connsiteY13" fmla="*/ 527 h 26681"/>
                <a:gd name="connsiteX14" fmla="*/ 11238 w 35996"/>
                <a:gd name="connsiteY14" fmla="*/ 527 h 26681"/>
                <a:gd name="connsiteX15" fmla="*/ 9968 w 35996"/>
                <a:gd name="connsiteY15" fmla="*/ 527 h 26681"/>
                <a:gd name="connsiteX16" fmla="*/ 8572 w 35996"/>
                <a:gd name="connsiteY16" fmla="*/ 527 h 26681"/>
                <a:gd name="connsiteX17" fmla="*/ 1208 w 35996"/>
                <a:gd name="connsiteY17" fmla="*/ 2050 h 2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996" h="26681">
                  <a:moveTo>
                    <a:pt x="1208" y="2050"/>
                  </a:moveTo>
                  <a:cubicBezTo>
                    <a:pt x="-938" y="5212"/>
                    <a:pt x="-151" y="9511"/>
                    <a:pt x="2985" y="11700"/>
                  </a:cubicBezTo>
                  <a:lnTo>
                    <a:pt x="4763" y="12842"/>
                  </a:lnTo>
                  <a:lnTo>
                    <a:pt x="5652" y="13477"/>
                  </a:lnTo>
                  <a:lnTo>
                    <a:pt x="5652" y="5986"/>
                  </a:lnTo>
                  <a:cubicBezTo>
                    <a:pt x="5652" y="5285"/>
                    <a:pt x="6223" y="4717"/>
                    <a:pt x="6921" y="4717"/>
                  </a:cubicBezTo>
                  <a:cubicBezTo>
                    <a:pt x="7568" y="4783"/>
                    <a:pt x="8064" y="5332"/>
                    <a:pt x="8064" y="5986"/>
                  </a:cubicBezTo>
                  <a:lnTo>
                    <a:pt x="8064" y="15255"/>
                  </a:lnTo>
                  <a:lnTo>
                    <a:pt x="24697" y="26682"/>
                  </a:lnTo>
                  <a:lnTo>
                    <a:pt x="24697" y="22746"/>
                  </a:lnTo>
                  <a:cubicBezTo>
                    <a:pt x="24709" y="18960"/>
                    <a:pt x="27782" y="15896"/>
                    <a:pt x="31565" y="15905"/>
                  </a:cubicBezTo>
                  <a:cubicBezTo>
                    <a:pt x="33190" y="15909"/>
                    <a:pt x="34765" y="16488"/>
                    <a:pt x="35996" y="17540"/>
                  </a:cubicBezTo>
                  <a:cubicBezTo>
                    <a:pt x="35996" y="17540"/>
                    <a:pt x="35996" y="17540"/>
                    <a:pt x="35996" y="17540"/>
                  </a:cubicBezTo>
                  <a:lnTo>
                    <a:pt x="11238" y="527"/>
                  </a:lnTo>
                  <a:lnTo>
                    <a:pt x="11238" y="527"/>
                  </a:lnTo>
                  <a:lnTo>
                    <a:pt x="9968" y="527"/>
                  </a:lnTo>
                  <a:lnTo>
                    <a:pt x="8572" y="527"/>
                  </a:lnTo>
                  <a:cubicBezTo>
                    <a:pt x="6045" y="-550"/>
                    <a:pt x="3099" y="57"/>
                    <a:pt x="1208" y="2050"/>
                  </a:cubicBezTo>
                  <a:close/>
                </a:path>
              </a:pathLst>
            </a:custGeom>
            <a:solidFill>
              <a:srgbClr val="000000"/>
            </a:solidFill>
            <a:ln w="1269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AFF4E7B3-AD0A-4ACF-9D41-2372202890CE}"/>
                </a:ext>
              </a:extLst>
            </p:cNvPr>
            <p:cNvSpPr/>
            <p:nvPr/>
          </p:nvSpPr>
          <p:spPr>
            <a:xfrm>
              <a:off x="3972668" y="5453904"/>
              <a:ext cx="2412" cy="1003424"/>
            </a:xfrm>
            <a:custGeom>
              <a:avLst/>
              <a:gdLst>
                <a:gd name="connsiteX0" fmla="*/ 0 w 2412"/>
                <a:gd name="connsiteY0" fmla="*/ 1002155 h 1003424"/>
                <a:gd name="connsiteX1" fmla="*/ 1269 w 2412"/>
                <a:gd name="connsiteY1" fmla="*/ 1003424 h 1003424"/>
                <a:gd name="connsiteX2" fmla="*/ 1269 w 2412"/>
                <a:gd name="connsiteY2" fmla="*/ 1003424 h 1003424"/>
                <a:gd name="connsiteX3" fmla="*/ 2412 w 2412"/>
                <a:gd name="connsiteY3" fmla="*/ 1002155 h 1003424"/>
                <a:gd name="connsiteX4" fmla="*/ 2412 w 2412"/>
                <a:gd name="connsiteY4" fmla="*/ 1270 h 1003424"/>
                <a:gd name="connsiteX5" fmla="*/ 1269 w 2412"/>
                <a:gd name="connsiteY5" fmla="*/ 0 h 1003424"/>
                <a:gd name="connsiteX6" fmla="*/ 0 w 2412"/>
                <a:gd name="connsiteY6" fmla="*/ 1270 h 1003424"/>
                <a:gd name="connsiteX7" fmla="*/ 0 w 2412"/>
                <a:gd name="connsiteY7" fmla="*/ 1002155 h 100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1003424">
                  <a:moveTo>
                    <a:pt x="0" y="1002155"/>
                  </a:moveTo>
                  <a:cubicBezTo>
                    <a:pt x="0" y="1002853"/>
                    <a:pt x="571" y="1003424"/>
                    <a:pt x="1269" y="1003424"/>
                  </a:cubicBezTo>
                  <a:lnTo>
                    <a:pt x="1269" y="1003424"/>
                  </a:lnTo>
                  <a:cubicBezTo>
                    <a:pt x="1917" y="1003361"/>
                    <a:pt x="2412" y="1002815"/>
                    <a:pt x="2412" y="1002155"/>
                  </a:cubicBezTo>
                  <a:lnTo>
                    <a:pt x="2412" y="1270"/>
                  </a:lnTo>
                  <a:cubicBezTo>
                    <a:pt x="2412" y="616"/>
                    <a:pt x="1917" y="66"/>
                    <a:pt x="1269" y="0"/>
                  </a:cubicBezTo>
                  <a:cubicBezTo>
                    <a:pt x="571" y="0"/>
                    <a:pt x="0" y="569"/>
                    <a:pt x="0" y="1270"/>
                  </a:cubicBezTo>
                  <a:lnTo>
                    <a:pt x="0" y="1002155"/>
                  </a:lnTo>
                  <a:close/>
                </a:path>
              </a:pathLst>
            </a:custGeom>
            <a:solidFill>
              <a:srgbClr val="000000"/>
            </a:solidFill>
            <a:ln w="1269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6D619F37-E1E9-4056-9798-82CAA1836001}"/>
                </a:ext>
              </a:extLst>
            </p:cNvPr>
            <p:cNvSpPr/>
            <p:nvPr/>
          </p:nvSpPr>
          <p:spPr>
            <a:xfrm>
              <a:off x="3457309" y="5738566"/>
              <a:ext cx="144488" cy="13712"/>
            </a:xfrm>
            <a:custGeom>
              <a:avLst/>
              <a:gdLst>
                <a:gd name="connsiteX0" fmla="*/ 6856 w 144488"/>
                <a:gd name="connsiteY0" fmla="*/ 6856 h 13712"/>
                <a:gd name="connsiteX1" fmla="*/ 6856 w 144488"/>
                <a:gd name="connsiteY1" fmla="*/ 13713 h 13712"/>
                <a:gd name="connsiteX2" fmla="*/ 144488 w 144488"/>
                <a:gd name="connsiteY2" fmla="*/ 13713 h 13712"/>
                <a:gd name="connsiteX3" fmla="*/ 144488 w 144488"/>
                <a:gd name="connsiteY3" fmla="*/ 0 h 13712"/>
                <a:gd name="connsiteX4" fmla="*/ 0 w 144488"/>
                <a:gd name="connsiteY4" fmla="*/ 0 h 13712"/>
                <a:gd name="connsiteX5" fmla="*/ 6856 w 144488"/>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88" h="13712">
                  <a:moveTo>
                    <a:pt x="6856" y="6856"/>
                  </a:moveTo>
                  <a:lnTo>
                    <a:pt x="6856" y="13713"/>
                  </a:lnTo>
                  <a:lnTo>
                    <a:pt x="144488" y="13713"/>
                  </a:lnTo>
                  <a:lnTo>
                    <a:pt x="144488" y="0"/>
                  </a:lnTo>
                  <a:lnTo>
                    <a:pt x="0" y="0"/>
                  </a:lnTo>
                  <a:cubicBezTo>
                    <a:pt x="3784" y="0"/>
                    <a:pt x="6856" y="3070"/>
                    <a:pt x="6856" y="6856"/>
                  </a:cubicBezTo>
                  <a:close/>
                </a:path>
              </a:pathLst>
            </a:custGeom>
            <a:solidFill>
              <a:srgbClr val="000000"/>
            </a:solidFill>
            <a:ln w="1269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279B3E02-FB6F-4AE1-AC05-7D1DEEC87B50}"/>
                </a:ext>
              </a:extLst>
            </p:cNvPr>
            <p:cNvSpPr/>
            <p:nvPr/>
          </p:nvSpPr>
          <p:spPr>
            <a:xfrm>
              <a:off x="4019265" y="5615026"/>
              <a:ext cx="24885" cy="22092"/>
            </a:xfrm>
            <a:custGeom>
              <a:avLst/>
              <a:gdLst>
                <a:gd name="connsiteX0" fmla="*/ 5587 w 24885"/>
                <a:gd name="connsiteY0" fmla="*/ 5079 h 22092"/>
                <a:gd name="connsiteX1" fmla="*/ 0 w 24885"/>
                <a:gd name="connsiteY1" fmla="*/ 11808 h 22092"/>
                <a:gd name="connsiteX2" fmla="*/ 0 w 24885"/>
                <a:gd name="connsiteY2" fmla="*/ 13840 h 22092"/>
                <a:gd name="connsiteX3" fmla="*/ 13966 w 24885"/>
                <a:gd name="connsiteY3" fmla="*/ 22092 h 22092"/>
                <a:gd name="connsiteX4" fmla="*/ 13966 w 24885"/>
                <a:gd name="connsiteY4" fmla="*/ 18156 h 22092"/>
                <a:gd name="connsiteX5" fmla="*/ 20823 w 24885"/>
                <a:gd name="connsiteY5" fmla="*/ 11173 h 22092"/>
                <a:gd name="connsiteX6" fmla="*/ 24885 w 24885"/>
                <a:gd name="connsiteY6" fmla="*/ 12697 h 22092"/>
                <a:gd name="connsiteX7" fmla="*/ 24885 w 24885"/>
                <a:gd name="connsiteY7" fmla="*/ 12697 h 22092"/>
                <a:gd name="connsiteX8" fmla="*/ 2666 w 24885"/>
                <a:gd name="connsiteY8" fmla="*/ 0 h 22092"/>
                <a:gd name="connsiteX9" fmla="*/ 2666 w 24885"/>
                <a:gd name="connsiteY9" fmla="*/ 0 h 22092"/>
                <a:gd name="connsiteX10" fmla="*/ 5587 w 24885"/>
                <a:gd name="connsiteY10" fmla="*/ 5079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85" h="22092">
                  <a:moveTo>
                    <a:pt x="5587" y="5079"/>
                  </a:moveTo>
                  <a:cubicBezTo>
                    <a:pt x="5587" y="8372"/>
                    <a:pt x="3238" y="11199"/>
                    <a:pt x="0" y="11808"/>
                  </a:cubicBezTo>
                  <a:lnTo>
                    <a:pt x="0" y="13840"/>
                  </a:lnTo>
                  <a:lnTo>
                    <a:pt x="13966" y="22092"/>
                  </a:lnTo>
                  <a:lnTo>
                    <a:pt x="13966" y="18156"/>
                  </a:lnTo>
                  <a:cubicBezTo>
                    <a:pt x="13966" y="14349"/>
                    <a:pt x="17014" y="11242"/>
                    <a:pt x="20823" y="11173"/>
                  </a:cubicBezTo>
                  <a:cubicBezTo>
                    <a:pt x="22308" y="11219"/>
                    <a:pt x="23743" y="11755"/>
                    <a:pt x="24885" y="12697"/>
                  </a:cubicBezTo>
                  <a:lnTo>
                    <a:pt x="24885" y="12697"/>
                  </a:lnTo>
                  <a:lnTo>
                    <a:pt x="2666" y="0"/>
                  </a:lnTo>
                  <a:lnTo>
                    <a:pt x="2666" y="0"/>
                  </a:lnTo>
                  <a:cubicBezTo>
                    <a:pt x="4368" y="1158"/>
                    <a:pt x="5434" y="3028"/>
                    <a:pt x="5587" y="5079"/>
                  </a:cubicBezTo>
                  <a:close/>
                </a:path>
              </a:pathLst>
            </a:custGeom>
            <a:solidFill>
              <a:srgbClr val="000000"/>
            </a:solidFill>
            <a:ln w="1269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FF529C8-4C9F-4AFA-8ABC-F6E71BCB3A93}"/>
                </a:ext>
              </a:extLst>
            </p:cNvPr>
            <p:cNvSpPr/>
            <p:nvPr/>
          </p:nvSpPr>
          <p:spPr>
            <a:xfrm>
              <a:off x="4045166" y="5628739"/>
              <a:ext cx="47" cy="1015"/>
            </a:xfrm>
            <a:custGeom>
              <a:avLst/>
              <a:gdLst>
                <a:gd name="connsiteX0" fmla="*/ 0 w 47"/>
                <a:gd name="connsiteY0" fmla="*/ 0 h 1015"/>
                <a:gd name="connsiteX1" fmla="*/ 0 w 47"/>
                <a:gd name="connsiteY1" fmla="*/ 1016 h 1015"/>
                <a:gd name="connsiteX2" fmla="*/ 0 w 47"/>
                <a:gd name="connsiteY2" fmla="*/ 0 h 1015"/>
              </a:gdLst>
              <a:ahLst/>
              <a:cxnLst>
                <a:cxn ang="0">
                  <a:pos x="connsiteX0" y="connsiteY0"/>
                </a:cxn>
                <a:cxn ang="0">
                  <a:pos x="connsiteX1" y="connsiteY1"/>
                </a:cxn>
                <a:cxn ang="0">
                  <a:pos x="connsiteX2" y="connsiteY2"/>
                </a:cxn>
              </a:cxnLst>
              <a:rect l="l" t="t" r="r" b="b"/>
              <a:pathLst>
                <a:path w="47" h="1015">
                  <a:moveTo>
                    <a:pt x="0" y="0"/>
                  </a:moveTo>
                  <a:cubicBezTo>
                    <a:pt x="64" y="335"/>
                    <a:pt x="64" y="681"/>
                    <a:pt x="0" y="1016"/>
                  </a:cubicBezTo>
                  <a:cubicBezTo>
                    <a:pt x="64" y="681"/>
                    <a:pt x="64" y="335"/>
                    <a:pt x="0" y="0"/>
                  </a:cubicBezTo>
                  <a:close/>
                </a:path>
              </a:pathLst>
            </a:custGeom>
            <a:solidFill>
              <a:srgbClr val="000000"/>
            </a:solidFill>
            <a:ln w="1269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27CCD0C3-78E2-4C90-AE2D-4C9A20DB11C9}"/>
                </a:ext>
              </a:extLst>
            </p:cNvPr>
            <p:cNvSpPr/>
            <p:nvPr/>
          </p:nvSpPr>
          <p:spPr>
            <a:xfrm>
              <a:off x="4046436" y="5630897"/>
              <a:ext cx="47" cy="1396"/>
            </a:xfrm>
            <a:custGeom>
              <a:avLst/>
              <a:gdLst>
                <a:gd name="connsiteX0" fmla="*/ 0 w 47"/>
                <a:gd name="connsiteY0" fmla="*/ 0 h 1396"/>
                <a:gd name="connsiteX1" fmla="*/ 0 w 47"/>
                <a:gd name="connsiteY1" fmla="*/ 1397 h 1396"/>
                <a:gd name="connsiteX2" fmla="*/ 0 w 47"/>
                <a:gd name="connsiteY2" fmla="*/ 0 h 1396"/>
              </a:gdLst>
              <a:ahLst/>
              <a:cxnLst>
                <a:cxn ang="0">
                  <a:pos x="connsiteX0" y="connsiteY0"/>
                </a:cxn>
                <a:cxn ang="0">
                  <a:pos x="connsiteX1" y="connsiteY1"/>
                </a:cxn>
                <a:cxn ang="0">
                  <a:pos x="connsiteX2" y="connsiteY2"/>
                </a:cxn>
              </a:cxnLst>
              <a:rect l="l" t="t" r="r" b="b"/>
              <a:pathLst>
                <a:path w="47" h="1396">
                  <a:moveTo>
                    <a:pt x="0" y="0"/>
                  </a:moveTo>
                  <a:cubicBezTo>
                    <a:pt x="63" y="464"/>
                    <a:pt x="63" y="933"/>
                    <a:pt x="0" y="1397"/>
                  </a:cubicBezTo>
                  <a:cubicBezTo>
                    <a:pt x="63" y="933"/>
                    <a:pt x="63" y="464"/>
                    <a:pt x="0" y="0"/>
                  </a:cubicBezTo>
                  <a:close/>
                </a:path>
              </a:pathLst>
            </a:custGeom>
            <a:solidFill>
              <a:srgbClr val="000000"/>
            </a:solidFill>
            <a:ln w="1269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FD3C7A58-3773-4CE3-8673-101BD915B83A}"/>
                </a:ext>
              </a:extLst>
            </p:cNvPr>
            <p:cNvSpPr/>
            <p:nvPr/>
          </p:nvSpPr>
          <p:spPr>
            <a:xfrm>
              <a:off x="4018249" y="5613376"/>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7BEA1ED9-41CF-46FC-B7E4-554C6289413C}"/>
                </a:ext>
              </a:extLst>
            </p:cNvPr>
            <p:cNvSpPr/>
            <p:nvPr/>
          </p:nvSpPr>
          <p:spPr>
            <a:xfrm>
              <a:off x="4015963" y="5627088"/>
              <a:ext cx="635" cy="380"/>
            </a:xfrm>
            <a:custGeom>
              <a:avLst/>
              <a:gdLst>
                <a:gd name="connsiteX0" fmla="*/ 635 w 635"/>
                <a:gd name="connsiteY0" fmla="*/ 0 h 380"/>
                <a:gd name="connsiteX1" fmla="*/ 0 w 635"/>
                <a:gd name="connsiteY1" fmla="*/ 0 h 380"/>
                <a:gd name="connsiteX2" fmla="*/ 635 w 635"/>
                <a:gd name="connsiteY2" fmla="*/ 381 h 380"/>
                <a:gd name="connsiteX3" fmla="*/ 635 w 635"/>
                <a:gd name="connsiteY3" fmla="*/ 0 h 380"/>
              </a:gdLst>
              <a:ahLst/>
              <a:cxnLst>
                <a:cxn ang="0">
                  <a:pos x="connsiteX0" y="connsiteY0"/>
                </a:cxn>
                <a:cxn ang="0">
                  <a:pos x="connsiteX1" y="connsiteY1"/>
                </a:cxn>
                <a:cxn ang="0">
                  <a:pos x="connsiteX2" y="connsiteY2"/>
                </a:cxn>
                <a:cxn ang="0">
                  <a:pos x="connsiteX3" y="connsiteY3"/>
                </a:cxn>
              </a:cxnLst>
              <a:rect l="l" t="t" r="r" b="b"/>
              <a:pathLst>
                <a:path w="635" h="380">
                  <a:moveTo>
                    <a:pt x="635" y="0"/>
                  </a:moveTo>
                  <a:lnTo>
                    <a:pt x="0" y="0"/>
                  </a:lnTo>
                  <a:lnTo>
                    <a:pt x="635" y="381"/>
                  </a:lnTo>
                  <a:lnTo>
                    <a:pt x="635" y="0"/>
                  </a:lnTo>
                  <a:close/>
                </a:path>
              </a:pathLst>
            </a:custGeom>
            <a:solidFill>
              <a:srgbClr val="000000"/>
            </a:solidFill>
            <a:ln w="1269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ED22F8FE-F5F7-4149-AC67-BEBAB1321D57}"/>
                </a:ext>
              </a:extLst>
            </p:cNvPr>
            <p:cNvSpPr/>
            <p:nvPr/>
          </p:nvSpPr>
          <p:spPr>
            <a:xfrm>
              <a:off x="4005552" y="5614137"/>
              <a:ext cx="18924" cy="13839"/>
            </a:xfrm>
            <a:custGeom>
              <a:avLst/>
              <a:gdLst>
                <a:gd name="connsiteX0" fmla="*/ 0 w 18924"/>
                <a:gd name="connsiteY0" fmla="*/ 12951 h 13839"/>
                <a:gd name="connsiteX1" fmla="*/ 11046 w 18924"/>
                <a:gd name="connsiteY1" fmla="*/ 12951 h 13839"/>
                <a:gd name="connsiteX2" fmla="*/ 11046 w 18924"/>
                <a:gd name="connsiteY2" fmla="*/ 5967 h 13839"/>
                <a:gd name="connsiteX3" fmla="*/ 12316 w 18924"/>
                <a:gd name="connsiteY3" fmla="*/ 4698 h 13839"/>
                <a:gd name="connsiteX4" fmla="*/ 13585 w 18924"/>
                <a:gd name="connsiteY4" fmla="*/ 5967 h 13839"/>
                <a:gd name="connsiteX5" fmla="*/ 13585 w 18924"/>
                <a:gd name="connsiteY5" fmla="*/ 12697 h 13839"/>
                <a:gd name="connsiteX6" fmla="*/ 18753 w 18924"/>
                <a:gd name="connsiteY6" fmla="*/ 4491 h 13839"/>
                <a:gd name="connsiteX7" fmla="*/ 15363 w 18924"/>
                <a:gd name="connsiteY7" fmla="*/ 0 h 13839"/>
                <a:gd name="connsiteX8" fmla="*/ 14093 w 18924"/>
                <a:gd name="connsiteY8" fmla="*/ 0 h 13839"/>
                <a:gd name="connsiteX9" fmla="*/ 12697 w 18924"/>
                <a:gd name="connsiteY9" fmla="*/ 0 h 13839"/>
                <a:gd name="connsiteX10" fmla="*/ 0 w 18924"/>
                <a:gd name="connsiteY10" fmla="*/ 0 h 13839"/>
                <a:gd name="connsiteX11" fmla="*/ 0 w 18924"/>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924" h="13839">
                  <a:moveTo>
                    <a:pt x="0" y="12951"/>
                  </a:moveTo>
                  <a:lnTo>
                    <a:pt x="11046" y="12951"/>
                  </a:lnTo>
                  <a:lnTo>
                    <a:pt x="11046" y="5967"/>
                  </a:lnTo>
                  <a:cubicBezTo>
                    <a:pt x="11046" y="5267"/>
                    <a:pt x="11617" y="4698"/>
                    <a:pt x="12316" y="4698"/>
                  </a:cubicBezTo>
                  <a:cubicBezTo>
                    <a:pt x="13014" y="4698"/>
                    <a:pt x="13585" y="5267"/>
                    <a:pt x="13585" y="5967"/>
                  </a:cubicBezTo>
                  <a:lnTo>
                    <a:pt x="13585" y="12697"/>
                  </a:lnTo>
                  <a:cubicBezTo>
                    <a:pt x="17280" y="11858"/>
                    <a:pt x="19591" y="8183"/>
                    <a:pt x="18753" y="4491"/>
                  </a:cubicBezTo>
                  <a:cubicBezTo>
                    <a:pt x="18321" y="2579"/>
                    <a:pt x="17077" y="943"/>
                    <a:pt x="15363" y="0"/>
                  </a:cubicBezTo>
                  <a:lnTo>
                    <a:pt x="14093" y="0"/>
                  </a:lnTo>
                  <a:lnTo>
                    <a:pt x="12697" y="0"/>
                  </a:lnTo>
                  <a:lnTo>
                    <a:pt x="0" y="0"/>
                  </a:lnTo>
                  <a:lnTo>
                    <a:pt x="0" y="13840"/>
                  </a:lnTo>
                  <a:close/>
                </a:path>
              </a:pathLst>
            </a:custGeom>
            <a:solidFill>
              <a:srgbClr val="000000"/>
            </a:solidFill>
            <a:ln w="1269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4BE871FD-D0FB-4119-9EEF-B84128E69363}"/>
                </a:ext>
              </a:extLst>
            </p:cNvPr>
            <p:cNvSpPr/>
            <p:nvPr/>
          </p:nvSpPr>
          <p:spPr>
            <a:xfrm>
              <a:off x="4033104" y="5626773"/>
              <a:ext cx="13760" cy="819635"/>
            </a:xfrm>
            <a:custGeom>
              <a:avLst/>
              <a:gdLst>
                <a:gd name="connsiteX0" fmla="*/ 0 w 13760"/>
                <a:gd name="connsiteY0" fmla="*/ 6409 h 819635"/>
                <a:gd name="connsiteX1" fmla="*/ 0 w 13760"/>
                <a:gd name="connsiteY1" fmla="*/ 819636 h 819635"/>
                <a:gd name="connsiteX2" fmla="*/ 13713 w 13760"/>
                <a:gd name="connsiteY2" fmla="*/ 819636 h 819635"/>
                <a:gd name="connsiteX3" fmla="*/ 13713 w 13760"/>
                <a:gd name="connsiteY3" fmla="*/ 7044 h 819635"/>
                <a:gd name="connsiteX4" fmla="*/ 13713 w 13760"/>
                <a:gd name="connsiteY4" fmla="*/ 6155 h 819635"/>
                <a:gd name="connsiteX5" fmla="*/ 13713 w 13760"/>
                <a:gd name="connsiteY5" fmla="*/ 4759 h 819635"/>
                <a:gd name="connsiteX6" fmla="*/ 13078 w 13760"/>
                <a:gd name="connsiteY6" fmla="*/ 3616 h 819635"/>
                <a:gd name="connsiteX7" fmla="*/ 13078 w 13760"/>
                <a:gd name="connsiteY7" fmla="*/ 2600 h 819635"/>
                <a:gd name="connsiteX8" fmla="*/ 11935 w 13760"/>
                <a:gd name="connsiteY8" fmla="*/ 1584 h 819635"/>
                <a:gd name="connsiteX9" fmla="*/ 7872 w 13760"/>
                <a:gd name="connsiteY9" fmla="*/ 61 h 819635"/>
                <a:gd name="connsiteX10" fmla="*/ 38 w 13760"/>
                <a:gd name="connsiteY10" fmla="*/ 6071 h 819635"/>
                <a:gd name="connsiteX11" fmla="*/ 0 w 13760"/>
                <a:gd name="connsiteY11" fmla="*/ 6409 h 81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0" h="819635">
                  <a:moveTo>
                    <a:pt x="0" y="6409"/>
                  </a:moveTo>
                  <a:lnTo>
                    <a:pt x="0" y="819636"/>
                  </a:lnTo>
                  <a:lnTo>
                    <a:pt x="13713" y="819636"/>
                  </a:lnTo>
                  <a:lnTo>
                    <a:pt x="13713" y="7044"/>
                  </a:lnTo>
                  <a:cubicBezTo>
                    <a:pt x="13713" y="7044"/>
                    <a:pt x="13713" y="7044"/>
                    <a:pt x="13713" y="6155"/>
                  </a:cubicBezTo>
                  <a:cubicBezTo>
                    <a:pt x="13776" y="5692"/>
                    <a:pt x="13776" y="5222"/>
                    <a:pt x="13713" y="4759"/>
                  </a:cubicBezTo>
                  <a:cubicBezTo>
                    <a:pt x="13548" y="4352"/>
                    <a:pt x="13332" y="3969"/>
                    <a:pt x="13078" y="3616"/>
                  </a:cubicBezTo>
                  <a:cubicBezTo>
                    <a:pt x="13141" y="3281"/>
                    <a:pt x="13141" y="2935"/>
                    <a:pt x="13078" y="2600"/>
                  </a:cubicBezTo>
                  <a:lnTo>
                    <a:pt x="11935" y="1584"/>
                  </a:lnTo>
                  <a:cubicBezTo>
                    <a:pt x="10792" y="642"/>
                    <a:pt x="9357" y="106"/>
                    <a:pt x="7872" y="61"/>
                  </a:cubicBezTo>
                  <a:cubicBezTo>
                    <a:pt x="4050" y="-443"/>
                    <a:pt x="546" y="2248"/>
                    <a:pt x="38" y="6071"/>
                  </a:cubicBezTo>
                  <a:cubicBezTo>
                    <a:pt x="26" y="6184"/>
                    <a:pt x="13" y="6296"/>
                    <a:pt x="0" y="6409"/>
                  </a:cubicBezTo>
                  <a:close/>
                </a:path>
              </a:pathLst>
            </a:custGeom>
            <a:solidFill>
              <a:schemeClr val="accent5"/>
            </a:solidFill>
            <a:ln w="1269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3FA2FBB-C9FB-4FF4-88FE-4BBB463CF3AE}"/>
                </a:ext>
              </a:extLst>
            </p:cNvPr>
            <p:cNvSpPr/>
            <p:nvPr/>
          </p:nvSpPr>
          <p:spPr>
            <a:xfrm>
              <a:off x="4016598" y="5618835"/>
              <a:ext cx="2539" cy="827574"/>
            </a:xfrm>
            <a:custGeom>
              <a:avLst/>
              <a:gdLst>
                <a:gd name="connsiteX0" fmla="*/ 0 w 2539"/>
                <a:gd name="connsiteY0" fmla="*/ 827574 h 827574"/>
                <a:gd name="connsiteX1" fmla="*/ 2539 w 2539"/>
                <a:gd name="connsiteY1" fmla="*/ 827574 h 827574"/>
                <a:gd name="connsiteX2" fmla="*/ 2539 w 2539"/>
                <a:gd name="connsiteY2" fmla="*/ 1270 h 827574"/>
                <a:gd name="connsiteX3" fmla="*/ 1270 w 2539"/>
                <a:gd name="connsiteY3" fmla="*/ 0 h 827574"/>
                <a:gd name="connsiteX4" fmla="*/ 0 w 2539"/>
                <a:gd name="connsiteY4" fmla="*/ 1270 h 827574"/>
                <a:gd name="connsiteX5" fmla="*/ 0 w 2539"/>
                <a:gd name="connsiteY5" fmla="*/ 827574 h 82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827574">
                  <a:moveTo>
                    <a:pt x="0" y="827574"/>
                  </a:moveTo>
                  <a:lnTo>
                    <a:pt x="2539" y="827574"/>
                  </a:lnTo>
                  <a:lnTo>
                    <a:pt x="2539" y="1270"/>
                  </a:lnTo>
                  <a:cubicBezTo>
                    <a:pt x="2539" y="569"/>
                    <a:pt x="1968" y="0"/>
                    <a:pt x="1270" y="0"/>
                  </a:cubicBezTo>
                  <a:cubicBezTo>
                    <a:pt x="571" y="0"/>
                    <a:pt x="0" y="569"/>
                    <a:pt x="0" y="1270"/>
                  </a:cubicBezTo>
                  <a:lnTo>
                    <a:pt x="0" y="827574"/>
                  </a:lnTo>
                  <a:close/>
                </a:path>
              </a:pathLst>
            </a:custGeom>
            <a:solidFill>
              <a:srgbClr val="000000"/>
            </a:solidFill>
            <a:ln w="1269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62454D1-1C40-4BE5-88A0-8441A245A828}"/>
                </a:ext>
              </a:extLst>
            </p:cNvPr>
            <p:cNvSpPr/>
            <p:nvPr/>
          </p:nvSpPr>
          <p:spPr>
            <a:xfrm>
              <a:off x="4143184" y="5621248"/>
              <a:ext cx="13839" cy="166327"/>
            </a:xfrm>
            <a:custGeom>
              <a:avLst/>
              <a:gdLst>
                <a:gd name="connsiteX0" fmla="*/ 13839 w 13839"/>
                <a:gd name="connsiteY0" fmla="*/ 166327 h 166327"/>
                <a:gd name="connsiteX1" fmla="*/ 13839 w 13839"/>
                <a:gd name="connsiteY1" fmla="*/ 6983 h 166327"/>
                <a:gd name="connsiteX2" fmla="*/ 6983 w 13839"/>
                <a:gd name="connsiteY2" fmla="*/ 6983 h 166327"/>
                <a:gd name="connsiteX3" fmla="*/ 0 w 13839"/>
                <a:gd name="connsiteY3" fmla="*/ 0 h 166327"/>
                <a:gd name="connsiteX4" fmla="*/ 0 w 13839"/>
                <a:gd name="connsiteY4" fmla="*/ 166327 h 166327"/>
                <a:gd name="connsiteX5" fmla="*/ 13839 w 13839"/>
                <a:gd name="connsiteY5" fmla="*/ 166327 h 16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66327">
                  <a:moveTo>
                    <a:pt x="13839" y="166327"/>
                  </a:moveTo>
                  <a:lnTo>
                    <a:pt x="13839" y="6983"/>
                  </a:lnTo>
                  <a:lnTo>
                    <a:pt x="6983" y="6983"/>
                  </a:lnTo>
                  <a:cubicBezTo>
                    <a:pt x="3123" y="6983"/>
                    <a:pt x="0" y="3857"/>
                    <a:pt x="0" y="0"/>
                  </a:cubicBezTo>
                  <a:lnTo>
                    <a:pt x="0" y="166327"/>
                  </a:lnTo>
                  <a:lnTo>
                    <a:pt x="13839" y="166327"/>
                  </a:lnTo>
                  <a:close/>
                </a:path>
              </a:pathLst>
            </a:custGeom>
            <a:solidFill>
              <a:srgbClr val="000000"/>
            </a:solidFill>
            <a:ln w="1269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B270ED67-FE41-4EBC-AB55-DEEFCB828B99}"/>
                </a:ext>
              </a:extLst>
            </p:cNvPr>
            <p:cNvSpPr/>
            <p:nvPr/>
          </p:nvSpPr>
          <p:spPr>
            <a:xfrm>
              <a:off x="4166927" y="6447806"/>
              <a:ext cx="25393" cy="5459"/>
            </a:xfrm>
            <a:custGeom>
              <a:avLst/>
              <a:gdLst>
                <a:gd name="connsiteX0" fmla="*/ 18791 w 25393"/>
                <a:gd name="connsiteY0" fmla="*/ 0 h 5459"/>
                <a:gd name="connsiteX1" fmla="*/ 0 w 25393"/>
                <a:gd name="connsiteY1" fmla="*/ 0 h 5459"/>
                <a:gd name="connsiteX2" fmla="*/ 0 w 25393"/>
                <a:gd name="connsiteY2" fmla="*/ 5460 h 5459"/>
                <a:gd name="connsiteX3" fmla="*/ 25393 w 25393"/>
                <a:gd name="connsiteY3" fmla="*/ 4698 h 5459"/>
                <a:gd name="connsiteX4" fmla="*/ 25393 w 25393"/>
                <a:gd name="connsiteY4" fmla="*/ 4698 h 5459"/>
                <a:gd name="connsiteX5" fmla="*/ 18791 w 25393"/>
                <a:gd name="connsiteY5" fmla="*/ 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3" h="5459">
                  <a:moveTo>
                    <a:pt x="18791" y="0"/>
                  </a:moveTo>
                  <a:lnTo>
                    <a:pt x="0" y="0"/>
                  </a:lnTo>
                  <a:lnTo>
                    <a:pt x="0" y="5460"/>
                  </a:lnTo>
                  <a:lnTo>
                    <a:pt x="25393" y="4698"/>
                  </a:lnTo>
                  <a:lnTo>
                    <a:pt x="25393" y="4698"/>
                  </a:lnTo>
                  <a:cubicBezTo>
                    <a:pt x="22422" y="4660"/>
                    <a:pt x="19794" y="2793"/>
                    <a:pt x="18791" y="0"/>
                  </a:cubicBezTo>
                  <a:close/>
                </a:path>
              </a:pathLst>
            </a:custGeom>
            <a:solidFill>
              <a:srgbClr val="000000"/>
            </a:solidFill>
            <a:ln w="1269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DE54CD47-4EF7-4B1B-80BF-37A52F32A542}"/>
                </a:ext>
              </a:extLst>
            </p:cNvPr>
            <p:cNvSpPr/>
            <p:nvPr/>
          </p:nvSpPr>
          <p:spPr>
            <a:xfrm>
              <a:off x="4158547" y="6438664"/>
              <a:ext cx="33519" cy="6729"/>
            </a:xfrm>
            <a:custGeom>
              <a:avLst/>
              <a:gdLst>
                <a:gd name="connsiteX0" fmla="*/ 33519 w 33519"/>
                <a:gd name="connsiteY0" fmla="*/ 0 h 6729"/>
                <a:gd name="connsiteX1" fmla="*/ 33519 w 33519"/>
                <a:gd name="connsiteY1" fmla="*/ 0 h 6729"/>
                <a:gd name="connsiteX2" fmla="*/ 1270 w 33519"/>
                <a:gd name="connsiteY2" fmla="*/ 1016 h 6729"/>
                <a:gd name="connsiteX3" fmla="*/ 0 w 33519"/>
                <a:gd name="connsiteY3" fmla="*/ 1016 h 6729"/>
                <a:gd name="connsiteX4" fmla="*/ 1397 w 33519"/>
                <a:gd name="connsiteY4" fmla="*/ 1016 h 6729"/>
                <a:gd name="connsiteX5" fmla="*/ 8126 w 33519"/>
                <a:gd name="connsiteY5" fmla="*/ 6729 h 6729"/>
                <a:gd name="connsiteX6" fmla="*/ 26790 w 33519"/>
                <a:gd name="connsiteY6" fmla="*/ 6729 h 6729"/>
                <a:gd name="connsiteX7" fmla="*/ 33519 w 33519"/>
                <a:gd name="connsiteY7" fmla="*/ 0 h 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19" h="6729">
                  <a:moveTo>
                    <a:pt x="33519" y="0"/>
                  </a:moveTo>
                  <a:lnTo>
                    <a:pt x="33519" y="0"/>
                  </a:lnTo>
                  <a:lnTo>
                    <a:pt x="1270" y="1016"/>
                  </a:lnTo>
                  <a:lnTo>
                    <a:pt x="0" y="1016"/>
                  </a:lnTo>
                  <a:lnTo>
                    <a:pt x="1397" y="1016"/>
                  </a:lnTo>
                  <a:cubicBezTo>
                    <a:pt x="4736" y="1028"/>
                    <a:pt x="7567" y="3441"/>
                    <a:pt x="8126" y="6729"/>
                  </a:cubicBezTo>
                  <a:lnTo>
                    <a:pt x="26790" y="6729"/>
                  </a:lnTo>
                  <a:cubicBezTo>
                    <a:pt x="26917" y="3073"/>
                    <a:pt x="29862" y="127"/>
                    <a:pt x="33519" y="0"/>
                  </a:cubicBezTo>
                  <a:close/>
                </a:path>
              </a:pathLst>
            </a:custGeom>
            <a:solidFill>
              <a:srgbClr val="000000"/>
            </a:solidFill>
            <a:ln w="1269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CBFAD628-4D57-4843-A93B-3F6BF7332CBE}"/>
                </a:ext>
              </a:extLst>
            </p:cNvPr>
            <p:cNvSpPr/>
            <p:nvPr/>
          </p:nvSpPr>
          <p:spPr>
            <a:xfrm>
              <a:off x="4157024" y="644031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A0EDF3B2-A0C4-4970-98CC-3C5834EFFCB9}"/>
                </a:ext>
              </a:extLst>
            </p:cNvPr>
            <p:cNvSpPr/>
            <p:nvPr/>
          </p:nvSpPr>
          <p:spPr>
            <a:xfrm>
              <a:off x="4166673" y="6445521"/>
              <a:ext cx="18790" cy="2412"/>
            </a:xfrm>
            <a:custGeom>
              <a:avLst/>
              <a:gdLst>
                <a:gd name="connsiteX0" fmla="*/ 18664 w 18790"/>
                <a:gd name="connsiteY0" fmla="*/ 0 h 2412"/>
                <a:gd name="connsiteX1" fmla="*/ 0 w 18790"/>
                <a:gd name="connsiteY1" fmla="*/ 0 h 2412"/>
                <a:gd name="connsiteX2" fmla="*/ 0 w 18790"/>
                <a:gd name="connsiteY2" fmla="*/ 1143 h 2412"/>
                <a:gd name="connsiteX3" fmla="*/ 0 w 18790"/>
                <a:gd name="connsiteY3" fmla="*/ 2412 h 2412"/>
                <a:gd name="connsiteX4" fmla="*/ 18791 w 18790"/>
                <a:gd name="connsiteY4" fmla="*/ 2412 h 2412"/>
                <a:gd name="connsiteX5" fmla="*/ 18664 w 18790"/>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90" h="2412">
                  <a:moveTo>
                    <a:pt x="18664" y="0"/>
                  </a:moveTo>
                  <a:lnTo>
                    <a:pt x="0" y="0"/>
                  </a:lnTo>
                  <a:cubicBezTo>
                    <a:pt x="0" y="0"/>
                    <a:pt x="0" y="762"/>
                    <a:pt x="0" y="1143"/>
                  </a:cubicBezTo>
                  <a:lnTo>
                    <a:pt x="0" y="2412"/>
                  </a:lnTo>
                  <a:lnTo>
                    <a:pt x="18791" y="2412"/>
                  </a:lnTo>
                  <a:cubicBezTo>
                    <a:pt x="18677" y="1613"/>
                    <a:pt x="18626" y="800"/>
                    <a:pt x="18664" y="0"/>
                  </a:cubicBezTo>
                  <a:close/>
                </a:path>
              </a:pathLst>
            </a:custGeom>
            <a:solidFill>
              <a:srgbClr val="000000"/>
            </a:solidFill>
            <a:ln w="1269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9A4A74E7-B212-4F33-B8D5-429BAE0C04E5}"/>
                </a:ext>
              </a:extLst>
            </p:cNvPr>
            <p:cNvSpPr/>
            <p:nvPr/>
          </p:nvSpPr>
          <p:spPr>
            <a:xfrm>
              <a:off x="7960064" y="6518527"/>
              <a:ext cx="2412" cy="345986"/>
            </a:xfrm>
            <a:custGeom>
              <a:avLst/>
              <a:gdLst>
                <a:gd name="connsiteX0" fmla="*/ 0 w 2412"/>
                <a:gd name="connsiteY0" fmla="*/ 0 h 345986"/>
                <a:gd name="connsiteX1" fmla="*/ 2412 w 2412"/>
                <a:gd name="connsiteY1" fmla="*/ 0 h 345986"/>
                <a:gd name="connsiteX2" fmla="*/ 2412 w 2412"/>
                <a:gd name="connsiteY2" fmla="*/ 345986 h 345986"/>
                <a:gd name="connsiteX3" fmla="*/ 0 w 2412"/>
                <a:gd name="connsiteY3" fmla="*/ 345986 h 345986"/>
              </a:gdLst>
              <a:ahLst/>
              <a:cxnLst>
                <a:cxn ang="0">
                  <a:pos x="connsiteX0" y="connsiteY0"/>
                </a:cxn>
                <a:cxn ang="0">
                  <a:pos x="connsiteX1" y="connsiteY1"/>
                </a:cxn>
                <a:cxn ang="0">
                  <a:pos x="connsiteX2" y="connsiteY2"/>
                </a:cxn>
                <a:cxn ang="0">
                  <a:pos x="connsiteX3" y="connsiteY3"/>
                </a:cxn>
              </a:cxnLst>
              <a:rect l="l" t="t" r="r" b="b"/>
              <a:pathLst>
                <a:path w="2412" h="345986">
                  <a:moveTo>
                    <a:pt x="0" y="0"/>
                  </a:moveTo>
                  <a:lnTo>
                    <a:pt x="2412" y="0"/>
                  </a:lnTo>
                  <a:lnTo>
                    <a:pt x="2412" y="345986"/>
                  </a:lnTo>
                  <a:lnTo>
                    <a:pt x="0" y="345986"/>
                  </a:lnTo>
                  <a:close/>
                </a:path>
              </a:pathLst>
            </a:custGeom>
            <a:solidFill>
              <a:srgbClr val="000000"/>
            </a:solidFill>
            <a:ln w="1269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41AE6BAF-DD19-42FF-93BC-3E94A0D5F347}"/>
                </a:ext>
              </a:extLst>
            </p:cNvPr>
            <p:cNvSpPr/>
            <p:nvPr/>
          </p:nvSpPr>
          <p:spPr>
            <a:xfrm>
              <a:off x="5893804" y="6440061"/>
              <a:ext cx="65007" cy="11554"/>
            </a:xfrm>
            <a:custGeom>
              <a:avLst/>
              <a:gdLst>
                <a:gd name="connsiteX0" fmla="*/ 58024 w 65007"/>
                <a:gd name="connsiteY0" fmla="*/ 6983 h 11554"/>
                <a:gd name="connsiteX1" fmla="*/ 65007 w 65007"/>
                <a:gd name="connsiteY1" fmla="*/ 0 h 11554"/>
                <a:gd name="connsiteX2" fmla="*/ 0 w 65007"/>
                <a:gd name="connsiteY2" fmla="*/ 0 h 11554"/>
                <a:gd name="connsiteX3" fmla="*/ 3809 w 65007"/>
                <a:gd name="connsiteY3" fmla="*/ 0 h 11554"/>
                <a:gd name="connsiteX4" fmla="*/ 4952 w 65007"/>
                <a:gd name="connsiteY4" fmla="*/ 0 h 11554"/>
                <a:gd name="connsiteX5" fmla="*/ 6221 w 65007"/>
                <a:gd name="connsiteY5" fmla="*/ 0 h 11554"/>
                <a:gd name="connsiteX6" fmla="*/ 7364 w 65007"/>
                <a:gd name="connsiteY6" fmla="*/ 762 h 11554"/>
                <a:gd name="connsiteX7" fmla="*/ 8379 w 65007"/>
                <a:gd name="connsiteY7" fmla="*/ 1524 h 11554"/>
                <a:gd name="connsiteX8" fmla="*/ 9015 w 65007"/>
                <a:gd name="connsiteY8" fmla="*/ 2666 h 11554"/>
                <a:gd name="connsiteX9" fmla="*/ 9015 w 65007"/>
                <a:gd name="connsiteY9" fmla="*/ 3809 h 11554"/>
                <a:gd name="connsiteX10" fmla="*/ 9015 w 65007"/>
                <a:gd name="connsiteY10" fmla="*/ 5079 h 11554"/>
                <a:gd name="connsiteX11" fmla="*/ 9015 w 65007"/>
                <a:gd name="connsiteY11" fmla="*/ 6221 h 11554"/>
                <a:gd name="connsiteX12" fmla="*/ 9015 w 65007"/>
                <a:gd name="connsiteY12" fmla="*/ 6221 h 11554"/>
                <a:gd name="connsiteX13" fmla="*/ 9015 w 65007"/>
                <a:gd name="connsiteY13" fmla="*/ 7491 h 11554"/>
                <a:gd name="connsiteX14" fmla="*/ 9015 w 65007"/>
                <a:gd name="connsiteY14" fmla="*/ 8507 h 11554"/>
                <a:gd name="connsiteX15" fmla="*/ 8253 w 65007"/>
                <a:gd name="connsiteY15" fmla="*/ 9777 h 11554"/>
                <a:gd name="connsiteX16" fmla="*/ 7618 w 65007"/>
                <a:gd name="connsiteY16" fmla="*/ 10665 h 11554"/>
                <a:gd name="connsiteX17" fmla="*/ 6221 w 65007"/>
                <a:gd name="connsiteY17" fmla="*/ 11554 h 11554"/>
                <a:gd name="connsiteX18" fmla="*/ 5459 w 65007"/>
                <a:gd name="connsiteY18" fmla="*/ 11554 h 11554"/>
                <a:gd name="connsiteX19" fmla="*/ 4317 w 65007"/>
                <a:gd name="connsiteY19" fmla="*/ 11554 h 11554"/>
                <a:gd name="connsiteX20" fmla="*/ 57516 w 65007"/>
                <a:gd name="connsiteY20" fmla="*/ 11554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007" h="11554">
                  <a:moveTo>
                    <a:pt x="58024" y="6983"/>
                  </a:moveTo>
                  <a:cubicBezTo>
                    <a:pt x="58024" y="3123"/>
                    <a:pt x="61147" y="0"/>
                    <a:pt x="65007" y="0"/>
                  </a:cubicBezTo>
                  <a:lnTo>
                    <a:pt x="0" y="0"/>
                  </a:lnTo>
                  <a:lnTo>
                    <a:pt x="3809" y="0"/>
                  </a:lnTo>
                  <a:lnTo>
                    <a:pt x="4952" y="0"/>
                  </a:lnTo>
                  <a:lnTo>
                    <a:pt x="6221" y="0"/>
                  </a:lnTo>
                  <a:lnTo>
                    <a:pt x="7364" y="762"/>
                  </a:lnTo>
                  <a:lnTo>
                    <a:pt x="8379" y="1524"/>
                  </a:lnTo>
                  <a:cubicBezTo>
                    <a:pt x="8634" y="1879"/>
                    <a:pt x="8849" y="2260"/>
                    <a:pt x="9015" y="2666"/>
                  </a:cubicBezTo>
                  <a:cubicBezTo>
                    <a:pt x="9078" y="3047"/>
                    <a:pt x="9078" y="3428"/>
                    <a:pt x="9015" y="3809"/>
                  </a:cubicBezTo>
                  <a:cubicBezTo>
                    <a:pt x="9065" y="4228"/>
                    <a:pt x="9065" y="4660"/>
                    <a:pt x="9015" y="5079"/>
                  </a:cubicBezTo>
                  <a:cubicBezTo>
                    <a:pt x="9015" y="5079"/>
                    <a:pt x="9015" y="5841"/>
                    <a:pt x="9015" y="6221"/>
                  </a:cubicBezTo>
                  <a:lnTo>
                    <a:pt x="9015" y="6221"/>
                  </a:lnTo>
                  <a:cubicBezTo>
                    <a:pt x="9015" y="6221"/>
                    <a:pt x="9015" y="6983"/>
                    <a:pt x="9015" y="7491"/>
                  </a:cubicBezTo>
                  <a:cubicBezTo>
                    <a:pt x="9015" y="7999"/>
                    <a:pt x="9015" y="8253"/>
                    <a:pt x="9015" y="8507"/>
                  </a:cubicBezTo>
                  <a:cubicBezTo>
                    <a:pt x="8837" y="8977"/>
                    <a:pt x="8583" y="9396"/>
                    <a:pt x="8253" y="9777"/>
                  </a:cubicBezTo>
                  <a:lnTo>
                    <a:pt x="7618" y="10665"/>
                  </a:lnTo>
                  <a:lnTo>
                    <a:pt x="6221" y="11554"/>
                  </a:lnTo>
                  <a:lnTo>
                    <a:pt x="5459" y="11554"/>
                  </a:lnTo>
                  <a:lnTo>
                    <a:pt x="4317" y="11554"/>
                  </a:lnTo>
                  <a:lnTo>
                    <a:pt x="57516" y="11554"/>
                  </a:lnTo>
                  <a:close/>
                </a:path>
              </a:pathLst>
            </a:custGeom>
            <a:solidFill>
              <a:srgbClr val="000000"/>
            </a:solidFill>
            <a:ln w="1269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261F751F-AE64-4D3F-9FC7-DA568974DBE2}"/>
                </a:ext>
              </a:extLst>
            </p:cNvPr>
            <p:cNvSpPr/>
            <p:nvPr/>
          </p:nvSpPr>
          <p:spPr>
            <a:xfrm>
              <a:off x="5211738" y="5852836"/>
              <a:ext cx="2412" cy="273741"/>
            </a:xfrm>
            <a:custGeom>
              <a:avLst/>
              <a:gdLst>
                <a:gd name="connsiteX0" fmla="*/ 1269 w 2412"/>
                <a:gd name="connsiteY0" fmla="*/ 273742 h 273741"/>
                <a:gd name="connsiteX1" fmla="*/ 2412 w 2412"/>
                <a:gd name="connsiteY1" fmla="*/ 273742 h 273741"/>
                <a:gd name="connsiteX2" fmla="*/ 2412 w 2412"/>
                <a:gd name="connsiteY2" fmla="*/ 0 h 273741"/>
                <a:gd name="connsiteX3" fmla="*/ 1269 w 2412"/>
                <a:gd name="connsiteY3" fmla="*/ 0 h 273741"/>
                <a:gd name="connsiteX4" fmla="*/ 0 w 2412"/>
                <a:gd name="connsiteY4" fmla="*/ 0 h 273741"/>
                <a:gd name="connsiteX5" fmla="*/ 0 w 2412"/>
                <a:gd name="connsiteY5" fmla="*/ 273488 h 27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741">
                  <a:moveTo>
                    <a:pt x="1269" y="273742"/>
                  </a:moveTo>
                  <a:lnTo>
                    <a:pt x="2412" y="273742"/>
                  </a:lnTo>
                  <a:lnTo>
                    <a:pt x="2412" y="0"/>
                  </a:lnTo>
                  <a:lnTo>
                    <a:pt x="1269" y="0"/>
                  </a:lnTo>
                  <a:lnTo>
                    <a:pt x="0" y="0"/>
                  </a:lnTo>
                  <a:lnTo>
                    <a:pt x="0" y="273488"/>
                  </a:lnTo>
                  <a:close/>
                </a:path>
              </a:pathLst>
            </a:custGeom>
            <a:solidFill>
              <a:srgbClr val="000000"/>
            </a:solidFill>
            <a:ln w="1269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500BDD9D-3381-4679-BC4F-C40F9DAFEDB1}"/>
                </a:ext>
              </a:extLst>
            </p:cNvPr>
            <p:cNvSpPr/>
            <p:nvPr/>
          </p:nvSpPr>
          <p:spPr>
            <a:xfrm>
              <a:off x="5202977" y="5631262"/>
              <a:ext cx="16759" cy="21727"/>
            </a:xfrm>
            <a:custGeom>
              <a:avLst/>
              <a:gdLst>
                <a:gd name="connsiteX0" fmla="*/ 0 w 16759"/>
                <a:gd name="connsiteY0" fmla="*/ 5729 h 21727"/>
                <a:gd name="connsiteX1" fmla="*/ 1143 w 16759"/>
                <a:gd name="connsiteY1" fmla="*/ 11316 h 21727"/>
                <a:gd name="connsiteX2" fmla="*/ 3047 w 16759"/>
                <a:gd name="connsiteY2" fmla="*/ 21727 h 21727"/>
                <a:gd name="connsiteX3" fmla="*/ 3047 w 16759"/>
                <a:gd name="connsiteY3" fmla="*/ 20965 h 21727"/>
                <a:gd name="connsiteX4" fmla="*/ 5587 w 16759"/>
                <a:gd name="connsiteY4" fmla="*/ 15887 h 21727"/>
                <a:gd name="connsiteX5" fmla="*/ 5587 w 16759"/>
                <a:gd name="connsiteY5" fmla="*/ 4460 h 21727"/>
                <a:gd name="connsiteX6" fmla="*/ 6729 w 16759"/>
                <a:gd name="connsiteY6" fmla="*/ 3190 h 21727"/>
                <a:gd name="connsiteX7" fmla="*/ 7999 w 16759"/>
                <a:gd name="connsiteY7" fmla="*/ 4460 h 21727"/>
                <a:gd name="connsiteX8" fmla="*/ 7999 w 16759"/>
                <a:gd name="connsiteY8" fmla="*/ 14490 h 21727"/>
                <a:gd name="connsiteX9" fmla="*/ 10030 w 16759"/>
                <a:gd name="connsiteY9" fmla="*/ 14490 h 21727"/>
                <a:gd name="connsiteX10" fmla="*/ 16759 w 16759"/>
                <a:gd name="connsiteY10" fmla="*/ 20712 h 21727"/>
                <a:gd name="connsiteX11" fmla="*/ 16759 w 16759"/>
                <a:gd name="connsiteY11" fmla="*/ 20712 h 21727"/>
                <a:gd name="connsiteX12" fmla="*/ 13585 w 16759"/>
                <a:gd name="connsiteY12" fmla="*/ 4079 h 21727"/>
                <a:gd name="connsiteX13" fmla="*/ 13585 w 16759"/>
                <a:gd name="connsiteY13" fmla="*/ 4079 h 21727"/>
                <a:gd name="connsiteX14" fmla="*/ 13585 w 16759"/>
                <a:gd name="connsiteY14" fmla="*/ 2809 h 21727"/>
                <a:gd name="connsiteX15" fmla="*/ 12950 w 16759"/>
                <a:gd name="connsiteY15" fmla="*/ 1793 h 21727"/>
                <a:gd name="connsiteX16" fmla="*/ 11935 w 16759"/>
                <a:gd name="connsiteY16" fmla="*/ 778 h 21727"/>
                <a:gd name="connsiteX17" fmla="*/ 10919 w 16759"/>
                <a:gd name="connsiteY17" fmla="*/ 143 h 21727"/>
                <a:gd name="connsiteX18" fmla="*/ 9649 w 16759"/>
                <a:gd name="connsiteY18" fmla="*/ 143 h 21727"/>
                <a:gd name="connsiteX19" fmla="*/ 8380 w 16759"/>
                <a:gd name="connsiteY19" fmla="*/ 143 h 21727"/>
                <a:gd name="connsiteX20" fmla="*/ 6348 w 16759"/>
                <a:gd name="connsiteY20" fmla="*/ 143 h 21727"/>
                <a:gd name="connsiteX21" fmla="*/ 0 w 16759"/>
                <a:gd name="connsiteY21" fmla="*/ 5729 h 2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759" h="21727">
                  <a:moveTo>
                    <a:pt x="0" y="5729"/>
                  </a:moveTo>
                  <a:lnTo>
                    <a:pt x="1143" y="11316"/>
                  </a:lnTo>
                  <a:lnTo>
                    <a:pt x="3047" y="21727"/>
                  </a:lnTo>
                  <a:lnTo>
                    <a:pt x="3047" y="20965"/>
                  </a:lnTo>
                  <a:cubicBezTo>
                    <a:pt x="3085" y="18976"/>
                    <a:pt x="4012" y="17111"/>
                    <a:pt x="5587" y="15887"/>
                  </a:cubicBezTo>
                  <a:lnTo>
                    <a:pt x="5587" y="4460"/>
                  </a:lnTo>
                  <a:cubicBezTo>
                    <a:pt x="5587" y="3806"/>
                    <a:pt x="6082" y="3256"/>
                    <a:pt x="6729" y="3190"/>
                  </a:cubicBezTo>
                  <a:cubicBezTo>
                    <a:pt x="7427" y="3190"/>
                    <a:pt x="7999" y="3759"/>
                    <a:pt x="7999" y="4460"/>
                  </a:cubicBezTo>
                  <a:lnTo>
                    <a:pt x="7999" y="14490"/>
                  </a:lnTo>
                  <a:cubicBezTo>
                    <a:pt x="8672" y="14419"/>
                    <a:pt x="9357" y="14419"/>
                    <a:pt x="10030" y="14490"/>
                  </a:cubicBezTo>
                  <a:cubicBezTo>
                    <a:pt x="13534" y="14540"/>
                    <a:pt x="16442" y="17222"/>
                    <a:pt x="16759" y="20712"/>
                  </a:cubicBezTo>
                  <a:cubicBezTo>
                    <a:pt x="16759" y="20712"/>
                    <a:pt x="16759" y="20712"/>
                    <a:pt x="16759" y="20712"/>
                  </a:cubicBezTo>
                  <a:lnTo>
                    <a:pt x="13585" y="4079"/>
                  </a:lnTo>
                  <a:lnTo>
                    <a:pt x="13585" y="4079"/>
                  </a:lnTo>
                  <a:cubicBezTo>
                    <a:pt x="13636" y="3657"/>
                    <a:pt x="13636" y="3231"/>
                    <a:pt x="13585" y="2809"/>
                  </a:cubicBezTo>
                  <a:cubicBezTo>
                    <a:pt x="13446" y="2428"/>
                    <a:pt x="13230" y="2082"/>
                    <a:pt x="12950" y="1793"/>
                  </a:cubicBezTo>
                  <a:lnTo>
                    <a:pt x="11935" y="778"/>
                  </a:lnTo>
                  <a:lnTo>
                    <a:pt x="10919" y="143"/>
                  </a:lnTo>
                  <a:lnTo>
                    <a:pt x="9649" y="143"/>
                  </a:lnTo>
                  <a:lnTo>
                    <a:pt x="8380" y="143"/>
                  </a:lnTo>
                  <a:cubicBezTo>
                    <a:pt x="7720" y="-48"/>
                    <a:pt x="7009" y="-48"/>
                    <a:pt x="6348" y="143"/>
                  </a:cubicBezTo>
                  <a:cubicBezTo>
                    <a:pt x="3174" y="276"/>
                    <a:pt x="533" y="2603"/>
                    <a:pt x="0" y="5729"/>
                  </a:cubicBezTo>
                  <a:close/>
                </a:path>
              </a:pathLst>
            </a:custGeom>
            <a:solidFill>
              <a:srgbClr val="000000"/>
            </a:solidFill>
            <a:ln w="1269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6CE4309A-833D-493D-873E-92C97354C54F}"/>
                </a:ext>
              </a:extLst>
            </p:cNvPr>
            <p:cNvSpPr/>
            <p:nvPr/>
          </p:nvSpPr>
          <p:spPr>
            <a:xfrm>
              <a:off x="5208564" y="5633817"/>
              <a:ext cx="2412" cy="12696"/>
            </a:xfrm>
            <a:custGeom>
              <a:avLst/>
              <a:gdLst>
                <a:gd name="connsiteX0" fmla="*/ 2412 w 2412"/>
                <a:gd name="connsiteY0" fmla="*/ 11300 h 12696"/>
                <a:gd name="connsiteX1" fmla="*/ 2412 w 2412"/>
                <a:gd name="connsiteY1" fmla="*/ 1270 h 12696"/>
                <a:gd name="connsiteX2" fmla="*/ 1143 w 2412"/>
                <a:gd name="connsiteY2" fmla="*/ 0 h 12696"/>
                <a:gd name="connsiteX3" fmla="*/ 0 w 2412"/>
                <a:gd name="connsiteY3" fmla="*/ 1270 h 12696"/>
                <a:gd name="connsiteX4" fmla="*/ 0 w 2412"/>
                <a:gd name="connsiteY4" fmla="*/ 12697 h 12696"/>
                <a:gd name="connsiteX5" fmla="*/ 2412 w 2412"/>
                <a:gd name="connsiteY5" fmla="*/ 1130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12696">
                  <a:moveTo>
                    <a:pt x="2412" y="11300"/>
                  </a:moveTo>
                  <a:lnTo>
                    <a:pt x="2412" y="1270"/>
                  </a:lnTo>
                  <a:cubicBezTo>
                    <a:pt x="2412" y="569"/>
                    <a:pt x="1841" y="0"/>
                    <a:pt x="1143" y="0"/>
                  </a:cubicBezTo>
                  <a:cubicBezTo>
                    <a:pt x="495" y="66"/>
                    <a:pt x="0" y="616"/>
                    <a:pt x="0" y="1270"/>
                  </a:cubicBezTo>
                  <a:lnTo>
                    <a:pt x="0" y="12697"/>
                  </a:lnTo>
                  <a:cubicBezTo>
                    <a:pt x="673" y="12039"/>
                    <a:pt x="1511" y="11559"/>
                    <a:pt x="2412" y="11300"/>
                  </a:cubicBezTo>
                  <a:close/>
                </a:path>
              </a:pathLst>
            </a:custGeom>
            <a:solidFill>
              <a:srgbClr val="000000"/>
            </a:solidFill>
            <a:ln w="1269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5FF7FA3-BEF9-4E7E-ACA9-42DE1B8D44C7}"/>
                </a:ext>
              </a:extLst>
            </p:cNvPr>
            <p:cNvSpPr/>
            <p:nvPr/>
          </p:nvSpPr>
          <p:spPr>
            <a:xfrm>
              <a:off x="8184923" y="6511925"/>
              <a:ext cx="1099" cy="987"/>
            </a:xfrm>
            <a:custGeom>
              <a:avLst/>
              <a:gdLst>
                <a:gd name="connsiteX0" fmla="*/ 0 w 1099"/>
                <a:gd name="connsiteY0" fmla="*/ 0 h 987"/>
                <a:gd name="connsiteX1" fmla="*/ 1015 w 1099"/>
                <a:gd name="connsiteY1" fmla="*/ 762 h 987"/>
                <a:gd name="connsiteX2" fmla="*/ 0 w 1099"/>
                <a:gd name="connsiteY2" fmla="*/ 0 h 987"/>
              </a:gdLst>
              <a:ahLst/>
              <a:cxnLst>
                <a:cxn ang="0">
                  <a:pos x="connsiteX0" y="connsiteY0"/>
                </a:cxn>
                <a:cxn ang="0">
                  <a:pos x="connsiteX1" y="connsiteY1"/>
                </a:cxn>
                <a:cxn ang="0">
                  <a:pos x="connsiteX2" y="connsiteY2"/>
                </a:cxn>
              </a:cxnLst>
              <a:rect l="l" t="t" r="r" b="b"/>
              <a:pathLst>
                <a:path w="1099" h="987">
                  <a:moveTo>
                    <a:pt x="0" y="0"/>
                  </a:moveTo>
                  <a:cubicBezTo>
                    <a:pt x="0" y="0"/>
                    <a:pt x="635" y="0"/>
                    <a:pt x="1015" y="762"/>
                  </a:cubicBezTo>
                  <a:cubicBezTo>
                    <a:pt x="1396" y="1524"/>
                    <a:pt x="380" y="127"/>
                    <a:pt x="0" y="0"/>
                  </a:cubicBezTo>
                  <a:close/>
                </a:path>
              </a:pathLst>
            </a:custGeom>
            <a:solidFill>
              <a:srgbClr val="000000"/>
            </a:solidFill>
            <a:ln w="1269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5BAE7CA7-ECD1-4ACA-BF11-048453AEE2F0}"/>
                </a:ext>
              </a:extLst>
            </p:cNvPr>
            <p:cNvSpPr/>
            <p:nvPr/>
          </p:nvSpPr>
          <p:spPr>
            <a:xfrm>
              <a:off x="8187081" y="6513067"/>
              <a:ext cx="19" cy="1015"/>
            </a:xfrm>
            <a:custGeom>
              <a:avLst/>
              <a:gdLst>
                <a:gd name="connsiteX0" fmla="*/ 0 w 19"/>
                <a:gd name="connsiteY0" fmla="*/ 0 h 1015"/>
                <a:gd name="connsiteX1" fmla="*/ 0 w 19"/>
                <a:gd name="connsiteY1" fmla="*/ 1016 h 1015"/>
                <a:gd name="connsiteX2" fmla="*/ 0 w 19"/>
                <a:gd name="connsiteY2" fmla="*/ 0 h 1015"/>
              </a:gdLst>
              <a:ahLst/>
              <a:cxnLst>
                <a:cxn ang="0">
                  <a:pos x="connsiteX0" y="connsiteY0"/>
                </a:cxn>
                <a:cxn ang="0">
                  <a:pos x="connsiteX1" y="connsiteY1"/>
                </a:cxn>
                <a:cxn ang="0">
                  <a:pos x="connsiteX2" y="connsiteY2"/>
                </a:cxn>
              </a:cxnLst>
              <a:rect l="l" t="t" r="r" b="b"/>
              <a:pathLst>
                <a:path w="19" h="1015">
                  <a:moveTo>
                    <a:pt x="0" y="0"/>
                  </a:moveTo>
                  <a:cubicBezTo>
                    <a:pt x="26" y="343"/>
                    <a:pt x="26" y="673"/>
                    <a:pt x="0" y="1016"/>
                  </a:cubicBezTo>
                  <a:cubicBezTo>
                    <a:pt x="26" y="673"/>
                    <a:pt x="26" y="343"/>
                    <a:pt x="0" y="0"/>
                  </a:cubicBezTo>
                  <a:close/>
                </a:path>
              </a:pathLst>
            </a:custGeom>
            <a:solidFill>
              <a:srgbClr val="000000"/>
            </a:solidFill>
            <a:ln w="1269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68429973-83DA-4A71-AEDC-9AA72B59E935}"/>
                </a:ext>
              </a:extLst>
            </p:cNvPr>
            <p:cNvSpPr/>
            <p:nvPr/>
          </p:nvSpPr>
          <p:spPr>
            <a:xfrm>
              <a:off x="8188477" y="6515607"/>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5"/>
                    <a:pt x="127" y="381"/>
                    <a:pt x="0" y="0"/>
                  </a:cubicBezTo>
                  <a:close/>
                </a:path>
              </a:pathLst>
            </a:custGeom>
            <a:solidFill>
              <a:srgbClr val="000000"/>
            </a:solidFill>
            <a:ln w="1269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2B8C3639-31D3-4C2D-B7F7-C123FB87418F}"/>
                </a:ext>
              </a:extLst>
            </p:cNvPr>
            <p:cNvSpPr/>
            <p:nvPr/>
          </p:nvSpPr>
          <p:spPr>
            <a:xfrm>
              <a:off x="8121693" y="6508877"/>
              <a:ext cx="62087" cy="15870"/>
            </a:xfrm>
            <a:custGeom>
              <a:avLst/>
              <a:gdLst>
                <a:gd name="connsiteX0" fmla="*/ 6857 w 62087"/>
                <a:gd name="connsiteY0" fmla="*/ 6983 h 15870"/>
                <a:gd name="connsiteX1" fmla="*/ 0 w 62087"/>
                <a:gd name="connsiteY1" fmla="*/ 13839 h 15870"/>
                <a:gd name="connsiteX2" fmla="*/ 0 w 62087"/>
                <a:gd name="connsiteY2" fmla="*/ 13839 h 15870"/>
                <a:gd name="connsiteX3" fmla="*/ 53708 w 62087"/>
                <a:gd name="connsiteY3" fmla="*/ 15871 h 15870"/>
                <a:gd name="connsiteX4" fmla="*/ 53708 w 62087"/>
                <a:gd name="connsiteY4" fmla="*/ 9269 h 15870"/>
                <a:gd name="connsiteX5" fmla="*/ 60691 w 62087"/>
                <a:gd name="connsiteY5" fmla="*/ 2412 h 15870"/>
                <a:gd name="connsiteX6" fmla="*/ 62087 w 62087"/>
                <a:gd name="connsiteY6" fmla="*/ 2412 h 15870"/>
                <a:gd name="connsiteX7" fmla="*/ 60944 w 62087"/>
                <a:gd name="connsiteY7" fmla="*/ 2412 h 15870"/>
                <a:gd name="connsiteX8" fmla="*/ 508 w 62087"/>
                <a:gd name="connsiteY8" fmla="*/ 0 h 15870"/>
                <a:gd name="connsiteX9" fmla="*/ 508 w 62087"/>
                <a:gd name="connsiteY9" fmla="*/ 0 h 15870"/>
                <a:gd name="connsiteX10" fmla="*/ 6857 w 62087"/>
                <a:gd name="connsiteY10" fmla="*/ 6983 h 1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87" h="15870">
                  <a:moveTo>
                    <a:pt x="6857" y="6983"/>
                  </a:moveTo>
                  <a:cubicBezTo>
                    <a:pt x="6857" y="10767"/>
                    <a:pt x="3784" y="13839"/>
                    <a:pt x="0" y="13839"/>
                  </a:cubicBezTo>
                  <a:lnTo>
                    <a:pt x="0" y="13839"/>
                  </a:lnTo>
                  <a:lnTo>
                    <a:pt x="53708" y="15871"/>
                  </a:lnTo>
                  <a:lnTo>
                    <a:pt x="53708" y="9269"/>
                  </a:lnTo>
                  <a:cubicBezTo>
                    <a:pt x="53771" y="5460"/>
                    <a:pt x="56882" y="2412"/>
                    <a:pt x="60691" y="2412"/>
                  </a:cubicBezTo>
                  <a:lnTo>
                    <a:pt x="62087" y="2412"/>
                  </a:lnTo>
                  <a:lnTo>
                    <a:pt x="60944" y="2412"/>
                  </a:lnTo>
                  <a:lnTo>
                    <a:pt x="508" y="0"/>
                  </a:lnTo>
                  <a:lnTo>
                    <a:pt x="508" y="0"/>
                  </a:lnTo>
                  <a:cubicBezTo>
                    <a:pt x="4139" y="267"/>
                    <a:pt x="6933" y="3339"/>
                    <a:pt x="6857" y="6983"/>
                  </a:cubicBezTo>
                  <a:close/>
                </a:path>
              </a:pathLst>
            </a:custGeom>
            <a:solidFill>
              <a:srgbClr val="000000"/>
            </a:solidFill>
            <a:ln w="1269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421A0CD4-CFE4-46CF-8A61-21946E2C845E}"/>
                </a:ext>
              </a:extLst>
            </p:cNvPr>
            <p:cNvSpPr/>
            <p:nvPr/>
          </p:nvSpPr>
          <p:spPr>
            <a:xfrm>
              <a:off x="8039926" y="5953649"/>
              <a:ext cx="13839" cy="555228"/>
            </a:xfrm>
            <a:custGeom>
              <a:avLst/>
              <a:gdLst>
                <a:gd name="connsiteX0" fmla="*/ 6730 w 13839"/>
                <a:gd name="connsiteY0" fmla="*/ 6983 h 555228"/>
                <a:gd name="connsiteX1" fmla="*/ 0 w 13839"/>
                <a:gd name="connsiteY1" fmla="*/ 1270 h 555228"/>
                <a:gd name="connsiteX2" fmla="*/ 0 w 13839"/>
                <a:gd name="connsiteY2" fmla="*/ 1270 h 555228"/>
                <a:gd name="connsiteX3" fmla="*/ 0 w 13839"/>
                <a:gd name="connsiteY3" fmla="*/ 555229 h 555228"/>
                <a:gd name="connsiteX4" fmla="*/ 13840 w 13839"/>
                <a:gd name="connsiteY4" fmla="*/ 555229 h 555228"/>
                <a:gd name="connsiteX5" fmla="*/ 13840 w 13839"/>
                <a:gd name="connsiteY5" fmla="*/ 0 h 555228"/>
                <a:gd name="connsiteX6" fmla="*/ 6857 w 13839"/>
                <a:gd name="connsiteY6" fmla="*/ 6984 h 555228"/>
                <a:gd name="connsiteX7" fmla="*/ 6730 w 13839"/>
                <a:gd name="connsiteY7" fmla="*/ 6983 h 55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555228">
                  <a:moveTo>
                    <a:pt x="6730" y="6983"/>
                  </a:moveTo>
                  <a:cubicBezTo>
                    <a:pt x="3416" y="6917"/>
                    <a:pt x="597" y="4530"/>
                    <a:pt x="0" y="1270"/>
                  </a:cubicBezTo>
                  <a:lnTo>
                    <a:pt x="0" y="1270"/>
                  </a:lnTo>
                  <a:lnTo>
                    <a:pt x="0" y="555229"/>
                  </a:lnTo>
                  <a:lnTo>
                    <a:pt x="13840" y="555229"/>
                  </a:lnTo>
                  <a:lnTo>
                    <a:pt x="13840" y="0"/>
                  </a:lnTo>
                  <a:cubicBezTo>
                    <a:pt x="13840" y="3857"/>
                    <a:pt x="10716" y="6983"/>
                    <a:pt x="6857" y="6984"/>
                  </a:cubicBezTo>
                  <a:cubicBezTo>
                    <a:pt x="6819" y="6984"/>
                    <a:pt x="6768" y="6984"/>
                    <a:pt x="6730" y="6983"/>
                  </a:cubicBezTo>
                  <a:close/>
                </a:path>
              </a:pathLst>
            </a:custGeom>
            <a:solidFill>
              <a:srgbClr val="000000"/>
            </a:solidFill>
            <a:ln w="1269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3C8A81E7-0E45-491D-B90B-FE6EB6CD67ED}"/>
                </a:ext>
              </a:extLst>
            </p:cNvPr>
            <p:cNvSpPr/>
            <p:nvPr/>
          </p:nvSpPr>
          <p:spPr>
            <a:xfrm>
              <a:off x="5524076" y="5668860"/>
              <a:ext cx="635" cy="1269"/>
            </a:xfrm>
            <a:custGeom>
              <a:avLst/>
              <a:gdLst>
                <a:gd name="connsiteX0" fmla="*/ 0 w 635"/>
                <a:gd name="connsiteY0" fmla="*/ 1270 h 1269"/>
                <a:gd name="connsiteX1" fmla="*/ 635 w 635"/>
                <a:gd name="connsiteY1" fmla="*/ 0 h 1269"/>
                <a:gd name="connsiteX2" fmla="*/ 0 w 635"/>
                <a:gd name="connsiteY2" fmla="*/ 1270 h 1269"/>
              </a:gdLst>
              <a:ahLst/>
              <a:cxnLst>
                <a:cxn ang="0">
                  <a:pos x="connsiteX0" y="connsiteY0"/>
                </a:cxn>
                <a:cxn ang="0">
                  <a:pos x="connsiteX1" y="connsiteY1"/>
                </a:cxn>
                <a:cxn ang="0">
                  <a:pos x="connsiteX2" y="connsiteY2"/>
                </a:cxn>
              </a:cxnLst>
              <a:rect l="l" t="t" r="r" b="b"/>
              <a:pathLst>
                <a:path w="635" h="1269">
                  <a:moveTo>
                    <a:pt x="0" y="1270"/>
                  </a:moveTo>
                  <a:cubicBezTo>
                    <a:pt x="127" y="811"/>
                    <a:pt x="343" y="381"/>
                    <a:pt x="635" y="0"/>
                  </a:cubicBezTo>
                  <a:cubicBezTo>
                    <a:pt x="343" y="381"/>
                    <a:pt x="127" y="811"/>
                    <a:pt x="0" y="1270"/>
                  </a:cubicBezTo>
                  <a:close/>
                </a:path>
              </a:pathLst>
            </a:custGeom>
            <a:solidFill>
              <a:srgbClr val="000000"/>
            </a:solidFill>
            <a:ln w="1269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A54B0C1D-9A74-48DE-B7ED-10098278D06A}"/>
                </a:ext>
              </a:extLst>
            </p:cNvPr>
            <p:cNvSpPr/>
            <p:nvPr/>
          </p:nvSpPr>
          <p:spPr>
            <a:xfrm>
              <a:off x="5525346" y="5666956"/>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A3BD4B53-8685-4536-A993-529FC86A661D}"/>
                </a:ext>
              </a:extLst>
            </p:cNvPr>
            <p:cNvSpPr/>
            <p:nvPr/>
          </p:nvSpPr>
          <p:spPr>
            <a:xfrm>
              <a:off x="5532075" y="5665305"/>
              <a:ext cx="183467" cy="13839"/>
            </a:xfrm>
            <a:custGeom>
              <a:avLst/>
              <a:gdLst>
                <a:gd name="connsiteX0" fmla="*/ 5206 w 183467"/>
                <a:gd name="connsiteY0" fmla="*/ 8507 h 13839"/>
                <a:gd name="connsiteX1" fmla="*/ 3936 w 183467"/>
                <a:gd name="connsiteY1" fmla="*/ 13839 h 13839"/>
                <a:gd name="connsiteX2" fmla="*/ 176611 w 183467"/>
                <a:gd name="connsiteY2" fmla="*/ 13839 h 13839"/>
                <a:gd name="connsiteX3" fmla="*/ 176611 w 183467"/>
                <a:gd name="connsiteY3" fmla="*/ 6856 h 13839"/>
                <a:gd name="connsiteX4" fmla="*/ 183467 w 183467"/>
                <a:gd name="connsiteY4" fmla="*/ 0 h 13839"/>
                <a:gd name="connsiteX5" fmla="*/ 0 w 183467"/>
                <a:gd name="connsiteY5" fmla="*/ 0 h 13839"/>
                <a:gd name="connsiteX6" fmla="*/ 5295 w 183467"/>
                <a:gd name="connsiteY6" fmla="*/ 8121 h 13839"/>
                <a:gd name="connsiteX7" fmla="*/ 5206 w 183467"/>
                <a:gd name="connsiteY7" fmla="*/ 8507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67" h="13839">
                  <a:moveTo>
                    <a:pt x="5206" y="8507"/>
                  </a:moveTo>
                  <a:lnTo>
                    <a:pt x="3936" y="13839"/>
                  </a:lnTo>
                  <a:lnTo>
                    <a:pt x="176611" y="13839"/>
                  </a:lnTo>
                  <a:lnTo>
                    <a:pt x="176611" y="6856"/>
                  </a:lnTo>
                  <a:cubicBezTo>
                    <a:pt x="176611" y="3070"/>
                    <a:pt x="179684" y="0"/>
                    <a:pt x="183467" y="0"/>
                  </a:cubicBezTo>
                  <a:lnTo>
                    <a:pt x="0" y="0"/>
                  </a:lnTo>
                  <a:cubicBezTo>
                    <a:pt x="3708" y="780"/>
                    <a:pt x="6082" y="4415"/>
                    <a:pt x="5295" y="8121"/>
                  </a:cubicBezTo>
                  <a:cubicBezTo>
                    <a:pt x="5269" y="8250"/>
                    <a:pt x="5244" y="8379"/>
                    <a:pt x="5206" y="8507"/>
                  </a:cubicBezTo>
                  <a:close/>
                </a:path>
              </a:pathLst>
            </a:custGeom>
            <a:solidFill>
              <a:srgbClr val="000000"/>
            </a:solidFill>
            <a:ln w="1269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8016EDE2-38D8-4F6A-B182-D9FFC8A64BE7}"/>
                </a:ext>
              </a:extLst>
            </p:cNvPr>
            <p:cNvSpPr/>
            <p:nvPr/>
          </p:nvSpPr>
          <p:spPr>
            <a:xfrm>
              <a:off x="5527378" y="5666194"/>
              <a:ext cx="1269" cy="12696"/>
            </a:xfrm>
            <a:custGeom>
              <a:avLst/>
              <a:gdLst>
                <a:gd name="connsiteX0" fmla="*/ 0 w 1269"/>
                <a:gd name="connsiteY0" fmla="*/ 0 h 12696"/>
                <a:gd name="connsiteX1" fmla="*/ 1270 w 1269"/>
                <a:gd name="connsiteY1" fmla="*/ 0 h 12696"/>
              </a:gdLst>
              <a:ahLst/>
              <a:cxnLst>
                <a:cxn ang="0">
                  <a:pos x="connsiteX0" y="connsiteY0"/>
                </a:cxn>
                <a:cxn ang="0">
                  <a:pos x="connsiteX1" y="connsiteY1"/>
                </a:cxn>
              </a:cxnLst>
              <a:rect l="l" t="t" r="r" b="b"/>
              <a:pathLst>
                <a:path w="1269" h="12696">
                  <a:moveTo>
                    <a:pt x="0" y="0"/>
                  </a:moveTo>
                  <a:lnTo>
                    <a:pt x="1270" y="0"/>
                  </a:lnTo>
                  <a:close/>
                </a:path>
              </a:pathLst>
            </a:custGeom>
            <a:solidFill>
              <a:srgbClr val="000000"/>
            </a:solidFill>
            <a:ln w="1269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71024B1C-C14F-4993-AE42-E0C7169680F2}"/>
                </a:ext>
              </a:extLst>
            </p:cNvPr>
            <p:cNvSpPr/>
            <p:nvPr/>
          </p:nvSpPr>
          <p:spPr>
            <a:xfrm>
              <a:off x="5521791" y="5665813"/>
              <a:ext cx="15065" cy="13712"/>
            </a:xfrm>
            <a:custGeom>
              <a:avLst/>
              <a:gdLst>
                <a:gd name="connsiteX0" fmla="*/ 7110 w 15065"/>
                <a:gd name="connsiteY0" fmla="*/ 6602 h 13712"/>
                <a:gd name="connsiteX1" fmla="*/ 7110 w 15065"/>
                <a:gd name="connsiteY1" fmla="*/ 6602 h 13712"/>
                <a:gd name="connsiteX2" fmla="*/ 7110 w 15065"/>
                <a:gd name="connsiteY2" fmla="*/ 6602 h 13712"/>
                <a:gd name="connsiteX3" fmla="*/ 8253 w 15065"/>
                <a:gd name="connsiteY3" fmla="*/ 5460 h 13712"/>
                <a:gd name="connsiteX4" fmla="*/ 9510 w 15065"/>
                <a:gd name="connsiteY4" fmla="*/ 6468 h 13712"/>
                <a:gd name="connsiteX5" fmla="*/ 9523 w 15065"/>
                <a:gd name="connsiteY5" fmla="*/ 6602 h 13712"/>
                <a:gd name="connsiteX6" fmla="*/ 9523 w 15065"/>
                <a:gd name="connsiteY6" fmla="*/ 7491 h 13712"/>
                <a:gd name="connsiteX7" fmla="*/ 13586 w 15065"/>
                <a:gd name="connsiteY7" fmla="*/ 13713 h 13712"/>
                <a:gd name="connsiteX8" fmla="*/ 13586 w 15065"/>
                <a:gd name="connsiteY8" fmla="*/ 13713 h 13712"/>
                <a:gd name="connsiteX9" fmla="*/ 14855 w 15065"/>
                <a:gd name="connsiteY9" fmla="*/ 8380 h 13712"/>
                <a:gd name="connsiteX10" fmla="*/ 9878 w 15065"/>
                <a:gd name="connsiteY10" fmla="*/ 55 h 13712"/>
                <a:gd name="connsiteX11" fmla="*/ 9650 w 15065"/>
                <a:gd name="connsiteY11" fmla="*/ 0 h 13712"/>
                <a:gd name="connsiteX12" fmla="*/ 7618 w 15065"/>
                <a:gd name="connsiteY12" fmla="*/ 0 h 13712"/>
                <a:gd name="connsiteX13" fmla="*/ 6222 w 15065"/>
                <a:gd name="connsiteY13" fmla="*/ 0 h 13712"/>
                <a:gd name="connsiteX14" fmla="*/ 4952 w 15065"/>
                <a:gd name="connsiteY14" fmla="*/ 0 h 13712"/>
                <a:gd name="connsiteX15" fmla="*/ 3936 w 15065"/>
                <a:gd name="connsiteY15" fmla="*/ 762 h 13712"/>
                <a:gd name="connsiteX16" fmla="*/ 2920 w 15065"/>
                <a:gd name="connsiteY16" fmla="*/ 1524 h 13712"/>
                <a:gd name="connsiteX17" fmla="*/ 2285 w 15065"/>
                <a:gd name="connsiteY17" fmla="*/ 2666 h 13712"/>
                <a:gd name="connsiteX18" fmla="*/ 1651 w 15065"/>
                <a:gd name="connsiteY18" fmla="*/ 3936 h 13712"/>
                <a:gd name="connsiteX19" fmla="*/ 0 w 15065"/>
                <a:gd name="connsiteY19" fmla="*/ 11046 h 13712"/>
                <a:gd name="connsiteX20" fmla="*/ 0 w 15065"/>
                <a:gd name="connsiteY20" fmla="*/ 11808 h 13712"/>
                <a:gd name="connsiteX21" fmla="*/ 7110 w 15065"/>
                <a:gd name="connsiteY21" fmla="*/ 6602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065" h="13712">
                  <a:moveTo>
                    <a:pt x="7110" y="6602"/>
                  </a:moveTo>
                  <a:lnTo>
                    <a:pt x="7110" y="6602"/>
                  </a:lnTo>
                  <a:lnTo>
                    <a:pt x="7110" y="6602"/>
                  </a:lnTo>
                  <a:cubicBezTo>
                    <a:pt x="7110" y="5971"/>
                    <a:pt x="7618" y="5460"/>
                    <a:pt x="8253" y="5460"/>
                  </a:cubicBezTo>
                  <a:cubicBezTo>
                    <a:pt x="8875" y="5390"/>
                    <a:pt x="9447" y="5841"/>
                    <a:pt x="9510" y="6468"/>
                  </a:cubicBezTo>
                  <a:cubicBezTo>
                    <a:pt x="9523" y="6513"/>
                    <a:pt x="9523" y="6558"/>
                    <a:pt x="9523" y="6602"/>
                  </a:cubicBezTo>
                  <a:lnTo>
                    <a:pt x="9523" y="7491"/>
                  </a:lnTo>
                  <a:cubicBezTo>
                    <a:pt x="11960" y="8612"/>
                    <a:pt x="13535" y="11031"/>
                    <a:pt x="13586" y="13713"/>
                  </a:cubicBezTo>
                  <a:lnTo>
                    <a:pt x="13586" y="13713"/>
                  </a:lnTo>
                  <a:lnTo>
                    <a:pt x="14855" y="8380"/>
                  </a:lnTo>
                  <a:cubicBezTo>
                    <a:pt x="15782" y="4708"/>
                    <a:pt x="13560" y="981"/>
                    <a:pt x="9878" y="55"/>
                  </a:cubicBezTo>
                  <a:cubicBezTo>
                    <a:pt x="9802" y="36"/>
                    <a:pt x="9726" y="17"/>
                    <a:pt x="9650" y="0"/>
                  </a:cubicBezTo>
                  <a:lnTo>
                    <a:pt x="7618" y="0"/>
                  </a:lnTo>
                  <a:lnTo>
                    <a:pt x="6222" y="0"/>
                  </a:lnTo>
                  <a:lnTo>
                    <a:pt x="4952" y="0"/>
                  </a:lnTo>
                  <a:cubicBezTo>
                    <a:pt x="4558" y="169"/>
                    <a:pt x="4203" y="429"/>
                    <a:pt x="3936" y="762"/>
                  </a:cubicBezTo>
                  <a:lnTo>
                    <a:pt x="2920" y="1524"/>
                  </a:lnTo>
                  <a:cubicBezTo>
                    <a:pt x="2666" y="1877"/>
                    <a:pt x="2450" y="2260"/>
                    <a:pt x="2285" y="2666"/>
                  </a:cubicBezTo>
                  <a:cubicBezTo>
                    <a:pt x="1994" y="3047"/>
                    <a:pt x="1778" y="3478"/>
                    <a:pt x="1651" y="3936"/>
                  </a:cubicBezTo>
                  <a:lnTo>
                    <a:pt x="0" y="11046"/>
                  </a:lnTo>
                  <a:lnTo>
                    <a:pt x="0" y="11808"/>
                  </a:lnTo>
                  <a:cubicBezTo>
                    <a:pt x="749" y="8546"/>
                    <a:pt x="3771" y="6328"/>
                    <a:pt x="7110" y="6602"/>
                  </a:cubicBezTo>
                  <a:close/>
                </a:path>
              </a:pathLst>
            </a:custGeom>
            <a:solidFill>
              <a:srgbClr val="000000"/>
            </a:solidFill>
            <a:ln w="1269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1D7FF1B6-80E5-4561-B7AC-9C9EC18F9AF9}"/>
                </a:ext>
              </a:extLst>
            </p:cNvPr>
            <p:cNvSpPr/>
            <p:nvPr/>
          </p:nvSpPr>
          <p:spPr>
            <a:xfrm>
              <a:off x="5013035" y="5644737"/>
              <a:ext cx="151217" cy="13839"/>
            </a:xfrm>
            <a:custGeom>
              <a:avLst/>
              <a:gdLst>
                <a:gd name="connsiteX0" fmla="*/ 6856 w 151217"/>
                <a:gd name="connsiteY0" fmla="*/ 6856 h 13839"/>
                <a:gd name="connsiteX1" fmla="*/ 6856 w 151217"/>
                <a:gd name="connsiteY1" fmla="*/ 13839 h 13839"/>
                <a:gd name="connsiteX2" fmla="*/ 151218 w 151217"/>
                <a:gd name="connsiteY2" fmla="*/ 13839 h 13839"/>
                <a:gd name="connsiteX3" fmla="*/ 151218 w 151217"/>
                <a:gd name="connsiteY3" fmla="*/ 0 h 13839"/>
                <a:gd name="connsiteX4" fmla="*/ 0 w 151217"/>
                <a:gd name="connsiteY4" fmla="*/ 0 h 13839"/>
                <a:gd name="connsiteX5" fmla="*/ 6856 w 151217"/>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217" h="13839">
                  <a:moveTo>
                    <a:pt x="6856" y="6856"/>
                  </a:moveTo>
                  <a:lnTo>
                    <a:pt x="6856" y="13839"/>
                  </a:lnTo>
                  <a:lnTo>
                    <a:pt x="151218" y="13839"/>
                  </a:lnTo>
                  <a:lnTo>
                    <a:pt x="151218" y="0"/>
                  </a:lnTo>
                  <a:lnTo>
                    <a:pt x="0" y="0"/>
                  </a:lnTo>
                  <a:cubicBezTo>
                    <a:pt x="3784" y="0"/>
                    <a:pt x="6856" y="3070"/>
                    <a:pt x="6856" y="6856"/>
                  </a:cubicBezTo>
                  <a:close/>
                </a:path>
              </a:pathLst>
            </a:custGeom>
            <a:solidFill>
              <a:srgbClr val="000000"/>
            </a:solidFill>
            <a:ln w="1269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B7C622D0-D724-4E50-A101-EC33C0AD55BE}"/>
                </a:ext>
              </a:extLst>
            </p:cNvPr>
            <p:cNvSpPr/>
            <p:nvPr/>
          </p:nvSpPr>
          <p:spPr>
            <a:xfrm>
              <a:off x="5522680" y="5672542"/>
              <a:ext cx="6729" cy="167597"/>
            </a:xfrm>
            <a:custGeom>
              <a:avLst/>
              <a:gdLst>
                <a:gd name="connsiteX0" fmla="*/ 5967 w 6729"/>
                <a:gd name="connsiteY0" fmla="*/ 151853 h 167597"/>
                <a:gd name="connsiteX1" fmla="*/ 5967 w 6729"/>
                <a:gd name="connsiteY1" fmla="*/ 151853 h 167597"/>
                <a:gd name="connsiteX2" fmla="*/ 6729 w 6729"/>
                <a:gd name="connsiteY2" fmla="*/ 149695 h 167597"/>
                <a:gd name="connsiteX3" fmla="*/ 6729 w 6729"/>
                <a:gd name="connsiteY3" fmla="*/ 0 h 167597"/>
                <a:gd name="connsiteX4" fmla="*/ 6729 w 6729"/>
                <a:gd name="connsiteY4" fmla="*/ 0 h 167597"/>
                <a:gd name="connsiteX5" fmla="*/ 0 w 6729"/>
                <a:gd name="connsiteY5" fmla="*/ 6094 h 167597"/>
                <a:gd name="connsiteX6" fmla="*/ 0 w 6729"/>
                <a:gd name="connsiteY6" fmla="*/ 6856 h 167597"/>
                <a:gd name="connsiteX7" fmla="*/ 0 w 6729"/>
                <a:gd name="connsiteY7" fmla="*/ 167597 h 167597"/>
                <a:gd name="connsiteX8" fmla="*/ 2159 w 6729"/>
                <a:gd name="connsiteY8" fmla="*/ 167597 h 16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9" h="167597">
                  <a:moveTo>
                    <a:pt x="5967" y="151853"/>
                  </a:moveTo>
                  <a:lnTo>
                    <a:pt x="5967" y="151853"/>
                  </a:lnTo>
                  <a:lnTo>
                    <a:pt x="6729" y="149695"/>
                  </a:lnTo>
                  <a:lnTo>
                    <a:pt x="6729" y="0"/>
                  </a:lnTo>
                  <a:lnTo>
                    <a:pt x="6729" y="0"/>
                  </a:lnTo>
                  <a:cubicBezTo>
                    <a:pt x="3251" y="-15"/>
                    <a:pt x="330" y="2628"/>
                    <a:pt x="0" y="6094"/>
                  </a:cubicBezTo>
                  <a:cubicBezTo>
                    <a:pt x="0" y="6094"/>
                    <a:pt x="0" y="6094"/>
                    <a:pt x="0" y="6856"/>
                  </a:cubicBezTo>
                  <a:lnTo>
                    <a:pt x="0" y="167597"/>
                  </a:lnTo>
                  <a:lnTo>
                    <a:pt x="2159" y="167597"/>
                  </a:lnTo>
                  <a:close/>
                </a:path>
              </a:pathLst>
            </a:custGeom>
            <a:solidFill>
              <a:srgbClr val="000000"/>
            </a:solidFill>
            <a:ln w="1269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C6593BB5-E270-456C-BD06-18A6BADAF4AA}"/>
                </a:ext>
              </a:extLst>
            </p:cNvPr>
            <p:cNvSpPr/>
            <p:nvPr/>
          </p:nvSpPr>
          <p:spPr>
            <a:xfrm>
              <a:off x="5531568" y="5673050"/>
              <a:ext cx="4062" cy="141695"/>
            </a:xfrm>
            <a:custGeom>
              <a:avLst/>
              <a:gdLst>
                <a:gd name="connsiteX0" fmla="*/ 254 w 4062"/>
                <a:gd name="connsiteY0" fmla="*/ 141696 h 141695"/>
                <a:gd name="connsiteX1" fmla="*/ 888 w 4062"/>
                <a:gd name="connsiteY1" fmla="*/ 139283 h 141695"/>
                <a:gd name="connsiteX2" fmla="*/ 888 w 4062"/>
                <a:gd name="connsiteY2" fmla="*/ 139283 h 141695"/>
                <a:gd name="connsiteX3" fmla="*/ 1524 w 4062"/>
                <a:gd name="connsiteY3" fmla="*/ 138014 h 141695"/>
                <a:gd name="connsiteX4" fmla="*/ 2285 w 4062"/>
                <a:gd name="connsiteY4" fmla="*/ 136998 h 141695"/>
                <a:gd name="connsiteX5" fmla="*/ 3174 w 4062"/>
                <a:gd name="connsiteY5" fmla="*/ 136236 h 141695"/>
                <a:gd name="connsiteX6" fmla="*/ 4063 w 4062"/>
                <a:gd name="connsiteY6" fmla="*/ 136236 h 141695"/>
                <a:gd name="connsiteX7" fmla="*/ 4063 w 4062"/>
                <a:gd name="connsiteY7" fmla="*/ 6221 h 141695"/>
                <a:gd name="connsiteX8" fmla="*/ 0 w 4062"/>
                <a:gd name="connsiteY8" fmla="*/ 0 h 14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2" h="141695">
                  <a:moveTo>
                    <a:pt x="254" y="141696"/>
                  </a:moveTo>
                  <a:lnTo>
                    <a:pt x="888" y="139283"/>
                  </a:lnTo>
                  <a:lnTo>
                    <a:pt x="888" y="139283"/>
                  </a:lnTo>
                  <a:cubicBezTo>
                    <a:pt x="1079" y="138848"/>
                    <a:pt x="1282" y="138424"/>
                    <a:pt x="1524" y="138014"/>
                  </a:cubicBezTo>
                  <a:cubicBezTo>
                    <a:pt x="1524" y="138014"/>
                    <a:pt x="1524" y="138014"/>
                    <a:pt x="2285" y="136998"/>
                  </a:cubicBezTo>
                  <a:lnTo>
                    <a:pt x="3174" y="136236"/>
                  </a:lnTo>
                  <a:cubicBezTo>
                    <a:pt x="3174" y="136236"/>
                    <a:pt x="3174" y="136236"/>
                    <a:pt x="4063" y="136236"/>
                  </a:cubicBezTo>
                  <a:lnTo>
                    <a:pt x="4063" y="6221"/>
                  </a:lnTo>
                  <a:cubicBezTo>
                    <a:pt x="4012" y="3540"/>
                    <a:pt x="2438" y="1121"/>
                    <a:pt x="0" y="0"/>
                  </a:cubicBezTo>
                  <a:close/>
                </a:path>
              </a:pathLst>
            </a:custGeom>
            <a:solidFill>
              <a:srgbClr val="000000"/>
            </a:solidFill>
            <a:ln w="1269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0F4F682-E384-464E-8F0F-2D10B1EED6AA}"/>
                </a:ext>
              </a:extLst>
            </p:cNvPr>
            <p:cNvSpPr/>
            <p:nvPr/>
          </p:nvSpPr>
          <p:spPr>
            <a:xfrm>
              <a:off x="5205644" y="5835315"/>
              <a:ext cx="2539" cy="11046"/>
            </a:xfrm>
            <a:custGeom>
              <a:avLst/>
              <a:gdLst>
                <a:gd name="connsiteX0" fmla="*/ 0 w 2539"/>
                <a:gd name="connsiteY0" fmla="*/ 0 h 11046"/>
                <a:gd name="connsiteX1" fmla="*/ 0 w 2539"/>
                <a:gd name="connsiteY1" fmla="*/ 11046 h 11046"/>
                <a:gd name="connsiteX2" fmla="*/ 2539 w 2539"/>
                <a:gd name="connsiteY2" fmla="*/ 5967 h 11046"/>
                <a:gd name="connsiteX3" fmla="*/ 2539 w 2539"/>
                <a:gd name="connsiteY3" fmla="*/ 0 h 11046"/>
              </a:gdLst>
              <a:ahLst/>
              <a:cxnLst>
                <a:cxn ang="0">
                  <a:pos x="connsiteX0" y="connsiteY0"/>
                </a:cxn>
                <a:cxn ang="0">
                  <a:pos x="connsiteX1" y="connsiteY1"/>
                </a:cxn>
                <a:cxn ang="0">
                  <a:pos x="connsiteX2" y="connsiteY2"/>
                </a:cxn>
                <a:cxn ang="0">
                  <a:pos x="connsiteX3" y="connsiteY3"/>
                </a:cxn>
              </a:cxnLst>
              <a:rect l="l" t="t" r="r" b="b"/>
              <a:pathLst>
                <a:path w="2539" h="11046">
                  <a:moveTo>
                    <a:pt x="0" y="0"/>
                  </a:moveTo>
                  <a:lnTo>
                    <a:pt x="0" y="11046"/>
                  </a:lnTo>
                  <a:cubicBezTo>
                    <a:pt x="38" y="9057"/>
                    <a:pt x="965" y="7191"/>
                    <a:pt x="2539" y="5967"/>
                  </a:cubicBezTo>
                  <a:lnTo>
                    <a:pt x="2539" y="0"/>
                  </a:lnTo>
                  <a:close/>
                </a:path>
              </a:pathLst>
            </a:custGeom>
            <a:solidFill>
              <a:srgbClr val="000000"/>
            </a:solidFill>
            <a:ln w="1269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ECF4FF5E-C144-4224-884F-321FAA2EA7D9}"/>
                </a:ext>
              </a:extLst>
            </p:cNvPr>
            <p:cNvSpPr/>
            <p:nvPr/>
          </p:nvSpPr>
          <p:spPr>
            <a:xfrm>
              <a:off x="5206024" y="5644683"/>
              <a:ext cx="13839" cy="195456"/>
            </a:xfrm>
            <a:custGeom>
              <a:avLst/>
              <a:gdLst>
                <a:gd name="connsiteX0" fmla="*/ 6983 w 13839"/>
                <a:gd name="connsiteY0" fmla="*/ 53 h 195456"/>
                <a:gd name="connsiteX1" fmla="*/ 4952 w 13839"/>
                <a:gd name="connsiteY1" fmla="*/ 53 h 195456"/>
                <a:gd name="connsiteX2" fmla="*/ 2539 w 13839"/>
                <a:gd name="connsiteY2" fmla="*/ 1450 h 195456"/>
                <a:gd name="connsiteX3" fmla="*/ 0 w 13839"/>
                <a:gd name="connsiteY3" fmla="*/ 6529 h 195456"/>
                <a:gd name="connsiteX4" fmla="*/ 0 w 13839"/>
                <a:gd name="connsiteY4" fmla="*/ 188219 h 195456"/>
                <a:gd name="connsiteX5" fmla="*/ 3682 w 13839"/>
                <a:gd name="connsiteY5" fmla="*/ 188219 h 195456"/>
                <a:gd name="connsiteX6" fmla="*/ 4939 w 13839"/>
                <a:gd name="connsiteY6" fmla="*/ 189227 h 195456"/>
                <a:gd name="connsiteX7" fmla="*/ 4952 w 13839"/>
                <a:gd name="connsiteY7" fmla="*/ 189362 h 195456"/>
                <a:gd name="connsiteX8" fmla="*/ 4952 w 13839"/>
                <a:gd name="connsiteY8" fmla="*/ 195456 h 195456"/>
                <a:gd name="connsiteX9" fmla="*/ 6983 w 13839"/>
                <a:gd name="connsiteY9" fmla="*/ 195456 h 195456"/>
                <a:gd name="connsiteX10" fmla="*/ 13839 w 13839"/>
                <a:gd name="connsiteY10" fmla="*/ 195456 h 195456"/>
                <a:gd name="connsiteX11" fmla="*/ 13839 w 13839"/>
                <a:gd name="connsiteY11" fmla="*/ 6910 h 195456"/>
                <a:gd name="connsiteX12" fmla="*/ 13839 w 13839"/>
                <a:gd name="connsiteY12" fmla="*/ 6275 h 195456"/>
                <a:gd name="connsiteX13" fmla="*/ 6983 w 13839"/>
                <a:gd name="connsiteY13" fmla="*/ 53 h 19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195456">
                  <a:moveTo>
                    <a:pt x="6983" y="53"/>
                  </a:moveTo>
                  <a:cubicBezTo>
                    <a:pt x="6310" y="-18"/>
                    <a:pt x="5625" y="-18"/>
                    <a:pt x="4952" y="53"/>
                  </a:cubicBezTo>
                  <a:cubicBezTo>
                    <a:pt x="4050" y="312"/>
                    <a:pt x="3212" y="792"/>
                    <a:pt x="2539" y="1450"/>
                  </a:cubicBezTo>
                  <a:cubicBezTo>
                    <a:pt x="965" y="2674"/>
                    <a:pt x="38" y="4539"/>
                    <a:pt x="0" y="6529"/>
                  </a:cubicBezTo>
                  <a:lnTo>
                    <a:pt x="0" y="188219"/>
                  </a:lnTo>
                  <a:lnTo>
                    <a:pt x="3682" y="188219"/>
                  </a:lnTo>
                  <a:cubicBezTo>
                    <a:pt x="4304" y="188149"/>
                    <a:pt x="4876" y="188600"/>
                    <a:pt x="4939" y="189227"/>
                  </a:cubicBezTo>
                  <a:cubicBezTo>
                    <a:pt x="4952" y="189272"/>
                    <a:pt x="4952" y="189317"/>
                    <a:pt x="4952" y="189362"/>
                  </a:cubicBezTo>
                  <a:lnTo>
                    <a:pt x="4952" y="195456"/>
                  </a:lnTo>
                  <a:cubicBezTo>
                    <a:pt x="5625" y="195385"/>
                    <a:pt x="6310" y="195385"/>
                    <a:pt x="6983" y="195456"/>
                  </a:cubicBezTo>
                  <a:lnTo>
                    <a:pt x="13839" y="195456"/>
                  </a:lnTo>
                  <a:lnTo>
                    <a:pt x="13839" y="6910"/>
                  </a:lnTo>
                  <a:cubicBezTo>
                    <a:pt x="13839" y="6910"/>
                    <a:pt x="13839" y="6910"/>
                    <a:pt x="13839" y="6275"/>
                  </a:cubicBezTo>
                  <a:cubicBezTo>
                    <a:pt x="13509" y="2737"/>
                    <a:pt x="10538" y="38"/>
                    <a:pt x="6983" y="53"/>
                  </a:cubicBezTo>
                  <a:close/>
                </a:path>
              </a:pathLst>
            </a:custGeom>
            <a:solidFill>
              <a:srgbClr val="000000"/>
            </a:solidFill>
            <a:ln w="1269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6E6B850F-52E6-4537-93F0-1F5747AA2540}"/>
                </a:ext>
              </a:extLst>
            </p:cNvPr>
            <p:cNvSpPr/>
            <p:nvPr/>
          </p:nvSpPr>
          <p:spPr>
            <a:xfrm>
              <a:off x="5536519" y="5832902"/>
              <a:ext cx="1396" cy="7237"/>
            </a:xfrm>
            <a:custGeom>
              <a:avLst/>
              <a:gdLst>
                <a:gd name="connsiteX0" fmla="*/ 1397 w 1396"/>
                <a:gd name="connsiteY0" fmla="*/ 7237 h 7237"/>
                <a:gd name="connsiteX1" fmla="*/ 1397 w 1396"/>
                <a:gd name="connsiteY1" fmla="*/ 0 h 7237"/>
                <a:gd name="connsiteX2" fmla="*/ 0 w 1396"/>
                <a:gd name="connsiteY2" fmla="*/ 0 h 7237"/>
                <a:gd name="connsiteX3" fmla="*/ 0 w 1396"/>
                <a:gd name="connsiteY3" fmla="*/ 7237 h 7237"/>
              </a:gdLst>
              <a:ahLst/>
              <a:cxnLst>
                <a:cxn ang="0">
                  <a:pos x="connsiteX0" y="connsiteY0"/>
                </a:cxn>
                <a:cxn ang="0">
                  <a:pos x="connsiteX1" y="connsiteY1"/>
                </a:cxn>
                <a:cxn ang="0">
                  <a:pos x="connsiteX2" y="connsiteY2"/>
                </a:cxn>
                <a:cxn ang="0">
                  <a:pos x="connsiteX3" y="connsiteY3"/>
                </a:cxn>
              </a:cxnLst>
              <a:rect l="l" t="t" r="r" b="b"/>
              <a:pathLst>
                <a:path w="1396" h="7237">
                  <a:moveTo>
                    <a:pt x="1397" y="7237"/>
                  </a:moveTo>
                  <a:lnTo>
                    <a:pt x="1397" y="0"/>
                  </a:lnTo>
                  <a:lnTo>
                    <a:pt x="0" y="0"/>
                  </a:lnTo>
                  <a:lnTo>
                    <a:pt x="0" y="7237"/>
                  </a:lnTo>
                  <a:close/>
                </a:path>
              </a:pathLst>
            </a:custGeom>
            <a:solidFill>
              <a:srgbClr val="000000"/>
            </a:solidFill>
            <a:ln w="1269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DBE9A942-B59D-4CB7-920D-4F8780DBAE54}"/>
                </a:ext>
              </a:extLst>
            </p:cNvPr>
            <p:cNvSpPr/>
            <p:nvPr/>
          </p:nvSpPr>
          <p:spPr>
            <a:xfrm>
              <a:off x="5540328" y="5828332"/>
              <a:ext cx="1523" cy="5332"/>
            </a:xfrm>
            <a:custGeom>
              <a:avLst/>
              <a:gdLst>
                <a:gd name="connsiteX0" fmla="*/ 1524 w 1523"/>
                <a:gd name="connsiteY0" fmla="*/ 0 h 5332"/>
                <a:gd name="connsiteX1" fmla="*/ 0 w 1523"/>
                <a:gd name="connsiteY1" fmla="*/ 2666 h 5332"/>
                <a:gd name="connsiteX2" fmla="*/ 0 w 1523"/>
                <a:gd name="connsiteY2" fmla="*/ 5333 h 5332"/>
              </a:gdLst>
              <a:ahLst/>
              <a:cxnLst>
                <a:cxn ang="0">
                  <a:pos x="connsiteX0" y="connsiteY0"/>
                </a:cxn>
                <a:cxn ang="0">
                  <a:pos x="connsiteX1" y="connsiteY1"/>
                </a:cxn>
                <a:cxn ang="0">
                  <a:pos x="connsiteX2" y="connsiteY2"/>
                </a:cxn>
              </a:cxnLst>
              <a:rect l="l" t="t" r="r" b="b"/>
              <a:pathLst>
                <a:path w="1523" h="5332">
                  <a:moveTo>
                    <a:pt x="1524" y="0"/>
                  </a:moveTo>
                  <a:cubicBezTo>
                    <a:pt x="1257" y="1004"/>
                    <a:pt x="724" y="1922"/>
                    <a:pt x="0" y="2666"/>
                  </a:cubicBezTo>
                  <a:lnTo>
                    <a:pt x="0" y="5333"/>
                  </a:lnTo>
                  <a:close/>
                </a:path>
              </a:pathLst>
            </a:custGeom>
            <a:solidFill>
              <a:srgbClr val="000000"/>
            </a:solidFill>
            <a:ln w="1269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616569B5-E878-4EBB-ADA3-CFC8B1166BC8}"/>
                </a:ext>
              </a:extLst>
            </p:cNvPr>
            <p:cNvSpPr/>
            <p:nvPr/>
          </p:nvSpPr>
          <p:spPr>
            <a:xfrm>
              <a:off x="5524203" y="5825030"/>
              <a:ext cx="5205" cy="15109"/>
            </a:xfrm>
            <a:custGeom>
              <a:avLst/>
              <a:gdLst>
                <a:gd name="connsiteX0" fmla="*/ 5206 w 5205"/>
                <a:gd name="connsiteY0" fmla="*/ 15109 h 15109"/>
                <a:gd name="connsiteX1" fmla="*/ 5206 w 5205"/>
                <a:gd name="connsiteY1" fmla="*/ 5460 h 15109"/>
                <a:gd name="connsiteX2" fmla="*/ 4444 w 5205"/>
                <a:gd name="connsiteY2" fmla="*/ 0 h 15109"/>
                <a:gd name="connsiteX3" fmla="*/ 0 w 5205"/>
                <a:gd name="connsiteY3" fmla="*/ 15109 h 15109"/>
                <a:gd name="connsiteX4" fmla="*/ 5206 w 5205"/>
                <a:gd name="connsiteY4" fmla="*/ 15109 h 1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15109">
                  <a:moveTo>
                    <a:pt x="5206" y="15109"/>
                  </a:moveTo>
                  <a:lnTo>
                    <a:pt x="5206" y="5460"/>
                  </a:lnTo>
                  <a:cubicBezTo>
                    <a:pt x="4203" y="3827"/>
                    <a:pt x="3923" y="1846"/>
                    <a:pt x="4444" y="0"/>
                  </a:cubicBezTo>
                  <a:lnTo>
                    <a:pt x="0" y="15109"/>
                  </a:lnTo>
                  <a:lnTo>
                    <a:pt x="5206" y="15109"/>
                  </a:lnTo>
                  <a:close/>
                </a:path>
              </a:pathLst>
            </a:custGeom>
            <a:solidFill>
              <a:srgbClr val="000000"/>
            </a:solidFill>
            <a:ln w="1269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0811ED98-3DEF-4411-8AB6-F97E0522EC46}"/>
                </a:ext>
              </a:extLst>
            </p:cNvPr>
            <p:cNvSpPr/>
            <p:nvPr/>
          </p:nvSpPr>
          <p:spPr>
            <a:xfrm>
              <a:off x="5531822" y="5833029"/>
              <a:ext cx="2285" cy="7110"/>
            </a:xfrm>
            <a:custGeom>
              <a:avLst/>
              <a:gdLst>
                <a:gd name="connsiteX0" fmla="*/ 0 w 2285"/>
                <a:gd name="connsiteY0" fmla="*/ 7110 h 7110"/>
                <a:gd name="connsiteX1" fmla="*/ 2285 w 2285"/>
                <a:gd name="connsiteY1" fmla="*/ 7110 h 7110"/>
                <a:gd name="connsiteX2" fmla="*/ 2285 w 2285"/>
                <a:gd name="connsiteY2" fmla="*/ 762 h 7110"/>
                <a:gd name="connsiteX3" fmla="*/ 1524 w 2285"/>
                <a:gd name="connsiteY3" fmla="*/ 762 h 7110"/>
                <a:gd name="connsiteX4" fmla="*/ 0 w 2285"/>
                <a:gd name="connsiteY4" fmla="*/ 0 h 7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110">
                  <a:moveTo>
                    <a:pt x="0" y="7110"/>
                  </a:moveTo>
                  <a:lnTo>
                    <a:pt x="2285" y="7110"/>
                  </a:lnTo>
                  <a:lnTo>
                    <a:pt x="2285" y="762"/>
                  </a:lnTo>
                  <a:lnTo>
                    <a:pt x="1524" y="762"/>
                  </a:lnTo>
                  <a:cubicBezTo>
                    <a:pt x="978" y="585"/>
                    <a:pt x="470" y="329"/>
                    <a:pt x="0" y="0"/>
                  </a:cubicBezTo>
                  <a:close/>
                </a:path>
              </a:pathLst>
            </a:custGeom>
            <a:solidFill>
              <a:srgbClr val="000000"/>
            </a:solidFill>
            <a:ln w="1269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25F93082-90B4-4E3C-9E9C-5DFDB94E4E35}"/>
                </a:ext>
              </a:extLst>
            </p:cNvPr>
            <p:cNvSpPr/>
            <p:nvPr/>
          </p:nvSpPr>
          <p:spPr>
            <a:xfrm>
              <a:off x="4247551" y="5581745"/>
              <a:ext cx="161247" cy="12458"/>
            </a:xfrm>
            <a:custGeom>
              <a:avLst/>
              <a:gdLst>
                <a:gd name="connsiteX0" fmla="*/ 8126 w 161247"/>
                <a:gd name="connsiteY0" fmla="*/ 5602 h 12458"/>
                <a:gd name="connsiteX1" fmla="*/ 8126 w 161247"/>
                <a:gd name="connsiteY1" fmla="*/ 9158 h 12458"/>
                <a:gd name="connsiteX2" fmla="*/ 12697 w 161247"/>
                <a:gd name="connsiteY2" fmla="*/ 12459 h 12458"/>
                <a:gd name="connsiteX3" fmla="*/ 155915 w 161247"/>
                <a:gd name="connsiteY3" fmla="*/ 12459 h 12458"/>
                <a:gd name="connsiteX4" fmla="*/ 155915 w 161247"/>
                <a:gd name="connsiteY4" fmla="*/ 5602 h 12458"/>
                <a:gd name="connsiteX5" fmla="*/ 155915 w 161247"/>
                <a:gd name="connsiteY5" fmla="*/ 4587 h 12458"/>
                <a:gd name="connsiteX6" fmla="*/ 155915 w 161247"/>
                <a:gd name="connsiteY6" fmla="*/ 3190 h 12458"/>
                <a:gd name="connsiteX7" fmla="*/ 156550 w 161247"/>
                <a:gd name="connsiteY7" fmla="*/ 1920 h 12458"/>
                <a:gd name="connsiteX8" fmla="*/ 156550 w 161247"/>
                <a:gd name="connsiteY8" fmla="*/ 1032 h 12458"/>
                <a:gd name="connsiteX9" fmla="*/ 156550 w 161247"/>
                <a:gd name="connsiteY9" fmla="*/ 1032 h 12458"/>
                <a:gd name="connsiteX10" fmla="*/ 157693 w 161247"/>
                <a:gd name="connsiteY10" fmla="*/ 143 h 12458"/>
                <a:gd name="connsiteX11" fmla="*/ 158709 w 161247"/>
                <a:gd name="connsiteY11" fmla="*/ 143 h 12458"/>
                <a:gd name="connsiteX12" fmla="*/ 159851 w 161247"/>
                <a:gd name="connsiteY12" fmla="*/ 143 h 12458"/>
                <a:gd name="connsiteX13" fmla="*/ 161248 w 161247"/>
                <a:gd name="connsiteY13" fmla="*/ 143 h 12458"/>
                <a:gd name="connsiteX14" fmla="*/ 0 w 161247"/>
                <a:gd name="connsiteY14" fmla="*/ 143 h 12458"/>
                <a:gd name="connsiteX15" fmla="*/ 8100 w 161247"/>
                <a:gd name="connsiteY15" fmla="*/ 5472 h 12458"/>
                <a:gd name="connsiteX16" fmla="*/ 8126 w 161247"/>
                <a:gd name="connsiteY16" fmla="*/ 5602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247" h="12458">
                  <a:moveTo>
                    <a:pt x="8126" y="5602"/>
                  </a:moveTo>
                  <a:lnTo>
                    <a:pt x="8126" y="9158"/>
                  </a:lnTo>
                  <a:lnTo>
                    <a:pt x="12697" y="12459"/>
                  </a:lnTo>
                  <a:lnTo>
                    <a:pt x="155915" y="12459"/>
                  </a:lnTo>
                  <a:lnTo>
                    <a:pt x="155915" y="5602"/>
                  </a:lnTo>
                  <a:cubicBezTo>
                    <a:pt x="155915" y="5602"/>
                    <a:pt x="155915" y="5602"/>
                    <a:pt x="155915" y="4587"/>
                  </a:cubicBezTo>
                  <a:cubicBezTo>
                    <a:pt x="155877" y="4122"/>
                    <a:pt x="155877" y="3655"/>
                    <a:pt x="155915" y="3190"/>
                  </a:cubicBezTo>
                  <a:cubicBezTo>
                    <a:pt x="156042" y="2732"/>
                    <a:pt x="156258" y="2301"/>
                    <a:pt x="156550" y="1920"/>
                  </a:cubicBezTo>
                  <a:cubicBezTo>
                    <a:pt x="156550" y="1920"/>
                    <a:pt x="156550" y="1920"/>
                    <a:pt x="156550" y="1032"/>
                  </a:cubicBezTo>
                  <a:lnTo>
                    <a:pt x="156550" y="1032"/>
                  </a:lnTo>
                  <a:cubicBezTo>
                    <a:pt x="156867" y="667"/>
                    <a:pt x="157261" y="366"/>
                    <a:pt x="157693" y="143"/>
                  </a:cubicBezTo>
                  <a:lnTo>
                    <a:pt x="158709" y="143"/>
                  </a:lnTo>
                  <a:lnTo>
                    <a:pt x="159851" y="143"/>
                  </a:lnTo>
                  <a:lnTo>
                    <a:pt x="161248" y="143"/>
                  </a:lnTo>
                  <a:lnTo>
                    <a:pt x="0" y="143"/>
                  </a:lnTo>
                  <a:cubicBezTo>
                    <a:pt x="3707" y="-623"/>
                    <a:pt x="7339" y="1764"/>
                    <a:pt x="8100" y="5472"/>
                  </a:cubicBezTo>
                  <a:cubicBezTo>
                    <a:pt x="8113" y="5516"/>
                    <a:pt x="8113" y="5559"/>
                    <a:pt x="8126" y="5602"/>
                  </a:cubicBezTo>
                  <a:close/>
                </a:path>
              </a:pathLst>
            </a:custGeom>
            <a:solidFill>
              <a:srgbClr val="000000"/>
            </a:solidFill>
            <a:ln w="1269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5280DA73-1E67-4587-B420-A3EF4D93A9C8}"/>
                </a:ext>
              </a:extLst>
            </p:cNvPr>
            <p:cNvSpPr/>
            <p:nvPr/>
          </p:nvSpPr>
          <p:spPr>
            <a:xfrm>
              <a:off x="4255677" y="5593950"/>
              <a:ext cx="380" cy="253"/>
            </a:xfrm>
            <a:custGeom>
              <a:avLst/>
              <a:gdLst>
                <a:gd name="connsiteX0" fmla="*/ 0 w 380"/>
                <a:gd name="connsiteY0" fmla="*/ 0 h 253"/>
                <a:gd name="connsiteX1" fmla="*/ 0 w 380"/>
                <a:gd name="connsiteY1" fmla="*/ 254 h 253"/>
                <a:gd name="connsiteX2" fmla="*/ 381 w 380"/>
                <a:gd name="connsiteY2" fmla="*/ 254 h 253"/>
                <a:gd name="connsiteX3" fmla="*/ 0 w 380"/>
                <a:gd name="connsiteY3" fmla="*/ 0 h 253"/>
              </a:gdLst>
              <a:ahLst/>
              <a:cxnLst>
                <a:cxn ang="0">
                  <a:pos x="connsiteX0" y="connsiteY0"/>
                </a:cxn>
                <a:cxn ang="0">
                  <a:pos x="connsiteX1" y="connsiteY1"/>
                </a:cxn>
                <a:cxn ang="0">
                  <a:pos x="connsiteX2" y="connsiteY2"/>
                </a:cxn>
                <a:cxn ang="0">
                  <a:pos x="connsiteX3" y="connsiteY3"/>
                </a:cxn>
              </a:cxnLst>
              <a:rect l="l" t="t" r="r" b="b"/>
              <a:pathLst>
                <a:path w="380" h="253">
                  <a:moveTo>
                    <a:pt x="0" y="0"/>
                  </a:moveTo>
                  <a:lnTo>
                    <a:pt x="0" y="254"/>
                  </a:lnTo>
                  <a:lnTo>
                    <a:pt x="381" y="254"/>
                  </a:lnTo>
                  <a:lnTo>
                    <a:pt x="0" y="0"/>
                  </a:lnTo>
                  <a:close/>
                </a:path>
              </a:pathLst>
            </a:custGeom>
            <a:solidFill>
              <a:srgbClr val="000000"/>
            </a:solidFill>
            <a:ln w="1269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E27B8804-D3DB-4F3D-901D-34C3E00838A4}"/>
                </a:ext>
              </a:extLst>
            </p:cNvPr>
            <p:cNvSpPr/>
            <p:nvPr/>
          </p:nvSpPr>
          <p:spPr>
            <a:xfrm>
              <a:off x="4255677" y="5590902"/>
              <a:ext cx="31868" cy="23488"/>
            </a:xfrm>
            <a:custGeom>
              <a:avLst/>
              <a:gdLst>
                <a:gd name="connsiteX0" fmla="*/ 27806 w 31868"/>
                <a:gd name="connsiteY0" fmla="*/ 23489 h 23488"/>
                <a:gd name="connsiteX1" fmla="*/ 31869 w 31868"/>
                <a:gd name="connsiteY1" fmla="*/ 23489 h 23488"/>
                <a:gd name="connsiteX2" fmla="*/ 4571 w 31868"/>
                <a:gd name="connsiteY2" fmla="*/ 3301 h 23488"/>
                <a:gd name="connsiteX3" fmla="*/ 0 w 31868"/>
                <a:gd name="connsiteY3" fmla="*/ 0 h 23488"/>
                <a:gd name="connsiteX4" fmla="*/ 0 w 31868"/>
                <a:gd name="connsiteY4" fmla="*/ 3047 h 23488"/>
                <a:gd name="connsiteX5" fmla="*/ 381 w 31868"/>
                <a:gd name="connsiteY5" fmla="*/ 3301 h 23488"/>
                <a:gd name="connsiteX6" fmla="*/ 27806 w 31868"/>
                <a:gd name="connsiteY6" fmla="*/ 23489 h 2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868" h="23488">
                  <a:moveTo>
                    <a:pt x="27806" y="23489"/>
                  </a:moveTo>
                  <a:lnTo>
                    <a:pt x="31869" y="23489"/>
                  </a:lnTo>
                  <a:lnTo>
                    <a:pt x="4571" y="3301"/>
                  </a:lnTo>
                  <a:lnTo>
                    <a:pt x="0" y="0"/>
                  </a:lnTo>
                  <a:lnTo>
                    <a:pt x="0" y="3047"/>
                  </a:lnTo>
                  <a:lnTo>
                    <a:pt x="381" y="3301"/>
                  </a:lnTo>
                  <a:lnTo>
                    <a:pt x="27806" y="23489"/>
                  </a:lnTo>
                  <a:close/>
                </a:path>
              </a:pathLst>
            </a:custGeom>
            <a:solidFill>
              <a:srgbClr val="000000"/>
            </a:solidFill>
            <a:ln w="1269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3E36D31D-F52A-4F06-84BC-A82E5CD4C3F9}"/>
                </a:ext>
              </a:extLst>
            </p:cNvPr>
            <p:cNvSpPr/>
            <p:nvPr/>
          </p:nvSpPr>
          <p:spPr>
            <a:xfrm>
              <a:off x="4241965" y="5580491"/>
              <a:ext cx="13712" cy="33900"/>
            </a:xfrm>
            <a:custGeom>
              <a:avLst/>
              <a:gdLst>
                <a:gd name="connsiteX0" fmla="*/ 6856 w 13712"/>
                <a:gd name="connsiteY0" fmla="*/ 33900 h 33900"/>
                <a:gd name="connsiteX1" fmla="*/ 13712 w 13712"/>
                <a:gd name="connsiteY1" fmla="*/ 33900 h 33900"/>
                <a:gd name="connsiteX2" fmla="*/ 13712 w 13712"/>
                <a:gd name="connsiteY2" fmla="*/ 6856 h 33900"/>
                <a:gd name="connsiteX3" fmla="*/ 6856 w 13712"/>
                <a:gd name="connsiteY3" fmla="*/ 0 h 33900"/>
                <a:gd name="connsiteX4" fmla="*/ 0 w 13712"/>
                <a:gd name="connsiteY4" fmla="*/ 6856 h 33900"/>
                <a:gd name="connsiteX5" fmla="*/ 0 w 13712"/>
                <a:gd name="connsiteY5" fmla="*/ 33900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3900">
                  <a:moveTo>
                    <a:pt x="6856" y="33900"/>
                  </a:moveTo>
                  <a:lnTo>
                    <a:pt x="13712" y="33900"/>
                  </a:lnTo>
                  <a:lnTo>
                    <a:pt x="13712" y="6856"/>
                  </a:lnTo>
                  <a:cubicBezTo>
                    <a:pt x="13712" y="3070"/>
                    <a:pt x="10640" y="0"/>
                    <a:pt x="6856" y="0"/>
                  </a:cubicBezTo>
                  <a:cubicBezTo>
                    <a:pt x="3073" y="0"/>
                    <a:pt x="0" y="3070"/>
                    <a:pt x="0" y="6856"/>
                  </a:cubicBezTo>
                  <a:lnTo>
                    <a:pt x="0" y="33900"/>
                  </a:lnTo>
                  <a:close/>
                </a:path>
              </a:pathLst>
            </a:custGeom>
            <a:solidFill>
              <a:srgbClr val="000000"/>
            </a:solidFill>
            <a:ln w="1269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93794D88-4958-4E7B-83AD-00FB676ED627}"/>
                </a:ext>
              </a:extLst>
            </p:cNvPr>
            <p:cNvSpPr/>
            <p:nvPr/>
          </p:nvSpPr>
          <p:spPr>
            <a:xfrm>
              <a:off x="7904325" y="6522717"/>
              <a:ext cx="2539" cy="341796"/>
            </a:xfrm>
            <a:custGeom>
              <a:avLst/>
              <a:gdLst>
                <a:gd name="connsiteX0" fmla="*/ 1270 w 2539"/>
                <a:gd name="connsiteY0" fmla="*/ 0 h 341796"/>
                <a:gd name="connsiteX1" fmla="*/ 0 w 2539"/>
                <a:gd name="connsiteY1" fmla="*/ 0 h 341796"/>
                <a:gd name="connsiteX2" fmla="*/ 0 w 2539"/>
                <a:gd name="connsiteY2" fmla="*/ 341797 h 341796"/>
                <a:gd name="connsiteX3" fmla="*/ 2539 w 2539"/>
                <a:gd name="connsiteY3" fmla="*/ 341797 h 341796"/>
                <a:gd name="connsiteX4" fmla="*/ 2539 w 2539"/>
                <a:gd name="connsiteY4" fmla="*/ 0 h 34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341796">
                  <a:moveTo>
                    <a:pt x="1270" y="0"/>
                  </a:moveTo>
                  <a:lnTo>
                    <a:pt x="0" y="0"/>
                  </a:lnTo>
                  <a:lnTo>
                    <a:pt x="0" y="341797"/>
                  </a:lnTo>
                  <a:lnTo>
                    <a:pt x="2539" y="341797"/>
                  </a:lnTo>
                  <a:lnTo>
                    <a:pt x="2539" y="0"/>
                  </a:lnTo>
                  <a:close/>
                </a:path>
              </a:pathLst>
            </a:custGeom>
            <a:solidFill>
              <a:srgbClr val="000000"/>
            </a:solidFill>
            <a:ln w="1269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B83AFB77-1D01-4974-AA4F-E777ADA3A7E2}"/>
                </a:ext>
              </a:extLst>
            </p:cNvPr>
            <p:cNvSpPr/>
            <p:nvPr/>
          </p:nvSpPr>
          <p:spPr>
            <a:xfrm>
              <a:off x="7838684" y="6506338"/>
              <a:ext cx="67926" cy="15200"/>
            </a:xfrm>
            <a:custGeom>
              <a:avLst/>
              <a:gdLst>
                <a:gd name="connsiteX0" fmla="*/ 60055 w 67926"/>
                <a:gd name="connsiteY0" fmla="*/ 9523 h 15200"/>
                <a:gd name="connsiteX1" fmla="*/ 66912 w 67926"/>
                <a:gd name="connsiteY1" fmla="*/ 2539 h 15200"/>
                <a:gd name="connsiteX2" fmla="*/ 66912 w 67926"/>
                <a:gd name="connsiteY2" fmla="*/ 2539 h 15200"/>
                <a:gd name="connsiteX3" fmla="*/ 4444 w 67926"/>
                <a:gd name="connsiteY3" fmla="*/ 0 h 15200"/>
                <a:gd name="connsiteX4" fmla="*/ 4444 w 67926"/>
                <a:gd name="connsiteY4" fmla="*/ 6729 h 15200"/>
                <a:gd name="connsiteX5" fmla="*/ 4444 w 67926"/>
                <a:gd name="connsiteY5" fmla="*/ 6729 h 15200"/>
                <a:gd name="connsiteX6" fmla="*/ 4444 w 67926"/>
                <a:gd name="connsiteY6" fmla="*/ 8126 h 15200"/>
                <a:gd name="connsiteX7" fmla="*/ 4444 w 67926"/>
                <a:gd name="connsiteY7" fmla="*/ 9269 h 15200"/>
                <a:gd name="connsiteX8" fmla="*/ 3555 w 67926"/>
                <a:gd name="connsiteY8" fmla="*/ 10538 h 15200"/>
                <a:gd name="connsiteX9" fmla="*/ 3555 w 67926"/>
                <a:gd name="connsiteY9" fmla="*/ 11427 h 15200"/>
                <a:gd name="connsiteX10" fmla="*/ 2158 w 67926"/>
                <a:gd name="connsiteY10" fmla="*/ 12316 h 15200"/>
                <a:gd name="connsiteX11" fmla="*/ 1396 w 67926"/>
                <a:gd name="connsiteY11" fmla="*/ 12316 h 15200"/>
                <a:gd name="connsiteX12" fmla="*/ 0 w 67926"/>
                <a:gd name="connsiteY12" fmla="*/ 12316 h 15200"/>
                <a:gd name="connsiteX13" fmla="*/ 0 w 67926"/>
                <a:gd name="connsiteY13" fmla="*/ 12316 h 15200"/>
                <a:gd name="connsiteX14" fmla="*/ 66658 w 67926"/>
                <a:gd name="connsiteY14" fmla="*/ 15109 h 15200"/>
                <a:gd name="connsiteX15" fmla="*/ 67927 w 67926"/>
                <a:gd name="connsiteY15" fmla="*/ 15109 h 15200"/>
                <a:gd name="connsiteX16" fmla="*/ 60055 w 67926"/>
                <a:gd name="connsiteY16" fmla="*/ 9523 h 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926" h="15200">
                  <a:moveTo>
                    <a:pt x="60055" y="9523"/>
                  </a:moveTo>
                  <a:cubicBezTo>
                    <a:pt x="60055" y="5713"/>
                    <a:pt x="63102" y="2603"/>
                    <a:pt x="66912" y="2539"/>
                  </a:cubicBezTo>
                  <a:lnTo>
                    <a:pt x="66912" y="2539"/>
                  </a:lnTo>
                  <a:lnTo>
                    <a:pt x="4444" y="0"/>
                  </a:lnTo>
                  <a:lnTo>
                    <a:pt x="4444" y="6729"/>
                  </a:lnTo>
                  <a:lnTo>
                    <a:pt x="4444" y="6729"/>
                  </a:lnTo>
                  <a:cubicBezTo>
                    <a:pt x="4507" y="7199"/>
                    <a:pt x="4507" y="7656"/>
                    <a:pt x="4444" y="8126"/>
                  </a:cubicBezTo>
                  <a:cubicBezTo>
                    <a:pt x="4444" y="8126"/>
                    <a:pt x="4444" y="8888"/>
                    <a:pt x="4444" y="9269"/>
                  </a:cubicBezTo>
                  <a:lnTo>
                    <a:pt x="3555" y="10538"/>
                  </a:lnTo>
                  <a:lnTo>
                    <a:pt x="3555" y="11427"/>
                  </a:lnTo>
                  <a:cubicBezTo>
                    <a:pt x="3136" y="11795"/>
                    <a:pt x="2667" y="12100"/>
                    <a:pt x="2158" y="12316"/>
                  </a:cubicBezTo>
                  <a:lnTo>
                    <a:pt x="1396" y="12316"/>
                  </a:lnTo>
                  <a:lnTo>
                    <a:pt x="0" y="12316"/>
                  </a:lnTo>
                  <a:lnTo>
                    <a:pt x="0" y="12316"/>
                  </a:lnTo>
                  <a:lnTo>
                    <a:pt x="66658" y="15109"/>
                  </a:lnTo>
                  <a:lnTo>
                    <a:pt x="67927" y="15109"/>
                  </a:lnTo>
                  <a:cubicBezTo>
                    <a:pt x="64220" y="15718"/>
                    <a:pt x="60703" y="13230"/>
                    <a:pt x="60055" y="9523"/>
                  </a:cubicBezTo>
                  <a:close/>
                </a:path>
              </a:pathLst>
            </a:custGeom>
            <a:solidFill>
              <a:srgbClr val="000000"/>
            </a:solidFill>
            <a:ln w="1269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493D292F-5CCE-40A5-A394-D04E1AC6BF8A}"/>
                </a:ext>
              </a:extLst>
            </p:cNvPr>
            <p:cNvSpPr/>
            <p:nvPr/>
          </p:nvSpPr>
          <p:spPr>
            <a:xfrm>
              <a:off x="5965667" y="6511671"/>
              <a:ext cx="89639" cy="2412"/>
            </a:xfrm>
            <a:custGeom>
              <a:avLst/>
              <a:gdLst>
                <a:gd name="connsiteX0" fmla="*/ 0 w 89639"/>
                <a:gd name="connsiteY0" fmla="*/ 2412 h 2412"/>
                <a:gd name="connsiteX1" fmla="*/ 89639 w 89639"/>
                <a:gd name="connsiteY1" fmla="*/ 2412 h 2412"/>
                <a:gd name="connsiteX2" fmla="*/ 89639 w 89639"/>
                <a:gd name="connsiteY2" fmla="*/ 1270 h 2412"/>
                <a:gd name="connsiteX3" fmla="*/ 89639 w 89639"/>
                <a:gd name="connsiteY3" fmla="*/ 0 h 2412"/>
                <a:gd name="connsiteX4" fmla="*/ 762 w 89639"/>
                <a:gd name="connsiteY4" fmla="*/ 0 h 2412"/>
                <a:gd name="connsiteX5" fmla="*/ 762 w 89639"/>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9" h="2412">
                  <a:moveTo>
                    <a:pt x="0" y="2412"/>
                  </a:moveTo>
                  <a:lnTo>
                    <a:pt x="89639" y="2412"/>
                  </a:lnTo>
                  <a:cubicBezTo>
                    <a:pt x="89639" y="2412"/>
                    <a:pt x="89639" y="1651"/>
                    <a:pt x="89639" y="1270"/>
                  </a:cubicBezTo>
                  <a:lnTo>
                    <a:pt x="89639" y="0"/>
                  </a:lnTo>
                  <a:lnTo>
                    <a:pt x="762" y="0"/>
                  </a:lnTo>
                  <a:lnTo>
                    <a:pt x="762" y="2412"/>
                  </a:lnTo>
                  <a:close/>
                </a:path>
              </a:pathLst>
            </a:custGeom>
            <a:solidFill>
              <a:srgbClr val="000000"/>
            </a:solidFill>
            <a:ln w="1269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135C3281-3002-4B62-85C1-12DA87D37CCB}"/>
                </a:ext>
              </a:extLst>
            </p:cNvPr>
            <p:cNvSpPr/>
            <p:nvPr/>
          </p:nvSpPr>
          <p:spPr>
            <a:xfrm>
              <a:off x="4411338" y="5580618"/>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9612B138-9421-4AC4-8DF6-4B24EE135A13}"/>
                </a:ext>
              </a:extLst>
            </p:cNvPr>
            <p:cNvSpPr/>
            <p:nvPr/>
          </p:nvSpPr>
          <p:spPr>
            <a:xfrm>
              <a:off x="4414005" y="5582142"/>
              <a:ext cx="38217" cy="32249"/>
            </a:xfrm>
            <a:custGeom>
              <a:avLst/>
              <a:gdLst>
                <a:gd name="connsiteX0" fmla="*/ 3301 w 38217"/>
                <a:gd name="connsiteY0" fmla="*/ 5206 h 32249"/>
                <a:gd name="connsiteX1" fmla="*/ 3301 w 38217"/>
                <a:gd name="connsiteY1" fmla="*/ 20315 h 32249"/>
                <a:gd name="connsiteX2" fmla="*/ 17141 w 38217"/>
                <a:gd name="connsiteY2" fmla="*/ 32250 h 32249"/>
                <a:gd name="connsiteX3" fmla="*/ 38217 w 38217"/>
                <a:gd name="connsiteY3" fmla="*/ 32250 h 32249"/>
                <a:gd name="connsiteX4" fmla="*/ 889 w 38217"/>
                <a:gd name="connsiteY4" fmla="*/ 0 h 32249"/>
                <a:gd name="connsiteX5" fmla="*/ 0 w 38217"/>
                <a:gd name="connsiteY5" fmla="*/ 0 h 32249"/>
                <a:gd name="connsiteX6" fmla="*/ 3301 w 38217"/>
                <a:gd name="connsiteY6" fmla="*/ 5206 h 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17" h="32249">
                  <a:moveTo>
                    <a:pt x="3301" y="5206"/>
                  </a:moveTo>
                  <a:lnTo>
                    <a:pt x="3301" y="20315"/>
                  </a:lnTo>
                  <a:lnTo>
                    <a:pt x="17141" y="32250"/>
                  </a:lnTo>
                  <a:lnTo>
                    <a:pt x="38217" y="32250"/>
                  </a:lnTo>
                  <a:lnTo>
                    <a:pt x="889" y="0"/>
                  </a:lnTo>
                  <a:lnTo>
                    <a:pt x="0" y="0"/>
                  </a:lnTo>
                  <a:cubicBezTo>
                    <a:pt x="1854" y="1130"/>
                    <a:pt x="3073" y="3052"/>
                    <a:pt x="3301" y="5206"/>
                  </a:cubicBezTo>
                  <a:close/>
                </a:path>
              </a:pathLst>
            </a:custGeom>
            <a:solidFill>
              <a:srgbClr val="000000"/>
            </a:solidFill>
            <a:ln w="1269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7D3E6618-D02A-4272-9E99-1E064351F888}"/>
                </a:ext>
              </a:extLst>
            </p:cNvPr>
            <p:cNvSpPr/>
            <p:nvPr/>
          </p:nvSpPr>
          <p:spPr>
            <a:xfrm>
              <a:off x="4405752" y="5582650"/>
              <a:ext cx="761" cy="1015"/>
            </a:xfrm>
            <a:custGeom>
              <a:avLst/>
              <a:gdLst>
                <a:gd name="connsiteX0" fmla="*/ 0 w 761"/>
                <a:gd name="connsiteY0" fmla="*/ 127 h 1015"/>
                <a:gd name="connsiteX1" fmla="*/ 0 w 761"/>
                <a:gd name="connsiteY1" fmla="*/ 1016 h 1015"/>
                <a:gd name="connsiteX2" fmla="*/ 762 w 761"/>
                <a:gd name="connsiteY2" fmla="*/ 0 h 1015"/>
              </a:gdLst>
              <a:ahLst/>
              <a:cxnLst>
                <a:cxn ang="0">
                  <a:pos x="connsiteX0" y="connsiteY0"/>
                </a:cxn>
                <a:cxn ang="0">
                  <a:pos x="connsiteX1" y="connsiteY1"/>
                </a:cxn>
                <a:cxn ang="0">
                  <a:pos x="connsiteX2" y="connsiteY2"/>
                </a:cxn>
              </a:cxnLst>
              <a:rect l="l" t="t" r="r" b="b"/>
              <a:pathLst>
                <a:path w="761" h="1015">
                  <a:moveTo>
                    <a:pt x="0" y="127"/>
                  </a:moveTo>
                  <a:cubicBezTo>
                    <a:pt x="0" y="127"/>
                    <a:pt x="0" y="762"/>
                    <a:pt x="0" y="1016"/>
                  </a:cubicBezTo>
                  <a:cubicBezTo>
                    <a:pt x="178" y="627"/>
                    <a:pt x="444" y="282"/>
                    <a:pt x="762" y="0"/>
                  </a:cubicBezTo>
                  <a:close/>
                </a:path>
              </a:pathLst>
            </a:custGeom>
            <a:solidFill>
              <a:srgbClr val="000000"/>
            </a:solidFill>
            <a:ln w="1269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DC363C44-AEAA-4067-A209-6996D0739EBE}"/>
                </a:ext>
              </a:extLst>
            </p:cNvPr>
            <p:cNvSpPr/>
            <p:nvPr/>
          </p:nvSpPr>
          <p:spPr>
            <a:xfrm>
              <a:off x="4408672" y="5580745"/>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2CFC9898-093A-4175-BEA4-1D4B924C9A89}"/>
                </a:ext>
              </a:extLst>
            </p:cNvPr>
            <p:cNvSpPr/>
            <p:nvPr/>
          </p:nvSpPr>
          <p:spPr>
            <a:xfrm>
              <a:off x="4406514" y="5581761"/>
              <a:ext cx="1015" cy="12696"/>
            </a:xfrm>
            <a:custGeom>
              <a:avLst/>
              <a:gdLst>
                <a:gd name="connsiteX0" fmla="*/ 0 w 1015"/>
                <a:gd name="connsiteY0" fmla="*/ 0 h 12696"/>
                <a:gd name="connsiteX1" fmla="*/ 1016 w 1015"/>
                <a:gd name="connsiteY1" fmla="*/ 0 h 12696"/>
              </a:gdLst>
              <a:ahLst/>
              <a:cxnLst>
                <a:cxn ang="0">
                  <a:pos x="connsiteX0" y="connsiteY0"/>
                </a:cxn>
                <a:cxn ang="0">
                  <a:pos x="connsiteX1" y="connsiteY1"/>
                </a:cxn>
              </a:cxnLst>
              <a:rect l="l" t="t" r="r" b="b"/>
              <a:pathLst>
                <a:path w="1015" h="12696">
                  <a:moveTo>
                    <a:pt x="0" y="0"/>
                  </a:moveTo>
                  <a:lnTo>
                    <a:pt x="1016" y="0"/>
                  </a:lnTo>
                  <a:close/>
                </a:path>
              </a:pathLst>
            </a:custGeom>
            <a:solidFill>
              <a:srgbClr val="000000"/>
            </a:solidFill>
            <a:ln w="1269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8B297678-E894-41EE-888C-FA7F6C9C2341}"/>
                </a:ext>
              </a:extLst>
            </p:cNvPr>
            <p:cNvSpPr/>
            <p:nvPr/>
          </p:nvSpPr>
          <p:spPr>
            <a:xfrm>
              <a:off x="4403565" y="5584808"/>
              <a:ext cx="28" cy="1396"/>
            </a:xfrm>
            <a:custGeom>
              <a:avLst/>
              <a:gdLst>
                <a:gd name="connsiteX0" fmla="*/ 28 w 28"/>
                <a:gd name="connsiteY0" fmla="*/ 1397 h 1396"/>
                <a:gd name="connsiteX1" fmla="*/ 28 w 28"/>
                <a:gd name="connsiteY1" fmla="*/ 0 h 1396"/>
                <a:gd name="connsiteX2" fmla="*/ 28 w 28"/>
                <a:gd name="connsiteY2" fmla="*/ 1397 h 1396"/>
              </a:gdLst>
              <a:ahLst/>
              <a:cxnLst>
                <a:cxn ang="0">
                  <a:pos x="connsiteX0" y="connsiteY0"/>
                </a:cxn>
                <a:cxn ang="0">
                  <a:pos x="connsiteX1" y="connsiteY1"/>
                </a:cxn>
                <a:cxn ang="0">
                  <a:pos x="connsiteX2" y="connsiteY2"/>
                </a:cxn>
              </a:cxnLst>
              <a:rect l="l" t="t" r="r" b="b"/>
              <a:pathLst>
                <a:path w="28" h="1396">
                  <a:moveTo>
                    <a:pt x="28" y="1397"/>
                  </a:moveTo>
                  <a:cubicBezTo>
                    <a:pt x="-9" y="932"/>
                    <a:pt x="-9" y="465"/>
                    <a:pt x="28" y="0"/>
                  </a:cubicBezTo>
                  <a:cubicBezTo>
                    <a:pt x="-9" y="465"/>
                    <a:pt x="-9" y="932"/>
                    <a:pt x="28" y="1397"/>
                  </a:cubicBezTo>
                  <a:close/>
                </a:path>
              </a:pathLst>
            </a:custGeom>
            <a:solidFill>
              <a:srgbClr val="000000"/>
            </a:solidFill>
            <a:ln w="1269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B2BC9CD7-FD6A-4D12-8458-D8F0E47E0001}"/>
                </a:ext>
              </a:extLst>
            </p:cNvPr>
            <p:cNvSpPr/>
            <p:nvPr/>
          </p:nvSpPr>
          <p:spPr>
            <a:xfrm>
              <a:off x="5006051" y="5644737"/>
              <a:ext cx="13778" cy="202767"/>
            </a:xfrm>
            <a:custGeom>
              <a:avLst/>
              <a:gdLst>
                <a:gd name="connsiteX0" fmla="*/ 2666 w 13778"/>
                <a:gd name="connsiteY0" fmla="*/ 181564 h 202767"/>
                <a:gd name="connsiteX1" fmla="*/ 5206 w 13778"/>
                <a:gd name="connsiteY1" fmla="*/ 185753 h 202767"/>
                <a:gd name="connsiteX2" fmla="*/ 5206 w 13778"/>
                <a:gd name="connsiteY2" fmla="*/ 185753 h 202767"/>
                <a:gd name="connsiteX3" fmla="*/ 12824 w 13778"/>
                <a:gd name="connsiteY3" fmla="*/ 198450 h 202767"/>
                <a:gd name="connsiteX4" fmla="*/ 13712 w 13778"/>
                <a:gd name="connsiteY4" fmla="*/ 202767 h 202767"/>
                <a:gd name="connsiteX5" fmla="*/ 13712 w 13778"/>
                <a:gd name="connsiteY5" fmla="*/ 202005 h 202767"/>
                <a:gd name="connsiteX6" fmla="*/ 13712 w 13778"/>
                <a:gd name="connsiteY6" fmla="*/ 6856 h 202767"/>
                <a:gd name="connsiteX7" fmla="*/ 6856 w 13778"/>
                <a:gd name="connsiteY7" fmla="*/ 0 h 202767"/>
                <a:gd name="connsiteX8" fmla="*/ 0 w 13778"/>
                <a:gd name="connsiteY8" fmla="*/ 6856 h 202767"/>
                <a:gd name="connsiteX9" fmla="*/ 0 w 13778"/>
                <a:gd name="connsiteY9" fmla="*/ 177374 h 202767"/>
                <a:gd name="connsiteX10" fmla="*/ 2539 w 13778"/>
                <a:gd name="connsiteY10" fmla="*/ 181564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78" h="202767">
                  <a:moveTo>
                    <a:pt x="2666" y="181564"/>
                  </a:moveTo>
                  <a:lnTo>
                    <a:pt x="5206" y="185753"/>
                  </a:lnTo>
                  <a:lnTo>
                    <a:pt x="5206" y="185753"/>
                  </a:lnTo>
                  <a:lnTo>
                    <a:pt x="12824" y="198450"/>
                  </a:lnTo>
                  <a:cubicBezTo>
                    <a:pt x="13611" y="199741"/>
                    <a:pt x="13928" y="201269"/>
                    <a:pt x="13712" y="202767"/>
                  </a:cubicBezTo>
                  <a:cubicBezTo>
                    <a:pt x="13712" y="202767"/>
                    <a:pt x="13712" y="202767"/>
                    <a:pt x="13712" y="202005"/>
                  </a:cubicBezTo>
                  <a:lnTo>
                    <a:pt x="13712" y="6856"/>
                  </a:lnTo>
                  <a:cubicBezTo>
                    <a:pt x="13712" y="3070"/>
                    <a:pt x="10640" y="0"/>
                    <a:pt x="6856" y="0"/>
                  </a:cubicBezTo>
                  <a:cubicBezTo>
                    <a:pt x="3073" y="0"/>
                    <a:pt x="0" y="3070"/>
                    <a:pt x="0" y="6856"/>
                  </a:cubicBezTo>
                  <a:lnTo>
                    <a:pt x="0" y="177374"/>
                  </a:lnTo>
                  <a:lnTo>
                    <a:pt x="2539" y="181564"/>
                  </a:lnTo>
                  <a:close/>
                </a:path>
              </a:pathLst>
            </a:custGeom>
            <a:solidFill>
              <a:srgbClr val="000000"/>
            </a:solidFill>
            <a:ln w="1269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1AB6C6E5-36A5-443B-933D-2D1603CE9136}"/>
                </a:ext>
              </a:extLst>
            </p:cNvPr>
            <p:cNvSpPr/>
            <p:nvPr/>
          </p:nvSpPr>
          <p:spPr>
            <a:xfrm>
              <a:off x="5019002" y="5848520"/>
              <a:ext cx="12696" cy="1142"/>
            </a:xfrm>
            <a:custGeom>
              <a:avLst/>
              <a:gdLst>
                <a:gd name="connsiteX0" fmla="*/ 0 w 12696"/>
                <a:gd name="connsiteY0" fmla="*/ 1143 h 1142"/>
                <a:gd name="connsiteX1" fmla="*/ 0 w 12696"/>
                <a:gd name="connsiteY1" fmla="*/ 0 h 1142"/>
              </a:gdLst>
              <a:ahLst/>
              <a:cxnLst>
                <a:cxn ang="0">
                  <a:pos x="connsiteX0" y="connsiteY0"/>
                </a:cxn>
                <a:cxn ang="0">
                  <a:pos x="connsiteX1" y="connsiteY1"/>
                </a:cxn>
              </a:cxnLst>
              <a:rect l="l" t="t" r="r" b="b"/>
              <a:pathLst>
                <a:path w="12696" h="1142">
                  <a:moveTo>
                    <a:pt x="0" y="1143"/>
                  </a:moveTo>
                  <a:lnTo>
                    <a:pt x="0" y="0"/>
                  </a:lnTo>
                  <a:close/>
                </a:path>
              </a:pathLst>
            </a:custGeom>
            <a:solidFill>
              <a:srgbClr val="000000"/>
            </a:solidFill>
            <a:ln w="1269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A48FE129-14A7-4BDC-88D3-2F1405915E75}"/>
                </a:ext>
              </a:extLst>
            </p:cNvPr>
            <p:cNvSpPr/>
            <p:nvPr/>
          </p:nvSpPr>
          <p:spPr>
            <a:xfrm>
              <a:off x="5014304" y="5852836"/>
              <a:ext cx="2031" cy="634"/>
            </a:xfrm>
            <a:custGeom>
              <a:avLst/>
              <a:gdLst>
                <a:gd name="connsiteX0" fmla="*/ 2032 w 2031"/>
                <a:gd name="connsiteY0" fmla="*/ 0 h 634"/>
                <a:gd name="connsiteX1" fmla="*/ 0 w 2031"/>
                <a:gd name="connsiteY1" fmla="*/ 635 h 634"/>
                <a:gd name="connsiteX2" fmla="*/ 0 w 2031"/>
                <a:gd name="connsiteY2" fmla="*/ 635 h 634"/>
                <a:gd name="connsiteX3" fmla="*/ 2032 w 2031"/>
                <a:gd name="connsiteY3" fmla="*/ 0 h 634"/>
              </a:gdLst>
              <a:ahLst/>
              <a:cxnLst>
                <a:cxn ang="0">
                  <a:pos x="connsiteX0" y="connsiteY0"/>
                </a:cxn>
                <a:cxn ang="0">
                  <a:pos x="connsiteX1" y="connsiteY1"/>
                </a:cxn>
                <a:cxn ang="0">
                  <a:pos x="connsiteX2" y="connsiteY2"/>
                </a:cxn>
                <a:cxn ang="0">
                  <a:pos x="connsiteX3" y="connsiteY3"/>
                </a:cxn>
              </a:cxnLst>
              <a:rect l="l" t="t" r="r" b="b"/>
              <a:pathLst>
                <a:path w="2031" h="634">
                  <a:moveTo>
                    <a:pt x="2032" y="0"/>
                  </a:moveTo>
                  <a:cubicBezTo>
                    <a:pt x="1397" y="326"/>
                    <a:pt x="711" y="541"/>
                    <a:pt x="0" y="635"/>
                  </a:cubicBezTo>
                  <a:lnTo>
                    <a:pt x="0" y="635"/>
                  </a:lnTo>
                  <a:cubicBezTo>
                    <a:pt x="711" y="535"/>
                    <a:pt x="1397" y="320"/>
                    <a:pt x="2032" y="0"/>
                  </a:cubicBezTo>
                  <a:close/>
                </a:path>
              </a:pathLst>
            </a:custGeom>
            <a:solidFill>
              <a:srgbClr val="000000"/>
            </a:solidFill>
            <a:ln w="1269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BD66A463-C0F5-4F73-BDDE-2F5A43F88599}"/>
                </a:ext>
              </a:extLst>
            </p:cNvPr>
            <p:cNvSpPr/>
            <p:nvPr/>
          </p:nvSpPr>
          <p:spPr>
            <a:xfrm>
              <a:off x="5017225" y="5850805"/>
              <a:ext cx="1015" cy="888"/>
            </a:xfrm>
            <a:custGeom>
              <a:avLst/>
              <a:gdLst>
                <a:gd name="connsiteX0" fmla="*/ 1016 w 1015"/>
                <a:gd name="connsiteY0" fmla="*/ 0 h 888"/>
                <a:gd name="connsiteX1" fmla="*/ 0 w 1015"/>
                <a:gd name="connsiteY1" fmla="*/ 889 h 888"/>
                <a:gd name="connsiteX2" fmla="*/ 1016 w 1015"/>
                <a:gd name="connsiteY2" fmla="*/ 0 h 888"/>
              </a:gdLst>
              <a:ahLst/>
              <a:cxnLst>
                <a:cxn ang="0">
                  <a:pos x="connsiteX0" y="connsiteY0"/>
                </a:cxn>
                <a:cxn ang="0">
                  <a:pos x="connsiteX1" y="connsiteY1"/>
                </a:cxn>
                <a:cxn ang="0">
                  <a:pos x="connsiteX2" y="connsiteY2"/>
                </a:cxn>
              </a:cxnLst>
              <a:rect l="l" t="t" r="r" b="b"/>
              <a:pathLst>
                <a:path w="1015" h="888">
                  <a:moveTo>
                    <a:pt x="1016" y="0"/>
                  </a:moveTo>
                  <a:cubicBezTo>
                    <a:pt x="736" y="361"/>
                    <a:pt x="394" y="663"/>
                    <a:pt x="0" y="889"/>
                  </a:cubicBezTo>
                  <a:cubicBezTo>
                    <a:pt x="394" y="663"/>
                    <a:pt x="736" y="361"/>
                    <a:pt x="1016" y="0"/>
                  </a:cubicBezTo>
                  <a:close/>
                </a:path>
              </a:pathLst>
            </a:custGeom>
            <a:solidFill>
              <a:srgbClr val="000000"/>
            </a:solidFill>
            <a:ln w="1269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93B32DAC-92A5-4988-B08A-EDDF473D1D62}"/>
                </a:ext>
              </a:extLst>
            </p:cNvPr>
            <p:cNvSpPr/>
            <p:nvPr/>
          </p:nvSpPr>
          <p:spPr>
            <a:xfrm>
              <a:off x="5009987" y="5852836"/>
              <a:ext cx="1777" cy="12696"/>
            </a:xfrm>
            <a:custGeom>
              <a:avLst/>
              <a:gdLst>
                <a:gd name="connsiteX0" fmla="*/ 1778 w 1777"/>
                <a:gd name="connsiteY0" fmla="*/ 0 h 12696"/>
                <a:gd name="connsiteX1" fmla="*/ 0 w 1777"/>
                <a:gd name="connsiteY1" fmla="*/ 0 h 12696"/>
                <a:gd name="connsiteX2" fmla="*/ 1778 w 1777"/>
                <a:gd name="connsiteY2" fmla="*/ 0 h 12696"/>
              </a:gdLst>
              <a:ahLst/>
              <a:cxnLst>
                <a:cxn ang="0">
                  <a:pos x="connsiteX0" y="connsiteY0"/>
                </a:cxn>
                <a:cxn ang="0">
                  <a:pos x="connsiteX1" y="connsiteY1"/>
                </a:cxn>
                <a:cxn ang="0">
                  <a:pos x="connsiteX2" y="connsiteY2"/>
                </a:cxn>
              </a:cxnLst>
              <a:rect l="l" t="t" r="r" b="b"/>
              <a:pathLst>
                <a:path w="1777" h="12696">
                  <a:moveTo>
                    <a:pt x="1778" y="0"/>
                  </a:moveTo>
                  <a:lnTo>
                    <a:pt x="0" y="0"/>
                  </a:lnTo>
                  <a:lnTo>
                    <a:pt x="1778" y="0"/>
                  </a:lnTo>
                  <a:close/>
                </a:path>
              </a:pathLst>
            </a:custGeom>
            <a:solidFill>
              <a:srgbClr val="000000"/>
            </a:solidFill>
            <a:ln w="1269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70EA4E5A-48AF-4EF4-B497-1C83C9615108}"/>
                </a:ext>
              </a:extLst>
            </p:cNvPr>
            <p:cNvSpPr/>
            <p:nvPr/>
          </p:nvSpPr>
          <p:spPr>
            <a:xfrm>
              <a:off x="5007575" y="5850424"/>
              <a:ext cx="1777" cy="1650"/>
            </a:xfrm>
            <a:custGeom>
              <a:avLst/>
              <a:gdLst>
                <a:gd name="connsiteX0" fmla="*/ 1778 w 1777"/>
                <a:gd name="connsiteY0" fmla="*/ 1651 h 1650"/>
                <a:gd name="connsiteX1" fmla="*/ 0 w 1777"/>
                <a:gd name="connsiteY1" fmla="*/ 0 h 1650"/>
                <a:gd name="connsiteX2" fmla="*/ 1778 w 1777"/>
                <a:gd name="connsiteY2" fmla="*/ 1651 h 1650"/>
              </a:gdLst>
              <a:ahLst/>
              <a:cxnLst>
                <a:cxn ang="0">
                  <a:pos x="connsiteX0" y="connsiteY0"/>
                </a:cxn>
                <a:cxn ang="0">
                  <a:pos x="connsiteX1" y="connsiteY1"/>
                </a:cxn>
                <a:cxn ang="0">
                  <a:pos x="connsiteX2" y="connsiteY2"/>
                </a:cxn>
              </a:cxnLst>
              <a:rect l="l" t="t" r="r" b="b"/>
              <a:pathLst>
                <a:path w="1777" h="1650">
                  <a:moveTo>
                    <a:pt x="1778" y="1651"/>
                  </a:moveTo>
                  <a:cubicBezTo>
                    <a:pt x="1092" y="1202"/>
                    <a:pt x="495" y="645"/>
                    <a:pt x="0" y="0"/>
                  </a:cubicBezTo>
                  <a:cubicBezTo>
                    <a:pt x="495" y="645"/>
                    <a:pt x="1092" y="1202"/>
                    <a:pt x="1778" y="1651"/>
                  </a:cubicBezTo>
                  <a:close/>
                </a:path>
              </a:pathLst>
            </a:custGeom>
            <a:solidFill>
              <a:srgbClr val="000000"/>
            </a:solidFill>
            <a:ln w="1269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D2F2B091-ADC0-4823-8346-34C5F471B3B3}"/>
                </a:ext>
              </a:extLst>
            </p:cNvPr>
            <p:cNvSpPr/>
            <p:nvPr/>
          </p:nvSpPr>
          <p:spPr>
            <a:xfrm>
              <a:off x="5529409" y="5671011"/>
              <a:ext cx="2412" cy="151225"/>
            </a:xfrm>
            <a:custGeom>
              <a:avLst/>
              <a:gdLst>
                <a:gd name="connsiteX0" fmla="*/ 2412 w 2412"/>
                <a:gd name="connsiteY0" fmla="*/ 143735 h 151225"/>
                <a:gd name="connsiteX1" fmla="*/ 2412 w 2412"/>
                <a:gd name="connsiteY1" fmla="*/ 1150 h 151225"/>
                <a:gd name="connsiteX2" fmla="*/ 1283 w 2412"/>
                <a:gd name="connsiteY2" fmla="*/ 0 h 151225"/>
                <a:gd name="connsiteX3" fmla="*/ 1143 w 2412"/>
                <a:gd name="connsiteY3" fmla="*/ 8 h 151225"/>
                <a:gd name="connsiteX4" fmla="*/ 0 w 2412"/>
                <a:gd name="connsiteY4" fmla="*/ 1150 h 151225"/>
                <a:gd name="connsiteX5" fmla="*/ 0 w 2412"/>
                <a:gd name="connsiteY5" fmla="*/ 151226 h 15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151225">
                  <a:moveTo>
                    <a:pt x="2412" y="143735"/>
                  </a:moveTo>
                  <a:lnTo>
                    <a:pt x="2412" y="1150"/>
                  </a:lnTo>
                  <a:cubicBezTo>
                    <a:pt x="2412" y="519"/>
                    <a:pt x="1904" y="4"/>
                    <a:pt x="1283" y="0"/>
                  </a:cubicBezTo>
                  <a:cubicBezTo>
                    <a:pt x="1231" y="0"/>
                    <a:pt x="1193" y="3"/>
                    <a:pt x="1143" y="8"/>
                  </a:cubicBezTo>
                  <a:cubicBezTo>
                    <a:pt x="508" y="8"/>
                    <a:pt x="0" y="519"/>
                    <a:pt x="0" y="1150"/>
                  </a:cubicBezTo>
                  <a:lnTo>
                    <a:pt x="0" y="151226"/>
                  </a:lnTo>
                  <a:close/>
                </a:path>
              </a:pathLst>
            </a:custGeom>
            <a:solidFill>
              <a:srgbClr val="000000"/>
            </a:solidFill>
            <a:ln w="1269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481D7C70-0516-44AC-AFC7-2BF9ACBC7940}"/>
                </a:ext>
              </a:extLst>
            </p:cNvPr>
            <p:cNvSpPr/>
            <p:nvPr/>
          </p:nvSpPr>
          <p:spPr>
            <a:xfrm>
              <a:off x="5529409" y="5830490"/>
              <a:ext cx="2412" cy="9649"/>
            </a:xfrm>
            <a:custGeom>
              <a:avLst/>
              <a:gdLst>
                <a:gd name="connsiteX0" fmla="*/ 2412 w 2412"/>
                <a:gd name="connsiteY0" fmla="*/ 9650 h 9649"/>
                <a:gd name="connsiteX1" fmla="*/ 2412 w 2412"/>
                <a:gd name="connsiteY1" fmla="*/ 2412 h 9649"/>
                <a:gd name="connsiteX2" fmla="*/ 0 w 2412"/>
                <a:gd name="connsiteY2" fmla="*/ 0 h 9649"/>
                <a:gd name="connsiteX3" fmla="*/ 0 w 2412"/>
                <a:gd name="connsiteY3" fmla="*/ 9650 h 9649"/>
                <a:gd name="connsiteX4" fmla="*/ 2412 w 2412"/>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9649">
                  <a:moveTo>
                    <a:pt x="2412" y="9650"/>
                  </a:moveTo>
                  <a:lnTo>
                    <a:pt x="2412" y="2412"/>
                  </a:lnTo>
                  <a:cubicBezTo>
                    <a:pt x="1409" y="1844"/>
                    <a:pt x="572" y="1009"/>
                    <a:pt x="0" y="0"/>
                  </a:cubicBezTo>
                  <a:lnTo>
                    <a:pt x="0" y="9650"/>
                  </a:lnTo>
                  <a:lnTo>
                    <a:pt x="2412" y="9650"/>
                  </a:lnTo>
                  <a:close/>
                </a:path>
              </a:pathLst>
            </a:custGeom>
            <a:solidFill>
              <a:srgbClr val="000000"/>
            </a:solidFill>
            <a:ln w="1269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29D7230F-C6C1-46DB-9695-A167BE615C75}"/>
                </a:ext>
              </a:extLst>
            </p:cNvPr>
            <p:cNvSpPr/>
            <p:nvPr/>
          </p:nvSpPr>
          <p:spPr>
            <a:xfrm>
              <a:off x="5177965" y="5832902"/>
              <a:ext cx="31741" cy="2412"/>
            </a:xfrm>
            <a:custGeom>
              <a:avLst/>
              <a:gdLst>
                <a:gd name="connsiteX0" fmla="*/ 0 w 31741"/>
                <a:gd name="connsiteY0" fmla="*/ 1143 h 2412"/>
                <a:gd name="connsiteX1" fmla="*/ 0 w 31741"/>
                <a:gd name="connsiteY1" fmla="*/ 2412 h 2412"/>
                <a:gd name="connsiteX2" fmla="*/ 30599 w 31741"/>
                <a:gd name="connsiteY2" fmla="*/ 2412 h 2412"/>
                <a:gd name="connsiteX3" fmla="*/ 30599 w 31741"/>
                <a:gd name="connsiteY3" fmla="*/ 1143 h 2412"/>
                <a:gd name="connsiteX4" fmla="*/ 31742 w 31741"/>
                <a:gd name="connsiteY4" fmla="*/ 0 h 2412"/>
                <a:gd name="connsiteX5" fmla="*/ 0 w 31741"/>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41" h="2412">
                  <a:moveTo>
                    <a:pt x="0" y="1143"/>
                  </a:moveTo>
                  <a:lnTo>
                    <a:pt x="0" y="2412"/>
                  </a:lnTo>
                  <a:lnTo>
                    <a:pt x="30599" y="2412"/>
                  </a:lnTo>
                  <a:lnTo>
                    <a:pt x="30599" y="1143"/>
                  </a:lnTo>
                  <a:cubicBezTo>
                    <a:pt x="30599" y="512"/>
                    <a:pt x="31107" y="0"/>
                    <a:pt x="31742" y="0"/>
                  </a:cubicBezTo>
                  <a:lnTo>
                    <a:pt x="0" y="0"/>
                  </a:lnTo>
                  <a:close/>
                </a:path>
              </a:pathLst>
            </a:custGeom>
            <a:solidFill>
              <a:srgbClr val="000000"/>
            </a:solidFill>
            <a:ln w="1269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7D5C036D-A811-4E08-8A40-F2FA829C9E05}"/>
                </a:ext>
              </a:extLst>
            </p:cNvPr>
            <p:cNvSpPr/>
            <p:nvPr/>
          </p:nvSpPr>
          <p:spPr>
            <a:xfrm>
              <a:off x="5164252" y="5834553"/>
              <a:ext cx="13712" cy="292025"/>
            </a:xfrm>
            <a:custGeom>
              <a:avLst/>
              <a:gdLst>
                <a:gd name="connsiteX0" fmla="*/ 6856 w 13712"/>
                <a:gd name="connsiteY0" fmla="*/ 292025 h 292025"/>
                <a:gd name="connsiteX1" fmla="*/ 13713 w 13712"/>
                <a:gd name="connsiteY1" fmla="*/ 292025 h 292025"/>
                <a:gd name="connsiteX2" fmla="*/ 13713 w 13712"/>
                <a:gd name="connsiteY2" fmla="*/ 0 h 292025"/>
                <a:gd name="connsiteX3" fmla="*/ 6856 w 13712"/>
                <a:gd name="connsiteY3" fmla="*/ 6856 h 292025"/>
                <a:gd name="connsiteX4" fmla="*/ 0 w 13712"/>
                <a:gd name="connsiteY4" fmla="*/ 0 h 292025"/>
                <a:gd name="connsiteX5" fmla="*/ 0 w 13712"/>
                <a:gd name="connsiteY5" fmla="*/ 292025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292025">
                  <a:moveTo>
                    <a:pt x="6856" y="292025"/>
                  </a:moveTo>
                  <a:lnTo>
                    <a:pt x="13713" y="292025"/>
                  </a:lnTo>
                  <a:lnTo>
                    <a:pt x="13713" y="0"/>
                  </a:lnTo>
                  <a:cubicBezTo>
                    <a:pt x="13713" y="3786"/>
                    <a:pt x="10640" y="6856"/>
                    <a:pt x="6856" y="6856"/>
                  </a:cubicBezTo>
                  <a:cubicBezTo>
                    <a:pt x="3073" y="6856"/>
                    <a:pt x="0" y="3786"/>
                    <a:pt x="0" y="0"/>
                  </a:cubicBezTo>
                  <a:lnTo>
                    <a:pt x="0" y="292025"/>
                  </a:lnTo>
                  <a:close/>
                </a:path>
              </a:pathLst>
            </a:custGeom>
            <a:solidFill>
              <a:schemeClr val="accent2"/>
            </a:solidFill>
            <a:ln w="1269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0E2B68F9-EDD2-4433-826B-9A20CF585D96}"/>
                </a:ext>
              </a:extLst>
            </p:cNvPr>
            <p:cNvSpPr/>
            <p:nvPr/>
          </p:nvSpPr>
          <p:spPr>
            <a:xfrm>
              <a:off x="7799705" y="6512813"/>
              <a:ext cx="6602" cy="1142"/>
            </a:xfrm>
            <a:custGeom>
              <a:avLst/>
              <a:gdLst>
                <a:gd name="connsiteX0" fmla="*/ 0 w 6602"/>
                <a:gd name="connsiteY0" fmla="*/ 254 h 1142"/>
                <a:gd name="connsiteX1" fmla="*/ 0 w 6602"/>
                <a:gd name="connsiteY1" fmla="*/ 1143 h 1142"/>
                <a:gd name="connsiteX2" fmla="*/ 0 w 6602"/>
                <a:gd name="connsiteY2" fmla="*/ 1143 h 1142"/>
                <a:gd name="connsiteX3" fmla="*/ 6603 w 6602"/>
                <a:gd name="connsiteY3" fmla="*/ 1143 h 1142"/>
                <a:gd name="connsiteX4" fmla="*/ 6603 w 6602"/>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2" h="1142">
                  <a:moveTo>
                    <a:pt x="0" y="254"/>
                  </a:moveTo>
                  <a:cubicBezTo>
                    <a:pt x="64" y="546"/>
                    <a:pt x="64" y="851"/>
                    <a:pt x="0" y="1143"/>
                  </a:cubicBezTo>
                  <a:lnTo>
                    <a:pt x="0" y="1143"/>
                  </a:lnTo>
                  <a:lnTo>
                    <a:pt x="6603" y="1143"/>
                  </a:lnTo>
                  <a:cubicBezTo>
                    <a:pt x="6539" y="762"/>
                    <a:pt x="6539" y="381"/>
                    <a:pt x="6603" y="0"/>
                  </a:cubicBezTo>
                  <a:close/>
                </a:path>
              </a:pathLst>
            </a:custGeom>
            <a:solidFill>
              <a:srgbClr val="000000"/>
            </a:solidFill>
            <a:ln w="1269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156AD20E-9216-4725-AAB5-120A8D3C4861}"/>
                </a:ext>
              </a:extLst>
            </p:cNvPr>
            <p:cNvSpPr/>
            <p:nvPr/>
          </p:nvSpPr>
          <p:spPr>
            <a:xfrm>
              <a:off x="7103418" y="6511671"/>
              <a:ext cx="71863" cy="2412"/>
            </a:xfrm>
            <a:custGeom>
              <a:avLst/>
              <a:gdLst>
                <a:gd name="connsiteX0" fmla="*/ 43042 w 71863"/>
                <a:gd name="connsiteY0" fmla="*/ 0 h 2412"/>
                <a:gd name="connsiteX1" fmla="*/ 23235 w 71863"/>
                <a:gd name="connsiteY1" fmla="*/ 0 h 2412"/>
                <a:gd name="connsiteX2" fmla="*/ 21966 w 71863"/>
                <a:gd name="connsiteY2" fmla="*/ 1270 h 2412"/>
                <a:gd name="connsiteX3" fmla="*/ 763 w 71863"/>
                <a:gd name="connsiteY3" fmla="*/ 1270 h 2412"/>
                <a:gd name="connsiteX4" fmla="*/ 0 w 71863"/>
                <a:gd name="connsiteY4" fmla="*/ 2412 h 2412"/>
                <a:gd name="connsiteX5" fmla="*/ 71864 w 71863"/>
                <a:gd name="connsiteY5" fmla="*/ 2412 h 2412"/>
                <a:gd name="connsiteX6" fmla="*/ 71864 w 71863"/>
                <a:gd name="connsiteY6"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63" h="2412">
                  <a:moveTo>
                    <a:pt x="43042" y="0"/>
                  </a:moveTo>
                  <a:lnTo>
                    <a:pt x="23235" y="0"/>
                  </a:lnTo>
                  <a:cubicBezTo>
                    <a:pt x="23235" y="698"/>
                    <a:pt x="22664" y="1270"/>
                    <a:pt x="21966" y="1270"/>
                  </a:cubicBezTo>
                  <a:lnTo>
                    <a:pt x="763" y="1270"/>
                  </a:lnTo>
                  <a:cubicBezTo>
                    <a:pt x="559" y="1676"/>
                    <a:pt x="292" y="2057"/>
                    <a:pt x="0" y="2412"/>
                  </a:cubicBezTo>
                  <a:lnTo>
                    <a:pt x="71864" y="2412"/>
                  </a:lnTo>
                  <a:lnTo>
                    <a:pt x="71864" y="0"/>
                  </a:lnTo>
                  <a:close/>
                </a:path>
              </a:pathLst>
            </a:custGeom>
            <a:solidFill>
              <a:srgbClr val="000000"/>
            </a:solidFill>
            <a:ln w="1269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585AF24B-B5B1-498B-B054-094D87EED81F}"/>
                </a:ext>
              </a:extLst>
            </p:cNvPr>
            <p:cNvSpPr/>
            <p:nvPr/>
          </p:nvSpPr>
          <p:spPr>
            <a:xfrm>
              <a:off x="5537916" y="5851059"/>
              <a:ext cx="2412" cy="588621"/>
            </a:xfrm>
            <a:custGeom>
              <a:avLst/>
              <a:gdLst>
                <a:gd name="connsiteX0" fmla="*/ 0 w 2412"/>
                <a:gd name="connsiteY0" fmla="*/ 1778 h 588621"/>
                <a:gd name="connsiteX1" fmla="*/ 0 w 2412"/>
                <a:gd name="connsiteY1" fmla="*/ 588621 h 588621"/>
                <a:gd name="connsiteX2" fmla="*/ 2412 w 2412"/>
                <a:gd name="connsiteY2" fmla="*/ 588621 h 588621"/>
                <a:gd name="connsiteX3" fmla="*/ 2412 w 2412"/>
                <a:gd name="connsiteY3" fmla="*/ 0 h 588621"/>
                <a:gd name="connsiteX4" fmla="*/ 0 w 2412"/>
                <a:gd name="connsiteY4" fmla="*/ 1778 h 58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88621">
                  <a:moveTo>
                    <a:pt x="0" y="1778"/>
                  </a:moveTo>
                  <a:lnTo>
                    <a:pt x="0" y="588621"/>
                  </a:lnTo>
                  <a:lnTo>
                    <a:pt x="2412" y="588621"/>
                  </a:lnTo>
                  <a:lnTo>
                    <a:pt x="2412" y="0"/>
                  </a:lnTo>
                  <a:cubicBezTo>
                    <a:pt x="1752" y="769"/>
                    <a:pt x="927" y="1378"/>
                    <a:pt x="0" y="1778"/>
                  </a:cubicBezTo>
                  <a:close/>
                </a:path>
              </a:pathLst>
            </a:custGeom>
            <a:solidFill>
              <a:srgbClr val="000000"/>
            </a:solidFill>
            <a:ln w="1269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58D45FDB-ED3A-4894-B461-AA6618B3A5E0}"/>
                </a:ext>
              </a:extLst>
            </p:cNvPr>
            <p:cNvSpPr/>
            <p:nvPr/>
          </p:nvSpPr>
          <p:spPr>
            <a:xfrm>
              <a:off x="5537916" y="5830998"/>
              <a:ext cx="2412" cy="10792"/>
            </a:xfrm>
            <a:custGeom>
              <a:avLst/>
              <a:gdLst>
                <a:gd name="connsiteX0" fmla="*/ 2412 w 2412"/>
                <a:gd name="connsiteY0" fmla="*/ 10792 h 10792"/>
                <a:gd name="connsiteX1" fmla="*/ 2412 w 2412"/>
                <a:gd name="connsiteY1" fmla="*/ 0 h 10792"/>
                <a:gd name="connsiteX2" fmla="*/ 0 w 2412"/>
                <a:gd name="connsiteY2" fmla="*/ 1778 h 10792"/>
                <a:gd name="connsiteX3" fmla="*/ 0 w 2412"/>
                <a:gd name="connsiteY3" fmla="*/ 9142 h 10792"/>
                <a:gd name="connsiteX4" fmla="*/ 2412 w 2412"/>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0792">
                  <a:moveTo>
                    <a:pt x="2412" y="10792"/>
                  </a:moveTo>
                  <a:lnTo>
                    <a:pt x="2412" y="0"/>
                  </a:lnTo>
                  <a:cubicBezTo>
                    <a:pt x="1752" y="769"/>
                    <a:pt x="927" y="1378"/>
                    <a:pt x="0" y="1778"/>
                  </a:cubicBezTo>
                  <a:lnTo>
                    <a:pt x="0" y="9142"/>
                  </a:lnTo>
                  <a:cubicBezTo>
                    <a:pt x="914" y="9505"/>
                    <a:pt x="1739" y="10069"/>
                    <a:pt x="2412" y="10792"/>
                  </a:cubicBezTo>
                  <a:close/>
                </a:path>
              </a:pathLst>
            </a:custGeom>
            <a:solidFill>
              <a:srgbClr val="000000"/>
            </a:solidFill>
            <a:ln w="1269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84D118BC-019C-4833-A6AD-AC1A8A321CC6}"/>
                </a:ext>
              </a:extLst>
            </p:cNvPr>
            <p:cNvSpPr/>
            <p:nvPr/>
          </p:nvSpPr>
          <p:spPr>
            <a:xfrm>
              <a:off x="5534615" y="5833537"/>
              <a:ext cx="2412" cy="6602"/>
            </a:xfrm>
            <a:custGeom>
              <a:avLst/>
              <a:gdLst>
                <a:gd name="connsiteX0" fmla="*/ 1143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602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143" y="6602"/>
                  </a:moveTo>
                  <a:lnTo>
                    <a:pt x="2412" y="6602"/>
                  </a:lnTo>
                  <a:lnTo>
                    <a:pt x="2412" y="0"/>
                  </a:lnTo>
                  <a:lnTo>
                    <a:pt x="0" y="0"/>
                  </a:lnTo>
                  <a:lnTo>
                    <a:pt x="0" y="6602"/>
                  </a:lnTo>
                  <a:close/>
                </a:path>
              </a:pathLst>
            </a:custGeom>
            <a:solidFill>
              <a:srgbClr val="000000"/>
            </a:solidFill>
            <a:ln w="1269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17AF79F1-4C2A-4039-A0D1-0D927AB9D251}"/>
                </a:ext>
              </a:extLst>
            </p:cNvPr>
            <p:cNvSpPr/>
            <p:nvPr/>
          </p:nvSpPr>
          <p:spPr>
            <a:xfrm>
              <a:off x="5534869" y="5807509"/>
              <a:ext cx="888" cy="12696"/>
            </a:xfrm>
            <a:custGeom>
              <a:avLst/>
              <a:gdLst>
                <a:gd name="connsiteX0" fmla="*/ 889 w 888"/>
                <a:gd name="connsiteY0" fmla="*/ 0 h 12696"/>
                <a:gd name="connsiteX1" fmla="*/ 889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889" y="0"/>
                  </a:lnTo>
                  <a:cubicBezTo>
                    <a:pt x="889" y="0"/>
                    <a:pt x="889" y="0"/>
                    <a:pt x="0" y="0"/>
                  </a:cubicBezTo>
                  <a:close/>
                </a:path>
              </a:pathLst>
            </a:custGeom>
            <a:solidFill>
              <a:srgbClr val="000000"/>
            </a:solidFill>
            <a:ln w="1269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95CC52A9-ED9C-4DE8-A8A2-5D6F1EF15F1D}"/>
                </a:ext>
              </a:extLst>
            </p:cNvPr>
            <p:cNvSpPr/>
            <p:nvPr/>
          </p:nvSpPr>
          <p:spPr>
            <a:xfrm>
              <a:off x="5537281" y="5807128"/>
              <a:ext cx="1523" cy="12696"/>
            </a:xfrm>
            <a:custGeom>
              <a:avLst/>
              <a:gdLst>
                <a:gd name="connsiteX0" fmla="*/ 0 w 1523"/>
                <a:gd name="connsiteY0" fmla="*/ 0 h 12696"/>
                <a:gd name="connsiteX1" fmla="*/ 1524 w 1523"/>
                <a:gd name="connsiteY1" fmla="*/ 0 h 12696"/>
              </a:gdLst>
              <a:ahLst/>
              <a:cxnLst>
                <a:cxn ang="0">
                  <a:pos x="connsiteX0" y="connsiteY0"/>
                </a:cxn>
                <a:cxn ang="0">
                  <a:pos x="connsiteX1" y="connsiteY1"/>
                </a:cxn>
              </a:cxnLst>
              <a:rect l="l" t="t" r="r" b="b"/>
              <a:pathLst>
                <a:path w="1523" h="12696">
                  <a:moveTo>
                    <a:pt x="0" y="0"/>
                  </a:moveTo>
                  <a:lnTo>
                    <a:pt x="1524" y="0"/>
                  </a:lnTo>
                  <a:close/>
                </a:path>
              </a:pathLst>
            </a:custGeom>
            <a:solidFill>
              <a:srgbClr val="000000"/>
            </a:solidFill>
            <a:ln w="1269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C35C6B26-FF17-4760-AAD1-E299B8BC91EA}"/>
                </a:ext>
              </a:extLst>
            </p:cNvPr>
            <p:cNvSpPr/>
            <p:nvPr/>
          </p:nvSpPr>
          <p:spPr>
            <a:xfrm>
              <a:off x="5533345" y="5808722"/>
              <a:ext cx="1002" cy="1326"/>
            </a:xfrm>
            <a:custGeom>
              <a:avLst/>
              <a:gdLst>
                <a:gd name="connsiteX0" fmla="*/ 0 w 1002"/>
                <a:gd name="connsiteY0" fmla="*/ 1326 h 1326"/>
                <a:gd name="connsiteX1" fmla="*/ 762 w 1002"/>
                <a:gd name="connsiteY1" fmla="*/ 311 h 1326"/>
                <a:gd name="connsiteX2" fmla="*/ 0 w 1002"/>
                <a:gd name="connsiteY2" fmla="*/ 1326 h 1326"/>
              </a:gdLst>
              <a:ahLst/>
              <a:cxnLst>
                <a:cxn ang="0">
                  <a:pos x="connsiteX0" y="connsiteY0"/>
                </a:cxn>
                <a:cxn ang="0">
                  <a:pos x="connsiteX1" y="connsiteY1"/>
                </a:cxn>
                <a:cxn ang="0">
                  <a:pos x="connsiteX2" y="connsiteY2"/>
                </a:cxn>
              </a:cxnLst>
              <a:rect l="l" t="t" r="r" b="b"/>
              <a:pathLst>
                <a:path w="1002" h="1326">
                  <a:moveTo>
                    <a:pt x="0" y="1326"/>
                  </a:moveTo>
                  <a:cubicBezTo>
                    <a:pt x="0" y="1326"/>
                    <a:pt x="0" y="1326"/>
                    <a:pt x="762" y="311"/>
                  </a:cubicBezTo>
                  <a:cubicBezTo>
                    <a:pt x="1524" y="-705"/>
                    <a:pt x="254" y="1073"/>
                    <a:pt x="0" y="1326"/>
                  </a:cubicBezTo>
                  <a:close/>
                </a:path>
              </a:pathLst>
            </a:custGeom>
            <a:solidFill>
              <a:srgbClr val="000000"/>
            </a:solidFill>
            <a:ln w="1269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5D982F9D-4150-4E6B-9269-E27AAFFCF4E9}"/>
                </a:ext>
              </a:extLst>
            </p:cNvPr>
            <p:cNvSpPr/>
            <p:nvPr/>
          </p:nvSpPr>
          <p:spPr>
            <a:xfrm>
              <a:off x="5528093" y="5811572"/>
              <a:ext cx="16044" cy="21457"/>
            </a:xfrm>
            <a:custGeom>
              <a:avLst/>
              <a:gdLst>
                <a:gd name="connsiteX0" fmla="*/ 1316 w 16044"/>
                <a:gd name="connsiteY0" fmla="*/ 18283 h 21457"/>
                <a:gd name="connsiteX1" fmla="*/ 3729 w 16044"/>
                <a:gd name="connsiteY1" fmla="*/ 20696 h 21457"/>
                <a:gd name="connsiteX2" fmla="*/ 5252 w 16044"/>
                <a:gd name="connsiteY2" fmla="*/ 21458 h 21457"/>
                <a:gd name="connsiteX3" fmla="*/ 8426 w 16044"/>
                <a:gd name="connsiteY3" fmla="*/ 21458 h 21457"/>
                <a:gd name="connsiteX4" fmla="*/ 9823 w 16044"/>
                <a:gd name="connsiteY4" fmla="*/ 21458 h 21457"/>
                <a:gd name="connsiteX5" fmla="*/ 12235 w 16044"/>
                <a:gd name="connsiteY5" fmla="*/ 19680 h 21457"/>
                <a:gd name="connsiteX6" fmla="*/ 13759 w 16044"/>
                <a:gd name="connsiteY6" fmla="*/ 17014 h 21457"/>
                <a:gd name="connsiteX7" fmla="*/ 13759 w 16044"/>
                <a:gd name="connsiteY7" fmla="*/ 17014 h 21457"/>
                <a:gd name="connsiteX8" fmla="*/ 16044 w 16044"/>
                <a:gd name="connsiteY8" fmla="*/ 9269 h 21457"/>
                <a:gd name="connsiteX9" fmla="*/ 10839 w 16044"/>
                <a:gd name="connsiteY9" fmla="*/ 9269 h 21457"/>
                <a:gd name="connsiteX10" fmla="*/ 3982 w 16044"/>
                <a:gd name="connsiteY10" fmla="*/ 2412 h 21457"/>
                <a:gd name="connsiteX11" fmla="*/ 3982 w 16044"/>
                <a:gd name="connsiteY11" fmla="*/ 0 h 21457"/>
                <a:gd name="connsiteX12" fmla="*/ 3982 w 16044"/>
                <a:gd name="connsiteY12" fmla="*/ 0 h 21457"/>
                <a:gd name="connsiteX13" fmla="*/ 3348 w 16044"/>
                <a:gd name="connsiteY13" fmla="*/ 2412 h 21457"/>
                <a:gd name="connsiteX14" fmla="*/ 935 w 16044"/>
                <a:gd name="connsiteY14" fmla="*/ 10538 h 21457"/>
                <a:gd name="connsiteX15" fmla="*/ 174 w 16044"/>
                <a:gd name="connsiteY15" fmla="*/ 12697 h 21457"/>
                <a:gd name="connsiteX16" fmla="*/ 174 w 16044"/>
                <a:gd name="connsiteY16" fmla="*/ 12697 h 21457"/>
                <a:gd name="connsiteX17" fmla="*/ 1316 w 16044"/>
                <a:gd name="connsiteY17" fmla="*/ 18283 h 2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44" h="21457">
                  <a:moveTo>
                    <a:pt x="1316" y="18283"/>
                  </a:moveTo>
                  <a:cubicBezTo>
                    <a:pt x="1888" y="19293"/>
                    <a:pt x="2725" y="20127"/>
                    <a:pt x="3729" y="20696"/>
                  </a:cubicBezTo>
                  <a:cubicBezTo>
                    <a:pt x="4198" y="21025"/>
                    <a:pt x="4706" y="21281"/>
                    <a:pt x="5252" y="21458"/>
                  </a:cubicBezTo>
                  <a:lnTo>
                    <a:pt x="8426" y="21458"/>
                  </a:lnTo>
                  <a:lnTo>
                    <a:pt x="9823" y="21458"/>
                  </a:lnTo>
                  <a:cubicBezTo>
                    <a:pt x="10750" y="21058"/>
                    <a:pt x="11575" y="20449"/>
                    <a:pt x="12235" y="19680"/>
                  </a:cubicBezTo>
                  <a:cubicBezTo>
                    <a:pt x="12959" y="18936"/>
                    <a:pt x="13493" y="18018"/>
                    <a:pt x="13759" y="17014"/>
                  </a:cubicBezTo>
                  <a:lnTo>
                    <a:pt x="13759" y="17014"/>
                  </a:lnTo>
                  <a:lnTo>
                    <a:pt x="16044" y="9269"/>
                  </a:lnTo>
                  <a:lnTo>
                    <a:pt x="10839" y="9269"/>
                  </a:lnTo>
                  <a:cubicBezTo>
                    <a:pt x="7055" y="9269"/>
                    <a:pt x="3982" y="6199"/>
                    <a:pt x="3982" y="2412"/>
                  </a:cubicBezTo>
                  <a:cubicBezTo>
                    <a:pt x="3856" y="1614"/>
                    <a:pt x="3856" y="799"/>
                    <a:pt x="3982" y="0"/>
                  </a:cubicBezTo>
                  <a:lnTo>
                    <a:pt x="3982" y="0"/>
                  </a:lnTo>
                  <a:lnTo>
                    <a:pt x="3348" y="2412"/>
                  </a:lnTo>
                  <a:lnTo>
                    <a:pt x="935" y="10538"/>
                  </a:lnTo>
                  <a:lnTo>
                    <a:pt x="174" y="12697"/>
                  </a:lnTo>
                  <a:lnTo>
                    <a:pt x="174" y="12697"/>
                  </a:lnTo>
                  <a:cubicBezTo>
                    <a:pt x="-271" y="14637"/>
                    <a:pt x="148" y="16676"/>
                    <a:pt x="1316" y="18283"/>
                  </a:cubicBezTo>
                  <a:close/>
                </a:path>
              </a:pathLst>
            </a:custGeom>
            <a:solidFill>
              <a:srgbClr val="000000"/>
            </a:solidFill>
            <a:ln w="1269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FCF95557-81CB-421B-8C72-2E2D8F2868B4}"/>
                </a:ext>
              </a:extLst>
            </p:cNvPr>
            <p:cNvSpPr/>
            <p:nvPr/>
          </p:nvSpPr>
          <p:spPr>
            <a:xfrm>
              <a:off x="5965667" y="6829344"/>
              <a:ext cx="119983" cy="2539"/>
            </a:xfrm>
            <a:custGeom>
              <a:avLst/>
              <a:gdLst>
                <a:gd name="connsiteX0" fmla="*/ 115794 w 119983"/>
                <a:gd name="connsiteY0" fmla="*/ 0 h 2539"/>
                <a:gd name="connsiteX1" fmla="*/ 0 w 119983"/>
                <a:gd name="connsiteY1" fmla="*/ 0 h 2539"/>
                <a:gd name="connsiteX2" fmla="*/ 0 w 119983"/>
                <a:gd name="connsiteY2" fmla="*/ 1270 h 2539"/>
                <a:gd name="connsiteX3" fmla="*/ 0 w 119983"/>
                <a:gd name="connsiteY3" fmla="*/ 2539 h 2539"/>
                <a:gd name="connsiteX4" fmla="*/ 119984 w 119983"/>
                <a:gd name="connsiteY4" fmla="*/ 2539 h 2539"/>
                <a:gd name="connsiteX5" fmla="*/ 115794 w 119983"/>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83" h="2539">
                  <a:moveTo>
                    <a:pt x="115794" y="0"/>
                  </a:moveTo>
                  <a:lnTo>
                    <a:pt x="0" y="0"/>
                  </a:lnTo>
                  <a:lnTo>
                    <a:pt x="0" y="1270"/>
                  </a:lnTo>
                  <a:lnTo>
                    <a:pt x="0" y="2539"/>
                  </a:lnTo>
                  <a:lnTo>
                    <a:pt x="119984" y="2539"/>
                  </a:lnTo>
                  <a:lnTo>
                    <a:pt x="115794" y="0"/>
                  </a:lnTo>
                  <a:close/>
                </a:path>
              </a:pathLst>
            </a:custGeom>
            <a:solidFill>
              <a:srgbClr val="000000"/>
            </a:solidFill>
            <a:ln w="1269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08AD929E-654F-4635-BBC3-E4611C90EE13}"/>
                </a:ext>
              </a:extLst>
            </p:cNvPr>
            <p:cNvSpPr/>
            <p:nvPr/>
          </p:nvSpPr>
          <p:spPr>
            <a:xfrm>
              <a:off x="5965667" y="6813346"/>
              <a:ext cx="93574" cy="2539"/>
            </a:xfrm>
            <a:custGeom>
              <a:avLst/>
              <a:gdLst>
                <a:gd name="connsiteX0" fmla="*/ 0 w 93574"/>
                <a:gd name="connsiteY0" fmla="*/ 1270 h 2539"/>
                <a:gd name="connsiteX1" fmla="*/ 0 w 93574"/>
                <a:gd name="connsiteY1" fmla="*/ 2540 h 2539"/>
                <a:gd name="connsiteX2" fmla="*/ 93575 w 93574"/>
                <a:gd name="connsiteY2" fmla="*/ 2540 h 2539"/>
                <a:gd name="connsiteX3" fmla="*/ 93575 w 93574"/>
                <a:gd name="connsiteY3" fmla="*/ 0 h 2539"/>
                <a:gd name="connsiteX4" fmla="*/ 0 w 93574"/>
                <a:gd name="connsiteY4" fmla="*/ 0 h 2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4" h="2539">
                  <a:moveTo>
                    <a:pt x="0" y="1270"/>
                  </a:moveTo>
                  <a:lnTo>
                    <a:pt x="0" y="2540"/>
                  </a:lnTo>
                  <a:lnTo>
                    <a:pt x="93575" y="2540"/>
                  </a:lnTo>
                  <a:cubicBezTo>
                    <a:pt x="93448" y="1701"/>
                    <a:pt x="93448" y="838"/>
                    <a:pt x="93575" y="0"/>
                  </a:cubicBezTo>
                  <a:lnTo>
                    <a:pt x="0" y="0"/>
                  </a:lnTo>
                  <a:close/>
                </a:path>
              </a:pathLst>
            </a:custGeom>
            <a:solidFill>
              <a:srgbClr val="000000"/>
            </a:solidFill>
            <a:ln w="1269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0B761B51-9C94-4762-84D5-0E35B3EFB0D3}"/>
                </a:ext>
              </a:extLst>
            </p:cNvPr>
            <p:cNvSpPr/>
            <p:nvPr/>
          </p:nvSpPr>
          <p:spPr>
            <a:xfrm>
              <a:off x="6102538" y="6830486"/>
              <a:ext cx="634" cy="1142"/>
            </a:xfrm>
            <a:custGeom>
              <a:avLst/>
              <a:gdLst>
                <a:gd name="connsiteX0" fmla="*/ 0 w 634"/>
                <a:gd name="connsiteY0" fmla="*/ 0 h 1142"/>
                <a:gd name="connsiteX1" fmla="*/ 635 w 634"/>
                <a:gd name="connsiteY1" fmla="*/ 1143 h 1142"/>
                <a:gd name="connsiteX2" fmla="*/ 0 w 634"/>
                <a:gd name="connsiteY2" fmla="*/ 0 h 1142"/>
              </a:gdLst>
              <a:ahLst/>
              <a:cxnLst>
                <a:cxn ang="0">
                  <a:pos x="connsiteX0" y="connsiteY0"/>
                </a:cxn>
                <a:cxn ang="0">
                  <a:pos x="connsiteX1" y="connsiteY1"/>
                </a:cxn>
                <a:cxn ang="0">
                  <a:pos x="connsiteX2" y="connsiteY2"/>
                </a:cxn>
              </a:cxnLst>
              <a:rect l="l" t="t" r="r" b="b"/>
              <a:pathLst>
                <a:path w="634" h="1142">
                  <a:moveTo>
                    <a:pt x="0" y="0"/>
                  </a:moveTo>
                  <a:cubicBezTo>
                    <a:pt x="254" y="356"/>
                    <a:pt x="470" y="736"/>
                    <a:pt x="635" y="1143"/>
                  </a:cubicBezTo>
                  <a:cubicBezTo>
                    <a:pt x="470" y="736"/>
                    <a:pt x="254" y="356"/>
                    <a:pt x="0" y="0"/>
                  </a:cubicBezTo>
                  <a:close/>
                </a:path>
              </a:pathLst>
            </a:custGeom>
            <a:solidFill>
              <a:srgbClr val="000000"/>
            </a:solidFill>
            <a:ln w="1269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2A1CB6A0-A49F-4FB1-8DA7-897231B0F19F}"/>
                </a:ext>
              </a:extLst>
            </p:cNvPr>
            <p:cNvSpPr/>
            <p:nvPr/>
          </p:nvSpPr>
          <p:spPr>
            <a:xfrm>
              <a:off x="6103807" y="6832899"/>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4"/>
                    <a:pt x="127" y="381"/>
                    <a:pt x="0" y="0"/>
                  </a:cubicBezTo>
                  <a:close/>
                </a:path>
              </a:pathLst>
            </a:custGeom>
            <a:solidFill>
              <a:srgbClr val="000000"/>
            </a:solidFill>
            <a:ln w="1269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9505B1E1-B3CE-43FB-9FD6-E6FF8284C54C}"/>
                </a:ext>
              </a:extLst>
            </p:cNvPr>
            <p:cNvSpPr/>
            <p:nvPr/>
          </p:nvSpPr>
          <p:spPr>
            <a:xfrm>
              <a:off x="6060766" y="6519543"/>
              <a:ext cx="2412" cy="296342"/>
            </a:xfrm>
            <a:custGeom>
              <a:avLst/>
              <a:gdLst>
                <a:gd name="connsiteX0" fmla="*/ 0 w 2412"/>
                <a:gd name="connsiteY0" fmla="*/ 0 h 296342"/>
                <a:gd name="connsiteX1" fmla="*/ 0 w 2412"/>
                <a:gd name="connsiteY1" fmla="*/ 295073 h 296342"/>
                <a:gd name="connsiteX2" fmla="*/ 1270 w 2412"/>
                <a:gd name="connsiteY2" fmla="*/ 296342 h 296342"/>
                <a:gd name="connsiteX3" fmla="*/ 2412 w 2412"/>
                <a:gd name="connsiteY3" fmla="*/ 295073 h 296342"/>
                <a:gd name="connsiteX4" fmla="*/ 2412 w 2412"/>
                <a:gd name="connsiteY4" fmla="*/ 0 h 296342"/>
                <a:gd name="connsiteX5" fmla="*/ 1270 w 2412"/>
                <a:gd name="connsiteY5" fmla="*/ 0 h 2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342">
                  <a:moveTo>
                    <a:pt x="0" y="0"/>
                  </a:moveTo>
                  <a:lnTo>
                    <a:pt x="0" y="295073"/>
                  </a:lnTo>
                  <a:cubicBezTo>
                    <a:pt x="0" y="295771"/>
                    <a:pt x="571" y="296342"/>
                    <a:pt x="1270" y="296342"/>
                  </a:cubicBezTo>
                  <a:cubicBezTo>
                    <a:pt x="1917" y="296279"/>
                    <a:pt x="2412" y="295733"/>
                    <a:pt x="2412" y="295073"/>
                  </a:cubicBezTo>
                  <a:lnTo>
                    <a:pt x="2412" y="0"/>
                  </a:lnTo>
                  <a:lnTo>
                    <a:pt x="1270" y="0"/>
                  </a:lnTo>
                  <a:close/>
                </a:path>
              </a:pathLst>
            </a:custGeom>
            <a:solidFill>
              <a:srgbClr val="000000"/>
            </a:solidFill>
            <a:ln w="1269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3D98C1BB-F72A-4AE4-BF13-13C199905167}"/>
                </a:ext>
              </a:extLst>
            </p:cNvPr>
            <p:cNvSpPr/>
            <p:nvPr/>
          </p:nvSpPr>
          <p:spPr>
            <a:xfrm>
              <a:off x="4524212" y="6249356"/>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07580966-F53C-4314-BA6E-4947C2F53F08}"/>
                </a:ext>
              </a:extLst>
            </p:cNvPr>
            <p:cNvSpPr/>
            <p:nvPr/>
          </p:nvSpPr>
          <p:spPr>
            <a:xfrm>
              <a:off x="5208564" y="5851567"/>
              <a:ext cx="2412" cy="275011"/>
            </a:xfrm>
            <a:custGeom>
              <a:avLst/>
              <a:gdLst>
                <a:gd name="connsiteX0" fmla="*/ 1143 w 2412"/>
                <a:gd name="connsiteY0" fmla="*/ 275012 h 275011"/>
                <a:gd name="connsiteX1" fmla="*/ 2412 w 2412"/>
                <a:gd name="connsiteY1" fmla="*/ 275012 h 275011"/>
                <a:gd name="connsiteX2" fmla="*/ 2412 w 2412"/>
                <a:gd name="connsiteY2" fmla="*/ 1270 h 275011"/>
                <a:gd name="connsiteX3" fmla="*/ 0 w 2412"/>
                <a:gd name="connsiteY3" fmla="*/ 0 h 275011"/>
                <a:gd name="connsiteX4" fmla="*/ 0 w 2412"/>
                <a:gd name="connsiteY4" fmla="*/ 275012 h 275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5011">
                  <a:moveTo>
                    <a:pt x="1143" y="275012"/>
                  </a:moveTo>
                  <a:lnTo>
                    <a:pt x="2412" y="275012"/>
                  </a:lnTo>
                  <a:lnTo>
                    <a:pt x="2412" y="1270"/>
                  </a:lnTo>
                  <a:cubicBezTo>
                    <a:pt x="1511" y="1053"/>
                    <a:pt x="685" y="616"/>
                    <a:pt x="0" y="0"/>
                  </a:cubicBezTo>
                  <a:lnTo>
                    <a:pt x="0" y="275012"/>
                  </a:lnTo>
                  <a:close/>
                </a:path>
              </a:pathLst>
            </a:custGeom>
            <a:solidFill>
              <a:srgbClr val="000000"/>
            </a:solidFill>
            <a:ln w="1269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10CAA6DF-6492-4E68-8E63-E8C12C8A34F1}"/>
                </a:ext>
              </a:extLst>
            </p:cNvPr>
            <p:cNvSpPr/>
            <p:nvPr/>
          </p:nvSpPr>
          <p:spPr>
            <a:xfrm>
              <a:off x="5208564" y="5832895"/>
              <a:ext cx="2412" cy="8387"/>
            </a:xfrm>
            <a:custGeom>
              <a:avLst/>
              <a:gdLst>
                <a:gd name="connsiteX0" fmla="*/ 0 w 2412"/>
                <a:gd name="connsiteY0" fmla="*/ 1150 h 8387"/>
                <a:gd name="connsiteX1" fmla="*/ 0 w 2412"/>
                <a:gd name="connsiteY1" fmla="*/ 8387 h 8387"/>
                <a:gd name="connsiteX2" fmla="*/ 2412 w 2412"/>
                <a:gd name="connsiteY2" fmla="*/ 6991 h 8387"/>
                <a:gd name="connsiteX3" fmla="*/ 2412 w 2412"/>
                <a:gd name="connsiteY3" fmla="*/ 1150 h 8387"/>
                <a:gd name="connsiteX4" fmla="*/ 1282 w 2412"/>
                <a:gd name="connsiteY4" fmla="*/ 0 h 8387"/>
                <a:gd name="connsiteX5" fmla="*/ 1143 w 2412"/>
                <a:gd name="connsiteY5" fmla="*/ 8 h 8387"/>
                <a:gd name="connsiteX6" fmla="*/ 0 w 2412"/>
                <a:gd name="connsiteY6" fmla="*/ 1150 h 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 h="8387">
                  <a:moveTo>
                    <a:pt x="0" y="1150"/>
                  </a:moveTo>
                  <a:lnTo>
                    <a:pt x="0" y="8387"/>
                  </a:lnTo>
                  <a:cubicBezTo>
                    <a:pt x="673" y="7730"/>
                    <a:pt x="1511" y="7250"/>
                    <a:pt x="2412" y="6991"/>
                  </a:cubicBezTo>
                  <a:lnTo>
                    <a:pt x="2412" y="1150"/>
                  </a:lnTo>
                  <a:cubicBezTo>
                    <a:pt x="2412" y="519"/>
                    <a:pt x="1904" y="4"/>
                    <a:pt x="1282" y="0"/>
                  </a:cubicBezTo>
                  <a:cubicBezTo>
                    <a:pt x="1231" y="0"/>
                    <a:pt x="1193" y="3"/>
                    <a:pt x="1143" y="8"/>
                  </a:cubicBezTo>
                  <a:cubicBezTo>
                    <a:pt x="508" y="8"/>
                    <a:pt x="0" y="519"/>
                    <a:pt x="0" y="1150"/>
                  </a:cubicBezTo>
                  <a:close/>
                </a:path>
              </a:pathLst>
            </a:custGeom>
            <a:solidFill>
              <a:srgbClr val="000000"/>
            </a:solidFill>
            <a:ln w="1269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E1065149-0185-4CF5-B58A-2D3B4A09E82C}"/>
                </a:ext>
              </a:extLst>
            </p:cNvPr>
            <p:cNvSpPr/>
            <p:nvPr/>
          </p:nvSpPr>
          <p:spPr>
            <a:xfrm>
              <a:off x="5534107" y="5852836"/>
              <a:ext cx="2412" cy="586843"/>
            </a:xfrm>
            <a:custGeom>
              <a:avLst/>
              <a:gdLst>
                <a:gd name="connsiteX0" fmla="*/ 2412 w 2412"/>
                <a:gd name="connsiteY0" fmla="*/ 586844 h 586843"/>
                <a:gd name="connsiteX1" fmla="*/ 2412 w 2412"/>
                <a:gd name="connsiteY1" fmla="*/ 0 h 586843"/>
                <a:gd name="connsiteX2" fmla="*/ 1143 w 2412"/>
                <a:gd name="connsiteY2" fmla="*/ 0 h 586843"/>
                <a:gd name="connsiteX3" fmla="*/ 0 w 2412"/>
                <a:gd name="connsiteY3" fmla="*/ 0 h 586843"/>
                <a:gd name="connsiteX4" fmla="*/ 0 w 2412"/>
                <a:gd name="connsiteY4" fmla="*/ 586336 h 586843"/>
                <a:gd name="connsiteX5" fmla="*/ 2412 w 2412"/>
                <a:gd name="connsiteY5" fmla="*/ 586336 h 58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843">
                  <a:moveTo>
                    <a:pt x="2412" y="586844"/>
                  </a:moveTo>
                  <a:lnTo>
                    <a:pt x="2412" y="0"/>
                  </a:lnTo>
                  <a:lnTo>
                    <a:pt x="1143" y="0"/>
                  </a:lnTo>
                  <a:lnTo>
                    <a:pt x="0" y="0"/>
                  </a:lnTo>
                  <a:lnTo>
                    <a:pt x="0" y="586336"/>
                  </a:lnTo>
                  <a:lnTo>
                    <a:pt x="2412" y="586336"/>
                  </a:lnTo>
                  <a:close/>
                </a:path>
              </a:pathLst>
            </a:custGeom>
            <a:solidFill>
              <a:srgbClr val="000000"/>
            </a:solidFill>
            <a:ln w="1269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B5B8EC6C-D7EC-454D-AF65-6B81F6D685B4}"/>
                </a:ext>
              </a:extLst>
            </p:cNvPr>
            <p:cNvSpPr/>
            <p:nvPr/>
          </p:nvSpPr>
          <p:spPr>
            <a:xfrm>
              <a:off x="7090595" y="6473454"/>
              <a:ext cx="13331" cy="34535"/>
            </a:xfrm>
            <a:custGeom>
              <a:avLst/>
              <a:gdLst>
                <a:gd name="connsiteX0" fmla="*/ 6856 w 13331"/>
                <a:gd name="connsiteY0" fmla="*/ 29710 h 34535"/>
                <a:gd name="connsiteX1" fmla="*/ 13331 w 13331"/>
                <a:gd name="connsiteY1" fmla="*/ 34535 h 34535"/>
                <a:gd name="connsiteX2" fmla="*/ 13331 w 13331"/>
                <a:gd name="connsiteY2" fmla="*/ 6856 h 34535"/>
                <a:gd name="connsiteX3" fmla="*/ 6856 w 13331"/>
                <a:gd name="connsiteY3" fmla="*/ 6856 h 34535"/>
                <a:gd name="connsiteX4" fmla="*/ 0 w 13331"/>
                <a:gd name="connsiteY4" fmla="*/ 0 h 34535"/>
                <a:gd name="connsiteX5" fmla="*/ 0 w 13331"/>
                <a:gd name="connsiteY5" fmla="*/ 29710 h 34535"/>
                <a:gd name="connsiteX6" fmla="*/ 6856 w 13331"/>
                <a:gd name="connsiteY6" fmla="*/ 29710 h 3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1" h="34535">
                  <a:moveTo>
                    <a:pt x="6856" y="29710"/>
                  </a:moveTo>
                  <a:cubicBezTo>
                    <a:pt x="9814" y="29786"/>
                    <a:pt x="12417" y="31716"/>
                    <a:pt x="13331" y="34535"/>
                  </a:cubicBezTo>
                  <a:lnTo>
                    <a:pt x="13331" y="6856"/>
                  </a:lnTo>
                  <a:lnTo>
                    <a:pt x="6856" y="6856"/>
                  </a:lnTo>
                  <a:cubicBezTo>
                    <a:pt x="3073" y="6856"/>
                    <a:pt x="0" y="3783"/>
                    <a:pt x="0" y="0"/>
                  </a:cubicBezTo>
                  <a:lnTo>
                    <a:pt x="0" y="29710"/>
                  </a:lnTo>
                  <a:lnTo>
                    <a:pt x="6856" y="29710"/>
                  </a:lnTo>
                  <a:close/>
                </a:path>
              </a:pathLst>
            </a:custGeom>
            <a:solidFill>
              <a:srgbClr val="000000"/>
            </a:solidFill>
            <a:ln w="1269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0F3CCD3A-DD34-465B-864F-4AECE792BA45}"/>
                </a:ext>
              </a:extLst>
            </p:cNvPr>
            <p:cNvSpPr/>
            <p:nvPr/>
          </p:nvSpPr>
          <p:spPr>
            <a:xfrm>
              <a:off x="5708686" y="5665305"/>
              <a:ext cx="13712" cy="141441"/>
            </a:xfrm>
            <a:custGeom>
              <a:avLst/>
              <a:gdLst>
                <a:gd name="connsiteX0" fmla="*/ 0 w 13712"/>
                <a:gd name="connsiteY0" fmla="*/ 6856 h 141441"/>
                <a:gd name="connsiteX1" fmla="*/ 0 w 13712"/>
                <a:gd name="connsiteY1" fmla="*/ 141442 h 141441"/>
                <a:gd name="connsiteX2" fmla="*/ 13713 w 13712"/>
                <a:gd name="connsiteY2" fmla="*/ 141442 h 141441"/>
                <a:gd name="connsiteX3" fmla="*/ 13713 w 13712"/>
                <a:gd name="connsiteY3" fmla="*/ 6856 h 141441"/>
                <a:gd name="connsiteX4" fmla="*/ 6856 w 13712"/>
                <a:gd name="connsiteY4" fmla="*/ 0 h 141441"/>
                <a:gd name="connsiteX5" fmla="*/ 0 w 13712"/>
                <a:gd name="connsiteY5" fmla="*/ 6856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41441">
                  <a:moveTo>
                    <a:pt x="0" y="6856"/>
                  </a:moveTo>
                  <a:lnTo>
                    <a:pt x="0" y="141442"/>
                  </a:lnTo>
                  <a:lnTo>
                    <a:pt x="13713" y="141442"/>
                  </a:lnTo>
                  <a:lnTo>
                    <a:pt x="13713" y="6856"/>
                  </a:lnTo>
                  <a:cubicBezTo>
                    <a:pt x="13713" y="3070"/>
                    <a:pt x="10640" y="0"/>
                    <a:pt x="6856" y="0"/>
                  </a:cubicBez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423E1B66-912B-43D1-8CF5-EFEB6FA737F8}"/>
                </a:ext>
              </a:extLst>
            </p:cNvPr>
            <p:cNvSpPr/>
            <p:nvPr/>
          </p:nvSpPr>
          <p:spPr>
            <a:xfrm>
              <a:off x="7241939" y="5894619"/>
              <a:ext cx="470666" cy="13956"/>
            </a:xfrm>
            <a:custGeom>
              <a:avLst/>
              <a:gdLst>
                <a:gd name="connsiteX0" fmla="*/ 7872 w 470666"/>
                <a:gd name="connsiteY0" fmla="*/ 5576 h 13956"/>
                <a:gd name="connsiteX1" fmla="*/ 2971 w 470666"/>
                <a:gd name="connsiteY1" fmla="*/ 13943 h 13956"/>
                <a:gd name="connsiteX2" fmla="*/ 2920 w 470666"/>
                <a:gd name="connsiteY2" fmla="*/ 13956 h 13956"/>
                <a:gd name="connsiteX3" fmla="*/ 463810 w 470666"/>
                <a:gd name="connsiteY3" fmla="*/ 13956 h 13956"/>
                <a:gd name="connsiteX4" fmla="*/ 463810 w 470666"/>
                <a:gd name="connsiteY4" fmla="*/ 7100 h 13956"/>
                <a:gd name="connsiteX5" fmla="*/ 470667 w 470666"/>
                <a:gd name="connsiteY5" fmla="*/ 117 h 13956"/>
                <a:gd name="connsiteX6" fmla="*/ 889 w 470666"/>
                <a:gd name="connsiteY6" fmla="*/ 117 h 13956"/>
                <a:gd name="connsiteX7" fmla="*/ 0 w 470666"/>
                <a:gd name="connsiteY7" fmla="*/ 117 h 13956"/>
                <a:gd name="connsiteX8" fmla="*/ 7859 w 470666"/>
                <a:gd name="connsiteY8" fmla="*/ 5487 h 13956"/>
                <a:gd name="connsiteX9" fmla="*/ 7872 w 470666"/>
                <a:gd name="connsiteY9" fmla="*/ 5576 h 1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666" h="13956">
                  <a:moveTo>
                    <a:pt x="7872" y="5576"/>
                  </a:moveTo>
                  <a:cubicBezTo>
                    <a:pt x="8824" y="9241"/>
                    <a:pt x="6641" y="12986"/>
                    <a:pt x="2971" y="13943"/>
                  </a:cubicBezTo>
                  <a:cubicBezTo>
                    <a:pt x="2958" y="13947"/>
                    <a:pt x="2933" y="13952"/>
                    <a:pt x="2920" y="13956"/>
                  </a:cubicBezTo>
                  <a:lnTo>
                    <a:pt x="463810" y="13956"/>
                  </a:lnTo>
                  <a:lnTo>
                    <a:pt x="463810" y="7100"/>
                  </a:lnTo>
                  <a:cubicBezTo>
                    <a:pt x="463810" y="3292"/>
                    <a:pt x="466858" y="186"/>
                    <a:pt x="470667" y="117"/>
                  </a:cubicBezTo>
                  <a:lnTo>
                    <a:pt x="889" y="117"/>
                  </a:lnTo>
                  <a:lnTo>
                    <a:pt x="0" y="117"/>
                  </a:lnTo>
                  <a:cubicBezTo>
                    <a:pt x="3657" y="-569"/>
                    <a:pt x="7174" y="1836"/>
                    <a:pt x="7859" y="5487"/>
                  </a:cubicBezTo>
                  <a:cubicBezTo>
                    <a:pt x="7859" y="5518"/>
                    <a:pt x="7872" y="5547"/>
                    <a:pt x="7872" y="5576"/>
                  </a:cubicBezTo>
                  <a:close/>
                </a:path>
              </a:pathLst>
            </a:custGeom>
            <a:solidFill>
              <a:srgbClr val="000000"/>
            </a:solidFill>
            <a:ln w="1269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2E639BB0-A4FD-4870-929F-90D4DC8DDE11}"/>
                </a:ext>
              </a:extLst>
            </p:cNvPr>
            <p:cNvSpPr/>
            <p:nvPr/>
          </p:nvSpPr>
          <p:spPr>
            <a:xfrm>
              <a:off x="7176043" y="5914035"/>
              <a:ext cx="761" cy="1142"/>
            </a:xfrm>
            <a:custGeom>
              <a:avLst/>
              <a:gdLst>
                <a:gd name="connsiteX0" fmla="*/ 0 w 761"/>
                <a:gd name="connsiteY0" fmla="*/ 1143 h 1142"/>
                <a:gd name="connsiteX1" fmla="*/ 762 w 761"/>
                <a:gd name="connsiteY1" fmla="*/ 0 h 1142"/>
              </a:gdLst>
              <a:ahLst/>
              <a:cxnLst>
                <a:cxn ang="0">
                  <a:pos x="connsiteX0" y="connsiteY0"/>
                </a:cxn>
                <a:cxn ang="0">
                  <a:pos x="connsiteX1" y="connsiteY1"/>
                </a:cxn>
              </a:cxnLst>
              <a:rect l="l" t="t" r="r" b="b"/>
              <a:pathLst>
                <a:path w="761" h="1142">
                  <a:moveTo>
                    <a:pt x="0" y="1143"/>
                  </a:moveTo>
                  <a:lnTo>
                    <a:pt x="762" y="0"/>
                  </a:lnTo>
                  <a:close/>
                </a:path>
              </a:pathLst>
            </a:custGeom>
            <a:solidFill>
              <a:srgbClr val="000000"/>
            </a:solidFill>
            <a:ln w="1269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61E86387-C1D4-4811-BAED-85276C9FA6D5}"/>
                </a:ext>
              </a:extLst>
            </p:cNvPr>
            <p:cNvSpPr/>
            <p:nvPr/>
          </p:nvSpPr>
          <p:spPr>
            <a:xfrm>
              <a:off x="7179852" y="5895279"/>
              <a:ext cx="69039" cy="28151"/>
            </a:xfrm>
            <a:custGeom>
              <a:avLst/>
              <a:gdLst>
                <a:gd name="connsiteX0" fmla="*/ 9268 w 69039"/>
                <a:gd name="connsiteY0" fmla="*/ 22946 h 28151"/>
                <a:gd name="connsiteX1" fmla="*/ 9268 w 69039"/>
                <a:gd name="connsiteY1" fmla="*/ 28152 h 28151"/>
                <a:gd name="connsiteX2" fmla="*/ 61452 w 69039"/>
                <a:gd name="connsiteY2" fmla="*/ 14185 h 28151"/>
                <a:gd name="connsiteX3" fmla="*/ 61452 w 69039"/>
                <a:gd name="connsiteY3" fmla="*/ 6694 h 28151"/>
                <a:gd name="connsiteX4" fmla="*/ 62455 w 69039"/>
                <a:gd name="connsiteY4" fmla="*/ 5432 h 28151"/>
                <a:gd name="connsiteX5" fmla="*/ 62595 w 69039"/>
                <a:gd name="connsiteY5" fmla="*/ 5424 h 28151"/>
                <a:gd name="connsiteX6" fmla="*/ 63865 w 69039"/>
                <a:gd name="connsiteY6" fmla="*/ 6424 h 28151"/>
                <a:gd name="connsiteX7" fmla="*/ 63865 w 69039"/>
                <a:gd name="connsiteY7" fmla="*/ 6694 h 28151"/>
                <a:gd name="connsiteX8" fmla="*/ 63865 w 69039"/>
                <a:gd name="connsiteY8" fmla="*/ 13423 h 28151"/>
                <a:gd name="connsiteX9" fmla="*/ 63865 w 69039"/>
                <a:gd name="connsiteY9" fmla="*/ 13423 h 28151"/>
                <a:gd name="connsiteX10" fmla="*/ 68829 w 69039"/>
                <a:gd name="connsiteY10" fmla="*/ 5094 h 28151"/>
                <a:gd name="connsiteX11" fmla="*/ 68816 w 69039"/>
                <a:gd name="connsiteY11" fmla="*/ 5044 h 28151"/>
                <a:gd name="connsiteX12" fmla="*/ 61198 w 69039"/>
                <a:gd name="connsiteY12" fmla="*/ 92 h 28151"/>
                <a:gd name="connsiteX13" fmla="*/ 60309 w 69039"/>
                <a:gd name="connsiteY13" fmla="*/ 92 h 28151"/>
                <a:gd name="connsiteX14" fmla="*/ 0 w 69039"/>
                <a:gd name="connsiteY14" fmla="*/ 16344 h 28151"/>
                <a:gd name="connsiteX15" fmla="*/ 0 w 69039"/>
                <a:gd name="connsiteY15" fmla="*/ 16344 h 28151"/>
                <a:gd name="connsiteX16" fmla="*/ 2158 w 69039"/>
                <a:gd name="connsiteY16" fmla="*/ 16344 h 28151"/>
                <a:gd name="connsiteX17" fmla="*/ 9268 w 69039"/>
                <a:gd name="connsiteY17" fmla="*/ 22946 h 28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039" h="28151">
                  <a:moveTo>
                    <a:pt x="9268" y="22946"/>
                  </a:moveTo>
                  <a:lnTo>
                    <a:pt x="9268" y="28152"/>
                  </a:lnTo>
                  <a:lnTo>
                    <a:pt x="61452" y="14185"/>
                  </a:lnTo>
                  <a:lnTo>
                    <a:pt x="61452" y="6694"/>
                  </a:lnTo>
                  <a:cubicBezTo>
                    <a:pt x="61376" y="6067"/>
                    <a:pt x="61833" y="5502"/>
                    <a:pt x="62455" y="5432"/>
                  </a:cubicBezTo>
                  <a:cubicBezTo>
                    <a:pt x="62506" y="5427"/>
                    <a:pt x="62557" y="5424"/>
                    <a:pt x="62595" y="5424"/>
                  </a:cubicBezTo>
                  <a:cubicBezTo>
                    <a:pt x="63217" y="5350"/>
                    <a:pt x="63788" y="5798"/>
                    <a:pt x="63865" y="6424"/>
                  </a:cubicBezTo>
                  <a:cubicBezTo>
                    <a:pt x="63877" y="6514"/>
                    <a:pt x="63877" y="6604"/>
                    <a:pt x="63865" y="6694"/>
                  </a:cubicBezTo>
                  <a:lnTo>
                    <a:pt x="63865" y="13423"/>
                  </a:lnTo>
                  <a:lnTo>
                    <a:pt x="63865" y="13423"/>
                  </a:lnTo>
                  <a:cubicBezTo>
                    <a:pt x="67534" y="12494"/>
                    <a:pt x="69756" y="8766"/>
                    <a:pt x="68829" y="5094"/>
                  </a:cubicBezTo>
                  <a:cubicBezTo>
                    <a:pt x="68829" y="5078"/>
                    <a:pt x="68816" y="5060"/>
                    <a:pt x="68816" y="5044"/>
                  </a:cubicBezTo>
                  <a:cubicBezTo>
                    <a:pt x="67940" y="1669"/>
                    <a:pt x="64639" y="-480"/>
                    <a:pt x="61198" y="92"/>
                  </a:cubicBezTo>
                  <a:lnTo>
                    <a:pt x="60309" y="92"/>
                  </a:lnTo>
                  <a:lnTo>
                    <a:pt x="0" y="16344"/>
                  </a:lnTo>
                  <a:lnTo>
                    <a:pt x="0" y="16344"/>
                  </a:lnTo>
                  <a:cubicBezTo>
                    <a:pt x="711" y="16213"/>
                    <a:pt x="1448" y="16213"/>
                    <a:pt x="2158" y="16344"/>
                  </a:cubicBezTo>
                  <a:cubicBezTo>
                    <a:pt x="5917" y="16270"/>
                    <a:pt x="9065" y="19189"/>
                    <a:pt x="9268" y="22946"/>
                  </a:cubicBezTo>
                  <a:close/>
                </a:path>
              </a:pathLst>
            </a:custGeom>
            <a:solidFill>
              <a:srgbClr val="000000"/>
            </a:solidFill>
            <a:ln w="1269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6A395733-878F-4EEF-B5BC-FBD0403AAB88}"/>
                </a:ext>
              </a:extLst>
            </p:cNvPr>
            <p:cNvSpPr/>
            <p:nvPr/>
          </p:nvSpPr>
          <p:spPr>
            <a:xfrm>
              <a:off x="7177694" y="5913019"/>
              <a:ext cx="1015" cy="12696"/>
            </a:xfrm>
            <a:custGeom>
              <a:avLst/>
              <a:gdLst>
                <a:gd name="connsiteX0" fmla="*/ 0 w 1015"/>
                <a:gd name="connsiteY0" fmla="*/ 0 h 12696"/>
                <a:gd name="connsiteX1" fmla="*/ 1016 w 1015"/>
                <a:gd name="connsiteY1" fmla="*/ 0 h 12696"/>
              </a:gdLst>
              <a:ahLst/>
              <a:cxnLst>
                <a:cxn ang="0">
                  <a:pos x="connsiteX0" y="connsiteY0"/>
                </a:cxn>
                <a:cxn ang="0">
                  <a:pos x="connsiteX1" y="connsiteY1"/>
                </a:cxn>
              </a:cxnLst>
              <a:rect l="l" t="t" r="r" b="b"/>
              <a:pathLst>
                <a:path w="1015" h="12696">
                  <a:moveTo>
                    <a:pt x="0" y="0"/>
                  </a:moveTo>
                  <a:lnTo>
                    <a:pt x="1016" y="0"/>
                  </a:lnTo>
                  <a:close/>
                </a:path>
              </a:pathLst>
            </a:custGeom>
            <a:solidFill>
              <a:srgbClr val="000000"/>
            </a:solidFill>
            <a:ln w="1269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2432AD0E-5D22-425C-A675-DE2A1A8B9A9A}"/>
                </a:ext>
              </a:extLst>
            </p:cNvPr>
            <p:cNvSpPr/>
            <p:nvPr/>
          </p:nvSpPr>
          <p:spPr>
            <a:xfrm>
              <a:off x="7175361" y="5916320"/>
              <a:ext cx="47" cy="1396"/>
            </a:xfrm>
            <a:custGeom>
              <a:avLst/>
              <a:gdLst>
                <a:gd name="connsiteX0" fmla="*/ 48 w 47"/>
                <a:gd name="connsiteY0" fmla="*/ 1397 h 1396"/>
                <a:gd name="connsiteX1" fmla="*/ 48 w 47"/>
                <a:gd name="connsiteY1" fmla="*/ 0 h 1396"/>
                <a:gd name="connsiteX2" fmla="*/ 48 w 47"/>
                <a:gd name="connsiteY2" fmla="*/ 1397 h 1396"/>
              </a:gdLst>
              <a:ahLst/>
              <a:cxnLst>
                <a:cxn ang="0">
                  <a:pos x="connsiteX0" y="connsiteY0"/>
                </a:cxn>
                <a:cxn ang="0">
                  <a:pos x="connsiteX1" y="connsiteY1"/>
                </a:cxn>
                <a:cxn ang="0">
                  <a:pos x="connsiteX2" y="connsiteY2"/>
                </a:cxn>
              </a:cxnLst>
              <a:rect l="l" t="t" r="r" b="b"/>
              <a:pathLst>
                <a:path w="47" h="1396">
                  <a:moveTo>
                    <a:pt x="48" y="1397"/>
                  </a:moveTo>
                  <a:cubicBezTo>
                    <a:pt x="-16" y="933"/>
                    <a:pt x="-16" y="463"/>
                    <a:pt x="48" y="0"/>
                  </a:cubicBezTo>
                  <a:cubicBezTo>
                    <a:pt x="-16" y="463"/>
                    <a:pt x="-16" y="933"/>
                    <a:pt x="48" y="1397"/>
                  </a:cubicBezTo>
                  <a:close/>
                </a:path>
              </a:pathLst>
            </a:custGeom>
            <a:solidFill>
              <a:srgbClr val="000000"/>
            </a:solidFill>
            <a:ln w="1269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E41EA42D-0CFA-4072-A5D1-85E3EBE7D989}"/>
                </a:ext>
              </a:extLst>
            </p:cNvPr>
            <p:cNvSpPr/>
            <p:nvPr/>
          </p:nvSpPr>
          <p:spPr>
            <a:xfrm>
              <a:off x="7241291" y="5900696"/>
              <a:ext cx="2434" cy="963817"/>
            </a:xfrm>
            <a:custGeom>
              <a:avLst/>
              <a:gdLst>
                <a:gd name="connsiteX0" fmla="*/ 2426 w 2434"/>
                <a:gd name="connsiteY0" fmla="*/ 8007 h 963817"/>
                <a:gd name="connsiteX1" fmla="*/ 2426 w 2434"/>
                <a:gd name="connsiteY1" fmla="*/ 1277 h 963817"/>
                <a:gd name="connsiteX2" fmla="*/ 1422 w 2434"/>
                <a:gd name="connsiteY2" fmla="*/ 8 h 963817"/>
                <a:gd name="connsiteX3" fmla="*/ 1155 w 2434"/>
                <a:gd name="connsiteY3" fmla="*/ 8 h 963817"/>
                <a:gd name="connsiteX4" fmla="*/ 0 w 2434"/>
                <a:gd name="connsiteY4" fmla="*/ 1143 h 963817"/>
                <a:gd name="connsiteX5" fmla="*/ 13 w 2434"/>
                <a:gd name="connsiteY5" fmla="*/ 1277 h 963817"/>
                <a:gd name="connsiteX6" fmla="*/ 13 w 2434"/>
                <a:gd name="connsiteY6" fmla="*/ 963818 h 963817"/>
                <a:gd name="connsiteX7" fmla="*/ 2426 w 2434"/>
                <a:gd name="connsiteY7" fmla="*/ 963818 h 963817"/>
                <a:gd name="connsiteX8" fmla="*/ 2426 w 2434"/>
                <a:gd name="connsiteY8" fmla="*/ 8134 h 96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4" h="963817">
                  <a:moveTo>
                    <a:pt x="2426" y="8007"/>
                  </a:moveTo>
                  <a:lnTo>
                    <a:pt x="2426" y="1277"/>
                  </a:lnTo>
                  <a:cubicBezTo>
                    <a:pt x="2502" y="650"/>
                    <a:pt x="2057" y="83"/>
                    <a:pt x="1422" y="8"/>
                  </a:cubicBezTo>
                  <a:cubicBezTo>
                    <a:pt x="1334" y="-3"/>
                    <a:pt x="1245" y="-3"/>
                    <a:pt x="1155" y="8"/>
                  </a:cubicBezTo>
                  <a:cubicBezTo>
                    <a:pt x="521" y="4"/>
                    <a:pt x="13" y="512"/>
                    <a:pt x="0" y="1143"/>
                  </a:cubicBezTo>
                  <a:cubicBezTo>
                    <a:pt x="0" y="1188"/>
                    <a:pt x="13" y="1233"/>
                    <a:pt x="13" y="1277"/>
                  </a:cubicBezTo>
                  <a:lnTo>
                    <a:pt x="13" y="963818"/>
                  </a:lnTo>
                  <a:lnTo>
                    <a:pt x="2426" y="963818"/>
                  </a:lnTo>
                  <a:lnTo>
                    <a:pt x="2426" y="8134"/>
                  </a:lnTo>
                  <a:close/>
                </a:path>
              </a:pathLst>
            </a:custGeom>
            <a:solidFill>
              <a:srgbClr val="000000"/>
            </a:solidFill>
            <a:ln w="1269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451C2A6E-5093-4664-A947-74AA8A21EBDD}"/>
                </a:ext>
              </a:extLst>
            </p:cNvPr>
            <p:cNvSpPr/>
            <p:nvPr/>
          </p:nvSpPr>
          <p:spPr>
            <a:xfrm>
              <a:off x="5011257" y="5852836"/>
              <a:ext cx="2539" cy="273741"/>
            </a:xfrm>
            <a:custGeom>
              <a:avLst/>
              <a:gdLst>
                <a:gd name="connsiteX0" fmla="*/ 508 w 2539"/>
                <a:gd name="connsiteY0" fmla="*/ 267648 h 273741"/>
                <a:gd name="connsiteX1" fmla="*/ 508 w 2539"/>
                <a:gd name="connsiteY1" fmla="*/ 268409 h 273741"/>
                <a:gd name="connsiteX2" fmla="*/ 508 w 2539"/>
                <a:gd name="connsiteY2" fmla="*/ 269806 h 273741"/>
                <a:gd name="connsiteX3" fmla="*/ 508 w 2539"/>
                <a:gd name="connsiteY3" fmla="*/ 273742 h 273741"/>
                <a:gd name="connsiteX4" fmla="*/ 2539 w 2539"/>
                <a:gd name="connsiteY4" fmla="*/ 273742 h 273741"/>
                <a:gd name="connsiteX5" fmla="*/ 2539 w 2539"/>
                <a:gd name="connsiteY5" fmla="*/ 0 h 273741"/>
                <a:gd name="connsiteX6" fmla="*/ 2539 w 2539"/>
                <a:gd name="connsiteY6" fmla="*/ 0 h 273741"/>
                <a:gd name="connsiteX7" fmla="*/ 1270 w 2539"/>
                <a:gd name="connsiteY7" fmla="*/ 0 h 273741"/>
                <a:gd name="connsiteX8" fmla="*/ 0 w 2539"/>
                <a:gd name="connsiteY8" fmla="*/ 0 h 273741"/>
                <a:gd name="connsiteX9" fmla="*/ 0 w 2539"/>
                <a:gd name="connsiteY9" fmla="*/ 0 h 27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273741">
                  <a:moveTo>
                    <a:pt x="508" y="267648"/>
                  </a:moveTo>
                  <a:cubicBezTo>
                    <a:pt x="508" y="267648"/>
                    <a:pt x="508" y="267648"/>
                    <a:pt x="508" y="268409"/>
                  </a:cubicBezTo>
                  <a:cubicBezTo>
                    <a:pt x="508" y="269171"/>
                    <a:pt x="508" y="269298"/>
                    <a:pt x="508" y="269806"/>
                  </a:cubicBezTo>
                  <a:lnTo>
                    <a:pt x="508" y="273742"/>
                  </a:lnTo>
                  <a:lnTo>
                    <a:pt x="2539" y="273742"/>
                  </a:lnTo>
                  <a:lnTo>
                    <a:pt x="2539" y="0"/>
                  </a:lnTo>
                  <a:lnTo>
                    <a:pt x="2539" y="0"/>
                  </a:lnTo>
                  <a:lnTo>
                    <a:pt x="127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5A3F018D-58BE-4241-BE44-D6FF9984DAEA}"/>
                </a:ext>
              </a:extLst>
            </p:cNvPr>
            <p:cNvSpPr/>
            <p:nvPr/>
          </p:nvSpPr>
          <p:spPr>
            <a:xfrm>
              <a:off x="5003893" y="5843949"/>
              <a:ext cx="2539" cy="270567"/>
            </a:xfrm>
            <a:custGeom>
              <a:avLst/>
              <a:gdLst>
                <a:gd name="connsiteX0" fmla="*/ 1270 w 2539"/>
                <a:gd name="connsiteY0" fmla="*/ 270568 h 270567"/>
                <a:gd name="connsiteX1" fmla="*/ 2539 w 2539"/>
                <a:gd name="connsiteY1" fmla="*/ 270568 h 270567"/>
                <a:gd name="connsiteX2" fmla="*/ 2539 w 2539"/>
                <a:gd name="connsiteY2" fmla="*/ 270568 h 270567"/>
                <a:gd name="connsiteX3" fmla="*/ 2539 w 2539"/>
                <a:gd name="connsiteY3" fmla="*/ 3936 h 270567"/>
                <a:gd name="connsiteX4" fmla="*/ 0 w 2539"/>
                <a:gd name="connsiteY4" fmla="*/ 0 h 270567"/>
                <a:gd name="connsiteX5" fmla="*/ 0 w 2539"/>
                <a:gd name="connsiteY5" fmla="*/ 269044 h 27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270567">
                  <a:moveTo>
                    <a:pt x="1270" y="270568"/>
                  </a:moveTo>
                  <a:lnTo>
                    <a:pt x="2539" y="270568"/>
                  </a:lnTo>
                  <a:lnTo>
                    <a:pt x="2539" y="270568"/>
                  </a:lnTo>
                  <a:lnTo>
                    <a:pt x="2539" y="3936"/>
                  </a:lnTo>
                  <a:lnTo>
                    <a:pt x="0" y="0"/>
                  </a:lnTo>
                  <a:lnTo>
                    <a:pt x="0" y="269044"/>
                  </a:lnTo>
                  <a:close/>
                </a:path>
              </a:pathLst>
            </a:custGeom>
            <a:solidFill>
              <a:srgbClr val="000000"/>
            </a:solidFill>
            <a:ln w="1269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A9871EC4-C6DB-4B64-909A-6312B4D56A4F}"/>
                </a:ext>
              </a:extLst>
            </p:cNvPr>
            <p:cNvSpPr/>
            <p:nvPr/>
          </p:nvSpPr>
          <p:spPr>
            <a:xfrm>
              <a:off x="4978373" y="5805604"/>
              <a:ext cx="2412" cy="296469"/>
            </a:xfrm>
            <a:custGeom>
              <a:avLst/>
              <a:gdLst>
                <a:gd name="connsiteX0" fmla="*/ 2412 w 2412"/>
                <a:gd name="connsiteY0" fmla="*/ 296469 h 296469"/>
                <a:gd name="connsiteX1" fmla="*/ 2412 w 2412"/>
                <a:gd name="connsiteY1" fmla="*/ 296469 h 296469"/>
                <a:gd name="connsiteX2" fmla="*/ 2412 w 2412"/>
                <a:gd name="connsiteY2" fmla="*/ 296469 h 296469"/>
                <a:gd name="connsiteX3" fmla="*/ 2412 w 2412"/>
                <a:gd name="connsiteY3" fmla="*/ 296469 h 296469"/>
                <a:gd name="connsiteX4" fmla="*/ 2412 w 2412"/>
                <a:gd name="connsiteY4" fmla="*/ 3936 h 296469"/>
                <a:gd name="connsiteX5" fmla="*/ 0 w 2412"/>
                <a:gd name="connsiteY5" fmla="*/ 0 h 296469"/>
                <a:gd name="connsiteX6" fmla="*/ 0 w 2412"/>
                <a:gd name="connsiteY6"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 h="296469">
                  <a:moveTo>
                    <a:pt x="2412" y="296469"/>
                  </a:moveTo>
                  <a:lnTo>
                    <a:pt x="2412" y="296469"/>
                  </a:lnTo>
                  <a:cubicBezTo>
                    <a:pt x="2412" y="296469"/>
                    <a:pt x="2412" y="296469"/>
                    <a:pt x="2412" y="296469"/>
                  </a:cubicBezTo>
                  <a:lnTo>
                    <a:pt x="2412" y="296469"/>
                  </a:lnTo>
                  <a:lnTo>
                    <a:pt x="2412" y="3936"/>
                  </a:lnTo>
                  <a:lnTo>
                    <a:pt x="0" y="0"/>
                  </a:lnTo>
                  <a:lnTo>
                    <a:pt x="0" y="296469"/>
                  </a:lnTo>
                  <a:close/>
                </a:path>
              </a:pathLst>
            </a:custGeom>
            <a:solidFill>
              <a:srgbClr val="000000"/>
            </a:solidFill>
            <a:ln w="1269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F7553E19-EAD6-40B1-B962-9D9DD379EAB9}"/>
                </a:ext>
              </a:extLst>
            </p:cNvPr>
            <p:cNvSpPr/>
            <p:nvPr/>
          </p:nvSpPr>
          <p:spPr>
            <a:xfrm>
              <a:off x="4124139" y="6102074"/>
              <a:ext cx="21711" cy="2412"/>
            </a:xfrm>
            <a:custGeom>
              <a:avLst/>
              <a:gdLst>
                <a:gd name="connsiteX0" fmla="*/ 21711 w 21711"/>
                <a:gd name="connsiteY0" fmla="*/ 0 h 2412"/>
                <a:gd name="connsiteX1" fmla="*/ 0 w 21711"/>
                <a:gd name="connsiteY1" fmla="*/ 0 h 2412"/>
                <a:gd name="connsiteX2" fmla="*/ 10030 w 21711"/>
                <a:gd name="connsiteY2" fmla="*/ 2412 h 2412"/>
                <a:gd name="connsiteX3" fmla="*/ 19807 w 21711"/>
                <a:gd name="connsiteY3" fmla="*/ 2412 h 2412"/>
                <a:gd name="connsiteX4" fmla="*/ 21711 w 21711"/>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1" h="2412">
                  <a:moveTo>
                    <a:pt x="21711" y="0"/>
                  </a:moveTo>
                  <a:lnTo>
                    <a:pt x="0" y="0"/>
                  </a:lnTo>
                  <a:lnTo>
                    <a:pt x="10030" y="2412"/>
                  </a:lnTo>
                  <a:lnTo>
                    <a:pt x="19807" y="2412"/>
                  </a:lnTo>
                  <a:cubicBezTo>
                    <a:pt x="20226" y="1460"/>
                    <a:pt x="20873" y="622"/>
                    <a:pt x="21711" y="0"/>
                  </a:cubicBezTo>
                  <a:close/>
                </a:path>
              </a:pathLst>
            </a:custGeom>
            <a:solidFill>
              <a:srgbClr val="000000"/>
            </a:solidFill>
            <a:ln w="1269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3F81AB62-3384-4C31-BDEC-0A4F58A166C4}"/>
                </a:ext>
              </a:extLst>
            </p:cNvPr>
            <p:cNvSpPr/>
            <p:nvPr/>
          </p:nvSpPr>
          <p:spPr>
            <a:xfrm>
              <a:off x="4154611" y="6102074"/>
              <a:ext cx="38343" cy="2412"/>
            </a:xfrm>
            <a:custGeom>
              <a:avLst/>
              <a:gdLst>
                <a:gd name="connsiteX0" fmla="*/ 38090 w 38343"/>
                <a:gd name="connsiteY0" fmla="*/ 0 h 2412"/>
                <a:gd name="connsiteX1" fmla="*/ 0 w 38343"/>
                <a:gd name="connsiteY1" fmla="*/ 0 h 2412"/>
                <a:gd name="connsiteX2" fmla="*/ 2032 w 38343"/>
                <a:gd name="connsiteY2" fmla="*/ 2412 h 2412"/>
                <a:gd name="connsiteX3" fmla="*/ 38344 w 38343"/>
                <a:gd name="connsiteY3" fmla="*/ 2412 h 2412"/>
                <a:gd name="connsiteX4" fmla="*/ 38344 w 38343"/>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3" h="2412">
                  <a:moveTo>
                    <a:pt x="38090" y="0"/>
                  </a:moveTo>
                  <a:lnTo>
                    <a:pt x="0" y="0"/>
                  </a:lnTo>
                  <a:cubicBezTo>
                    <a:pt x="876" y="622"/>
                    <a:pt x="1574" y="1448"/>
                    <a:pt x="2032" y="2412"/>
                  </a:cubicBezTo>
                  <a:lnTo>
                    <a:pt x="38344" y="2412"/>
                  </a:lnTo>
                  <a:lnTo>
                    <a:pt x="38344" y="0"/>
                  </a:lnTo>
                  <a:close/>
                </a:path>
              </a:pathLst>
            </a:custGeom>
            <a:solidFill>
              <a:srgbClr val="000000"/>
            </a:solidFill>
            <a:ln w="1269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AF1ECBAE-7F2E-4F36-89B8-A6AC657B39E1}"/>
                </a:ext>
              </a:extLst>
            </p:cNvPr>
            <p:cNvSpPr/>
            <p:nvPr/>
          </p:nvSpPr>
          <p:spPr>
            <a:xfrm>
              <a:off x="4806713" y="6102616"/>
              <a:ext cx="174960" cy="2631"/>
            </a:xfrm>
            <a:custGeom>
              <a:avLst/>
              <a:gdLst>
                <a:gd name="connsiteX0" fmla="*/ 0 w 174960"/>
                <a:gd name="connsiteY0" fmla="*/ 1870 h 2631"/>
                <a:gd name="connsiteX1" fmla="*/ 173691 w 174960"/>
                <a:gd name="connsiteY1" fmla="*/ 1870 h 2631"/>
                <a:gd name="connsiteX2" fmla="*/ 173691 w 174960"/>
                <a:gd name="connsiteY2" fmla="*/ 1870 h 2631"/>
                <a:gd name="connsiteX3" fmla="*/ 173653 w 174960"/>
                <a:gd name="connsiteY3" fmla="*/ 257 h 2631"/>
                <a:gd name="connsiteX4" fmla="*/ 173691 w 174960"/>
                <a:gd name="connsiteY4" fmla="*/ 219 h 2631"/>
                <a:gd name="connsiteX5" fmla="*/ 174960 w 174960"/>
                <a:gd name="connsiteY5" fmla="*/ 219 h 2631"/>
                <a:gd name="connsiteX6" fmla="*/ 0 w 174960"/>
                <a:gd name="connsiteY6" fmla="*/ 219 h 2631"/>
                <a:gd name="connsiteX7" fmla="*/ 0 w 174960"/>
                <a:gd name="connsiteY7" fmla="*/ 2631 h 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60" h="2631">
                  <a:moveTo>
                    <a:pt x="0" y="1870"/>
                  </a:moveTo>
                  <a:lnTo>
                    <a:pt x="173691" y="1870"/>
                  </a:lnTo>
                  <a:lnTo>
                    <a:pt x="173691" y="1870"/>
                  </a:lnTo>
                  <a:cubicBezTo>
                    <a:pt x="173234" y="1438"/>
                    <a:pt x="173221" y="714"/>
                    <a:pt x="173653" y="257"/>
                  </a:cubicBezTo>
                  <a:cubicBezTo>
                    <a:pt x="173665" y="244"/>
                    <a:pt x="173678" y="232"/>
                    <a:pt x="173691" y="219"/>
                  </a:cubicBezTo>
                  <a:cubicBezTo>
                    <a:pt x="174059" y="-73"/>
                    <a:pt x="174592" y="-73"/>
                    <a:pt x="174960" y="219"/>
                  </a:cubicBezTo>
                  <a:lnTo>
                    <a:pt x="0" y="219"/>
                  </a:lnTo>
                  <a:lnTo>
                    <a:pt x="0" y="2631"/>
                  </a:lnTo>
                  <a:close/>
                </a:path>
              </a:pathLst>
            </a:custGeom>
            <a:solidFill>
              <a:srgbClr val="000000"/>
            </a:solidFill>
            <a:ln w="1269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5CCE5A3D-0233-4A86-81F0-BD2F62A67516}"/>
                </a:ext>
              </a:extLst>
            </p:cNvPr>
            <p:cNvSpPr/>
            <p:nvPr/>
          </p:nvSpPr>
          <p:spPr>
            <a:xfrm>
              <a:off x="4096461" y="6109819"/>
              <a:ext cx="1269" cy="12696"/>
            </a:xfrm>
            <a:custGeom>
              <a:avLst/>
              <a:gdLst>
                <a:gd name="connsiteX0" fmla="*/ 1269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69" y="0"/>
                  </a:moveTo>
                  <a:lnTo>
                    <a:pt x="0" y="0"/>
                  </a:lnTo>
                  <a:close/>
                </a:path>
              </a:pathLst>
            </a:custGeom>
            <a:solidFill>
              <a:srgbClr val="000000"/>
            </a:solidFill>
            <a:ln w="1269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ABDD4BCA-9C18-44F7-90B5-7F84F3FAE3D6}"/>
                </a:ext>
              </a:extLst>
            </p:cNvPr>
            <p:cNvSpPr/>
            <p:nvPr/>
          </p:nvSpPr>
          <p:spPr>
            <a:xfrm>
              <a:off x="4092382" y="5794431"/>
              <a:ext cx="13982" cy="308911"/>
            </a:xfrm>
            <a:custGeom>
              <a:avLst/>
              <a:gdLst>
                <a:gd name="connsiteX0" fmla="*/ 8650 w 13982"/>
                <a:gd name="connsiteY0" fmla="*/ 302183 h 308911"/>
                <a:gd name="connsiteX1" fmla="*/ 13982 w 13982"/>
                <a:gd name="connsiteY1" fmla="*/ 303452 h 308911"/>
                <a:gd name="connsiteX2" fmla="*/ 13982 w 13982"/>
                <a:gd name="connsiteY2" fmla="*/ 6856 h 308911"/>
                <a:gd name="connsiteX3" fmla="*/ 6999 w 13982"/>
                <a:gd name="connsiteY3" fmla="*/ 6856 h 308911"/>
                <a:gd name="connsiteX4" fmla="*/ 143 w 13982"/>
                <a:gd name="connsiteY4" fmla="*/ 0 h 308911"/>
                <a:gd name="connsiteX5" fmla="*/ 143 w 13982"/>
                <a:gd name="connsiteY5" fmla="*/ 308912 h 308911"/>
                <a:gd name="connsiteX6" fmla="*/ 143 w 13982"/>
                <a:gd name="connsiteY6" fmla="*/ 308912 h 308911"/>
                <a:gd name="connsiteX7" fmla="*/ 143 w 13982"/>
                <a:gd name="connsiteY7" fmla="*/ 306753 h 308911"/>
                <a:gd name="connsiteX8" fmla="*/ 8650 w 13982"/>
                <a:gd name="connsiteY8" fmla="*/ 302183 h 30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82" h="308911">
                  <a:moveTo>
                    <a:pt x="8650" y="302183"/>
                  </a:moveTo>
                  <a:lnTo>
                    <a:pt x="13982" y="303452"/>
                  </a:lnTo>
                  <a:lnTo>
                    <a:pt x="13982" y="6856"/>
                  </a:lnTo>
                  <a:lnTo>
                    <a:pt x="6999" y="6856"/>
                  </a:lnTo>
                  <a:cubicBezTo>
                    <a:pt x="3215" y="6856"/>
                    <a:pt x="143" y="3786"/>
                    <a:pt x="143" y="0"/>
                  </a:cubicBezTo>
                  <a:lnTo>
                    <a:pt x="143" y="308912"/>
                  </a:lnTo>
                  <a:cubicBezTo>
                    <a:pt x="143" y="308912"/>
                    <a:pt x="143" y="308912"/>
                    <a:pt x="143" y="308912"/>
                  </a:cubicBezTo>
                  <a:cubicBezTo>
                    <a:pt x="-48" y="308201"/>
                    <a:pt x="-48" y="307464"/>
                    <a:pt x="143" y="306753"/>
                  </a:cubicBezTo>
                  <a:cubicBezTo>
                    <a:pt x="1247" y="303148"/>
                    <a:pt x="5044" y="301116"/>
                    <a:pt x="8650" y="302183"/>
                  </a:cubicBezTo>
                  <a:close/>
                </a:path>
              </a:pathLst>
            </a:custGeom>
            <a:solidFill>
              <a:srgbClr val="000000"/>
            </a:solidFill>
            <a:ln w="1269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139815AE-F8AE-476E-9940-150013723B68}"/>
                </a:ext>
              </a:extLst>
            </p:cNvPr>
            <p:cNvSpPr/>
            <p:nvPr/>
          </p:nvSpPr>
          <p:spPr>
            <a:xfrm>
              <a:off x="4094429" y="6107533"/>
              <a:ext cx="888" cy="888"/>
            </a:xfrm>
            <a:custGeom>
              <a:avLst/>
              <a:gdLst>
                <a:gd name="connsiteX0" fmla="*/ 888 w 888"/>
                <a:gd name="connsiteY0" fmla="*/ 889 h 888"/>
                <a:gd name="connsiteX1" fmla="*/ 0 w 888"/>
                <a:gd name="connsiteY1" fmla="*/ 0 h 888"/>
              </a:gdLst>
              <a:ahLst/>
              <a:cxnLst>
                <a:cxn ang="0">
                  <a:pos x="connsiteX0" y="connsiteY0"/>
                </a:cxn>
                <a:cxn ang="0">
                  <a:pos x="connsiteX1" y="connsiteY1"/>
                </a:cxn>
              </a:cxnLst>
              <a:rect l="l" t="t" r="r" b="b"/>
              <a:pathLst>
                <a:path w="888" h="888">
                  <a:moveTo>
                    <a:pt x="888" y="889"/>
                  </a:moveTo>
                  <a:lnTo>
                    <a:pt x="0" y="0"/>
                  </a:lnTo>
                  <a:close/>
                </a:path>
              </a:pathLst>
            </a:custGeom>
            <a:solidFill>
              <a:srgbClr val="000000"/>
            </a:solidFill>
            <a:ln w="1269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94A23EC5-F26E-4018-B9A8-6E4D2BDB7DEB}"/>
                </a:ext>
              </a:extLst>
            </p:cNvPr>
            <p:cNvSpPr/>
            <p:nvPr/>
          </p:nvSpPr>
          <p:spPr>
            <a:xfrm>
              <a:off x="4093756" y="6105629"/>
              <a:ext cx="38" cy="1142"/>
            </a:xfrm>
            <a:custGeom>
              <a:avLst/>
              <a:gdLst>
                <a:gd name="connsiteX0" fmla="*/ 38 w 38"/>
                <a:gd name="connsiteY0" fmla="*/ 1143 h 1142"/>
                <a:gd name="connsiteX1" fmla="*/ 38 w 38"/>
                <a:gd name="connsiteY1" fmla="*/ 0 h 1142"/>
                <a:gd name="connsiteX2" fmla="*/ 38 w 38"/>
                <a:gd name="connsiteY2" fmla="*/ 1143 h 1142"/>
              </a:gdLst>
              <a:ahLst/>
              <a:cxnLst>
                <a:cxn ang="0">
                  <a:pos x="connsiteX0" y="connsiteY0"/>
                </a:cxn>
                <a:cxn ang="0">
                  <a:pos x="connsiteX1" y="connsiteY1"/>
                </a:cxn>
                <a:cxn ang="0">
                  <a:pos x="connsiteX2" y="connsiteY2"/>
                </a:cxn>
              </a:cxnLst>
              <a:rect l="l" t="t" r="r" b="b"/>
              <a:pathLst>
                <a:path w="38" h="1142">
                  <a:moveTo>
                    <a:pt x="38" y="1143"/>
                  </a:moveTo>
                  <a:cubicBezTo>
                    <a:pt x="-13" y="762"/>
                    <a:pt x="-13" y="381"/>
                    <a:pt x="38" y="0"/>
                  </a:cubicBezTo>
                  <a:cubicBezTo>
                    <a:pt x="-13" y="381"/>
                    <a:pt x="-13" y="762"/>
                    <a:pt x="38" y="1143"/>
                  </a:cubicBezTo>
                  <a:close/>
                </a:path>
              </a:pathLst>
            </a:custGeom>
            <a:solidFill>
              <a:srgbClr val="000000"/>
            </a:solidFill>
            <a:ln w="1269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9B128AF0-3268-4091-AB18-D86709A94796}"/>
                </a:ext>
              </a:extLst>
            </p:cNvPr>
            <p:cNvSpPr/>
            <p:nvPr/>
          </p:nvSpPr>
          <p:spPr>
            <a:xfrm>
              <a:off x="4996275" y="6114262"/>
              <a:ext cx="5332" cy="1777"/>
            </a:xfrm>
            <a:custGeom>
              <a:avLst/>
              <a:gdLst>
                <a:gd name="connsiteX0" fmla="*/ 5332 w 5332"/>
                <a:gd name="connsiteY0" fmla="*/ 0 h 1777"/>
                <a:gd name="connsiteX1" fmla="*/ 5332 w 5332"/>
                <a:gd name="connsiteY1" fmla="*/ 0 h 1777"/>
                <a:gd name="connsiteX2" fmla="*/ 0 w 5332"/>
                <a:gd name="connsiteY2" fmla="*/ 0 h 1777"/>
                <a:gd name="connsiteX3" fmla="*/ 2158 w 5332"/>
                <a:gd name="connsiteY3" fmla="*/ 1778 h 1777"/>
                <a:gd name="connsiteX4" fmla="*/ 5332 w 5332"/>
                <a:gd name="connsiteY4" fmla="*/ 0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2" h="1777">
                  <a:moveTo>
                    <a:pt x="5332" y="0"/>
                  </a:moveTo>
                  <a:lnTo>
                    <a:pt x="5332" y="0"/>
                  </a:lnTo>
                  <a:lnTo>
                    <a:pt x="0" y="0"/>
                  </a:lnTo>
                  <a:lnTo>
                    <a:pt x="2158" y="1778"/>
                  </a:lnTo>
                  <a:cubicBezTo>
                    <a:pt x="3022" y="876"/>
                    <a:pt x="4126" y="267"/>
                    <a:pt x="5332" y="0"/>
                  </a:cubicBezTo>
                  <a:close/>
                </a:path>
              </a:pathLst>
            </a:custGeom>
            <a:solidFill>
              <a:srgbClr val="000000"/>
            </a:solidFill>
            <a:ln w="1269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ED34CE87-27CD-4F87-97E2-BDECC5CEE2BD}"/>
                </a:ext>
              </a:extLst>
            </p:cNvPr>
            <p:cNvSpPr/>
            <p:nvPr/>
          </p:nvSpPr>
          <p:spPr>
            <a:xfrm>
              <a:off x="4806713" y="6114009"/>
              <a:ext cx="190196" cy="8252"/>
            </a:xfrm>
            <a:custGeom>
              <a:avLst/>
              <a:gdLst>
                <a:gd name="connsiteX0" fmla="*/ 0 w 190196"/>
                <a:gd name="connsiteY0" fmla="*/ 6983 h 8252"/>
                <a:gd name="connsiteX1" fmla="*/ 0 w 190196"/>
                <a:gd name="connsiteY1" fmla="*/ 8253 h 8252"/>
                <a:gd name="connsiteX2" fmla="*/ 189435 w 190196"/>
                <a:gd name="connsiteY2" fmla="*/ 8253 h 8252"/>
                <a:gd name="connsiteX3" fmla="*/ 190197 w 190196"/>
                <a:gd name="connsiteY3" fmla="*/ 3682 h 8252"/>
                <a:gd name="connsiteX4" fmla="*/ 185626 w 190196"/>
                <a:gd name="connsiteY4" fmla="*/ 0 h 8252"/>
                <a:gd name="connsiteX5" fmla="*/ 0 w 190196"/>
                <a:gd name="connsiteY5" fmla="*/ 0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96" h="8252">
                  <a:moveTo>
                    <a:pt x="0" y="6983"/>
                  </a:moveTo>
                  <a:lnTo>
                    <a:pt x="0" y="8253"/>
                  </a:lnTo>
                  <a:lnTo>
                    <a:pt x="189435" y="8253"/>
                  </a:lnTo>
                  <a:cubicBezTo>
                    <a:pt x="189193" y="6691"/>
                    <a:pt x="189460" y="5079"/>
                    <a:pt x="190197" y="3682"/>
                  </a:cubicBezTo>
                  <a:lnTo>
                    <a:pt x="185626" y="0"/>
                  </a:lnTo>
                  <a:lnTo>
                    <a:pt x="0" y="0"/>
                  </a:lnTo>
                  <a:close/>
                </a:path>
              </a:pathLst>
            </a:custGeom>
            <a:solidFill>
              <a:srgbClr val="000000"/>
            </a:solidFill>
            <a:ln w="1269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FAD04B04-2BB2-4C33-8BF6-FCCF773288F6}"/>
                </a:ext>
              </a:extLst>
            </p:cNvPr>
            <p:cNvSpPr/>
            <p:nvPr/>
          </p:nvSpPr>
          <p:spPr>
            <a:xfrm>
              <a:off x="5005163" y="6115151"/>
              <a:ext cx="1269" cy="12696"/>
            </a:xfrm>
            <a:custGeom>
              <a:avLst/>
              <a:gdLst>
                <a:gd name="connsiteX0" fmla="*/ 1270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70" y="0"/>
                  </a:moveTo>
                  <a:lnTo>
                    <a:pt x="0" y="0"/>
                  </a:lnTo>
                  <a:close/>
                </a:path>
              </a:pathLst>
            </a:custGeom>
            <a:solidFill>
              <a:srgbClr val="000000"/>
            </a:solidFill>
            <a:ln w="1269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64290CBF-AE1F-4EF1-BCD7-759317B2095F}"/>
                </a:ext>
              </a:extLst>
            </p:cNvPr>
            <p:cNvSpPr/>
            <p:nvPr/>
          </p:nvSpPr>
          <p:spPr>
            <a:xfrm>
              <a:off x="5001608" y="5841155"/>
              <a:ext cx="2539" cy="273107"/>
            </a:xfrm>
            <a:custGeom>
              <a:avLst/>
              <a:gdLst>
                <a:gd name="connsiteX0" fmla="*/ 2539 w 2539"/>
                <a:gd name="connsiteY0" fmla="*/ 273107 h 273107"/>
                <a:gd name="connsiteX1" fmla="*/ 2539 w 2539"/>
                <a:gd name="connsiteY1" fmla="*/ 3936 h 273107"/>
                <a:gd name="connsiteX2" fmla="*/ 0 w 2539"/>
                <a:gd name="connsiteY2" fmla="*/ 0 h 273107"/>
                <a:gd name="connsiteX3" fmla="*/ 0 w 2539"/>
                <a:gd name="connsiteY3" fmla="*/ 273107 h 273107"/>
                <a:gd name="connsiteX4" fmla="*/ 2539 w 2539"/>
                <a:gd name="connsiteY4" fmla="*/ 273107 h 27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273107">
                  <a:moveTo>
                    <a:pt x="2539" y="273107"/>
                  </a:moveTo>
                  <a:lnTo>
                    <a:pt x="2539" y="3936"/>
                  </a:lnTo>
                  <a:lnTo>
                    <a:pt x="0" y="0"/>
                  </a:lnTo>
                  <a:lnTo>
                    <a:pt x="0" y="273107"/>
                  </a:lnTo>
                  <a:cubicBezTo>
                    <a:pt x="838" y="272980"/>
                    <a:pt x="1701" y="272980"/>
                    <a:pt x="2539" y="273107"/>
                  </a:cubicBezTo>
                  <a:close/>
                </a:path>
              </a:pathLst>
            </a:custGeom>
            <a:solidFill>
              <a:srgbClr val="000000"/>
            </a:solidFill>
            <a:ln w="1269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A83F41B4-326F-44B9-9A86-9EDC0C909641}"/>
                </a:ext>
              </a:extLst>
            </p:cNvPr>
            <p:cNvSpPr/>
            <p:nvPr/>
          </p:nvSpPr>
          <p:spPr>
            <a:xfrm>
              <a:off x="4999576" y="5829474"/>
              <a:ext cx="17079" cy="22219"/>
            </a:xfrm>
            <a:custGeom>
              <a:avLst/>
              <a:gdLst>
                <a:gd name="connsiteX0" fmla="*/ 9523 w 17079"/>
                <a:gd name="connsiteY0" fmla="*/ 10665 h 22219"/>
                <a:gd name="connsiteX1" fmla="*/ 5841 w 17079"/>
                <a:gd name="connsiteY1" fmla="*/ 11681 h 22219"/>
                <a:gd name="connsiteX2" fmla="*/ 0 w 17079"/>
                <a:gd name="connsiteY2" fmla="*/ 8380 h 22219"/>
                <a:gd name="connsiteX3" fmla="*/ 2032 w 17079"/>
                <a:gd name="connsiteY3" fmla="*/ 11808 h 22219"/>
                <a:gd name="connsiteX4" fmla="*/ 4571 w 17079"/>
                <a:gd name="connsiteY4" fmla="*/ 15744 h 22219"/>
                <a:gd name="connsiteX5" fmla="*/ 4571 w 17079"/>
                <a:gd name="connsiteY5" fmla="*/ 15744 h 22219"/>
                <a:gd name="connsiteX6" fmla="*/ 7110 w 17079"/>
                <a:gd name="connsiteY6" fmla="*/ 19680 h 22219"/>
                <a:gd name="connsiteX7" fmla="*/ 7110 w 17079"/>
                <a:gd name="connsiteY7" fmla="*/ 20569 h 22219"/>
                <a:gd name="connsiteX8" fmla="*/ 7110 w 17079"/>
                <a:gd name="connsiteY8" fmla="*/ 20569 h 22219"/>
                <a:gd name="connsiteX9" fmla="*/ 8888 w 17079"/>
                <a:gd name="connsiteY9" fmla="*/ 22219 h 22219"/>
                <a:gd name="connsiteX10" fmla="*/ 8888 w 17079"/>
                <a:gd name="connsiteY10" fmla="*/ 22219 h 22219"/>
                <a:gd name="connsiteX11" fmla="*/ 10665 w 17079"/>
                <a:gd name="connsiteY11" fmla="*/ 22219 h 22219"/>
                <a:gd name="connsiteX12" fmla="*/ 11935 w 17079"/>
                <a:gd name="connsiteY12" fmla="*/ 22219 h 22219"/>
                <a:gd name="connsiteX13" fmla="*/ 13205 w 17079"/>
                <a:gd name="connsiteY13" fmla="*/ 22219 h 22219"/>
                <a:gd name="connsiteX14" fmla="*/ 15236 w 17079"/>
                <a:gd name="connsiteY14" fmla="*/ 21584 h 22219"/>
                <a:gd name="connsiteX15" fmla="*/ 15236 w 17079"/>
                <a:gd name="connsiteY15" fmla="*/ 21584 h 22219"/>
                <a:gd name="connsiteX16" fmla="*/ 15236 w 17079"/>
                <a:gd name="connsiteY16" fmla="*/ 21584 h 22219"/>
                <a:gd name="connsiteX17" fmla="*/ 16252 w 17079"/>
                <a:gd name="connsiteY17" fmla="*/ 20696 h 22219"/>
                <a:gd name="connsiteX18" fmla="*/ 17014 w 17079"/>
                <a:gd name="connsiteY18" fmla="*/ 19553 h 22219"/>
                <a:gd name="connsiteX19" fmla="*/ 17014 w 17079"/>
                <a:gd name="connsiteY19" fmla="*/ 18410 h 22219"/>
                <a:gd name="connsiteX20" fmla="*/ 17014 w 17079"/>
                <a:gd name="connsiteY20" fmla="*/ 17014 h 22219"/>
                <a:gd name="connsiteX21" fmla="*/ 16125 w 17079"/>
                <a:gd name="connsiteY21" fmla="*/ 12697 h 22219"/>
                <a:gd name="connsiteX22" fmla="*/ 8507 w 17079"/>
                <a:gd name="connsiteY22" fmla="*/ 0 h 22219"/>
                <a:gd name="connsiteX23" fmla="*/ 10310 w 17079"/>
                <a:gd name="connsiteY23" fmla="*/ 9709 h 22219"/>
                <a:gd name="connsiteX24" fmla="*/ 9523 w 17079"/>
                <a:gd name="connsiteY24" fmla="*/ 10665 h 2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079" h="22219">
                  <a:moveTo>
                    <a:pt x="9523" y="10665"/>
                  </a:moveTo>
                  <a:cubicBezTo>
                    <a:pt x="8405" y="11312"/>
                    <a:pt x="7136" y="11661"/>
                    <a:pt x="5841" y="11681"/>
                  </a:cubicBezTo>
                  <a:cubicBezTo>
                    <a:pt x="3441" y="11699"/>
                    <a:pt x="1219" y="10442"/>
                    <a:pt x="0" y="8380"/>
                  </a:cubicBezTo>
                  <a:lnTo>
                    <a:pt x="2032" y="11808"/>
                  </a:lnTo>
                  <a:lnTo>
                    <a:pt x="4571" y="15744"/>
                  </a:lnTo>
                  <a:lnTo>
                    <a:pt x="4571" y="15744"/>
                  </a:lnTo>
                  <a:lnTo>
                    <a:pt x="7110" y="19680"/>
                  </a:lnTo>
                  <a:lnTo>
                    <a:pt x="7110" y="20569"/>
                  </a:lnTo>
                  <a:lnTo>
                    <a:pt x="7110" y="20569"/>
                  </a:lnTo>
                  <a:cubicBezTo>
                    <a:pt x="7605" y="21214"/>
                    <a:pt x="8202" y="21771"/>
                    <a:pt x="8888" y="22219"/>
                  </a:cubicBezTo>
                  <a:lnTo>
                    <a:pt x="8888" y="22219"/>
                  </a:lnTo>
                  <a:lnTo>
                    <a:pt x="10665" y="22219"/>
                  </a:lnTo>
                  <a:lnTo>
                    <a:pt x="11935" y="22219"/>
                  </a:lnTo>
                  <a:lnTo>
                    <a:pt x="13205" y="22219"/>
                  </a:lnTo>
                  <a:cubicBezTo>
                    <a:pt x="13916" y="22125"/>
                    <a:pt x="14602" y="21911"/>
                    <a:pt x="15236" y="21584"/>
                  </a:cubicBezTo>
                  <a:lnTo>
                    <a:pt x="15236" y="21584"/>
                  </a:lnTo>
                  <a:lnTo>
                    <a:pt x="15236" y="21584"/>
                  </a:lnTo>
                  <a:cubicBezTo>
                    <a:pt x="15630" y="21358"/>
                    <a:pt x="15973" y="21056"/>
                    <a:pt x="16252" y="20696"/>
                  </a:cubicBezTo>
                  <a:lnTo>
                    <a:pt x="17014" y="19553"/>
                  </a:lnTo>
                  <a:lnTo>
                    <a:pt x="17014" y="18410"/>
                  </a:lnTo>
                  <a:cubicBezTo>
                    <a:pt x="17090" y="17947"/>
                    <a:pt x="17090" y="17477"/>
                    <a:pt x="17014" y="17014"/>
                  </a:cubicBezTo>
                  <a:cubicBezTo>
                    <a:pt x="17230" y="15515"/>
                    <a:pt x="16912" y="13988"/>
                    <a:pt x="16125" y="12697"/>
                  </a:cubicBezTo>
                  <a:lnTo>
                    <a:pt x="8507" y="0"/>
                  </a:lnTo>
                  <a:cubicBezTo>
                    <a:pt x="11681" y="2183"/>
                    <a:pt x="12494" y="6530"/>
                    <a:pt x="10310" y="9709"/>
                  </a:cubicBezTo>
                  <a:cubicBezTo>
                    <a:pt x="10081" y="10051"/>
                    <a:pt x="9815" y="10371"/>
                    <a:pt x="9523" y="10665"/>
                  </a:cubicBezTo>
                  <a:close/>
                </a:path>
              </a:pathLst>
            </a:custGeom>
            <a:solidFill>
              <a:srgbClr val="000000"/>
            </a:solidFill>
            <a:ln w="1269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FC0F4AF7-D289-4F7D-8D32-F66D8716B5D0}"/>
                </a:ext>
              </a:extLst>
            </p:cNvPr>
            <p:cNvSpPr/>
            <p:nvPr/>
          </p:nvSpPr>
          <p:spPr>
            <a:xfrm>
              <a:off x="4092890" y="6097061"/>
              <a:ext cx="50294" cy="23676"/>
            </a:xfrm>
            <a:custGeom>
              <a:avLst/>
              <a:gdLst>
                <a:gd name="connsiteX0" fmla="*/ 50295 w 50294"/>
                <a:gd name="connsiteY0" fmla="*/ 10345 h 23676"/>
                <a:gd name="connsiteX1" fmla="*/ 41153 w 50294"/>
                <a:gd name="connsiteY1" fmla="*/ 8060 h 23676"/>
                <a:gd name="connsiteX2" fmla="*/ 31123 w 50294"/>
                <a:gd name="connsiteY2" fmla="*/ 5647 h 23676"/>
                <a:gd name="connsiteX3" fmla="*/ 13728 w 50294"/>
                <a:gd name="connsiteY3" fmla="*/ 1457 h 23676"/>
                <a:gd name="connsiteX4" fmla="*/ 8395 w 50294"/>
                <a:gd name="connsiteY4" fmla="*/ 188 h 23676"/>
                <a:gd name="connsiteX5" fmla="*/ 143 w 50294"/>
                <a:gd name="connsiteY5" fmla="*/ 5267 h 23676"/>
                <a:gd name="connsiteX6" fmla="*/ 143 w 50294"/>
                <a:gd name="connsiteY6" fmla="*/ 7425 h 23676"/>
                <a:gd name="connsiteX7" fmla="*/ 143 w 50294"/>
                <a:gd name="connsiteY7" fmla="*/ 8822 h 23676"/>
                <a:gd name="connsiteX8" fmla="*/ 143 w 50294"/>
                <a:gd name="connsiteY8" fmla="*/ 9964 h 23676"/>
                <a:gd name="connsiteX9" fmla="*/ 778 w 50294"/>
                <a:gd name="connsiteY9" fmla="*/ 11107 h 23676"/>
                <a:gd name="connsiteX10" fmla="*/ 1666 w 50294"/>
                <a:gd name="connsiteY10" fmla="*/ 11996 h 23676"/>
                <a:gd name="connsiteX11" fmla="*/ 2809 w 50294"/>
                <a:gd name="connsiteY11" fmla="*/ 12758 h 23676"/>
                <a:gd name="connsiteX12" fmla="*/ 4079 w 50294"/>
                <a:gd name="connsiteY12" fmla="*/ 12758 h 23676"/>
                <a:gd name="connsiteX13" fmla="*/ 4079 w 50294"/>
                <a:gd name="connsiteY13" fmla="*/ 12758 h 23676"/>
                <a:gd name="connsiteX14" fmla="*/ 49025 w 50294"/>
                <a:gd name="connsiteY14" fmla="*/ 23677 h 23676"/>
                <a:gd name="connsiteX15" fmla="*/ 49025 w 50294"/>
                <a:gd name="connsiteY15" fmla="*/ 10218 h 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294" h="23676">
                  <a:moveTo>
                    <a:pt x="50295" y="10345"/>
                  </a:moveTo>
                  <a:lnTo>
                    <a:pt x="41153" y="8060"/>
                  </a:lnTo>
                  <a:lnTo>
                    <a:pt x="31123" y="5647"/>
                  </a:lnTo>
                  <a:lnTo>
                    <a:pt x="13728" y="1457"/>
                  </a:lnTo>
                  <a:lnTo>
                    <a:pt x="8395" y="188"/>
                  </a:lnTo>
                  <a:cubicBezTo>
                    <a:pt x="4714" y="-688"/>
                    <a:pt x="1019" y="1584"/>
                    <a:pt x="143" y="5267"/>
                  </a:cubicBezTo>
                  <a:cubicBezTo>
                    <a:pt x="-48" y="5978"/>
                    <a:pt x="-48" y="6714"/>
                    <a:pt x="143" y="7425"/>
                  </a:cubicBezTo>
                  <a:cubicBezTo>
                    <a:pt x="79" y="7895"/>
                    <a:pt x="79" y="8352"/>
                    <a:pt x="143" y="8822"/>
                  </a:cubicBezTo>
                  <a:cubicBezTo>
                    <a:pt x="92" y="9202"/>
                    <a:pt x="92" y="9583"/>
                    <a:pt x="143" y="9964"/>
                  </a:cubicBezTo>
                  <a:cubicBezTo>
                    <a:pt x="308" y="10371"/>
                    <a:pt x="524" y="10751"/>
                    <a:pt x="778" y="11107"/>
                  </a:cubicBezTo>
                  <a:lnTo>
                    <a:pt x="1666" y="11996"/>
                  </a:lnTo>
                  <a:lnTo>
                    <a:pt x="2809" y="12758"/>
                  </a:lnTo>
                  <a:lnTo>
                    <a:pt x="4079" y="12758"/>
                  </a:lnTo>
                  <a:lnTo>
                    <a:pt x="4079" y="12758"/>
                  </a:lnTo>
                  <a:lnTo>
                    <a:pt x="49025" y="23677"/>
                  </a:lnTo>
                  <a:lnTo>
                    <a:pt x="49025" y="10218"/>
                  </a:lnTo>
                  <a:close/>
                </a:path>
              </a:pathLst>
            </a:custGeom>
            <a:solidFill>
              <a:srgbClr val="000000"/>
            </a:solidFill>
            <a:ln w="1269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20C10BD1-1C8A-4F38-905C-96CD14DCE56C}"/>
                </a:ext>
              </a:extLst>
            </p:cNvPr>
            <p:cNvSpPr/>
            <p:nvPr/>
          </p:nvSpPr>
          <p:spPr>
            <a:xfrm>
              <a:off x="5010876" y="6119468"/>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C627ED4E-88B3-46B3-B141-DC6DA5B41741}"/>
                </a:ext>
              </a:extLst>
            </p:cNvPr>
            <p:cNvSpPr/>
            <p:nvPr/>
          </p:nvSpPr>
          <p:spPr>
            <a:xfrm>
              <a:off x="5012019" y="6121246"/>
              <a:ext cx="12696" cy="1506"/>
            </a:xfrm>
            <a:custGeom>
              <a:avLst/>
              <a:gdLst>
                <a:gd name="connsiteX0" fmla="*/ 0 w 12696"/>
                <a:gd name="connsiteY0" fmla="*/ 0 h 1506"/>
                <a:gd name="connsiteX1" fmla="*/ 0 w 12696"/>
                <a:gd name="connsiteY1" fmla="*/ 1397 h 1506"/>
                <a:gd name="connsiteX2" fmla="*/ 0 w 12696"/>
                <a:gd name="connsiteY2" fmla="*/ 0 h 1506"/>
              </a:gdLst>
              <a:ahLst/>
              <a:cxnLst>
                <a:cxn ang="0">
                  <a:pos x="connsiteX0" y="connsiteY0"/>
                </a:cxn>
                <a:cxn ang="0">
                  <a:pos x="connsiteX1" y="connsiteY1"/>
                </a:cxn>
                <a:cxn ang="0">
                  <a:pos x="connsiteX2" y="connsiteY2"/>
                </a:cxn>
              </a:cxnLst>
              <a:rect l="l" t="t" r="r" b="b"/>
              <a:pathLst>
                <a:path w="12696" h="1506">
                  <a:moveTo>
                    <a:pt x="0" y="0"/>
                  </a:moveTo>
                  <a:cubicBezTo>
                    <a:pt x="0" y="0"/>
                    <a:pt x="0" y="889"/>
                    <a:pt x="0" y="1397"/>
                  </a:cubicBezTo>
                  <a:cubicBezTo>
                    <a:pt x="0" y="1905"/>
                    <a:pt x="0" y="508"/>
                    <a:pt x="0" y="0"/>
                  </a:cubicBezTo>
                  <a:close/>
                </a:path>
              </a:pathLst>
            </a:custGeom>
            <a:solidFill>
              <a:srgbClr val="000000"/>
            </a:solidFill>
            <a:ln w="1269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C9876EAE-90E6-44AF-B4B7-6664CCA2E45E}"/>
                </a:ext>
              </a:extLst>
            </p:cNvPr>
            <p:cNvSpPr/>
            <p:nvPr/>
          </p:nvSpPr>
          <p:spPr>
            <a:xfrm>
              <a:off x="4996062" y="6117691"/>
              <a:ext cx="3387" cy="4570"/>
            </a:xfrm>
            <a:custGeom>
              <a:avLst/>
              <a:gdLst>
                <a:gd name="connsiteX0" fmla="*/ 87 w 3387"/>
                <a:gd name="connsiteY0" fmla="*/ 4571 h 4570"/>
                <a:gd name="connsiteX1" fmla="*/ 2626 w 3387"/>
                <a:gd name="connsiteY1" fmla="*/ 4571 h 4570"/>
                <a:gd name="connsiteX2" fmla="*/ 3388 w 3387"/>
                <a:gd name="connsiteY2" fmla="*/ 2031 h 4570"/>
                <a:gd name="connsiteX3" fmla="*/ 848 w 3387"/>
                <a:gd name="connsiteY3" fmla="*/ 0 h 4570"/>
                <a:gd name="connsiteX4" fmla="*/ 87 w 3387"/>
                <a:gd name="connsiteY4" fmla="*/ 4571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 h="4570">
                  <a:moveTo>
                    <a:pt x="87" y="4571"/>
                  </a:moveTo>
                  <a:lnTo>
                    <a:pt x="2626" y="4571"/>
                  </a:lnTo>
                  <a:cubicBezTo>
                    <a:pt x="2740" y="3695"/>
                    <a:pt x="3007" y="2831"/>
                    <a:pt x="3388" y="2031"/>
                  </a:cubicBezTo>
                  <a:lnTo>
                    <a:pt x="848" y="0"/>
                  </a:lnTo>
                  <a:cubicBezTo>
                    <a:pt x="112" y="1397"/>
                    <a:pt x="-155" y="3009"/>
                    <a:pt x="87" y="4571"/>
                  </a:cubicBezTo>
                  <a:close/>
                </a:path>
              </a:pathLst>
            </a:custGeom>
            <a:solidFill>
              <a:srgbClr val="000000"/>
            </a:solidFill>
            <a:ln w="1269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B1E0F185-07DF-482D-853D-65BEBBD0B53B}"/>
                </a:ext>
              </a:extLst>
            </p:cNvPr>
            <p:cNvSpPr/>
            <p:nvPr/>
          </p:nvSpPr>
          <p:spPr>
            <a:xfrm>
              <a:off x="4999449" y="6115818"/>
              <a:ext cx="10538" cy="3650"/>
            </a:xfrm>
            <a:custGeom>
              <a:avLst/>
              <a:gdLst>
                <a:gd name="connsiteX0" fmla="*/ 5967 w 10538"/>
                <a:gd name="connsiteY0" fmla="*/ 222 h 3650"/>
                <a:gd name="connsiteX1" fmla="*/ 10538 w 10538"/>
                <a:gd name="connsiteY1" fmla="*/ 2127 h 3650"/>
                <a:gd name="connsiteX2" fmla="*/ 10538 w 10538"/>
                <a:gd name="connsiteY2" fmla="*/ 2127 h 3650"/>
                <a:gd name="connsiteX3" fmla="*/ 7999 w 10538"/>
                <a:gd name="connsiteY3" fmla="*/ 95 h 3650"/>
                <a:gd name="connsiteX4" fmla="*/ 7999 w 10538"/>
                <a:gd name="connsiteY4" fmla="*/ 95 h 3650"/>
                <a:gd name="connsiteX5" fmla="*/ 7999 w 10538"/>
                <a:gd name="connsiteY5" fmla="*/ 95 h 3650"/>
                <a:gd name="connsiteX6" fmla="*/ 6729 w 10538"/>
                <a:gd name="connsiteY6" fmla="*/ 95 h 3650"/>
                <a:gd name="connsiteX7" fmla="*/ 5713 w 10538"/>
                <a:gd name="connsiteY7" fmla="*/ 95 h 3650"/>
                <a:gd name="connsiteX8" fmla="*/ 5713 w 10538"/>
                <a:gd name="connsiteY8" fmla="*/ 95 h 3650"/>
                <a:gd name="connsiteX9" fmla="*/ 3174 w 10538"/>
                <a:gd name="connsiteY9" fmla="*/ 95 h 3650"/>
                <a:gd name="connsiteX10" fmla="*/ 0 w 10538"/>
                <a:gd name="connsiteY10" fmla="*/ 1619 h 3650"/>
                <a:gd name="connsiteX11" fmla="*/ 2539 w 10538"/>
                <a:gd name="connsiteY11" fmla="*/ 3650 h 3650"/>
                <a:gd name="connsiteX12" fmla="*/ 5967 w 10538"/>
                <a:gd name="connsiteY12" fmla="*/ 222 h 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8" h="3650">
                  <a:moveTo>
                    <a:pt x="5967" y="222"/>
                  </a:moveTo>
                  <a:cubicBezTo>
                    <a:pt x="7681" y="248"/>
                    <a:pt x="9307" y="933"/>
                    <a:pt x="10538" y="2127"/>
                  </a:cubicBezTo>
                  <a:lnTo>
                    <a:pt x="10538" y="2127"/>
                  </a:lnTo>
                  <a:lnTo>
                    <a:pt x="7999" y="95"/>
                  </a:lnTo>
                  <a:lnTo>
                    <a:pt x="7999" y="95"/>
                  </a:lnTo>
                  <a:lnTo>
                    <a:pt x="7999" y="95"/>
                  </a:lnTo>
                  <a:lnTo>
                    <a:pt x="6729" y="95"/>
                  </a:lnTo>
                  <a:lnTo>
                    <a:pt x="5713" y="95"/>
                  </a:lnTo>
                  <a:lnTo>
                    <a:pt x="5713" y="95"/>
                  </a:lnTo>
                  <a:cubicBezTo>
                    <a:pt x="4876" y="-32"/>
                    <a:pt x="4012" y="-32"/>
                    <a:pt x="3174" y="95"/>
                  </a:cubicBezTo>
                  <a:cubicBezTo>
                    <a:pt x="1993" y="286"/>
                    <a:pt x="888" y="819"/>
                    <a:pt x="0" y="1619"/>
                  </a:cubicBezTo>
                  <a:lnTo>
                    <a:pt x="2539" y="3650"/>
                  </a:lnTo>
                  <a:cubicBezTo>
                    <a:pt x="3212" y="2127"/>
                    <a:pt x="4444" y="895"/>
                    <a:pt x="5967" y="222"/>
                  </a:cubicBezTo>
                  <a:close/>
                </a:path>
              </a:pathLst>
            </a:custGeom>
            <a:solidFill>
              <a:srgbClr val="000000"/>
            </a:solidFill>
            <a:ln w="12690"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2E0AF8A1-BF4D-47B9-A922-B021301AEBC6}"/>
                </a:ext>
              </a:extLst>
            </p:cNvPr>
            <p:cNvSpPr/>
            <p:nvPr/>
          </p:nvSpPr>
          <p:spPr>
            <a:xfrm>
              <a:off x="4979544" y="6102087"/>
              <a:ext cx="20921" cy="17381"/>
            </a:xfrm>
            <a:custGeom>
              <a:avLst/>
              <a:gdLst>
                <a:gd name="connsiteX0" fmla="*/ 353 w 20921"/>
                <a:gd name="connsiteY0" fmla="*/ 495 h 17381"/>
                <a:gd name="connsiteX1" fmla="*/ 315 w 20921"/>
                <a:gd name="connsiteY1" fmla="*/ 2107 h 17381"/>
                <a:gd name="connsiteX2" fmla="*/ 353 w 20921"/>
                <a:gd name="connsiteY2" fmla="*/ 2145 h 17381"/>
                <a:gd name="connsiteX3" fmla="*/ 353 w 20921"/>
                <a:gd name="connsiteY3" fmla="*/ 2145 h 17381"/>
                <a:gd name="connsiteX4" fmla="*/ 12287 w 20921"/>
                <a:gd name="connsiteY4" fmla="*/ 11668 h 17381"/>
                <a:gd name="connsiteX5" fmla="*/ 16858 w 20921"/>
                <a:gd name="connsiteY5" fmla="*/ 15350 h 17381"/>
                <a:gd name="connsiteX6" fmla="*/ 19398 w 20921"/>
                <a:gd name="connsiteY6" fmla="*/ 17381 h 17381"/>
                <a:gd name="connsiteX7" fmla="*/ 20921 w 20921"/>
                <a:gd name="connsiteY7" fmla="*/ 15477 h 17381"/>
                <a:gd name="connsiteX8" fmla="*/ 18382 w 20921"/>
                <a:gd name="connsiteY8" fmla="*/ 13445 h 17381"/>
                <a:gd name="connsiteX9" fmla="*/ 16223 w 20921"/>
                <a:gd name="connsiteY9" fmla="*/ 11668 h 17381"/>
                <a:gd name="connsiteX10" fmla="*/ 2003 w 20921"/>
                <a:gd name="connsiteY10" fmla="*/ 368 h 17381"/>
                <a:gd name="connsiteX11" fmla="*/ 2003 w 20921"/>
                <a:gd name="connsiteY11" fmla="*/ 368 h 17381"/>
                <a:gd name="connsiteX12" fmla="*/ 2003 w 20921"/>
                <a:gd name="connsiteY12" fmla="*/ 368 h 17381"/>
                <a:gd name="connsiteX13" fmla="*/ 568 w 20921"/>
                <a:gd name="connsiteY13" fmla="*/ 241 h 17381"/>
                <a:gd name="connsiteX14" fmla="*/ 353 w 20921"/>
                <a:gd name="connsiteY14" fmla="*/ 495 h 1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21" h="17381">
                  <a:moveTo>
                    <a:pt x="353" y="495"/>
                  </a:moveTo>
                  <a:cubicBezTo>
                    <a:pt x="-105" y="926"/>
                    <a:pt x="-117" y="1650"/>
                    <a:pt x="315" y="2107"/>
                  </a:cubicBezTo>
                  <a:cubicBezTo>
                    <a:pt x="327" y="2120"/>
                    <a:pt x="340" y="2133"/>
                    <a:pt x="353" y="2145"/>
                  </a:cubicBezTo>
                  <a:lnTo>
                    <a:pt x="353" y="2145"/>
                  </a:lnTo>
                  <a:lnTo>
                    <a:pt x="12287" y="11668"/>
                  </a:lnTo>
                  <a:lnTo>
                    <a:pt x="16858" y="15350"/>
                  </a:lnTo>
                  <a:lnTo>
                    <a:pt x="19398" y="17381"/>
                  </a:lnTo>
                  <a:cubicBezTo>
                    <a:pt x="19791" y="16670"/>
                    <a:pt x="20312" y="16023"/>
                    <a:pt x="20921" y="15477"/>
                  </a:cubicBezTo>
                  <a:lnTo>
                    <a:pt x="18382" y="13445"/>
                  </a:lnTo>
                  <a:lnTo>
                    <a:pt x="16223" y="11668"/>
                  </a:lnTo>
                  <a:lnTo>
                    <a:pt x="2003" y="368"/>
                  </a:lnTo>
                  <a:lnTo>
                    <a:pt x="2003" y="368"/>
                  </a:lnTo>
                  <a:cubicBezTo>
                    <a:pt x="2003" y="368"/>
                    <a:pt x="2003" y="368"/>
                    <a:pt x="2003" y="368"/>
                  </a:cubicBezTo>
                  <a:cubicBezTo>
                    <a:pt x="1648" y="-64"/>
                    <a:pt x="1000" y="-127"/>
                    <a:pt x="568" y="241"/>
                  </a:cubicBezTo>
                  <a:cubicBezTo>
                    <a:pt x="480" y="317"/>
                    <a:pt x="416" y="393"/>
                    <a:pt x="353" y="495"/>
                  </a:cubicBezTo>
                  <a:close/>
                </a:path>
              </a:pathLst>
            </a:custGeom>
            <a:solidFill>
              <a:srgbClr val="000000"/>
            </a:solidFill>
            <a:ln w="1269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51AEA080-5077-434D-9031-2B24B03B95AD}"/>
                </a:ext>
              </a:extLst>
            </p:cNvPr>
            <p:cNvSpPr/>
            <p:nvPr/>
          </p:nvSpPr>
          <p:spPr>
            <a:xfrm>
              <a:off x="4984086" y="5788464"/>
              <a:ext cx="1143" cy="761"/>
            </a:xfrm>
            <a:custGeom>
              <a:avLst/>
              <a:gdLst>
                <a:gd name="connsiteX0" fmla="*/ 0 w 1143"/>
                <a:gd name="connsiteY0" fmla="*/ 0 h 761"/>
                <a:gd name="connsiteX1" fmla="*/ 1143 w 1143"/>
                <a:gd name="connsiteY1" fmla="*/ 762 h 761"/>
              </a:gdLst>
              <a:ahLst/>
              <a:cxnLst>
                <a:cxn ang="0">
                  <a:pos x="connsiteX0" y="connsiteY0"/>
                </a:cxn>
                <a:cxn ang="0">
                  <a:pos x="connsiteX1" y="connsiteY1"/>
                </a:cxn>
              </a:cxnLst>
              <a:rect l="l" t="t" r="r" b="b"/>
              <a:pathLst>
                <a:path w="1143" h="761">
                  <a:moveTo>
                    <a:pt x="0" y="0"/>
                  </a:moveTo>
                  <a:lnTo>
                    <a:pt x="1143" y="762"/>
                  </a:lnTo>
                  <a:close/>
                </a:path>
              </a:pathLst>
            </a:custGeom>
            <a:solidFill>
              <a:srgbClr val="000000"/>
            </a:solidFill>
            <a:ln w="12690"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1ED7FA38-5C03-4592-8262-6F6C65F21F8C}"/>
                </a:ext>
              </a:extLst>
            </p:cNvPr>
            <p:cNvSpPr/>
            <p:nvPr/>
          </p:nvSpPr>
          <p:spPr>
            <a:xfrm>
              <a:off x="4977103" y="5790749"/>
              <a:ext cx="31741" cy="42914"/>
            </a:xfrm>
            <a:custGeom>
              <a:avLst/>
              <a:gdLst>
                <a:gd name="connsiteX0" fmla="*/ 3682 w 31741"/>
                <a:gd name="connsiteY0" fmla="*/ 10538 h 42914"/>
                <a:gd name="connsiteX1" fmla="*/ 0 w 31741"/>
                <a:gd name="connsiteY1" fmla="*/ 10538 h 42914"/>
                <a:gd name="connsiteX2" fmla="*/ 2666 w 31741"/>
                <a:gd name="connsiteY2" fmla="*/ 14855 h 42914"/>
                <a:gd name="connsiteX3" fmla="*/ 5079 w 31741"/>
                <a:gd name="connsiteY3" fmla="*/ 18791 h 42914"/>
                <a:gd name="connsiteX4" fmla="*/ 20061 w 31741"/>
                <a:gd name="connsiteY4" fmla="*/ 42915 h 42914"/>
                <a:gd name="connsiteX5" fmla="*/ 20061 w 31741"/>
                <a:gd name="connsiteY5" fmla="*/ 42915 h 42914"/>
                <a:gd name="connsiteX6" fmla="*/ 22219 w 31741"/>
                <a:gd name="connsiteY6" fmla="*/ 33392 h 42914"/>
                <a:gd name="connsiteX7" fmla="*/ 31742 w 31741"/>
                <a:gd name="connsiteY7" fmla="*/ 35551 h 42914"/>
                <a:gd name="connsiteX8" fmla="*/ 29202 w 31741"/>
                <a:gd name="connsiteY8" fmla="*/ 31361 h 42914"/>
                <a:gd name="connsiteX9" fmla="*/ 9776 w 31741"/>
                <a:gd name="connsiteY9" fmla="*/ 0 h 42914"/>
                <a:gd name="connsiteX10" fmla="*/ 9142 w 31741"/>
                <a:gd name="connsiteY10" fmla="*/ 0 h 42914"/>
                <a:gd name="connsiteX11" fmla="*/ 10792 w 31741"/>
                <a:gd name="connsiteY11" fmla="*/ 4190 h 42914"/>
                <a:gd name="connsiteX12" fmla="*/ 3682 w 31741"/>
                <a:gd name="connsiteY12" fmla="*/ 10538 h 4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41" h="42914">
                  <a:moveTo>
                    <a:pt x="3682" y="10538"/>
                  </a:moveTo>
                  <a:lnTo>
                    <a:pt x="0" y="10538"/>
                  </a:lnTo>
                  <a:lnTo>
                    <a:pt x="2666" y="14855"/>
                  </a:lnTo>
                  <a:lnTo>
                    <a:pt x="5079" y="18791"/>
                  </a:lnTo>
                  <a:lnTo>
                    <a:pt x="20061" y="42915"/>
                  </a:lnTo>
                  <a:lnTo>
                    <a:pt x="20061" y="42915"/>
                  </a:lnTo>
                  <a:cubicBezTo>
                    <a:pt x="18029" y="39689"/>
                    <a:pt x="18994" y="35426"/>
                    <a:pt x="22219" y="33392"/>
                  </a:cubicBezTo>
                  <a:cubicBezTo>
                    <a:pt x="25444" y="31358"/>
                    <a:pt x="29710" y="32325"/>
                    <a:pt x="31742" y="35551"/>
                  </a:cubicBezTo>
                  <a:lnTo>
                    <a:pt x="29202" y="31361"/>
                  </a:lnTo>
                  <a:lnTo>
                    <a:pt x="9776" y="0"/>
                  </a:lnTo>
                  <a:lnTo>
                    <a:pt x="9142" y="0"/>
                  </a:lnTo>
                  <a:cubicBezTo>
                    <a:pt x="10196" y="1141"/>
                    <a:pt x="10779" y="2636"/>
                    <a:pt x="10792" y="4190"/>
                  </a:cubicBezTo>
                  <a:cubicBezTo>
                    <a:pt x="10462" y="7847"/>
                    <a:pt x="7352" y="10620"/>
                    <a:pt x="3682" y="10538"/>
                  </a:cubicBezTo>
                  <a:close/>
                </a:path>
              </a:pathLst>
            </a:custGeom>
            <a:solidFill>
              <a:srgbClr val="000000"/>
            </a:solidFill>
            <a:ln w="12690"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29B1D37C-9641-4F52-B9EA-804C5BB04081}"/>
                </a:ext>
              </a:extLst>
            </p:cNvPr>
            <p:cNvSpPr/>
            <p:nvPr/>
          </p:nvSpPr>
          <p:spPr>
            <a:xfrm>
              <a:off x="4981547" y="5787702"/>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0064471D-9807-4A0D-AE8E-01EC45264296}"/>
                </a:ext>
              </a:extLst>
            </p:cNvPr>
            <p:cNvSpPr/>
            <p:nvPr/>
          </p:nvSpPr>
          <p:spPr>
            <a:xfrm>
              <a:off x="4995973" y="5823077"/>
              <a:ext cx="16321" cy="17951"/>
            </a:xfrm>
            <a:custGeom>
              <a:avLst/>
              <a:gdLst>
                <a:gd name="connsiteX0" fmla="*/ 3603 w 16321"/>
                <a:gd name="connsiteY0" fmla="*/ 14650 h 17951"/>
                <a:gd name="connsiteX1" fmla="*/ 9444 w 16321"/>
                <a:gd name="connsiteY1" fmla="*/ 17951 h 17951"/>
                <a:gd name="connsiteX2" fmla="*/ 13125 w 16321"/>
                <a:gd name="connsiteY2" fmla="*/ 16936 h 17951"/>
                <a:gd name="connsiteX3" fmla="*/ 15284 w 16321"/>
                <a:gd name="connsiteY3" fmla="*/ 7413 h 17951"/>
                <a:gd name="connsiteX4" fmla="*/ 15284 w 16321"/>
                <a:gd name="connsiteY4" fmla="*/ 7413 h 17951"/>
                <a:gd name="connsiteX5" fmla="*/ 12744 w 16321"/>
                <a:gd name="connsiteY5" fmla="*/ 3223 h 17951"/>
                <a:gd name="connsiteX6" fmla="*/ 12744 w 16321"/>
                <a:gd name="connsiteY6" fmla="*/ 3223 h 17951"/>
                <a:gd name="connsiteX7" fmla="*/ 3222 w 16321"/>
                <a:gd name="connsiteY7" fmla="*/ 1065 h 17951"/>
                <a:gd name="connsiteX8" fmla="*/ 1064 w 16321"/>
                <a:gd name="connsiteY8" fmla="*/ 10587 h 17951"/>
                <a:gd name="connsiteX9" fmla="*/ 1064 w 16321"/>
                <a:gd name="connsiteY9" fmla="*/ 10587 h 17951"/>
                <a:gd name="connsiteX10" fmla="*/ 3603 w 16321"/>
                <a:gd name="connsiteY10" fmla="*/ 14650 h 1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1" h="17951">
                  <a:moveTo>
                    <a:pt x="3603" y="14650"/>
                  </a:moveTo>
                  <a:cubicBezTo>
                    <a:pt x="4822" y="16712"/>
                    <a:pt x="7044" y="17969"/>
                    <a:pt x="9444" y="17951"/>
                  </a:cubicBezTo>
                  <a:cubicBezTo>
                    <a:pt x="10738" y="17931"/>
                    <a:pt x="12008" y="17582"/>
                    <a:pt x="13125" y="16936"/>
                  </a:cubicBezTo>
                  <a:cubicBezTo>
                    <a:pt x="16312" y="14875"/>
                    <a:pt x="17277" y="10647"/>
                    <a:pt x="15284" y="7413"/>
                  </a:cubicBezTo>
                  <a:lnTo>
                    <a:pt x="15284" y="7413"/>
                  </a:lnTo>
                  <a:lnTo>
                    <a:pt x="12744" y="3223"/>
                  </a:lnTo>
                  <a:lnTo>
                    <a:pt x="12744" y="3223"/>
                  </a:lnTo>
                  <a:cubicBezTo>
                    <a:pt x="10713" y="-2"/>
                    <a:pt x="6447" y="-969"/>
                    <a:pt x="3222" y="1065"/>
                  </a:cubicBezTo>
                  <a:cubicBezTo>
                    <a:pt x="-3" y="3099"/>
                    <a:pt x="-968" y="7362"/>
                    <a:pt x="1064" y="10587"/>
                  </a:cubicBezTo>
                  <a:lnTo>
                    <a:pt x="1064" y="10587"/>
                  </a:lnTo>
                  <a:lnTo>
                    <a:pt x="3603" y="14650"/>
                  </a:lnTo>
                  <a:close/>
                </a:path>
              </a:pathLst>
            </a:custGeom>
            <a:solidFill>
              <a:srgbClr val="000000"/>
            </a:solidFill>
            <a:ln w="12690"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B59E9BEC-3724-42DE-BFD8-06B4DFB07667}"/>
                </a:ext>
              </a:extLst>
            </p:cNvPr>
            <p:cNvSpPr/>
            <p:nvPr/>
          </p:nvSpPr>
          <p:spPr>
            <a:xfrm>
              <a:off x="7799832" y="6513067"/>
              <a:ext cx="5967" cy="12696"/>
            </a:xfrm>
            <a:custGeom>
              <a:avLst/>
              <a:gdLst>
                <a:gd name="connsiteX0" fmla="*/ 5967 w 5967"/>
                <a:gd name="connsiteY0" fmla="*/ 0 h 12696"/>
                <a:gd name="connsiteX1" fmla="*/ 0 w 5967"/>
                <a:gd name="connsiteY1" fmla="*/ 0 h 12696"/>
                <a:gd name="connsiteX2" fmla="*/ 0 w 5967"/>
                <a:gd name="connsiteY2" fmla="*/ 0 h 12696"/>
                <a:gd name="connsiteX3" fmla="*/ 5967 w 5967"/>
                <a:gd name="connsiteY3" fmla="*/ 0 h 12696"/>
              </a:gdLst>
              <a:ahLst/>
              <a:cxnLst>
                <a:cxn ang="0">
                  <a:pos x="connsiteX0" y="connsiteY0"/>
                </a:cxn>
                <a:cxn ang="0">
                  <a:pos x="connsiteX1" y="connsiteY1"/>
                </a:cxn>
                <a:cxn ang="0">
                  <a:pos x="connsiteX2" y="connsiteY2"/>
                </a:cxn>
                <a:cxn ang="0">
                  <a:pos x="connsiteX3" y="connsiteY3"/>
                </a:cxn>
              </a:cxnLst>
              <a:rect l="l" t="t" r="r" b="b"/>
              <a:pathLst>
                <a:path w="5967" h="12696">
                  <a:moveTo>
                    <a:pt x="5967" y="0"/>
                  </a:moveTo>
                  <a:lnTo>
                    <a:pt x="0" y="0"/>
                  </a:lnTo>
                  <a:lnTo>
                    <a:pt x="0" y="0"/>
                  </a:lnTo>
                  <a:lnTo>
                    <a:pt x="5967" y="0"/>
                  </a:lnTo>
                  <a:close/>
                </a:path>
              </a:pathLst>
            </a:custGeom>
            <a:solidFill>
              <a:srgbClr val="000000"/>
            </a:solidFill>
            <a:ln w="12690"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674413FE-DD2C-4024-869D-9EC340779647}"/>
                </a:ext>
              </a:extLst>
            </p:cNvPr>
            <p:cNvSpPr/>
            <p:nvPr/>
          </p:nvSpPr>
          <p:spPr>
            <a:xfrm>
              <a:off x="7104307" y="6510528"/>
              <a:ext cx="22346" cy="1904"/>
            </a:xfrm>
            <a:custGeom>
              <a:avLst/>
              <a:gdLst>
                <a:gd name="connsiteX0" fmla="*/ 22346 w 22346"/>
                <a:gd name="connsiteY0" fmla="*/ 1143 h 1904"/>
                <a:gd name="connsiteX1" fmla="*/ 22346 w 22346"/>
                <a:gd name="connsiteY1" fmla="*/ 1143 h 1904"/>
                <a:gd name="connsiteX2" fmla="*/ 21204 w 22346"/>
                <a:gd name="connsiteY2" fmla="*/ 0 h 1904"/>
                <a:gd name="connsiteX3" fmla="*/ 11427 w 22346"/>
                <a:gd name="connsiteY3" fmla="*/ 0 h 1904"/>
                <a:gd name="connsiteX4" fmla="*/ 10158 w 22346"/>
                <a:gd name="connsiteY4" fmla="*/ 1270 h 1904"/>
                <a:gd name="connsiteX5" fmla="*/ 0 w 22346"/>
                <a:gd name="connsiteY5" fmla="*/ 1270 h 1904"/>
                <a:gd name="connsiteX6" fmla="*/ 0 w 22346"/>
                <a:gd name="connsiteY6" fmla="*/ 1904 h 1904"/>
                <a:gd name="connsiteX7" fmla="*/ 21204 w 22346"/>
                <a:gd name="connsiteY7" fmla="*/ 1904 h 1904"/>
                <a:gd name="connsiteX8" fmla="*/ 22346 w 22346"/>
                <a:gd name="connsiteY8" fmla="*/ 1143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46" h="1904">
                  <a:moveTo>
                    <a:pt x="22346" y="1143"/>
                  </a:moveTo>
                  <a:lnTo>
                    <a:pt x="22346" y="1143"/>
                  </a:lnTo>
                  <a:cubicBezTo>
                    <a:pt x="22346" y="508"/>
                    <a:pt x="21839" y="0"/>
                    <a:pt x="21204" y="0"/>
                  </a:cubicBezTo>
                  <a:lnTo>
                    <a:pt x="11427" y="0"/>
                  </a:lnTo>
                  <a:cubicBezTo>
                    <a:pt x="11427" y="698"/>
                    <a:pt x="10856" y="1270"/>
                    <a:pt x="10158" y="1270"/>
                  </a:cubicBezTo>
                  <a:lnTo>
                    <a:pt x="0" y="1270"/>
                  </a:lnTo>
                  <a:lnTo>
                    <a:pt x="0" y="1904"/>
                  </a:lnTo>
                  <a:lnTo>
                    <a:pt x="21204" y="1904"/>
                  </a:lnTo>
                  <a:cubicBezTo>
                    <a:pt x="21699" y="1892"/>
                    <a:pt x="22143" y="1600"/>
                    <a:pt x="22346" y="1143"/>
                  </a:cubicBezTo>
                  <a:close/>
                </a:path>
              </a:pathLst>
            </a:custGeom>
            <a:solidFill>
              <a:srgbClr val="000000"/>
            </a:solidFill>
            <a:ln w="12690"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910FE2B4-B4F7-455D-91C9-D9F93D5DEA90}"/>
                </a:ext>
              </a:extLst>
            </p:cNvPr>
            <p:cNvSpPr/>
            <p:nvPr/>
          </p:nvSpPr>
          <p:spPr>
            <a:xfrm>
              <a:off x="5740301" y="5854741"/>
              <a:ext cx="321734" cy="13839"/>
            </a:xfrm>
            <a:custGeom>
              <a:avLst/>
              <a:gdLst>
                <a:gd name="connsiteX0" fmla="*/ 0 w 321734"/>
                <a:gd name="connsiteY0" fmla="*/ 13839 h 13839"/>
                <a:gd name="connsiteX1" fmla="*/ 314751 w 321734"/>
                <a:gd name="connsiteY1" fmla="*/ 13839 h 13839"/>
                <a:gd name="connsiteX2" fmla="*/ 314751 w 321734"/>
                <a:gd name="connsiteY2" fmla="*/ 6983 h 13839"/>
                <a:gd name="connsiteX3" fmla="*/ 321735 w 321734"/>
                <a:gd name="connsiteY3" fmla="*/ 0 h 13839"/>
                <a:gd name="connsiteX4" fmla="*/ 0 w 321734"/>
                <a:gd name="connsiteY4" fmla="*/ 0 h 13839"/>
                <a:gd name="connsiteX5" fmla="*/ 0 w 321734"/>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734" h="13839">
                  <a:moveTo>
                    <a:pt x="0" y="13839"/>
                  </a:moveTo>
                  <a:lnTo>
                    <a:pt x="314751" y="13839"/>
                  </a:lnTo>
                  <a:lnTo>
                    <a:pt x="314751" y="6983"/>
                  </a:lnTo>
                  <a:cubicBezTo>
                    <a:pt x="314751" y="3126"/>
                    <a:pt x="317875" y="0"/>
                    <a:pt x="321735" y="0"/>
                  </a:cubicBezTo>
                  <a:lnTo>
                    <a:pt x="0" y="0"/>
                  </a:lnTo>
                  <a:lnTo>
                    <a:pt x="0" y="13839"/>
                  </a:lnTo>
                  <a:close/>
                </a:path>
              </a:pathLst>
            </a:custGeom>
            <a:solidFill>
              <a:srgbClr val="000000"/>
            </a:solidFill>
            <a:ln w="12690"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323A32F1-5511-44A2-95A0-48A789A3DDDF}"/>
                </a:ext>
              </a:extLst>
            </p:cNvPr>
            <p:cNvSpPr/>
            <p:nvPr/>
          </p:nvSpPr>
          <p:spPr>
            <a:xfrm>
              <a:off x="7835637" y="5854697"/>
              <a:ext cx="211018" cy="13756"/>
            </a:xfrm>
            <a:custGeom>
              <a:avLst/>
              <a:gdLst>
                <a:gd name="connsiteX0" fmla="*/ 7491 w 211018"/>
                <a:gd name="connsiteY0" fmla="*/ 5504 h 13756"/>
                <a:gd name="connsiteX1" fmla="*/ 2285 w 211018"/>
                <a:gd name="connsiteY1" fmla="*/ 13756 h 13756"/>
                <a:gd name="connsiteX2" fmla="*/ 204036 w 211018"/>
                <a:gd name="connsiteY2" fmla="*/ 13756 h 13756"/>
                <a:gd name="connsiteX3" fmla="*/ 204036 w 211018"/>
                <a:gd name="connsiteY3" fmla="*/ 7027 h 13756"/>
                <a:gd name="connsiteX4" fmla="*/ 211019 w 211018"/>
                <a:gd name="connsiteY4" fmla="*/ 44 h 13756"/>
                <a:gd name="connsiteX5" fmla="*/ 762 w 211018"/>
                <a:gd name="connsiteY5" fmla="*/ 44 h 13756"/>
                <a:gd name="connsiteX6" fmla="*/ 0 w 211018"/>
                <a:gd name="connsiteY6" fmla="*/ 44 h 13756"/>
                <a:gd name="connsiteX7" fmla="*/ 7491 w 211018"/>
                <a:gd name="connsiteY7" fmla="*/ 5504 h 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018" h="13756">
                  <a:moveTo>
                    <a:pt x="7491" y="5504"/>
                  </a:moveTo>
                  <a:cubicBezTo>
                    <a:pt x="8278" y="9211"/>
                    <a:pt x="5967" y="12875"/>
                    <a:pt x="2285" y="13756"/>
                  </a:cubicBezTo>
                  <a:lnTo>
                    <a:pt x="204036" y="13756"/>
                  </a:lnTo>
                  <a:lnTo>
                    <a:pt x="204036" y="7027"/>
                  </a:lnTo>
                  <a:cubicBezTo>
                    <a:pt x="204036" y="3170"/>
                    <a:pt x="207159" y="44"/>
                    <a:pt x="211019" y="44"/>
                  </a:cubicBezTo>
                  <a:lnTo>
                    <a:pt x="762" y="44"/>
                  </a:lnTo>
                  <a:lnTo>
                    <a:pt x="0" y="44"/>
                  </a:lnTo>
                  <a:cubicBezTo>
                    <a:pt x="3530" y="-356"/>
                    <a:pt x="6792" y="2016"/>
                    <a:pt x="7491" y="5504"/>
                  </a:cubicBezTo>
                  <a:close/>
                </a:path>
              </a:pathLst>
            </a:custGeom>
            <a:solidFill>
              <a:srgbClr val="000000"/>
            </a:solidFill>
            <a:ln w="12690"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6824376C-CBC2-4287-8996-90CCBD186147}"/>
                </a:ext>
              </a:extLst>
            </p:cNvPr>
            <p:cNvSpPr/>
            <p:nvPr/>
          </p:nvSpPr>
          <p:spPr>
            <a:xfrm>
              <a:off x="7802117" y="5863629"/>
              <a:ext cx="761" cy="1142"/>
            </a:xfrm>
            <a:custGeom>
              <a:avLst/>
              <a:gdLst>
                <a:gd name="connsiteX0" fmla="*/ 0 w 761"/>
                <a:gd name="connsiteY0" fmla="*/ 1143 h 1142"/>
                <a:gd name="connsiteX1" fmla="*/ 762 w 761"/>
                <a:gd name="connsiteY1" fmla="*/ 0 h 1142"/>
              </a:gdLst>
              <a:ahLst/>
              <a:cxnLst>
                <a:cxn ang="0">
                  <a:pos x="connsiteX0" y="connsiteY0"/>
                </a:cxn>
                <a:cxn ang="0">
                  <a:pos x="connsiteX1" y="connsiteY1"/>
                </a:cxn>
              </a:cxnLst>
              <a:rect l="l" t="t" r="r" b="b"/>
              <a:pathLst>
                <a:path w="761" h="1142">
                  <a:moveTo>
                    <a:pt x="0" y="1143"/>
                  </a:moveTo>
                  <a:lnTo>
                    <a:pt x="762" y="0"/>
                  </a:lnTo>
                  <a:close/>
                </a:path>
              </a:pathLst>
            </a:custGeom>
            <a:solidFill>
              <a:srgbClr val="000000"/>
            </a:solidFill>
            <a:ln w="12690"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56A52E49-D639-403D-A16F-CAFB75CB8BA0}"/>
                </a:ext>
              </a:extLst>
            </p:cNvPr>
            <p:cNvSpPr/>
            <p:nvPr/>
          </p:nvSpPr>
          <p:spPr>
            <a:xfrm>
              <a:off x="7803768" y="5861978"/>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CD208C65-66B8-441D-888F-5660F5F92C2E}"/>
                </a:ext>
              </a:extLst>
            </p:cNvPr>
            <p:cNvSpPr/>
            <p:nvPr/>
          </p:nvSpPr>
          <p:spPr>
            <a:xfrm>
              <a:off x="7801355" y="5865805"/>
              <a:ext cx="56" cy="1506"/>
            </a:xfrm>
            <a:custGeom>
              <a:avLst/>
              <a:gdLst>
                <a:gd name="connsiteX0" fmla="*/ 0 w 56"/>
                <a:gd name="connsiteY0" fmla="*/ 1506 h 1506"/>
                <a:gd name="connsiteX1" fmla="*/ 0 w 56"/>
                <a:gd name="connsiteY1" fmla="*/ 109 h 1506"/>
                <a:gd name="connsiteX2" fmla="*/ 0 w 56"/>
                <a:gd name="connsiteY2" fmla="*/ 1506 h 1506"/>
              </a:gdLst>
              <a:ahLst/>
              <a:cxnLst>
                <a:cxn ang="0">
                  <a:pos x="connsiteX0" y="connsiteY0"/>
                </a:cxn>
                <a:cxn ang="0">
                  <a:pos x="connsiteX1" y="connsiteY1"/>
                </a:cxn>
                <a:cxn ang="0">
                  <a:pos x="connsiteX2" y="connsiteY2"/>
                </a:cxn>
              </a:cxnLst>
              <a:rect l="l" t="t" r="r" b="b"/>
              <a:pathLst>
                <a:path w="56" h="1506">
                  <a:moveTo>
                    <a:pt x="0" y="1506"/>
                  </a:moveTo>
                  <a:cubicBezTo>
                    <a:pt x="0" y="1506"/>
                    <a:pt x="0" y="617"/>
                    <a:pt x="0" y="109"/>
                  </a:cubicBezTo>
                  <a:cubicBezTo>
                    <a:pt x="0" y="-398"/>
                    <a:pt x="127" y="998"/>
                    <a:pt x="0" y="1506"/>
                  </a:cubicBezTo>
                  <a:close/>
                </a:path>
              </a:pathLst>
            </a:custGeom>
            <a:solidFill>
              <a:srgbClr val="000000"/>
            </a:solidFill>
            <a:ln w="12690"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7D4EEE00-BAA9-4F39-9E15-3F1B7B040697}"/>
                </a:ext>
              </a:extLst>
            </p:cNvPr>
            <p:cNvSpPr/>
            <p:nvPr/>
          </p:nvSpPr>
          <p:spPr>
            <a:xfrm>
              <a:off x="7805418" y="5860581"/>
              <a:ext cx="4951" cy="1015"/>
            </a:xfrm>
            <a:custGeom>
              <a:avLst/>
              <a:gdLst>
                <a:gd name="connsiteX0" fmla="*/ 3047 w 4951"/>
                <a:gd name="connsiteY0" fmla="*/ 635 h 1015"/>
                <a:gd name="connsiteX1" fmla="*/ 3047 w 4951"/>
                <a:gd name="connsiteY1" fmla="*/ 635 h 1015"/>
                <a:gd name="connsiteX2" fmla="*/ 4316 w 4951"/>
                <a:gd name="connsiteY2" fmla="*/ 0 h 1015"/>
                <a:gd name="connsiteX3" fmla="*/ 4952 w 4951"/>
                <a:gd name="connsiteY3" fmla="*/ 0 h 1015"/>
                <a:gd name="connsiteX4" fmla="*/ 635 w 4951"/>
                <a:gd name="connsiteY4" fmla="*/ 1016 h 1015"/>
                <a:gd name="connsiteX5" fmla="*/ 0 w 4951"/>
                <a:gd name="connsiteY5" fmla="*/ 1016 h 1015"/>
                <a:gd name="connsiteX6" fmla="*/ 2158 w 4951"/>
                <a:gd name="connsiteY6" fmla="*/ 1016 h 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1" h="1015">
                  <a:moveTo>
                    <a:pt x="3047" y="635"/>
                  </a:moveTo>
                  <a:lnTo>
                    <a:pt x="3047" y="635"/>
                  </a:lnTo>
                  <a:lnTo>
                    <a:pt x="4316" y="0"/>
                  </a:lnTo>
                  <a:lnTo>
                    <a:pt x="4952" y="0"/>
                  </a:lnTo>
                  <a:lnTo>
                    <a:pt x="635" y="1016"/>
                  </a:lnTo>
                  <a:lnTo>
                    <a:pt x="0" y="1016"/>
                  </a:lnTo>
                  <a:cubicBezTo>
                    <a:pt x="711" y="895"/>
                    <a:pt x="1448" y="895"/>
                    <a:pt x="2158" y="1016"/>
                  </a:cubicBezTo>
                  <a:close/>
                </a:path>
              </a:pathLst>
            </a:custGeom>
            <a:solidFill>
              <a:srgbClr val="000000"/>
            </a:solidFill>
            <a:ln w="12690"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39D09D68-992E-4539-B724-AB0193B40A74}"/>
                </a:ext>
              </a:extLst>
            </p:cNvPr>
            <p:cNvSpPr/>
            <p:nvPr/>
          </p:nvSpPr>
          <p:spPr>
            <a:xfrm>
              <a:off x="7835128" y="5868580"/>
              <a:ext cx="2539" cy="78212"/>
            </a:xfrm>
            <a:custGeom>
              <a:avLst/>
              <a:gdLst>
                <a:gd name="connsiteX0" fmla="*/ 1270 w 2539"/>
                <a:gd name="connsiteY0" fmla="*/ 78212 h 78212"/>
                <a:gd name="connsiteX1" fmla="*/ 2539 w 2539"/>
                <a:gd name="connsiteY1" fmla="*/ 78212 h 78212"/>
                <a:gd name="connsiteX2" fmla="*/ 2539 w 2539"/>
                <a:gd name="connsiteY2" fmla="*/ 0 h 78212"/>
                <a:gd name="connsiteX3" fmla="*/ 2539 w 2539"/>
                <a:gd name="connsiteY3" fmla="*/ 0 h 78212"/>
                <a:gd name="connsiteX4" fmla="*/ 0 w 2539"/>
                <a:gd name="connsiteY4" fmla="*/ 0 h 78212"/>
                <a:gd name="connsiteX5" fmla="*/ 0 w 2539"/>
                <a:gd name="connsiteY5" fmla="*/ 77958 h 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78212">
                  <a:moveTo>
                    <a:pt x="1270" y="78212"/>
                  </a:moveTo>
                  <a:lnTo>
                    <a:pt x="2539" y="78212"/>
                  </a:lnTo>
                  <a:lnTo>
                    <a:pt x="2539" y="0"/>
                  </a:lnTo>
                  <a:lnTo>
                    <a:pt x="2539" y="0"/>
                  </a:lnTo>
                  <a:lnTo>
                    <a:pt x="0" y="0"/>
                  </a:lnTo>
                  <a:lnTo>
                    <a:pt x="0" y="77958"/>
                  </a:lnTo>
                  <a:close/>
                </a:path>
              </a:pathLst>
            </a:custGeom>
            <a:solidFill>
              <a:srgbClr val="000000"/>
            </a:solidFill>
            <a:ln w="12690"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657477E7-BAEB-4127-8861-BAEC2A13EACE}"/>
                </a:ext>
              </a:extLst>
            </p:cNvPr>
            <p:cNvSpPr/>
            <p:nvPr/>
          </p:nvSpPr>
          <p:spPr>
            <a:xfrm>
              <a:off x="6068892" y="6503164"/>
              <a:ext cx="431306" cy="6602"/>
            </a:xfrm>
            <a:custGeom>
              <a:avLst/>
              <a:gdLst>
                <a:gd name="connsiteX0" fmla="*/ 0 w 431306"/>
                <a:gd name="connsiteY0" fmla="*/ 0 h 6602"/>
                <a:gd name="connsiteX1" fmla="*/ 431307 w 431306"/>
                <a:gd name="connsiteY1" fmla="*/ 0 h 6602"/>
                <a:gd name="connsiteX2" fmla="*/ 431307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7" y="0"/>
                  </a:lnTo>
                  <a:lnTo>
                    <a:pt x="431307" y="6602"/>
                  </a:lnTo>
                  <a:lnTo>
                    <a:pt x="0" y="6602"/>
                  </a:lnTo>
                  <a:close/>
                </a:path>
              </a:pathLst>
            </a:custGeom>
            <a:solidFill>
              <a:srgbClr val="000000"/>
            </a:solidFill>
            <a:ln w="12690"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941F6625-6B07-4A99-8FB0-F824CB7C4256}"/>
                </a:ext>
              </a:extLst>
            </p:cNvPr>
            <p:cNvSpPr/>
            <p:nvPr/>
          </p:nvSpPr>
          <p:spPr>
            <a:xfrm>
              <a:off x="6067495" y="6512306"/>
              <a:ext cx="433211" cy="4824"/>
            </a:xfrm>
            <a:custGeom>
              <a:avLst/>
              <a:gdLst>
                <a:gd name="connsiteX0" fmla="*/ 1524 w 433211"/>
                <a:gd name="connsiteY0" fmla="*/ 0 h 4824"/>
                <a:gd name="connsiteX1" fmla="*/ 1524 w 433211"/>
                <a:gd name="connsiteY1" fmla="*/ 762 h 4824"/>
                <a:gd name="connsiteX2" fmla="*/ 0 w 433211"/>
                <a:gd name="connsiteY2" fmla="*/ 4825 h 4824"/>
                <a:gd name="connsiteX3" fmla="*/ 433211 w 433211"/>
                <a:gd name="connsiteY3" fmla="*/ 4825 h 4824"/>
                <a:gd name="connsiteX4" fmla="*/ 433211 w 433211"/>
                <a:gd name="connsiteY4" fmla="*/ 127 h 4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211" h="4824">
                  <a:moveTo>
                    <a:pt x="1524" y="0"/>
                  </a:moveTo>
                  <a:lnTo>
                    <a:pt x="1524" y="762"/>
                  </a:lnTo>
                  <a:cubicBezTo>
                    <a:pt x="1473" y="2247"/>
                    <a:pt x="940" y="3682"/>
                    <a:pt x="0" y="4825"/>
                  </a:cubicBezTo>
                  <a:lnTo>
                    <a:pt x="433211" y="4825"/>
                  </a:lnTo>
                  <a:lnTo>
                    <a:pt x="433211" y="127"/>
                  </a:lnTo>
                  <a:close/>
                </a:path>
              </a:pathLst>
            </a:custGeom>
            <a:solidFill>
              <a:srgbClr val="000000"/>
            </a:solidFill>
            <a:ln w="12690"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C744749C-DD72-435C-8BE2-AF822A637CE6}"/>
                </a:ext>
              </a:extLst>
            </p:cNvPr>
            <p:cNvSpPr/>
            <p:nvPr/>
          </p:nvSpPr>
          <p:spPr>
            <a:xfrm>
              <a:off x="7717938" y="6504640"/>
              <a:ext cx="50786" cy="6776"/>
            </a:xfrm>
            <a:custGeom>
              <a:avLst/>
              <a:gdLst>
                <a:gd name="connsiteX0" fmla="*/ 45327 w 50786"/>
                <a:gd name="connsiteY0" fmla="*/ 5253 h 6776"/>
                <a:gd name="connsiteX1" fmla="*/ 45327 w 50786"/>
                <a:gd name="connsiteY1" fmla="*/ 5253 h 6776"/>
                <a:gd name="connsiteX2" fmla="*/ 45327 w 50786"/>
                <a:gd name="connsiteY2" fmla="*/ 3983 h 6776"/>
                <a:gd name="connsiteX3" fmla="*/ 45327 w 50786"/>
                <a:gd name="connsiteY3" fmla="*/ 2841 h 6776"/>
                <a:gd name="connsiteX4" fmla="*/ 46470 w 50786"/>
                <a:gd name="connsiteY4" fmla="*/ 1190 h 6776"/>
                <a:gd name="connsiteX5" fmla="*/ 46470 w 50786"/>
                <a:gd name="connsiteY5" fmla="*/ 1190 h 6776"/>
                <a:gd name="connsiteX6" fmla="*/ 48120 w 50786"/>
                <a:gd name="connsiteY6" fmla="*/ 48 h 6776"/>
                <a:gd name="connsiteX7" fmla="*/ 48120 w 50786"/>
                <a:gd name="connsiteY7" fmla="*/ 48 h 6776"/>
                <a:gd name="connsiteX8" fmla="*/ 49771 w 50786"/>
                <a:gd name="connsiteY8" fmla="*/ 48 h 6776"/>
                <a:gd name="connsiteX9" fmla="*/ 50787 w 50786"/>
                <a:gd name="connsiteY9" fmla="*/ 48 h 6776"/>
                <a:gd name="connsiteX10" fmla="*/ 0 w 50786"/>
                <a:gd name="connsiteY10" fmla="*/ 48 h 6776"/>
                <a:gd name="connsiteX11" fmla="*/ 0 w 50786"/>
                <a:gd name="connsiteY11" fmla="*/ 6777 h 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86" h="6776">
                  <a:moveTo>
                    <a:pt x="45327" y="5253"/>
                  </a:moveTo>
                  <a:lnTo>
                    <a:pt x="45327" y="5253"/>
                  </a:lnTo>
                  <a:cubicBezTo>
                    <a:pt x="45264" y="4834"/>
                    <a:pt x="45264" y="4403"/>
                    <a:pt x="45327" y="3983"/>
                  </a:cubicBezTo>
                  <a:cubicBezTo>
                    <a:pt x="45327" y="3983"/>
                    <a:pt x="45327" y="3222"/>
                    <a:pt x="45327" y="2841"/>
                  </a:cubicBezTo>
                  <a:cubicBezTo>
                    <a:pt x="45632" y="2244"/>
                    <a:pt x="46013" y="1685"/>
                    <a:pt x="46470" y="1190"/>
                  </a:cubicBezTo>
                  <a:lnTo>
                    <a:pt x="46470" y="1190"/>
                  </a:lnTo>
                  <a:cubicBezTo>
                    <a:pt x="46940" y="695"/>
                    <a:pt x="47499" y="314"/>
                    <a:pt x="48120" y="48"/>
                  </a:cubicBezTo>
                  <a:lnTo>
                    <a:pt x="48120" y="48"/>
                  </a:lnTo>
                  <a:cubicBezTo>
                    <a:pt x="48667" y="-16"/>
                    <a:pt x="49225" y="-16"/>
                    <a:pt x="49771" y="48"/>
                  </a:cubicBezTo>
                  <a:lnTo>
                    <a:pt x="50787" y="48"/>
                  </a:lnTo>
                  <a:lnTo>
                    <a:pt x="0" y="48"/>
                  </a:lnTo>
                  <a:lnTo>
                    <a:pt x="0" y="6777"/>
                  </a:lnTo>
                  <a:close/>
                </a:path>
              </a:pathLst>
            </a:custGeom>
            <a:solidFill>
              <a:srgbClr val="000000"/>
            </a:solidFill>
            <a:ln w="12690"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0761EC6E-7C86-49FF-B7C9-0018BD4565D1}"/>
                </a:ext>
              </a:extLst>
            </p:cNvPr>
            <p:cNvSpPr/>
            <p:nvPr/>
          </p:nvSpPr>
          <p:spPr>
            <a:xfrm>
              <a:off x="7719589" y="6513067"/>
              <a:ext cx="50786" cy="4697"/>
            </a:xfrm>
            <a:custGeom>
              <a:avLst/>
              <a:gdLst>
                <a:gd name="connsiteX0" fmla="*/ 49009 w 50786"/>
                <a:gd name="connsiteY0" fmla="*/ 3682 h 4697"/>
                <a:gd name="connsiteX1" fmla="*/ 47740 w 50786"/>
                <a:gd name="connsiteY1" fmla="*/ 3682 h 4697"/>
                <a:gd name="connsiteX2" fmla="*/ 46597 w 50786"/>
                <a:gd name="connsiteY2" fmla="*/ 2920 h 4697"/>
                <a:gd name="connsiteX3" fmla="*/ 45581 w 50786"/>
                <a:gd name="connsiteY3" fmla="*/ 2158 h 4697"/>
                <a:gd name="connsiteX4" fmla="*/ 44820 w 50786"/>
                <a:gd name="connsiteY4" fmla="*/ 1143 h 4697"/>
                <a:gd name="connsiteX5" fmla="*/ 44820 w 50786"/>
                <a:gd name="connsiteY5" fmla="*/ 0 h 4697"/>
                <a:gd name="connsiteX6" fmla="*/ 44820 w 50786"/>
                <a:gd name="connsiteY6" fmla="*/ 0 h 4697"/>
                <a:gd name="connsiteX7" fmla="*/ 0 w 50786"/>
                <a:gd name="connsiteY7" fmla="*/ 0 h 4697"/>
                <a:gd name="connsiteX8" fmla="*/ 0 w 50786"/>
                <a:gd name="connsiteY8" fmla="*/ 4698 h 4697"/>
                <a:gd name="connsiteX9" fmla="*/ 50787 w 50786"/>
                <a:gd name="connsiteY9" fmla="*/ 4698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86" h="4697">
                  <a:moveTo>
                    <a:pt x="49009" y="3682"/>
                  </a:moveTo>
                  <a:cubicBezTo>
                    <a:pt x="48591" y="3733"/>
                    <a:pt x="48159" y="3733"/>
                    <a:pt x="47740" y="3682"/>
                  </a:cubicBezTo>
                  <a:cubicBezTo>
                    <a:pt x="47740" y="3682"/>
                    <a:pt x="46978" y="3682"/>
                    <a:pt x="46597" y="2920"/>
                  </a:cubicBezTo>
                  <a:cubicBezTo>
                    <a:pt x="46203" y="2743"/>
                    <a:pt x="45860" y="2476"/>
                    <a:pt x="45581" y="2158"/>
                  </a:cubicBezTo>
                  <a:cubicBezTo>
                    <a:pt x="45581" y="2158"/>
                    <a:pt x="45581" y="1397"/>
                    <a:pt x="44820" y="1143"/>
                  </a:cubicBezTo>
                  <a:cubicBezTo>
                    <a:pt x="44781" y="762"/>
                    <a:pt x="44781" y="381"/>
                    <a:pt x="44820" y="0"/>
                  </a:cubicBezTo>
                  <a:lnTo>
                    <a:pt x="44820" y="0"/>
                  </a:lnTo>
                  <a:lnTo>
                    <a:pt x="0" y="0"/>
                  </a:lnTo>
                  <a:lnTo>
                    <a:pt x="0" y="4698"/>
                  </a:lnTo>
                  <a:lnTo>
                    <a:pt x="50787" y="4698"/>
                  </a:lnTo>
                  <a:close/>
                </a:path>
              </a:pathLst>
            </a:custGeom>
            <a:solidFill>
              <a:srgbClr val="000000"/>
            </a:solidFill>
            <a:ln w="12690"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040C51F0-1E87-44B0-8F43-565449E41E40}"/>
                </a:ext>
              </a:extLst>
            </p:cNvPr>
            <p:cNvSpPr/>
            <p:nvPr/>
          </p:nvSpPr>
          <p:spPr>
            <a:xfrm>
              <a:off x="7788913" y="5955553"/>
              <a:ext cx="1142" cy="761"/>
            </a:xfrm>
            <a:custGeom>
              <a:avLst/>
              <a:gdLst>
                <a:gd name="connsiteX0" fmla="*/ 0 w 1142"/>
                <a:gd name="connsiteY0" fmla="*/ 762 h 761"/>
                <a:gd name="connsiteX1" fmla="*/ 1142 w 1142"/>
                <a:gd name="connsiteY1" fmla="*/ 0 h 761"/>
              </a:gdLst>
              <a:ahLst/>
              <a:cxnLst>
                <a:cxn ang="0">
                  <a:pos x="connsiteX0" y="connsiteY0"/>
                </a:cxn>
                <a:cxn ang="0">
                  <a:pos x="connsiteX1" y="connsiteY1"/>
                </a:cxn>
              </a:cxnLst>
              <a:rect l="l" t="t" r="r" b="b"/>
              <a:pathLst>
                <a:path w="1142" h="761">
                  <a:moveTo>
                    <a:pt x="0" y="762"/>
                  </a:moveTo>
                  <a:lnTo>
                    <a:pt x="1142" y="0"/>
                  </a:lnTo>
                  <a:close/>
                </a:path>
              </a:pathLst>
            </a:custGeom>
            <a:solidFill>
              <a:srgbClr val="000000"/>
            </a:solidFill>
            <a:ln w="12690"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FC9ACDAF-91F2-4F79-9178-40D3C19EF310}"/>
                </a:ext>
              </a:extLst>
            </p:cNvPr>
            <p:cNvSpPr/>
            <p:nvPr/>
          </p:nvSpPr>
          <p:spPr>
            <a:xfrm>
              <a:off x="7787262" y="5957204"/>
              <a:ext cx="761" cy="1142"/>
            </a:xfrm>
            <a:custGeom>
              <a:avLst/>
              <a:gdLst>
                <a:gd name="connsiteX0" fmla="*/ 0 w 761"/>
                <a:gd name="connsiteY0" fmla="*/ 1143 h 1142"/>
                <a:gd name="connsiteX1" fmla="*/ 762 w 761"/>
                <a:gd name="connsiteY1" fmla="*/ 0 h 1142"/>
                <a:gd name="connsiteX2" fmla="*/ 0 w 761"/>
                <a:gd name="connsiteY2" fmla="*/ 1143 h 1142"/>
              </a:gdLst>
              <a:ahLst/>
              <a:cxnLst>
                <a:cxn ang="0">
                  <a:pos x="connsiteX0" y="connsiteY0"/>
                </a:cxn>
                <a:cxn ang="0">
                  <a:pos x="connsiteX1" y="connsiteY1"/>
                </a:cxn>
                <a:cxn ang="0">
                  <a:pos x="connsiteX2" y="connsiteY2"/>
                </a:cxn>
              </a:cxnLst>
              <a:rect l="l" t="t" r="r" b="b"/>
              <a:pathLst>
                <a:path w="761" h="1142">
                  <a:moveTo>
                    <a:pt x="0" y="1143"/>
                  </a:moveTo>
                  <a:lnTo>
                    <a:pt x="762" y="0"/>
                  </a:lnTo>
                  <a:cubicBezTo>
                    <a:pt x="470" y="350"/>
                    <a:pt x="203" y="734"/>
                    <a:pt x="0" y="1143"/>
                  </a:cubicBezTo>
                  <a:close/>
                </a:path>
              </a:pathLst>
            </a:custGeom>
            <a:solidFill>
              <a:srgbClr val="000000"/>
            </a:solidFill>
            <a:ln w="12690"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9087AD2F-8F8F-40AC-B6C9-4679422C1BE7}"/>
                </a:ext>
              </a:extLst>
            </p:cNvPr>
            <p:cNvSpPr/>
            <p:nvPr/>
          </p:nvSpPr>
          <p:spPr>
            <a:xfrm>
              <a:off x="7792213" y="5953141"/>
              <a:ext cx="14728" cy="13966"/>
            </a:xfrm>
            <a:custGeom>
              <a:avLst/>
              <a:gdLst>
                <a:gd name="connsiteX0" fmla="*/ 7873 w 14728"/>
                <a:gd name="connsiteY0" fmla="*/ 8507 h 13966"/>
                <a:gd name="connsiteX1" fmla="*/ 7873 w 14728"/>
                <a:gd name="connsiteY1" fmla="*/ 13966 h 13966"/>
                <a:gd name="connsiteX2" fmla="*/ 14729 w 14728"/>
                <a:gd name="connsiteY2" fmla="*/ 12697 h 13966"/>
                <a:gd name="connsiteX3" fmla="*/ 14729 w 14728"/>
                <a:gd name="connsiteY3" fmla="*/ 12697 h 13966"/>
                <a:gd name="connsiteX4" fmla="*/ 13459 w 14728"/>
                <a:gd name="connsiteY4" fmla="*/ 12697 h 13966"/>
                <a:gd name="connsiteX5" fmla="*/ 12697 w 14728"/>
                <a:gd name="connsiteY5" fmla="*/ 12697 h 13966"/>
                <a:gd name="connsiteX6" fmla="*/ 11300 w 14728"/>
                <a:gd name="connsiteY6" fmla="*/ 11808 h 13966"/>
                <a:gd name="connsiteX7" fmla="*/ 10666 w 14728"/>
                <a:gd name="connsiteY7" fmla="*/ 11046 h 13966"/>
                <a:gd name="connsiteX8" fmla="*/ 9904 w 14728"/>
                <a:gd name="connsiteY8" fmla="*/ 9776 h 13966"/>
                <a:gd name="connsiteX9" fmla="*/ 9904 w 14728"/>
                <a:gd name="connsiteY9" fmla="*/ 8761 h 13966"/>
                <a:gd name="connsiteX10" fmla="*/ 9904 w 14728"/>
                <a:gd name="connsiteY10" fmla="*/ 7999 h 13966"/>
                <a:gd name="connsiteX11" fmla="*/ 9904 w 14728"/>
                <a:gd name="connsiteY11" fmla="*/ 7999 h 13966"/>
                <a:gd name="connsiteX12" fmla="*/ 9904 w 14728"/>
                <a:gd name="connsiteY12" fmla="*/ 7364 h 13966"/>
                <a:gd name="connsiteX13" fmla="*/ 9904 w 14728"/>
                <a:gd name="connsiteY13" fmla="*/ 0 h 13966"/>
                <a:gd name="connsiteX14" fmla="*/ 635 w 14728"/>
                <a:gd name="connsiteY14" fmla="*/ 1651 h 13966"/>
                <a:gd name="connsiteX15" fmla="*/ 0 w 14728"/>
                <a:gd name="connsiteY15" fmla="*/ 1651 h 13966"/>
                <a:gd name="connsiteX16" fmla="*/ 1905 w 14728"/>
                <a:gd name="connsiteY16" fmla="*/ 1651 h 13966"/>
                <a:gd name="connsiteX17" fmla="*/ 7873 w 14728"/>
                <a:gd name="connsiteY17" fmla="*/ 8507 h 1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28" h="13966">
                  <a:moveTo>
                    <a:pt x="7873" y="8507"/>
                  </a:moveTo>
                  <a:lnTo>
                    <a:pt x="7873" y="13966"/>
                  </a:lnTo>
                  <a:lnTo>
                    <a:pt x="14729" y="12697"/>
                  </a:lnTo>
                  <a:lnTo>
                    <a:pt x="14729" y="12697"/>
                  </a:lnTo>
                  <a:cubicBezTo>
                    <a:pt x="14309" y="12770"/>
                    <a:pt x="13878" y="12770"/>
                    <a:pt x="13459" y="12697"/>
                  </a:cubicBezTo>
                  <a:cubicBezTo>
                    <a:pt x="13459" y="12697"/>
                    <a:pt x="13459" y="12697"/>
                    <a:pt x="12697" y="12697"/>
                  </a:cubicBezTo>
                  <a:cubicBezTo>
                    <a:pt x="12189" y="12477"/>
                    <a:pt x="11719" y="12177"/>
                    <a:pt x="11300" y="11808"/>
                  </a:cubicBezTo>
                  <a:lnTo>
                    <a:pt x="10666" y="11046"/>
                  </a:lnTo>
                  <a:cubicBezTo>
                    <a:pt x="10335" y="10672"/>
                    <a:pt x="10081" y="10241"/>
                    <a:pt x="9904" y="9776"/>
                  </a:cubicBezTo>
                  <a:cubicBezTo>
                    <a:pt x="9777" y="9450"/>
                    <a:pt x="9777" y="9087"/>
                    <a:pt x="9904" y="8761"/>
                  </a:cubicBezTo>
                  <a:lnTo>
                    <a:pt x="9904" y="7999"/>
                  </a:lnTo>
                  <a:lnTo>
                    <a:pt x="9904" y="7999"/>
                  </a:lnTo>
                  <a:cubicBezTo>
                    <a:pt x="9904" y="7999"/>
                    <a:pt x="9904" y="7999"/>
                    <a:pt x="9904" y="7364"/>
                  </a:cubicBezTo>
                  <a:lnTo>
                    <a:pt x="9904" y="0"/>
                  </a:lnTo>
                  <a:lnTo>
                    <a:pt x="635" y="1651"/>
                  </a:lnTo>
                  <a:lnTo>
                    <a:pt x="0" y="1651"/>
                  </a:lnTo>
                  <a:lnTo>
                    <a:pt x="1905" y="1651"/>
                  </a:lnTo>
                  <a:cubicBezTo>
                    <a:pt x="5308" y="2152"/>
                    <a:pt x="7847" y="5062"/>
                    <a:pt x="7873" y="8507"/>
                  </a:cubicBezTo>
                  <a:close/>
                </a:path>
              </a:pathLst>
            </a:custGeom>
            <a:solidFill>
              <a:srgbClr val="000000"/>
            </a:solidFill>
            <a:ln w="12690"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5F2BA1C2-AAE7-4813-A73A-1825122B457A}"/>
                </a:ext>
              </a:extLst>
            </p:cNvPr>
            <p:cNvSpPr/>
            <p:nvPr/>
          </p:nvSpPr>
          <p:spPr>
            <a:xfrm>
              <a:off x="7786453" y="5959489"/>
              <a:ext cx="47" cy="1396"/>
            </a:xfrm>
            <a:custGeom>
              <a:avLst/>
              <a:gdLst>
                <a:gd name="connsiteX0" fmla="*/ 48 w 47"/>
                <a:gd name="connsiteY0" fmla="*/ 1397 h 1396"/>
                <a:gd name="connsiteX1" fmla="*/ 48 w 47"/>
                <a:gd name="connsiteY1" fmla="*/ 0 h 1396"/>
                <a:gd name="connsiteX2" fmla="*/ 48 w 47"/>
                <a:gd name="connsiteY2" fmla="*/ 1397 h 1396"/>
              </a:gdLst>
              <a:ahLst/>
              <a:cxnLst>
                <a:cxn ang="0">
                  <a:pos x="connsiteX0" y="connsiteY0"/>
                </a:cxn>
                <a:cxn ang="0">
                  <a:pos x="connsiteX1" y="connsiteY1"/>
                </a:cxn>
                <a:cxn ang="0">
                  <a:pos x="connsiteX2" y="connsiteY2"/>
                </a:cxn>
              </a:cxnLst>
              <a:rect l="l" t="t" r="r" b="b"/>
              <a:pathLst>
                <a:path w="47" h="1396">
                  <a:moveTo>
                    <a:pt x="48" y="1397"/>
                  </a:moveTo>
                  <a:cubicBezTo>
                    <a:pt x="-16" y="933"/>
                    <a:pt x="-16" y="463"/>
                    <a:pt x="48" y="0"/>
                  </a:cubicBezTo>
                  <a:cubicBezTo>
                    <a:pt x="-16" y="463"/>
                    <a:pt x="-16" y="933"/>
                    <a:pt x="48" y="1397"/>
                  </a:cubicBezTo>
                  <a:close/>
                </a:path>
              </a:pathLst>
            </a:custGeom>
            <a:solidFill>
              <a:srgbClr val="000000"/>
            </a:solidFill>
            <a:ln w="12690"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855B5DDC-7567-4426-A1B0-DD982E94235E}"/>
                </a:ext>
              </a:extLst>
            </p:cNvPr>
            <p:cNvSpPr/>
            <p:nvPr/>
          </p:nvSpPr>
          <p:spPr>
            <a:xfrm>
              <a:off x="7809354" y="5965710"/>
              <a:ext cx="127" cy="12696"/>
            </a:xfrm>
            <a:custGeom>
              <a:avLst/>
              <a:gdLst>
                <a:gd name="connsiteX0" fmla="*/ 127 w 127"/>
                <a:gd name="connsiteY0" fmla="*/ 0 h 12696"/>
                <a:gd name="connsiteX1" fmla="*/ 0 w 127"/>
                <a:gd name="connsiteY1" fmla="*/ 0 h 12696"/>
                <a:gd name="connsiteX2" fmla="*/ 0 w 127"/>
                <a:gd name="connsiteY2" fmla="*/ 0 h 12696"/>
                <a:gd name="connsiteX3" fmla="*/ 0 w 127"/>
                <a:gd name="connsiteY3" fmla="*/ 0 h 12696"/>
                <a:gd name="connsiteX4" fmla="*/ 127 w 127"/>
                <a:gd name="connsiteY4" fmla="*/ 0 h 12696"/>
                <a:gd name="connsiteX5" fmla="*/ 127 w 127"/>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 h="12696">
                  <a:moveTo>
                    <a:pt x="127" y="0"/>
                  </a:moveTo>
                  <a:lnTo>
                    <a:pt x="0" y="0"/>
                  </a:lnTo>
                  <a:lnTo>
                    <a:pt x="0" y="0"/>
                  </a:lnTo>
                  <a:lnTo>
                    <a:pt x="0" y="0"/>
                  </a:lnTo>
                  <a:lnTo>
                    <a:pt x="127" y="0"/>
                  </a:lnTo>
                  <a:lnTo>
                    <a:pt x="127" y="0"/>
                  </a:lnTo>
                  <a:close/>
                </a:path>
              </a:pathLst>
            </a:custGeom>
            <a:solidFill>
              <a:srgbClr val="000000"/>
            </a:solidFill>
            <a:ln w="12690"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E92C8F67-5C10-47FD-A311-A10CFE3E7A43}"/>
                </a:ext>
              </a:extLst>
            </p:cNvPr>
            <p:cNvSpPr/>
            <p:nvPr/>
          </p:nvSpPr>
          <p:spPr>
            <a:xfrm>
              <a:off x="7763520" y="6507277"/>
              <a:ext cx="56" cy="1219"/>
            </a:xfrm>
            <a:custGeom>
              <a:avLst/>
              <a:gdLst>
                <a:gd name="connsiteX0" fmla="*/ 0 w 56"/>
                <a:gd name="connsiteY0" fmla="*/ 1219 h 1219"/>
                <a:gd name="connsiteX1" fmla="*/ 0 w 56"/>
                <a:gd name="connsiteY1" fmla="*/ 77 h 1219"/>
                <a:gd name="connsiteX2" fmla="*/ 0 w 56"/>
                <a:gd name="connsiteY2" fmla="*/ 1219 h 1219"/>
              </a:gdLst>
              <a:ahLst/>
              <a:cxnLst>
                <a:cxn ang="0">
                  <a:pos x="connsiteX0" y="connsiteY0"/>
                </a:cxn>
                <a:cxn ang="0">
                  <a:pos x="connsiteX1" y="connsiteY1"/>
                </a:cxn>
                <a:cxn ang="0">
                  <a:pos x="connsiteX2" y="connsiteY2"/>
                </a:cxn>
              </a:cxnLst>
              <a:rect l="l" t="t" r="r" b="b"/>
              <a:pathLst>
                <a:path w="56" h="1219">
                  <a:moveTo>
                    <a:pt x="0" y="1219"/>
                  </a:moveTo>
                  <a:cubicBezTo>
                    <a:pt x="0" y="1219"/>
                    <a:pt x="0" y="458"/>
                    <a:pt x="0" y="77"/>
                  </a:cubicBezTo>
                  <a:cubicBezTo>
                    <a:pt x="0" y="-304"/>
                    <a:pt x="126" y="838"/>
                    <a:pt x="0" y="1219"/>
                  </a:cubicBezTo>
                  <a:close/>
                </a:path>
              </a:pathLst>
            </a:custGeom>
            <a:solidFill>
              <a:srgbClr val="000000"/>
            </a:solidFill>
            <a:ln w="12690"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4EE2E9DA-03A5-45F8-AA3C-5518910B76A0}"/>
                </a:ext>
              </a:extLst>
            </p:cNvPr>
            <p:cNvSpPr/>
            <p:nvPr/>
          </p:nvSpPr>
          <p:spPr>
            <a:xfrm>
              <a:off x="7764916" y="650570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6DD187C4-DE87-4202-85F1-C38969D79F73}"/>
                </a:ext>
              </a:extLst>
            </p:cNvPr>
            <p:cNvSpPr/>
            <p:nvPr/>
          </p:nvSpPr>
          <p:spPr>
            <a:xfrm>
              <a:off x="7766947" y="650405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C0252AE8-468A-4E0C-AEAA-BE4FECC29356}"/>
                </a:ext>
              </a:extLst>
            </p:cNvPr>
            <p:cNvSpPr/>
            <p:nvPr/>
          </p:nvSpPr>
          <p:spPr>
            <a:xfrm>
              <a:off x="7769359" y="6503164"/>
              <a:ext cx="17013" cy="761"/>
            </a:xfrm>
            <a:custGeom>
              <a:avLst/>
              <a:gdLst>
                <a:gd name="connsiteX0" fmla="*/ 1016 w 17013"/>
                <a:gd name="connsiteY0" fmla="*/ 0 h 761"/>
                <a:gd name="connsiteX1" fmla="*/ 17014 w 17013"/>
                <a:gd name="connsiteY1" fmla="*/ 762 h 761"/>
                <a:gd name="connsiteX2" fmla="*/ 17014 w 17013"/>
                <a:gd name="connsiteY2" fmla="*/ 0 h 761"/>
                <a:gd name="connsiteX3" fmla="*/ 1016 w 17013"/>
                <a:gd name="connsiteY3" fmla="*/ 0 h 761"/>
                <a:gd name="connsiteX4" fmla="*/ 0 w 17013"/>
                <a:gd name="connsiteY4" fmla="*/ 0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 h="761">
                  <a:moveTo>
                    <a:pt x="1016" y="0"/>
                  </a:moveTo>
                  <a:lnTo>
                    <a:pt x="17014" y="762"/>
                  </a:lnTo>
                  <a:lnTo>
                    <a:pt x="17014" y="0"/>
                  </a:lnTo>
                  <a:lnTo>
                    <a:pt x="1016" y="0"/>
                  </a:lnTo>
                  <a:lnTo>
                    <a:pt x="0" y="0"/>
                  </a:lnTo>
                  <a:close/>
                </a:path>
              </a:pathLst>
            </a:custGeom>
            <a:solidFill>
              <a:srgbClr val="000000"/>
            </a:solidFill>
            <a:ln w="12690"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68CEBA0A-E42C-4D04-BE34-D1477725F2A1}"/>
                </a:ext>
              </a:extLst>
            </p:cNvPr>
            <p:cNvSpPr/>
            <p:nvPr/>
          </p:nvSpPr>
          <p:spPr>
            <a:xfrm>
              <a:off x="7767328" y="6516369"/>
              <a:ext cx="1269" cy="38"/>
            </a:xfrm>
            <a:custGeom>
              <a:avLst/>
              <a:gdLst>
                <a:gd name="connsiteX0" fmla="*/ 0 w 1269"/>
                <a:gd name="connsiteY0" fmla="*/ 0 h 38"/>
                <a:gd name="connsiteX1" fmla="*/ 1269 w 1269"/>
                <a:gd name="connsiteY1" fmla="*/ 0 h 38"/>
                <a:gd name="connsiteX2" fmla="*/ 0 w 1269"/>
                <a:gd name="connsiteY2" fmla="*/ 0 h 38"/>
              </a:gdLst>
              <a:ahLst/>
              <a:cxnLst>
                <a:cxn ang="0">
                  <a:pos x="connsiteX0" y="connsiteY0"/>
                </a:cxn>
                <a:cxn ang="0">
                  <a:pos x="connsiteX1" y="connsiteY1"/>
                </a:cxn>
                <a:cxn ang="0">
                  <a:pos x="connsiteX2" y="connsiteY2"/>
                </a:cxn>
              </a:cxnLst>
              <a:rect l="l" t="t" r="r" b="b"/>
              <a:pathLst>
                <a:path w="1269" h="38">
                  <a:moveTo>
                    <a:pt x="0" y="0"/>
                  </a:moveTo>
                  <a:cubicBezTo>
                    <a:pt x="419" y="51"/>
                    <a:pt x="851" y="51"/>
                    <a:pt x="1269" y="0"/>
                  </a:cubicBezTo>
                  <a:cubicBezTo>
                    <a:pt x="851" y="51"/>
                    <a:pt x="419" y="51"/>
                    <a:pt x="0" y="0"/>
                  </a:cubicBezTo>
                  <a:close/>
                </a:path>
              </a:pathLst>
            </a:custGeom>
            <a:solidFill>
              <a:srgbClr val="000000"/>
            </a:solidFill>
            <a:ln w="12690"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3BB2809D-555D-4DEE-BE0F-9E372EADD57D}"/>
                </a:ext>
              </a:extLst>
            </p:cNvPr>
            <p:cNvSpPr/>
            <p:nvPr/>
          </p:nvSpPr>
          <p:spPr>
            <a:xfrm>
              <a:off x="7765170" y="6514845"/>
              <a:ext cx="1015" cy="761"/>
            </a:xfrm>
            <a:custGeom>
              <a:avLst/>
              <a:gdLst>
                <a:gd name="connsiteX0" fmla="*/ 1015 w 1015"/>
                <a:gd name="connsiteY0" fmla="*/ 762 h 761"/>
                <a:gd name="connsiteX1" fmla="*/ 0 w 1015"/>
                <a:gd name="connsiteY1" fmla="*/ 0 h 761"/>
                <a:gd name="connsiteX2" fmla="*/ 1015 w 1015"/>
                <a:gd name="connsiteY2" fmla="*/ 762 h 761"/>
              </a:gdLst>
              <a:ahLst/>
              <a:cxnLst>
                <a:cxn ang="0">
                  <a:pos x="connsiteX0" y="connsiteY0"/>
                </a:cxn>
                <a:cxn ang="0">
                  <a:pos x="connsiteX1" y="connsiteY1"/>
                </a:cxn>
                <a:cxn ang="0">
                  <a:pos x="connsiteX2" y="connsiteY2"/>
                </a:cxn>
              </a:cxnLst>
              <a:rect l="l" t="t" r="r" b="b"/>
              <a:pathLst>
                <a:path w="1015" h="761">
                  <a:moveTo>
                    <a:pt x="1015" y="762"/>
                  </a:moveTo>
                  <a:cubicBezTo>
                    <a:pt x="622" y="584"/>
                    <a:pt x="279" y="317"/>
                    <a:pt x="0" y="0"/>
                  </a:cubicBezTo>
                  <a:cubicBezTo>
                    <a:pt x="279" y="317"/>
                    <a:pt x="622" y="584"/>
                    <a:pt x="1015" y="762"/>
                  </a:cubicBezTo>
                  <a:close/>
                </a:path>
              </a:pathLst>
            </a:custGeom>
            <a:solidFill>
              <a:srgbClr val="000000"/>
            </a:solidFill>
            <a:ln w="12690"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3C4F595C-CE18-4ECC-9133-52FD6F9013D8}"/>
                </a:ext>
              </a:extLst>
            </p:cNvPr>
            <p:cNvSpPr/>
            <p:nvPr/>
          </p:nvSpPr>
          <p:spPr>
            <a:xfrm>
              <a:off x="7764379" y="6512687"/>
              <a:ext cx="29" cy="1142"/>
            </a:xfrm>
            <a:custGeom>
              <a:avLst/>
              <a:gdLst>
                <a:gd name="connsiteX0" fmla="*/ 29 w 29"/>
                <a:gd name="connsiteY0" fmla="*/ 1143 h 1142"/>
                <a:gd name="connsiteX1" fmla="*/ 29 w 29"/>
                <a:gd name="connsiteY1" fmla="*/ 0 h 1142"/>
                <a:gd name="connsiteX2" fmla="*/ 29 w 29"/>
                <a:gd name="connsiteY2" fmla="*/ 1143 h 1142"/>
              </a:gdLst>
              <a:ahLst/>
              <a:cxnLst>
                <a:cxn ang="0">
                  <a:pos x="connsiteX0" y="connsiteY0"/>
                </a:cxn>
                <a:cxn ang="0">
                  <a:pos x="connsiteX1" y="connsiteY1"/>
                </a:cxn>
                <a:cxn ang="0">
                  <a:pos x="connsiteX2" y="connsiteY2"/>
                </a:cxn>
              </a:cxnLst>
              <a:rect l="l" t="t" r="r" b="b"/>
              <a:pathLst>
                <a:path w="29" h="1142">
                  <a:moveTo>
                    <a:pt x="29" y="1143"/>
                  </a:moveTo>
                  <a:cubicBezTo>
                    <a:pt x="-10" y="762"/>
                    <a:pt x="-10" y="381"/>
                    <a:pt x="29" y="0"/>
                  </a:cubicBezTo>
                  <a:cubicBezTo>
                    <a:pt x="-10" y="381"/>
                    <a:pt x="-10" y="762"/>
                    <a:pt x="29" y="1143"/>
                  </a:cubicBezTo>
                  <a:close/>
                </a:path>
              </a:pathLst>
            </a:custGeom>
            <a:solidFill>
              <a:srgbClr val="000000"/>
            </a:solidFill>
            <a:ln w="12690"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2B7869E4-7F75-45FD-BBED-2504EF478E20}"/>
                </a:ext>
              </a:extLst>
            </p:cNvPr>
            <p:cNvSpPr/>
            <p:nvPr/>
          </p:nvSpPr>
          <p:spPr>
            <a:xfrm>
              <a:off x="7800086" y="6510147"/>
              <a:ext cx="5967" cy="2412"/>
            </a:xfrm>
            <a:custGeom>
              <a:avLst/>
              <a:gdLst>
                <a:gd name="connsiteX0" fmla="*/ 0 w 5967"/>
                <a:gd name="connsiteY0" fmla="*/ 1270 h 2412"/>
                <a:gd name="connsiteX1" fmla="*/ 0 w 5967"/>
                <a:gd name="connsiteY1" fmla="*/ 2412 h 2412"/>
                <a:gd name="connsiteX2" fmla="*/ 5967 w 5967"/>
                <a:gd name="connsiteY2" fmla="*/ 2412 h 2412"/>
                <a:gd name="connsiteX3" fmla="*/ 5967 w 5967"/>
                <a:gd name="connsiteY3" fmla="*/ 1270 h 2412"/>
                <a:gd name="connsiteX4" fmla="*/ 5967 w 5967"/>
                <a:gd name="connsiteY4" fmla="*/ 0 h 2412"/>
                <a:gd name="connsiteX5" fmla="*/ 253 w 5967"/>
                <a:gd name="connsiteY5" fmla="*/ 0 h 2412"/>
                <a:gd name="connsiteX6" fmla="*/ 253 w 5967"/>
                <a:gd name="connsiteY6"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7" h="2412">
                  <a:moveTo>
                    <a:pt x="0" y="1270"/>
                  </a:moveTo>
                  <a:cubicBezTo>
                    <a:pt x="63" y="1650"/>
                    <a:pt x="63" y="2031"/>
                    <a:pt x="0" y="2412"/>
                  </a:cubicBezTo>
                  <a:lnTo>
                    <a:pt x="5967" y="2412"/>
                  </a:lnTo>
                  <a:cubicBezTo>
                    <a:pt x="5904" y="2031"/>
                    <a:pt x="5904" y="1650"/>
                    <a:pt x="5967" y="1270"/>
                  </a:cubicBezTo>
                  <a:cubicBezTo>
                    <a:pt x="5967" y="1270"/>
                    <a:pt x="5967" y="381"/>
                    <a:pt x="5967" y="0"/>
                  </a:cubicBezTo>
                  <a:lnTo>
                    <a:pt x="253" y="0"/>
                  </a:lnTo>
                  <a:lnTo>
                    <a:pt x="253" y="1143"/>
                  </a:lnTo>
                  <a:close/>
                </a:path>
              </a:pathLst>
            </a:custGeom>
            <a:solidFill>
              <a:srgbClr val="000000"/>
            </a:solidFill>
            <a:ln w="12690"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3CA55B2E-3575-4404-865E-B91548DBCF21}"/>
                </a:ext>
              </a:extLst>
            </p:cNvPr>
            <p:cNvSpPr/>
            <p:nvPr/>
          </p:nvSpPr>
          <p:spPr>
            <a:xfrm>
              <a:off x="7806942" y="5965710"/>
              <a:ext cx="2412" cy="542278"/>
            </a:xfrm>
            <a:custGeom>
              <a:avLst/>
              <a:gdLst>
                <a:gd name="connsiteX0" fmla="*/ 2412 w 2412"/>
                <a:gd name="connsiteY0" fmla="*/ 540120 h 542278"/>
                <a:gd name="connsiteX1" fmla="*/ 2412 w 2412"/>
                <a:gd name="connsiteY1" fmla="*/ 0 h 542278"/>
                <a:gd name="connsiteX2" fmla="*/ 0 w 2412"/>
                <a:gd name="connsiteY2" fmla="*/ 0 h 542278"/>
                <a:gd name="connsiteX3" fmla="*/ 0 w 2412"/>
                <a:gd name="connsiteY3" fmla="*/ 542278 h 542278"/>
                <a:gd name="connsiteX4" fmla="*/ 2412 w 2412"/>
                <a:gd name="connsiteY4" fmla="*/ 540120 h 542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42278">
                  <a:moveTo>
                    <a:pt x="2412" y="540120"/>
                  </a:moveTo>
                  <a:lnTo>
                    <a:pt x="2412" y="0"/>
                  </a:lnTo>
                  <a:lnTo>
                    <a:pt x="0" y="0"/>
                  </a:lnTo>
                  <a:lnTo>
                    <a:pt x="0" y="542278"/>
                  </a:lnTo>
                  <a:cubicBezTo>
                    <a:pt x="609" y="541364"/>
                    <a:pt x="1448" y="540628"/>
                    <a:pt x="2412" y="540120"/>
                  </a:cubicBezTo>
                  <a:close/>
                </a:path>
              </a:pathLst>
            </a:custGeom>
            <a:solidFill>
              <a:srgbClr val="000000"/>
            </a:solidFill>
            <a:ln w="12690"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74868FBB-E86F-4132-99DD-2AEB8946A5FF}"/>
                </a:ext>
              </a:extLst>
            </p:cNvPr>
            <p:cNvSpPr/>
            <p:nvPr/>
          </p:nvSpPr>
          <p:spPr>
            <a:xfrm>
              <a:off x="7843000" y="5951871"/>
              <a:ext cx="196925" cy="2539"/>
            </a:xfrm>
            <a:custGeom>
              <a:avLst/>
              <a:gdLst>
                <a:gd name="connsiteX0" fmla="*/ 254 w 196925"/>
                <a:gd name="connsiteY0" fmla="*/ 1778 h 2539"/>
                <a:gd name="connsiteX1" fmla="*/ 254 w 196925"/>
                <a:gd name="connsiteY1" fmla="*/ 2539 h 2539"/>
                <a:gd name="connsiteX2" fmla="*/ 196926 w 196925"/>
                <a:gd name="connsiteY2" fmla="*/ 2539 h 2539"/>
                <a:gd name="connsiteX3" fmla="*/ 196926 w 196925"/>
                <a:gd name="connsiteY3" fmla="*/ 1270 h 2539"/>
                <a:gd name="connsiteX4" fmla="*/ 196926 w 196925"/>
                <a:gd name="connsiteY4" fmla="*/ 0 h 2539"/>
                <a:gd name="connsiteX5" fmla="*/ 0 w 196925"/>
                <a:gd name="connsiteY5" fmla="*/ 0 h 2539"/>
                <a:gd name="connsiteX6" fmla="*/ 254 w 196925"/>
                <a:gd name="connsiteY6" fmla="*/ 1778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925" h="2539">
                  <a:moveTo>
                    <a:pt x="254" y="1778"/>
                  </a:moveTo>
                  <a:lnTo>
                    <a:pt x="254" y="2539"/>
                  </a:lnTo>
                  <a:lnTo>
                    <a:pt x="196926" y="2539"/>
                  </a:lnTo>
                  <a:cubicBezTo>
                    <a:pt x="196926" y="2539"/>
                    <a:pt x="196926" y="1778"/>
                    <a:pt x="196926" y="1270"/>
                  </a:cubicBezTo>
                  <a:lnTo>
                    <a:pt x="196926" y="0"/>
                  </a:lnTo>
                  <a:lnTo>
                    <a:pt x="0" y="0"/>
                  </a:lnTo>
                  <a:cubicBezTo>
                    <a:pt x="178" y="575"/>
                    <a:pt x="267" y="1176"/>
                    <a:pt x="254" y="1778"/>
                  </a:cubicBezTo>
                  <a:close/>
                </a:path>
              </a:pathLst>
            </a:custGeom>
            <a:solidFill>
              <a:srgbClr val="000000"/>
            </a:solidFill>
            <a:ln w="12690"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F6694DB0-BF96-480F-8675-DA2C1F07B4ED}"/>
                </a:ext>
              </a:extLst>
            </p:cNvPr>
            <p:cNvSpPr/>
            <p:nvPr/>
          </p:nvSpPr>
          <p:spPr>
            <a:xfrm>
              <a:off x="7815703" y="5963298"/>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7F12BA9F-46F6-4E71-9811-BCA6843EB548}"/>
                </a:ext>
              </a:extLst>
            </p:cNvPr>
            <p:cNvSpPr/>
            <p:nvPr/>
          </p:nvSpPr>
          <p:spPr>
            <a:xfrm>
              <a:off x="7819093" y="5959235"/>
              <a:ext cx="38" cy="888"/>
            </a:xfrm>
            <a:custGeom>
              <a:avLst/>
              <a:gdLst>
                <a:gd name="connsiteX0" fmla="*/ 38 w 38"/>
                <a:gd name="connsiteY0" fmla="*/ 0 h 888"/>
                <a:gd name="connsiteX1" fmla="*/ 38 w 38"/>
                <a:gd name="connsiteY1" fmla="*/ 889 h 888"/>
                <a:gd name="connsiteX2" fmla="*/ 38 w 38"/>
                <a:gd name="connsiteY2" fmla="*/ 0 h 888"/>
              </a:gdLst>
              <a:ahLst/>
              <a:cxnLst>
                <a:cxn ang="0">
                  <a:pos x="connsiteX0" y="connsiteY0"/>
                </a:cxn>
                <a:cxn ang="0">
                  <a:pos x="connsiteX1" y="connsiteY1"/>
                </a:cxn>
                <a:cxn ang="0">
                  <a:pos x="connsiteX2" y="connsiteY2"/>
                </a:cxn>
              </a:cxnLst>
              <a:rect l="l" t="t" r="r" b="b"/>
              <a:pathLst>
                <a:path w="38" h="888">
                  <a:moveTo>
                    <a:pt x="38" y="0"/>
                  </a:moveTo>
                  <a:cubicBezTo>
                    <a:pt x="-13" y="295"/>
                    <a:pt x="-13" y="594"/>
                    <a:pt x="38" y="889"/>
                  </a:cubicBezTo>
                  <a:cubicBezTo>
                    <a:pt x="0" y="594"/>
                    <a:pt x="0" y="295"/>
                    <a:pt x="38" y="0"/>
                  </a:cubicBezTo>
                  <a:close/>
                </a:path>
              </a:pathLst>
            </a:custGeom>
            <a:solidFill>
              <a:srgbClr val="000000"/>
            </a:solidFill>
            <a:ln w="12690"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DBA4CAB0-C84D-46D4-97F3-54823A9916C4}"/>
                </a:ext>
              </a:extLst>
            </p:cNvPr>
            <p:cNvSpPr/>
            <p:nvPr/>
          </p:nvSpPr>
          <p:spPr>
            <a:xfrm>
              <a:off x="7813671" y="5964568"/>
              <a:ext cx="761" cy="12696"/>
            </a:xfrm>
            <a:custGeom>
              <a:avLst/>
              <a:gdLst>
                <a:gd name="connsiteX0" fmla="*/ 762 w 761"/>
                <a:gd name="connsiteY0" fmla="*/ 0 h 12696"/>
                <a:gd name="connsiteX1" fmla="*/ 0 w 761"/>
                <a:gd name="connsiteY1" fmla="*/ 0 h 12696"/>
              </a:gdLst>
              <a:ahLst/>
              <a:cxnLst>
                <a:cxn ang="0">
                  <a:pos x="connsiteX0" y="connsiteY0"/>
                </a:cxn>
                <a:cxn ang="0">
                  <a:pos x="connsiteX1" y="connsiteY1"/>
                </a:cxn>
              </a:cxnLst>
              <a:rect l="l" t="t" r="r" b="b"/>
              <a:pathLst>
                <a:path w="761" h="12696">
                  <a:moveTo>
                    <a:pt x="762" y="0"/>
                  </a:moveTo>
                  <a:lnTo>
                    <a:pt x="0" y="0"/>
                  </a:lnTo>
                  <a:close/>
                </a:path>
              </a:pathLst>
            </a:custGeom>
            <a:solidFill>
              <a:srgbClr val="000000"/>
            </a:solidFill>
            <a:ln w="12690"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DFB56488-E96F-40F2-910B-4903FD5756D6}"/>
                </a:ext>
              </a:extLst>
            </p:cNvPr>
            <p:cNvSpPr/>
            <p:nvPr/>
          </p:nvSpPr>
          <p:spPr>
            <a:xfrm>
              <a:off x="7818369" y="5961394"/>
              <a:ext cx="28" cy="1015"/>
            </a:xfrm>
            <a:custGeom>
              <a:avLst/>
              <a:gdLst>
                <a:gd name="connsiteX0" fmla="*/ 0 w 28"/>
                <a:gd name="connsiteY0" fmla="*/ 0 h 1015"/>
                <a:gd name="connsiteX1" fmla="*/ 0 w 28"/>
                <a:gd name="connsiteY1" fmla="*/ 1016 h 1015"/>
                <a:gd name="connsiteX2" fmla="*/ 0 w 28"/>
                <a:gd name="connsiteY2" fmla="*/ 0 h 1015"/>
              </a:gdLst>
              <a:ahLst/>
              <a:cxnLst>
                <a:cxn ang="0">
                  <a:pos x="connsiteX0" y="connsiteY0"/>
                </a:cxn>
                <a:cxn ang="0">
                  <a:pos x="connsiteX1" y="connsiteY1"/>
                </a:cxn>
                <a:cxn ang="0">
                  <a:pos x="connsiteX2" y="connsiteY2"/>
                </a:cxn>
              </a:cxnLst>
              <a:rect l="l" t="t" r="r" b="b"/>
              <a:pathLst>
                <a:path w="28" h="1015">
                  <a:moveTo>
                    <a:pt x="0" y="0"/>
                  </a:moveTo>
                  <a:cubicBezTo>
                    <a:pt x="38" y="338"/>
                    <a:pt x="38" y="678"/>
                    <a:pt x="0" y="1016"/>
                  </a:cubicBezTo>
                  <a:cubicBezTo>
                    <a:pt x="38" y="678"/>
                    <a:pt x="38" y="338"/>
                    <a:pt x="0" y="0"/>
                  </a:cubicBezTo>
                  <a:close/>
                </a:path>
              </a:pathLst>
            </a:custGeom>
            <a:solidFill>
              <a:srgbClr val="000000"/>
            </a:solidFill>
            <a:ln w="12690"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8097E81B-4BA0-4FC6-9757-C53A7FD9033B}"/>
                </a:ext>
              </a:extLst>
            </p:cNvPr>
            <p:cNvSpPr/>
            <p:nvPr/>
          </p:nvSpPr>
          <p:spPr>
            <a:xfrm>
              <a:off x="7801336" y="5959489"/>
              <a:ext cx="19" cy="761"/>
            </a:xfrm>
            <a:custGeom>
              <a:avLst/>
              <a:gdLst>
                <a:gd name="connsiteX0" fmla="*/ 19 w 19"/>
                <a:gd name="connsiteY0" fmla="*/ 0 h 761"/>
                <a:gd name="connsiteX1" fmla="*/ 19 w 19"/>
                <a:gd name="connsiteY1" fmla="*/ 0 h 761"/>
                <a:gd name="connsiteX2" fmla="*/ 19 w 19"/>
                <a:gd name="connsiteY2" fmla="*/ 762 h 761"/>
                <a:gd name="connsiteX3" fmla="*/ 19 w 19"/>
                <a:gd name="connsiteY3" fmla="*/ 0 h 761"/>
              </a:gdLst>
              <a:ahLst/>
              <a:cxnLst>
                <a:cxn ang="0">
                  <a:pos x="connsiteX0" y="connsiteY0"/>
                </a:cxn>
                <a:cxn ang="0">
                  <a:pos x="connsiteX1" y="connsiteY1"/>
                </a:cxn>
                <a:cxn ang="0">
                  <a:pos x="connsiteX2" y="connsiteY2"/>
                </a:cxn>
                <a:cxn ang="0">
                  <a:pos x="connsiteX3" y="connsiteY3"/>
                </a:cxn>
              </a:cxnLst>
              <a:rect l="l" t="t" r="r" b="b"/>
              <a:pathLst>
                <a:path w="19" h="761">
                  <a:moveTo>
                    <a:pt x="19" y="0"/>
                  </a:moveTo>
                  <a:lnTo>
                    <a:pt x="19" y="0"/>
                  </a:lnTo>
                  <a:lnTo>
                    <a:pt x="19" y="762"/>
                  </a:lnTo>
                  <a:cubicBezTo>
                    <a:pt x="-6" y="508"/>
                    <a:pt x="-6" y="254"/>
                    <a:pt x="19" y="0"/>
                  </a:cubicBezTo>
                  <a:close/>
                </a:path>
              </a:pathLst>
            </a:custGeom>
            <a:solidFill>
              <a:srgbClr val="000000"/>
            </a:solidFill>
            <a:ln w="12690"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DE1CB5D6-1E4E-4356-A9F5-82985999EE17}"/>
                </a:ext>
              </a:extLst>
            </p:cNvPr>
            <p:cNvSpPr/>
            <p:nvPr/>
          </p:nvSpPr>
          <p:spPr>
            <a:xfrm>
              <a:off x="7802117" y="5961901"/>
              <a:ext cx="761" cy="1269"/>
            </a:xfrm>
            <a:custGeom>
              <a:avLst/>
              <a:gdLst>
                <a:gd name="connsiteX0" fmla="*/ 762 w 761"/>
                <a:gd name="connsiteY0" fmla="*/ 1270 h 1269"/>
                <a:gd name="connsiteX1" fmla="*/ 0 w 761"/>
                <a:gd name="connsiteY1" fmla="*/ 0 h 1269"/>
                <a:gd name="connsiteX2" fmla="*/ 762 w 761"/>
                <a:gd name="connsiteY2" fmla="*/ 1270 h 1269"/>
              </a:gdLst>
              <a:ahLst/>
              <a:cxnLst>
                <a:cxn ang="0">
                  <a:pos x="connsiteX0" y="connsiteY0"/>
                </a:cxn>
                <a:cxn ang="0">
                  <a:pos x="connsiteX1" y="connsiteY1"/>
                </a:cxn>
                <a:cxn ang="0">
                  <a:pos x="connsiteX2" y="connsiteY2"/>
                </a:cxn>
              </a:cxnLst>
              <a:rect l="l" t="t" r="r" b="b"/>
              <a:pathLst>
                <a:path w="761" h="1269">
                  <a:moveTo>
                    <a:pt x="762" y="1270"/>
                  </a:moveTo>
                  <a:cubicBezTo>
                    <a:pt x="432" y="895"/>
                    <a:pt x="177" y="465"/>
                    <a:pt x="0" y="0"/>
                  </a:cubicBezTo>
                  <a:cubicBezTo>
                    <a:pt x="177" y="465"/>
                    <a:pt x="432" y="895"/>
                    <a:pt x="762" y="1270"/>
                  </a:cubicBezTo>
                  <a:close/>
                </a:path>
              </a:pathLst>
            </a:custGeom>
            <a:solidFill>
              <a:srgbClr val="000000"/>
            </a:solidFill>
            <a:ln w="12690"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FAD47024-FBF8-497A-9D84-368C8A157E2F}"/>
                </a:ext>
              </a:extLst>
            </p:cNvPr>
            <p:cNvSpPr/>
            <p:nvPr/>
          </p:nvSpPr>
          <p:spPr>
            <a:xfrm>
              <a:off x="7803514" y="5963933"/>
              <a:ext cx="1396" cy="888"/>
            </a:xfrm>
            <a:custGeom>
              <a:avLst/>
              <a:gdLst>
                <a:gd name="connsiteX0" fmla="*/ 1396 w 1396"/>
                <a:gd name="connsiteY0" fmla="*/ 889 h 888"/>
                <a:gd name="connsiteX1" fmla="*/ 0 w 1396"/>
                <a:gd name="connsiteY1" fmla="*/ 0 h 888"/>
                <a:gd name="connsiteX2" fmla="*/ 1396 w 1396"/>
                <a:gd name="connsiteY2" fmla="*/ 889 h 888"/>
              </a:gdLst>
              <a:ahLst/>
              <a:cxnLst>
                <a:cxn ang="0">
                  <a:pos x="connsiteX0" y="connsiteY0"/>
                </a:cxn>
                <a:cxn ang="0">
                  <a:pos x="connsiteX1" y="connsiteY1"/>
                </a:cxn>
                <a:cxn ang="0">
                  <a:pos x="connsiteX2" y="connsiteY2"/>
                </a:cxn>
              </a:cxnLst>
              <a:rect l="l" t="t" r="r" b="b"/>
              <a:pathLst>
                <a:path w="1396" h="888">
                  <a:moveTo>
                    <a:pt x="1396" y="889"/>
                  </a:moveTo>
                  <a:cubicBezTo>
                    <a:pt x="889" y="669"/>
                    <a:pt x="419" y="369"/>
                    <a:pt x="0" y="0"/>
                  </a:cubicBezTo>
                  <a:cubicBezTo>
                    <a:pt x="419" y="369"/>
                    <a:pt x="889" y="669"/>
                    <a:pt x="1396" y="889"/>
                  </a:cubicBezTo>
                  <a:close/>
                </a:path>
              </a:pathLst>
            </a:custGeom>
            <a:solidFill>
              <a:srgbClr val="000000"/>
            </a:solidFill>
            <a:ln w="12690"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3DD5A297-1BFB-4775-905C-C7DB8B346148}"/>
                </a:ext>
              </a:extLst>
            </p:cNvPr>
            <p:cNvSpPr/>
            <p:nvPr/>
          </p:nvSpPr>
          <p:spPr>
            <a:xfrm>
              <a:off x="7805673" y="5965710"/>
              <a:ext cx="5585" cy="904"/>
            </a:xfrm>
            <a:custGeom>
              <a:avLst/>
              <a:gdLst>
                <a:gd name="connsiteX0" fmla="*/ 3682 w 5585"/>
                <a:gd name="connsiteY0" fmla="*/ 0 h 904"/>
                <a:gd name="connsiteX1" fmla="*/ 3682 w 5585"/>
                <a:gd name="connsiteY1" fmla="*/ 0 h 904"/>
                <a:gd name="connsiteX2" fmla="*/ 5586 w 5585"/>
                <a:gd name="connsiteY2" fmla="*/ 0 h 904"/>
                <a:gd name="connsiteX3" fmla="*/ 5586 w 5585"/>
                <a:gd name="connsiteY3" fmla="*/ 0 h 904"/>
                <a:gd name="connsiteX4" fmla="*/ 2539 w 5585"/>
                <a:gd name="connsiteY4" fmla="*/ 762 h 904"/>
                <a:gd name="connsiteX5" fmla="*/ 0 w 5585"/>
                <a:gd name="connsiteY5" fmla="*/ 762 h 904"/>
                <a:gd name="connsiteX6" fmla="*/ 1269 w 5585"/>
                <a:gd name="connsiteY6" fmla="*/ 762 h 904"/>
                <a:gd name="connsiteX7" fmla="*/ 3682 w 5585"/>
                <a:gd name="connsiteY7" fmla="*/ 762 h 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5" h="904">
                  <a:moveTo>
                    <a:pt x="3682" y="0"/>
                  </a:moveTo>
                  <a:lnTo>
                    <a:pt x="3682" y="0"/>
                  </a:lnTo>
                  <a:lnTo>
                    <a:pt x="5586" y="0"/>
                  </a:lnTo>
                  <a:lnTo>
                    <a:pt x="5586" y="0"/>
                  </a:lnTo>
                  <a:cubicBezTo>
                    <a:pt x="4647" y="505"/>
                    <a:pt x="3606" y="767"/>
                    <a:pt x="2539" y="762"/>
                  </a:cubicBezTo>
                  <a:cubicBezTo>
                    <a:pt x="1701" y="952"/>
                    <a:pt x="838" y="952"/>
                    <a:pt x="0" y="762"/>
                  </a:cubicBezTo>
                  <a:cubicBezTo>
                    <a:pt x="418" y="835"/>
                    <a:pt x="850" y="835"/>
                    <a:pt x="1269" y="762"/>
                  </a:cubicBezTo>
                  <a:lnTo>
                    <a:pt x="3682" y="762"/>
                  </a:lnTo>
                  <a:close/>
                </a:path>
              </a:pathLst>
            </a:custGeom>
            <a:solidFill>
              <a:srgbClr val="000000"/>
            </a:solidFill>
            <a:ln w="12690"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E553FB73-745B-47EA-A312-B8C5C2DAF103}"/>
                </a:ext>
              </a:extLst>
            </p:cNvPr>
            <p:cNvSpPr/>
            <p:nvPr/>
          </p:nvSpPr>
          <p:spPr>
            <a:xfrm>
              <a:off x="8039673" y="5854741"/>
              <a:ext cx="13585" cy="105721"/>
            </a:xfrm>
            <a:custGeom>
              <a:avLst/>
              <a:gdLst>
                <a:gd name="connsiteX0" fmla="*/ 0 w 13585"/>
                <a:gd name="connsiteY0" fmla="*/ 6983 h 105721"/>
                <a:gd name="connsiteX1" fmla="*/ 0 w 13585"/>
                <a:gd name="connsiteY1" fmla="*/ 98908 h 105721"/>
                <a:gd name="connsiteX2" fmla="*/ 0 w 13585"/>
                <a:gd name="connsiteY2" fmla="*/ 100177 h 105721"/>
                <a:gd name="connsiteX3" fmla="*/ 8037 w 13585"/>
                <a:gd name="connsiteY3" fmla="*/ 105594 h 105721"/>
                <a:gd name="connsiteX4" fmla="*/ 13586 w 13585"/>
                <a:gd name="connsiteY4" fmla="*/ 98908 h 105721"/>
                <a:gd name="connsiteX5" fmla="*/ 13586 w 13585"/>
                <a:gd name="connsiteY5" fmla="*/ 6983 h 105721"/>
                <a:gd name="connsiteX6" fmla="*/ 6729 w 13585"/>
                <a:gd name="connsiteY6" fmla="*/ 0 h 105721"/>
                <a:gd name="connsiteX7" fmla="*/ 0 w 13585"/>
                <a:gd name="connsiteY7" fmla="*/ 6983 h 10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85" h="105721">
                  <a:moveTo>
                    <a:pt x="0" y="6983"/>
                  </a:moveTo>
                  <a:lnTo>
                    <a:pt x="0" y="98908"/>
                  </a:lnTo>
                  <a:cubicBezTo>
                    <a:pt x="0" y="98908"/>
                    <a:pt x="0" y="99796"/>
                    <a:pt x="0" y="100177"/>
                  </a:cubicBezTo>
                  <a:cubicBezTo>
                    <a:pt x="724" y="103894"/>
                    <a:pt x="4330" y="106319"/>
                    <a:pt x="8037" y="105594"/>
                  </a:cubicBezTo>
                  <a:cubicBezTo>
                    <a:pt x="11249" y="104969"/>
                    <a:pt x="13560" y="102172"/>
                    <a:pt x="13586" y="98908"/>
                  </a:cubicBezTo>
                  <a:lnTo>
                    <a:pt x="13586" y="6983"/>
                  </a:lnTo>
                  <a:cubicBezTo>
                    <a:pt x="13586" y="3175"/>
                    <a:pt x="10538" y="69"/>
                    <a:pt x="6729" y="0"/>
                  </a:cubicBezTo>
                  <a:cubicBezTo>
                    <a:pt x="2970" y="137"/>
                    <a:pt x="0" y="3224"/>
                    <a:pt x="0" y="6983"/>
                  </a:cubicBezTo>
                  <a:close/>
                </a:path>
              </a:pathLst>
            </a:custGeom>
            <a:solidFill>
              <a:srgbClr val="000000"/>
            </a:solidFill>
            <a:ln w="12690"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C5601ACD-3341-4D12-B1A6-9275F598A3E5}"/>
                </a:ext>
              </a:extLst>
            </p:cNvPr>
            <p:cNvSpPr/>
            <p:nvPr/>
          </p:nvSpPr>
          <p:spPr>
            <a:xfrm>
              <a:off x="7819384" y="5956823"/>
              <a:ext cx="10411" cy="2412"/>
            </a:xfrm>
            <a:custGeom>
              <a:avLst/>
              <a:gdLst>
                <a:gd name="connsiteX0" fmla="*/ 10157 w 10411"/>
                <a:gd name="connsiteY0" fmla="*/ 2412 h 2412"/>
                <a:gd name="connsiteX1" fmla="*/ 10157 w 10411"/>
                <a:gd name="connsiteY1" fmla="*/ 0 h 2412"/>
                <a:gd name="connsiteX2" fmla="*/ 6475 w 10411"/>
                <a:gd name="connsiteY2" fmla="*/ 0 h 2412"/>
                <a:gd name="connsiteX3" fmla="*/ 0 w 10411"/>
                <a:gd name="connsiteY3" fmla="*/ 1270 h 2412"/>
                <a:gd name="connsiteX4" fmla="*/ 0 w 10411"/>
                <a:gd name="connsiteY4" fmla="*/ 1270 h 2412"/>
                <a:gd name="connsiteX5" fmla="*/ 0 w 10411"/>
                <a:gd name="connsiteY5" fmla="*/ 2412 h 2412"/>
                <a:gd name="connsiteX6" fmla="*/ 10411 w 10411"/>
                <a:gd name="connsiteY6"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1" h="2412">
                  <a:moveTo>
                    <a:pt x="10157" y="2412"/>
                  </a:moveTo>
                  <a:lnTo>
                    <a:pt x="10157" y="0"/>
                  </a:lnTo>
                  <a:lnTo>
                    <a:pt x="6475" y="0"/>
                  </a:lnTo>
                  <a:lnTo>
                    <a:pt x="0" y="1270"/>
                  </a:lnTo>
                  <a:lnTo>
                    <a:pt x="0" y="1270"/>
                  </a:lnTo>
                  <a:cubicBezTo>
                    <a:pt x="64" y="1648"/>
                    <a:pt x="64" y="2034"/>
                    <a:pt x="0" y="2412"/>
                  </a:cubicBezTo>
                  <a:lnTo>
                    <a:pt x="10411" y="2412"/>
                  </a:lnTo>
                  <a:close/>
                </a:path>
              </a:pathLst>
            </a:custGeom>
            <a:solidFill>
              <a:srgbClr val="000000"/>
            </a:solidFill>
            <a:ln w="12690"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9FB45487-301C-4FA2-BB97-F555232858E8}"/>
                </a:ext>
              </a:extLst>
            </p:cNvPr>
            <p:cNvSpPr/>
            <p:nvPr/>
          </p:nvSpPr>
          <p:spPr>
            <a:xfrm>
              <a:off x="7811258" y="5964822"/>
              <a:ext cx="2412" cy="540373"/>
            </a:xfrm>
            <a:custGeom>
              <a:avLst/>
              <a:gdLst>
                <a:gd name="connsiteX0" fmla="*/ 0 w 2412"/>
                <a:gd name="connsiteY0" fmla="*/ 540374 h 540373"/>
                <a:gd name="connsiteX1" fmla="*/ 1524 w 2412"/>
                <a:gd name="connsiteY1" fmla="*/ 540374 h 540373"/>
                <a:gd name="connsiteX2" fmla="*/ 2412 w 2412"/>
                <a:gd name="connsiteY2" fmla="*/ 540374 h 540373"/>
                <a:gd name="connsiteX3" fmla="*/ 2412 w 2412"/>
                <a:gd name="connsiteY3" fmla="*/ 0 h 540373"/>
                <a:gd name="connsiteX4" fmla="*/ 2412 w 2412"/>
                <a:gd name="connsiteY4" fmla="*/ 0 h 540373"/>
                <a:gd name="connsiteX5" fmla="*/ 1270 w 2412"/>
                <a:gd name="connsiteY5" fmla="*/ 0 h 540373"/>
                <a:gd name="connsiteX6" fmla="*/ 0 w 2412"/>
                <a:gd name="connsiteY6" fmla="*/ 0 h 540373"/>
                <a:gd name="connsiteX7" fmla="*/ 0 w 2412"/>
                <a:gd name="connsiteY7" fmla="*/ 540247 h 54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540373">
                  <a:moveTo>
                    <a:pt x="0" y="540374"/>
                  </a:moveTo>
                  <a:lnTo>
                    <a:pt x="1524" y="540374"/>
                  </a:lnTo>
                  <a:lnTo>
                    <a:pt x="2412" y="540374"/>
                  </a:lnTo>
                  <a:lnTo>
                    <a:pt x="2412" y="0"/>
                  </a:lnTo>
                  <a:lnTo>
                    <a:pt x="2412" y="0"/>
                  </a:lnTo>
                  <a:lnTo>
                    <a:pt x="1270" y="0"/>
                  </a:lnTo>
                  <a:lnTo>
                    <a:pt x="0" y="0"/>
                  </a:lnTo>
                  <a:lnTo>
                    <a:pt x="0" y="540247"/>
                  </a:lnTo>
                  <a:close/>
                </a:path>
              </a:pathLst>
            </a:custGeom>
            <a:solidFill>
              <a:srgbClr val="000000"/>
            </a:solidFill>
            <a:ln w="12690"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23C6EAFE-90A9-4153-91BC-73BD80D23544}"/>
                </a:ext>
              </a:extLst>
            </p:cNvPr>
            <p:cNvSpPr/>
            <p:nvPr/>
          </p:nvSpPr>
          <p:spPr>
            <a:xfrm>
              <a:off x="7805751" y="6505830"/>
              <a:ext cx="29250" cy="14474"/>
            </a:xfrm>
            <a:custGeom>
              <a:avLst/>
              <a:gdLst>
                <a:gd name="connsiteX0" fmla="*/ 23790 w 29250"/>
                <a:gd name="connsiteY0" fmla="*/ 7237 h 14474"/>
                <a:gd name="connsiteX1" fmla="*/ 23790 w 29250"/>
                <a:gd name="connsiteY1" fmla="*/ 0 h 14474"/>
                <a:gd name="connsiteX2" fmla="*/ 7920 w 29250"/>
                <a:gd name="connsiteY2" fmla="*/ 0 h 14474"/>
                <a:gd name="connsiteX3" fmla="*/ 7031 w 29250"/>
                <a:gd name="connsiteY3" fmla="*/ 0 h 14474"/>
                <a:gd name="connsiteX4" fmla="*/ 5507 w 29250"/>
                <a:gd name="connsiteY4" fmla="*/ 0 h 14474"/>
                <a:gd name="connsiteX5" fmla="*/ 3603 w 29250"/>
                <a:gd name="connsiteY5" fmla="*/ 635 h 14474"/>
                <a:gd name="connsiteX6" fmla="*/ 1191 w 29250"/>
                <a:gd name="connsiteY6" fmla="*/ 2793 h 14474"/>
                <a:gd name="connsiteX7" fmla="*/ 48 w 29250"/>
                <a:gd name="connsiteY7" fmla="*/ 5206 h 14474"/>
                <a:gd name="connsiteX8" fmla="*/ 48 w 29250"/>
                <a:gd name="connsiteY8" fmla="*/ 6475 h 14474"/>
                <a:gd name="connsiteX9" fmla="*/ 48 w 29250"/>
                <a:gd name="connsiteY9" fmla="*/ 7618 h 14474"/>
                <a:gd name="connsiteX10" fmla="*/ 48 w 29250"/>
                <a:gd name="connsiteY10" fmla="*/ 7618 h 14474"/>
                <a:gd name="connsiteX11" fmla="*/ 48 w 29250"/>
                <a:gd name="connsiteY11" fmla="*/ 8761 h 14474"/>
                <a:gd name="connsiteX12" fmla="*/ 6270 w 29250"/>
                <a:gd name="connsiteY12" fmla="*/ 13459 h 14474"/>
                <a:gd name="connsiteX13" fmla="*/ 29251 w 29250"/>
                <a:gd name="connsiteY13" fmla="*/ 14474 h 14474"/>
                <a:gd name="connsiteX14" fmla="*/ 29251 w 29250"/>
                <a:gd name="connsiteY14" fmla="*/ 14474 h 14474"/>
                <a:gd name="connsiteX15" fmla="*/ 23790 w 29250"/>
                <a:gd name="connsiteY15" fmla="*/ 7237 h 14474"/>
                <a:gd name="connsiteX16" fmla="*/ 2714 w 29250"/>
                <a:gd name="connsiteY16" fmla="*/ 7237 h 14474"/>
                <a:gd name="connsiteX17" fmla="*/ 1571 w 29250"/>
                <a:gd name="connsiteY17" fmla="*/ 5967 h 14474"/>
                <a:gd name="connsiteX18" fmla="*/ 2702 w 29250"/>
                <a:gd name="connsiteY18" fmla="*/ 4812 h 14474"/>
                <a:gd name="connsiteX19" fmla="*/ 2841 w 29250"/>
                <a:gd name="connsiteY19" fmla="*/ 4825 h 14474"/>
                <a:gd name="connsiteX20" fmla="*/ 7158 w 29250"/>
                <a:gd name="connsiteY20" fmla="*/ 4825 h 14474"/>
                <a:gd name="connsiteX21" fmla="*/ 8301 w 29250"/>
                <a:gd name="connsiteY21" fmla="*/ 6095 h 14474"/>
                <a:gd name="connsiteX22" fmla="*/ 7158 w 29250"/>
                <a:gd name="connsiteY22" fmla="*/ 7237 h 14474"/>
                <a:gd name="connsiteX23" fmla="*/ 2714 w 29250"/>
                <a:gd name="connsiteY23" fmla="*/ 7237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50" h="14474">
                  <a:moveTo>
                    <a:pt x="23790" y="7237"/>
                  </a:moveTo>
                  <a:lnTo>
                    <a:pt x="23790" y="0"/>
                  </a:lnTo>
                  <a:lnTo>
                    <a:pt x="7920" y="0"/>
                  </a:lnTo>
                  <a:lnTo>
                    <a:pt x="7031" y="0"/>
                  </a:lnTo>
                  <a:lnTo>
                    <a:pt x="5507" y="0"/>
                  </a:lnTo>
                  <a:lnTo>
                    <a:pt x="3603" y="635"/>
                  </a:lnTo>
                  <a:cubicBezTo>
                    <a:pt x="2638" y="1143"/>
                    <a:pt x="1800" y="1879"/>
                    <a:pt x="1191" y="2793"/>
                  </a:cubicBezTo>
                  <a:cubicBezTo>
                    <a:pt x="658" y="3517"/>
                    <a:pt x="276" y="4342"/>
                    <a:pt x="48" y="5206"/>
                  </a:cubicBezTo>
                  <a:cubicBezTo>
                    <a:pt x="48" y="5206"/>
                    <a:pt x="48" y="5967"/>
                    <a:pt x="48" y="6475"/>
                  </a:cubicBezTo>
                  <a:cubicBezTo>
                    <a:pt x="-16" y="6856"/>
                    <a:pt x="-16" y="7237"/>
                    <a:pt x="48" y="7618"/>
                  </a:cubicBezTo>
                  <a:lnTo>
                    <a:pt x="48" y="7618"/>
                  </a:lnTo>
                  <a:cubicBezTo>
                    <a:pt x="-16" y="7999"/>
                    <a:pt x="-16" y="8380"/>
                    <a:pt x="48" y="8761"/>
                  </a:cubicBezTo>
                  <a:cubicBezTo>
                    <a:pt x="937" y="11465"/>
                    <a:pt x="3426" y="13344"/>
                    <a:pt x="6270" y="13459"/>
                  </a:cubicBezTo>
                  <a:lnTo>
                    <a:pt x="29251" y="14474"/>
                  </a:lnTo>
                  <a:lnTo>
                    <a:pt x="29251" y="14474"/>
                  </a:lnTo>
                  <a:cubicBezTo>
                    <a:pt x="25835" y="13840"/>
                    <a:pt x="23473" y="10703"/>
                    <a:pt x="23790" y="7237"/>
                  </a:cubicBezTo>
                  <a:close/>
                  <a:moveTo>
                    <a:pt x="2714" y="7237"/>
                  </a:moveTo>
                  <a:cubicBezTo>
                    <a:pt x="2066" y="7174"/>
                    <a:pt x="1571" y="6628"/>
                    <a:pt x="1571" y="5967"/>
                  </a:cubicBezTo>
                  <a:cubicBezTo>
                    <a:pt x="1571" y="5333"/>
                    <a:pt x="2080" y="4825"/>
                    <a:pt x="2702" y="4812"/>
                  </a:cubicBezTo>
                  <a:cubicBezTo>
                    <a:pt x="2752" y="4812"/>
                    <a:pt x="2790" y="4825"/>
                    <a:pt x="2841" y="4825"/>
                  </a:cubicBezTo>
                  <a:lnTo>
                    <a:pt x="7158" y="4825"/>
                  </a:lnTo>
                  <a:cubicBezTo>
                    <a:pt x="7806" y="4888"/>
                    <a:pt x="8301" y="5434"/>
                    <a:pt x="8301" y="6095"/>
                  </a:cubicBezTo>
                  <a:cubicBezTo>
                    <a:pt x="8301" y="6729"/>
                    <a:pt x="7793" y="7237"/>
                    <a:pt x="7158" y="7237"/>
                  </a:cubicBezTo>
                  <a:lnTo>
                    <a:pt x="2714" y="7237"/>
                  </a:lnTo>
                  <a:close/>
                </a:path>
              </a:pathLst>
            </a:custGeom>
            <a:solidFill>
              <a:srgbClr val="000000"/>
            </a:solidFill>
            <a:ln w="12690"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191E6A69-688A-4858-BB09-D84595A67672}"/>
                </a:ext>
              </a:extLst>
            </p:cNvPr>
            <p:cNvSpPr/>
            <p:nvPr/>
          </p:nvSpPr>
          <p:spPr>
            <a:xfrm>
              <a:off x="7843000" y="6513194"/>
              <a:ext cx="47" cy="1396"/>
            </a:xfrm>
            <a:custGeom>
              <a:avLst/>
              <a:gdLst>
                <a:gd name="connsiteX0" fmla="*/ 0 w 47"/>
                <a:gd name="connsiteY0" fmla="*/ 1397 h 1396"/>
                <a:gd name="connsiteX1" fmla="*/ 0 w 47"/>
                <a:gd name="connsiteY1" fmla="*/ 0 h 1396"/>
                <a:gd name="connsiteX2" fmla="*/ 0 w 47"/>
                <a:gd name="connsiteY2" fmla="*/ 0 h 1396"/>
                <a:gd name="connsiteX3" fmla="*/ 0 w 47"/>
                <a:gd name="connsiteY3" fmla="*/ 1397 h 1396"/>
              </a:gdLst>
              <a:ahLst/>
              <a:cxnLst>
                <a:cxn ang="0">
                  <a:pos x="connsiteX0" y="connsiteY0"/>
                </a:cxn>
                <a:cxn ang="0">
                  <a:pos x="connsiteX1" y="connsiteY1"/>
                </a:cxn>
                <a:cxn ang="0">
                  <a:pos x="connsiteX2" y="connsiteY2"/>
                </a:cxn>
                <a:cxn ang="0">
                  <a:pos x="connsiteX3" y="connsiteY3"/>
                </a:cxn>
              </a:cxnLst>
              <a:rect l="l" t="t" r="r" b="b"/>
              <a:pathLst>
                <a:path w="47" h="1396">
                  <a:moveTo>
                    <a:pt x="0" y="1397"/>
                  </a:moveTo>
                  <a:cubicBezTo>
                    <a:pt x="64" y="927"/>
                    <a:pt x="64" y="470"/>
                    <a:pt x="0" y="0"/>
                  </a:cubicBezTo>
                  <a:lnTo>
                    <a:pt x="0" y="0"/>
                  </a:lnTo>
                  <a:cubicBezTo>
                    <a:pt x="51" y="470"/>
                    <a:pt x="51" y="927"/>
                    <a:pt x="0" y="1397"/>
                  </a:cubicBezTo>
                  <a:close/>
                </a:path>
              </a:pathLst>
            </a:custGeom>
            <a:solidFill>
              <a:srgbClr val="000000"/>
            </a:solidFill>
            <a:ln w="12690"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544D77D0-C447-47DB-AE75-E64F2BA4A45C}"/>
                </a:ext>
              </a:extLst>
            </p:cNvPr>
            <p:cNvSpPr/>
            <p:nvPr/>
          </p:nvSpPr>
          <p:spPr>
            <a:xfrm>
              <a:off x="7837668" y="6519543"/>
              <a:ext cx="1396" cy="12696"/>
            </a:xfrm>
            <a:custGeom>
              <a:avLst/>
              <a:gdLst>
                <a:gd name="connsiteX0" fmla="*/ 0 w 1396"/>
                <a:gd name="connsiteY0" fmla="*/ 0 h 12696"/>
                <a:gd name="connsiteX1" fmla="*/ 0 w 1396"/>
                <a:gd name="connsiteY1" fmla="*/ 0 h 12696"/>
                <a:gd name="connsiteX2" fmla="*/ 1396 w 1396"/>
                <a:gd name="connsiteY2" fmla="*/ 0 h 12696"/>
              </a:gdLst>
              <a:ahLst/>
              <a:cxnLst>
                <a:cxn ang="0">
                  <a:pos x="connsiteX0" y="connsiteY0"/>
                </a:cxn>
                <a:cxn ang="0">
                  <a:pos x="connsiteX1" y="connsiteY1"/>
                </a:cxn>
                <a:cxn ang="0">
                  <a:pos x="connsiteX2" y="connsiteY2"/>
                </a:cxn>
              </a:cxnLst>
              <a:rect l="l" t="t" r="r" b="b"/>
              <a:pathLst>
                <a:path w="1396" h="12696">
                  <a:moveTo>
                    <a:pt x="0" y="0"/>
                  </a:moveTo>
                  <a:lnTo>
                    <a:pt x="0" y="0"/>
                  </a:lnTo>
                  <a:lnTo>
                    <a:pt x="1396" y="0"/>
                  </a:lnTo>
                  <a:close/>
                </a:path>
              </a:pathLst>
            </a:custGeom>
            <a:solidFill>
              <a:srgbClr val="000000"/>
            </a:solidFill>
            <a:ln w="12690"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995D93AC-8E7D-4C62-AD1E-3F39D5F7EEEF}"/>
                </a:ext>
              </a:extLst>
            </p:cNvPr>
            <p:cNvSpPr/>
            <p:nvPr/>
          </p:nvSpPr>
          <p:spPr>
            <a:xfrm>
              <a:off x="7841858" y="6515734"/>
              <a:ext cx="888" cy="1269"/>
            </a:xfrm>
            <a:custGeom>
              <a:avLst/>
              <a:gdLst>
                <a:gd name="connsiteX0" fmla="*/ 889 w 888"/>
                <a:gd name="connsiteY0" fmla="*/ 0 h 1269"/>
                <a:gd name="connsiteX1" fmla="*/ 0 w 888"/>
                <a:gd name="connsiteY1" fmla="*/ 1270 h 1269"/>
              </a:gdLst>
              <a:ahLst/>
              <a:cxnLst>
                <a:cxn ang="0">
                  <a:pos x="connsiteX0" y="connsiteY0"/>
                </a:cxn>
                <a:cxn ang="0">
                  <a:pos x="connsiteX1" y="connsiteY1"/>
                </a:cxn>
              </a:cxnLst>
              <a:rect l="l" t="t" r="r" b="b"/>
              <a:pathLst>
                <a:path w="888" h="1269">
                  <a:moveTo>
                    <a:pt x="889" y="0"/>
                  </a:moveTo>
                  <a:lnTo>
                    <a:pt x="0" y="1270"/>
                  </a:lnTo>
                  <a:close/>
                </a:path>
              </a:pathLst>
            </a:custGeom>
            <a:solidFill>
              <a:srgbClr val="000000"/>
            </a:solidFill>
            <a:ln w="12690"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73CF4B3D-BCFA-491E-9D85-28EA64B3C7CF}"/>
                </a:ext>
              </a:extLst>
            </p:cNvPr>
            <p:cNvSpPr/>
            <p:nvPr/>
          </p:nvSpPr>
          <p:spPr>
            <a:xfrm>
              <a:off x="7839826" y="6517892"/>
              <a:ext cx="1397" cy="888"/>
            </a:xfrm>
            <a:custGeom>
              <a:avLst/>
              <a:gdLst>
                <a:gd name="connsiteX0" fmla="*/ 1397 w 1397"/>
                <a:gd name="connsiteY0" fmla="*/ 0 h 888"/>
                <a:gd name="connsiteX1" fmla="*/ 0 w 1397"/>
                <a:gd name="connsiteY1" fmla="*/ 889 h 888"/>
                <a:gd name="connsiteX2" fmla="*/ 1397 w 1397"/>
                <a:gd name="connsiteY2" fmla="*/ 0 h 888"/>
              </a:gdLst>
              <a:ahLst/>
              <a:cxnLst>
                <a:cxn ang="0">
                  <a:pos x="connsiteX0" y="connsiteY0"/>
                </a:cxn>
                <a:cxn ang="0">
                  <a:pos x="connsiteX1" y="connsiteY1"/>
                </a:cxn>
                <a:cxn ang="0">
                  <a:pos x="connsiteX2" y="connsiteY2"/>
                </a:cxn>
              </a:cxnLst>
              <a:rect l="l" t="t" r="r" b="b"/>
              <a:pathLst>
                <a:path w="1397" h="888">
                  <a:moveTo>
                    <a:pt x="1397" y="0"/>
                  </a:moveTo>
                  <a:cubicBezTo>
                    <a:pt x="978" y="368"/>
                    <a:pt x="508" y="673"/>
                    <a:pt x="0" y="889"/>
                  </a:cubicBezTo>
                  <a:cubicBezTo>
                    <a:pt x="508" y="673"/>
                    <a:pt x="978" y="368"/>
                    <a:pt x="1397" y="0"/>
                  </a:cubicBezTo>
                  <a:close/>
                </a:path>
              </a:pathLst>
            </a:custGeom>
            <a:solidFill>
              <a:srgbClr val="000000"/>
            </a:solidFill>
            <a:ln w="12690"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1B39AB4B-BCE8-44A1-A662-49DC72D84D94}"/>
                </a:ext>
              </a:extLst>
            </p:cNvPr>
            <p:cNvSpPr/>
            <p:nvPr/>
          </p:nvSpPr>
          <p:spPr>
            <a:xfrm>
              <a:off x="7819384" y="5953649"/>
              <a:ext cx="10157" cy="4443"/>
            </a:xfrm>
            <a:custGeom>
              <a:avLst/>
              <a:gdLst>
                <a:gd name="connsiteX0" fmla="*/ 10157 w 10157"/>
                <a:gd name="connsiteY0" fmla="*/ 2539 h 4443"/>
                <a:gd name="connsiteX1" fmla="*/ 10157 w 10157"/>
                <a:gd name="connsiteY1" fmla="*/ 0 h 4443"/>
                <a:gd name="connsiteX2" fmla="*/ 0 w 10157"/>
                <a:gd name="connsiteY2" fmla="*/ 1904 h 4443"/>
                <a:gd name="connsiteX3" fmla="*/ 0 w 10157"/>
                <a:gd name="connsiteY3" fmla="*/ 4444 h 4443"/>
                <a:gd name="connsiteX4" fmla="*/ 6475 w 10157"/>
                <a:gd name="connsiteY4" fmla="*/ 3174 h 4443"/>
                <a:gd name="connsiteX5" fmla="*/ 10157 w 10157"/>
                <a:gd name="connsiteY5" fmla="*/ 2539 h 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7" h="4443">
                  <a:moveTo>
                    <a:pt x="10157" y="2539"/>
                  </a:moveTo>
                  <a:lnTo>
                    <a:pt x="10157" y="0"/>
                  </a:lnTo>
                  <a:lnTo>
                    <a:pt x="0" y="1904"/>
                  </a:lnTo>
                  <a:lnTo>
                    <a:pt x="0" y="4444"/>
                  </a:lnTo>
                  <a:lnTo>
                    <a:pt x="6475" y="3174"/>
                  </a:lnTo>
                  <a:lnTo>
                    <a:pt x="10157" y="2539"/>
                  </a:lnTo>
                  <a:close/>
                </a:path>
              </a:pathLst>
            </a:custGeom>
            <a:solidFill>
              <a:srgbClr val="000000"/>
            </a:solidFill>
            <a:ln w="12690"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97598FEB-FAD4-4979-BE1F-094039770BC3}"/>
                </a:ext>
              </a:extLst>
            </p:cNvPr>
            <p:cNvSpPr/>
            <p:nvPr/>
          </p:nvSpPr>
          <p:spPr>
            <a:xfrm>
              <a:off x="7807196" y="6510647"/>
              <a:ext cx="6474" cy="2420"/>
            </a:xfrm>
            <a:custGeom>
              <a:avLst/>
              <a:gdLst>
                <a:gd name="connsiteX0" fmla="*/ 5332 w 6474"/>
                <a:gd name="connsiteY0" fmla="*/ 2421 h 2420"/>
                <a:gd name="connsiteX1" fmla="*/ 6475 w 6474"/>
                <a:gd name="connsiteY1" fmla="*/ 1278 h 2420"/>
                <a:gd name="connsiteX2" fmla="*/ 5332 w 6474"/>
                <a:gd name="connsiteY2" fmla="*/ 8 h 2420"/>
                <a:gd name="connsiteX3" fmla="*/ 1269 w 6474"/>
                <a:gd name="connsiteY3" fmla="*/ 8 h 2420"/>
                <a:gd name="connsiteX4" fmla="*/ 12 w 6474"/>
                <a:gd name="connsiteY4" fmla="*/ 1011 h 2420"/>
                <a:gd name="connsiteX5" fmla="*/ 0 w 6474"/>
                <a:gd name="connsiteY5" fmla="*/ 1151 h 2420"/>
                <a:gd name="connsiteX6" fmla="*/ 1142 w 6474"/>
                <a:gd name="connsiteY6" fmla="*/ 2421 h 2420"/>
                <a:gd name="connsiteX7" fmla="*/ 5587 w 6474"/>
                <a:gd name="connsiteY7" fmla="*/ 2421 h 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4" h="2420">
                  <a:moveTo>
                    <a:pt x="5332" y="2421"/>
                  </a:moveTo>
                  <a:cubicBezTo>
                    <a:pt x="5967" y="2421"/>
                    <a:pt x="6475" y="1913"/>
                    <a:pt x="6475" y="1278"/>
                  </a:cubicBezTo>
                  <a:cubicBezTo>
                    <a:pt x="6475" y="618"/>
                    <a:pt x="5979" y="72"/>
                    <a:pt x="5332" y="8"/>
                  </a:cubicBezTo>
                  <a:lnTo>
                    <a:pt x="1269" y="8"/>
                  </a:lnTo>
                  <a:cubicBezTo>
                    <a:pt x="647" y="-68"/>
                    <a:pt x="76" y="389"/>
                    <a:pt x="12" y="1011"/>
                  </a:cubicBezTo>
                  <a:cubicBezTo>
                    <a:pt x="0" y="1062"/>
                    <a:pt x="0" y="1100"/>
                    <a:pt x="0" y="1151"/>
                  </a:cubicBezTo>
                  <a:cubicBezTo>
                    <a:pt x="0" y="1811"/>
                    <a:pt x="495" y="2357"/>
                    <a:pt x="1142" y="2421"/>
                  </a:cubicBezTo>
                  <a:lnTo>
                    <a:pt x="5587" y="2421"/>
                  </a:lnTo>
                  <a:close/>
                </a:path>
              </a:pathLst>
            </a:custGeom>
            <a:solidFill>
              <a:srgbClr val="000000"/>
            </a:solidFill>
            <a:ln w="12690"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E0B84E95-80BD-4C33-91BC-05519480ADDA}"/>
                </a:ext>
              </a:extLst>
            </p:cNvPr>
            <p:cNvSpPr/>
            <p:nvPr/>
          </p:nvSpPr>
          <p:spPr>
            <a:xfrm>
              <a:off x="7810116" y="5855579"/>
              <a:ext cx="32911" cy="16937"/>
            </a:xfrm>
            <a:custGeom>
              <a:avLst/>
              <a:gdLst>
                <a:gd name="connsiteX0" fmla="*/ 2412 w 32911"/>
                <a:gd name="connsiteY0" fmla="*/ 4494 h 16937"/>
                <a:gd name="connsiteX1" fmla="*/ 9268 w 32911"/>
                <a:gd name="connsiteY1" fmla="*/ 11350 h 16937"/>
                <a:gd name="connsiteX2" fmla="*/ 9268 w 32911"/>
                <a:gd name="connsiteY2" fmla="*/ 16937 h 16937"/>
                <a:gd name="connsiteX3" fmla="*/ 25012 w 32911"/>
                <a:gd name="connsiteY3" fmla="*/ 13509 h 16937"/>
                <a:gd name="connsiteX4" fmla="*/ 27552 w 32911"/>
                <a:gd name="connsiteY4" fmla="*/ 13509 h 16937"/>
                <a:gd name="connsiteX5" fmla="*/ 27552 w 32911"/>
                <a:gd name="connsiteY5" fmla="*/ 13509 h 16937"/>
                <a:gd name="connsiteX6" fmla="*/ 32758 w 32911"/>
                <a:gd name="connsiteY6" fmla="*/ 5256 h 16937"/>
                <a:gd name="connsiteX7" fmla="*/ 25266 w 32911"/>
                <a:gd name="connsiteY7" fmla="*/ 50 h 16937"/>
                <a:gd name="connsiteX8" fmla="*/ 24505 w 32911"/>
                <a:gd name="connsiteY8" fmla="*/ 50 h 16937"/>
                <a:gd name="connsiteX9" fmla="*/ 635 w 32911"/>
                <a:gd name="connsiteY9" fmla="*/ 5256 h 16937"/>
                <a:gd name="connsiteX10" fmla="*/ 0 w 32911"/>
                <a:gd name="connsiteY10" fmla="*/ 5256 h 16937"/>
                <a:gd name="connsiteX11" fmla="*/ 2412 w 32911"/>
                <a:gd name="connsiteY11" fmla="*/ 4494 h 1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11" h="16937">
                  <a:moveTo>
                    <a:pt x="2412" y="4494"/>
                  </a:moveTo>
                  <a:cubicBezTo>
                    <a:pt x="6196" y="4494"/>
                    <a:pt x="9268" y="7564"/>
                    <a:pt x="9268" y="11350"/>
                  </a:cubicBezTo>
                  <a:lnTo>
                    <a:pt x="9268" y="16937"/>
                  </a:lnTo>
                  <a:lnTo>
                    <a:pt x="25012" y="13509"/>
                  </a:lnTo>
                  <a:lnTo>
                    <a:pt x="27552" y="13509"/>
                  </a:lnTo>
                  <a:lnTo>
                    <a:pt x="27552" y="13509"/>
                  </a:lnTo>
                  <a:cubicBezTo>
                    <a:pt x="31234" y="12628"/>
                    <a:pt x="33544" y="8963"/>
                    <a:pt x="32758" y="5256"/>
                  </a:cubicBezTo>
                  <a:cubicBezTo>
                    <a:pt x="31945" y="1870"/>
                    <a:pt x="28720" y="-369"/>
                    <a:pt x="25266" y="50"/>
                  </a:cubicBezTo>
                  <a:cubicBezTo>
                    <a:pt x="25266" y="50"/>
                    <a:pt x="25266" y="50"/>
                    <a:pt x="24505" y="50"/>
                  </a:cubicBezTo>
                  <a:lnTo>
                    <a:pt x="635" y="5256"/>
                  </a:lnTo>
                  <a:lnTo>
                    <a:pt x="0" y="5256"/>
                  </a:lnTo>
                  <a:cubicBezTo>
                    <a:pt x="774" y="4922"/>
                    <a:pt x="1587" y="4667"/>
                    <a:pt x="2412" y="4494"/>
                  </a:cubicBezTo>
                  <a:close/>
                </a:path>
              </a:pathLst>
            </a:custGeom>
            <a:solidFill>
              <a:srgbClr val="000000"/>
            </a:solidFill>
            <a:ln w="12690"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E24540C7-0E5C-4BE0-A7E4-C462C6181DA2}"/>
                </a:ext>
              </a:extLst>
            </p:cNvPr>
            <p:cNvSpPr/>
            <p:nvPr/>
          </p:nvSpPr>
          <p:spPr>
            <a:xfrm>
              <a:off x="7808466" y="586121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3F14CDD7-5CCD-4A52-99C2-6A57C0C2D72A}"/>
                </a:ext>
              </a:extLst>
            </p:cNvPr>
            <p:cNvSpPr/>
            <p:nvPr/>
          </p:nvSpPr>
          <p:spPr>
            <a:xfrm>
              <a:off x="6068892" y="6294048"/>
              <a:ext cx="431306" cy="4951"/>
            </a:xfrm>
            <a:custGeom>
              <a:avLst/>
              <a:gdLst>
                <a:gd name="connsiteX0" fmla="*/ 0 w 431306"/>
                <a:gd name="connsiteY0" fmla="*/ 2412 h 4951"/>
                <a:gd name="connsiteX1" fmla="*/ 0 w 431306"/>
                <a:gd name="connsiteY1" fmla="*/ 3682 h 4951"/>
                <a:gd name="connsiteX2" fmla="*/ 0 w 431306"/>
                <a:gd name="connsiteY2" fmla="*/ 4952 h 4951"/>
                <a:gd name="connsiteX3" fmla="*/ 431307 w 431306"/>
                <a:gd name="connsiteY3" fmla="*/ 4952 h 4951"/>
                <a:gd name="connsiteX4" fmla="*/ 431307 w 431306"/>
                <a:gd name="connsiteY4" fmla="*/ 3682 h 4951"/>
                <a:gd name="connsiteX5" fmla="*/ 431307 w 431306"/>
                <a:gd name="connsiteY5" fmla="*/ 2412 h 4951"/>
                <a:gd name="connsiteX6" fmla="*/ 431307 w 431306"/>
                <a:gd name="connsiteY6" fmla="*/ 508 h 4951"/>
                <a:gd name="connsiteX7" fmla="*/ 431307 w 431306"/>
                <a:gd name="connsiteY7" fmla="*/ 0 h 4951"/>
                <a:gd name="connsiteX8" fmla="*/ 0 w 431306"/>
                <a:gd name="connsiteY8" fmla="*/ 0 h 4951"/>
                <a:gd name="connsiteX9" fmla="*/ 0 w 431306"/>
                <a:gd name="connsiteY9" fmla="*/ 508 h 4951"/>
                <a:gd name="connsiteX10" fmla="*/ 0 w 431306"/>
                <a:gd name="connsiteY10" fmla="*/ 2412 h 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306" h="4951">
                  <a:moveTo>
                    <a:pt x="0" y="2412"/>
                  </a:moveTo>
                  <a:lnTo>
                    <a:pt x="0" y="3682"/>
                  </a:lnTo>
                  <a:lnTo>
                    <a:pt x="0" y="4952"/>
                  </a:lnTo>
                  <a:lnTo>
                    <a:pt x="431307" y="4952"/>
                  </a:lnTo>
                  <a:lnTo>
                    <a:pt x="431307" y="3682"/>
                  </a:lnTo>
                  <a:lnTo>
                    <a:pt x="431307" y="2412"/>
                  </a:lnTo>
                  <a:lnTo>
                    <a:pt x="431307" y="508"/>
                  </a:lnTo>
                  <a:lnTo>
                    <a:pt x="431307" y="0"/>
                  </a:lnTo>
                  <a:lnTo>
                    <a:pt x="0" y="0"/>
                  </a:lnTo>
                  <a:lnTo>
                    <a:pt x="0" y="508"/>
                  </a:lnTo>
                  <a:lnTo>
                    <a:pt x="0" y="2412"/>
                  </a:lnTo>
                  <a:close/>
                </a:path>
              </a:pathLst>
            </a:custGeom>
            <a:solidFill>
              <a:srgbClr val="000000"/>
            </a:solidFill>
            <a:ln w="12690"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DCB091C8-3438-41A9-9318-82F356DE9711}"/>
                </a:ext>
              </a:extLst>
            </p:cNvPr>
            <p:cNvSpPr/>
            <p:nvPr/>
          </p:nvSpPr>
          <p:spPr>
            <a:xfrm>
              <a:off x="7105068" y="6510401"/>
              <a:ext cx="10853" cy="2158"/>
            </a:xfrm>
            <a:custGeom>
              <a:avLst/>
              <a:gdLst>
                <a:gd name="connsiteX0" fmla="*/ 10793 w 10853"/>
                <a:gd name="connsiteY0" fmla="*/ 635 h 2158"/>
                <a:gd name="connsiteX1" fmla="*/ 9777 w 10853"/>
                <a:gd name="connsiteY1" fmla="*/ 0 h 2158"/>
                <a:gd name="connsiteX2" fmla="*/ 0 w 10853"/>
                <a:gd name="connsiteY2" fmla="*/ 0 h 2158"/>
                <a:gd name="connsiteX3" fmla="*/ 0 w 10853"/>
                <a:gd name="connsiteY3" fmla="*/ 0 h 2158"/>
                <a:gd name="connsiteX4" fmla="*/ 0 w 10853"/>
                <a:gd name="connsiteY4" fmla="*/ 2159 h 2158"/>
                <a:gd name="connsiteX5" fmla="*/ 10158 w 10853"/>
                <a:gd name="connsiteY5" fmla="*/ 2159 h 2158"/>
                <a:gd name="connsiteX6" fmla="*/ 10793 w 10853"/>
                <a:gd name="connsiteY6" fmla="*/ 635 h 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3" h="2158">
                  <a:moveTo>
                    <a:pt x="10793" y="635"/>
                  </a:moveTo>
                  <a:cubicBezTo>
                    <a:pt x="10602" y="254"/>
                    <a:pt x="10208" y="0"/>
                    <a:pt x="9777" y="0"/>
                  </a:cubicBezTo>
                  <a:lnTo>
                    <a:pt x="0" y="0"/>
                  </a:lnTo>
                  <a:lnTo>
                    <a:pt x="0" y="0"/>
                  </a:lnTo>
                  <a:cubicBezTo>
                    <a:pt x="127" y="711"/>
                    <a:pt x="127" y="1448"/>
                    <a:pt x="0" y="2159"/>
                  </a:cubicBezTo>
                  <a:lnTo>
                    <a:pt x="10158" y="2159"/>
                  </a:lnTo>
                  <a:cubicBezTo>
                    <a:pt x="10716" y="1879"/>
                    <a:pt x="10983" y="1232"/>
                    <a:pt x="10793" y="635"/>
                  </a:cubicBezTo>
                  <a:close/>
                </a:path>
              </a:pathLst>
            </a:custGeom>
            <a:solidFill>
              <a:srgbClr val="000000"/>
            </a:solidFill>
            <a:ln w="12690"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A9A86A4E-2DB6-4DBD-849C-651A1CD7C824}"/>
                </a:ext>
              </a:extLst>
            </p:cNvPr>
            <p:cNvSpPr/>
            <p:nvPr/>
          </p:nvSpPr>
          <p:spPr>
            <a:xfrm>
              <a:off x="7718827" y="6509893"/>
              <a:ext cx="44818" cy="2412"/>
            </a:xfrm>
            <a:custGeom>
              <a:avLst/>
              <a:gdLst>
                <a:gd name="connsiteX0" fmla="*/ 0 w 44818"/>
                <a:gd name="connsiteY0" fmla="*/ 1143 h 2412"/>
                <a:gd name="connsiteX1" fmla="*/ 0 w 44818"/>
                <a:gd name="connsiteY1" fmla="*/ 2412 h 2412"/>
                <a:gd name="connsiteX2" fmla="*/ 44819 w 44818"/>
                <a:gd name="connsiteY2" fmla="*/ 2412 h 2412"/>
                <a:gd name="connsiteX3" fmla="*/ 44819 w 44818"/>
                <a:gd name="connsiteY3" fmla="*/ 0 h 2412"/>
                <a:gd name="connsiteX4" fmla="*/ 380 w 44818"/>
                <a:gd name="connsiteY4" fmla="*/ 0 h 2412"/>
                <a:gd name="connsiteX5" fmla="*/ 380 w 44818"/>
                <a:gd name="connsiteY5"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18" h="2412">
                  <a:moveTo>
                    <a:pt x="0" y="1143"/>
                  </a:moveTo>
                  <a:lnTo>
                    <a:pt x="0" y="2412"/>
                  </a:lnTo>
                  <a:lnTo>
                    <a:pt x="44819" y="2412"/>
                  </a:lnTo>
                  <a:cubicBezTo>
                    <a:pt x="44629" y="1625"/>
                    <a:pt x="44629" y="787"/>
                    <a:pt x="44819" y="0"/>
                  </a:cubicBezTo>
                  <a:lnTo>
                    <a:pt x="380" y="0"/>
                  </a:lnTo>
                  <a:lnTo>
                    <a:pt x="380" y="1143"/>
                  </a:lnTo>
                  <a:close/>
                </a:path>
              </a:pathLst>
            </a:custGeom>
            <a:solidFill>
              <a:srgbClr val="000000"/>
            </a:solidFill>
            <a:ln w="12690"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04992B5B-BC17-4D78-9469-0D11CB557AF1}"/>
                </a:ext>
              </a:extLst>
            </p:cNvPr>
            <p:cNvSpPr/>
            <p:nvPr/>
          </p:nvSpPr>
          <p:spPr>
            <a:xfrm>
              <a:off x="7796658" y="6515988"/>
              <a:ext cx="1396" cy="1015"/>
            </a:xfrm>
            <a:custGeom>
              <a:avLst/>
              <a:gdLst>
                <a:gd name="connsiteX0" fmla="*/ 1396 w 1396"/>
                <a:gd name="connsiteY0" fmla="*/ 0 h 1015"/>
                <a:gd name="connsiteX1" fmla="*/ 0 w 1396"/>
                <a:gd name="connsiteY1" fmla="*/ 1016 h 1015"/>
              </a:gdLst>
              <a:ahLst/>
              <a:cxnLst>
                <a:cxn ang="0">
                  <a:pos x="connsiteX0" y="connsiteY0"/>
                </a:cxn>
                <a:cxn ang="0">
                  <a:pos x="connsiteX1" y="connsiteY1"/>
                </a:cxn>
              </a:cxnLst>
              <a:rect l="l" t="t" r="r" b="b"/>
              <a:pathLst>
                <a:path w="1396" h="1015">
                  <a:moveTo>
                    <a:pt x="1396" y="0"/>
                  </a:moveTo>
                  <a:lnTo>
                    <a:pt x="0" y="1016"/>
                  </a:lnTo>
                  <a:close/>
                </a:path>
              </a:pathLst>
            </a:custGeom>
            <a:solidFill>
              <a:srgbClr val="000000"/>
            </a:solidFill>
            <a:ln w="12690"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5658EDAF-666F-45C2-B2F7-F7444A18FDB3}"/>
                </a:ext>
              </a:extLst>
            </p:cNvPr>
            <p:cNvSpPr/>
            <p:nvPr/>
          </p:nvSpPr>
          <p:spPr>
            <a:xfrm>
              <a:off x="7793229" y="6518019"/>
              <a:ext cx="2666" cy="85"/>
            </a:xfrm>
            <a:custGeom>
              <a:avLst/>
              <a:gdLst>
                <a:gd name="connsiteX0" fmla="*/ 0 w 2666"/>
                <a:gd name="connsiteY0" fmla="*/ 0 h 85"/>
                <a:gd name="connsiteX1" fmla="*/ 2667 w 2666"/>
                <a:gd name="connsiteY1" fmla="*/ 0 h 85"/>
                <a:gd name="connsiteX2" fmla="*/ 0 w 2666"/>
                <a:gd name="connsiteY2" fmla="*/ 0 h 85"/>
              </a:gdLst>
              <a:ahLst/>
              <a:cxnLst>
                <a:cxn ang="0">
                  <a:pos x="connsiteX0" y="connsiteY0"/>
                </a:cxn>
                <a:cxn ang="0">
                  <a:pos x="connsiteX1" y="connsiteY1"/>
                </a:cxn>
                <a:cxn ang="0">
                  <a:pos x="connsiteX2" y="connsiteY2"/>
                </a:cxn>
              </a:cxnLst>
              <a:rect l="l" t="t" r="r" b="b"/>
              <a:pathLst>
                <a:path w="2666" h="85">
                  <a:moveTo>
                    <a:pt x="0" y="0"/>
                  </a:moveTo>
                  <a:cubicBezTo>
                    <a:pt x="889" y="114"/>
                    <a:pt x="1778" y="114"/>
                    <a:pt x="2667" y="0"/>
                  </a:cubicBezTo>
                  <a:cubicBezTo>
                    <a:pt x="1778" y="114"/>
                    <a:pt x="889" y="114"/>
                    <a:pt x="0" y="0"/>
                  </a:cubicBezTo>
                  <a:close/>
                </a:path>
              </a:pathLst>
            </a:custGeom>
            <a:solidFill>
              <a:srgbClr val="000000"/>
            </a:solidFill>
            <a:ln w="12690"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E176994C-14A5-4C7D-B4D1-8BE8561360A3}"/>
                </a:ext>
              </a:extLst>
            </p:cNvPr>
            <p:cNvSpPr/>
            <p:nvPr/>
          </p:nvSpPr>
          <p:spPr>
            <a:xfrm>
              <a:off x="7798689" y="6514083"/>
              <a:ext cx="47" cy="1015"/>
            </a:xfrm>
            <a:custGeom>
              <a:avLst/>
              <a:gdLst>
                <a:gd name="connsiteX0" fmla="*/ 0 w 47"/>
                <a:gd name="connsiteY0" fmla="*/ 1016 h 1015"/>
                <a:gd name="connsiteX1" fmla="*/ 0 w 47"/>
                <a:gd name="connsiteY1" fmla="*/ 0 h 1015"/>
                <a:gd name="connsiteX2" fmla="*/ 0 w 47"/>
                <a:gd name="connsiteY2" fmla="*/ 0 h 1015"/>
                <a:gd name="connsiteX3" fmla="*/ 0 w 47"/>
                <a:gd name="connsiteY3" fmla="*/ 1016 h 1015"/>
              </a:gdLst>
              <a:ahLst/>
              <a:cxnLst>
                <a:cxn ang="0">
                  <a:pos x="connsiteX0" y="connsiteY0"/>
                </a:cxn>
                <a:cxn ang="0">
                  <a:pos x="connsiteX1" y="connsiteY1"/>
                </a:cxn>
                <a:cxn ang="0">
                  <a:pos x="connsiteX2" y="connsiteY2"/>
                </a:cxn>
                <a:cxn ang="0">
                  <a:pos x="connsiteX3" y="connsiteY3"/>
                </a:cxn>
              </a:cxnLst>
              <a:rect l="l" t="t" r="r" b="b"/>
              <a:pathLst>
                <a:path w="47" h="1015">
                  <a:moveTo>
                    <a:pt x="0" y="1016"/>
                  </a:moveTo>
                  <a:cubicBezTo>
                    <a:pt x="64" y="686"/>
                    <a:pt x="64" y="330"/>
                    <a:pt x="0" y="0"/>
                  </a:cubicBezTo>
                  <a:lnTo>
                    <a:pt x="0" y="0"/>
                  </a:lnTo>
                  <a:cubicBezTo>
                    <a:pt x="13" y="343"/>
                    <a:pt x="13" y="673"/>
                    <a:pt x="0" y="1016"/>
                  </a:cubicBezTo>
                  <a:close/>
                </a:path>
              </a:pathLst>
            </a:custGeom>
            <a:solidFill>
              <a:srgbClr val="000000"/>
            </a:solidFill>
            <a:ln w="12690"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6DFFBB4C-942E-4DFD-9F55-A29076026FC9}"/>
                </a:ext>
              </a:extLst>
            </p:cNvPr>
            <p:cNvSpPr/>
            <p:nvPr/>
          </p:nvSpPr>
          <p:spPr>
            <a:xfrm>
              <a:off x="7800086" y="6511417"/>
              <a:ext cx="76" cy="1523"/>
            </a:xfrm>
            <a:custGeom>
              <a:avLst/>
              <a:gdLst>
                <a:gd name="connsiteX0" fmla="*/ 0 w 76"/>
                <a:gd name="connsiteY0" fmla="*/ 0 h 1523"/>
                <a:gd name="connsiteX1" fmla="*/ 0 w 76"/>
                <a:gd name="connsiteY1" fmla="*/ 0 h 1523"/>
                <a:gd name="connsiteX2" fmla="*/ 0 w 76"/>
                <a:gd name="connsiteY2" fmla="*/ 1524 h 1523"/>
                <a:gd name="connsiteX3" fmla="*/ 0 w 76"/>
                <a:gd name="connsiteY3" fmla="*/ 1524 h 1523"/>
                <a:gd name="connsiteX4" fmla="*/ 0 w 7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 h="1523">
                  <a:moveTo>
                    <a:pt x="0" y="0"/>
                  </a:moveTo>
                  <a:lnTo>
                    <a:pt x="0" y="0"/>
                  </a:lnTo>
                  <a:cubicBezTo>
                    <a:pt x="63" y="508"/>
                    <a:pt x="63" y="1016"/>
                    <a:pt x="0" y="1524"/>
                  </a:cubicBezTo>
                  <a:lnTo>
                    <a:pt x="0" y="1524"/>
                  </a:lnTo>
                  <a:cubicBezTo>
                    <a:pt x="102" y="1016"/>
                    <a:pt x="102" y="508"/>
                    <a:pt x="0" y="0"/>
                  </a:cubicBezTo>
                  <a:close/>
                </a:path>
              </a:pathLst>
            </a:custGeom>
            <a:solidFill>
              <a:srgbClr val="000000"/>
            </a:solidFill>
            <a:ln w="12690"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75AE665C-53B6-4902-BB8F-9928197423A0}"/>
                </a:ext>
              </a:extLst>
            </p:cNvPr>
            <p:cNvSpPr/>
            <p:nvPr/>
          </p:nvSpPr>
          <p:spPr>
            <a:xfrm>
              <a:off x="7762933" y="6502101"/>
              <a:ext cx="29153" cy="14902"/>
            </a:xfrm>
            <a:custGeom>
              <a:avLst/>
              <a:gdLst>
                <a:gd name="connsiteX0" fmla="*/ 712 w 29153"/>
                <a:gd name="connsiteY0" fmla="*/ 10205 h 14902"/>
                <a:gd name="connsiteX1" fmla="*/ 712 w 29153"/>
                <a:gd name="connsiteY1" fmla="*/ 10205 h 14902"/>
                <a:gd name="connsiteX2" fmla="*/ 712 w 29153"/>
                <a:gd name="connsiteY2" fmla="*/ 11348 h 14902"/>
                <a:gd name="connsiteX3" fmla="*/ 1475 w 29153"/>
                <a:gd name="connsiteY3" fmla="*/ 12364 h 14902"/>
                <a:gd name="connsiteX4" fmla="*/ 2490 w 29153"/>
                <a:gd name="connsiteY4" fmla="*/ 13125 h 14902"/>
                <a:gd name="connsiteX5" fmla="*/ 3633 w 29153"/>
                <a:gd name="connsiteY5" fmla="*/ 13887 h 14902"/>
                <a:gd name="connsiteX6" fmla="*/ 4902 w 29153"/>
                <a:gd name="connsiteY6" fmla="*/ 13887 h 14902"/>
                <a:gd name="connsiteX7" fmla="*/ 6173 w 29153"/>
                <a:gd name="connsiteY7" fmla="*/ 13887 h 14902"/>
                <a:gd name="connsiteX8" fmla="*/ 6173 w 29153"/>
                <a:gd name="connsiteY8" fmla="*/ 13887 h 14902"/>
                <a:gd name="connsiteX9" fmla="*/ 29154 w 29153"/>
                <a:gd name="connsiteY9" fmla="*/ 14903 h 14902"/>
                <a:gd name="connsiteX10" fmla="*/ 29154 w 29153"/>
                <a:gd name="connsiteY10" fmla="*/ 14903 h 14902"/>
                <a:gd name="connsiteX11" fmla="*/ 22297 w 29153"/>
                <a:gd name="connsiteY11" fmla="*/ 7920 h 14902"/>
                <a:gd name="connsiteX12" fmla="*/ 22297 w 29153"/>
                <a:gd name="connsiteY12" fmla="*/ 809 h 14902"/>
                <a:gd name="connsiteX13" fmla="*/ 6299 w 29153"/>
                <a:gd name="connsiteY13" fmla="*/ 48 h 14902"/>
                <a:gd name="connsiteX14" fmla="*/ 5030 w 29153"/>
                <a:gd name="connsiteY14" fmla="*/ 48 h 14902"/>
                <a:gd name="connsiteX15" fmla="*/ 3379 w 29153"/>
                <a:gd name="connsiteY15" fmla="*/ 48 h 14902"/>
                <a:gd name="connsiteX16" fmla="*/ 3379 w 29153"/>
                <a:gd name="connsiteY16" fmla="*/ 48 h 14902"/>
                <a:gd name="connsiteX17" fmla="*/ 1728 w 29153"/>
                <a:gd name="connsiteY17" fmla="*/ 1190 h 14902"/>
                <a:gd name="connsiteX18" fmla="*/ 1728 w 29153"/>
                <a:gd name="connsiteY18" fmla="*/ 1190 h 14902"/>
                <a:gd name="connsiteX19" fmla="*/ 586 w 29153"/>
                <a:gd name="connsiteY19" fmla="*/ 2841 h 14902"/>
                <a:gd name="connsiteX20" fmla="*/ 586 w 29153"/>
                <a:gd name="connsiteY20" fmla="*/ 3984 h 14902"/>
                <a:gd name="connsiteX21" fmla="*/ 586 w 29153"/>
                <a:gd name="connsiteY21" fmla="*/ 5253 h 14902"/>
                <a:gd name="connsiteX22" fmla="*/ 586 w 29153"/>
                <a:gd name="connsiteY22" fmla="*/ 5253 h 14902"/>
                <a:gd name="connsiteX23" fmla="*/ 712 w 29153"/>
                <a:gd name="connsiteY23" fmla="*/ 10205 h 1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153" h="14902">
                  <a:moveTo>
                    <a:pt x="712" y="10205"/>
                  </a:moveTo>
                  <a:lnTo>
                    <a:pt x="712" y="10205"/>
                  </a:lnTo>
                  <a:cubicBezTo>
                    <a:pt x="674" y="10586"/>
                    <a:pt x="674" y="10967"/>
                    <a:pt x="712" y="11348"/>
                  </a:cubicBezTo>
                  <a:cubicBezTo>
                    <a:pt x="712" y="11348"/>
                    <a:pt x="712" y="12110"/>
                    <a:pt x="1475" y="12364"/>
                  </a:cubicBezTo>
                  <a:cubicBezTo>
                    <a:pt x="1754" y="12681"/>
                    <a:pt x="2096" y="12948"/>
                    <a:pt x="2490" y="13125"/>
                  </a:cubicBezTo>
                  <a:cubicBezTo>
                    <a:pt x="2490" y="13125"/>
                    <a:pt x="3125" y="13760"/>
                    <a:pt x="3633" y="13887"/>
                  </a:cubicBezTo>
                  <a:cubicBezTo>
                    <a:pt x="4052" y="13938"/>
                    <a:pt x="4484" y="13938"/>
                    <a:pt x="4902" y="13887"/>
                  </a:cubicBezTo>
                  <a:lnTo>
                    <a:pt x="6173" y="13887"/>
                  </a:lnTo>
                  <a:lnTo>
                    <a:pt x="6173" y="13887"/>
                  </a:lnTo>
                  <a:lnTo>
                    <a:pt x="29154" y="14903"/>
                  </a:lnTo>
                  <a:lnTo>
                    <a:pt x="29154" y="14903"/>
                  </a:lnTo>
                  <a:cubicBezTo>
                    <a:pt x="25344" y="14839"/>
                    <a:pt x="22297" y="11729"/>
                    <a:pt x="22297" y="7920"/>
                  </a:cubicBezTo>
                  <a:lnTo>
                    <a:pt x="22297" y="809"/>
                  </a:lnTo>
                  <a:lnTo>
                    <a:pt x="6299" y="48"/>
                  </a:lnTo>
                  <a:lnTo>
                    <a:pt x="5030" y="48"/>
                  </a:lnTo>
                  <a:cubicBezTo>
                    <a:pt x="4484" y="-16"/>
                    <a:pt x="3925" y="-16"/>
                    <a:pt x="3379" y="48"/>
                  </a:cubicBezTo>
                  <a:lnTo>
                    <a:pt x="3379" y="48"/>
                  </a:lnTo>
                  <a:cubicBezTo>
                    <a:pt x="2757" y="314"/>
                    <a:pt x="2198" y="695"/>
                    <a:pt x="1728" y="1190"/>
                  </a:cubicBezTo>
                  <a:lnTo>
                    <a:pt x="1728" y="1190"/>
                  </a:lnTo>
                  <a:cubicBezTo>
                    <a:pt x="1271" y="1686"/>
                    <a:pt x="891" y="2244"/>
                    <a:pt x="586" y="2841"/>
                  </a:cubicBezTo>
                  <a:cubicBezTo>
                    <a:pt x="586" y="2841"/>
                    <a:pt x="586" y="3603"/>
                    <a:pt x="586" y="3984"/>
                  </a:cubicBezTo>
                  <a:cubicBezTo>
                    <a:pt x="522" y="4403"/>
                    <a:pt x="522" y="4834"/>
                    <a:pt x="586" y="5253"/>
                  </a:cubicBezTo>
                  <a:lnTo>
                    <a:pt x="586" y="5253"/>
                  </a:lnTo>
                  <a:cubicBezTo>
                    <a:pt x="-239" y="6815"/>
                    <a:pt x="-189" y="8694"/>
                    <a:pt x="712" y="10205"/>
                  </a:cubicBezTo>
                  <a:close/>
                </a:path>
              </a:pathLst>
            </a:custGeom>
            <a:solidFill>
              <a:srgbClr val="000000"/>
            </a:solidFill>
            <a:ln w="12690"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7C096868-C622-47AB-B104-14D491ADBC48}"/>
                </a:ext>
              </a:extLst>
            </p:cNvPr>
            <p:cNvSpPr/>
            <p:nvPr/>
          </p:nvSpPr>
          <p:spPr>
            <a:xfrm>
              <a:off x="4806332" y="6030591"/>
              <a:ext cx="57" cy="1396"/>
            </a:xfrm>
            <a:custGeom>
              <a:avLst/>
              <a:gdLst>
                <a:gd name="connsiteX0" fmla="*/ 0 w 57"/>
                <a:gd name="connsiteY0" fmla="*/ 0 h 1396"/>
                <a:gd name="connsiteX1" fmla="*/ 0 w 57"/>
                <a:gd name="connsiteY1" fmla="*/ 1397 h 1396"/>
                <a:gd name="connsiteX2" fmla="*/ 0 w 57"/>
                <a:gd name="connsiteY2" fmla="*/ 0 h 1396"/>
              </a:gdLst>
              <a:ahLst/>
              <a:cxnLst>
                <a:cxn ang="0">
                  <a:pos x="connsiteX0" y="connsiteY0"/>
                </a:cxn>
                <a:cxn ang="0">
                  <a:pos x="connsiteX1" y="connsiteY1"/>
                </a:cxn>
                <a:cxn ang="0">
                  <a:pos x="connsiteX2" y="connsiteY2"/>
                </a:cxn>
              </a:cxnLst>
              <a:rect l="l" t="t" r="r" b="b"/>
              <a:pathLst>
                <a:path w="57" h="1396">
                  <a:moveTo>
                    <a:pt x="0" y="0"/>
                  </a:moveTo>
                  <a:cubicBezTo>
                    <a:pt x="76" y="463"/>
                    <a:pt x="76" y="933"/>
                    <a:pt x="0" y="1397"/>
                  </a:cubicBezTo>
                  <a:cubicBezTo>
                    <a:pt x="76" y="933"/>
                    <a:pt x="76" y="463"/>
                    <a:pt x="0" y="0"/>
                  </a:cubicBezTo>
                  <a:close/>
                </a:path>
              </a:pathLst>
            </a:custGeom>
            <a:solidFill>
              <a:srgbClr val="000000"/>
            </a:solidFill>
            <a:ln w="12690"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DE0A3351-477C-4DCB-AF41-16CA4EB1F63B}"/>
                </a:ext>
              </a:extLst>
            </p:cNvPr>
            <p:cNvSpPr/>
            <p:nvPr/>
          </p:nvSpPr>
          <p:spPr>
            <a:xfrm>
              <a:off x="4788430" y="6020814"/>
              <a:ext cx="15743" cy="15363"/>
            </a:xfrm>
            <a:custGeom>
              <a:avLst/>
              <a:gdLst>
                <a:gd name="connsiteX0" fmla="*/ 0 w 15743"/>
                <a:gd name="connsiteY0" fmla="*/ 9776 h 15363"/>
                <a:gd name="connsiteX1" fmla="*/ 0 w 15743"/>
                <a:gd name="connsiteY1" fmla="*/ 12316 h 15363"/>
                <a:gd name="connsiteX2" fmla="*/ 4444 w 15743"/>
                <a:gd name="connsiteY2" fmla="*/ 15363 h 15363"/>
                <a:gd name="connsiteX3" fmla="*/ 4444 w 15743"/>
                <a:gd name="connsiteY3" fmla="*/ 11681 h 15363"/>
                <a:gd name="connsiteX4" fmla="*/ 11427 w 15743"/>
                <a:gd name="connsiteY4" fmla="*/ 4698 h 15363"/>
                <a:gd name="connsiteX5" fmla="*/ 15744 w 15743"/>
                <a:gd name="connsiteY5" fmla="*/ 6348 h 15363"/>
                <a:gd name="connsiteX6" fmla="*/ 15744 w 15743"/>
                <a:gd name="connsiteY6" fmla="*/ 6348 h 15363"/>
                <a:gd name="connsiteX7" fmla="*/ 6221 w 15743"/>
                <a:gd name="connsiteY7" fmla="*/ 0 h 15363"/>
                <a:gd name="connsiteX8" fmla="*/ 6221 w 15743"/>
                <a:gd name="connsiteY8" fmla="*/ 3682 h 15363"/>
                <a:gd name="connsiteX9" fmla="*/ 0 w 15743"/>
                <a:gd name="connsiteY9" fmla="*/ 9776 h 1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43" h="15363">
                  <a:moveTo>
                    <a:pt x="0" y="9776"/>
                  </a:moveTo>
                  <a:lnTo>
                    <a:pt x="0" y="12316"/>
                  </a:lnTo>
                  <a:lnTo>
                    <a:pt x="4444" y="15363"/>
                  </a:lnTo>
                  <a:lnTo>
                    <a:pt x="4444" y="11681"/>
                  </a:lnTo>
                  <a:cubicBezTo>
                    <a:pt x="4444" y="7824"/>
                    <a:pt x="7567" y="4698"/>
                    <a:pt x="11427" y="4698"/>
                  </a:cubicBezTo>
                  <a:cubicBezTo>
                    <a:pt x="13001" y="4779"/>
                    <a:pt x="14512" y="5357"/>
                    <a:pt x="15744" y="6348"/>
                  </a:cubicBezTo>
                  <a:cubicBezTo>
                    <a:pt x="15744" y="6348"/>
                    <a:pt x="15744" y="6348"/>
                    <a:pt x="15744" y="6348"/>
                  </a:cubicBezTo>
                  <a:lnTo>
                    <a:pt x="6221" y="0"/>
                  </a:lnTo>
                  <a:lnTo>
                    <a:pt x="6221" y="3682"/>
                  </a:lnTo>
                  <a:cubicBezTo>
                    <a:pt x="5916" y="6963"/>
                    <a:pt x="3288" y="9542"/>
                    <a:pt x="0" y="9776"/>
                  </a:cubicBezTo>
                  <a:close/>
                </a:path>
              </a:pathLst>
            </a:custGeom>
            <a:solidFill>
              <a:srgbClr val="000000"/>
            </a:solidFill>
            <a:ln w="12690"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2F21A04D-06D7-4FF8-9870-01F4E3AEB7F3}"/>
                </a:ext>
              </a:extLst>
            </p:cNvPr>
            <p:cNvSpPr/>
            <p:nvPr/>
          </p:nvSpPr>
          <p:spPr>
            <a:xfrm>
              <a:off x="4805063" y="6028052"/>
              <a:ext cx="761" cy="1015"/>
            </a:xfrm>
            <a:custGeom>
              <a:avLst/>
              <a:gdLst>
                <a:gd name="connsiteX0" fmla="*/ 0 w 761"/>
                <a:gd name="connsiteY0" fmla="*/ 0 h 1015"/>
                <a:gd name="connsiteX1" fmla="*/ 762 w 761"/>
                <a:gd name="connsiteY1" fmla="*/ 1016 h 1015"/>
                <a:gd name="connsiteX2" fmla="*/ 0 w 761"/>
                <a:gd name="connsiteY2" fmla="*/ 0 h 1015"/>
              </a:gdLst>
              <a:ahLst/>
              <a:cxnLst>
                <a:cxn ang="0">
                  <a:pos x="connsiteX0" y="connsiteY0"/>
                </a:cxn>
                <a:cxn ang="0">
                  <a:pos x="connsiteX1" y="connsiteY1"/>
                </a:cxn>
                <a:cxn ang="0">
                  <a:pos x="connsiteX2" y="connsiteY2"/>
                </a:cxn>
              </a:cxnLst>
              <a:rect l="l" t="t" r="r" b="b"/>
              <a:pathLst>
                <a:path w="761" h="1015">
                  <a:moveTo>
                    <a:pt x="0" y="0"/>
                  </a:moveTo>
                  <a:cubicBezTo>
                    <a:pt x="330" y="272"/>
                    <a:pt x="597" y="621"/>
                    <a:pt x="762" y="1016"/>
                  </a:cubicBezTo>
                  <a:cubicBezTo>
                    <a:pt x="597" y="621"/>
                    <a:pt x="330" y="272"/>
                    <a:pt x="0" y="0"/>
                  </a:cubicBezTo>
                  <a:close/>
                </a:path>
              </a:pathLst>
            </a:custGeom>
            <a:solidFill>
              <a:srgbClr val="000000"/>
            </a:solidFill>
            <a:ln w="12690"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21733AAA-0F6C-439A-B160-08A082E38962}"/>
                </a:ext>
              </a:extLst>
            </p:cNvPr>
            <p:cNvSpPr/>
            <p:nvPr/>
          </p:nvSpPr>
          <p:spPr>
            <a:xfrm>
              <a:off x="4783606" y="6029321"/>
              <a:ext cx="3047" cy="2031"/>
            </a:xfrm>
            <a:custGeom>
              <a:avLst/>
              <a:gdLst>
                <a:gd name="connsiteX0" fmla="*/ 3047 w 3047"/>
                <a:gd name="connsiteY0" fmla="*/ 2031 h 2031"/>
                <a:gd name="connsiteX1" fmla="*/ 3047 w 3047"/>
                <a:gd name="connsiteY1" fmla="*/ 1270 h 2031"/>
                <a:gd name="connsiteX2" fmla="*/ 0 w 3047"/>
                <a:gd name="connsiteY2" fmla="*/ 0 h 2031"/>
                <a:gd name="connsiteX3" fmla="*/ 0 w 3047"/>
                <a:gd name="connsiteY3" fmla="*/ 0 h 2031"/>
              </a:gdLst>
              <a:ahLst/>
              <a:cxnLst>
                <a:cxn ang="0">
                  <a:pos x="connsiteX0" y="connsiteY0"/>
                </a:cxn>
                <a:cxn ang="0">
                  <a:pos x="connsiteX1" y="connsiteY1"/>
                </a:cxn>
                <a:cxn ang="0">
                  <a:pos x="connsiteX2" y="connsiteY2"/>
                </a:cxn>
                <a:cxn ang="0">
                  <a:pos x="connsiteX3" y="connsiteY3"/>
                </a:cxn>
              </a:cxnLst>
              <a:rect l="l" t="t" r="r" b="b"/>
              <a:pathLst>
                <a:path w="3047" h="2031">
                  <a:moveTo>
                    <a:pt x="3047" y="2031"/>
                  </a:moveTo>
                  <a:lnTo>
                    <a:pt x="3047" y="1270"/>
                  </a:lnTo>
                  <a:cubicBezTo>
                    <a:pt x="1930" y="1141"/>
                    <a:pt x="876" y="701"/>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584BF35A-6F78-4CB0-BEAE-9C23B80FDA6A}"/>
                </a:ext>
              </a:extLst>
            </p:cNvPr>
            <p:cNvSpPr/>
            <p:nvPr/>
          </p:nvSpPr>
          <p:spPr>
            <a:xfrm>
              <a:off x="4781828" y="602792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4DF9FEB4-2465-4668-86E3-EBE92A6D9761}"/>
                </a:ext>
              </a:extLst>
            </p:cNvPr>
            <p:cNvSpPr/>
            <p:nvPr/>
          </p:nvSpPr>
          <p:spPr>
            <a:xfrm>
              <a:off x="5823973" y="6440512"/>
              <a:ext cx="69070" cy="57"/>
            </a:xfrm>
            <a:custGeom>
              <a:avLst/>
              <a:gdLst>
                <a:gd name="connsiteX0" fmla="*/ 1650 w 69070"/>
                <a:gd name="connsiteY0" fmla="*/ 57 h 57"/>
                <a:gd name="connsiteX1" fmla="*/ 67292 w 69070"/>
                <a:gd name="connsiteY1" fmla="*/ 57 h 57"/>
                <a:gd name="connsiteX2" fmla="*/ 69070 w 69070"/>
                <a:gd name="connsiteY2" fmla="*/ 57 h 57"/>
                <a:gd name="connsiteX3" fmla="*/ 0 w 69070"/>
                <a:gd name="connsiteY3" fmla="*/ 57 h 57"/>
                <a:gd name="connsiteX4" fmla="*/ 1650 w 69070"/>
                <a:gd name="connsiteY4" fmla="*/ 57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70" h="57">
                  <a:moveTo>
                    <a:pt x="1650" y="57"/>
                  </a:moveTo>
                  <a:lnTo>
                    <a:pt x="67292" y="57"/>
                  </a:lnTo>
                  <a:lnTo>
                    <a:pt x="69070" y="57"/>
                  </a:lnTo>
                  <a:lnTo>
                    <a:pt x="0" y="57"/>
                  </a:lnTo>
                  <a:cubicBezTo>
                    <a:pt x="546" y="-19"/>
                    <a:pt x="1104" y="-19"/>
                    <a:pt x="1650" y="57"/>
                  </a:cubicBezTo>
                  <a:close/>
                </a:path>
              </a:pathLst>
            </a:custGeom>
            <a:solidFill>
              <a:srgbClr val="000000"/>
            </a:solidFill>
            <a:ln w="12690"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1EEF28F6-7BD8-4545-9ECD-16F71C503274}"/>
                </a:ext>
              </a:extLst>
            </p:cNvPr>
            <p:cNvSpPr/>
            <p:nvPr/>
          </p:nvSpPr>
          <p:spPr>
            <a:xfrm>
              <a:off x="4505167" y="6250245"/>
              <a:ext cx="38" cy="1142"/>
            </a:xfrm>
            <a:custGeom>
              <a:avLst/>
              <a:gdLst>
                <a:gd name="connsiteX0" fmla="*/ 0 w 38"/>
                <a:gd name="connsiteY0" fmla="*/ 1143 h 1142"/>
                <a:gd name="connsiteX1" fmla="*/ 0 w 38"/>
                <a:gd name="connsiteY1" fmla="*/ 0 h 1142"/>
                <a:gd name="connsiteX2" fmla="*/ 0 w 38"/>
                <a:gd name="connsiteY2" fmla="*/ 1143 h 1142"/>
              </a:gdLst>
              <a:ahLst/>
              <a:cxnLst>
                <a:cxn ang="0">
                  <a:pos x="connsiteX0" y="connsiteY0"/>
                </a:cxn>
                <a:cxn ang="0">
                  <a:pos x="connsiteX1" y="connsiteY1"/>
                </a:cxn>
                <a:cxn ang="0">
                  <a:pos x="connsiteX2" y="connsiteY2"/>
                </a:cxn>
              </a:cxnLst>
              <a:rect l="l" t="t" r="r" b="b"/>
              <a:pathLst>
                <a:path w="38" h="1142">
                  <a:moveTo>
                    <a:pt x="0" y="1143"/>
                  </a:moveTo>
                  <a:cubicBezTo>
                    <a:pt x="51" y="762"/>
                    <a:pt x="51" y="381"/>
                    <a:pt x="0" y="0"/>
                  </a:cubicBezTo>
                  <a:cubicBezTo>
                    <a:pt x="51" y="381"/>
                    <a:pt x="51" y="762"/>
                    <a:pt x="0" y="1143"/>
                  </a:cubicBezTo>
                  <a:close/>
                </a:path>
              </a:pathLst>
            </a:custGeom>
            <a:solidFill>
              <a:srgbClr val="000000"/>
            </a:solidFill>
            <a:ln w="12690"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7CEA7F16-30BA-4512-A046-FCB8B0F5EE97}"/>
                </a:ext>
              </a:extLst>
            </p:cNvPr>
            <p:cNvSpPr/>
            <p:nvPr/>
          </p:nvSpPr>
          <p:spPr>
            <a:xfrm>
              <a:off x="4507960" y="6254689"/>
              <a:ext cx="1269" cy="12696"/>
            </a:xfrm>
            <a:custGeom>
              <a:avLst/>
              <a:gdLst>
                <a:gd name="connsiteX0" fmla="*/ 1270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70" y="0"/>
                  </a:moveTo>
                  <a:lnTo>
                    <a:pt x="0" y="0"/>
                  </a:lnTo>
                  <a:close/>
                </a:path>
              </a:pathLst>
            </a:custGeom>
            <a:solidFill>
              <a:srgbClr val="000000"/>
            </a:solidFill>
            <a:ln w="12690"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B6EB0895-4B2A-4F5D-8A53-DFAC6DC9D0F0}"/>
                </a:ext>
              </a:extLst>
            </p:cNvPr>
            <p:cNvSpPr/>
            <p:nvPr/>
          </p:nvSpPr>
          <p:spPr>
            <a:xfrm>
              <a:off x="4506310" y="6252530"/>
              <a:ext cx="1015" cy="888"/>
            </a:xfrm>
            <a:custGeom>
              <a:avLst/>
              <a:gdLst>
                <a:gd name="connsiteX0" fmla="*/ 1016 w 1015"/>
                <a:gd name="connsiteY0" fmla="*/ 889 h 888"/>
                <a:gd name="connsiteX1" fmla="*/ 0 w 1015"/>
                <a:gd name="connsiteY1" fmla="*/ 0 h 888"/>
              </a:gdLst>
              <a:ahLst/>
              <a:cxnLst>
                <a:cxn ang="0">
                  <a:pos x="connsiteX0" y="connsiteY0"/>
                </a:cxn>
                <a:cxn ang="0">
                  <a:pos x="connsiteX1" y="connsiteY1"/>
                </a:cxn>
              </a:cxnLst>
              <a:rect l="l" t="t" r="r" b="b"/>
              <a:pathLst>
                <a:path w="1015" h="888">
                  <a:moveTo>
                    <a:pt x="1016" y="889"/>
                  </a:moveTo>
                  <a:lnTo>
                    <a:pt x="0" y="0"/>
                  </a:lnTo>
                  <a:close/>
                </a:path>
              </a:pathLst>
            </a:custGeom>
            <a:solidFill>
              <a:srgbClr val="000000"/>
            </a:solidFill>
            <a:ln w="12690"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3CAF5960-4947-41E1-A895-2BB9887EBEA7}"/>
                </a:ext>
              </a:extLst>
            </p:cNvPr>
            <p:cNvSpPr/>
            <p:nvPr/>
          </p:nvSpPr>
          <p:spPr>
            <a:xfrm>
              <a:off x="4504231" y="6133562"/>
              <a:ext cx="13759" cy="114270"/>
            </a:xfrm>
            <a:custGeom>
              <a:avLst/>
              <a:gdLst>
                <a:gd name="connsiteX0" fmla="*/ 48 w 13759"/>
                <a:gd name="connsiteY0" fmla="*/ 0 h 114270"/>
                <a:gd name="connsiteX1" fmla="*/ 48 w 13759"/>
                <a:gd name="connsiteY1" fmla="*/ 114271 h 114270"/>
                <a:gd name="connsiteX2" fmla="*/ 48 w 13759"/>
                <a:gd name="connsiteY2" fmla="*/ 114271 h 114270"/>
                <a:gd name="connsiteX3" fmla="*/ 48 w 13759"/>
                <a:gd name="connsiteY3" fmla="*/ 112239 h 114270"/>
                <a:gd name="connsiteX4" fmla="*/ 8173 w 13759"/>
                <a:gd name="connsiteY4" fmla="*/ 106780 h 114270"/>
                <a:gd name="connsiteX5" fmla="*/ 13760 w 13759"/>
                <a:gd name="connsiteY5" fmla="*/ 107795 h 114270"/>
                <a:gd name="connsiteX6" fmla="*/ 13760 w 13759"/>
                <a:gd name="connsiteY6" fmla="*/ 6221 h 114270"/>
                <a:gd name="connsiteX7" fmla="*/ 6904 w 13759"/>
                <a:gd name="connsiteY7" fmla="*/ 6221 h 114270"/>
                <a:gd name="connsiteX8" fmla="*/ 48 w 13759"/>
                <a:gd name="connsiteY8" fmla="*/ 0 h 1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9" h="114270">
                  <a:moveTo>
                    <a:pt x="48" y="0"/>
                  </a:moveTo>
                  <a:lnTo>
                    <a:pt x="48" y="114271"/>
                  </a:lnTo>
                  <a:cubicBezTo>
                    <a:pt x="48" y="114271"/>
                    <a:pt x="48" y="114271"/>
                    <a:pt x="48" y="114271"/>
                  </a:cubicBezTo>
                  <a:cubicBezTo>
                    <a:pt x="-16" y="113598"/>
                    <a:pt x="-16" y="112912"/>
                    <a:pt x="48" y="112239"/>
                  </a:cubicBezTo>
                  <a:cubicBezTo>
                    <a:pt x="809" y="108506"/>
                    <a:pt x="4428" y="106081"/>
                    <a:pt x="8173" y="106780"/>
                  </a:cubicBezTo>
                  <a:lnTo>
                    <a:pt x="13760" y="107795"/>
                  </a:lnTo>
                  <a:lnTo>
                    <a:pt x="13760" y="6221"/>
                  </a:lnTo>
                  <a:lnTo>
                    <a:pt x="6904" y="6221"/>
                  </a:lnTo>
                  <a:cubicBezTo>
                    <a:pt x="3374" y="6183"/>
                    <a:pt x="429" y="3504"/>
                    <a:pt x="48" y="0"/>
                  </a:cubicBezTo>
                  <a:close/>
                </a:path>
              </a:pathLst>
            </a:custGeom>
            <a:solidFill>
              <a:srgbClr val="000000"/>
            </a:solidFill>
            <a:ln w="12690"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667801CE-5D96-47D0-95F5-4AD91EC85509}"/>
                </a:ext>
              </a:extLst>
            </p:cNvPr>
            <p:cNvSpPr/>
            <p:nvPr/>
          </p:nvSpPr>
          <p:spPr>
            <a:xfrm>
              <a:off x="4523704" y="6246944"/>
              <a:ext cx="245553" cy="2412"/>
            </a:xfrm>
            <a:custGeom>
              <a:avLst/>
              <a:gdLst>
                <a:gd name="connsiteX0" fmla="*/ 381 w 245553"/>
                <a:gd name="connsiteY0" fmla="*/ 1651 h 2412"/>
                <a:gd name="connsiteX1" fmla="*/ 381 w 245553"/>
                <a:gd name="connsiteY1" fmla="*/ 2412 h 2412"/>
                <a:gd name="connsiteX2" fmla="*/ 245554 w 245553"/>
                <a:gd name="connsiteY2" fmla="*/ 2412 h 2412"/>
                <a:gd name="connsiteX3" fmla="*/ 245554 w 245553"/>
                <a:gd name="connsiteY3" fmla="*/ 1270 h 2412"/>
                <a:gd name="connsiteX4" fmla="*/ 245554 w 245553"/>
                <a:gd name="connsiteY4" fmla="*/ 0 h 2412"/>
                <a:gd name="connsiteX5" fmla="*/ 0 w 245553"/>
                <a:gd name="connsiteY5" fmla="*/ 0 h 2412"/>
                <a:gd name="connsiteX6" fmla="*/ 0 w 245553"/>
                <a:gd name="connsiteY6" fmla="*/ 0 h 2412"/>
                <a:gd name="connsiteX7" fmla="*/ 381 w 245553"/>
                <a:gd name="connsiteY7" fmla="*/ 1651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553" h="2412">
                  <a:moveTo>
                    <a:pt x="381" y="1651"/>
                  </a:moveTo>
                  <a:cubicBezTo>
                    <a:pt x="381" y="1651"/>
                    <a:pt x="381" y="1651"/>
                    <a:pt x="381" y="2412"/>
                  </a:cubicBezTo>
                  <a:lnTo>
                    <a:pt x="245554" y="2412"/>
                  </a:lnTo>
                  <a:lnTo>
                    <a:pt x="245554" y="1270"/>
                  </a:lnTo>
                  <a:cubicBezTo>
                    <a:pt x="245554" y="1270"/>
                    <a:pt x="245554" y="381"/>
                    <a:pt x="245554" y="0"/>
                  </a:cubicBezTo>
                  <a:lnTo>
                    <a:pt x="0" y="0"/>
                  </a:lnTo>
                  <a:lnTo>
                    <a:pt x="0" y="0"/>
                  </a:lnTo>
                  <a:cubicBezTo>
                    <a:pt x="216" y="533"/>
                    <a:pt x="343" y="1079"/>
                    <a:pt x="381" y="1651"/>
                  </a:cubicBezTo>
                  <a:close/>
                </a:path>
              </a:pathLst>
            </a:custGeom>
            <a:solidFill>
              <a:srgbClr val="000000"/>
            </a:solidFill>
            <a:ln w="12690"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72D70AD7-6DF7-4336-BC4D-DFAA580D85F6}"/>
                </a:ext>
              </a:extLst>
            </p:cNvPr>
            <p:cNvSpPr/>
            <p:nvPr/>
          </p:nvSpPr>
          <p:spPr>
            <a:xfrm>
              <a:off x="4522562" y="6244912"/>
              <a:ext cx="761" cy="1142"/>
            </a:xfrm>
            <a:custGeom>
              <a:avLst/>
              <a:gdLst>
                <a:gd name="connsiteX0" fmla="*/ 0 w 761"/>
                <a:gd name="connsiteY0" fmla="*/ 0 h 1142"/>
                <a:gd name="connsiteX1" fmla="*/ 762 w 761"/>
                <a:gd name="connsiteY1" fmla="*/ 1143 h 1142"/>
              </a:gdLst>
              <a:ahLst/>
              <a:cxnLst>
                <a:cxn ang="0">
                  <a:pos x="connsiteX0" y="connsiteY0"/>
                </a:cxn>
                <a:cxn ang="0">
                  <a:pos x="connsiteX1" y="connsiteY1"/>
                </a:cxn>
              </a:cxnLst>
              <a:rect l="l" t="t" r="r" b="b"/>
              <a:pathLst>
                <a:path w="761" h="1142">
                  <a:moveTo>
                    <a:pt x="0" y="0"/>
                  </a:moveTo>
                  <a:lnTo>
                    <a:pt x="762" y="1143"/>
                  </a:lnTo>
                  <a:close/>
                </a:path>
              </a:pathLst>
            </a:custGeom>
            <a:solidFill>
              <a:srgbClr val="000000"/>
            </a:solidFill>
            <a:ln w="12690"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344FEB27-DF63-4349-9D81-0B40FAFFE35C}"/>
                </a:ext>
              </a:extLst>
            </p:cNvPr>
            <p:cNvSpPr/>
            <p:nvPr/>
          </p:nvSpPr>
          <p:spPr>
            <a:xfrm>
              <a:off x="4520022" y="6243261"/>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AB902DB5-5449-4754-AFCA-29ED6FAA288E}"/>
                </a:ext>
              </a:extLst>
            </p:cNvPr>
            <p:cNvSpPr/>
            <p:nvPr/>
          </p:nvSpPr>
          <p:spPr>
            <a:xfrm>
              <a:off x="4504358" y="6240076"/>
              <a:ext cx="13632" cy="13724"/>
            </a:xfrm>
            <a:custGeom>
              <a:avLst/>
              <a:gdLst>
                <a:gd name="connsiteX0" fmla="*/ 47 w 13632"/>
                <a:gd name="connsiteY0" fmla="*/ 6360 h 13724"/>
                <a:gd name="connsiteX1" fmla="*/ 47 w 13632"/>
                <a:gd name="connsiteY1" fmla="*/ 8392 h 13724"/>
                <a:gd name="connsiteX2" fmla="*/ 47 w 13632"/>
                <a:gd name="connsiteY2" fmla="*/ 9788 h 13724"/>
                <a:gd name="connsiteX3" fmla="*/ 47 w 13632"/>
                <a:gd name="connsiteY3" fmla="*/ 10931 h 13724"/>
                <a:gd name="connsiteX4" fmla="*/ 809 w 13632"/>
                <a:gd name="connsiteY4" fmla="*/ 12074 h 13724"/>
                <a:gd name="connsiteX5" fmla="*/ 1825 w 13632"/>
                <a:gd name="connsiteY5" fmla="*/ 12962 h 13724"/>
                <a:gd name="connsiteX6" fmla="*/ 2841 w 13632"/>
                <a:gd name="connsiteY6" fmla="*/ 13724 h 13724"/>
                <a:gd name="connsiteX7" fmla="*/ 4110 w 13632"/>
                <a:gd name="connsiteY7" fmla="*/ 13724 h 13724"/>
                <a:gd name="connsiteX8" fmla="*/ 4745 w 13632"/>
                <a:gd name="connsiteY8" fmla="*/ 13724 h 13724"/>
                <a:gd name="connsiteX9" fmla="*/ 4745 w 13632"/>
                <a:gd name="connsiteY9" fmla="*/ 13724 h 13724"/>
                <a:gd name="connsiteX10" fmla="*/ 4745 w 13632"/>
                <a:gd name="connsiteY10" fmla="*/ 8011 h 13724"/>
                <a:gd name="connsiteX11" fmla="*/ 11728 w 13632"/>
                <a:gd name="connsiteY11" fmla="*/ 1027 h 13724"/>
                <a:gd name="connsiteX12" fmla="*/ 13633 w 13632"/>
                <a:gd name="connsiteY12" fmla="*/ 1027 h 13724"/>
                <a:gd name="connsiteX13" fmla="*/ 12998 w 13632"/>
                <a:gd name="connsiteY13" fmla="*/ 1027 h 13724"/>
                <a:gd name="connsiteX14" fmla="*/ 12998 w 13632"/>
                <a:gd name="connsiteY14" fmla="*/ 1027 h 13724"/>
                <a:gd name="connsiteX15" fmla="*/ 7412 w 13632"/>
                <a:gd name="connsiteY15" fmla="*/ 12 h 13724"/>
                <a:gd name="connsiteX16" fmla="*/ 47 w 13632"/>
                <a:gd name="connsiteY16" fmla="*/ 6360 h 1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32" h="13724">
                  <a:moveTo>
                    <a:pt x="47" y="6360"/>
                  </a:moveTo>
                  <a:cubicBezTo>
                    <a:pt x="-16" y="7033"/>
                    <a:pt x="-16" y="7719"/>
                    <a:pt x="47" y="8392"/>
                  </a:cubicBezTo>
                  <a:cubicBezTo>
                    <a:pt x="47" y="8392"/>
                    <a:pt x="47" y="9280"/>
                    <a:pt x="47" y="9788"/>
                  </a:cubicBezTo>
                  <a:cubicBezTo>
                    <a:pt x="98" y="10169"/>
                    <a:pt x="98" y="10550"/>
                    <a:pt x="47" y="10931"/>
                  </a:cubicBezTo>
                  <a:lnTo>
                    <a:pt x="809" y="12074"/>
                  </a:lnTo>
                  <a:lnTo>
                    <a:pt x="1825" y="12962"/>
                  </a:lnTo>
                  <a:lnTo>
                    <a:pt x="2841" y="13724"/>
                  </a:lnTo>
                  <a:lnTo>
                    <a:pt x="4110" y="13724"/>
                  </a:lnTo>
                  <a:lnTo>
                    <a:pt x="4745" y="13724"/>
                  </a:lnTo>
                  <a:lnTo>
                    <a:pt x="4745" y="13724"/>
                  </a:lnTo>
                  <a:lnTo>
                    <a:pt x="4745" y="8011"/>
                  </a:lnTo>
                  <a:cubicBezTo>
                    <a:pt x="4745" y="4151"/>
                    <a:pt x="7868" y="1027"/>
                    <a:pt x="11728" y="1027"/>
                  </a:cubicBezTo>
                  <a:lnTo>
                    <a:pt x="13633" y="1027"/>
                  </a:lnTo>
                  <a:lnTo>
                    <a:pt x="12998" y="1027"/>
                  </a:lnTo>
                  <a:lnTo>
                    <a:pt x="12998" y="1027"/>
                  </a:lnTo>
                  <a:lnTo>
                    <a:pt x="7412" y="12"/>
                  </a:lnTo>
                  <a:cubicBezTo>
                    <a:pt x="3641" y="-204"/>
                    <a:pt x="390" y="2602"/>
                    <a:pt x="47" y="6360"/>
                  </a:cubicBezTo>
                  <a:close/>
                </a:path>
              </a:pathLst>
            </a:custGeom>
            <a:solidFill>
              <a:srgbClr val="000000"/>
            </a:solidFill>
            <a:ln w="12690"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AE7BD140-1DD8-4917-A76B-BD550FB93683}"/>
                </a:ext>
              </a:extLst>
            </p:cNvPr>
            <p:cNvSpPr/>
            <p:nvPr/>
          </p:nvSpPr>
          <p:spPr>
            <a:xfrm>
              <a:off x="4523831" y="6247197"/>
              <a:ext cx="47" cy="1396"/>
            </a:xfrm>
            <a:custGeom>
              <a:avLst/>
              <a:gdLst>
                <a:gd name="connsiteX0" fmla="*/ 0 w 47"/>
                <a:gd name="connsiteY0" fmla="*/ 0 h 1396"/>
                <a:gd name="connsiteX1" fmla="*/ 0 w 47"/>
                <a:gd name="connsiteY1" fmla="*/ 1397 h 1396"/>
                <a:gd name="connsiteX2" fmla="*/ 0 w 47"/>
                <a:gd name="connsiteY2" fmla="*/ 0 h 1396"/>
              </a:gdLst>
              <a:ahLst/>
              <a:cxnLst>
                <a:cxn ang="0">
                  <a:pos x="connsiteX0" y="connsiteY0"/>
                </a:cxn>
                <a:cxn ang="0">
                  <a:pos x="connsiteX1" y="connsiteY1"/>
                </a:cxn>
                <a:cxn ang="0">
                  <a:pos x="connsiteX2" y="connsiteY2"/>
                </a:cxn>
              </a:cxnLst>
              <a:rect l="l" t="t" r="r" b="b"/>
              <a:pathLst>
                <a:path w="47" h="1396">
                  <a:moveTo>
                    <a:pt x="0" y="0"/>
                  </a:moveTo>
                  <a:cubicBezTo>
                    <a:pt x="64" y="470"/>
                    <a:pt x="64" y="927"/>
                    <a:pt x="0" y="1397"/>
                  </a:cubicBezTo>
                  <a:cubicBezTo>
                    <a:pt x="64" y="927"/>
                    <a:pt x="64" y="470"/>
                    <a:pt x="0" y="0"/>
                  </a:cubicBezTo>
                  <a:close/>
                </a:path>
              </a:pathLst>
            </a:custGeom>
            <a:solidFill>
              <a:srgbClr val="000000"/>
            </a:solidFill>
            <a:ln w="12690"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C8607710-1C2B-4CC4-A53D-AE651F7D698A}"/>
                </a:ext>
              </a:extLst>
            </p:cNvPr>
            <p:cNvSpPr/>
            <p:nvPr/>
          </p:nvSpPr>
          <p:spPr>
            <a:xfrm>
              <a:off x="5226466" y="6129372"/>
              <a:ext cx="1650" cy="2793"/>
            </a:xfrm>
            <a:custGeom>
              <a:avLst/>
              <a:gdLst>
                <a:gd name="connsiteX0" fmla="*/ 1650 w 1650"/>
                <a:gd name="connsiteY0" fmla="*/ 2793 h 2793"/>
                <a:gd name="connsiteX1" fmla="*/ 1650 w 1650"/>
                <a:gd name="connsiteY1" fmla="*/ 2793 h 2793"/>
                <a:gd name="connsiteX2" fmla="*/ 635 w 1650"/>
                <a:gd name="connsiteY2" fmla="*/ 762 h 2793"/>
                <a:gd name="connsiteX3" fmla="*/ 0 w 1650"/>
                <a:gd name="connsiteY3" fmla="*/ 0 h 2793"/>
                <a:gd name="connsiteX4" fmla="*/ 1016 w 1650"/>
                <a:gd name="connsiteY4" fmla="*/ 1905 h 2793"/>
                <a:gd name="connsiteX5" fmla="*/ 1650 w 1650"/>
                <a:gd name="connsiteY5" fmla="*/ 2793 h 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 h="2793">
                  <a:moveTo>
                    <a:pt x="1650" y="2793"/>
                  </a:moveTo>
                  <a:lnTo>
                    <a:pt x="1650" y="2793"/>
                  </a:lnTo>
                  <a:lnTo>
                    <a:pt x="635" y="762"/>
                  </a:lnTo>
                  <a:lnTo>
                    <a:pt x="0" y="0"/>
                  </a:lnTo>
                  <a:cubicBezTo>
                    <a:pt x="419" y="597"/>
                    <a:pt x="749" y="1232"/>
                    <a:pt x="1016" y="1905"/>
                  </a:cubicBezTo>
                  <a:cubicBezTo>
                    <a:pt x="1269" y="2158"/>
                    <a:pt x="1485" y="2463"/>
                    <a:pt x="1650" y="2793"/>
                  </a:cubicBezTo>
                  <a:close/>
                </a:path>
              </a:pathLst>
            </a:custGeom>
            <a:solidFill>
              <a:srgbClr val="000000"/>
            </a:solidFill>
            <a:ln w="12690"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C28ED44C-8B06-4CC7-9243-FCC09C70093E}"/>
                </a:ext>
              </a:extLst>
            </p:cNvPr>
            <p:cNvSpPr/>
            <p:nvPr/>
          </p:nvSpPr>
          <p:spPr>
            <a:xfrm>
              <a:off x="5221895" y="6126832"/>
              <a:ext cx="1396" cy="12696"/>
            </a:xfrm>
            <a:custGeom>
              <a:avLst/>
              <a:gdLst>
                <a:gd name="connsiteX0" fmla="*/ 0 w 1396"/>
                <a:gd name="connsiteY0" fmla="*/ 0 h 12696"/>
                <a:gd name="connsiteX1" fmla="*/ 1397 w 1396"/>
                <a:gd name="connsiteY1" fmla="*/ 0 h 12696"/>
              </a:gdLst>
              <a:ahLst/>
              <a:cxnLst>
                <a:cxn ang="0">
                  <a:pos x="connsiteX0" y="connsiteY0"/>
                </a:cxn>
                <a:cxn ang="0">
                  <a:pos x="connsiteX1" y="connsiteY1"/>
                </a:cxn>
              </a:cxnLst>
              <a:rect l="l" t="t" r="r" b="b"/>
              <a:pathLst>
                <a:path w="1396" h="12696">
                  <a:moveTo>
                    <a:pt x="0" y="0"/>
                  </a:moveTo>
                  <a:lnTo>
                    <a:pt x="1397" y="0"/>
                  </a:lnTo>
                  <a:close/>
                </a:path>
              </a:pathLst>
            </a:custGeom>
            <a:solidFill>
              <a:srgbClr val="000000"/>
            </a:solidFill>
            <a:ln w="12690"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F8B6E57A-4330-4616-8FEA-73A31AA5E1D8}"/>
                </a:ext>
              </a:extLst>
            </p:cNvPr>
            <p:cNvSpPr/>
            <p:nvPr/>
          </p:nvSpPr>
          <p:spPr>
            <a:xfrm>
              <a:off x="5224435" y="6127721"/>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FF282A08-FBEF-472C-B228-C3F75757CC63}"/>
                </a:ext>
              </a:extLst>
            </p:cNvPr>
            <p:cNvSpPr/>
            <p:nvPr/>
          </p:nvSpPr>
          <p:spPr>
            <a:xfrm>
              <a:off x="5228497" y="6133942"/>
              <a:ext cx="57" cy="1396"/>
            </a:xfrm>
            <a:custGeom>
              <a:avLst/>
              <a:gdLst>
                <a:gd name="connsiteX0" fmla="*/ 0 w 57"/>
                <a:gd name="connsiteY0" fmla="*/ 0 h 1396"/>
                <a:gd name="connsiteX1" fmla="*/ 0 w 57"/>
                <a:gd name="connsiteY1" fmla="*/ 1397 h 1396"/>
                <a:gd name="connsiteX2" fmla="*/ 0 w 57"/>
                <a:gd name="connsiteY2" fmla="*/ 0 h 1396"/>
              </a:gdLst>
              <a:ahLst/>
              <a:cxnLst>
                <a:cxn ang="0">
                  <a:pos x="connsiteX0" y="connsiteY0"/>
                </a:cxn>
                <a:cxn ang="0">
                  <a:pos x="connsiteX1" y="connsiteY1"/>
                </a:cxn>
                <a:cxn ang="0">
                  <a:pos x="connsiteX2" y="connsiteY2"/>
                </a:cxn>
              </a:cxnLst>
              <a:rect l="l" t="t" r="r" b="b"/>
              <a:pathLst>
                <a:path w="57" h="1396">
                  <a:moveTo>
                    <a:pt x="0" y="0"/>
                  </a:moveTo>
                  <a:cubicBezTo>
                    <a:pt x="76" y="457"/>
                    <a:pt x="76" y="940"/>
                    <a:pt x="0" y="1397"/>
                  </a:cubicBezTo>
                  <a:cubicBezTo>
                    <a:pt x="76" y="940"/>
                    <a:pt x="76" y="457"/>
                    <a:pt x="0" y="0"/>
                  </a:cubicBezTo>
                  <a:close/>
                </a:path>
              </a:pathLst>
            </a:custGeom>
            <a:solidFill>
              <a:srgbClr val="000000"/>
            </a:solidFill>
            <a:ln w="12690"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E9F63FAA-36C5-4DCD-900B-897A052C0228}"/>
                </a:ext>
              </a:extLst>
            </p:cNvPr>
            <p:cNvSpPr/>
            <p:nvPr/>
          </p:nvSpPr>
          <p:spPr>
            <a:xfrm>
              <a:off x="4784367" y="5002154"/>
              <a:ext cx="1015" cy="761"/>
            </a:xfrm>
            <a:custGeom>
              <a:avLst/>
              <a:gdLst>
                <a:gd name="connsiteX0" fmla="*/ 0 w 1015"/>
                <a:gd name="connsiteY0" fmla="*/ 0 h 761"/>
                <a:gd name="connsiteX1" fmla="*/ 1016 w 1015"/>
                <a:gd name="connsiteY1" fmla="*/ 762 h 761"/>
                <a:gd name="connsiteX2" fmla="*/ 0 w 1015"/>
                <a:gd name="connsiteY2" fmla="*/ 0 h 761"/>
              </a:gdLst>
              <a:ahLst/>
              <a:cxnLst>
                <a:cxn ang="0">
                  <a:pos x="connsiteX0" y="connsiteY0"/>
                </a:cxn>
                <a:cxn ang="0">
                  <a:pos x="connsiteX1" y="connsiteY1"/>
                </a:cxn>
                <a:cxn ang="0">
                  <a:pos x="connsiteX2" y="connsiteY2"/>
                </a:cxn>
              </a:cxnLst>
              <a:rect l="l" t="t" r="r" b="b"/>
              <a:pathLst>
                <a:path w="1015" h="761">
                  <a:moveTo>
                    <a:pt x="0" y="0"/>
                  </a:moveTo>
                  <a:cubicBezTo>
                    <a:pt x="394" y="180"/>
                    <a:pt x="736" y="439"/>
                    <a:pt x="1016" y="762"/>
                  </a:cubicBezTo>
                  <a:cubicBezTo>
                    <a:pt x="736" y="439"/>
                    <a:pt x="394" y="180"/>
                    <a:pt x="0" y="0"/>
                  </a:cubicBezTo>
                  <a:close/>
                </a:path>
              </a:pathLst>
            </a:custGeom>
            <a:solidFill>
              <a:srgbClr val="000000"/>
            </a:solidFill>
            <a:ln w="12690"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3C83D2C3-F6BC-484F-913F-E9F48033C815}"/>
                </a:ext>
              </a:extLst>
            </p:cNvPr>
            <p:cNvSpPr/>
            <p:nvPr/>
          </p:nvSpPr>
          <p:spPr>
            <a:xfrm>
              <a:off x="4780558" y="5000857"/>
              <a:ext cx="2666" cy="154"/>
            </a:xfrm>
            <a:custGeom>
              <a:avLst/>
              <a:gdLst>
                <a:gd name="connsiteX0" fmla="*/ 0 w 2666"/>
                <a:gd name="connsiteY0" fmla="*/ 154 h 154"/>
                <a:gd name="connsiteX1" fmla="*/ 2667 w 2666"/>
                <a:gd name="connsiteY1" fmla="*/ 154 h 154"/>
                <a:gd name="connsiteX2" fmla="*/ 0 w 2666"/>
                <a:gd name="connsiteY2" fmla="*/ 154 h 154"/>
              </a:gdLst>
              <a:ahLst/>
              <a:cxnLst>
                <a:cxn ang="0">
                  <a:pos x="connsiteX0" y="connsiteY0"/>
                </a:cxn>
                <a:cxn ang="0">
                  <a:pos x="connsiteX1" y="connsiteY1"/>
                </a:cxn>
                <a:cxn ang="0">
                  <a:pos x="connsiteX2" y="connsiteY2"/>
                </a:cxn>
              </a:cxnLst>
              <a:rect l="l" t="t" r="r" b="b"/>
              <a:pathLst>
                <a:path w="2666" h="154">
                  <a:moveTo>
                    <a:pt x="0" y="154"/>
                  </a:moveTo>
                  <a:cubicBezTo>
                    <a:pt x="876" y="-51"/>
                    <a:pt x="1791" y="-51"/>
                    <a:pt x="2667" y="154"/>
                  </a:cubicBezTo>
                  <a:cubicBezTo>
                    <a:pt x="1791" y="-27"/>
                    <a:pt x="876" y="-27"/>
                    <a:pt x="0" y="154"/>
                  </a:cubicBezTo>
                  <a:close/>
                </a:path>
              </a:pathLst>
            </a:custGeom>
            <a:solidFill>
              <a:srgbClr val="000000"/>
            </a:solidFill>
            <a:ln w="12690"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AF632C60-04D3-48C2-B894-470BD503EEA8}"/>
                </a:ext>
              </a:extLst>
            </p:cNvPr>
            <p:cNvSpPr/>
            <p:nvPr/>
          </p:nvSpPr>
          <p:spPr>
            <a:xfrm>
              <a:off x="4793636" y="5021326"/>
              <a:ext cx="57" cy="1269"/>
            </a:xfrm>
            <a:custGeom>
              <a:avLst/>
              <a:gdLst>
                <a:gd name="connsiteX0" fmla="*/ 0 w 57"/>
                <a:gd name="connsiteY0" fmla="*/ 0 h 1269"/>
                <a:gd name="connsiteX1" fmla="*/ 0 w 57"/>
                <a:gd name="connsiteY1" fmla="*/ 0 h 1269"/>
                <a:gd name="connsiteX2" fmla="*/ 0 w 57"/>
                <a:gd name="connsiteY2" fmla="*/ 1270 h 1269"/>
                <a:gd name="connsiteX3" fmla="*/ 0 w 57"/>
                <a:gd name="connsiteY3" fmla="*/ 0 h 1269"/>
              </a:gdLst>
              <a:ahLst/>
              <a:cxnLst>
                <a:cxn ang="0">
                  <a:pos x="connsiteX0" y="connsiteY0"/>
                </a:cxn>
                <a:cxn ang="0">
                  <a:pos x="connsiteX1" y="connsiteY1"/>
                </a:cxn>
                <a:cxn ang="0">
                  <a:pos x="connsiteX2" y="connsiteY2"/>
                </a:cxn>
                <a:cxn ang="0">
                  <a:pos x="connsiteX3" y="connsiteY3"/>
                </a:cxn>
              </a:cxnLst>
              <a:rect l="l" t="t" r="r" b="b"/>
              <a:pathLst>
                <a:path w="57" h="1269">
                  <a:moveTo>
                    <a:pt x="0" y="0"/>
                  </a:moveTo>
                  <a:lnTo>
                    <a:pt x="0" y="0"/>
                  </a:lnTo>
                  <a:cubicBezTo>
                    <a:pt x="64" y="422"/>
                    <a:pt x="64" y="848"/>
                    <a:pt x="0" y="1270"/>
                  </a:cubicBezTo>
                  <a:cubicBezTo>
                    <a:pt x="76" y="849"/>
                    <a:pt x="76" y="420"/>
                    <a:pt x="0" y="0"/>
                  </a:cubicBezTo>
                  <a:close/>
                </a:path>
              </a:pathLst>
            </a:custGeom>
            <a:solidFill>
              <a:srgbClr val="000000"/>
            </a:solidFill>
            <a:ln w="12690"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51D45DA5-70DC-46E4-8FA2-05B7F18B05BD}"/>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F1B11B29-06D9-4725-BB26-26ECCD5D93E9}"/>
                </a:ext>
              </a:extLst>
            </p:cNvPr>
            <p:cNvSpPr/>
            <p:nvPr/>
          </p:nvSpPr>
          <p:spPr>
            <a:xfrm>
              <a:off x="4781574" y="5005201"/>
              <a:ext cx="11426" cy="15997"/>
            </a:xfrm>
            <a:custGeom>
              <a:avLst/>
              <a:gdLst>
                <a:gd name="connsiteX0" fmla="*/ 5079 w 11426"/>
                <a:gd name="connsiteY0" fmla="*/ 11808 h 15997"/>
                <a:gd name="connsiteX1" fmla="*/ 11427 w 11426"/>
                <a:gd name="connsiteY1" fmla="*/ 15998 h 15997"/>
                <a:gd name="connsiteX2" fmla="*/ 5079 w 11426"/>
                <a:gd name="connsiteY2" fmla="*/ 0 h 15997"/>
                <a:gd name="connsiteX3" fmla="*/ 5079 w 11426"/>
                <a:gd name="connsiteY3" fmla="*/ 0 h 15997"/>
                <a:gd name="connsiteX4" fmla="*/ 1244 w 11426"/>
                <a:gd name="connsiteY4" fmla="*/ 8906 h 15997"/>
                <a:gd name="connsiteX5" fmla="*/ 0 w 11426"/>
                <a:gd name="connsiteY5" fmla="*/ 9269 h 15997"/>
                <a:gd name="connsiteX6" fmla="*/ 0 w 11426"/>
                <a:gd name="connsiteY6" fmla="*/ 14728 h 15997"/>
                <a:gd name="connsiteX7" fmla="*/ 5079 w 11426"/>
                <a:gd name="connsiteY7" fmla="*/ 11808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26" h="15997">
                  <a:moveTo>
                    <a:pt x="5079" y="11808"/>
                  </a:moveTo>
                  <a:cubicBezTo>
                    <a:pt x="7846" y="11795"/>
                    <a:pt x="10348" y="13448"/>
                    <a:pt x="11427" y="15998"/>
                  </a:cubicBezTo>
                  <a:lnTo>
                    <a:pt x="5079" y="0"/>
                  </a:lnTo>
                  <a:lnTo>
                    <a:pt x="5079" y="0"/>
                  </a:lnTo>
                  <a:cubicBezTo>
                    <a:pt x="6475" y="3518"/>
                    <a:pt x="4761" y="7505"/>
                    <a:pt x="1244" y="8906"/>
                  </a:cubicBezTo>
                  <a:cubicBezTo>
                    <a:pt x="838" y="9065"/>
                    <a:pt x="419" y="9187"/>
                    <a:pt x="0" y="9269"/>
                  </a:cubicBezTo>
                  <a:lnTo>
                    <a:pt x="0" y="14728"/>
                  </a:lnTo>
                  <a:cubicBezTo>
                    <a:pt x="1143" y="13015"/>
                    <a:pt x="3022" y="11936"/>
                    <a:pt x="5079" y="11808"/>
                  </a:cubicBezTo>
                  <a:close/>
                </a:path>
              </a:pathLst>
            </a:custGeom>
            <a:solidFill>
              <a:srgbClr val="000000"/>
            </a:solidFill>
            <a:ln w="12690"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FC9C9E30-12D6-4507-B3B6-F0B12CA22CE3}"/>
                </a:ext>
              </a:extLst>
            </p:cNvPr>
            <p:cNvSpPr/>
            <p:nvPr/>
          </p:nvSpPr>
          <p:spPr>
            <a:xfrm>
              <a:off x="4775987" y="5014724"/>
              <a:ext cx="3301" cy="8252"/>
            </a:xfrm>
            <a:custGeom>
              <a:avLst/>
              <a:gdLst>
                <a:gd name="connsiteX0" fmla="*/ 0 w 3301"/>
                <a:gd name="connsiteY0" fmla="*/ 0 h 8252"/>
                <a:gd name="connsiteX1" fmla="*/ 3301 w 3301"/>
                <a:gd name="connsiteY1" fmla="*/ 8253 h 8252"/>
                <a:gd name="connsiteX2" fmla="*/ 3301 w 3301"/>
                <a:gd name="connsiteY2" fmla="*/ 0 h 8252"/>
                <a:gd name="connsiteX3" fmla="*/ 0 w 3301"/>
                <a:gd name="connsiteY3" fmla="*/ 0 h 8252"/>
              </a:gdLst>
              <a:ahLst/>
              <a:cxnLst>
                <a:cxn ang="0">
                  <a:pos x="connsiteX0" y="connsiteY0"/>
                </a:cxn>
                <a:cxn ang="0">
                  <a:pos x="connsiteX1" y="connsiteY1"/>
                </a:cxn>
                <a:cxn ang="0">
                  <a:pos x="connsiteX2" y="connsiteY2"/>
                </a:cxn>
                <a:cxn ang="0">
                  <a:pos x="connsiteX3" y="connsiteY3"/>
                </a:cxn>
              </a:cxnLst>
              <a:rect l="l" t="t" r="r" b="b"/>
              <a:pathLst>
                <a:path w="3301" h="8252">
                  <a:moveTo>
                    <a:pt x="0" y="0"/>
                  </a:moveTo>
                  <a:lnTo>
                    <a:pt x="3301" y="8253"/>
                  </a:lnTo>
                  <a:lnTo>
                    <a:pt x="3301" y="0"/>
                  </a:lnTo>
                  <a:lnTo>
                    <a:pt x="0" y="0"/>
                  </a:lnTo>
                  <a:close/>
                </a:path>
              </a:pathLst>
            </a:custGeom>
            <a:solidFill>
              <a:srgbClr val="000000"/>
            </a:solidFill>
            <a:ln w="12690"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E880B895-7CF1-4388-A666-96AD60F6F784}"/>
                </a:ext>
              </a:extLst>
            </p:cNvPr>
            <p:cNvSpPr/>
            <p:nvPr/>
          </p:nvSpPr>
          <p:spPr>
            <a:xfrm>
              <a:off x="4779289" y="5014851"/>
              <a:ext cx="2539" cy="1111854"/>
            </a:xfrm>
            <a:custGeom>
              <a:avLst/>
              <a:gdLst>
                <a:gd name="connsiteX0" fmla="*/ 2539 w 2539"/>
                <a:gd name="connsiteY0" fmla="*/ 1111728 h 1111854"/>
                <a:gd name="connsiteX1" fmla="*/ 2539 w 2539"/>
                <a:gd name="connsiteY1" fmla="*/ 1013201 h 1111854"/>
                <a:gd name="connsiteX2" fmla="*/ 2539 w 2539"/>
                <a:gd name="connsiteY2" fmla="*/ 1013201 h 1111854"/>
                <a:gd name="connsiteX3" fmla="*/ 1016 w 2539"/>
                <a:gd name="connsiteY3" fmla="*/ 1009138 h 1111854"/>
                <a:gd name="connsiteX4" fmla="*/ 1016 w 2539"/>
                <a:gd name="connsiteY4" fmla="*/ 9142 h 1111854"/>
                <a:gd name="connsiteX5" fmla="*/ 2539 w 2539"/>
                <a:gd name="connsiteY5" fmla="*/ 5079 h 1111854"/>
                <a:gd name="connsiteX6" fmla="*/ 2539 w 2539"/>
                <a:gd name="connsiteY6" fmla="*/ 0 h 1111854"/>
                <a:gd name="connsiteX7" fmla="*/ 1269 w 2539"/>
                <a:gd name="connsiteY7" fmla="*/ 0 h 1111854"/>
                <a:gd name="connsiteX8" fmla="*/ 0 w 2539"/>
                <a:gd name="connsiteY8" fmla="*/ 0 h 1111854"/>
                <a:gd name="connsiteX9" fmla="*/ 0 w 2539"/>
                <a:gd name="connsiteY9" fmla="*/ 1111855 h 1111854"/>
                <a:gd name="connsiteX10" fmla="*/ 2539 w 2539"/>
                <a:gd name="connsiteY10" fmla="*/ 1111855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9" h="1111854">
                  <a:moveTo>
                    <a:pt x="2539" y="1111728"/>
                  </a:moveTo>
                  <a:lnTo>
                    <a:pt x="2539" y="1013201"/>
                  </a:lnTo>
                  <a:lnTo>
                    <a:pt x="2539" y="1013201"/>
                  </a:lnTo>
                  <a:cubicBezTo>
                    <a:pt x="1599" y="1012052"/>
                    <a:pt x="1066" y="1010623"/>
                    <a:pt x="1016" y="1009138"/>
                  </a:cubicBezTo>
                  <a:lnTo>
                    <a:pt x="1016" y="9142"/>
                  </a:lnTo>
                  <a:cubicBezTo>
                    <a:pt x="1028" y="7650"/>
                    <a:pt x="1574" y="6213"/>
                    <a:pt x="2539" y="5079"/>
                  </a:cubicBezTo>
                  <a:lnTo>
                    <a:pt x="2539" y="0"/>
                  </a:lnTo>
                  <a:lnTo>
                    <a:pt x="1269" y="0"/>
                  </a:lnTo>
                  <a:lnTo>
                    <a:pt x="0" y="0"/>
                  </a:lnTo>
                  <a:lnTo>
                    <a:pt x="0" y="1111855"/>
                  </a:lnTo>
                  <a:lnTo>
                    <a:pt x="2539" y="1111855"/>
                  </a:lnTo>
                  <a:close/>
                </a:path>
              </a:pathLst>
            </a:custGeom>
            <a:solidFill>
              <a:srgbClr val="000000"/>
            </a:solidFill>
            <a:ln w="12690"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5EA435EF-D275-42EA-BD18-C32487F0321F}"/>
                </a:ext>
              </a:extLst>
            </p:cNvPr>
            <p:cNvSpPr/>
            <p:nvPr/>
          </p:nvSpPr>
          <p:spPr>
            <a:xfrm>
              <a:off x="4786653" y="6030591"/>
              <a:ext cx="2412" cy="96114"/>
            </a:xfrm>
            <a:custGeom>
              <a:avLst/>
              <a:gdLst>
                <a:gd name="connsiteX0" fmla="*/ 0 w 2412"/>
                <a:gd name="connsiteY0" fmla="*/ 95987 h 96114"/>
                <a:gd name="connsiteX1" fmla="*/ 2412 w 2412"/>
                <a:gd name="connsiteY1" fmla="*/ 95987 h 96114"/>
                <a:gd name="connsiteX2" fmla="*/ 2412 w 2412"/>
                <a:gd name="connsiteY2" fmla="*/ 0 h 96114"/>
                <a:gd name="connsiteX3" fmla="*/ 1143 w 2412"/>
                <a:gd name="connsiteY3" fmla="*/ 0 h 96114"/>
                <a:gd name="connsiteX4" fmla="*/ 0 w 2412"/>
                <a:gd name="connsiteY4" fmla="*/ 0 h 96114"/>
                <a:gd name="connsiteX5" fmla="*/ 0 w 2412"/>
                <a:gd name="connsiteY5" fmla="*/ 96114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6114">
                  <a:moveTo>
                    <a:pt x="0" y="95987"/>
                  </a:moveTo>
                  <a:lnTo>
                    <a:pt x="2412" y="95987"/>
                  </a:lnTo>
                  <a:lnTo>
                    <a:pt x="2412" y="0"/>
                  </a:lnTo>
                  <a:lnTo>
                    <a:pt x="1143" y="0"/>
                  </a:lnTo>
                  <a:lnTo>
                    <a:pt x="0" y="0"/>
                  </a:lnTo>
                  <a:lnTo>
                    <a:pt x="0" y="96114"/>
                  </a:lnTo>
                  <a:close/>
                </a:path>
              </a:pathLst>
            </a:custGeom>
            <a:solidFill>
              <a:srgbClr val="000000"/>
            </a:solidFill>
            <a:ln w="12690"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08FEFEF3-4D10-4FA4-AA1B-E23459B6C158}"/>
                </a:ext>
              </a:extLst>
            </p:cNvPr>
            <p:cNvSpPr/>
            <p:nvPr/>
          </p:nvSpPr>
          <p:spPr>
            <a:xfrm>
              <a:off x="5903200" y="6449584"/>
              <a:ext cx="761" cy="1269"/>
            </a:xfrm>
            <a:custGeom>
              <a:avLst/>
              <a:gdLst>
                <a:gd name="connsiteX0" fmla="*/ 762 w 761"/>
                <a:gd name="connsiteY0" fmla="*/ 0 h 1269"/>
                <a:gd name="connsiteX1" fmla="*/ 0 w 761"/>
                <a:gd name="connsiteY1" fmla="*/ 1270 h 1269"/>
                <a:gd name="connsiteX2" fmla="*/ 762 w 761"/>
                <a:gd name="connsiteY2" fmla="*/ 0 h 1269"/>
              </a:gdLst>
              <a:ahLst/>
              <a:cxnLst>
                <a:cxn ang="0">
                  <a:pos x="connsiteX0" y="connsiteY0"/>
                </a:cxn>
                <a:cxn ang="0">
                  <a:pos x="connsiteX1" y="connsiteY1"/>
                </a:cxn>
                <a:cxn ang="0">
                  <a:pos x="connsiteX2" y="connsiteY2"/>
                </a:cxn>
              </a:cxnLst>
              <a:rect l="l" t="t" r="r" b="b"/>
              <a:pathLst>
                <a:path w="761" h="1269">
                  <a:moveTo>
                    <a:pt x="762" y="0"/>
                  </a:moveTo>
                  <a:cubicBezTo>
                    <a:pt x="584" y="470"/>
                    <a:pt x="330" y="889"/>
                    <a:pt x="0" y="1270"/>
                  </a:cubicBezTo>
                  <a:cubicBezTo>
                    <a:pt x="330" y="889"/>
                    <a:pt x="584" y="470"/>
                    <a:pt x="762" y="0"/>
                  </a:cubicBezTo>
                  <a:close/>
                </a:path>
              </a:pathLst>
            </a:custGeom>
            <a:solidFill>
              <a:srgbClr val="000000"/>
            </a:solidFill>
            <a:ln w="12690"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04420A64-79A4-4E9E-A9D9-4446E90DCD45}"/>
                </a:ext>
              </a:extLst>
            </p:cNvPr>
            <p:cNvSpPr/>
            <p:nvPr/>
          </p:nvSpPr>
          <p:spPr>
            <a:xfrm>
              <a:off x="5900534" y="6452250"/>
              <a:ext cx="1396" cy="888"/>
            </a:xfrm>
            <a:custGeom>
              <a:avLst/>
              <a:gdLst>
                <a:gd name="connsiteX0" fmla="*/ 1396 w 1396"/>
                <a:gd name="connsiteY0" fmla="*/ 0 h 888"/>
                <a:gd name="connsiteX1" fmla="*/ 0 w 1396"/>
                <a:gd name="connsiteY1" fmla="*/ 889 h 888"/>
              </a:gdLst>
              <a:ahLst/>
              <a:cxnLst>
                <a:cxn ang="0">
                  <a:pos x="connsiteX0" y="connsiteY0"/>
                </a:cxn>
                <a:cxn ang="0">
                  <a:pos x="connsiteX1" y="connsiteY1"/>
                </a:cxn>
              </a:cxnLst>
              <a:rect l="l" t="t" r="r" b="b"/>
              <a:pathLst>
                <a:path w="1396" h="888">
                  <a:moveTo>
                    <a:pt x="1396" y="0"/>
                  </a:moveTo>
                  <a:lnTo>
                    <a:pt x="0" y="889"/>
                  </a:lnTo>
                  <a:close/>
                </a:path>
              </a:pathLst>
            </a:custGeom>
            <a:solidFill>
              <a:srgbClr val="000000"/>
            </a:solidFill>
            <a:ln w="12690"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34793969-6B71-4648-B1D5-A9D0801B9B43}"/>
                </a:ext>
              </a:extLst>
            </p:cNvPr>
            <p:cNvSpPr/>
            <p:nvPr/>
          </p:nvSpPr>
          <p:spPr>
            <a:xfrm>
              <a:off x="5897105" y="6454154"/>
              <a:ext cx="2666" cy="133"/>
            </a:xfrm>
            <a:custGeom>
              <a:avLst/>
              <a:gdLst>
                <a:gd name="connsiteX0" fmla="*/ 0 w 2666"/>
                <a:gd name="connsiteY0" fmla="*/ 0 h 133"/>
                <a:gd name="connsiteX1" fmla="*/ 0 w 2666"/>
                <a:gd name="connsiteY1" fmla="*/ 0 h 133"/>
                <a:gd name="connsiteX2" fmla="*/ 1524 w 2666"/>
                <a:gd name="connsiteY2" fmla="*/ 0 h 133"/>
                <a:gd name="connsiteX3" fmla="*/ 2667 w 2666"/>
                <a:gd name="connsiteY3" fmla="*/ 0 h 133"/>
                <a:gd name="connsiteX4" fmla="*/ 0 w 2666"/>
                <a:gd name="connsiteY4" fmla="*/ 0 h 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 h="133">
                  <a:moveTo>
                    <a:pt x="0" y="0"/>
                  </a:moveTo>
                  <a:lnTo>
                    <a:pt x="0" y="0"/>
                  </a:lnTo>
                  <a:lnTo>
                    <a:pt x="1524" y="0"/>
                  </a:lnTo>
                  <a:lnTo>
                    <a:pt x="2667" y="0"/>
                  </a:lnTo>
                  <a:cubicBezTo>
                    <a:pt x="1791" y="178"/>
                    <a:pt x="876" y="178"/>
                    <a:pt x="0" y="0"/>
                  </a:cubicBezTo>
                  <a:close/>
                </a:path>
              </a:pathLst>
            </a:custGeom>
            <a:solidFill>
              <a:srgbClr val="000000"/>
            </a:solidFill>
            <a:ln w="12690"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E228F607-7F4D-4839-9F20-C0520C8630BF}"/>
                </a:ext>
              </a:extLst>
            </p:cNvPr>
            <p:cNvSpPr/>
            <p:nvPr/>
          </p:nvSpPr>
          <p:spPr>
            <a:xfrm>
              <a:off x="5903962" y="6447806"/>
              <a:ext cx="47" cy="1523"/>
            </a:xfrm>
            <a:custGeom>
              <a:avLst/>
              <a:gdLst>
                <a:gd name="connsiteX0" fmla="*/ 0 w 47"/>
                <a:gd name="connsiteY0" fmla="*/ 0 h 1523"/>
                <a:gd name="connsiteX1" fmla="*/ 0 w 47"/>
                <a:gd name="connsiteY1" fmla="*/ 0 h 1523"/>
                <a:gd name="connsiteX2" fmla="*/ 0 w 47"/>
                <a:gd name="connsiteY2" fmla="*/ 1524 h 1523"/>
                <a:gd name="connsiteX3" fmla="*/ 0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0" y="0"/>
                  </a:moveTo>
                  <a:lnTo>
                    <a:pt x="0" y="0"/>
                  </a:lnTo>
                  <a:cubicBezTo>
                    <a:pt x="64" y="508"/>
                    <a:pt x="64" y="1016"/>
                    <a:pt x="0" y="1524"/>
                  </a:cubicBezTo>
                  <a:cubicBezTo>
                    <a:pt x="0" y="1524"/>
                    <a:pt x="0" y="381"/>
                    <a:pt x="0" y="0"/>
                  </a:cubicBezTo>
                  <a:close/>
                </a:path>
              </a:pathLst>
            </a:custGeom>
            <a:solidFill>
              <a:srgbClr val="000000"/>
            </a:solidFill>
            <a:ln w="12690"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6FDE798B-526B-495D-91AD-FDBE8A3DF543}"/>
                </a:ext>
              </a:extLst>
            </p:cNvPr>
            <p:cNvSpPr/>
            <p:nvPr/>
          </p:nvSpPr>
          <p:spPr>
            <a:xfrm>
              <a:off x="5900026" y="6441077"/>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373B91D5-97BC-42AD-92D5-467092FE7B02}"/>
                </a:ext>
              </a:extLst>
            </p:cNvPr>
            <p:cNvSpPr/>
            <p:nvPr/>
          </p:nvSpPr>
          <p:spPr>
            <a:xfrm>
              <a:off x="5902184" y="6442600"/>
              <a:ext cx="635" cy="1142"/>
            </a:xfrm>
            <a:custGeom>
              <a:avLst/>
              <a:gdLst>
                <a:gd name="connsiteX0" fmla="*/ 0 w 635"/>
                <a:gd name="connsiteY0" fmla="*/ 0 h 1142"/>
                <a:gd name="connsiteX1" fmla="*/ 635 w 635"/>
                <a:gd name="connsiteY1" fmla="*/ 1143 h 1142"/>
                <a:gd name="connsiteX2" fmla="*/ 0 w 635"/>
                <a:gd name="connsiteY2" fmla="*/ 0 h 1142"/>
              </a:gdLst>
              <a:ahLst/>
              <a:cxnLst>
                <a:cxn ang="0">
                  <a:pos x="connsiteX0" y="connsiteY0"/>
                </a:cxn>
                <a:cxn ang="0">
                  <a:pos x="connsiteX1" y="connsiteY1"/>
                </a:cxn>
                <a:cxn ang="0">
                  <a:pos x="connsiteX2" y="connsiteY2"/>
                </a:cxn>
              </a:cxnLst>
              <a:rect l="l" t="t" r="r" b="b"/>
              <a:pathLst>
                <a:path w="635" h="1142">
                  <a:moveTo>
                    <a:pt x="0" y="0"/>
                  </a:moveTo>
                  <a:cubicBezTo>
                    <a:pt x="254" y="356"/>
                    <a:pt x="470" y="736"/>
                    <a:pt x="635" y="1143"/>
                  </a:cubicBezTo>
                  <a:cubicBezTo>
                    <a:pt x="470" y="736"/>
                    <a:pt x="254" y="356"/>
                    <a:pt x="0" y="0"/>
                  </a:cubicBezTo>
                  <a:close/>
                </a:path>
              </a:pathLst>
            </a:custGeom>
            <a:solidFill>
              <a:srgbClr val="000000"/>
            </a:solidFill>
            <a:ln w="12690"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3172A286-5959-47D0-95A3-267D3C521085}"/>
                </a:ext>
              </a:extLst>
            </p:cNvPr>
            <p:cNvSpPr/>
            <p:nvPr/>
          </p:nvSpPr>
          <p:spPr>
            <a:xfrm>
              <a:off x="5903962" y="6444886"/>
              <a:ext cx="38" cy="1269"/>
            </a:xfrm>
            <a:custGeom>
              <a:avLst/>
              <a:gdLst>
                <a:gd name="connsiteX0" fmla="*/ 0 w 38"/>
                <a:gd name="connsiteY0" fmla="*/ 0 h 1269"/>
                <a:gd name="connsiteX1" fmla="*/ 0 w 38"/>
                <a:gd name="connsiteY1" fmla="*/ 1270 h 1269"/>
                <a:gd name="connsiteX2" fmla="*/ 0 w 38"/>
                <a:gd name="connsiteY2" fmla="*/ 0 h 1269"/>
              </a:gdLst>
              <a:ahLst/>
              <a:cxnLst>
                <a:cxn ang="0">
                  <a:pos x="connsiteX0" y="connsiteY0"/>
                </a:cxn>
                <a:cxn ang="0">
                  <a:pos x="connsiteX1" y="connsiteY1"/>
                </a:cxn>
                <a:cxn ang="0">
                  <a:pos x="connsiteX2" y="connsiteY2"/>
                </a:cxn>
              </a:cxnLst>
              <a:rect l="l" t="t" r="r" b="b"/>
              <a:pathLst>
                <a:path w="38" h="1269">
                  <a:moveTo>
                    <a:pt x="0" y="0"/>
                  </a:moveTo>
                  <a:cubicBezTo>
                    <a:pt x="51" y="419"/>
                    <a:pt x="51" y="851"/>
                    <a:pt x="0" y="1270"/>
                  </a:cubicBezTo>
                  <a:cubicBezTo>
                    <a:pt x="51" y="851"/>
                    <a:pt x="51" y="419"/>
                    <a:pt x="0" y="0"/>
                  </a:cubicBezTo>
                  <a:close/>
                </a:path>
              </a:pathLst>
            </a:custGeom>
            <a:solidFill>
              <a:srgbClr val="000000"/>
            </a:solidFill>
            <a:ln w="12690"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51CDA489-C689-450D-AA28-E12E381846CA}"/>
                </a:ext>
              </a:extLst>
            </p:cNvPr>
            <p:cNvSpPr/>
            <p:nvPr/>
          </p:nvSpPr>
          <p:spPr>
            <a:xfrm>
              <a:off x="5891265" y="6440442"/>
              <a:ext cx="6983" cy="12696"/>
            </a:xfrm>
            <a:custGeom>
              <a:avLst/>
              <a:gdLst>
                <a:gd name="connsiteX0" fmla="*/ 0 w 6983"/>
                <a:gd name="connsiteY0" fmla="*/ 0 h 12696"/>
                <a:gd name="connsiteX1" fmla="*/ 5333 w 6983"/>
                <a:gd name="connsiteY1" fmla="*/ 0 h 12696"/>
                <a:gd name="connsiteX2" fmla="*/ 6983 w 6983"/>
                <a:gd name="connsiteY2" fmla="*/ 0 h 12696"/>
                <a:gd name="connsiteX3" fmla="*/ 5840 w 6983"/>
                <a:gd name="connsiteY3" fmla="*/ 0 h 12696"/>
                <a:gd name="connsiteX4" fmla="*/ 2032 w 6983"/>
                <a:gd name="connsiteY4" fmla="*/ 0 h 12696"/>
                <a:gd name="connsiteX5" fmla="*/ 2032 w 6983"/>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3" h="12696">
                  <a:moveTo>
                    <a:pt x="0" y="0"/>
                  </a:moveTo>
                  <a:lnTo>
                    <a:pt x="5333" y="0"/>
                  </a:lnTo>
                  <a:lnTo>
                    <a:pt x="6983" y="0"/>
                  </a:lnTo>
                  <a:lnTo>
                    <a:pt x="5840" y="0"/>
                  </a:lnTo>
                  <a:lnTo>
                    <a:pt x="2032" y="0"/>
                  </a:lnTo>
                  <a:lnTo>
                    <a:pt x="2032" y="0"/>
                  </a:lnTo>
                  <a:close/>
                </a:path>
              </a:pathLst>
            </a:custGeom>
            <a:solidFill>
              <a:srgbClr val="000000"/>
            </a:solidFill>
            <a:ln w="12690"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9E475380-E7B6-4DAA-AC13-A6786FF6D3F1}"/>
                </a:ext>
              </a:extLst>
            </p:cNvPr>
            <p:cNvSpPr/>
            <p:nvPr/>
          </p:nvSpPr>
          <p:spPr>
            <a:xfrm>
              <a:off x="5826258" y="6441753"/>
              <a:ext cx="77116" cy="12401"/>
            </a:xfrm>
            <a:custGeom>
              <a:avLst/>
              <a:gdLst>
                <a:gd name="connsiteX0" fmla="*/ 73514 w 77116"/>
                <a:gd name="connsiteY0" fmla="*/ 11894 h 12401"/>
                <a:gd name="connsiteX1" fmla="*/ 74276 w 77116"/>
                <a:gd name="connsiteY1" fmla="*/ 11894 h 12401"/>
                <a:gd name="connsiteX2" fmla="*/ 75672 w 77116"/>
                <a:gd name="connsiteY2" fmla="*/ 11005 h 12401"/>
                <a:gd name="connsiteX3" fmla="*/ 76307 w 77116"/>
                <a:gd name="connsiteY3" fmla="*/ 10116 h 12401"/>
                <a:gd name="connsiteX4" fmla="*/ 77069 w 77116"/>
                <a:gd name="connsiteY4" fmla="*/ 8847 h 12401"/>
                <a:gd name="connsiteX5" fmla="*/ 77069 w 77116"/>
                <a:gd name="connsiteY5" fmla="*/ 7831 h 12401"/>
                <a:gd name="connsiteX6" fmla="*/ 77069 w 77116"/>
                <a:gd name="connsiteY6" fmla="*/ 6307 h 12401"/>
                <a:gd name="connsiteX7" fmla="*/ 77069 w 77116"/>
                <a:gd name="connsiteY7" fmla="*/ 6307 h 12401"/>
                <a:gd name="connsiteX8" fmla="*/ 77069 w 77116"/>
                <a:gd name="connsiteY8" fmla="*/ 5164 h 12401"/>
                <a:gd name="connsiteX9" fmla="*/ 77069 w 77116"/>
                <a:gd name="connsiteY9" fmla="*/ 3895 h 12401"/>
                <a:gd name="connsiteX10" fmla="*/ 77069 w 77116"/>
                <a:gd name="connsiteY10" fmla="*/ 2752 h 12401"/>
                <a:gd name="connsiteX11" fmla="*/ 76434 w 77116"/>
                <a:gd name="connsiteY11" fmla="*/ 1609 h 12401"/>
                <a:gd name="connsiteX12" fmla="*/ 75418 w 77116"/>
                <a:gd name="connsiteY12" fmla="*/ 848 h 12401"/>
                <a:gd name="connsiteX13" fmla="*/ 74276 w 77116"/>
                <a:gd name="connsiteY13" fmla="*/ 86 h 12401"/>
                <a:gd name="connsiteX14" fmla="*/ 73006 w 77116"/>
                <a:gd name="connsiteY14" fmla="*/ 86 h 12401"/>
                <a:gd name="connsiteX15" fmla="*/ 71355 w 77116"/>
                <a:gd name="connsiteY15" fmla="*/ 86 h 12401"/>
                <a:gd name="connsiteX16" fmla="*/ 0 w 77116"/>
                <a:gd name="connsiteY16" fmla="*/ 86 h 12401"/>
                <a:gd name="connsiteX17" fmla="*/ 1651 w 77116"/>
                <a:gd name="connsiteY17" fmla="*/ 86 h 12401"/>
                <a:gd name="connsiteX18" fmla="*/ 1651 w 77116"/>
                <a:gd name="connsiteY18" fmla="*/ 86 h 12401"/>
                <a:gd name="connsiteX19" fmla="*/ 2666 w 77116"/>
                <a:gd name="connsiteY19" fmla="*/ 86 h 12401"/>
                <a:gd name="connsiteX20" fmla="*/ 3936 w 77116"/>
                <a:gd name="connsiteY20" fmla="*/ 86 h 12401"/>
                <a:gd name="connsiteX21" fmla="*/ 5079 w 77116"/>
                <a:gd name="connsiteY21" fmla="*/ 86 h 12401"/>
                <a:gd name="connsiteX22" fmla="*/ 6094 w 77116"/>
                <a:gd name="connsiteY22" fmla="*/ 975 h 12401"/>
                <a:gd name="connsiteX23" fmla="*/ 6856 w 77116"/>
                <a:gd name="connsiteY23" fmla="*/ 1990 h 12401"/>
                <a:gd name="connsiteX24" fmla="*/ 7491 w 77116"/>
                <a:gd name="connsiteY24" fmla="*/ 3133 h 12401"/>
                <a:gd name="connsiteX25" fmla="*/ 7491 w 77116"/>
                <a:gd name="connsiteY25" fmla="*/ 4530 h 12401"/>
                <a:gd name="connsiteX26" fmla="*/ 7491 w 77116"/>
                <a:gd name="connsiteY26" fmla="*/ 5545 h 12401"/>
                <a:gd name="connsiteX27" fmla="*/ 7491 w 77116"/>
                <a:gd name="connsiteY27" fmla="*/ 12402 h 12401"/>
                <a:gd name="connsiteX28" fmla="*/ 70974 w 77116"/>
                <a:gd name="connsiteY28" fmla="*/ 12402 h 12401"/>
                <a:gd name="connsiteX29" fmla="*/ 73514 w 77116"/>
                <a:gd name="connsiteY29" fmla="*/ 11894 h 1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7116" h="12401">
                  <a:moveTo>
                    <a:pt x="73514" y="11894"/>
                  </a:moveTo>
                  <a:lnTo>
                    <a:pt x="74276" y="11894"/>
                  </a:lnTo>
                  <a:lnTo>
                    <a:pt x="75672" y="11005"/>
                  </a:lnTo>
                  <a:lnTo>
                    <a:pt x="76307" y="10116"/>
                  </a:lnTo>
                  <a:cubicBezTo>
                    <a:pt x="76637" y="9735"/>
                    <a:pt x="76891" y="9316"/>
                    <a:pt x="77069" y="8847"/>
                  </a:cubicBezTo>
                  <a:cubicBezTo>
                    <a:pt x="77069" y="8847"/>
                    <a:pt x="77069" y="8847"/>
                    <a:pt x="77069" y="7831"/>
                  </a:cubicBezTo>
                  <a:cubicBezTo>
                    <a:pt x="77132" y="7323"/>
                    <a:pt x="77132" y="6815"/>
                    <a:pt x="77069" y="6307"/>
                  </a:cubicBezTo>
                  <a:lnTo>
                    <a:pt x="77069" y="6307"/>
                  </a:lnTo>
                  <a:cubicBezTo>
                    <a:pt x="77069" y="6307"/>
                    <a:pt x="77069" y="5545"/>
                    <a:pt x="77069" y="5164"/>
                  </a:cubicBezTo>
                  <a:cubicBezTo>
                    <a:pt x="77120" y="4745"/>
                    <a:pt x="77120" y="4314"/>
                    <a:pt x="77069" y="3895"/>
                  </a:cubicBezTo>
                  <a:cubicBezTo>
                    <a:pt x="77132" y="3514"/>
                    <a:pt x="77132" y="3133"/>
                    <a:pt x="77069" y="2752"/>
                  </a:cubicBezTo>
                  <a:cubicBezTo>
                    <a:pt x="76904" y="2346"/>
                    <a:pt x="76688" y="1965"/>
                    <a:pt x="76434" y="1609"/>
                  </a:cubicBezTo>
                  <a:lnTo>
                    <a:pt x="75418" y="848"/>
                  </a:lnTo>
                  <a:lnTo>
                    <a:pt x="74276" y="86"/>
                  </a:lnTo>
                  <a:lnTo>
                    <a:pt x="73006" y="86"/>
                  </a:lnTo>
                  <a:lnTo>
                    <a:pt x="71355" y="86"/>
                  </a:lnTo>
                  <a:lnTo>
                    <a:pt x="0" y="86"/>
                  </a:lnTo>
                  <a:cubicBezTo>
                    <a:pt x="546" y="22"/>
                    <a:pt x="1105" y="22"/>
                    <a:pt x="1651" y="86"/>
                  </a:cubicBezTo>
                  <a:lnTo>
                    <a:pt x="1651" y="86"/>
                  </a:lnTo>
                  <a:cubicBezTo>
                    <a:pt x="1651" y="86"/>
                    <a:pt x="2285" y="86"/>
                    <a:pt x="2666" y="86"/>
                  </a:cubicBezTo>
                  <a:cubicBezTo>
                    <a:pt x="3085" y="-29"/>
                    <a:pt x="3517" y="-29"/>
                    <a:pt x="3936" y="86"/>
                  </a:cubicBezTo>
                  <a:lnTo>
                    <a:pt x="5079" y="86"/>
                  </a:lnTo>
                  <a:lnTo>
                    <a:pt x="6094" y="975"/>
                  </a:lnTo>
                  <a:lnTo>
                    <a:pt x="6856" y="1990"/>
                  </a:lnTo>
                  <a:cubicBezTo>
                    <a:pt x="7021" y="2397"/>
                    <a:pt x="7237" y="2778"/>
                    <a:pt x="7491" y="3133"/>
                  </a:cubicBezTo>
                  <a:cubicBezTo>
                    <a:pt x="7491" y="3133"/>
                    <a:pt x="7491" y="4022"/>
                    <a:pt x="7491" y="4530"/>
                  </a:cubicBezTo>
                  <a:cubicBezTo>
                    <a:pt x="7491" y="5037"/>
                    <a:pt x="7491" y="4530"/>
                    <a:pt x="7491" y="5545"/>
                  </a:cubicBezTo>
                  <a:lnTo>
                    <a:pt x="7491" y="12402"/>
                  </a:lnTo>
                  <a:lnTo>
                    <a:pt x="70974" y="12402"/>
                  </a:lnTo>
                  <a:cubicBezTo>
                    <a:pt x="71851" y="12402"/>
                    <a:pt x="72714" y="12224"/>
                    <a:pt x="73514" y="11894"/>
                  </a:cubicBezTo>
                  <a:close/>
                </a:path>
              </a:pathLst>
            </a:custGeom>
            <a:solidFill>
              <a:srgbClr val="000000"/>
            </a:solidFill>
            <a:ln w="12690"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9FBA9F34-A80F-4174-B68D-90F5693E47A8}"/>
                </a:ext>
              </a:extLst>
            </p:cNvPr>
            <p:cNvSpPr/>
            <p:nvPr/>
          </p:nvSpPr>
          <p:spPr>
            <a:xfrm>
              <a:off x="5820418" y="6441905"/>
              <a:ext cx="13712" cy="423116"/>
            </a:xfrm>
            <a:custGeom>
              <a:avLst/>
              <a:gdLst>
                <a:gd name="connsiteX0" fmla="*/ 13712 w 13712"/>
                <a:gd name="connsiteY0" fmla="*/ 1203 h 423116"/>
                <a:gd name="connsiteX1" fmla="*/ 13712 w 13712"/>
                <a:gd name="connsiteY1" fmla="*/ 60 h 423116"/>
                <a:gd name="connsiteX2" fmla="*/ 13712 w 13712"/>
                <a:gd name="connsiteY2" fmla="*/ 1711 h 423116"/>
                <a:gd name="connsiteX3" fmla="*/ 6856 w 13712"/>
                <a:gd name="connsiteY3" fmla="*/ 8059 h 423116"/>
                <a:gd name="connsiteX4" fmla="*/ 5840 w 13712"/>
                <a:gd name="connsiteY4" fmla="*/ 8059 h 423116"/>
                <a:gd name="connsiteX5" fmla="*/ 4190 w 13712"/>
                <a:gd name="connsiteY5" fmla="*/ 8059 h 423116"/>
                <a:gd name="connsiteX6" fmla="*/ 3047 w 13712"/>
                <a:gd name="connsiteY6" fmla="*/ 8059 h 423116"/>
                <a:gd name="connsiteX7" fmla="*/ 0 w 13712"/>
                <a:gd name="connsiteY7" fmla="*/ 8059 h 423116"/>
                <a:gd name="connsiteX8" fmla="*/ 0 w 13712"/>
                <a:gd name="connsiteY8" fmla="*/ 423116 h 423116"/>
                <a:gd name="connsiteX9" fmla="*/ 13712 w 13712"/>
                <a:gd name="connsiteY9" fmla="*/ 423116 h 423116"/>
                <a:gd name="connsiteX10" fmla="*/ 13712 w 13712"/>
                <a:gd name="connsiteY10" fmla="*/ 1203 h 42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2" h="423116">
                  <a:moveTo>
                    <a:pt x="13712" y="1203"/>
                  </a:moveTo>
                  <a:cubicBezTo>
                    <a:pt x="13712" y="1203"/>
                    <a:pt x="13712" y="441"/>
                    <a:pt x="13712" y="60"/>
                  </a:cubicBezTo>
                  <a:cubicBezTo>
                    <a:pt x="13712" y="-320"/>
                    <a:pt x="13712" y="1203"/>
                    <a:pt x="13712" y="1711"/>
                  </a:cubicBezTo>
                  <a:cubicBezTo>
                    <a:pt x="13446" y="5304"/>
                    <a:pt x="10449" y="8072"/>
                    <a:pt x="6856" y="8059"/>
                  </a:cubicBezTo>
                  <a:lnTo>
                    <a:pt x="5840" y="8059"/>
                  </a:lnTo>
                  <a:lnTo>
                    <a:pt x="4190" y="8059"/>
                  </a:lnTo>
                  <a:lnTo>
                    <a:pt x="3047" y="8059"/>
                  </a:lnTo>
                  <a:lnTo>
                    <a:pt x="0" y="8059"/>
                  </a:lnTo>
                  <a:lnTo>
                    <a:pt x="0" y="423116"/>
                  </a:lnTo>
                  <a:lnTo>
                    <a:pt x="13712" y="423116"/>
                  </a:lnTo>
                  <a:lnTo>
                    <a:pt x="13712" y="1203"/>
                  </a:lnTo>
                  <a:close/>
                </a:path>
              </a:pathLst>
            </a:custGeom>
            <a:solidFill>
              <a:srgbClr val="000000"/>
            </a:solidFill>
            <a:ln w="12690"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27033856-561D-4953-9FDF-81BCDC9D4503}"/>
                </a:ext>
              </a:extLst>
            </p:cNvPr>
            <p:cNvSpPr/>
            <p:nvPr/>
          </p:nvSpPr>
          <p:spPr>
            <a:xfrm>
              <a:off x="5833114" y="6443743"/>
              <a:ext cx="634" cy="1142"/>
            </a:xfrm>
            <a:custGeom>
              <a:avLst/>
              <a:gdLst>
                <a:gd name="connsiteX0" fmla="*/ 0 w 634"/>
                <a:gd name="connsiteY0" fmla="*/ 0 h 1142"/>
                <a:gd name="connsiteX1" fmla="*/ 635 w 634"/>
                <a:gd name="connsiteY1" fmla="*/ 1143 h 1142"/>
                <a:gd name="connsiteX2" fmla="*/ 0 w 634"/>
                <a:gd name="connsiteY2" fmla="*/ 0 h 1142"/>
              </a:gdLst>
              <a:ahLst/>
              <a:cxnLst>
                <a:cxn ang="0">
                  <a:pos x="connsiteX0" y="connsiteY0"/>
                </a:cxn>
                <a:cxn ang="0">
                  <a:pos x="connsiteX1" y="connsiteY1"/>
                </a:cxn>
                <a:cxn ang="0">
                  <a:pos x="connsiteX2" y="connsiteY2"/>
                </a:cxn>
              </a:cxnLst>
              <a:rect l="l" t="t" r="r" b="b"/>
              <a:pathLst>
                <a:path w="634" h="1142">
                  <a:moveTo>
                    <a:pt x="0" y="0"/>
                  </a:moveTo>
                  <a:cubicBezTo>
                    <a:pt x="165" y="406"/>
                    <a:pt x="381" y="787"/>
                    <a:pt x="635" y="1143"/>
                  </a:cubicBezTo>
                  <a:cubicBezTo>
                    <a:pt x="381" y="787"/>
                    <a:pt x="165" y="406"/>
                    <a:pt x="0" y="0"/>
                  </a:cubicBezTo>
                  <a:close/>
                </a:path>
              </a:pathLst>
            </a:custGeom>
            <a:solidFill>
              <a:srgbClr val="000000"/>
            </a:solidFill>
            <a:ln w="12690"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9E0F6D8C-F54D-4A93-8597-DA46AA8EFD8B}"/>
                </a:ext>
              </a:extLst>
            </p:cNvPr>
            <p:cNvSpPr/>
            <p:nvPr/>
          </p:nvSpPr>
          <p:spPr>
            <a:xfrm>
              <a:off x="5831337" y="6441839"/>
              <a:ext cx="1015" cy="888"/>
            </a:xfrm>
            <a:custGeom>
              <a:avLst/>
              <a:gdLst>
                <a:gd name="connsiteX0" fmla="*/ 0 w 1015"/>
                <a:gd name="connsiteY0" fmla="*/ 0 h 888"/>
                <a:gd name="connsiteX1" fmla="*/ 1016 w 1015"/>
                <a:gd name="connsiteY1" fmla="*/ 889 h 888"/>
              </a:gdLst>
              <a:ahLst/>
              <a:cxnLst>
                <a:cxn ang="0">
                  <a:pos x="connsiteX0" y="connsiteY0"/>
                </a:cxn>
                <a:cxn ang="0">
                  <a:pos x="connsiteX1" y="connsiteY1"/>
                </a:cxn>
              </a:cxnLst>
              <a:rect l="l" t="t" r="r" b="b"/>
              <a:pathLst>
                <a:path w="1015" h="888">
                  <a:moveTo>
                    <a:pt x="0" y="0"/>
                  </a:moveTo>
                  <a:lnTo>
                    <a:pt x="1016" y="889"/>
                  </a:lnTo>
                  <a:close/>
                </a:path>
              </a:pathLst>
            </a:custGeom>
            <a:solidFill>
              <a:srgbClr val="000000"/>
            </a:solidFill>
            <a:ln w="12690"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CC3427AC-2DB6-4C3F-9E78-E43EA40C8A8B}"/>
                </a:ext>
              </a:extLst>
            </p:cNvPr>
            <p:cNvSpPr/>
            <p:nvPr/>
          </p:nvSpPr>
          <p:spPr>
            <a:xfrm>
              <a:off x="5828924" y="6440737"/>
              <a:ext cx="1269" cy="85"/>
            </a:xfrm>
            <a:custGeom>
              <a:avLst/>
              <a:gdLst>
                <a:gd name="connsiteX0" fmla="*/ 0 w 1269"/>
                <a:gd name="connsiteY0" fmla="*/ 86 h 85"/>
                <a:gd name="connsiteX1" fmla="*/ 1270 w 1269"/>
                <a:gd name="connsiteY1" fmla="*/ 86 h 85"/>
                <a:gd name="connsiteX2" fmla="*/ 0 w 1269"/>
                <a:gd name="connsiteY2" fmla="*/ 86 h 85"/>
              </a:gdLst>
              <a:ahLst/>
              <a:cxnLst>
                <a:cxn ang="0">
                  <a:pos x="connsiteX0" y="connsiteY0"/>
                </a:cxn>
                <a:cxn ang="0">
                  <a:pos x="connsiteX1" y="connsiteY1"/>
                </a:cxn>
                <a:cxn ang="0">
                  <a:pos x="connsiteX2" y="connsiteY2"/>
                </a:cxn>
              </a:cxnLst>
              <a:rect l="l" t="t" r="r" b="b"/>
              <a:pathLst>
                <a:path w="1269" h="85">
                  <a:moveTo>
                    <a:pt x="0" y="86"/>
                  </a:moveTo>
                  <a:cubicBezTo>
                    <a:pt x="419" y="-29"/>
                    <a:pt x="851" y="-29"/>
                    <a:pt x="1270" y="86"/>
                  </a:cubicBezTo>
                  <a:cubicBezTo>
                    <a:pt x="851" y="-29"/>
                    <a:pt x="419" y="-29"/>
                    <a:pt x="0" y="86"/>
                  </a:cubicBezTo>
                  <a:close/>
                </a:path>
              </a:pathLst>
            </a:custGeom>
            <a:solidFill>
              <a:srgbClr val="000000"/>
            </a:solidFill>
            <a:ln w="12690"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9960FE20-B7B5-45BA-8696-419FCA4A2FAF}"/>
                </a:ext>
              </a:extLst>
            </p:cNvPr>
            <p:cNvSpPr/>
            <p:nvPr/>
          </p:nvSpPr>
          <p:spPr>
            <a:xfrm>
              <a:off x="4783351" y="6446155"/>
              <a:ext cx="432449" cy="2285"/>
            </a:xfrm>
            <a:custGeom>
              <a:avLst/>
              <a:gdLst>
                <a:gd name="connsiteX0" fmla="*/ 431688 w 432449"/>
                <a:gd name="connsiteY0" fmla="*/ 889 h 2285"/>
                <a:gd name="connsiteX1" fmla="*/ 431688 w 432449"/>
                <a:gd name="connsiteY1" fmla="*/ 0 h 2285"/>
                <a:gd name="connsiteX2" fmla="*/ 0 w 432449"/>
                <a:gd name="connsiteY2" fmla="*/ 0 h 2285"/>
                <a:gd name="connsiteX3" fmla="*/ 0 w 432449"/>
                <a:gd name="connsiteY3" fmla="*/ 1143 h 2285"/>
                <a:gd name="connsiteX4" fmla="*/ 0 w 432449"/>
                <a:gd name="connsiteY4" fmla="*/ 2286 h 2285"/>
                <a:gd name="connsiteX5" fmla="*/ 432449 w 432449"/>
                <a:gd name="connsiteY5" fmla="*/ 2286 h 2285"/>
                <a:gd name="connsiteX6" fmla="*/ 431688 w 432449"/>
                <a:gd name="connsiteY6" fmla="*/ 889 h 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449" h="2285">
                  <a:moveTo>
                    <a:pt x="431688" y="889"/>
                  </a:moveTo>
                  <a:lnTo>
                    <a:pt x="431688" y="0"/>
                  </a:lnTo>
                  <a:lnTo>
                    <a:pt x="0" y="0"/>
                  </a:lnTo>
                  <a:lnTo>
                    <a:pt x="0" y="1143"/>
                  </a:lnTo>
                  <a:cubicBezTo>
                    <a:pt x="64" y="1524"/>
                    <a:pt x="64" y="1905"/>
                    <a:pt x="0" y="2286"/>
                  </a:cubicBezTo>
                  <a:lnTo>
                    <a:pt x="432449" y="2286"/>
                  </a:lnTo>
                  <a:cubicBezTo>
                    <a:pt x="432145" y="1854"/>
                    <a:pt x="431891" y="1384"/>
                    <a:pt x="431688" y="889"/>
                  </a:cubicBezTo>
                  <a:close/>
                </a:path>
              </a:pathLst>
            </a:custGeom>
            <a:solidFill>
              <a:srgbClr val="000000"/>
            </a:solidFill>
            <a:ln w="12690"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5E3AD144-C7B6-4A10-93B5-173101BFEE3C}"/>
                </a:ext>
              </a:extLst>
            </p:cNvPr>
            <p:cNvSpPr/>
            <p:nvPr/>
          </p:nvSpPr>
          <p:spPr>
            <a:xfrm>
              <a:off x="4768750" y="6445140"/>
              <a:ext cx="13839" cy="418992"/>
            </a:xfrm>
            <a:custGeom>
              <a:avLst/>
              <a:gdLst>
                <a:gd name="connsiteX0" fmla="*/ 13332 w 13839"/>
                <a:gd name="connsiteY0" fmla="*/ 1524 h 418992"/>
                <a:gd name="connsiteX1" fmla="*/ 12570 w 13839"/>
                <a:gd name="connsiteY1" fmla="*/ 2540 h 418992"/>
                <a:gd name="connsiteX2" fmla="*/ 11554 w 13839"/>
                <a:gd name="connsiteY2" fmla="*/ 3428 h 418992"/>
                <a:gd name="connsiteX3" fmla="*/ 10538 w 13839"/>
                <a:gd name="connsiteY3" fmla="*/ 4190 h 418992"/>
                <a:gd name="connsiteX4" fmla="*/ 9142 w 13839"/>
                <a:gd name="connsiteY4" fmla="*/ 4190 h 418992"/>
                <a:gd name="connsiteX5" fmla="*/ 7999 w 13839"/>
                <a:gd name="connsiteY5" fmla="*/ 4190 h 418992"/>
                <a:gd name="connsiteX6" fmla="*/ 6983 w 13839"/>
                <a:gd name="connsiteY6" fmla="*/ 4190 h 418992"/>
                <a:gd name="connsiteX7" fmla="*/ 5333 w 13839"/>
                <a:gd name="connsiteY7" fmla="*/ 4190 h 418992"/>
                <a:gd name="connsiteX8" fmla="*/ 0 w 13839"/>
                <a:gd name="connsiteY8" fmla="*/ 4190 h 418992"/>
                <a:gd name="connsiteX9" fmla="*/ 0 w 13839"/>
                <a:gd name="connsiteY9" fmla="*/ 418993 h 418992"/>
                <a:gd name="connsiteX10" fmla="*/ 13839 w 13839"/>
                <a:gd name="connsiteY10" fmla="*/ 418993 h 418992"/>
                <a:gd name="connsiteX11" fmla="*/ 13839 w 13839"/>
                <a:gd name="connsiteY11" fmla="*/ 0 h 41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418992">
                  <a:moveTo>
                    <a:pt x="13332" y="1524"/>
                  </a:moveTo>
                  <a:cubicBezTo>
                    <a:pt x="13154" y="1917"/>
                    <a:pt x="12887" y="2260"/>
                    <a:pt x="12570" y="2540"/>
                  </a:cubicBezTo>
                  <a:cubicBezTo>
                    <a:pt x="12291" y="2895"/>
                    <a:pt x="11948" y="3200"/>
                    <a:pt x="11554" y="3428"/>
                  </a:cubicBezTo>
                  <a:lnTo>
                    <a:pt x="10538" y="4190"/>
                  </a:lnTo>
                  <a:lnTo>
                    <a:pt x="9142" y="4190"/>
                  </a:lnTo>
                  <a:cubicBezTo>
                    <a:pt x="8761" y="4266"/>
                    <a:pt x="8380" y="4266"/>
                    <a:pt x="7999" y="4190"/>
                  </a:cubicBezTo>
                  <a:lnTo>
                    <a:pt x="6983" y="4190"/>
                  </a:lnTo>
                  <a:lnTo>
                    <a:pt x="5333" y="4190"/>
                  </a:lnTo>
                  <a:lnTo>
                    <a:pt x="0" y="4190"/>
                  </a:lnTo>
                  <a:lnTo>
                    <a:pt x="0" y="418993"/>
                  </a:lnTo>
                  <a:lnTo>
                    <a:pt x="13839" y="418993"/>
                  </a:lnTo>
                  <a:lnTo>
                    <a:pt x="13839" y="0"/>
                  </a:lnTo>
                  <a:close/>
                </a:path>
              </a:pathLst>
            </a:custGeom>
            <a:solidFill>
              <a:srgbClr val="000000"/>
            </a:solidFill>
            <a:ln w="12690"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64002D11-3CE9-4000-B290-2D51686D1EFB}"/>
                </a:ext>
              </a:extLst>
            </p:cNvPr>
            <p:cNvSpPr/>
            <p:nvPr/>
          </p:nvSpPr>
          <p:spPr>
            <a:xfrm>
              <a:off x="5818894" y="6440512"/>
              <a:ext cx="6729" cy="1199"/>
            </a:xfrm>
            <a:custGeom>
              <a:avLst/>
              <a:gdLst>
                <a:gd name="connsiteX0" fmla="*/ 4063 w 6729"/>
                <a:gd name="connsiteY0" fmla="*/ 1200 h 1199"/>
                <a:gd name="connsiteX1" fmla="*/ 6729 w 6729"/>
                <a:gd name="connsiteY1" fmla="*/ 57 h 1199"/>
                <a:gd name="connsiteX2" fmla="*/ 5079 w 6729"/>
                <a:gd name="connsiteY2" fmla="*/ 57 h 1199"/>
                <a:gd name="connsiteX3" fmla="*/ 5079 w 6729"/>
                <a:gd name="connsiteY3" fmla="*/ 57 h 1199"/>
                <a:gd name="connsiteX4" fmla="*/ 0 w 6729"/>
                <a:gd name="connsiteY4" fmla="*/ 57 h 1199"/>
                <a:gd name="connsiteX5" fmla="*/ 0 w 6729"/>
                <a:gd name="connsiteY5" fmla="*/ 57 h 1199"/>
                <a:gd name="connsiteX6" fmla="*/ 4063 w 6729"/>
                <a:gd name="connsiteY6" fmla="*/ 1200 h 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 h="1199">
                  <a:moveTo>
                    <a:pt x="4063" y="1200"/>
                  </a:moveTo>
                  <a:cubicBezTo>
                    <a:pt x="4850" y="616"/>
                    <a:pt x="5764" y="222"/>
                    <a:pt x="6729" y="57"/>
                  </a:cubicBezTo>
                  <a:cubicBezTo>
                    <a:pt x="6183" y="-19"/>
                    <a:pt x="5625" y="-19"/>
                    <a:pt x="5079" y="57"/>
                  </a:cubicBezTo>
                  <a:lnTo>
                    <a:pt x="5079" y="57"/>
                  </a:lnTo>
                  <a:lnTo>
                    <a:pt x="0" y="57"/>
                  </a:lnTo>
                  <a:lnTo>
                    <a:pt x="0" y="57"/>
                  </a:lnTo>
                  <a:cubicBezTo>
                    <a:pt x="1435" y="32"/>
                    <a:pt x="2857" y="425"/>
                    <a:pt x="4063" y="1200"/>
                  </a:cubicBezTo>
                  <a:close/>
                </a:path>
              </a:pathLst>
            </a:custGeom>
            <a:solidFill>
              <a:srgbClr val="000000"/>
            </a:solidFill>
            <a:ln w="12690"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7342CE50-B9F2-4DCD-AE5A-00BBEF1ACF10}"/>
                </a:ext>
              </a:extLst>
            </p:cNvPr>
            <p:cNvSpPr/>
            <p:nvPr/>
          </p:nvSpPr>
          <p:spPr>
            <a:xfrm>
              <a:off x="5818132" y="6452123"/>
              <a:ext cx="6475" cy="1396"/>
            </a:xfrm>
            <a:custGeom>
              <a:avLst/>
              <a:gdLst>
                <a:gd name="connsiteX0" fmla="*/ 3809 w 6475"/>
                <a:gd name="connsiteY0" fmla="*/ 0 h 1396"/>
                <a:gd name="connsiteX1" fmla="*/ 0 w 6475"/>
                <a:gd name="connsiteY1" fmla="*/ 1397 h 1396"/>
                <a:gd name="connsiteX2" fmla="*/ 2286 w 6475"/>
                <a:gd name="connsiteY2" fmla="*/ 1397 h 1396"/>
                <a:gd name="connsiteX3" fmla="*/ 4698 w 6475"/>
                <a:gd name="connsiteY3" fmla="*/ 1397 h 1396"/>
                <a:gd name="connsiteX4" fmla="*/ 5333 w 6475"/>
                <a:gd name="connsiteY4" fmla="*/ 1397 h 1396"/>
                <a:gd name="connsiteX5" fmla="*/ 6475 w 6475"/>
                <a:gd name="connsiteY5" fmla="*/ 1397 h 1396"/>
                <a:gd name="connsiteX6" fmla="*/ 3809 w 6475"/>
                <a:gd name="connsiteY6" fmla="*/ 0 h 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5" h="1396">
                  <a:moveTo>
                    <a:pt x="3809" y="0"/>
                  </a:moveTo>
                  <a:cubicBezTo>
                    <a:pt x="2717" y="851"/>
                    <a:pt x="1384" y="1346"/>
                    <a:pt x="0" y="1397"/>
                  </a:cubicBezTo>
                  <a:lnTo>
                    <a:pt x="2286" y="1397"/>
                  </a:lnTo>
                  <a:lnTo>
                    <a:pt x="4698" y="1397"/>
                  </a:lnTo>
                  <a:lnTo>
                    <a:pt x="5333" y="1397"/>
                  </a:lnTo>
                  <a:lnTo>
                    <a:pt x="6475" y="1397"/>
                  </a:lnTo>
                  <a:cubicBezTo>
                    <a:pt x="5472" y="1181"/>
                    <a:pt x="4558" y="698"/>
                    <a:pt x="3809" y="0"/>
                  </a:cubicBezTo>
                  <a:close/>
                </a:path>
              </a:pathLst>
            </a:custGeom>
            <a:solidFill>
              <a:srgbClr val="000000"/>
            </a:solidFill>
            <a:ln w="12690"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3625B157-0455-4F4C-82E3-394E61B16D11}"/>
                </a:ext>
              </a:extLst>
            </p:cNvPr>
            <p:cNvSpPr/>
            <p:nvPr/>
          </p:nvSpPr>
          <p:spPr>
            <a:xfrm>
              <a:off x="5822576" y="6441753"/>
              <a:ext cx="12109" cy="13258"/>
            </a:xfrm>
            <a:custGeom>
              <a:avLst/>
              <a:gdLst>
                <a:gd name="connsiteX0" fmla="*/ 10538 w 12109"/>
                <a:gd name="connsiteY0" fmla="*/ 1990 h 13258"/>
                <a:gd name="connsiteX1" fmla="*/ 9776 w 12109"/>
                <a:gd name="connsiteY1" fmla="*/ 975 h 13258"/>
                <a:gd name="connsiteX2" fmla="*/ 8761 w 12109"/>
                <a:gd name="connsiteY2" fmla="*/ 86 h 13258"/>
                <a:gd name="connsiteX3" fmla="*/ 7618 w 12109"/>
                <a:gd name="connsiteY3" fmla="*/ 86 h 13258"/>
                <a:gd name="connsiteX4" fmla="*/ 6348 w 12109"/>
                <a:gd name="connsiteY4" fmla="*/ 86 h 13258"/>
                <a:gd name="connsiteX5" fmla="*/ 5333 w 12109"/>
                <a:gd name="connsiteY5" fmla="*/ 86 h 13258"/>
                <a:gd name="connsiteX6" fmla="*/ 5333 w 12109"/>
                <a:gd name="connsiteY6" fmla="*/ 86 h 13258"/>
                <a:gd name="connsiteX7" fmla="*/ 3682 w 12109"/>
                <a:gd name="connsiteY7" fmla="*/ 86 h 13258"/>
                <a:gd name="connsiteX8" fmla="*/ 3682 w 12109"/>
                <a:gd name="connsiteY8" fmla="*/ 86 h 13258"/>
                <a:gd name="connsiteX9" fmla="*/ 1016 w 12109"/>
                <a:gd name="connsiteY9" fmla="*/ 1228 h 13258"/>
                <a:gd name="connsiteX10" fmla="*/ 3047 w 12109"/>
                <a:gd name="connsiteY10" fmla="*/ 6053 h 13258"/>
                <a:gd name="connsiteX11" fmla="*/ 0 w 12109"/>
                <a:gd name="connsiteY11" fmla="*/ 11640 h 13258"/>
                <a:gd name="connsiteX12" fmla="*/ 2666 w 12109"/>
                <a:gd name="connsiteY12" fmla="*/ 13163 h 13258"/>
                <a:gd name="connsiteX13" fmla="*/ 4317 w 12109"/>
                <a:gd name="connsiteY13" fmla="*/ 13163 h 13258"/>
                <a:gd name="connsiteX14" fmla="*/ 5206 w 12109"/>
                <a:gd name="connsiteY14" fmla="*/ 13163 h 13258"/>
                <a:gd name="connsiteX15" fmla="*/ 12062 w 12109"/>
                <a:gd name="connsiteY15" fmla="*/ 6815 h 13258"/>
                <a:gd name="connsiteX16" fmla="*/ 12062 w 12109"/>
                <a:gd name="connsiteY16" fmla="*/ 5164 h 13258"/>
                <a:gd name="connsiteX17" fmla="*/ 12062 w 12109"/>
                <a:gd name="connsiteY17" fmla="*/ 3768 h 13258"/>
                <a:gd name="connsiteX18" fmla="*/ 10538 w 12109"/>
                <a:gd name="connsiteY18" fmla="*/ 1990 h 1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09" h="13258">
                  <a:moveTo>
                    <a:pt x="10538" y="1990"/>
                  </a:moveTo>
                  <a:lnTo>
                    <a:pt x="9776" y="975"/>
                  </a:lnTo>
                  <a:lnTo>
                    <a:pt x="8761" y="86"/>
                  </a:lnTo>
                  <a:lnTo>
                    <a:pt x="7618" y="86"/>
                  </a:lnTo>
                  <a:cubicBezTo>
                    <a:pt x="7199" y="-29"/>
                    <a:pt x="6767" y="-29"/>
                    <a:pt x="6348" y="86"/>
                  </a:cubicBezTo>
                  <a:cubicBezTo>
                    <a:pt x="6348" y="86"/>
                    <a:pt x="6348" y="86"/>
                    <a:pt x="5333" y="86"/>
                  </a:cubicBezTo>
                  <a:lnTo>
                    <a:pt x="5333" y="86"/>
                  </a:lnTo>
                  <a:cubicBezTo>
                    <a:pt x="4787" y="22"/>
                    <a:pt x="4228" y="22"/>
                    <a:pt x="3682" y="86"/>
                  </a:cubicBezTo>
                  <a:lnTo>
                    <a:pt x="3682" y="86"/>
                  </a:lnTo>
                  <a:cubicBezTo>
                    <a:pt x="2717" y="251"/>
                    <a:pt x="1803" y="644"/>
                    <a:pt x="1016" y="1228"/>
                  </a:cubicBezTo>
                  <a:cubicBezTo>
                    <a:pt x="2311" y="2498"/>
                    <a:pt x="3047" y="4238"/>
                    <a:pt x="3047" y="6053"/>
                  </a:cubicBezTo>
                  <a:cubicBezTo>
                    <a:pt x="3085" y="8326"/>
                    <a:pt x="1930" y="10434"/>
                    <a:pt x="0" y="11640"/>
                  </a:cubicBezTo>
                  <a:cubicBezTo>
                    <a:pt x="737" y="12376"/>
                    <a:pt x="1651" y="12909"/>
                    <a:pt x="2666" y="13163"/>
                  </a:cubicBezTo>
                  <a:cubicBezTo>
                    <a:pt x="3212" y="13290"/>
                    <a:pt x="3771" y="13290"/>
                    <a:pt x="4317" y="13163"/>
                  </a:cubicBezTo>
                  <a:lnTo>
                    <a:pt x="5206" y="13163"/>
                  </a:lnTo>
                  <a:cubicBezTo>
                    <a:pt x="8799" y="13176"/>
                    <a:pt x="11795" y="10408"/>
                    <a:pt x="12062" y="6815"/>
                  </a:cubicBezTo>
                  <a:cubicBezTo>
                    <a:pt x="12126" y="6269"/>
                    <a:pt x="12126" y="5710"/>
                    <a:pt x="12062" y="5164"/>
                  </a:cubicBezTo>
                  <a:cubicBezTo>
                    <a:pt x="12062" y="5164"/>
                    <a:pt x="12062" y="4276"/>
                    <a:pt x="12062" y="3768"/>
                  </a:cubicBezTo>
                  <a:cubicBezTo>
                    <a:pt x="11427" y="3298"/>
                    <a:pt x="10907" y="2689"/>
                    <a:pt x="10538" y="1990"/>
                  </a:cubicBezTo>
                  <a:close/>
                </a:path>
              </a:pathLst>
            </a:custGeom>
            <a:solidFill>
              <a:srgbClr val="000000"/>
            </a:solidFill>
            <a:ln w="12690"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EBEC7AA1-09EF-4304-BD1E-E7784D3AC79C}"/>
                </a:ext>
              </a:extLst>
            </p:cNvPr>
            <p:cNvSpPr/>
            <p:nvPr/>
          </p:nvSpPr>
          <p:spPr>
            <a:xfrm>
              <a:off x="4782717" y="6448441"/>
              <a:ext cx="76" cy="1142"/>
            </a:xfrm>
            <a:custGeom>
              <a:avLst/>
              <a:gdLst>
                <a:gd name="connsiteX0" fmla="*/ 0 w 76"/>
                <a:gd name="connsiteY0" fmla="*/ 1143 h 1142"/>
                <a:gd name="connsiteX1" fmla="*/ 0 w 76"/>
                <a:gd name="connsiteY1" fmla="*/ 0 h 1142"/>
                <a:gd name="connsiteX2" fmla="*/ 0 w 76"/>
                <a:gd name="connsiteY2" fmla="*/ 0 h 1142"/>
                <a:gd name="connsiteX3" fmla="*/ 0 w 76"/>
                <a:gd name="connsiteY3" fmla="*/ 1143 h 1142"/>
              </a:gdLst>
              <a:ahLst/>
              <a:cxnLst>
                <a:cxn ang="0">
                  <a:pos x="connsiteX0" y="connsiteY0"/>
                </a:cxn>
                <a:cxn ang="0">
                  <a:pos x="connsiteX1" y="connsiteY1"/>
                </a:cxn>
                <a:cxn ang="0">
                  <a:pos x="connsiteX2" y="connsiteY2"/>
                </a:cxn>
                <a:cxn ang="0">
                  <a:pos x="connsiteX3" y="connsiteY3"/>
                </a:cxn>
              </a:cxnLst>
              <a:rect l="l" t="t" r="r" b="b"/>
              <a:pathLst>
                <a:path w="76" h="1142">
                  <a:moveTo>
                    <a:pt x="0" y="1143"/>
                  </a:moveTo>
                  <a:cubicBezTo>
                    <a:pt x="64" y="762"/>
                    <a:pt x="64" y="381"/>
                    <a:pt x="0" y="0"/>
                  </a:cubicBezTo>
                  <a:lnTo>
                    <a:pt x="0" y="0"/>
                  </a:lnTo>
                  <a:cubicBezTo>
                    <a:pt x="102" y="381"/>
                    <a:pt x="102" y="762"/>
                    <a:pt x="0" y="1143"/>
                  </a:cubicBezTo>
                  <a:close/>
                </a:path>
              </a:pathLst>
            </a:custGeom>
            <a:solidFill>
              <a:srgbClr val="000000"/>
            </a:solidFill>
            <a:ln w="12690"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FD9C6B1A-CF75-4EB2-9B84-B4CE218D9155}"/>
                </a:ext>
              </a:extLst>
            </p:cNvPr>
            <p:cNvSpPr/>
            <p:nvPr/>
          </p:nvSpPr>
          <p:spPr>
            <a:xfrm>
              <a:off x="4779205" y="6452758"/>
              <a:ext cx="1099" cy="778"/>
            </a:xfrm>
            <a:custGeom>
              <a:avLst/>
              <a:gdLst>
                <a:gd name="connsiteX0" fmla="*/ 1100 w 1099"/>
                <a:gd name="connsiteY0" fmla="*/ 0 h 778"/>
                <a:gd name="connsiteX1" fmla="*/ 84 w 1099"/>
                <a:gd name="connsiteY1" fmla="*/ 762 h 778"/>
                <a:gd name="connsiteX2" fmla="*/ 1100 w 1099"/>
                <a:gd name="connsiteY2" fmla="*/ 0 h 778"/>
              </a:gdLst>
              <a:ahLst/>
              <a:cxnLst>
                <a:cxn ang="0">
                  <a:pos x="connsiteX0" y="connsiteY0"/>
                </a:cxn>
                <a:cxn ang="0">
                  <a:pos x="connsiteX1" y="connsiteY1"/>
                </a:cxn>
                <a:cxn ang="0">
                  <a:pos x="connsiteX2" y="connsiteY2"/>
                </a:cxn>
              </a:cxnLst>
              <a:rect l="l" t="t" r="r" b="b"/>
              <a:pathLst>
                <a:path w="1099" h="778">
                  <a:moveTo>
                    <a:pt x="1100" y="0"/>
                  </a:moveTo>
                  <a:cubicBezTo>
                    <a:pt x="1100" y="0"/>
                    <a:pt x="465" y="635"/>
                    <a:pt x="84" y="762"/>
                  </a:cubicBezTo>
                  <a:cubicBezTo>
                    <a:pt x="-297" y="889"/>
                    <a:pt x="719" y="254"/>
                    <a:pt x="1100" y="0"/>
                  </a:cubicBezTo>
                  <a:close/>
                </a:path>
              </a:pathLst>
            </a:custGeom>
            <a:solidFill>
              <a:srgbClr val="000000"/>
            </a:solidFill>
            <a:ln w="12690"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2A8E2FB8-205A-4940-B013-9E887D7CFBE9}"/>
                </a:ext>
              </a:extLst>
            </p:cNvPr>
            <p:cNvSpPr/>
            <p:nvPr/>
          </p:nvSpPr>
          <p:spPr>
            <a:xfrm>
              <a:off x="4781320" y="6450853"/>
              <a:ext cx="762" cy="1142"/>
            </a:xfrm>
            <a:custGeom>
              <a:avLst/>
              <a:gdLst>
                <a:gd name="connsiteX0" fmla="*/ 762 w 762"/>
                <a:gd name="connsiteY0" fmla="*/ 0 h 1142"/>
                <a:gd name="connsiteX1" fmla="*/ 0 w 762"/>
                <a:gd name="connsiteY1" fmla="*/ 1143 h 1142"/>
                <a:gd name="connsiteX2" fmla="*/ 762 w 762"/>
                <a:gd name="connsiteY2" fmla="*/ 0 h 1142"/>
              </a:gdLst>
              <a:ahLst/>
              <a:cxnLst>
                <a:cxn ang="0">
                  <a:pos x="connsiteX0" y="connsiteY0"/>
                </a:cxn>
                <a:cxn ang="0">
                  <a:pos x="connsiteX1" y="connsiteY1"/>
                </a:cxn>
                <a:cxn ang="0">
                  <a:pos x="connsiteX2" y="connsiteY2"/>
                </a:cxn>
              </a:cxnLst>
              <a:rect l="l" t="t" r="r" b="b"/>
              <a:pathLst>
                <a:path w="762" h="1142">
                  <a:moveTo>
                    <a:pt x="762" y="0"/>
                  </a:moveTo>
                  <a:cubicBezTo>
                    <a:pt x="559" y="406"/>
                    <a:pt x="292" y="787"/>
                    <a:pt x="0" y="1143"/>
                  </a:cubicBezTo>
                  <a:cubicBezTo>
                    <a:pt x="292" y="787"/>
                    <a:pt x="559" y="406"/>
                    <a:pt x="762" y="0"/>
                  </a:cubicBezTo>
                  <a:close/>
                </a:path>
              </a:pathLst>
            </a:custGeom>
            <a:solidFill>
              <a:srgbClr val="000000"/>
            </a:solidFill>
            <a:ln w="12690"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C07B04C8-A3B2-4AE5-888B-F0F4E42E1717}"/>
                </a:ext>
              </a:extLst>
            </p:cNvPr>
            <p:cNvSpPr/>
            <p:nvPr/>
          </p:nvSpPr>
          <p:spPr>
            <a:xfrm>
              <a:off x="4773956" y="6453901"/>
              <a:ext cx="3808" cy="57"/>
            </a:xfrm>
            <a:custGeom>
              <a:avLst/>
              <a:gdLst>
                <a:gd name="connsiteX0" fmla="*/ 1016 w 3808"/>
                <a:gd name="connsiteY0" fmla="*/ 0 h 57"/>
                <a:gd name="connsiteX1" fmla="*/ 0 w 3808"/>
                <a:gd name="connsiteY1" fmla="*/ 0 h 57"/>
                <a:gd name="connsiteX2" fmla="*/ 1651 w 3808"/>
                <a:gd name="connsiteY2" fmla="*/ 0 h 57"/>
                <a:gd name="connsiteX3" fmla="*/ 2666 w 3808"/>
                <a:gd name="connsiteY3" fmla="*/ 0 h 57"/>
                <a:gd name="connsiteX4" fmla="*/ 3809 w 3808"/>
                <a:gd name="connsiteY4" fmla="*/ 0 h 57"/>
                <a:gd name="connsiteX5" fmla="*/ 2285 w 3808"/>
                <a:gd name="connsiteY5" fmla="*/ 0 h 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8" h="57">
                  <a:moveTo>
                    <a:pt x="1016" y="0"/>
                  </a:moveTo>
                  <a:lnTo>
                    <a:pt x="0" y="0"/>
                  </a:lnTo>
                  <a:cubicBezTo>
                    <a:pt x="546" y="76"/>
                    <a:pt x="1105" y="76"/>
                    <a:pt x="1651" y="0"/>
                  </a:cubicBezTo>
                  <a:lnTo>
                    <a:pt x="2666" y="0"/>
                  </a:lnTo>
                  <a:lnTo>
                    <a:pt x="3809" y="0"/>
                  </a:lnTo>
                  <a:lnTo>
                    <a:pt x="2285" y="0"/>
                  </a:lnTo>
                  <a:close/>
                </a:path>
              </a:pathLst>
            </a:custGeom>
            <a:solidFill>
              <a:srgbClr val="000000"/>
            </a:solidFill>
            <a:ln w="12690"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3DB55179-E60B-4E0D-8787-F56A4248AB46}"/>
                </a:ext>
              </a:extLst>
            </p:cNvPr>
            <p:cNvSpPr/>
            <p:nvPr/>
          </p:nvSpPr>
          <p:spPr>
            <a:xfrm>
              <a:off x="6530163" y="6510528"/>
              <a:ext cx="13838" cy="353985"/>
            </a:xfrm>
            <a:custGeom>
              <a:avLst/>
              <a:gdLst>
                <a:gd name="connsiteX0" fmla="*/ 6856 w 13838"/>
                <a:gd name="connsiteY0" fmla="*/ 6856 h 353985"/>
                <a:gd name="connsiteX1" fmla="*/ 0 w 13838"/>
                <a:gd name="connsiteY1" fmla="*/ 0 h 353985"/>
                <a:gd name="connsiteX2" fmla="*/ 0 w 13838"/>
                <a:gd name="connsiteY2" fmla="*/ 353985 h 353985"/>
                <a:gd name="connsiteX3" fmla="*/ 13839 w 13838"/>
                <a:gd name="connsiteY3" fmla="*/ 353985 h 353985"/>
                <a:gd name="connsiteX4" fmla="*/ 13839 w 13838"/>
                <a:gd name="connsiteY4" fmla="*/ 6856 h 353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 h="353985">
                  <a:moveTo>
                    <a:pt x="6856" y="6856"/>
                  </a:moveTo>
                  <a:cubicBezTo>
                    <a:pt x="3073" y="6856"/>
                    <a:pt x="0" y="3784"/>
                    <a:pt x="0" y="0"/>
                  </a:cubicBezTo>
                  <a:lnTo>
                    <a:pt x="0" y="353985"/>
                  </a:lnTo>
                  <a:lnTo>
                    <a:pt x="13839" y="353985"/>
                  </a:lnTo>
                  <a:lnTo>
                    <a:pt x="13839" y="6856"/>
                  </a:lnTo>
                  <a:close/>
                </a:path>
              </a:pathLst>
            </a:custGeom>
            <a:solidFill>
              <a:schemeClr val="tx2"/>
            </a:solidFill>
            <a:ln w="12690"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D6535FD8-4375-4EF0-926E-FCFB9D3EED84}"/>
                </a:ext>
              </a:extLst>
            </p:cNvPr>
            <p:cNvSpPr/>
            <p:nvPr/>
          </p:nvSpPr>
          <p:spPr>
            <a:xfrm>
              <a:off x="6530163" y="6507862"/>
              <a:ext cx="346492" cy="13585"/>
            </a:xfrm>
            <a:custGeom>
              <a:avLst/>
              <a:gdLst>
                <a:gd name="connsiteX0" fmla="*/ 339509 w 346492"/>
                <a:gd name="connsiteY0" fmla="*/ 6856 h 13585"/>
                <a:gd name="connsiteX1" fmla="*/ 346492 w 346492"/>
                <a:gd name="connsiteY1" fmla="*/ 0 h 13585"/>
                <a:gd name="connsiteX2" fmla="*/ 6856 w 346492"/>
                <a:gd name="connsiteY2" fmla="*/ 0 h 13585"/>
                <a:gd name="connsiteX3" fmla="*/ 5714 w 346492"/>
                <a:gd name="connsiteY3" fmla="*/ 0 h 13585"/>
                <a:gd name="connsiteX4" fmla="*/ 0 w 346492"/>
                <a:gd name="connsiteY4" fmla="*/ 6602 h 13585"/>
                <a:gd name="connsiteX5" fmla="*/ 6856 w 346492"/>
                <a:gd name="connsiteY5" fmla="*/ 13586 h 13585"/>
                <a:gd name="connsiteX6" fmla="*/ 346492 w 346492"/>
                <a:gd name="connsiteY6" fmla="*/ 13586 h 13585"/>
                <a:gd name="connsiteX7" fmla="*/ 339509 w 346492"/>
                <a:gd name="connsiteY7" fmla="*/ 6856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492" h="13585">
                  <a:moveTo>
                    <a:pt x="339509" y="6856"/>
                  </a:moveTo>
                  <a:cubicBezTo>
                    <a:pt x="339573" y="3047"/>
                    <a:pt x="342684" y="0"/>
                    <a:pt x="346492" y="0"/>
                  </a:cubicBezTo>
                  <a:lnTo>
                    <a:pt x="6856" y="0"/>
                  </a:lnTo>
                  <a:lnTo>
                    <a:pt x="5714" y="0"/>
                  </a:lnTo>
                  <a:cubicBezTo>
                    <a:pt x="2450" y="495"/>
                    <a:pt x="26" y="3301"/>
                    <a:pt x="0" y="6602"/>
                  </a:cubicBezTo>
                  <a:cubicBezTo>
                    <a:pt x="0" y="10411"/>
                    <a:pt x="3047" y="13522"/>
                    <a:pt x="6856" y="13586"/>
                  </a:cubicBezTo>
                  <a:lnTo>
                    <a:pt x="346492" y="13586"/>
                  </a:lnTo>
                  <a:cubicBezTo>
                    <a:pt x="342735" y="13586"/>
                    <a:pt x="339649" y="10614"/>
                    <a:pt x="339509" y="6856"/>
                  </a:cubicBezTo>
                  <a:close/>
                </a:path>
              </a:pathLst>
            </a:custGeom>
            <a:solidFill>
              <a:srgbClr val="000000"/>
            </a:solidFill>
            <a:ln w="12690"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616A9597-C3AC-4CF2-A105-E8C11CE147CF}"/>
                </a:ext>
              </a:extLst>
            </p:cNvPr>
            <p:cNvSpPr/>
            <p:nvPr/>
          </p:nvSpPr>
          <p:spPr>
            <a:xfrm>
              <a:off x="6869672" y="6507862"/>
              <a:ext cx="39613" cy="13839"/>
            </a:xfrm>
            <a:custGeom>
              <a:avLst/>
              <a:gdLst>
                <a:gd name="connsiteX0" fmla="*/ 0 w 39613"/>
                <a:gd name="connsiteY0" fmla="*/ 6856 h 13839"/>
                <a:gd name="connsiteX1" fmla="*/ 6983 w 39613"/>
                <a:gd name="connsiteY1" fmla="*/ 13839 h 13839"/>
                <a:gd name="connsiteX2" fmla="*/ 39614 w 39613"/>
                <a:gd name="connsiteY2" fmla="*/ 13839 h 13839"/>
                <a:gd name="connsiteX3" fmla="*/ 39614 w 39613"/>
                <a:gd name="connsiteY3" fmla="*/ 0 h 13839"/>
                <a:gd name="connsiteX4" fmla="*/ 6983 w 39613"/>
                <a:gd name="connsiteY4" fmla="*/ 0 h 13839"/>
                <a:gd name="connsiteX5" fmla="*/ 0 w 39613"/>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3" h="13839">
                  <a:moveTo>
                    <a:pt x="0" y="6856"/>
                  </a:moveTo>
                  <a:cubicBezTo>
                    <a:pt x="0" y="10716"/>
                    <a:pt x="3124" y="13839"/>
                    <a:pt x="6983" y="13839"/>
                  </a:cubicBezTo>
                  <a:lnTo>
                    <a:pt x="39614" y="13839"/>
                  </a:lnTo>
                  <a:lnTo>
                    <a:pt x="39614" y="0"/>
                  </a:lnTo>
                  <a:lnTo>
                    <a:pt x="6983" y="0"/>
                  </a:lnTo>
                  <a:cubicBezTo>
                    <a:pt x="3174" y="0"/>
                    <a:pt x="64" y="3047"/>
                    <a:pt x="0" y="6856"/>
                  </a:cubicBezTo>
                  <a:close/>
                </a:path>
              </a:pathLst>
            </a:custGeom>
            <a:solidFill>
              <a:srgbClr val="000000"/>
            </a:solidFill>
            <a:ln w="12690"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C6C2EB5D-F901-477B-8016-E2A8B68984F1}"/>
                </a:ext>
              </a:extLst>
            </p:cNvPr>
            <p:cNvSpPr/>
            <p:nvPr/>
          </p:nvSpPr>
          <p:spPr>
            <a:xfrm>
              <a:off x="4143184" y="5614391"/>
              <a:ext cx="105636" cy="13839"/>
            </a:xfrm>
            <a:custGeom>
              <a:avLst/>
              <a:gdLst>
                <a:gd name="connsiteX0" fmla="*/ 6983 w 105636"/>
                <a:gd name="connsiteY0" fmla="*/ 13839 h 13839"/>
                <a:gd name="connsiteX1" fmla="*/ 105637 w 105636"/>
                <a:gd name="connsiteY1" fmla="*/ 13839 h 13839"/>
                <a:gd name="connsiteX2" fmla="*/ 98780 w 105636"/>
                <a:gd name="connsiteY2" fmla="*/ 6856 h 13839"/>
                <a:gd name="connsiteX3" fmla="*/ 105637 w 105636"/>
                <a:gd name="connsiteY3" fmla="*/ 0 h 13839"/>
                <a:gd name="connsiteX4" fmla="*/ 6983 w 105636"/>
                <a:gd name="connsiteY4" fmla="*/ 0 h 13839"/>
                <a:gd name="connsiteX5" fmla="*/ 0 w 105636"/>
                <a:gd name="connsiteY5" fmla="*/ 6856 h 13839"/>
                <a:gd name="connsiteX6" fmla="*/ 6983 w 105636"/>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36" h="13839">
                  <a:moveTo>
                    <a:pt x="6983" y="13839"/>
                  </a:moveTo>
                  <a:lnTo>
                    <a:pt x="105637" y="13839"/>
                  </a:lnTo>
                  <a:cubicBezTo>
                    <a:pt x="101827" y="13770"/>
                    <a:pt x="98780" y="10664"/>
                    <a:pt x="98780" y="6856"/>
                  </a:cubicBezTo>
                  <a:cubicBezTo>
                    <a:pt x="98780" y="3070"/>
                    <a:pt x="101853" y="0"/>
                    <a:pt x="105637" y="0"/>
                  </a:cubicBezTo>
                  <a:lnTo>
                    <a:pt x="6983" y="0"/>
                  </a:lnTo>
                  <a:cubicBezTo>
                    <a:pt x="3174" y="0"/>
                    <a:pt x="64" y="3050"/>
                    <a:pt x="0" y="6856"/>
                  </a:cubicBezTo>
                  <a:cubicBezTo>
                    <a:pt x="0" y="10713"/>
                    <a:pt x="3123" y="13839"/>
                    <a:pt x="6983" y="13839"/>
                  </a:cubicBezTo>
                  <a:close/>
                </a:path>
              </a:pathLst>
            </a:custGeom>
            <a:solidFill>
              <a:srgbClr val="000000"/>
            </a:solidFill>
            <a:ln w="12690"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91255853-46A6-49BF-83D1-47482CE23CBC}"/>
                </a:ext>
              </a:extLst>
            </p:cNvPr>
            <p:cNvSpPr/>
            <p:nvPr/>
          </p:nvSpPr>
          <p:spPr>
            <a:xfrm>
              <a:off x="4192690" y="5985517"/>
              <a:ext cx="13850" cy="118206"/>
            </a:xfrm>
            <a:custGeom>
              <a:avLst/>
              <a:gdLst>
                <a:gd name="connsiteX0" fmla="*/ 6867 w 13850"/>
                <a:gd name="connsiteY0" fmla="*/ 110843 h 118206"/>
                <a:gd name="connsiteX1" fmla="*/ 13850 w 13850"/>
                <a:gd name="connsiteY1" fmla="*/ 117826 h 118206"/>
                <a:gd name="connsiteX2" fmla="*/ 13850 w 13850"/>
                <a:gd name="connsiteY2" fmla="*/ 6983 h 118206"/>
                <a:gd name="connsiteX3" fmla="*/ 6867 w 13850"/>
                <a:gd name="connsiteY3" fmla="*/ 0 h 118206"/>
                <a:gd name="connsiteX4" fmla="*/ 11 w 13850"/>
                <a:gd name="connsiteY4" fmla="*/ 6983 h 118206"/>
                <a:gd name="connsiteX5" fmla="*/ 11 w 13850"/>
                <a:gd name="connsiteY5" fmla="*/ 118207 h 118206"/>
                <a:gd name="connsiteX6" fmla="*/ 6601 w 13850"/>
                <a:gd name="connsiteY6" fmla="*/ 110855 h 118206"/>
                <a:gd name="connsiteX7" fmla="*/ 6867 w 13850"/>
                <a:gd name="connsiteY7" fmla="*/ 110843 h 11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0" h="118206">
                  <a:moveTo>
                    <a:pt x="6867" y="110843"/>
                  </a:moveTo>
                  <a:cubicBezTo>
                    <a:pt x="10727" y="110843"/>
                    <a:pt x="13850" y="113966"/>
                    <a:pt x="13850" y="117826"/>
                  </a:cubicBezTo>
                  <a:lnTo>
                    <a:pt x="13850" y="6983"/>
                  </a:lnTo>
                  <a:cubicBezTo>
                    <a:pt x="13850" y="3126"/>
                    <a:pt x="10727" y="0"/>
                    <a:pt x="6867" y="0"/>
                  </a:cubicBezTo>
                  <a:cubicBezTo>
                    <a:pt x="3058" y="70"/>
                    <a:pt x="11" y="3176"/>
                    <a:pt x="11" y="6983"/>
                  </a:cubicBezTo>
                  <a:lnTo>
                    <a:pt x="11" y="118207"/>
                  </a:lnTo>
                  <a:cubicBezTo>
                    <a:pt x="-205" y="114360"/>
                    <a:pt x="2754" y="111059"/>
                    <a:pt x="6601" y="110855"/>
                  </a:cubicBezTo>
                  <a:cubicBezTo>
                    <a:pt x="6690" y="110843"/>
                    <a:pt x="6778" y="110843"/>
                    <a:pt x="6867" y="110843"/>
                  </a:cubicBezTo>
                  <a:close/>
                </a:path>
              </a:pathLst>
            </a:custGeom>
            <a:solidFill>
              <a:srgbClr val="000000"/>
            </a:solidFill>
            <a:ln w="12690"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FC1DB8CB-94EB-42E4-8220-723DA7D09DCB}"/>
                </a:ext>
              </a:extLst>
            </p:cNvPr>
            <p:cNvSpPr/>
            <p:nvPr/>
          </p:nvSpPr>
          <p:spPr>
            <a:xfrm>
              <a:off x="4192701" y="6096360"/>
              <a:ext cx="13839" cy="342304"/>
            </a:xfrm>
            <a:custGeom>
              <a:avLst/>
              <a:gdLst>
                <a:gd name="connsiteX0" fmla="*/ 13839 w 13839"/>
                <a:gd name="connsiteY0" fmla="*/ 342304 h 342304"/>
                <a:gd name="connsiteX1" fmla="*/ 13839 w 13839"/>
                <a:gd name="connsiteY1" fmla="*/ 6983 h 342304"/>
                <a:gd name="connsiteX2" fmla="*/ 6856 w 13839"/>
                <a:gd name="connsiteY2" fmla="*/ 0 h 342304"/>
                <a:gd name="connsiteX3" fmla="*/ 0 w 13839"/>
                <a:gd name="connsiteY3" fmla="*/ 6983 h 342304"/>
                <a:gd name="connsiteX4" fmla="*/ 0 w 13839"/>
                <a:gd name="connsiteY4" fmla="*/ 342304 h 342304"/>
                <a:gd name="connsiteX5" fmla="*/ 13839 w 13839"/>
                <a:gd name="connsiteY5" fmla="*/ 342304 h 3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42304">
                  <a:moveTo>
                    <a:pt x="13839" y="342304"/>
                  </a:moveTo>
                  <a:lnTo>
                    <a:pt x="13839" y="6983"/>
                  </a:lnTo>
                  <a:cubicBezTo>
                    <a:pt x="13839" y="3123"/>
                    <a:pt x="10716" y="0"/>
                    <a:pt x="6856" y="0"/>
                  </a:cubicBezTo>
                  <a:cubicBezTo>
                    <a:pt x="3047" y="63"/>
                    <a:pt x="0" y="3174"/>
                    <a:pt x="0" y="6983"/>
                  </a:cubicBezTo>
                  <a:lnTo>
                    <a:pt x="0" y="342304"/>
                  </a:lnTo>
                  <a:lnTo>
                    <a:pt x="13839" y="342304"/>
                  </a:lnTo>
                  <a:close/>
                </a:path>
              </a:pathLst>
            </a:custGeom>
            <a:solidFill>
              <a:srgbClr val="000000"/>
            </a:solidFill>
            <a:ln w="12690"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80025A19-2CB5-4613-80D8-90EB97E5F3DA}"/>
                </a:ext>
              </a:extLst>
            </p:cNvPr>
            <p:cNvSpPr/>
            <p:nvPr/>
          </p:nvSpPr>
          <p:spPr>
            <a:xfrm>
              <a:off x="6909248" y="6512941"/>
              <a:ext cx="37" cy="1777"/>
            </a:xfrm>
            <a:custGeom>
              <a:avLst/>
              <a:gdLst>
                <a:gd name="connsiteX0" fmla="*/ 38 w 37"/>
                <a:gd name="connsiteY0" fmla="*/ 1778 h 1777"/>
                <a:gd name="connsiteX1" fmla="*/ 38 w 37"/>
                <a:gd name="connsiteY1" fmla="*/ 889 h 1777"/>
                <a:gd name="connsiteX2" fmla="*/ 38 w 37"/>
                <a:gd name="connsiteY2" fmla="*/ 0 h 1777"/>
              </a:gdLst>
              <a:ahLst/>
              <a:cxnLst>
                <a:cxn ang="0">
                  <a:pos x="connsiteX0" y="connsiteY0"/>
                </a:cxn>
                <a:cxn ang="0">
                  <a:pos x="connsiteX1" y="connsiteY1"/>
                </a:cxn>
                <a:cxn ang="0">
                  <a:pos x="connsiteX2" y="connsiteY2"/>
                </a:cxn>
              </a:cxnLst>
              <a:rect l="l" t="t" r="r" b="b"/>
              <a:pathLst>
                <a:path w="37" h="1777">
                  <a:moveTo>
                    <a:pt x="38" y="1778"/>
                  </a:moveTo>
                  <a:cubicBezTo>
                    <a:pt x="0" y="1485"/>
                    <a:pt x="0" y="1181"/>
                    <a:pt x="38" y="889"/>
                  </a:cubicBezTo>
                  <a:cubicBezTo>
                    <a:pt x="-13" y="597"/>
                    <a:pt x="-13" y="292"/>
                    <a:pt x="38" y="0"/>
                  </a:cubicBezTo>
                  <a:close/>
                </a:path>
              </a:pathLst>
            </a:custGeom>
            <a:solidFill>
              <a:srgbClr val="000000"/>
            </a:solidFill>
            <a:ln w="12690"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D0615170-7655-4FD6-93CB-6E4517B57491}"/>
                </a:ext>
              </a:extLst>
            </p:cNvPr>
            <p:cNvSpPr/>
            <p:nvPr/>
          </p:nvSpPr>
          <p:spPr>
            <a:xfrm>
              <a:off x="4039960" y="6446409"/>
              <a:ext cx="106017" cy="13839"/>
            </a:xfrm>
            <a:custGeom>
              <a:avLst/>
              <a:gdLst>
                <a:gd name="connsiteX0" fmla="*/ 6856 w 106017"/>
                <a:gd name="connsiteY0" fmla="*/ 6856 h 13839"/>
                <a:gd name="connsiteX1" fmla="*/ 0 w 106017"/>
                <a:gd name="connsiteY1" fmla="*/ 13839 h 13839"/>
                <a:gd name="connsiteX2" fmla="*/ 106017 w 106017"/>
                <a:gd name="connsiteY2" fmla="*/ 13839 h 13839"/>
                <a:gd name="connsiteX3" fmla="*/ 103224 w 106017"/>
                <a:gd name="connsiteY3" fmla="*/ 8507 h 13839"/>
                <a:gd name="connsiteX4" fmla="*/ 103224 w 106017"/>
                <a:gd name="connsiteY4" fmla="*/ 0 h 13839"/>
                <a:gd name="connsiteX5" fmla="*/ 0 w 106017"/>
                <a:gd name="connsiteY5" fmla="*/ 0 h 13839"/>
                <a:gd name="connsiteX6" fmla="*/ 6856 w 106017"/>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17" h="13839">
                  <a:moveTo>
                    <a:pt x="6856" y="6856"/>
                  </a:moveTo>
                  <a:cubicBezTo>
                    <a:pt x="6856" y="10665"/>
                    <a:pt x="3809" y="13776"/>
                    <a:pt x="0" y="13839"/>
                  </a:cubicBezTo>
                  <a:lnTo>
                    <a:pt x="106017" y="13839"/>
                  </a:lnTo>
                  <a:cubicBezTo>
                    <a:pt x="104316" y="12582"/>
                    <a:pt x="103288" y="10614"/>
                    <a:pt x="103224" y="8507"/>
                  </a:cubicBezTo>
                  <a:lnTo>
                    <a:pt x="103224" y="0"/>
                  </a:lnTo>
                  <a:lnTo>
                    <a:pt x="0" y="0"/>
                  </a:lnTo>
                  <a:cubicBezTo>
                    <a:pt x="3784" y="0"/>
                    <a:pt x="6856" y="3073"/>
                    <a:pt x="6856" y="6856"/>
                  </a:cubicBezTo>
                  <a:close/>
                </a:path>
              </a:pathLst>
            </a:custGeom>
            <a:solidFill>
              <a:srgbClr val="000000"/>
            </a:solidFill>
            <a:ln w="12690"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84A9ABD9-42D8-49C7-9A3B-31532B9D780D}"/>
                </a:ext>
              </a:extLst>
            </p:cNvPr>
            <p:cNvSpPr/>
            <p:nvPr/>
          </p:nvSpPr>
          <p:spPr>
            <a:xfrm>
              <a:off x="3601740" y="6454789"/>
              <a:ext cx="13896" cy="7617"/>
            </a:xfrm>
            <a:custGeom>
              <a:avLst/>
              <a:gdLst>
                <a:gd name="connsiteX0" fmla="*/ 13896 w 13896"/>
                <a:gd name="connsiteY0" fmla="*/ 1270 h 7617"/>
                <a:gd name="connsiteX1" fmla="*/ 13896 w 13896"/>
                <a:gd name="connsiteY1" fmla="*/ 0 h 7617"/>
                <a:gd name="connsiteX2" fmla="*/ 13896 w 13896"/>
                <a:gd name="connsiteY2" fmla="*/ 0 h 7617"/>
                <a:gd name="connsiteX3" fmla="*/ 7040 w 13896"/>
                <a:gd name="connsiteY3" fmla="*/ 6856 h 7617"/>
                <a:gd name="connsiteX4" fmla="*/ 57 w 13896"/>
                <a:gd name="connsiteY4" fmla="*/ 0 h 7617"/>
                <a:gd name="connsiteX5" fmla="*/ 57 w 13896"/>
                <a:gd name="connsiteY5" fmla="*/ 1397 h 7617"/>
                <a:gd name="connsiteX6" fmla="*/ 57 w 13896"/>
                <a:gd name="connsiteY6" fmla="*/ 3047 h 7617"/>
                <a:gd name="connsiteX7" fmla="*/ 3739 w 13896"/>
                <a:gd name="connsiteY7" fmla="*/ 7618 h 7617"/>
                <a:gd name="connsiteX8" fmla="*/ 8945 w 13896"/>
                <a:gd name="connsiteY8" fmla="*/ 7618 h 7617"/>
                <a:gd name="connsiteX9" fmla="*/ 13135 w 13896"/>
                <a:gd name="connsiteY9" fmla="*/ 2793 h 7617"/>
                <a:gd name="connsiteX10" fmla="*/ 13135 w 13896"/>
                <a:gd name="connsiteY10" fmla="*/ 2793 h 7617"/>
                <a:gd name="connsiteX11" fmla="*/ 13896 w 13896"/>
                <a:gd name="connsiteY11" fmla="*/ 1270 h 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617">
                  <a:moveTo>
                    <a:pt x="13896" y="1270"/>
                  </a:moveTo>
                  <a:lnTo>
                    <a:pt x="13896" y="0"/>
                  </a:lnTo>
                  <a:lnTo>
                    <a:pt x="13896" y="0"/>
                  </a:lnTo>
                  <a:cubicBezTo>
                    <a:pt x="13896" y="3783"/>
                    <a:pt x="10824" y="6856"/>
                    <a:pt x="7040" y="6856"/>
                  </a:cubicBezTo>
                  <a:cubicBezTo>
                    <a:pt x="3231" y="6856"/>
                    <a:pt x="121" y="3809"/>
                    <a:pt x="57" y="0"/>
                  </a:cubicBezTo>
                  <a:lnTo>
                    <a:pt x="57" y="1397"/>
                  </a:lnTo>
                  <a:cubicBezTo>
                    <a:pt x="-19" y="1943"/>
                    <a:pt x="-19" y="2501"/>
                    <a:pt x="57" y="3047"/>
                  </a:cubicBezTo>
                  <a:cubicBezTo>
                    <a:pt x="565" y="5028"/>
                    <a:pt x="1911" y="6691"/>
                    <a:pt x="3739" y="7618"/>
                  </a:cubicBezTo>
                  <a:lnTo>
                    <a:pt x="8945" y="7618"/>
                  </a:lnTo>
                  <a:cubicBezTo>
                    <a:pt x="11065" y="6818"/>
                    <a:pt x="12639" y="5002"/>
                    <a:pt x="13135" y="2793"/>
                  </a:cubicBezTo>
                  <a:lnTo>
                    <a:pt x="13135" y="2793"/>
                  </a:lnTo>
                  <a:cubicBezTo>
                    <a:pt x="13465" y="2323"/>
                    <a:pt x="13719" y="1816"/>
                    <a:pt x="13896" y="1270"/>
                  </a:cubicBezTo>
                  <a:close/>
                </a:path>
              </a:pathLst>
            </a:custGeom>
            <a:solidFill>
              <a:srgbClr val="000000"/>
            </a:solidFill>
            <a:ln w="12690"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B2CDD18E-5C40-4024-889E-3678BC6018A5}"/>
                </a:ext>
              </a:extLst>
            </p:cNvPr>
            <p:cNvSpPr/>
            <p:nvPr/>
          </p:nvSpPr>
          <p:spPr>
            <a:xfrm>
              <a:off x="3991713" y="6453266"/>
              <a:ext cx="11046" cy="8887"/>
            </a:xfrm>
            <a:custGeom>
              <a:avLst/>
              <a:gdLst>
                <a:gd name="connsiteX0" fmla="*/ 0 w 11046"/>
                <a:gd name="connsiteY0" fmla="*/ 0 h 8887"/>
                <a:gd name="connsiteX1" fmla="*/ 0 w 11046"/>
                <a:gd name="connsiteY1" fmla="*/ 1905 h 8887"/>
                <a:gd name="connsiteX2" fmla="*/ 0 w 11046"/>
                <a:gd name="connsiteY2" fmla="*/ 3428 h 8887"/>
                <a:gd name="connsiteX3" fmla="*/ 0 w 11046"/>
                <a:gd name="connsiteY3" fmla="*/ 4444 h 8887"/>
                <a:gd name="connsiteX4" fmla="*/ 6348 w 11046"/>
                <a:gd name="connsiteY4" fmla="*/ 8888 h 8887"/>
                <a:gd name="connsiteX5" fmla="*/ 11046 w 11046"/>
                <a:gd name="connsiteY5" fmla="*/ 6983 h 8887"/>
                <a:gd name="connsiteX6" fmla="*/ 6348 w 11046"/>
                <a:gd name="connsiteY6" fmla="*/ 6983 h 8887"/>
                <a:gd name="connsiteX7" fmla="*/ 0 w 11046"/>
                <a:gd name="connsiteY7" fmla="*/ 0 h 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6" h="8887">
                  <a:moveTo>
                    <a:pt x="0" y="0"/>
                  </a:moveTo>
                  <a:lnTo>
                    <a:pt x="0" y="1905"/>
                  </a:lnTo>
                  <a:cubicBezTo>
                    <a:pt x="0" y="1905"/>
                    <a:pt x="0" y="2920"/>
                    <a:pt x="0" y="3428"/>
                  </a:cubicBezTo>
                  <a:cubicBezTo>
                    <a:pt x="0" y="3936"/>
                    <a:pt x="0" y="4190"/>
                    <a:pt x="0" y="4444"/>
                  </a:cubicBezTo>
                  <a:cubicBezTo>
                    <a:pt x="1028" y="7072"/>
                    <a:pt x="3530" y="8824"/>
                    <a:pt x="6348" y="8888"/>
                  </a:cubicBezTo>
                  <a:cubicBezTo>
                    <a:pt x="8101" y="8875"/>
                    <a:pt x="9776" y="8189"/>
                    <a:pt x="11046" y="6983"/>
                  </a:cubicBezTo>
                  <a:lnTo>
                    <a:pt x="6348" y="6983"/>
                  </a:lnTo>
                  <a:cubicBezTo>
                    <a:pt x="2742" y="6653"/>
                    <a:pt x="-13" y="3619"/>
                    <a:pt x="0" y="0"/>
                  </a:cubicBezTo>
                  <a:close/>
                </a:path>
              </a:pathLst>
            </a:custGeom>
            <a:solidFill>
              <a:srgbClr val="000000"/>
            </a:solidFill>
            <a:ln w="12690"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7ACFB150-8D79-4774-A81E-F31BB9533D9D}"/>
                </a:ext>
              </a:extLst>
            </p:cNvPr>
            <p:cNvSpPr/>
            <p:nvPr/>
          </p:nvSpPr>
          <p:spPr>
            <a:xfrm>
              <a:off x="4143184" y="6453266"/>
              <a:ext cx="9903" cy="8506"/>
            </a:xfrm>
            <a:custGeom>
              <a:avLst/>
              <a:gdLst>
                <a:gd name="connsiteX0" fmla="*/ 9903 w 9903"/>
                <a:gd name="connsiteY0" fmla="*/ 7745 h 8506"/>
                <a:gd name="connsiteX1" fmla="*/ 9903 w 9903"/>
                <a:gd name="connsiteY1" fmla="*/ 6221 h 8506"/>
                <a:gd name="connsiteX2" fmla="*/ 6983 w 9903"/>
                <a:gd name="connsiteY2" fmla="*/ 6983 h 8506"/>
                <a:gd name="connsiteX3" fmla="*/ 0 w 9903"/>
                <a:gd name="connsiteY3" fmla="*/ 0 h 8506"/>
                <a:gd name="connsiteX4" fmla="*/ 0 w 9903"/>
                <a:gd name="connsiteY4" fmla="*/ 1651 h 8506"/>
                <a:gd name="connsiteX5" fmla="*/ 6983 w 9903"/>
                <a:gd name="connsiteY5" fmla="*/ 8507 h 8506"/>
                <a:gd name="connsiteX6" fmla="*/ 9903 w 9903"/>
                <a:gd name="connsiteY6" fmla="*/ 7745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8506">
                  <a:moveTo>
                    <a:pt x="9903" y="7745"/>
                  </a:moveTo>
                  <a:lnTo>
                    <a:pt x="9903" y="6221"/>
                  </a:lnTo>
                  <a:cubicBezTo>
                    <a:pt x="9015" y="6729"/>
                    <a:pt x="8011" y="6983"/>
                    <a:pt x="6983" y="6983"/>
                  </a:cubicBezTo>
                  <a:cubicBezTo>
                    <a:pt x="3123" y="6983"/>
                    <a:pt x="0" y="3860"/>
                    <a:pt x="0" y="0"/>
                  </a:cubicBezTo>
                  <a:lnTo>
                    <a:pt x="0" y="1651"/>
                  </a:lnTo>
                  <a:cubicBezTo>
                    <a:pt x="190" y="5396"/>
                    <a:pt x="3225" y="8380"/>
                    <a:pt x="6983" y="8507"/>
                  </a:cubicBezTo>
                  <a:cubicBezTo>
                    <a:pt x="8011" y="8507"/>
                    <a:pt x="9015" y="8253"/>
                    <a:pt x="9903" y="7745"/>
                  </a:cubicBezTo>
                  <a:close/>
                </a:path>
              </a:pathLst>
            </a:custGeom>
            <a:solidFill>
              <a:srgbClr val="000000"/>
            </a:solidFill>
            <a:ln w="12690"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3D0CC41C-DF7B-41D2-9B36-EBCB3101FD8B}"/>
                </a:ext>
              </a:extLst>
            </p:cNvPr>
            <p:cNvSpPr/>
            <p:nvPr/>
          </p:nvSpPr>
          <p:spPr>
            <a:xfrm>
              <a:off x="4185290" y="6438664"/>
              <a:ext cx="14267" cy="13712"/>
            </a:xfrm>
            <a:custGeom>
              <a:avLst/>
              <a:gdLst>
                <a:gd name="connsiteX0" fmla="*/ 7412 w 14267"/>
                <a:gd name="connsiteY0" fmla="*/ 6856 h 13712"/>
                <a:gd name="connsiteX1" fmla="*/ 14268 w 14267"/>
                <a:gd name="connsiteY1" fmla="*/ 0 h 13712"/>
                <a:gd name="connsiteX2" fmla="*/ 6777 w 14267"/>
                <a:gd name="connsiteY2" fmla="*/ 0 h 13712"/>
                <a:gd name="connsiteX3" fmla="*/ 48 w 14267"/>
                <a:gd name="connsiteY3" fmla="*/ 6729 h 13712"/>
                <a:gd name="connsiteX4" fmla="*/ 48 w 14267"/>
                <a:gd name="connsiteY4" fmla="*/ 6729 h 13712"/>
                <a:gd name="connsiteX5" fmla="*/ 48 w 14267"/>
                <a:gd name="connsiteY5" fmla="*/ 9015 h 13712"/>
                <a:gd name="connsiteX6" fmla="*/ 6523 w 14267"/>
                <a:gd name="connsiteY6" fmla="*/ 13713 h 13712"/>
                <a:gd name="connsiteX7" fmla="*/ 13887 w 14267"/>
                <a:gd name="connsiteY7" fmla="*/ 13713 h 13712"/>
                <a:gd name="connsiteX8" fmla="*/ 7412 w 14267"/>
                <a:gd name="connsiteY8"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67" h="13712">
                  <a:moveTo>
                    <a:pt x="7412" y="6856"/>
                  </a:moveTo>
                  <a:cubicBezTo>
                    <a:pt x="7412" y="3073"/>
                    <a:pt x="10484" y="0"/>
                    <a:pt x="14268" y="0"/>
                  </a:cubicBezTo>
                  <a:lnTo>
                    <a:pt x="6777" y="0"/>
                  </a:lnTo>
                  <a:cubicBezTo>
                    <a:pt x="3120" y="127"/>
                    <a:pt x="174" y="3073"/>
                    <a:pt x="48" y="6729"/>
                  </a:cubicBezTo>
                  <a:lnTo>
                    <a:pt x="48" y="6729"/>
                  </a:lnTo>
                  <a:cubicBezTo>
                    <a:pt x="-16" y="7491"/>
                    <a:pt x="-16" y="8253"/>
                    <a:pt x="48" y="9015"/>
                  </a:cubicBezTo>
                  <a:cubicBezTo>
                    <a:pt x="1038" y="11757"/>
                    <a:pt x="3603" y="13624"/>
                    <a:pt x="6523" y="13713"/>
                  </a:cubicBezTo>
                  <a:lnTo>
                    <a:pt x="13887" y="13713"/>
                  </a:lnTo>
                  <a:cubicBezTo>
                    <a:pt x="10281" y="13446"/>
                    <a:pt x="7462" y="10475"/>
                    <a:pt x="7412" y="6856"/>
                  </a:cubicBezTo>
                  <a:close/>
                </a:path>
              </a:pathLst>
            </a:custGeom>
            <a:solidFill>
              <a:srgbClr val="000000"/>
            </a:solidFill>
            <a:ln w="12690"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4EC2E78C-41AC-41D4-907C-93A770033FC2}"/>
                </a:ext>
              </a:extLst>
            </p:cNvPr>
            <p:cNvSpPr/>
            <p:nvPr/>
          </p:nvSpPr>
          <p:spPr>
            <a:xfrm>
              <a:off x="4192701" y="6438664"/>
              <a:ext cx="317671" cy="13839"/>
            </a:xfrm>
            <a:custGeom>
              <a:avLst/>
              <a:gdLst>
                <a:gd name="connsiteX0" fmla="*/ 317671 w 317671"/>
                <a:gd name="connsiteY0" fmla="*/ 6856 h 13839"/>
                <a:gd name="connsiteX1" fmla="*/ 317671 w 317671"/>
                <a:gd name="connsiteY1" fmla="*/ 0 h 13839"/>
                <a:gd name="connsiteX2" fmla="*/ 6856 w 317671"/>
                <a:gd name="connsiteY2" fmla="*/ 0 h 13839"/>
                <a:gd name="connsiteX3" fmla="*/ 0 w 317671"/>
                <a:gd name="connsiteY3" fmla="*/ 6856 h 13839"/>
                <a:gd name="connsiteX4" fmla="*/ 6856 w 317671"/>
                <a:gd name="connsiteY4" fmla="*/ 13839 h 13839"/>
                <a:gd name="connsiteX5" fmla="*/ 317671 w 317671"/>
                <a:gd name="connsiteY5" fmla="*/ 13839 h 13839"/>
                <a:gd name="connsiteX6" fmla="*/ 317671 w 317671"/>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671" h="13839">
                  <a:moveTo>
                    <a:pt x="317671" y="6856"/>
                  </a:moveTo>
                  <a:lnTo>
                    <a:pt x="317671" y="0"/>
                  </a:lnTo>
                  <a:lnTo>
                    <a:pt x="6856" y="0"/>
                  </a:lnTo>
                  <a:cubicBezTo>
                    <a:pt x="3073" y="0"/>
                    <a:pt x="0" y="3073"/>
                    <a:pt x="0" y="6856"/>
                  </a:cubicBezTo>
                  <a:cubicBezTo>
                    <a:pt x="0" y="10665"/>
                    <a:pt x="3047" y="13776"/>
                    <a:pt x="6856" y="13839"/>
                  </a:cubicBezTo>
                  <a:lnTo>
                    <a:pt x="317671" y="13839"/>
                  </a:lnTo>
                  <a:lnTo>
                    <a:pt x="317671" y="6856"/>
                  </a:lnTo>
                  <a:close/>
                </a:path>
              </a:pathLst>
            </a:custGeom>
            <a:solidFill>
              <a:srgbClr val="000000"/>
            </a:solidFill>
            <a:ln w="12690"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00819C64-1DE1-4B61-83E2-1E981D0271CD}"/>
                </a:ext>
              </a:extLst>
            </p:cNvPr>
            <p:cNvSpPr/>
            <p:nvPr/>
          </p:nvSpPr>
          <p:spPr>
            <a:xfrm>
              <a:off x="5206024" y="5839251"/>
              <a:ext cx="322877" cy="13839"/>
            </a:xfrm>
            <a:custGeom>
              <a:avLst/>
              <a:gdLst>
                <a:gd name="connsiteX0" fmla="*/ 4953 w 322877"/>
                <a:gd name="connsiteY0" fmla="*/ 889 h 13839"/>
                <a:gd name="connsiteX1" fmla="*/ 2540 w 322877"/>
                <a:gd name="connsiteY1" fmla="*/ 2285 h 13839"/>
                <a:gd name="connsiteX2" fmla="*/ 1334 w 322877"/>
                <a:gd name="connsiteY2" fmla="*/ 11364 h 13839"/>
                <a:gd name="connsiteX3" fmla="*/ 2540 w 322877"/>
                <a:gd name="connsiteY3" fmla="*/ 12570 h 13839"/>
                <a:gd name="connsiteX4" fmla="*/ 4953 w 322877"/>
                <a:gd name="connsiteY4" fmla="*/ 13839 h 13839"/>
                <a:gd name="connsiteX5" fmla="*/ 5714 w 322877"/>
                <a:gd name="connsiteY5" fmla="*/ 13839 h 13839"/>
                <a:gd name="connsiteX6" fmla="*/ 6984 w 322877"/>
                <a:gd name="connsiteY6" fmla="*/ 13839 h 13839"/>
                <a:gd name="connsiteX7" fmla="*/ 322878 w 322877"/>
                <a:gd name="connsiteY7" fmla="*/ 13839 h 13839"/>
                <a:gd name="connsiteX8" fmla="*/ 316022 w 322877"/>
                <a:gd name="connsiteY8" fmla="*/ 6856 h 13839"/>
                <a:gd name="connsiteX9" fmla="*/ 322878 w 322877"/>
                <a:gd name="connsiteY9" fmla="*/ 0 h 13839"/>
                <a:gd name="connsiteX10" fmla="*/ 6984 w 322877"/>
                <a:gd name="connsiteY10" fmla="*/ 0 h 13839"/>
                <a:gd name="connsiteX11" fmla="*/ 4953 w 322877"/>
                <a:gd name="connsiteY11" fmla="*/ 88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877" h="13839">
                  <a:moveTo>
                    <a:pt x="4953" y="889"/>
                  </a:moveTo>
                  <a:cubicBezTo>
                    <a:pt x="4051" y="1148"/>
                    <a:pt x="3213" y="1628"/>
                    <a:pt x="2540" y="2285"/>
                  </a:cubicBezTo>
                  <a:cubicBezTo>
                    <a:pt x="-304" y="4459"/>
                    <a:pt x="-837" y="8523"/>
                    <a:pt x="1334" y="11364"/>
                  </a:cubicBezTo>
                  <a:cubicBezTo>
                    <a:pt x="1677" y="11817"/>
                    <a:pt x="2083" y="12222"/>
                    <a:pt x="2540" y="12570"/>
                  </a:cubicBezTo>
                  <a:cubicBezTo>
                    <a:pt x="3226" y="13186"/>
                    <a:pt x="4051" y="13622"/>
                    <a:pt x="4953" y="13839"/>
                  </a:cubicBezTo>
                  <a:lnTo>
                    <a:pt x="5714" y="13839"/>
                  </a:lnTo>
                  <a:lnTo>
                    <a:pt x="6984" y="13839"/>
                  </a:lnTo>
                  <a:lnTo>
                    <a:pt x="322878" y="13839"/>
                  </a:lnTo>
                  <a:cubicBezTo>
                    <a:pt x="319069" y="13770"/>
                    <a:pt x="316022" y="10664"/>
                    <a:pt x="316022" y="6856"/>
                  </a:cubicBezTo>
                  <a:cubicBezTo>
                    <a:pt x="316022" y="3070"/>
                    <a:pt x="319094" y="0"/>
                    <a:pt x="322878" y="0"/>
                  </a:cubicBezTo>
                  <a:lnTo>
                    <a:pt x="6984" y="0"/>
                  </a:lnTo>
                  <a:cubicBezTo>
                    <a:pt x="6273" y="217"/>
                    <a:pt x="5587" y="515"/>
                    <a:pt x="4953" y="889"/>
                  </a:cubicBezTo>
                  <a:close/>
                </a:path>
              </a:pathLst>
            </a:custGeom>
            <a:solidFill>
              <a:srgbClr val="000000"/>
            </a:solidFill>
            <a:ln w="12690"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434AF21D-3E91-4D13-9AA1-447621EC215C}"/>
                </a:ext>
              </a:extLst>
            </p:cNvPr>
            <p:cNvSpPr/>
            <p:nvPr/>
          </p:nvSpPr>
          <p:spPr>
            <a:xfrm>
              <a:off x="8046529" y="6509004"/>
              <a:ext cx="82020" cy="13712"/>
            </a:xfrm>
            <a:custGeom>
              <a:avLst/>
              <a:gdLst>
                <a:gd name="connsiteX0" fmla="*/ 6983 w 82020"/>
                <a:gd name="connsiteY0" fmla="*/ 6856 h 13712"/>
                <a:gd name="connsiteX1" fmla="*/ 127 w 82020"/>
                <a:gd name="connsiteY1" fmla="*/ 13713 h 13712"/>
                <a:gd name="connsiteX2" fmla="*/ 75164 w 82020"/>
                <a:gd name="connsiteY2" fmla="*/ 13713 h 13712"/>
                <a:gd name="connsiteX3" fmla="*/ 82021 w 82020"/>
                <a:gd name="connsiteY3" fmla="*/ 6856 h 13712"/>
                <a:gd name="connsiteX4" fmla="*/ 75164 w 82020"/>
                <a:gd name="connsiteY4" fmla="*/ 0 h 13712"/>
                <a:gd name="connsiteX5" fmla="*/ 0 w 82020"/>
                <a:gd name="connsiteY5" fmla="*/ 0 h 13712"/>
                <a:gd name="connsiteX6" fmla="*/ 6983 w 82020"/>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20" h="13712">
                  <a:moveTo>
                    <a:pt x="6983" y="6856"/>
                  </a:moveTo>
                  <a:cubicBezTo>
                    <a:pt x="6983" y="10640"/>
                    <a:pt x="3910" y="13713"/>
                    <a:pt x="127" y="13713"/>
                  </a:cubicBezTo>
                  <a:lnTo>
                    <a:pt x="75164" y="13713"/>
                  </a:lnTo>
                  <a:cubicBezTo>
                    <a:pt x="78948" y="13713"/>
                    <a:pt x="82021" y="10640"/>
                    <a:pt x="82021" y="6856"/>
                  </a:cubicBezTo>
                  <a:cubicBezTo>
                    <a:pt x="82021" y="3073"/>
                    <a:pt x="78948" y="0"/>
                    <a:pt x="75164" y="0"/>
                  </a:cubicBezTo>
                  <a:lnTo>
                    <a:pt x="0" y="0"/>
                  </a:lnTo>
                  <a:cubicBezTo>
                    <a:pt x="3809" y="0"/>
                    <a:pt x="6919" y="3047"/>
                    <a:pt x="6983" y="6856"/>
                  </a:cubicBezTo>
                  <a:close/>
                </a:path>
              </a:pathLst>
            </a:custGeom>
            <a:solidFill>
              <a:srgbClr val="000000"/>
            </a:solidFill>
            <a:ln w="12690"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3B5CBB18-37E8-45F7-82EE-7482528B0E98}"/>
                </a:ext>
              </a:extLst>
            </p:cNvPr>
            <p:cNvSpPr/>
            <p:nvPr/>
          </p:nvSpPr>
          <p:spPr>
            <a:xfrm>
              <a:off x="7898739" y="6508877"/>
              <a:ext cx="154772" cy="13839"/>
            </a:xfrm>
            <a:custGeom>
              <a:avLst/>
              <a:gdLst>
                <a:gd name="connsiteX0" fmla="*/ 6857 w 154772"/>
                <a:gd name="connsiteY0" fmla="*/ 0 h 13839"/>
                <a:gd name="connsiteX1" fmla="*/ 0 w 154772"/>
                <a:gd name="connsiteY1" fmla="*/ 6983 h 13839"/>
                <a:gd name="connsiteX2" fmla="*/ 6857 w 154772"/>
                <a:gd name="connsiteY2" fmla="*/ 13839 h 13839"/>
                <a:gd name="connsiteX3" fmla="*/ 147917 w 154772"/>
                <a:gd name="connsiteY3" fmla="*/ 13839 h 13839"/>
                <a:gd name="connsiteX4" fmla="*/ 154773 w 154772"/>
                <a:gd name="connsiteY4" fmla="*/ 6983 h 13839"/>
                <a:gd name="connsiteX5" fmla="*/ 147917 w 154772"/>
                <a:gd name="connsiteY5" fmla="*/ 0 h 13839"/>
                <a:gd name="connsiteX6" fmla="*/ 6857 w 154772"/>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772" h="13839">
                  <a:moveTo>
                    <a:pt x="6857" y="0"/>
                  </a:moveTo>
                  <a:cubicBezTo>
                    <a:pt x="3047" y="64"/>
                    <a:pt x="0" y="3174"/>
                    <a:pt x="0" y="6983"/>
                  </a:cubicBezTo>
                  <a:cubicBezTo>
                    <a:pt x="0" y="10767"/>
                    <a:pt x="3073" y="13839"/>
                    <a:pt x="6857" y="13839"/>
                  </a:cubicBezTo>
                  <a:lnTo>
                    <a:pt x="147917" y="13839"/>
                  </a:lnTo>
                  <a:cubicBezTo>
                    <a:pt x="151700" y="13839"/>
                    <a:pt x="154773" y="10767"/>
                    <a:pt x="154773" y="6983"/>
                  </a:cubicBezTo>
                  <a:cubicBezTo>
                    <a:pt x="154773" y="3174"/>
                    <a:pt x="151726" y="64"/>
                    <a:pt x="147917" y="0"/>
                  </a:cubicBezTo>
                  <a:lnTo>
                    <a:pt x="6857" y="0"/>
                  </a:lnTo>
                  <a:close/>
                </a:path>
              </a:pathLst>
            </a:custGeom>
            <a:solidFill>
              <a:srgbClr val="000000"/>
            </a:solidFill>
            <a:ln w="12690"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B3C2E687-C35F-4C8F-9707-0BBB090DF6B2}"/>
                </a:ext>
              </a:extLst>
            </p:cNvPr>
            <p:cNvSpPr/>
            <p:nvPr/>
          </p:nvSpPr>
          <p:spPr>
            <a:xfrm>
              <a:off x="4403946" y="5580745"/>
              <a:ext cx="13868" cy="32630"/>
            </a:xfrm>
            <a:custGeom>
              <a:avLst/>
              <a:gdLst>
                <a:gd name="connsiteX0" fmla="*/ 4727 w 13868"/>
                <a:gd name="connsiteY0" fmla="*/ 0 h 32630"/>
                <a:gd name="connsiteX1" fmla="*/ 3584 w 13868"/>
                <a:gd name="connsiteY1" fmla="*/ 0 h 32630"/>
                <a:gd name="connsiteX2" fmla="*/ 2568 w 13868"/>
                <a:gd name="connsiteY2" fmla="*/ 0 h 32630"/>
                <a:gd name="connsiteX3" fmla="*/ 1425 w 13868"/>
                <a:gd name="connsiteY3" fmla="*/ 889 h 32630"/>
                <a:gd name="connsiteX4" fmla="*/ 664 w 13868"/>
                <a:gd name="connsiteY4" fmla="*/ 1905 h 32630"/>
                <a:gd name="connsiteX5" fmla="*/ 28 w 13868"/>
                <a:gd name="connsiteY5" fmla="*/ 3174 h 32630"/>
                <a:gd name="connsiteX6" fmla="*/ 28 w 13868"/>
                <a:gd name="connsiteY6" fmla="*/ 4571 h 32630"/>
                <a:gd name="connsiteX7" fmla="*/ 28 w 13868"/>
                <a:gd name="connsiteY7" fmla="*/ 5587 h 32630"/>
                <a:gd name="connsiteX8" fmla="*/ 28 w 13868"/>
                <a:gd name="connsiteY8" fmla="*/ 32631 h 32630"/>
                <a:gd name="connsiteX9" fmla="*/ 13868 w 13868"/>
                <a:gd name="connsiteY9" fmla="*/ 32631 h 32630"/>
                <a:gd name="connsiteX10" fmla="*/ 13868 w 13868"/>
                <a:gd name="connsiteY10" fmla="*/ 6602 h 32630"/>
                <a:gd name="connsiteX11" fmla="*/ 10567 w 13868"/>
                <a:gd name="connsiteY11" fmla="*/ 889 h 32630"/>
                <a:gd name="connsiteX12" fmla="*/ 9297 w 13868"/>
                <a:gd name="connsiteY12" fmla="*/ 127 h 32630"/>
                <a:gd name="connsiteX13" fmla="*/ 7901 w 13868"/>
                <a:gd name="connsiteY13" fmla="*/ 127 h 32630"/>
                <a:gd name="connsiteX14" fmla="*/ 6631 w 13868"/>
                <a:gd name="connsiteY14" fmla="*/ 127 h 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8" h="32630">
                  <a:moveTo>
                    <a:pt x="4727" y="0"/>
                  </a:moveTo>
                  <a:lnTo>
                    <a:pt x="3584" y="0"/>
                  </a:lnTo>
                  <a:lnTo>
                    <a:pt x="2568" y="0"/>
                  </a:lnTo>
                  <a:cubicBezTo>
                    <a:pt x="2136" y="223"/>
                    <a:pt x="1743" y="524"/>
                    <a:pt x="1425" y="889"/>
                  </a:cubicBezTo>
                  <a:cubicBezTo>
                    <a:pt x="1108" y="1171"/>
                    <a:pt x="841" y="1516"/>
                    <a:pt x="664" y="1905"/>
                  </a:cubicBezTo>
                  <a:cubicBezTo>
                    <a:pt x="371" y="2285"/>
                    <a:pt x="156" y="2716"/>
                    <a:pt x="28" y="3174"/>
                  </a:cubicBezTo>
                  <a:cubicBezTo>
                    <a:pt x="-9" y="3639"/>
                    <a:pt x="-9" y="4106"/>
                    <a:pt x="28" y="4571"/>
                  </a:cubicBezTo>
                  <a:cubicBezTo>
                    <a:pt x="28" y="4571"/>
                    <a:pt x="28" y="4571"/>
                    <a:pt x="28" y="5587"/>
                  </a:cubicBezTo>
                  <a:lnTo>
                    <a:pt x="28" y="32631"/>
                  </a:lnTo>
                  <a:lnTo>
                    <a:pt x="13868" y="32631"/>
                  </a:lnTo>
                  <a:lnTo>
                    <a:pt x="13868" y="6602"/>
                  </a:lnTo>
                  <a:cubicBezTo>
                    <a:pt x="13792" y="4265"/>
                    <a:pt x="12560" y="2120"/>
                    <a:pt x="10567" y="889"/>
                  </a:cubicBezTo>
                  <a:lnTo>
                    <a:pt x="9297" y="127"/>
                  </a:lnTo>
                  <a:lnTo>
                    <a:pt x="7901" y="127"/>
                  </a:lnTo>
                  <a:lnTo>
                    <a:pt x="6631" y="127"/>
                  </a:lnTo>
                  <a:close/>
                </a:path>
              </a:pathLst>
            </a:custGeom>
            <a:solidFill>
              <a:srgbClr val="000000"/>
            </a:solidFill>
            <a:ln w="12690"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067E661D-8E35-47F6-937A-9E1E085DA505}"/>
                </a:ext>
              </a:extLst>
            </p:cNvPr>
            <p:cNvSpPr/>
            <p:nvPr/>
          </p:nvSpPr>
          <p:spPr>
            <a:xfrm>
              <a:off x="5164252" y="5651593"/>
              <a:ext cx="13712" cy="189435"/>
            </a:xfrm>
            <a:custGeom>
              <a:avLst/>
              <a:gdLst>
                <a:gd name="connsiteX0" fmla="*/ 6856 w 13712"/>
                <a:gd name="connsiteY0" fmla="*/ 189436 h 189435"/>
                <a:gd name="connsiteX1" fmla="*/ 13713 w 13712"/>
                <a:gd name="connsiteY1" fmla="*/ 182452 h 189435"/>
                <a:gd name="connsiteX2" fmla="*/ 13713 w 13712"/>
                <a:gd name="connsiteY2" fmla="*/ 0 h 189435"/>
                <a:gd name="connsiteX3" fmla="*/ 6856 w 13712"/>
                <a:gd name="connsiteY3" fmla="*/ 6856 h 189435"/>
                <a:gd name="connsiteX4" fmla="*/ 0 w 13712"/>
                <a:gd name="connsiteY4" fmla="*/ 0 h 189435"/>
                <a:gd name="connsiteX5" fmla="*/ 0 w 13712"/>
                <a:gd name="connsiteY5" fmla="*/ 182452 h 189435"/>
                <a:gd name="connsiteX6" fmla="*/ 6856 w 13712"/>
                <a:gd name="connsiteY6" fmla="*/ 189436 h 18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189435">
                  <a:moveTo>
                    <a:pt x="6856" y="189436"/>
                  </a:moveTo>
                  <a:cubicBezTo>
                    <a:pt x="10665" y="189366"/>
                    <a:pt x="13713" y="186260"/>
                    <a:pt x="13713" y="182452"/>
                  </a:cubicBezTo>
                  <a:lnTo>
                    <a:pt x="13713" y="0"/>
                  </a:lnTo>
                  <a:cubicBezTo>
                    <a:pt x="13713" y="3786"/>
                    <a:pt x="10640" y="6856"/>
                    <a:pt x="6856" y="6856"/>
                  </a:cubicBezTo>
                  <a:cubicBezTo>
                    <a:pt x="3073" y="6856"/>
                    <a:pt x="0" y="3786"/>
                    <a:pt x="0" y="0"/>
                  </a:cubicBezTo>
                  <a:lnTo>
                    <a:pt x="0" y="182452"/>
                  </a:lnTo>
                  <a:cubicBezTo>
                    <a:pt x="0" y="186260"/>
                    <a:pt x="3047" y="189366"/>
                    <a:pt x="6856" y="189436"/>
                  </a:cubicBezTo>
                  <a:close/>
                </a:path>
              </a:pathLst>
            </a:custGeom>
            <a:solidFill>
              <a:srgbClr val="000000"/>
            </a:solidFill>
            <a:ln w="12690"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32045AD2-E237-498F-B878-394E31D3D828}"/>
                </a:ext>
              </a:extLst>
            </p:cNvPr>
            <p:cNvSpPr/>
            <p:nvPr/>
          </p:nvSpPr>
          <p:spPr>
            <a:xfrm>
              <a:off x="5164252" y="5628231"/>
              <a:ext cx="13712" cy="30345"/>
            </a:xfrm>
            <a:custGeom>
              <a:avLst/>
              <a:gdLst>
                <a:gd name="connsiteX0" fmla="*/ 6856 w 13712"/>
                <a:gd name="connsiteY0" fmla="*/ 30345 h 30345"/>
                <a:gd name="connsiteX1" fmla="*/ 13713 w 13712"/>
                <a:gd name="connsiteY1" fmla="*/ 23362 h 30345"/>
                <a:gd name="connsiteX2" fmla="*/ 13713 w 13712"/>
                <a:gd name="connsiteY2" fmla="*/ 6856 h 30345"/>
                <a:gd name="connsiteX3" fmla="*/ 6856 w 13712"/>
                <a:gd name="connsiteY3" fmla="*/ 0 h 30345"/>
                <a:gd name="connsiteX4" fmla="*/ 0 w 13712"/>
                <a:gd name="connsiteY4" fmla="*/ 6856 h 30345"/>
                <a:gd name="connsiteX5" fmla="*/ 0 w 13712"/>
                <a:gd name="connsiteY5" fmla="*/ 23362 h 30345"/>
                <a:gd name="connsiteX6" fmla="*/ 6856 w 13712"/>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30345">
                  <a:moveTo>
                    <a:pt x="6856" y="30345"/>
                  </a:moveTo>
                  <a:cubicBezTo>
                    <a:pt x="10665" y="30275"/>
                    <a:pt x="13713" y="27170"/>
                    <a:pt x="13713" y="23362"/>
                  </a:cubicBezTo>
                  <a:lnTo>
                    <a:pt x="13713" y="6856"/>
                  </a:lnTo>
                  <a:cubicBezTo>
                    <a:pt x="13713" y="3070"/>
                    <a:pt x="10640" y="0"/>
                    <a:pt x="6856" y="0"/>
                  </a:cubicBezTo>
                  <a:cubicBezTo>
                    <a:pt x="3073" y="0"/>
                    <a:pt x="0" y="3070"/>
                    <a:pt x="0" y="6856"/>
                  </a:cubicBezTo>
                  <a:lnTo>
                    <a:pt x="0" y="23362"/>
                  </a:lnTo>
                  <a:cubicBezTo>
                    <a:pt x="0" y="27170"/>
                    <a:pt x="3047" y="30275"/>
                    <a:pt x="6856" y="30345"/>
                  </a:cubicBezTo>
                  <a:close/>
                </a:path>
              </a:pathLst>
            </a:custGeom>
            <a:solidFill>
              <a:srgbClr val="000000"/>
            </a:solidFill>
            <a:ln w="12690"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AF25097C-732B-4BA7-864B-05569C859670}"/>
                </a:ext>
              </a:extLst>
            </p:cNvPr>
            <p:cNvSpPr/>
            <p:nvPr/>
          </p:nvSpPr>
          <p:spPr>
            <a:xfrm>
              <a:off x="5532615" y="5806112"/>
              <a:ext cx="183435" cy="13839"/>
            </a:xfrm>
            <a:custGeom>
              <a:avLst/>
              <a:gdLst>
                <a:gd name="connsiteX0" fmla="*/ 6189 w 183435"/>
                <a:gd name="connsiteY0" fmla="*/ 762 h 13839"/>
                <a:gd name="connsiteX1" fmla="*/ 4666 w 183435"/>
                <a:gd name="connsiteY1" fmla="*/ 762 h 13839"/>
                <a:gd name="connsiteX2" fmla="*/ 3523 w 183435"/>
                <a:gd name="connsiteY2" fmla="*/ 762 h 13839"/>
                <a:gd name="connsiteX3" fmla="*/ 2381 w 183435"/>
                <a:gd name="connsiteY3" fmla="*/ 1524 h 13839"/>
                <a:gd name="connsiteX4" fmla="*/ 1492 w 183435"/>
                <a:gd name="connsiteY4" fmla="*/ 2285 h 13839"/>
                <a:gd name="connsiteX5" fmla="*/ 730 w 183435"/>
                <a:gd name="connsiteY5" fmla="*/ 3301 h 13839"/>
                <a:gd name="connsiteX6" fmla="*/ 95 w 183435"/>
                <a:gd name="connsiteY6" fmla="*/ 4571 h 13839"/>
                <a:gd name="connsiteX7" fmla="*/ 95 w 183435"/>
                <a:gd name="connsiteY7" fmla="*/ 6983 h 13839"/>
                <a:gd name="connsiteX8" fmla="*/ 6951 w 183435"/>
                <a:gd name="connsiteY8" fmla="*/ 13840 h 13839"/>
                <a:gd name="connsiteX9" fmla="*/ 183436 w 183435"/>
                <a:gd name="connsiteY9" fmla="*/ 13840 h 13839"/>
                <a:gd name="connsiteX10" fmla="*/ 176579 w 183435"/>
                <a:gd name="connsiteY10" fmla="*/ 6983 h 13839"/>
                <a:gd name="connsiteX11" fmla="*/ 183436 w 183435"/>
                <a:gd name="connsiteY11" fmla="*/ 0 h 13839"/>
                <a:gd name="connsiteX12" fmla="*/ 6189 w 183435"/>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435" h="13839">
                  <a:moveTo>
                    <a:pt x="6189" y="762"/>
                  </a:moveTo>
                  <a:lnTo>
                    <a:pt x="4666" y="762"/>
                  </a:lnTo>
                  <a:lnTo>
                    <a:pt x="3523" y="762"/>
                  </a:lnTo>
                  <a:lnTo>
                    <a:pt x="2381" y="1524"/>
                  </a:lnTo>
                  <a:lnTo>
                    <a:pt x="1492" y="2285"/>
                  </a:lnTo>
                  <a:cubicBezTo>
                    <a:pt x="1492" y="2285"/>
                    <a:pt x="1492" y="3047"/>
                    <a:pt x="730" y="3301"/>
                  </a:cubicBezTo>
                  <a:cubicBezTo>
                    <a:pt x="489" y="3711"/>
                    <a:pt x="286" y="4135"/>
                    <a:pt x="95" y="4571"/>
                  </a:cubicBezTo>
                  <a:cubicBezTo>
                    <a:pt x="-32" y="5369"/>
                    <a:pt x="-32" y="6185"/>
                    <a:pt x="95" y="6983"/>
                  </a:cubicBezTo>
                  <a:cubicBezTo>
                    <a:pt x="95" y="10769"/>
                    <a:pt x="3168" y="13840"/>
                    <a:pt x="6951" y="13840"/>
                  </a:cubicBezTo>
                  <a:lnTo>
                    <a:pt x="183436" y="13840"/>
                  </a:lnTo>
                  <a:cubicBezTo>
                    <a:pt x="179652" y="13840"/>
                    <a:pt x="176579" y="10769"/>
                    <a:pt x="176579" y="6983"/>
                  </a:cubicBezTo>
                  <a:cubicBezTo>
                    <a:pt x="176579" y="3175"/>
                    <a:pt x="179626" y="70"/>
                    <a:pt x="183436" y="0"/>
                  </a:cubicBezTo>
                  <a:lnTo>
                    <a:pt x="6189" y="0"/>
                  </a:lnTo>
                  <a:close/>
                </a:path>
              </a:pathLst>
            </a:custGeom>
            <a:solidFill>
              <a:srgbClr val="000000"/>
            </a:solidFill>
            <a:ln w="12690"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A17FA6BD-4596-4D92-BACD-8F80F28F202A}"/>
                </a:ext>
              </a:extLst>
            </p:cNvPr>
            <p:cNvSpPr/>
            <p:nvPr/>
          </p:nvSpPr>
          <p:spPr>
            <a:xfrm>
              <a:off x="5708686" y="5806747"/>
              <a:ext cx="24504" cy="13839"/>
            </a:xfrm>
            <a:custGeom>
              <a:avLst/>
              <a:gdLst>
                <a:gd name="connsiteX0" fmla="*/ 0 w 24504"/>
                <a:gd name="connsiteY0" fmla="*/ 6983 h 13839"/>
                <a:gd name="connsiteX1" fmla="*/ 6856 w 24504"/>
                <a:gd name="connsiteY1" fmla="*/ 13839 h 13839"/>
                <a:gd name="connsiteX2" fmla="*/ 17521 w 24504"/>
                <a:gd name="connsiteY2" fmla="*/ 13839 h 13839"/>
                <a:gd name="connsiteX3" fmla="*/ 17521 w 24504"/>
                <a:gd name="connsiteY3" fmla="*/ 6983 h 13839"/>
                <a:gd name="connsiteX4" fmla="*/ 24505 w 24504"/>
                <a:gd name="connsiteY4" fmla="*/ 0 h 13839"/>
                <a:gd name="connsiteX5" fmla="*/ 6603 w 24504"/>
                <a:gd name="connsiteY5" fmla="*/ 0 h 13839"/>
                <a:gd name="connsiteX6" fmla="*/ 0 w 24504"/>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04" h="13839">
                  <a:moveTo>
                    <a:pt x="0" y="6983"/>
                  </a:moveTo>
                  <a:cubicBezTo>
                    <a:pt x="0" y="10769"/>
                    <a:pt x="3073" y="13839"/>
                    <a:pt x="6856" y="13839"/>
                  </a:cubicBezTo>
                  <a:lnTo>
                    <a:pt x="17521" y="13839"/>
                  </a:lnTo>
                  <a:lnTo>
                    <a:pt x="17521" y="6983"/>
                  </a:lnTo>
                  <a:cubicBezTo>
                    <a:pt x="17521" y="3126"/>
                    <a:pt x="20645" y="0"/>
                    <a:pt x="24505" y="0"/>
                  </a:cubicBezTo>
                  <a:lnTo>
                    <a:pt x="6603" y="0"/>
                  </a:lnTo>
                  <a:cubicBezTo>
                    <a:pt x="2895" y="203"/>
                    <a:pt x="0" y="3271"/>
                    <a:pt x="0" y="6983"/>
                  </a:cubicBezTo>
                  <a:close/>
                </a:path>
              </a:pathLst>
            </a:custGeom>
            <a:solidFill>
              <a:srgbClr val="000000"/>
            </a:solidFill>
            <a:ln w="12690"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92EA6CA5-1207-4836-97EB-2782F403D3C0}"/>
                </a:ext>
              </a:extLst>
            </p:cNvPr>
            <p:cNvSpPr/>
            <p:nvPr/>
          </p:nvSpPr>
          <p:spPr>
            <a:xfrm>
              <a:off x="5726208" y="5806747"/>
              <a:ext cx="13839" cy="54976"/>
            </a:xfrm>
            <a:custGeom>
              <a:avLst/>
              <a:gdLst>
                <a:gd name="connsiteX0" fmla="*/ 0 w 13839"/>
                <a:gd name="connsiteY0" fmla="*/ 6983 h 54976"/>
                <a:gd name="connsiteX1" fmla="*/ 0 w 13839"/>
                <a:gd name="connsiteY1" fmla="*/ 54977 h 54976"/>
                <a:gd name="connsiteX2" fmla="*/ 6983 w 13839"/>
                <a:gd name="connsiteY2" fmla="*/ 47994 h 54976"/>
                <a:gd name="connsiteX3" fmla="*/ 13839 w 13839"/>
                <a:gd name="connsiteY3" fmla="*/ 54977 h 54976"/>
                <a:gd name="connsiteX4" fmla="*/ 13839 w 13839"/>
                <a:gd name="connsiteY4" fmla="*/ 6983 h 54976"/>
                <a:gd name="connsiteX5" fmla="*/ 6983 w 13839"/>
                <a:gd name="connsiteY5" fmla="*/ 0 h 54976"/>
                <a:gd name="connsiteX6" fmla="*/ 0 w 13839"/>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54976">
                  <a:moveTo>
                    <a:pt x="0" y="6983"/>
                  </a:moveTo>
                  <a:lnTo>
                    <a:pt x="0" y="54977"/>
                  </a:lnTo>
                  <a:cubicBezTo>
                    <a:pt x="0" y="51120"/>
                    <a:pt x="3123" y="47994"/>
                    <a:pt x="6983" y="47994"/>
                  </a:cubicBezTo>
                  <a:cubicBezTo>
                    <a:pt x="10792" y="48062"/>
                    <a:pt x="13839" y="51169"/>
                    <a:pt x="13839" y="54977"/>
                  </a:cubicBezTo>
                  <a:lnTo>
                    <a:pt x="13839" y="6983"/>
                  </a:lnTo>
                  <a:cubicBezTo>
                    <a:pt x="13839" y="3175"/>
                    <a:pt x="10792" y="70"/>
                    <a:pt x="6983" y="0"/>
                  </a:cubicBezTo>
                  <a:cubicBezTo>
                    <a:pt x="3123" y="0"/>
                    <a:pt x="0" y="3126"/>
                    <a:pt x="0" y="6983"/>
                  </a:cubicBezTo>
                  <a:close/>
                </a:path>
              </a:pathLst>
            </a:custGeom>
            <a:solidFill>
              <a:srgbClr val="000000"/>
            </a:solidFill>
            <a:ln w="12690"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243479FA-2EFA-4A84-98C7-015EEF9FE87B}"/>
                </a:ext>
              </a:extLst>
            </p:cNvPr>
            <p:cNvSpPr/>
            <p:nvPr/>
          </p:nvSpPr>
          <p:spPr>
            <a:xfrm>
              <a:off x="5726462" y="5854741"/>
              <a:ext cx="13839" cy="584939"/>
            </a:xfrm>
            <a:custGeom>
              <a:avLst/>
              <a:gdLst>
                <a:gd name="connsiteX0" fmla="*/ 6983 w 13839"/>
                <a:gd name="connsiteY0" fmla="*/ 584939 h 584939"/>
                <a:gd name="connsiteX1" fmla="*/ 13839 w 13839"/>
                <a:gd name="connsiteY1" fmla="*/ 584939 h 584939"/>
                <a:gd name="connsiteX2" fmla="*/ 13839 w 13839"/>
                <a:gd name="connsiteY2" fmla="*/ 6983 h 584939"/>
                <a:gd name="connsiteX3" fmla="*/ 6983 w 13839"/>
                <a:gd name="connsiteY3" fmla="*/ 0 h 584939"/>
                <a:gd name="connsiteX4" fmla="*/ 0 w 13839"/>
                <a:gd name="connsiteY4" fmla="*/ 6983 h 584939"/>
                <a:gd name="connsiteX5" fmla="*/ 0 w 13839"/>
                <a:gd name="connsiteY5" fmla="*/ 584939 h 58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584939">
                  <a:moveTo>
                    <a:pt x="6983" y="584939"/>
                  </a:moveTo>
                  <a:lnTo>
                    <a:pt x="13839" y="584939"/>
                  </a:lnTo>
                  <a:lnTo>
                    <a:pt x="13839" y="6983"/>
                  </a:lnTo>
                  <a:cubicBezTo>
                    <a:pt x="13839" y="3175"/>
                    <a:pt x="10792" y="69"/>
                    <a:pt x="6983" y="0"/>
                  </a:cubicBezTo>
                  <a:cubicBezTo>
                    <a:pt x="3123" y="0"/>
                    <a:pt x="0" y="3126"/>
                    <a:pt x="0" y="6983"/>
                  </a:cubicBezTo>
                  <a:lnTo>
                    <a:pt x="0" y="584939"/>
                  </a:lnTo>
                  <a:close/>
                </a:path>
              </a:pathLst>
            </a:custGeom>
            <a:solidFill>
              <a:srgbClr val="000000"/>
            </a:solidFill>
            <a:ln w="12690"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2D35C065-AA3F-434C-A883-9D395FC163D2}"/>
                </a:ext>
              </a:extLst>
            </p:cNvPr>
            <p:cNvSpPr/>
            <p:nvPr/>
          </p:nvSpPr>
          <p:spPr>
            <a:xfrm>
              <a:off x="4511136" y="6243769"/>
              <a:ext cx="13123" cy="203147"/>
            </a:xfrm>
            <a:custGeom>
              <a:avLst/>
              <a:gdLst>
                <a:gd name="connsiteX0" fmla="*/ 6220 w 13123"/>
                <a:gd name="connsiteY0" fmla="*/ 194895 h 203147"/>
                <a:gd name="connsiteX1" fmla="*/ 10282 w 13123"/>
                <a:gd name="connsiteY1" fmla="*/ 196292 h 203147"/>
                <a:gd name="connsiteX2" fmla="*/ 13076 w 13123"/>
                <a:gd name="connsiteY2" fmla="*/ 196292 h 203147"/>
                <a:gd name="connsiteX3" fmla="*/ 13076 w 13123"/>
                <a:gd name="connsiteY3" fmla="*/ 5840 h 203147"/>
                <a:gd name="connsiteX4" fmla="*/ 13076 w 13123"/>
                <a:gd name="connsiteY4" fmla="*/ 5840 h 203147"/>
                <a:gd name="connsiteX5" fmla="*/ 13076 w 13123"/>
                <a:gd name="connsiteY5" fmla="*/ 5079 h 203147"/>
                <a:gd name="connsiteX6" fmla="*/ 13076 w 13123"/>
                <a:gd name="connsiteY6" fmla="*/ 3682 h 203147"/>
                <a:gd name="connsiteX7" fmla="*/ 13076 w 13123"/>
                <a:gd name="connsiteY7" fmla="*/ 3682 h 203147"/>
                <a:gd name="connsiteX8" fmla="*/ 13076 w 13123"/>
                <a:gd name="connsiteY8" fmla="*/ 2793 h 203147"/>
                <a:gd name="connsiteX9" fmla="*/ 12314 w 13123"/>
                <a:gd name="connsiteY9" fmla="*/ 1651 h 203147"/>
                <a:gd name="connsiteX10" fmla="*/ 11425 w 13123"/>
                <a:gd name="connsiteY10" fmla="*/ 762 h 203147"/>
                <a:gd name="connsiteX11" fmla="*/ 10282 w 13123"/>
                <a:gd name="connsiteY11" fmla="*/ 0 h 203147"/>
                <a:gd name="connsiteX12" fmla="*/ 9013 w 13123"/>
                <a:gd name="connsiteY12" fmla="*/ 0 h 203147"/>
                <a:gd name="connsiteX13" fmla="*/ 7108 w 13123"/>
                <a:gd name="connsiteY13" fmla="*/ 0 h 203147"/>
                <a:gd name="connsiteX14" fmla="*/ 125 w 13123"/>
                <a:gd name="connsiteY14" fmla="*/ 6983 h 203147"/>
                <a:gd name="connsiteX15" fmla="*/ 125 w 13123"/>
                <a:gd name="connsiteY15" fmla="*/ 203148 h 203147"/>
                <a:gd name="connsiteX16" fmla="*/ 5674 w 13123"/>
                <a:gd name="connsiteY16" fmla="*/ 194971 h 203147"/>
                <a:gd name="connsiteX17" fmla="*/ 6220 w 13123"/>
                <a:gd name="connsiteY17" fmla="*/ 194895 h 20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23" h="203147">
                  <a:moveTo>
                    <a:pt x="6220" y="194895"/>
                  </a:moveTo>
                  <a:cubicBezTo>
                    <a:pt x="7680" y="194959"/>
                    <a:pt x="9089" y="195441"/>
                    <a:pt x="10282" y="196292"/>
                  </a:cubicBezTo>
                  <a:lnTo>
                    <a:pt x="13076" y="196292"/>
                  </a:lnTo>
                  <a:lnTo>
                    <a:pt x="13076" y="5840"/>
                  </a:lnTo>
                  <a:lnTo>
                    <a:pt x="13076" y="5840"/>
                  </a:lnTo>
                  <a:cubicBezTo>
                    <a:pt x="13076" y="5840"/>
                    <a:pt x="13076" y="5840"/>
                    <a:pt x="13076" y="5079"/>
                  </a:cubicBezTo>
                  <a:cubicBezTo>
                    <a:pt x="13139" y="4609"/>
                    <a:pt x="13139" y="4152"/>
                    <a:pt x="13076" y="3682"/>
                  </a:cubicBezTo>
                  <a:lnTo>
                    <a:pt x="13076" y="3682"/>
                  </a:lnTo>
                  <a:lnTo>
                    <a:pt x="13076" y="2793"/>
                  </a:lnTo>
                  <a:lnTo>
                    <a:pt x="12314" y="1651"/>
                  </a:lnTo>
                  <a:lnTo>
                    <a:pt x="11425" y="762"/>
                  </a:lnTo>
                  <a:lnTo>
                    <a:pt x="10282" y="0"/>
                  </a:lnTo>
                  <a:lnTo>
                    <a:pt x="9013" y="0"/>
                  </a:lnTo>
                  <a:lnTo>
                    <a:pt x="7108" y="0"/>
                  </a:lnTo>
                  <a:cubicBezTo>
                    <a:pt x="3249" y="0"/>
                    <a:pt x="125" y="3123"/>
                    <a:pt x="125" y="6983"/>
                  </a:cubicBezTo>
                  <a:lnTo>
                    <a:pt x="125" y="203148"/>
                  </a:lnTo>
                  <a:cubicBezTo>
                    <a:pt x="-599" y="199364"/>
                    <a:pt x="1890" y="195708"/>
                    <a:pt x="5674" y="194971"/>
                  </a:cubicBezTo>
                  <a:cubicBezTo>
                    <a:pt x="5851" y="194946"/>
                    <a:pt x="6042" y="194920"/>
                    <a:pt x="6220" y="194895"/>
                  </a:cubicBezTo>
                  <a:close/>
                </a:path>
              </a:pathLst>
            </a:custGeom>
            <a:solidFill>
              <a:srgbClr val="000000"/>
            </a:solidFill>
            <a:ln w="12690"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1B028848-E566-43ED-A90B-EEBFDAA51BFC}"/>
                </a:ext>
              </a:extLst>
            </p:cNvPr>
            <p:cNvSpPr/>
            <p:nvPr/>
          </p:nvSpPr>
          <p:spPr>
            <a:xfrm>
              <a:off x="4524212" y="6453266"/>
              <a:ext cx="2793" cy="634"/>
            </a:xfrm>
            <a:custGeom>
              <a:avLst/>
              <a:gdLst>
                <a:gd name="connsiteX0" fmla="*/ 0 w 2793"/>
                <a:gd name="connsiteY0" fmla="*/ 0 h 634"/>
                <a:gd name="connsiteX1" fmla="*/ 0 w 2793"/>
                <a:gd name="connsiteY1" fmla="*/ 635 h 634"/>
                <a:gd name="connsiteX2" fmla="*/ 2793 w 2793"/>
                <a:gd name="connsiteY2" fmla="*/ 635 h 634"/>
                <a:gd name="connsiteX3" fmla="*/ 0 w 2793"/>
                <a:gd name="connsiteY3" fmla="*/ 0 h 634"/>
              </a:gdLst>
              <a:ahLst/>
              <a:cxnLst>
                <a:cxn ang="0">
                  <a:pos x="connsiteX0" y="connsiteY0"/>
                </a:cxn>
                <a:cxn ang="0">
                  <a:pos x="connsiteX1" y="connsiteY1"/>
                </a:cxn>
                <a:cxn ang="0">
                  <a:pos x="connsiteX2" y="connsiteY2"/>
                </a:cxn>
                <a:cxn ang="0">
                  <a:pos x="connsiteX3" y="connsiteY3"/>
                </a:cxn>
              </a:cxnLst>
              <a:rect l="l" t="t" r="r" b="b"/>
              <a:pathLst>
                <a:path w="2793" h="634">
                  <a:moveTo>
                    <a:pt x="0" y="0"/>
                  </a:moveTo>
                  <a:lnTo>
                    <a:pt x="0" y="635"/>
                  </a:lnTo>
                  <a:lnTo>
                    <a:pt x="2793" y="635"/>
                  </a:lnTo>
                  <a:cubicBezTo>
                    <a:pt x="1828" y="622"/>
                    <a:pt x="876" y="406"/>
                    <a:pt x="0" y="0"/>
                  </a:cubicBezTo>
                  <a:close/>
                </a:path>
              </a:pathLst>
            </a:custGeom>
            <a:solidFill>
              <a:srgbClr val="000000"/>
            </a:solidFill>
            <a:ln w="12690"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3E7EE53C-1227-42FD-B5AA-B923B0D005BE}"/>
                </a:ext>
              </a:extLst>
            </p:cNvPr>
            <p:cNvSpPr/>
            <p:nvPr/>
          </p:nvSpPr>
          <p:spPr>
            <a:xfrm>
              <a:off x="4521419" y="6440061"/>
              <a:ext cx="5586" cy="1523"/>
            </a:xfrm>
            <a:custGeom>
              <a:avLst/>
              <a:gdLst>
                <a:gd name="connsiteX0" fmla="*/ 0 w 5586"/>
                <a:gd name="connsiteY0" fmla="*/ 0 h 1523"/>
                <a:gd name="connsiteX1" fmla="*/ 1397 w 5586"/>
                <a:gd name="connsiteY1" fmla="*/ 1524 h 1523"/>
                <a:gd name="connsiteX2" fmla="*/ 5587 w 5586"/>
                <a:gd name="connsiteY2" fmla="*/ 0 h 1523"/>
                <a:gd name="connsiteX3" fmla="*/ 0 w 5586"/>
                <a:gd name="connsiteY3" fmla="*/ 0 h 1523"/>
              </a:gdLst>
              <a:ahLst/>
              <a:cxnLst>
                <a:cxn ang="0">
                  <a:pos x="connsiteX0" y="connsiteY0"/>
                </a:cxn>
                <a:cxn ang="0">
                  <a:pos x="connsiteX1" y="connsiteY1"/>
                </a:cxn>
                <a:cxn ang="0">
                  <a:pos x="connsiteX2" y="connsiteY2"/>
                </a:cxn>
                <a:cxn ang="0">
                  <a:pos x="connsiteX3" y="connsiteY3"/>
                </a:cxn>
              </a:cxnLst>
              <a:rect l="l" t="t" r="r" b="b"/>
              <a:pathLst>
                <a:path w="5586" h="1523">
                  <a:moveTo>
                    <a:pt x="0" y="0"/>
                  </a:moveTo>
                  <a:lnTo>
                    <a:pt x="1397" y="1524"/>
                  </a:lnTo>
                  <a:cubicBezTo>
                    <a:pt x="2603" y="597"/>
                    <a:pt x="4063" y="64"/>
                    <a:pt x="5587" y="0"/>
                  </a:cubicBezTo>
                  <a:lnTo>
                    <a:pt x="0" y="0"/>
                  </a:lnTo>
                  <a:close/>
                </a:path>
              </a:pathLst>
            </a:custGeom>
            <a:solidFill>
              <a:srgbClr val="000000"/>
            </a:solidFill>
            <a:ln w="12690"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4DEDA032-1EB3-4FD5-B6B1-8D0F112624F2}"/>
                </a:ext>
              </a:extLst>
            </p:cNvPr>
            <p:cNvSpPr/>
            <p:nvPr/>
          </p:nvSpPr>
          <p:spPr>
            <a:xfrm>
              <a:off x="4522815" y="6440061"/>
              <a:ext cx="252156" cy="13839"/>
            </a:xfrm>
            <a:custGeom>
              <a:avLst/>
              <a:gdLst>
                <a:gd name="connsiteX0" fmla="*/ 246570 w 252156"/>
                <a:gd name="connsiteY0" fmla="*/ 7237 h 13839"/>
                <a:gd name="connsiteX1" fmla="*/ 246570 w 252156"/>
                <a:gd name="connsiteY1" fmla="*/ 0 h 13839"/>
                <a:gd name="connsiteX2" fmla="*/ 4190 w 252156"/>
                <a:gd name="connsiteY2" fmla="*/ 0 h 13839"/>
                <a:gd name="connsiteX3" fmla="*/ 0 w 252156"/>
                <a:gd name="connsiteY3" fmla="*/ 1524 h 13839"/>
                <a:gd name="connsiteX4" fmla="*/ 1396 w 252156"/>
                <a:gd name="connsiteY4" fmla="*/ 5460 h 13839"/>
                <a:gd name="connsiteX5" fmla="*/ 1396 w 252156"/>
                <a:gd name="connsiteY5" fmla="*/ 13205 h 13839"/>
                <a:gd name="connsiteX6" fmla="*/ 4190 w 252156"/>
                <a:gd name="connsiteY6" fmla="*/ 13839 h 13839"/>
                <a:gd name="connsiteX7" fmla="*/ 252156 w 252156"/>
                <a:gd name="connsiteY7" fmla="*/ 13839 h 13839"/>
                <a:gd name="connsiteX8" fmla="*/ 246570 w 252156"/>
                <a:gd name="connsiteY8" fmla="*/ 7237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156" h="13839">
                  <a:moveTo>
                    <a:pt x="246570" y="7237"/>
                  </a:moveTo>
                  <a:lnTo>
                    <a:pt x="246570" y="0"/>
                  </a:lnTo>
                  <a:lnTo>
                    <a:pt x="4190" y="0"/>
                  </a:lnTo>
                  <a:cubicBezTo>
                    <a:pt x="2666" y="64"/>
                    <a:pt x="1206" y="597"/>
                    <a:pt x="0" y="1524"/>
                  </a:cubicBezTo>
                  <a:cubicBezTo>
                    <a:pt x="889" y="2641"/>
                    <a:pt x="1384" y="4025"/>
                    <a:pt x="1396" y="5460"/>
                  </a:cubicBezTo>
                  <a:lnTo>
                    <a:pt x="1396" y="13205"/>
                  </a:lnTo>
                  <a:cubicBezTo>
                    <a:pt x="2273" y="13611"/>
                    <a:pt x="3225" y="13827"/>
                    <a:pt x="4190" y="13839"/>
                  </a:cubicBezTo>
                  <a:lnTo>
                    <a:pt x="252156" y="13839"/>
                  </a:lnTo>
                  <a:cubicBezTo>
                    <a:pt x="248944" y="13281"/>
                    <a:pt x="246582" y="10500"/>
                    <a:pt x="246570" y="7237"/>
                  </a:cubicBezTo>
                  <a:close/>
                </a:path>
              </a:pathLst>
            </a:custGeom>
            <a:solidFill>
              <a:srgbClr val="000000"/>
            </a:solidFill>
            <a:ln w="12690"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CFCF1DCD-C468-43BD-9075-EBDEB6F7C6A7}"/>
                </a:ext>
              </a:extLst>
            </p:cNvPr>
            <p:cNvSpPr/>
            <p:nvPr/>
          </p:nvSpPr>
          <p:spPr>
            <a:xfrm>
              <a:off x="4510372" y="5992120"/>
              <a:ext cx="13585" cy="134712"/>
            </a:xfrm>
            <a:custGeom>
              <a:avLst/>
              <a:gdLst>
                <a:gd name="connsiteX0" fmla="*/ 6983 w 13585"/>
                <a:gd name="connsiteY0" fmla="*/ 6856 h 134712"/>
                <a:gd name="connsiteX1" fmla="*/ 0 w 13585"/>
                <a:gd name="connsiteY1" fmla="*/ 0 h 134712"/>
                <a:gd name="connsiteX2" fmla="*/ 0 w 13585"/>
                <a:gd name="connsiteY2" fmla="*/ 134713 h 134712"/>
                <a:gd name="connsiteX3" fmla="*/ 889 w 13585"/>
                <a:gd name="connsiteY3" fmla="*/ 134713 h 134712"/>
                <a:gd name="connsiteX4" fmla="*/ 13586 w 13585"/>
                <a:gd name="connsiteY4" fmla="*/ 134713 h 134712"/>
                <a:gd name="connsiteX5" fmla="*/ 13586 w 13585"/>
                <a:gd name="connsiteY5" fmla="*/ 381 h 134712"/>
                <a:gd name="connsiteX6" fmla="*/ 6983 w 13585"/>
                <a:gd name="connsiteY6" fmla="*/ 6856 h 1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5" h="134712">
                  <a:moveTo>
                    <a:pt x="6983" y="6856"/>
                  </a:moveTo>
                  <a:cubicBezTo>
                    <a:pt x="3174" y="6856"/>
                    <a:pt x="64" y="3806"/>
                    <a:pt x="0" y="0"/>
                  </a:cubicBezTo>
                  <a:lnTo>
                    <a:pt x="0" y="134713"/>
                  </a:lnTo>
                  <a:lnTo>
                    <a:pt x="889" y="134713"/>
                  </a:lnTo>
                  <a:lnTo>
                    <a:pt x="13586" y="134713"/>
                  </a:lnTo>
                  <a:lnTo>
                    <a:pt x="13586" y="381"/>
                  </a:lnTo>
                  <a:cubicBezTo>
                    <a:pt x="13395" y="3922"/>
                    <a:pt x="10526" y="6731"/>
                    <a:pt x="6983" y="6856"/>
                  </a:cubicBezTo>
                  <a:close/>
                </a:path>
              </a:pathLst>
            </a:custGeom>
            <a:solidFill>
              <a:srgbClr val="000000"/>
            </a:solidFill>
            <a:ln w="12690"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AFAE29A8-D1DE-4BE8-8419-135353DFBC7C}"/>
                </a:ext>
              </a:extLst>
            </p:cNvPr>
            <p:cNvSpPr/>
            <p:nvPr/>
          </p:nvSpPr>
          <p:spPr>
            <a:xfrm>
              <a:off x="4517356" y="5001138"/>
              <a:ext cx="169754" cy="13712"/>
            </a:xfrm>
            <a:custGeom>
              <a:avLst/>
              <a:gdLst>
                <a:gd name="connsiteX0" fmla="*/ 6856 w 169754"/>
                <a:gd name="connsiteY0" fmla="*/ 6729 h 13712"/>
                <a:gd name="connsiteX1" fmla="*/ 6856 w 169754"/>
                <a:gd name="connsiteY1" fmla="*/ 13712 h 13712"/>
                <a:gd name="connsiteX2" fmla="*/ 169755 w 169754"/>
                <a:gd name="connsiteY2" fmla="*/ 13712 h 13712"/>
                <a:gd name="connsiteX3" fmla="*/ 162898 w 169754"/>
                <a:gd name="connsiteY3" fmla="*/ 6856 h 13712"/>
                <a:gd name="connsiteX4" fmla="*/ 169755 w 169754"/>
                <a:gd name="connsiteY4" fmla="*/ 0 h 13712"/>
                <a:gd name="connsiteX5" fmla="*/ 0 w 169754"/>
                <a:gd name="connsiteY5" fmla="*/ 0 h 13712"/>
                <a:gd name="connsiteX6" fmla="*/ 6856 w 169754"/>
                <a:gd name="connsiteY6" fmla="*/ 6729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54" h="13712">
                  <a:moveTo>
                    <a:pt x="6856" y="6729"/>
                  </a:moveTo>
                  <a:lnTo>
                    <a:pt x="6856" y="13712"/>
                  </a:lnTo>
                  <a:lnTo>
                    <a:pt x="169755" y="13712"/>
                  </a:lnTo>
                  <a:cubicBezTo>
                    <a:pt x="165971" y="13712"/>
                    <a:pt x="162898" y="10642"/>
                    <a:pt x="162898" y="6856"/>
                  </a:cubicBezTo>
                  <a:cubicBezTo>
                    <a:pt x="162898" y="3070"/>
                    <a:pt x="165971" y="0"/>
                    <a:pt x="169755" y="0"/>
                  </a:cubicBezTo>
                  <a:lnTo>
                    <a:pt x="0" y="0"/>
                  </a:lnTo>
                  <a:cubicBezTo>
                    <a:pt x="3733" y="0"/>
                    <a:pt x="6793" y="2993"/>
                    <a:pt x="6856" y="6729"/>
                  </a:cubicBezTo>
                  <a:close/>
                </a:path>
              </a:pathLst>
            </a:custGeom>
            <a:solidFill>
              <a:srgbClr val="000000"/>
            </a:solidFill>
            <a:ln w="12690"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4B45F822-39D7-4273-982B-307514BBF92C}"/>
                </a:ext>
              </a:extLst>
            </p:cNvPr>
            <p:cNvSpPr/>
            <p:nvPr/>
          </p:nvSpPr>
          <p:spPr>
            <a:xfrm>
              <a:off x="4680254" y="5001746"/>
              <a:ext cx="107285" cy="13866"/>
            </a:xfrm>
            <a:custGeom>
              <a:avLst/>
              <a:gdLst>
                <a:gd name="connsiteX0" fmla="*/ 99034 w 107285"/>
                <a:gd name="connsiteY0" fmla="*/ 13105 h 13866"/>
                <a:gd name="connsiteX1" fmla="*/ 100304 w 107285"/>
                <a:gd name="connsiteY1" fmla="*/ 13105 h 13866"/>
                <a:gd name="connsiteX2" fmla="*/ 101574 w 107285"/>
                <a:gd name="connsiteY2" fmla="*/ 13105 h 13866"/>
                <a:gd name="connsiteX3" fmla="*/ 107224 w 107285"/>
                <a:gd name="connsiteY3" fmla="*/ 5676 h 13866"/>
                <a:gd name="connsiteX4" fmla="*/ 105129 w 107285"/>
                <a:gd name="connsiteY4" fmla="*/ 1678 h 13866"/>
                <a:gd name="connsiteX5" fmla="*/ 104113 w 107285"/>
                <a:gd name="connsiteY5" fmla="*/ 916 h 13866"/>
                <a:gd name="connsiteX6" fmla="*/ 102970 w 107285"/>
                <a:gd name="connsiteY6" fmla="*/ 154 h 13866"/>
                <a:gd name="connsiteX7" fmla="*/ 100304 w 107285"/>
                <a:gd name="connsiteY7" fmla="*/ 154 h 13866"/>
                <a:gd name="connsiteX8" fmla="*/ 6856 w 107285"/>
                <a:gd name="connsiteY8" fmla="*/ 154 h 13866"/>
                <a:gd name="connsiteX9" fmla="*/ 0 w 107285"/>
                <a:gd name="connsiteY9" fmla="*/ 7011 h 13866"/>
                <a:gd name="connsiteX10" fmla="*/ 6856 w 107285"/>
                <a:gd name="connsiteY10" fmla="*/ 13867 h 13866"/>
                <a:gd name="connsiteX11" fmla="*/ 99034 w 107285"/>
                <a:gd name="connsiteY11" fmla="*/ 13867 h 1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285" h="13866">
                  <a:moveTo>
                    <a:pt x="99034" y="13105"/>
                  </a:moveTo>
                  <a:lnTo>
                    <a:pt x="100304" y="13105"/>
                  </a:lnTo>
                  <a:lnTo>
                    <a:pt x="101574" y="13105"/>
                  </a:lnTo>
                  <a:cubicBezTo>
                    <a:pt x="105192" y="12615"/>
                    <a:pt x="107719" y="9288"/>
                    <a:pt x="107224" y="5676"/>
                  </a:cubicBezTo>
                  <a:cubicBezTo>
                    <a:pt x="107021" y="4137"/>
                    <a:pt x="106271" y="2722"/>
                    <a:pt x="105129" y="1678"/>
                  </a:cubicBezTo>
                  <a:cubicBezTo>
                    <a:pt x="104849" y="1355"/>
                    <a:pt x="104507" y="1096"/>
                    <a:pt x="104113" y="916"/>
                  </a:cubicBezTo>
                  <a:lnTo>
                    <a:pt x="102970" y="154"/>
                  </a:lnTo>
                  <a:cubicBezTo>
                    <a:pt x="102094" y="-51"/>
                    <a:pt x="101180" y="-51"/>
                    <a:pt x="100304" y="154"/>
                  </a:cubicBezTo>
                  <a:lnTo>
                    <a:pt x="6856" y="154"/>
                  </a:lnTo>
                  <a:cubicBezTo>
                    <a:pt x="3073" y="154"/>
                    <a:pt x="0" y="3224"/>
                    <a:pt x="0" y="7011"/>
                  </a:cubicBezTo>
                  <a:cubicBezTo>
                    <a:pt x="0" y="10797"/>
                    <a:pt x="3073" y="13867"/>
                    <a:pt x="6856" y="13867"/>
                  </a:cubicBezTo>
                  <a:lnTo>
                    <a:pt x="99034" y="13867"/>
                  </a:lnTo>
                  <a:close/>
                </a:path>
              </a:pathLst>
            </a:custGeom>
            <a:solidFill>
              <a:srgbClr val="000000"/>
            </a:solidFill>
            <a:ln w="12690"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7EF18E3B-F1B8-43F1-9E9E-984CBB0ECAF5}"/>
                </a:ext>
              </a:extLst>
            </p:cNvPr>
            <p:cNvSpPr/>
            <p:nvPr/>
          </p:nvSpPr>
          <p:spPr>
            <a:xfrm>
              <a:off x="4806713" y="6122261"/>
              <a:ext cx="133442" cy="4316"/>
            </a:xfrm>
            <a:custGeom>
              <a:avLst/>
              <a:gdLst>
                <a:gd name="connsiteX0" fmla="*/ 0 w 133442"/>
                <a:gd name="connsiteY0" fmla="*/ 4317 h 4316"/>
                <a:gd name="connsiteX1" fmla="*/ 126967 w 133442"/>
                <a:gd name="connsiteY1" fmla="*/ 4317 h 4316"/>
                <a:gd name="connsiteX2" fmla="*/ 133442 w 133442"/>
                <a:gd name="connsiteY2" fmla="*/ 0 h 4316"/>
                <a:gd name="connsiteX3" fmla="*/ 0 w 133442"/>
                <a:gd name="connsiteY3" fmla="*/ 0 h 4316"/>
                <a:gd name="connsiteX4" fmla="*/ 0 w 133442"/>
                <a:gd name="connsiteY4" fmla="*/ 4317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42" h="4316">
                  <a:moveTo>
                    <a:pt x="0" y="4317"/>
                  </a:moveTo>
                  <a:lnTo>
                    <a:pt x="126967" y="4317"/>
                  </a:lnTo>
                  <a:cubicBezTo>
                    <a:pt x="128046" y="1701"/>
                    <a:pt x="130611" y="-13"/>
                    <a:pt x="133442" y="0"/>
                  </a:cubicBezTo>
                  <a:lnTo>
                    <a:pt x="0" y="0"/>
                  </a:lnTo>
                  <a:lnTo>
                    <a:pt x="0" y="4317"/>
                  </a:lnTo>
                  <a:close/>
                </a:path>
              </a:pathLst>
            </a:custGeom>
            <a:solidFill>
              <a:srgbClr val="000000"/>
            </a:solidFill>
            <a:ln w="12690"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FA21DD11-EAF2-48B2-B7E9-2B0AAEC63318}"/>
                </a:ext>
              </a:extLst>
            </p:cNvPr>
            <p:cNvSpPr/>
            <p:nvPr/>
          </p:nvSpPr>
          <p:spPr>
            <a:xfrm>
              <a:off x="4998688" y="6116548"/>
              <a:ext cx="13077" cy="10030"/>
            </a:xfrm>
            <a:custGeom>
              <a:avLst/>
              <a:gdLst>
                <a:gd name="connsiteX0" fmla="*/ 0 w 13077"/>
                <a:gd name="connsiteY0" fmla="*/ 5714 h 10030"/>
                <a:gd name="connsiteX1" fmla="*/ 6729 w 13077"/>
                <a:gd name="connsiteY1" fmla="*/ 5714 h 10030"/>
                <a:gd name="connsiteX2" fmla="*/ 13078 w 13077"/>
                <a:gd name="connsiteY2" fmla="*/ 10030 h 10030"/>
                <a:gd name="connsiteX3" fmla="*/ 13078 w 13077"/>
                <a:gd name="connsiteY3" fmla="*/ 10030 h 10030"/>
                <a:gd name="connsiteX4" fmla="*/ 13078 w 13077"/>
                <a:gd name="connsiteY4" fmla="*/ 6094 h 10030"/>
                <a:gd name="connsiteX5" fmla="*/ 13078 w 13077"/>
                <a:gd name="connsiteY5" fmla="*/ 4698 h 10030"/>
                <a:gd name="connsiteX6" fmla="*/ 13078 w 13077"/>
                <a:gd name="connsiteY6" fmla="*/ 3936 h 10030"/>
                <a:gd name="connsiteX7" fmla="*/ 13078 w 13077"/>
                <a:gd name="connsiteY7" fmla="*/ 3936 h 10030"/>
                <a:gd name="connsiteX8" fmla="*/ 12316 w 13077"/>
                <a:gd name="connsiteY8" fmla="*/ 2920 h 10030"/>
                <a:gd name="connsiteX9" fmla="*/ 11427 w 13077"/>
                <a:gd name="connsiteY9" fmla="*/ 1905 h 10030"/>
                <a:gd name="connsiteX10" fmla="*/ 6856 w 13077"/>
                <a:gd name="connsiteY10" fmla="*/ 0 h 10030"/>
                <a:gd name="connsiteX11" fmla="*/ 2412 w 13077"/>
                <a:gd name="connsiteY11" fmla="*/ 1778 h 10030"/>
                <a:gd name="connsiteX12" fmla="*/ 888 w 13077"/>
                <a:gd name="connsiteY12" fmla="*/ 3682 h 10030"/>
                <a:gd name="connsiteX13" fmla="*/ 0 w 13077"/>
                <a:gd name="connsiteY13" fmla="*/ 5714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7" h="10030">
                  <a:moveTo>
                    <a:pt x="0" y="5714"/>
                  </a:moveTo>
                  <a:lnTo>
                    <a:pt x="6729" y="5714"/>
                  </a:lnTo>
                  <a:cubicBezTo>
                    <a:pt x="9535" y="5688"/>
                    <a:pt x="12074" y="7402"/>
                    <a:pt x="13078" y="10030"/>
                  </a:cubicBezTo>
                  <a:lnTo>
                    <a:pt x="13078" y="10030"/>
                  </a:lnTo>
                  <a:lnTo>
                    <a:pt x="13078" y="6094"/>
                  </a:lnTo>
                  <a:cubicBezTo>
                    <a:pt x="13078" y="6094"/>
                    <a:pt x="13078" y="5079"/>
                    <a:pt x="13078" y="4698"/>
                  </a:cubicBezTo>
                  <a:cubicBezTo>
                    <a:pt x="13078" y="4317"/>
                    <a:pt x="13078" y="4698"/>
                    <a:pt x="13078" y="3936"/>
                  </a:cubicBezTo>
                  <a:cubicBezTo>
                    <a:pt x="13078" y="3174"/>
                    <a:pt x="13078" y="3936"/>
                    <a:pt x="13078" y="3936"/>
                  </a:cubicBezTo>
                  <a:lnTo>
                    <a:pt x="12316" y="2920"/>
                  </a:lnTo>
                  <a:cubicBezTo>
                    <a:pt x="12087" y="2527"/>
                    <a:pt x="11782" y="2184"/>
                    <a:pt x="11427" y="1905"/>
                  </a:cubicBezTo>
                  <a:cubicBezTo>
                    <a:pt x="10195" y="711"/>
                    <a:pt x="8570" y="25"/>
                    <a:pt x="6856" y="0"/>
                  </a:cubicBezTo>
                  <a:cubicBezTo>
                    <a:pt x="5205" y="25"/>
                    <a:pt x="3631" y="660"/>
                    <a:pt x="2412" y="1778"/>
                  </a:cubicBezTo>
                  <a:cubicBezTo>
                    <a:pt x="1803" y="2324"/>
                    <a:pt x="1282" y="2971"/>
                    <a:pt x="888" y="3682"/>
                  </a:cubicBezTo>
                  <a:cubicBezTo>
                    <a:pt x="508" y="4317"/>
                    <a:pt x="203" y="5003"/>
                    <a:pt x="0" y="5714"/>
                  </a:cubicBezTo>
                  <a:close/>
                </a:path>
              </a:pathLst>
            </a:custGeom>
            <a:solidFill>
              <a:srgbClr val="000000"/>
            </a:solidFill>
            <a:ln w="12690"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CA102126-1530-43D4-81CE-560D7CCA9CF2}"/>
                </a:ext>
              </a:extLst>
            </p:cNvPr>
            <p:cNvSpPr/>
            <p:nvPr/>
          </p:nvSpPr>
          <p:spPr>
            <a:xfrm>
              <a:off x="4092905" y="5787575"/>
              <a:ext cx="57643" cy="13712"/>
            </a:xfrm>
            <a:custGeom>
              <a:avLst/>
              <a:gdLst>
                <a:gd name="connsiteX0" fmla="*/ 6856 w 57643"/>
                <a:gd name="connsiteY0" fmla="*/ 13713 h 13712"/>
                <a:gd name="connsiteX1" fmla="*/ 57643 w 57643"/>
                <a:gd name="connsiteY1" fmla="*/ 13713 h 13712"/>
                <a:gd name="connsiteX2" fmla="*/ 50787 w 57643"/>
                <a:gd name="connsiteY2" fmla="*/ 6856 h 13712"/>
                <a:gd name="connsiteX3" fmla="*/ 57643 w 57643"/>
                <a:gd name="connsiteY3" fmla="*/ 0 h 13712"/>
                <a:gd name="connsiteX4" fmla="*/ 6856 w 57643"/>
                <a:gd name="connsiteY4" fmla="*/ 0 h 13712"/>
                <a:gd name="connsiteX5" fmla="*/ 0 w 57643"/>
                <a:gd name="connsiteY5" fmla="*/ 6856 h 13712"/>
                <a:gd name="connsiteX6" fmla="*/ 6856 w 57643"/>
                <a:gd name="connsiteY6"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43" h="13712">
                  <a:moveTo>
                    <a:pt x="6856" y="13713"/>
                  </a:moveTo>
                  <a:lnTo>
                    <a:pt x="57643" y="13713"/>
                  </a:lnTo>
                  <a:cubicBezTo>
                    <a:pt x="53859" y="13713"/>
                    <a:pt x="50787" y="10642"/>
                    <a:pt x="50787" y="6856"/>
                  </a:cubicBezTo>
                  <a:cubicBezTo>
                    <a:pt x="50787" y="3070"/>
                    <a:pt x="53859" y="0"/>
                    <a:pt x="57643" y="0"/>
                  </a:cubicBezTo>
                  <a:lnTo>
                    <a:pt x="6856" y="0"/>
                  </a:lnTo>
                  <a:cubicBezTo>
                    <a:pt x="3073" y="0"/>
                    <a:pt x="0" y="3070"/>
                    <a:pt x="0" y="6856"/>
                  </a:cubicBezTo>
                  <a:cubicBezTo>
                    <a:pt x="0" y="10642"/>
                    <a:pt x="3073" y="13713"/>
                    <a:pt x="6856" y="13713"/>
                  </a:cubicBezTo>
                  <a:close/>
                </a:path>
              </a:pathLst>
            </a:custGeom>
            <a:solidFill>
              <a:srgbClr val="000000"/>
            </a:solidFill>
            <a:ln w="12690"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416D78B7-5DF0-4008-9C9A-9741DBA8E3AC}"/>
                </a:ext>
              </a:extLst>
            </p:cNvPr>
            <p:cNvSpPr/>
            <p:nvPr/>
          </p:nvSpPr>
          <p:spPr>
            <a:xfrm>
              <a:off x="4143311" y="5787575"/>
              <a:ext cx="367061" cy="13712"/>
            </a:xfrm>
            <a:custGeom>
              <a:avLst/>
              <a:gdLst>
                <a:gd name="connsiteX0" fmla="*/ 367061 w 367061"/>
                <a:gd name="connsiteY0" fmla="*/ 6856 h 13712"/>
                <a:gd name="connsiteX1" fmla="*/ 367061 w 367061"/>
                <a:gd name="connsiteY1" fmla="*/ 0 h 13712"/>
                <a:gd name="connsiteX2" fmla="*/ 6856 w 367061"/>
                <a:gd name="connsiteY2" fmla="*/ 0 h 13712"/>
                <a:gd name="connsiteX3" fmla="*/ 0 w 367061"/>
                <a:gd name="connsiteY3" fmla="*/ 6856 h 13712"/>
                <a:gd name="connsiteX4" fmla="*/ 6856 w 367061"/>
                <a:gd name="connsiteY4" fmla="*/ 13713 h 13712"/>
                <a:gd name="connsiteX5" fmla="*/ 367061 w 367061"/>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61" h="13712">
                  <a:moveTo>
                    <a:pt x="367061" y="6856"/>
                  </a:moveTo>
                  <a:lnTo>
                    <a:pt x="367061" y="0"/>
                  </a:lnTo>
                  <a:lnTo>
                    <a:pt x="6856" y="0"/>
                  </a:lnTo>
                  <a:cubicBezTo>
                    <a:pt x="3073" y="0"/>
                    <a:pt x="0" y="3070"/>
                    <a:pt x="0" y="6856"/>
                  </a:cubicBezTo>
                  <a:cubicBezTo>
                    <a:pt x="0" y="10642"/>
                    <a:pt x="3073" y="13713"/>
                    <a:pt x="6856" y="13713"/>
                  </a:cubicBezTo>
                  <a:lnTo>
                    <a:pt x="367061" y="13713"/>
                  </a:lnTo>
                  <a:close/>
                </a:path>
              </a:pathLst>
            </a:custGeom>
            <a:solidFill>
              <a:srgbClr val="000000"/>
            </a:solidFill>
            <a:ln w="12690"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DBFDB50D-DB29-4C28-8286-E20235EFDD86}"/>
                </a:ext>
              </a:extLst>
            </p:cNvPr>
            <p:cNvSpPr/>
            <p:nvPr/>
          </p:nvSpPr>
          <p:spPr>
            <a:xfrm>
              <a:off x="4794144" y="5787575"/>
              <a:ext cx="145631" cy="13712"/>
            </a:xfrm>
            <a:custGeom>
              <a:avLst/>
              <a:gdLst>
                <a:gd name="connsiteX0" fmla="*/ 0 w 145631"/>
                <a:gd name="connsiteY0" fmla="*/ 13713 h 13712"/>
                <a:gd name="connsiteX1" fmla="*/ 145631 w 145631"/>
                <a:gd name="connsiteY1" fmla="*/ 13713 h 13712"/>
                <a:gd name="connsiteX2" fmla="*/ 138775 w 145631"/>
                <a:gd name="connsiteY2" fmla="*/ 6856 h 13712"/>
                <a:gd name="connsiteX3" fmla="*/ 145631 w 145631"/>
                <a:gd name="connsiteY3" fmla="*/ 0 h 13712"/>
                <a:gd name="connsiteX4" fmla="*/ 0 w 145631"/>
                <a:gd name="connsiteY4" fmla="*/ 0 h 13712"/>
                <a:gd name="connsiteX5" fmla="*/ 0 w 145631"/>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1" h="13712">
                  <a:moveTo>
                    <a:pt x="0" y="13713"/>
                  </a:moveTo>
                  <a:lnTo>
                    <a:pt x="145631" y="13713"/>
                  </a:lnTo>
                  <a:cubicBezTo>
                    <a:pt x="141847" y="13713"/>
                    <a:pt x="138775" y="10642"/>
                    <a:pt x="138775" y="6856"/>
                  </a:cubicBezTo>
                  <a:cubicBezTo>
                    <a:pt x="138775" y="3070"/>
                    <a:pt x="141847" y="0"/>
                    <a:pt x="145631" y="0"/>
                  </a:cubicBezTo>
                  <a:lnTo>
                    <a:pt x="0" y="0"/>
                  </a:lnTo>
                  <a:lnTo>
                    <a:pt x="0" y="13713"/>
                  </a:lnTo>
                  <a:close/>
                </a:path>
              </a:pathLst>
            </a:custGeom>
            <a:solidFill>
              <a:srgbClr val="000000"/>
            </a:solidFill>
            <a:ln w="12690"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AC6D706E-2AF0-4A6F-AE77-CBF8328C89C0}"/>
                </a:ext>
              </a:extLst>
            </p:cNvPr>
            <p:cNvSpPr/>
            <p:nvPr/>
          </p:nvSpPr>
          <p:spPr>
            <a:xfrm>
              <a:off x="6055179" y="6511798"/>
              <a:ext cx="13839" cy="7872"/>
            </a:xfrm>
            <a:custGeom>
              <a:avLst/>
              <a:gdLst>
                <a:gd name="connsiteX0" fmla="*/ 13839 w 13839"/>
                <a:gd name="connsiteY0" fmla="*/ 1270 h 7872"/>
                <a:gd name="connsiteX1" fmla="*/ 13839 w 13839"/>
                <a:gd name="connsiteY1" fmla="*/ 0 h 7872"/>
                <a:gd name="connsiteX2" fmla="*/ 6983 w 13839"/>
                <a:gd name="connsiteY2" fmla="*/ 6983 h 7872"/>
                <a:gd name="connsiteX3" fmla="*/ 0 w 13839"/>
                <a:gd name="connsiteY3" fmla="*/ 0 h 7872"/>
                <a:gd name="connsiteX4" fmla="*/ 0 w 13839"/>
                <a:gd name="connsiteY4" fmla="*/ 1270 h 7872"/>
                <a:gd name="connsiteX5" fmla="*/ 0 w 13839"/>
                <a:gd name="connsiteY5" fmla="*/ 2412 h 7872"/>
                <a:gd name="connsiteX6" fmla="*/ 5459 w 13839"/>
                <a:gd name="connsiteY6" fmla="*/ 7872 h 7872"/>
                <a:gd name="connsiteX7" fmla="*/ 6729 w 13839"/>
                <a:gd name="connsiteY7" fmla="*/ 7872 h 7872"/>
                <a:gd name="connsiteX8" fmla="*/ 7872 w 13839"/>
                <a:gd name="connsiteY8" fmla="*/ 7872 h 7872"/>
                <a:gd name="connsiteX9" fmla="*/ 12062 w 13839"/>
                <a:gd name="connsiteY9" fmla="*/ 5333 h 7872"/>
                <a:gd name="connsiteX10" fmla="*/ 13839 w 13839"/>
                <a:gd name="connsiteY10" fmla="*/ 1270 h 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7872">
                  <a:moveTo>
                    <a:pt x="13839" y="1270"/>
                  </a:moveTo>
                  <a:lnTo>
                    <a:pt x="13839" y="0"/>
                  </a:lnTo>
                  <a:cubicBezTo>
                    <a:pt x="13839" y="3809"/>
                    <a:pt x="10792" y="6920"/>
                    <a:pt x="6983" y="6983"/>
                  </a:cubicBezTo>
                  <a:cubicBezTo>
                    <a:pt x="3123" y="6983"/>
                    <a:pt x="0" y="3860"/>
                    <a:pt x="0" y="0"/>
                  </a:cubicBezTo>
                  <a:lnTo>
                    <a:pt x="0" y="1270"/>
                  </a:lnTo>
                  <a:cubicBezTo>
                    <a:pt x="0" y="1270"/>
                    <a:pt x="0" y="2032"/>
                    <a:pt x="0" y="2412"/>
                  </a:cubicBezTo>
                  <a:cubicBezTo>
                    <a:pt x="495" y="5193"/>
                    <a:pt x="2679" y="7377"/>
                    <a:pt x="5459" y="7872"/>
                  </a:cubicBezTo>
                  <a:lnTo>
                    <a:pt x="6729" y="7872"/>
                  </a:lnTo>
                  <a:lnTo>
                    <a:pt x="7872" y="7872"/>
                  </a:lnTo>
                  <a:cubicBezTo>
                    <a:pt x="9560" y="7644"/>
                    <a:pt x="11084" y="6729"/>
                    <a:pt x="12062" y="5333"/>
                  </a:cubicBezTo>
                  <a:cubicBezTo>
                    <a:pt x="13090" y="4215"/>
                    <a:pt x="13725" y="2781"/>
                    <a:pt x="13839" y="1270"/>
                  </a:cubicBezTo>
                  <a:close/>
                </a:path>
              </a:pathLst>
            </a:custGeom>
            <a:solidFill>
              <a:srgbClr val="000000"/>
            </a:solidFill>
            <a:ln w="12690"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624A2251-33B5-4B89-9064-2E8B4A4CF58E}"/>
                </a:ext>
              </a:extLst>
            </p:cNvPr>
            <p:cNvSpPr/>
            <p:nvPr/>
          </p:nvSpPr>
          <p:spPr>
            <a:xfrm>
              <a:off x="7829542" y="5947046"/>
              <a:ext cx="13751" cy="11046"/>
            </a:xfrm>
            <a:custGeom>
              <a:avLst/>
              <a:gdLst>
                <a:gd name="connsiteX0" fmla="*/ 0 w 13751"/>
                <a:gd name="connsiteY0" fmla="*/ 9142 h 11046"/>
                <a:gd name="connsiteX1" fmla="*/ 0 w 13751"/>
                <a:gd name="connsiteY1" fmla="*/ 11046 h 11046"/>
                <a:gd name="connsiteX2" fmla="*/ 6857 w 13751"/>
                <a:gd name="connsiteY2" fmla="*/ 4190 h 11046"/>
                <a:gd name="connsiteX3" fmla="*/ 13713 w 13751"/>
                <a:gd name="connsiteY3" fmla="*/ 11046 h 11046"/>
                <a:gd name="connsiteX4" fmla="*/ 13713 w 13751"/>
                <a:gd name="connsiteY4" fmla="*/ 6602 h 11046"/>
                <a:gd name="connsiteX5" fmla="*/ 13713 w 13751"/>
                <a:gd name="connsiteY5" fmla="*/ 5333 h 11046"/>
                <a:gd name="connsiteX6" fmla="*/ 8380 w 13751"/>
                <a:gd name="connsiteY6" fmla="*/ 0 h 11046"/>
                <a:gd name="connsiteX7" fmla="*/ 7110 w 13751"/>
                <a:gd name="connsiteY7" fmla="*/ 0 h 11046"/>
                <a:gd name="connsiteX8" fmla="*/ 5841 w 13751"/>
                <a:gd name="connsiteY8" fmla="*/ 0 h 11046"/>
                <a:gd name="connsiteX9" fmla="*/ 254 w 13751"/>
                <a:gd name="connsiteY9" fmla="*/ 6602 h 11046"/>
                <a:gd name="connsiteX10" fmla="*/ 254 w 13751"/>
                <a:gd name="connsiteY10" fmla="*/ 6602 h 1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51" h="11046">
                  <a:moveTo>
                    <a:pt x="0" y="9142"/>
                  </a:moveTo>
                  <a:lnTo>
                    <a:pt x="0" y="11046"/>
                  </a:lnTo>
                  <a:cubicBezTo>
                    <a:pt x="0" y="7260"/>
                    <a:pt x="3073" y="4190"/>
                    <a:pt x="6857" y="4190"/>
                  </a:cubicBezTo>
                  <a:cubicBezTo>
                    <a:pt x="10640" y="4190"/>
                    <a:pt x="13713" y="7260"/>
                    <a:pt x="13713" y="11046"/>
                  </a:cubicBezTo>
                  <a:lnTo>
                    <a:pt x="13713" y="6602"/>
                  </a:lnTo>
                  <a:cubicBezTo>
                    <a:pt x="13764" y="6181"/>
                    <a:pt x="13764" y="5754"/>
                    <a:pt x="13713" y="5333"/>
                  </a:cubicBezTo>
                  <a:cubicBezTo>
                    <a:pt x="13231" y="2616"/>
                    <a:pt x="11097" y="488"/>
                    <a:pt x="8380" y="0"/>
                  </a:cubicBezTo>
                  <a:lnTo>
                    <a:pt x="7110" y="0"/>
                  </a:lnTo>
                  <a:lnTo>
                    <a:pt x="5841" y="0"/>
                  </a:lnTo>
                  <a:cubicBezTo>
                    <a:pt x="2629" y="555"/>
                    <a:pt x="267" y="3338"/>
                    <a:pt x="254" y="6602"/>
                  </a:cubicBezTo>
                  <a:lnTo>
                    <a:pt x="254" y="6602"/>
                  </a:lnTo>
                  <a:close/>
                </a:path>
              </a:pathLst>
            </a:custGeom>
            <a:solidFill>
              <a:srgbClr val="000000"/>
            </a:solidFill>
            <a:ln w="12690"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45CDA121-C738-40E9-B92E-CDEC09CCA136}"/>
                </a:ext>
              </a:extLst>
            </p:cNvPr>
            <p:cNvSpPr/>
            <p:nvPr/>
          </p:nvSpPr>
          <p:spPr>
            <a:xfrm>
              <a:off x="7828399" y="5951236"/>
              <a:ext cx="13760" cy="568433"/>
            </a:xfrm>
            <a:custGeom>
              <a:avLst/>
              <a:gdLst>
                <a:gd name="connsiteX0" fmla="*/ 11427 w 13760"/>
                <a:gd name="connsiteY0" fmla="*/ 567545 h 568433"/>
                <a:gd name="connsiteX1" fmla="*/ 12824 w 13760"/>
                <a:gd name="connsiteY1" fmla="*/ 566656 h 568433"/>
                <a:gd name="connsiteX2" fmla="*/ 12824 w 13760"/>
                <a:gd name="connsiteY2" fmla="*/ 565767 h 568433"/>
                <a:gd name="connsiteX3" fmla="*/ 13713 w 13760"/>
                <a:gd name="connsiteY3" fmla="*/ 564498 h 568433"/>
                <a:gd name="connsiteX4" fmla="*/ 13713 w 13760"/>
                <a:gd name="connsiteY4" fmla="*/ 563355 h 568433"/>
                <a:gd name="connsiteX5" fmla="*/ 13713 w 13760"/>
                <a:gd name="connsiteY5" fmla="*/ 561831 h 568433"/>
                <a:gd name="connsiteX6" fmla="*/ 13713 w 13760"/>
                <a:gd name="connsiteY6" fmla="*/ 561831 h 568433"/>
                <a:gd name="connsiteX7" fmla="*/ 13713 w 13760"/>
                <a:gd name="connsiteY7" fmla="*/ 6856 h 568433"/>
                <a:gd name="connsiteX8" fmla="*/ 6856 w 13760"/>
                <a:gd name="connsiteY8" fmla="*/ 0 h 568433"/>
                <a:gd name="connsiteX9" fmla="*/ 0 w 13760"/>
                <a:gd name="connsiteY9" fmla="*/ 6856 h 568433"/>
                <a:gd name="connsiteX10" fmla="*/ 0 w 13760"/>
                <a:gd name="connsiteY10" fmla="*/ 561831 h 568433"/>
                <a:gd name="connsiteX11" fmla="*/ 5587 w 13760"/>
                <a:gd name="connsiteY11" fmla="*/ 568434 h 568433"/>
                <a:gd name="connsiteX12" fmla="*/ 5587 w 13760"/>
                <a:gd name="connsiteY12" fmla="*/ 561831 h 568433"/>
                <a:gd name="connsiteX13" fmla="*/ 6856 w 13760"/>
                <a:gd name="connsiteY13" fmla="*/ 560562 h 568433"/>
                <a:gd name="connsiteX14" fmla="*/ 8126 w 13760"/>
                <a:gd name="connsiteY14" fmla="*/ 561831 h 568433"/>
                <a:gd name="connsiteX15" fmla="*/ 8126 w 13760"/>
                <a:gd name="connsiteY15" fmla="*/ 568434 h 568433"/>
                <a:gd name="connsiteX16" fmla="*/ 9523 w 13760"/>
                <a:gd name="connsiteY16" fmla="*/ 568434 h 56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60" h="568433">
                  <a:moveTo>
                    <a:pt x="11427" y="567545"/>
                  </a:moveTo>
                  <a:cubicBezTo>
                    <a:pt x="11935" y="567329"/>
                    <a:pt x="12405" y="567024"/>
                    <a:pt x="12824" y="566656"/>
                  </a:cubicBezTo>
                  <a:lnTo>
                    <a:pt x="12824" y="565767"/>
                  </a:lnTo>
                  <a:lnTo>
                    <a:pt x="13713" y="564498"/>
                  </a:lnTo>
                  <a:cubicBezTo>
                    <a:pt x="13713" y="564498"/>
                    <a:pt x="13713" y="563736"/>
                    <a:pt x="13713" y="563355"/>
                  </a:cubicBezTo>
                  <a:cubicBezTo>
                    <a:pt x="13776" y="562847"/>
                    <a:pt x="13776" y="562339"/>
                    <a:pt x="13713" y="561831"/>
                  </a:cubicBezTo>
                  <a:lnTo>
                    <a:pt x="13713" y="561831"/>
                  </a:lnTo>
                  <a:lnTo>
                    <a:pt x="13713" y="6856"/>
                  </a:lnTo>
                  <a:cubicBezTo>
                    <a:pt x="13713" y="3070"/>
                    <a:pt x="10640" y="0"/>
                    <a:pt x="6856" y="0"/>
                  </a:cubicBezTo>
                  <a:cubicBezTo>
                    <a:pt x="3073" y="0"/>
                    <a:pt x="0" y="3070"/>
                    <a:pt x="0" y="6856"/>
                  </a:cubicBezTo>
                  <a:lnTo>
                    <a:pt x="0" y="561831"/>
                  </a:lnTo>
                  <a:cubicBezTo>
                    <a:pt x="12" y="565094"/>
                    <a:pt x="2374" y="567875"/>
                    <a:pt x="5587" y="568434"/>
                  </a:cubicBezTo>
                  <a:lnTo>
                    <a:pt x="5587" y="561831"/>
                  </a:lnTo>
                  <a:cubicBezTo>
                    <a:pt x="5587" y="561133"/>
                    <a:pt x="6158" y="560562"/>
                    <a:pt x="6856" y="560562"/>
                  </a:cubicBezTo>
                  <a:cubicBezTo>
                    <a:pt x="7554" y="560562"/>
                    <a:pt x="8126" y="561133"/>
                    <a:pt x="8126" y="561831"/>
                  </a:cubicBezTo>
                  <a:lnTo>
                    <a:pt x="8126" y="568434"/>
                  </a:lnTo>
                  <a:lnTo>
                    <a:pt x="9523" y="568434"/>
                  </a:lnTo>
                  <a:close/>
                </a:path>
              </a:pathLst>
            </a:custGeom>
            <a:solidFill>
              <a:srgbClr val="000000"/>
            </a:solidFill>
            <a:ln w="12690"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8780E7F0-7ECE-42B3-BC1A-0A9664574AD8}"/>
                </a:ext>
              </a:extLst>
            </p:cNvPr>
            <p:cNvSpPr/>
            <p:nvPr/>
          </p:nvSpPr>
          <p:spPr>
            <a:xfrm>
              <a:off x="6923125" y="6503291"/>
              <a:ext cx="174325" cy="13839"/>
            </a:xfrm>
            <a:custGeom>
              <a:avLst/>
              <a:gdLst>
                <a:gd name="connsiteX0" fmla="*/ 0 w 174325"/>
                <a:gd name="connsiteY0" fmla="*/ 6856 h 13839"/>
                <a:gd name="connsiteX1" fmla="*/ 0 w 174325"/>
                <a:gd name="connsiteY1" fmla="*/ 9777 h 13839"/>
                <a:gd name="connsiteX2" fmla="*/ 0 w 174325"/>
                <a:gd name="connsiteY2" fmla="*/ 10665 h 13839"/>
                <a:gd name="connsiteX3" fmla="*/ 0 w 174325"/>
                <a:gd name="connsiteY3" fmla="*/ 11554 h 13839"/>
                <a:gd name="connsiteX4" fmla="*/ 0 w 174325"/>
                <a:gd name="connsiteY4" fmla="*/ 13840 h 13839"/>
                <a:gd name="connsiteX5" fmla="*/ 174325 w 174325"/>
                <a:gd name="connsiteY5" fmla="*/ 13840 h 13839"/>
                <a:gd name="connsiteX6" fmla="*/ 167469 w 174325"/>
                <a:gd name="connsiteY6" fmla="*/ 6983 h 13839"/>
                <a:gd name="connsiteX7" fmla="*/ 174325 w 174325"/>
                <a:gd name="connsiteY7" fmla="*/ 0 h 13839"/>
                <a:gd name="connsiteX8" fmla="*/ 0 w 174325"/>
                <a:gd name="connsiteY8"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325" h="13839">
                  <a:moveTo>
                    <a:pt x="0" y="6856"/>
                  </a:moveTo>
                  <a:lnTo>
                    <a:pt x="0" y="9777"/>
                  </a:lnTo>
                  <a:cubicBezTo>
                    <a:pt x="50" y="10069"/>
                    <a:pt x="50" y="10373"/>
                    <a:pt x="0" y="10665"/>
                  </a:cubicBezTo>
                  <a:cubicBezTo>
                    <a:pt x="38" y="10957"/>
                    <a:pt x="38" y="11262"/>
                    <a:pt x="0" y="11554"/>
                  </a:cubicBezTo>
                  <a:lnTo>
                    <a:pt x="0" y="13840"/>
                  </a:lnTo>
                  <a:lnTo>
                    <a:pt x="174325" y="13840"/>
                  </a:lnTo>
                  <a:cubicBezTo>
                    <a:pt x="170542" y="13840"/>
                    <a:pt x="167469" y="10767"/>
                    <a:pt x="167469" y="6983"/>
                  </a:cubicBezTo>
                  <a:cubicBezTo>
                    <a:pt x="167469" y="3174"/>
                    <a:pt x="170516" y="64"/>
                    <a:pt x="174325" y="0"/>
                  </a:cubicBezTo>
                  <a:lnTo>
                    <a:pt x="0" y="0"/>
                  </a:lnTo>
                  <a:close/>
                </a:path>
              </a:pathLst>
            </a:custGeom>
            <a:solidFill>
              <a:srgbClr val="000000"/>
            </a:solidFill>
            <a:ln w="12690"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CAF5275D-4418-4970-BEF7-E2DA4F333447}"/>
                </a:ext>
              </a:extLst>
            </p:cNvPr>
            <p:cNvSpPr/>
            <p:nvPr/>
          </p:nvSpPr>
          <p:spPr>
            <a:xfrm>
              <a:off x="7090848" y="6503418"/>
              <a:ext cx="13426" cy="13839"/>
            </a:xfrm>
            <a:custGeom>
              <a:avLst/>
              <a:gdLst>
                <a:gd name="connsiteX0" fmla="*/ 12570 w 13426"/>
                <a:gd name="connsiteY0" fmla="*/ 10665 h 13839"/>
                <a:gd name="connsiteX1" fmla="*/ 13332 w 13426"/>
                <a:gd name="connsiteY1" fmla="*/ 9523 h 13839"/>
                <a:gd name="connsiteX2" fmla="*/ 13332 w 13426"/>
                <a:gd name="connsiteY2" fmla="*/ 8888 h 13839"/>
                <a:gd name="connsiteX3" fmla="*/ 13332 w 13426"/>
                <a:gd name="connsiteY3" fmla="*/ 6729 h 13839"/>
                <a:gd name="connsiteX4" fmla="*/ 13332 w 13426"/>
                <a:gd name="connsiteY4" fmla="*/ 6729 h 13839"/>
                <a:gd name="connsiteX5" fmla="*/ 13332 w 13426"/>
                <a:gd name="connsiteY5" fmla="*/ 4825 h 13839"/>
                <a:gd name="connsiteX6" fmla="*/ 6857 w 13426"/>
                <a:gd name="connsiteY6" fmla="*/ 0 h 13839"/>
                <a:gd name="connsiteX7" fmla="*/ 6857 w 13426"/>
                <a:gd name="connsiteY7" fmla="*/ 0 h 13839"/>
                <a:gd name="connsiteX8" fmla="*/ 0 w 13426"/>
                <a:gd name="connsiteY8" fmla="*/ 6983 h 13839"/>
                <a:gd name="connsiteX9" fmla="*/ 6857 w 13426"/>
                <a:gd name="connsiteY9" fmla="*/ 13839 h 13839"/>
                <a:gd name="connsiteX10" fmla="*/ 6857 w 13426"/>
                <a:gd name="connsiteY10" fmla="*/ 13839 h 13839"/>
                <a:gd name="connsiteX11" fmla="*/ 12570 w 13426"/>
                <a:gd name="connsiteY11" fmla="*/ 10665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26" h="13839">
                  <a:moveTo>
                    <a:pt x="12570" y="10665"/>
                  </a:moveTo>
                  <a:cubicBezTo>
                    <a:pt x="12862" y="10310"/>
                    <a:pt x="13116" y="9929"/>
                    <a:pt x="13332" y="9523"/>
                  </a:cubicBezTo>
                  <a:lnTo>
                    <a:pt x="13332" y="8888"/>
                  </a:lnTo>
                  <a:cubicBezTo>
                    <a:pt x="13458" y="8177"/>
                    <a:pt x="13458" y="7440"/>
                    <a:pt x="13332" y="6729"/>
                  </a:cubicBezTo>
                  <a:lnTo>
                    <a:pt x="13332" y="6729"/>
                  </a:lnTo>
                  <a:cubicBezTo>
                    <a:pt x="13420" y="6094"/>
                    <a:pt x="13420" y="5460"/>
                    <a:pt x="13332" y="4825"/>
                  </a:cubicBezTo>
                  <a:cubicBezTo>
                    <a:pt x="12418" y="2006"/>
                    <a:pt x="9815" y="76"/>
                    <a:pt x="6857" y="0"/>
                  </a:cubicBezTo>
                  <a:lnTo>
                    <a:pt x="6857" y="0"/>
                  </a:lnTo>
                  <a:cubicBezTo>
                    <a:pt x="3047" y="63"/>
                    <a:pt x="0" y="3174"/>
                    <a:pt x="0" y="6983"/>
                  </a:cubicBezTo>
                  <a:cubicBezTo>
                    <a:pt x="0" y="10767"/>
                    <a:pt x="3073" y="13839"/>
                    <a:pt x="6857" y="13839"/>
                  </a:cubicBezTo>
                  <a:lnTo>
                    <a:pt x="6857" y="13839"/>
                  </a:lnTo>
                  <a:cubicBezTo>
                    <a:pt x="9192" y="13865"/>
                    <a:pt x="11364" y="12659"/>
                    <a:pt x="12570" y="10665"/>
                  </a:cubicBezTo>
                  <a:close/>
                </a:path>
              </a:pathLst>
            </a:custGeom>
            <a:solidFill>
              <a:srgbClr val="000000"/>
            </a:solidFill>
            <a:ln w="12690"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54FFA399-1474-45D2-B331-CD8C7F8416ED}"/>
                </a:ext>
              </a:extLst>
            </p:cNvPr>
            <p:cNvSpPr/>
            <p:nvPr/>
          </p:nvSpPr>
          <p:spPr>
            <a:xfrm>
              <a:off x="7809100" y="5860028"/>
              <a:ext cx="10298" cy="7917"/>
            </a:xfrm>
            <a:custGeom>
              <a:avLst/>
              <a:gdLst>
                <a:gd name="connsiteX0" fmla="*/ 10284 w 10298"/>
                <a:gd name="connsiteY0" fmla="*/ 7918 h 7917"/>
                <a:gd name="connsiteX1" fmla="*/ 10284 w 10298"/>
                <a:gd name="connsiteY1" fmla="*/ 6902 h 7917"/>
                <a:gd name="connsiteX2" fmla="*/ 3428 w 10298"/>
                <a:gd name="connsiteY2" fmla="*/ 46 h 7917"/>
                <a:gd name="connsiteX3" fmla="*/ 1270 w 10298"/>
                <a:gd name="connsiteY3" fmla="*/ 46 h 7917"/>
                <a:gd name="connsiteX4" fmla="*/ 0 w 10298"/>
                <a:gd name="connsiteY4" fmla="*/ 681 h 7917"/>
                <a:gd name="connsiteX5" fmla="*/ 0 w 10298"/>
                <a:gd name="connsiteY5" fmla="*/ 681 h 7917"/>
                <a:gd name="connsiteX6" fmla="*/ 1396 w 10298"/>
                <a:gd name="connsiteY6" fmla="*/ 681 h 7917"/>
                <a:gd name="connsiteX7" fmla="*/ 3555 w 10298"/>
                <a:gd name="connsiteY7" fmla="*/ 681 h 7917"/>
                <a:gd name="connsiteX8" fmla="*/ 10297 w 10298"/>
                <a:gd name="connsiteY8" fmla="*/ 7652 h 7917"/>
                <a:gd name="connsiteX9" fmla="*/ 10284 w 10298"/>
                <a:gd name="connsiteY9" fmla="*/ 7918 h 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8" h="7917">
                  <a:moveTo>
                    <a:pt x="10284" y="7918"/>
                  </a:moveTo>
                  <a:lnTo>
                    <a:pt x="10284" y="6902"/>
                  </a:lnTo>
                  <a:cubicBezTo>
                    <a:pt x="10284" y="3116"/>
                    <a:pt x="7212" y="46"/>
                    <a:pt x="3428" y="46"/>
                  </a:cubicBezTo>
                  <a:cubicBezTo>
                    <a:pt x="2705" y="-15"/>
                    <a:pt x="1993" y="-15"/>
                    <a:pt x="1270" y="46"/>
                  </a:cubicBezTo>
                  <a:lnTo>
                    <a:pt x="0" y="681"/>
                  </a:lnTo>
                  <a:lnTo>
                    <a:pt x="0" y="681"/>
                  </a:lnTo>
                  <a:lnTo>
                    <a:pt x="1396" y="681"/>
                  </a:lnTo>
                  <a:cubicBezTo>
                    <a:pt x="2108" y="537"/>
                    <a:pt x="2844" y="537"/>
                    <a:pt x="3555" y="681"/>
                  </a:cubicBezTo>
                  <a:cubicBezTo>
                    <a:pt x="7339" y="745"/>
                    <a:pt x="10361" y="3866"/>
                    <a:pt x="10297" y="7652"/>
                  </a:cubicBezTo>
                  <a:cubicBezTo>
                    <a:pt x="10297" y="7741"/>
                    <a:pt x="10284" y="7829"/>
                    <a:pt x="10284" y="7918"/>
                  </a:cubicBezTo>
                  <a:close/>
                </a:path>
              </a:pathLst>
            </a:custGeom>
            <a:solidFill>
              <a:srgbClr val="000000"/>
            </a:solidFill>
            <a:ln w="12690"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85012C6F-B269-439C-9B4E-D94AF9E2F881}"/>
                </a:ext>
              </a:extLst>
            </p:cNvPr>
            <p:cNvSpPr/>
            <p:nvPr/>
          </p:nvSpPr>
          <p:spPr>
            <a:xfrm>
              <a:off x="7809354" y="5861870"/>
              <a:ext cx="9062" cy="103459"/>
            </a:xfrm>
            <a:custGeom>
              <a:avLst/>
              <a:gdLst>
                <a:gd name="connsiteX0" fmla="*/ 3174 w 9062"/>
                <a:gd name="connsiteY0" fmla="*/ 103078 h 103459"/>
                <a:gd name="connsiteX1" fmla="*/ 4316 w 9062"/>
                <a:gd name="connsiteY1" fmla="*/ 103078 h 103459"/>
                <a:gd name="connsiteX2" fmla="*/ 5078 w 9062"/>
                <a:gd name="connsiteY2" fmla="*/ 103078 h 103459"/>
                <a:gd name="connsiteX3" fmla="*/ 6348 w 9062"/>
                <a:gd name="connsiteY3" fmla="*/ 103078 h 103459"/>
                <a:gd name="connsiteX4" fmla="*/ 7364 w 9062"/>
                <a:gd name="connsiteY4" fmla="*/ 102316 h 103459"/>
                <a:gd name="connsiteX5" fmla="*/ 8379 w 9062"/>
                <a:gd name="connsiteY5" fmla="*/ 101428 h 103459"/>
                <a:gd name="connsiteX6" fmla="*/ 8379 w 9062"/>
                <a:gd name="connsiteY6" fmla="*/ 100412 h 103459"/>
                <a:gd name="connsiteX7" fmla="*/ 9015 w 9062"/>
                <a:gd name="connsiteY7" fmla="*/ 99142 h 103459"/>
                <a:gd name="connsiteX8" fmla="*/ 9015 w 9062"/>
                <a:gd name="connsiteY8" fmla="*/ 98253 h 103459"/>
                <a:gd name="connsiteX9" fmla="*/ 9015 w 9062"/>
                <a:gd name="connsiteY9" fmla="*/ 97111 h 103459"/>
                <a:gd name="connsiteX10" fmla="*/ 9015 w 9062"/>
                <a:gd name="connsiteY10" fmla="*/ 97111 h 103459"/>
                <a:gd name="connsiteX11" fmla="*/ 9015 w 9062"/>
                <a:gd name="connsiteY11" fmla="*/ 6964 h 103459"/>
                <a:gd name="connsiteX12" fmla="*/ 2158 w 9062"/>
                <a:gd name="connsiteY12" fmla="*/ 108 h 103459"/>
                <a:gd name="connsiteX13" fmla="*/ 0 w 9062"/>
                <a:gd name="connsiteY13" fmla="*/ 108 h 103459"/>
                <a:gd name="connsiteX14" fmla="*/ 4698 w 9062"/>
                <a:gd name="connsiteY14" fmla="*/ 6583 h 103459"/>
                <a:gd name="connsiteX15" fmla="*/ 4698 w 9062"/>
                <a:gd name="connsiteY15" fmla="*/ 97492 h 103459"/>
                <a:gd name="connsiteX16" fmla="*/ 1142 w 9062"/>
                <a:gd name="connsiteY16" fmla="*/ 103459 h 10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62" h="103459">
                  <a:moveTo>
                    <a:pt x="3174" y="103078"/>
                  </a:moveTo>
                  <a:lnTo>
                    <a:pt x="4316" y="103078"/>
                  </a:lnTo>
                  <a:lnTo>
                    <a:pt x="5078" y="103078"/>
                  </a:lnTo>
                  <a:lnTo>
                    <a:pt x="6348" y="103078"/>
                  </a:lnTo>
                  <a:lnTo>
                    <a:pt x="7364" y="102316"/>
                  </a:lnTo>
                  <a:lnTo>
                    <a:pt x="8379" y="101428"/>
                  </a:lnTo>
                  <a:cubicBezTo>
                    <a:pt x="8417" y="101090"/>
                    <a:pt x="8417" y="100750"/>
                    <a:pt x="8379" y="100412"/>
                  </a:cubicBezTo>
                  <a:lnTo>
                    <a:pt x="9015" y="99142"/>
                  </a:lnTo>
                  <a:cubicBezTo>
                    <a:pt x="8964" y="98848"/>
                    <a:pt x="8964" y="98548"/>
                    <a:pt x="9015" y="98253"/>
                  </a:cubicBezTo>
                  <a:cubicBezTo>
                    <a:pt x="9078" y="97875"/>
                    <a:pt x="9078" y="97489"/>
                    <a:pt x="9015" y="97111"/>
                  </a:cubicBezTo>
                  <a:lnTo>
                    <a:pt x="9015" y="97111"/>
                  </a:lnTo>
                  <a:lnTo>
                    <a:pt x="9015" y="6964"/>
                  </a:lnTo>
                  <a:cubicBezTo>
                    <a:pt x="9015" y="3178"/>
                    <a:pt x="5942" y="108"/>
                    <a:pt x="2158" y="108"/>
                  </a:cubicBezTo>
                  <a:cubicBezTo>
                    <a:pt x="1448" y="-36"/>
                    <a:pt x="711" y="-36"/>
                    <a:pt x="0" y="108"/>
                  </a:cubicBezTo>
                  <a:cubicBezTo>
                    <a:pt x="2793" y="1034"/>
                    <a:pt x="4685" y="3640"/>
                    <a:pt x="4698" y="6583"/>
                  </a:cubicBezTo>
                  <a:lnTo>
                    <a:pt x="4698" y="97492"/>
                  </a:lnTo>
                  <a:cubicBezTo>
                    <a:pt x="4634" y="99964"/>
                    <a:pt x="3288" y="102224"/>
                    <a:pt x="1142" y="103459"/>
                  </a:cubicBezTo>
                  <a:close/>
                </a:path>
              </a:pathLst>
            </a:custGeom>
            <a:solidFill>
              <a:srgbClr val="000000"/>
            </a:solidFill>
            <a:ln w="12690"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2BEE97FF-D4B3-42B9-BA3E-13B83844A713}"/>
                </a:ext>
              </a:extLst>
            </p:cNvPr>
            <p:cNvSpPr/>
            <p:nvPr/>
          </p:nvSpPr>
          <p:spPr>
            <a:xfrm>
              <a:off x="7786373" y="5954664"/>
              <a:ext cx="13712" cy="555482"/>
            </a:xfrm>
            <a:custGeom>
              <a:avLst/>
              <a:gdLst>
                <a:gd name="connsiteX0" fmla="*/ 0 w 13712"/>
                <a:gd name="connsiteY0" fmla="*/ 555483 h 555482"/>
                <a:gd name="connsiteX1" fmla="*/ 6856 w 13712"/>
                <a:gd name="connsiteY1" fmla="*/ 548627 h 555482"/>
                <a:gd name="connsiteX2" fmla="*/ 13713 w 13712"/>
                <a:gd name="connsiteY2" fmla="*/ 555483 h 555482"/>
                <a:gd name="connsiteX3" fmla="*/ 13713 w 13712"/>
                <a:gd name="connsiteY3" fmla="*/ 6983 h 555482"/>
                <a:gd name="connsiteX4" fmla="*/ 6856 w 13712"/>
                <a:gd name="connsiteY4" fmla="*/ 0 h 555482"/>
                <a:gd name="connsiteX5" fmla="*/ 4952 w 13712"/>
                <a:gd name="connsiteY5" fmla="*/ 0 h 555482"/>
                <a:gd name="connsiteX6" fmla="*/ 3682 w 13712"/>
                <a:gd name="connsiteY6" fmla="*/ 0 h 555482"/>
                <a:gd name="connsiteX7" fmla="*/ 2539 w 13712"/>
                <a:gd name="connsiteY7" fmla="*/ 762 h 555482"/>
                <a:gd name="connsiteX8" fmla="*/ 1651 w 13712"/>
                <a:gd name="connsiteY8" fmla="*/ 1651 h 555482"/>
                <a:gd name="connsiteX9" fmla="*/ 889 w 13712"/>
                <a:gd name="connsiteY9" fmla="*/ 2793 h 555482"/>
                <a:gd name="connsiteX10" fmla="*/ 889 w 13712"/>
                <a:gd name="connsiteY10" fmla="*/ 3936 h 555482"/>
                <a:gd name="connsiteX11" fmla="*/ 889 w 13712"/>
                <a:gd name="connsiteY11" fmla="*/ 5333 h 555482"/>
                <a:gd name="connsiteX12" fmla="*/ 889 w 13712"/>
                <a:gd name="connsiteY12" fmla="*/ 6094 h 555482"/>
                <a:gd name="connsiteX13" fmla="*/ 889 w 13712"/>
                <a:gd name="connsiteY13" fmla="*/ 554594 h 55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12" h="555482">
                  <a:moveTo>
                    <a:pt x="0" y="555483"/>
                  </a:moveTo>
                  <a:cubicBezTo>
                    <a:pt x="0" y="551699"/>
                    <a:pt x="3073" y="548627"/>
                    <a:pt x="6856" y="548627"/>
                  </a:cubicBezTo>
                  <a:cubicBezTo>
                    <a:pt x="10640" y="548627"/>
                    <a:pt x="13713" y="551699"/>
                    <a:pt x="13713" y="555483"/>
                  </a:cubicBezTo>
                  <a:lnTo>
                    <a:pt x="13713" y="6983"/>
                  </a:lnTo>
                  <a:cubicBezTo>
                    <a:pt x="13713" y="3176"/>
                    <a:pt x="10665" y="70"/>
                    <a:pt x="6856" y="0"/>
                  </a:cubicBezTo>
                  <a:lnTo>
                    <a:pt x="4952" y="0"/>
                  </a:lnTo>
                  <a:lnTo>
                    <a:pt x="3682" y="0"/>
                  </a:lnTo>
                  <a:lnTo>
                    <a:pt x="2539" y="762"/>
                  </a:lnTo>
                  <a:cubicBezTo>
                    <a:pt x="2209" y="1025"/>
                    <a:pt x="1917" y="1323"/>
                    <a:pt x="1651" y="1651"/>
                  </a:cubicBezTo>
                  <a:lnTo>
                    <a:pt x="889" y="2793"/>
                  </a:lnTo>
                  <a:cubicBezTo>
                    <a:pt x="838" y="3173"/>
                    <a:pt x="838" y="3556"/>
                    <a:pt x="889" y="3936"/>
                  </a:cubicBezTo>
                  <a:cubicBezTo>
                    <a:pt x="825" y="4399"/>
                    <a:pt x="825" y="4869"/>
                    <a:pt x="889" y="5333"/>
                  </a:cubicBezTo>
                  <a:cubicBezTo>
                    <a:pt x="889" y="5333"/>
                    <a:pt x="889" y="5333"/>
                    <a:pt x="889" y="6094"/>
                  </a:cubicBezTo>
                  <a:lnTo>
                    <a:pt x="889" y="554594"/>
                  </a:lnTo>
                  <a:close/>
                </a:path>
              </a:pathLst>
            </a:custGeom>
            <a:solidFill>
              <a:srgbClr val="000000"/>
            </a:solidFill>
            <a:ln w="12690"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1B7C2B5C-D576-4B06-ACA0-43ED8B521F71}"/>
                </a:ext>
              </a:extLst>
            </p:cNvPr>
            <p:cNvSpPr/>
            <p:nvPr/>
          </p:nvSpPr>
          <p:spPr>
            <a:xfrm>
              <a:off x="7785865" y="6504434"/>
              <a:ext cx="13760" cy="13671"/>
            </a:xfrm>
            <a:custGeom>
              <a:avLst/>
              <a:gdLst>
                <a:gd name="connsiteX0" fmla="*/ 508 w 13760"/>
                <a:gd name="connsiteY0" fmla="*/ 6602 h 13671"/>
                <a:gd name="connsiteX1" fmla="*/ 7364 w 13760"/>
                <a:gd name="connsiteY1" fmla="*/ 13585 h 13671"/>
                <a:gd name="connsiteX2" fmla="*/ 7364 w 13760"/>
                <a:gd name="connsiteY2" fmla="*/ 13585 h 13671"/>
                <a:gd name="connsiteX3" fmla="*/ 10031 w 13760"/>
                <a:gd name="connsiteY3" fmla="*/ 13585 h 13671"/>
                <a:gd name="connsiteX4" fmla="*/ 10793 w 13760"/>
                <a:gd name="connsiteY4" fmla="*/ 13585 h 13671"/>
                <a:gd name="connsiteX5" fmla="*/ 12189 w 13760"/>
                <a:gd name="connsiteY5" fmla="*/ 12570 h 13671"/>
                <a:gd name="connsiteX6" fmla="*/ 12824 w 13760"/>
                <a:gd name="connsiteY6" fmla="*/ 11681 h 13671"/>
                <a:gd name="connsiteX7" fmla="*/ 13713 w 13760"/>
                <a:gd name="connsiteY7" fmla="*/ 10411 h 13671"/>
                <a:gd name="connsiteX8" fmla="*/ 13713 w 13760"/>
                <a:gd name="connsiteY8" fmla="*/ 9523 h 13671"/>
                <a:gd name="connsiteX9" fmla="*/ 13713 w 13760"/>
                <a:gd name="connsiteY9" fmla="*/ 9523 h 13671"/>
                <a:gd name="connsiteX10" fmla="*/ 13713 w 13760"/>
                <a:gd name="connsiteY10" fmla="*/ 7999 h 13671"/>
                <a:gd name="connsiteX11" fmla="*/ 13713 w 13760"/>
                <a:gd name="connsiteY11" fmla="*/ 6856 h 13671"/>
                <a:gd name="connsiteX12" fmla="*/ 13713 w 13760"/>
                <a:gd name="connsiteY12" fmla="*/ 6856 h 13671"/>
                <a:gd name="connsiteX13" fmla="*/ 6857 w 13760"/>
                <a:gd name="connsiteY13" fmla="*/ 0 h 13671"/>
                <a:gd name="connsiteX14" fmla="*/ 0 w 13760"/>
                <a:gd name="connsiteY14" fmla="*/ 6856 h 1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60" h="13671">
                  <a:moveTo>
                    <a:pt x="508" y="6602"/>
                  </a:moveTo>
                  <a:cubicBezTo>
                    <a:pt x="508" y="10411"/>
                    <a:pt x="3555" y="13522"/>
                    <a:pt x="7364" y="13585"/>
                  </a:cubicBezTo>
                  <a:lnTo>
                    <a:pt x="7364" y="13585"/>
                  </a:lnTo>
                  <a:cubicBezTo>
                    <a:pt x="8253" y="13700"/>
                    <a:pt x="9142" y="13700"/>
                    <a:pt x="10031" y="13585"/>
                  </a:cubicBezTo>
                  <a:lnTo>
                    <a:pt x="10793" y="13585"/>
                  </a:lnTo>
                  <a:lnTo>
                    <a:pt x="12189" y="12570"/>
                  </a:lnTo>
                  <a:lnTo>
                    <a:pt x="12824" y="11681"/>
                  </a:lnTo>
                  <a:cubicBezTo>
                    <a:pt x="13154" y="11275"/>
                    <a:pt x="13446" y="10856"/>
                    <a:pt x="13713" y="10411"/>
                  </a:cubicBezTo>
                  <a:cubicBezTo>
                    <a:pt x="13776" y="10119"/>
                    <a:pt x="13776" y="9815"/>
                    <a:pt x="13713" y="9523"/>
                  </a:cubicBezTo>
                  <a:lnTo>
                    <a:pt x="13713" y="9523"/>
                  </a:lnTo>
                  <a:cubicBezTo>
                    <a:pt x="13776" y="9015"/>
                    <a:pt x="13776" y="8507"/>
                    <a:pt x="13713" y="7999"/>
                  </a:cubicBezTo>
                  <a:lnTo>
                    <a:pt x="13713" y="6856"/>
                  </a:lnTo>
                  <a:lnTo>
                    <a:pt x="13713" y="6856"/>
                  </a:lnTo>
                  <a:cubicBezTo>
                    <a:pt x="13713" y="3072"/>
                    <a:pt x="10640" y="0"/>
                    <a:pt x="6857" y="0"/>
                  </a:cubicBezTo>
                  <a:cubicBezTo>
                    <a:pt x="3073" y="0"/>
                    <a:pt x="0" y="3072"/>
                    <a:pt x="0" y="6856"/>
                  </a:cubicBezTo>
                  <a:close/>
                </a:path>
              </a:pathLst>
            </a:custGeom>
            <a:solidFill>
              <a:srgbClr val="000000"/>
            </a:solidFill>
            <a:ln w="12690"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80A2B80E-F387-4BBD-8A54-19D5AEE03FA9}"/>
                </a:ext>
              </a:extLst>
            </p:cNvPr>
            <p:cNvSpPr/>
            <p:nvPr/>
          </p:nvSpPr>
          <p:spPr>
            <a:xfrm>
              <a:off x="4504272" y="6126578"/>
              <a:ext cx="13083" cy="13839"/>
            </a:xfrm>
            <a:custGeom>
              <a:avLst/>
              <a:gdLst>
                <a:gd name="connsiteX0" fmla="*/ 6 w 13083"/>
                <a:gd name="connsiteY0" fmla="*/ 6983 h 13839"/>
                <a:gd name="connsiteX1" fmla="*/ 6989 w 13083"/>
                <a:gd name="connsiteY1" fmla="*/ 13840 h 13839"/>
                <a:gd name="connsiteX2" fmla="*/ 13084 w 13083"/>
                <a:gd name="connsiteY2" fmla="*/ 13840 h 13839"/>
                <a:gd name="connsiteX3" fmla="*/ 6100 w 13083"/>
                <a:gd name="connsiteY3" fmla="*/ 6983 h 13839"/>
                <a:gd name="connsiteX4" fmla="*/ 13084 w 13083"/>
                <a:gd name="connsiteY4" fmla="*/ 0 h 13839"/>
                <a:gd name="connsiteX5" fmla="*/ 6989 w 13083"/>
                <a:gd name="connsiteY5" fmla="*/ 0 h 13839"/>
                <a:gd name="connsiteX6" fmla="*/ 6100 w 13083"/>
                <a:gd name="connsiteY6" fmla="*/ 0 h 13839"/>
                <a:gd name="connsiteX7" fmla="*/ 6 w 13083"/>
                <a:gd name="connsiteY7"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3" h="13839">
                  <a:moveTo>
                    <a:pt x="6" y="6983"/>
                  </a:moveTo>
                  <a:cubicBezTo>
                    <a:pt x="70" y="10792"/>
                    <a:pt x="3180" y="13840"/>
                    <a:pt x="6989" y="13840"/>
                  </a:cubicBezTo>
                  <a:lnTo>
                    <a:pt x="13084" y="13840"/>
                  </a:lnTo>
                  <a:cubicBezTo>
                    <a:pt x="9275" y="13840"/>
                    <a:pt x="6164" y="10792"/>
                    <a:pt x="6100" y="6983"/>
                  </a:cubicBezTo>
                  <a:cubicBezTo>
                    <a:pt x="6100" y="3123"/>
                    <a:pt x="9224" y="0"/>
                    <a:pt x="13084" y="0"/>
                  </a:cubicBezTo>
                  <a:lnTo>
                    <a:pt x="6989" y="0"/>
                  </a:lnTo>
                  <a:lnTo>
                    <a:pt x="6100" y="0"/>
                  </a:lnTo>
                  <a:cubicBezTo>
                    <a:pt x="2533" y="330"/>
                    <a:pt x="-146" y="3403"/>
                    <a:pt x="6" y="6983"/>
                  </a:cubicBezTo>
                  <a:close/>
                </a:path>
              </a:pathLst>
            </a:custGeom>
            <a:solidFill>
              <a:srgbClr val="000000"/>
            </a:solidFill>
            <a:ln w="12690"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E76D5F75-3A0D-4941-9154-C4EE6DF8ADE5}"/>
                </a:ext>
              </a:extLst>
            </p:cNvPr>
            <p:cNvSpPr/>
            <p:nvPr/>
          </p:nvSpPr>
          <p:spPr>
            <a:xfrm>
              <a:off x="4769131" y="6447298"/>
              <a:ext cx="13887" cy="6856"/>
            </a:xfrm>
            <a:custGeom>
              <a:avLst/>
              <a:gdLst>
                <a:gd name="connsiteX0" fmla="*/ 13839 w 13887"/>
                <a:gd name="connsiteY0" fmla="*/ 1143 h 6856"/>
                <a:gd name="connsiteX1" fmla="*/ 13839 w 13887"/>
                <a:gd name="connsiteY1" fmla="*/ 0 h 6856"/>
                <a:gd name="connsiteX2" fmla="*/ 13839 w 13887"/>
                <a:gd name="connsiteY2" fmla="*/ 0 h 6856"/>
                <a:gd name="connsiteX3" fmla="*/ 6983 w 13887"/>
                <a:gd name="connsiteY3" fmla="*/ 6856 h 6856"/>
                <a:gd name="connsiteX4" fmla="*/ 0 w 13887"/>
                <a:gd name="connsiteY4" fmla="*/ 0 h 6856"/>
                <a:gd name="connsiteX5" fmla="*/ 0 w 13887"/>
                <a:gd name="connsiteY5" fmla="*/ 0 h 6856"/>
                <a:gd name="connsiteX6" fmla="*/ 5587 w 13887"/>
                <a:gd name="connsiteY6" fmla="*/ 6602 h 6856"/>
                <a:gd name="connsiteX7" fmla="*/ 6983 w 13887"/>
                <a:gd name="connsiteY7" fmla="*/ 6602 h 6856"/>
                <a:gd name="connsiteX8" fmla="*/ 8507 w 13887"/>
                <a:gd name="connsiteY8" fmla="*/ 6602 h 6856"/>
                <a:gd name="connsiteX9" fmla="*/ 9903 w 13887"/>
                <a:gd name="connsiteY9" fmla="*/ 6602 h 6856"/>
                <a:gd name="connsiteX10" fmla="*/ 10919 w 13887"/>
                <a:gd name="connsiteY10" fmla="*/ 5840 h 6856"/>
                <a:gd name="connsiteX11" fmla="*/ 11935 w 13887"/>
                <a:gd name="connsiteY11" fmla="*/ 5079 h 6856"/>
                <a:gd name="connsiteX12" fmla="*/ 12697 w 13887"/>
                <a:gd name="connsiteY12" fmla="*/ 3936 h 6856"/>
                <a:gd name="connsiteX13" fmla="*/ 12697 w 13887"/>
                <a:gd name="connsiteY13" fmla="*/ 3174 h 6856"/>
                <a:gd name="connsiteX14" fmla="*/ 12697 w 13887"/>
                <a:gd name="connsiteY14" fmla="*/ 3174 h 6856"/>
                <a:gd name="connsiteX15" fmla="*/ 13839 w 13887"/>
                <a:gd name="connsiteY15" fmla="*/ 1143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87" h="6856">
                  <a:moveTo>
                    <a:pt x="13839" y="1143"/>
                  </a:moveTo>
                  <a:cubicBezTo>
                    <a:pt x="13903" y="762"/>
                    <a:pt x="13903" y="381"/>
                    <a:pt x="13839" y="0"/>
                  </a:cubicBezTo>
                  <a:lnTo>
                    <a:pt x="13839" y="0"/>
                  </a:lnTo>
                  <a:cubicBezTo>
                    <a:pt x="13839" y="3783"/>
                    <a:pt x="10767" y="6856"/>
                    <a:pt x="6983" y="6856"/>
                  </a:cubicBezTo>
                  <a:cubicBezTo>
                    <a:pt x="3174" y="6856"/>
                    <a:pt x="64" y="3809"/>
                    <a:pt x="0" y="0"/>
                  </a:cubicBezTo>
                  <a:lnTo>
                    <a:pt x="0" y="0"/>
                  </a:lnTo>
                  <a:cubicBezTo>
                    <a:pt x="13" y="3263"/>
                    <a:pt x="2374" y="6044"/>
                    <a:pt x="5587" y="6602"/>
                  </a:cubicBezTo>
                  <a:lnTo>
                    <a:pt x="6983" y="6602"/>
                  </a:lnTo>
                  <a:lnTo>
                    <a:pt x="8507" y="6602"/>
                  </a:lnTo>
                  <a:lnTo>
                    <a:pt x="9903" y="6602"/>
                  </a:lnTo>
                  <a:cubicBezTo>
                    <a:pt x="9903" y="6602"/>
                    <a:pt x="10538" y="6602"/>
                    <a:pt x="10919" y="5840"/>
                  </a:cubicBezTo>
                  <a:lnTo>
                    <a:pt x="11935" y="5079"/>
                  </a:lnTo>
                  <a:cubicBezTo>
                    <a:pt x="12227" y="4723"/>
                    <a:pt x="12494" y="4342"/>
                    <a:pt x="12697" y="3936"/>
                  </a:cubicBezTo>
                  <a:lnTo>
                    <a:pt x="12697" y="3174"/>
                  </a:lnTo>
                  <a:lnTo>
                    <a:pt x="12697" y="3174"/>
                  </a:lnTo>
                  <a:cubicBezTo>
                    <a:pt x="13420" y="2755"/>
                    <a:pt x="13852" y="1981"/>
                    <a:pt x="13839" y="1143"/>
                  </a:cubicBezTo>
                  <a:close/>
                </a:path>
              </a:pathLst>
            </a:custGeom>
            <a:solidFill>
              <a:srgbClr val="000000"/>
            </a:solidFill>
            <a:ln w="12690"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154B3C1D-5B09-4D2A-A17C-4A6936C76BB5}"/>
                </a:ext>
              </a:extLst>
            </p:cNvPr>
            <p:cNvSpPr/>
            <p:nvPr/>
          </p:nvSpPr>
          <p:spPr>
            <a:xfrm>
              <a:off x="4779796" y="5016978"/>
              <a:ext cx="13896" cy="777453"/>
            </a:xfrm>
            <a:custGeom>
              <a:avLst/>
              <a:gdLst>
                <a:gd name="connsiteX0" fmla="*/ 6856 w 13896"/>
                <a:gd name="connsiteY0" fmla="*/ 31 h 777453"/>
                <a:gd name="connsiteX1" fmla="*/ 1524 w 13896"/>
                <a:gd name="connsiteY1" fmla="*/ 2952 h 777453"/>
                <a:gd name="connsiteX2" fmla="*/ 0 w 13896"/>
                <a:gd name="connsiteY2" fmla="*/ 7015 h 777453"/>
                <a:gd name="connsiteX3" fmla="*/ 0 w 13896"/>
                <a:gd name="connsiteY3" fmla="*/ 777454 h 777453"/>
                <a:gd name="connsiteX4" fmla="*/ 6856 w 13896"/>
                <a:gd name="connsiteY4" fmla="*/ 770597 h 777453"/>
                <a:gd name="connsiteX5" fmla="*/ 13839 w 13896"/>
                <a:gd name="connsiteY5" fmla="*/ 777454 h 777453"/>
                <a:gd name="connsiteX6" fmla="*/ 13839 w 13896"/>
                <a:gd name="connsiteY6" fmla="*/ 7015 h 777453"/>
                <a:gd name="connsiteX7" fmla="*/ 13839 w 13896"/>
                <a:gd name="connsiteY7" fmla="*/ 7015 h 777453"/>
                <a:gd name="connsiteX8" fmla="*/ 13839 w 13896"/>
                <a:gd name="connsiteY8" fmla="*/ 5491 h 777453"/>
                <a:gd name="connsiteX9" fmla="*/ 13839 w 13896"/>
                <a:gd name="connsiteY9" fmla="*/ 4221 h 777453"/>
                <a:gd name="connsiteX10" fmla="*/ 13839 w 13896"/>
                <a:gd name="connsiteY10" fmla="*/ 4221 h 777453"/>
                <a:gd name="connsiteX11" fmla="*/ 6856 w 13896"/>
                <a:gd name="connsiteY11" fmla="*/ 31 h 7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77453">
                  <a:moveTo>
                    <a:pt x="6856" y="31"/>
                  </a:moveTo>
                  <a:cubicBezTo>
                    <a:pt x="4711" y="80"/>
                    <a:pt x="2717" y="1169"/>
                    <a:pt x="1524" y="2952"/>
                  </a:cubicBezTo>
                  <a:cubicBezTo>
                    <a:pt x="559" y="4086"/>
                    <a:pt x="13" y="5523"/>
                    <a:pt x="0" y="7015"/>
                  </a:cubicBezTo>
                  <a:lnTo>
                    <a:pt x="0" y="777454"/>
                  </a:lnTo>
                  <a:cubicBezTo>
                    <a:pt x="0" y="773667"/>
                    <a:pt x="3073" y="770597"/>
                    <a:pt x="6856" y="770597"/>
                  </a:cubicBezTo>
                  <a:cubicBezTo>
                    <a:pt x="10665" y="770597"/>
                    <a:pt x="13776" y="773647"/>
                    <a:pt x="13839" y="777454"/>
                  </a:cubicBezTo>
                  <a:lnTo>
                    <a:pt x="13839" y="7015"/>
                  </a:lnTo>
                  <a:lnTo>
                    <a:pt x="13839" y="7015"/>
                  </a:lnTo>
                  <a:cubicBezTo>
                    <a:pt x="13916" y="6509"/>
                    <a:pt x="13916" y="5996"/>
                    <a:pt x="13839" y="5491"/>
                  </a:cubicBezTo>
                  <a:cubicBezTo>
                    <a:pt x="13903" y="5070"/>
                    <a:pt x="13903" y="4642"/>
                    <a:pt x="13839" y="4221"/>
                  </a:cubicBezTo>
                  <a:lnTo>
                    <a:pt x="13839" y="4221"/>
                  </a:lnTo>
                  <a:cubicBezTo>
                    <a:pt x="12684" y="1443"/>
                    <a:pt x="9853" y="-255"/>
                    <a:pt x="6856" y="31"/>
                  </a:cubicBezTo>
                  <a:close/>
                </a:path>
              </a:pathLst>
            </a:custGeom>
            <a:solidFill>
              <a:srgbClr val="000000"/>
            </a:solidFill>
            <a:ln w="12690"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AFD6A02D-B314-4CE1-A088-C3B21DD83691}"/>
                </a:ext>
              </a:extLst>
            </p:cNvPr>
            <p:cNvSpPr/>
            <p:nvPr/>
          </p:nvSpPr>
          <p:spPr>
            <a:xfrm>
              <a:off x="4779796" y="5787575"/>
              <a:ext cx="13712" cy="242634"/>
            </a:xfrm>
            <a:custGeom>
              <a:avLst/>
              <a:gdLst>
                <a:gd name="connsiteX0" fmla="*/ 6856 w 13712"/>
                <a:gd name="connsiteY0" fmla="*/ 0 h 242634"/>
                <a:gd name="connsiteX1" fmla="*/ 0 w 13712"/>
                <a:gd name="connsiteY1" fmla="*/ 6856 h 242634"/>
                <a:gd name="connsiteX2" fmla="*/ 0 w 13712"/>
                <a:gd name="connsiteY2" fmla="*/ 236287 h 242634"/>
                <a:gd name="connsiteX3" fmla="*/ 1524 w 13712"/>
                <a:gd name="connsiteY3" fmla="*/ 240350 h 242634"/>
                <a:gd name="connsiteX4" fmla="*/ 1524 w 13712"/>
                <a:gd name="connsiteY4" fmla="*/ 240350 h 242634"/>
                <a:gd name="connsiteX5" fmla="*/ 2539 w 13712"/>
                <a:gd name="connsiteY5" fmla="*/ 241365 h 242634"/>
                <a:gd name="connsiteX6" fmla="*/ 5587 w 13712"/>
                <a:gd name="connsiteY6" fmla="*/ 242635 h 242634"/>
                <a:gd name="connsiteX7" fmla="*/ 6729 w 13712"/>
                <a:gd name="connsiteY7" fmla="*/ 242635 h 242634"/>
                <a:gd name="connsiteX8" fmla="*/ 7999 w 13712"/>
                <a:gd name="connsiteY8" fmla="*/ 242635 h 242634"/>
                <a:gd name="connsiteX9" fmla="*/ 13713 w 13712"/>
                <a:gd name="connsiteY9" fmla="*/ 236033 h 242634"/>
                <a:gd name="connsiteX10" fmla="*/ 13713 w 13712"/>
                <a:gd name="connsiteY10" fmla="*/ 6856 h 242634"/>
                <a:gd name="connsiteX11" fmla="*/ 6856 w 13712"/>
                <a:gd name="connsiteY11" fmla="*/ 0 h 24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2" h="242634">
                  <a:moveTo>
                    <a:pt x="6856" y="0"/>
                  </a:moveTo>
                  <a:cubicBezTo>
                    <a:pt x="3073" y="0"/>
                    <a:pt x="0" y="3070"/>
                    <a:pt x="0" y="6856"/>
                  </a:cubicBezTo>
                  <a:lnTo>
                    <a:pt x="0" y="236287"/>
                  </a:lnTo>
                  <a:cubicBezTo>
                    <a:pt x="51" y="237772"/>
                    <a:pt x="584" y="239200"/>
                    <a:pt x="1524" y="240350"/>
                  </a:cubicBezTo>
                  <a:lnTo>
                    <a:pt x="1524" y="240350"/>
                  </a:lnTo>
                  <a:cubicBezTo>
                    <a:pt x="1828" y="240719"/>
                    <a:pt x="2171" y="241059"/>
                    <a:pt x="2539" y="241365"/>
                  </a:cubicBezTo>
                  <a:cubicBezTo>
                    <a:pt x="3416" y="242066"/>
                    <a:pt x="4469" y="242507"/>
                    <a:pt x="5587" y="242635"/>
                  </a:cubicBezTo>
                  <a:lnTo>
                    <a:pt x="6729" y="242635"/>
                  </a:lnTo>
                  <a:lnTo>
                    <a:pt x="7999" y="242635"/>
                  </a:lnTo>
                  <a:cubicBezTo>
                    <a:pt x="11262" y="242136"/>
                    <a:pt x="13687" y="239338"/>
                    <a:pt x="13713" y="236033"/>
                  </a:cubicBezTo>
                  <a:lnTo>
                    <a:pt x="13713" y="6856"/>
                  </a:lnTo>
                  <a:cubicBezTo>
                    <a:pt x="13649" y="3098"/>
                    <a:pt x="10614" y="67"/>
                    <a:pt x="6856" y="0"/>
                  </a:cubicBezTo>
                  <a:close/>
                </a:path>
              </a:pathLst>
            </a:custGeom>
            <a:solidFill>
              <a:srgbClr val="000000"/>
            </a:solidFill>
            <a:ln w="12690"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418DCD5B-A353-4BCD-8295-BB290245CD77}"/>
                </a:ext>
              </a:extLst>
            </p:cNvPr>
            <p:cNvSpPr/>
            <p:nvPr/>
          </p:nvSpPr>
          <p:spPr>
            <a:xfrm>
              <a:off x="5215039" y="6131149"/>
              <a:ext cx="13896" cy="315387"/>
            </a:xfrm>
            <a:custGeom>
              <a:avLst/>
              <a:gdLst>
                <a:gd name="connsiteX0" fmla="*/ 12824 w 13896"/>
                <a:gd name="connsiteY0" fmla="*/ 2412 h 315387"/>
                <a:gd name="connsiteX1" fmla="*/ 5967 w 13896"/>
                <a:gd name="connsiteY1" fmla="*/ 9269 h 315387"/>
                <a:gd name="connsiteX2" fmla="*/ 0 w 13896"/>
                <a:gd name="connsiteY2" fmla="*/ 9269 h 315387"/>
                <a:gd name="connsiteX3" fmla="*/ 0 w 13896"/>
                <a:gd name="connsiteY3" fmla="*/ 315387 h 315387"/>
                <a:gd name="connsiteX4" fmla="*/ 6856 w 13896"/>
                <a:gd name="connsiteY4" fmla="*/ 308531 h 315387"/>
                <a:gd name="connsiteX5" fmla="*/ 13839 w 13896"/>
                <a:gd name="connsiteY5" fmla="*/ 308531 h 315387"/>
                <a:gd name="connsiteX6" fmla="*/ 13839 w 13896"/>
                <a:gd name="connsiteY6" fmla="*/ 3809 h 315387"/>
                <a:gd name="connsiteX7" fmla="*/ 13839 w 13896"/>
                <a:gd name="connsiteY7" fmla="*/ 3809 h 315387"/>
                <a:gd name="connsiteX8" fmla="*/ 13839 w 13896"/>
                <a:gd name="connsiteY8" fmla="*/ 2412 h 315387"/>
                <a:gd name="connsiteX9" fmla="*/ 13839 w 13896"/>
                <a:gd name="connsiteY9" fmla="*/ 1143 h 315387"/>
                <a:gd name="connsiteX10" fmla="*/ 13839 w 13896"/>
                <a:gd name="connsiteY10" fmla="*/ 0 h 315387"/>
                <a:gd name="connsiteX11" fmla="*/ 12824 w 13896"/>
                <a:gd name="connsiteY11" fmla="*/ 2412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315387">
                  <a:moveTo>
                    <a:pt x="12824" y="2412"/>
                  </a:moveTo>
                  <a:cubicBezTo>
                    <a:pt x="12824" y="6196"/>
                    <a:pt x="9751" y="9269"/>
                    <a:pt x="5967" y="9269"/>
                  </a:cubicBezTo>
                  <a:lnTo>
                    <a:pt x="0" y="9269"/>
                  </a:lnTo>
                  <a:lnTo>
                    <a:pt x="0" y="315387"/>
                  </a:lnTo>
                  <a:cubicBezTo>
                    <a:pt x="0" y="311604"/>
                    <a:pt x="3073" y="308531"/>
                    <a:pt x="6856" y="308531"/>
                  </a:cubicBezTo>
                  <a:lnTo>
                    <a:pt x="13839" y="308531"/>
                  </a:lnTo>
                  <a:lnTo>
                    <a:pt x="13839" y="3809"/>
                  </a:lnTo>
                  <a:lnTo>
                    <a:pt x="13839" y="3809"/>
                  </a:lnTo>
                  <a:cubicBezTo>
                    <a:pt x="13916" y="3352"/>
                    <a:pt x="13916" y="2870"/>
                    <a:pt x="13839" y="2412"/>
                  </a:cubicBezTo>
                  <a:cubicBezTo>
                    <a:pt x="13916" y="1993"/>
                    <a:pt x="13916" y="1562"/>
                    <a:pt x="13839" y="1143"/>
                  </a:cubicBezTo>
                  <a:cubicBezTo>
                    <a:pt x="13903" y="762"/>
                    <a:pt x="13903" y="381"/>
                    <a:pt x="13839" y="0"/>
                  </a:cubicBezTo>
                  <a:cubicBezTo>
                    <a:pt x="13611" y="851"/>
                    <a:pt x="13268" y="1663"/>
                    <a:pt x="12824" y="2412"/>
                  </a:cubicBezTo>
                  <a:close/>
                </a:path>
              </a:pathLst>
            </a:custGeom>
            <a:solidFill>
              <a:srgbClr val="000000"/>
            </a:solidFill>
            <a:ln w="12690"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89FC4664-A963-4183-BED4-65F4C0093CD6}"/>
                </a:ext>
              </a:extLst>
            </p:cNvPr>
            <p:cNvSpPr/>
            <p:nvPr/>
          </p:nvSpPr>
          <p:spPr>
            <a:xfrm>
              <a:off x="5215039" y="6446536"/>
              <a:ext cx="9141" cy="6868"/>
            </a:xfrm>
            <a:custGeom>
              <a:avLst/>
              <a:gdLst>
                <a:gd name="connsiteX0" fmla="*/ 0 w 9141"/>
                <a:gd name="connsiteY0" fmla="*/ 0 h 6868"/>
                <a:gd name="connsiteX1" fmla="*/ 0 w 9141"/>
                <a:gd name="connsiteY1" fmla="*/ 0 h 6868"/>
                <a:gd name="connsiteX2" fmla="*/ 6844 w 9141"/>
                <a:gd name="connsiteY2" fmla="*/ 6869 h 6868"/>
                <a:gd name="connsiteX3" fmla="*/ 9142 w 9141"/>
                <a:gd name="connsiteY3" fmla="*/ 6475 h 6868"/>
                <a:gd name="connsiteX4" fmla="*/ 6856 w 9141"/>
                <a:gd name="connsiteY4" fmla="*/ 6475 h 6868"/>
                <a:gd name="connsiteX5" fmla="*/ 0 w 9141"/>
                <a:gd name="connsiteY5" fmla="*/ 0 h 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1" h="6868">
                  <a:moveTo>
                    <a:pt x="0" y="0"/>
                  </a:moveTo>
                  <a:lnTo>
                    <a:pt x="0" y="0"/>
                  </a:lnTo>
                  <a:cubicBezTo>
                    <a:pt x="0" y="3784"/>
                    <a:pt x="3060" y="6856"/>
                    <a:pt x="6844" y="6869"/>
                  </a:cubicBezTo>
                  <a:cubicBezTo>
                    <a:pt x="7631" y="6869"/>
                    <a:pt x="8405" y="6742"/>
                    <a:pt x="9142" y="6475"/>
                  </a:cubicBezTo>
                  <a:lnTo>
                    <a:pt x="6856" y="6475"/>
                  </a:lnTo>
                  <a:cubicBezTo>
                    <a:pt x="3238" y="6425"/>
                    <a:pt x="267" y="3606"/>
                    <a:pt x="0" y="0"/>
                  </a:cubicBezTo>
                  <a:close/>
                </a:path>
              </a:pathLst>
            </a:custGeom>
            <a:solidFill>
              <a:srgbClr val="000000"/>
            </a:solidFill>
            <a:ln w="12690"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2C246A0A-FBAF-419A-A57A-F4D32AB92262}"/>
                </a:ext>
              </a:extLst>
            </p:cNvPr>
            <p:cNvSpPr/>
            <p:nvPr/>
          </p:nvSpPr>
          <p:spPr>
            <a:xfrm>
              <a:off x="4449048" y="5614391"/>
              <a:ext cx="61324" cy="13839"/>
            </a:xfrm>
            <a:custGeom>
              <a:avLst/>
              <a:gdLst>
                <a:gd name="connsiteX0" fmla="*/ 0 w 61324"/>
                <a:gd name="connsiteY0" fmla="*/ 0 h 13839"/>
                <a:gd name="connsiteX1" fmla="*/ 6983 w 61324"/>
                <a:gd name="connsiteY1" fmla="*/ 6856 h 13839"/>
                <a:gd name="connsiteX2" fmla="*/ 0 w 61324"/>
                <a:gd name="connsiteY2" fmla="*/ 13839 h 13839"/>
                <a:gd name="connsiteX3" fmla="*/ 61325 w 61324"/>
                <a:gd name="connsiteY3" fmla="*/ 13839 h 13839"/>
                <a:gd name="connsiteX4" fmla="*/ 61325 w 61324"/>
                <a:gd name="connsiteY4" fmla="*/ 0 h 13839"/>
                <a:gd name="connsiteX5" fmla="*/ 0 w 61324"/>
                <a:gd name="connsiteY5"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24" h="13839">
                  <a:moveTo>
                    <a:pt x="0" y="0"/>
                  </a:moveTo>
                  <a:cubicBezTo>
                    <a:pt x="3809" y="0"/>
                    <a:pt x="6919" y="3050"/>
                    <a:pt x="6983" y="6856"/>
                  </a:cubicBezTo>
                  <a:cubicBezTo>
                    <a:pt x="6983" y="10713"/>
                    <a:pt x="3860" y="13839"/>
                    <a:pt x="0" y="13839"/>
                  </a:cubicBezTo>
                  <a:lnTo>
                    <a:pt x="61325" y="13839"/>
                  </a:lnTo>
                  <a:lnTo>
                    <a:pt x="61325" y="0"/>
                  </a:lnTo>
                  <a:lnTo>
                    <a:pt x="0" y="0"/>
                  </a:lnTo>
                  <a:close/>
                </a:path>
              </a:pathLst>
            </a:custGeom>
            <a:solidFill>
              <a:srgbClr val="000000"/>
            </a:solidFill>
            <a:ln w="12690"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9C9BA195-0A13-4686-B7C5-55B9E9D0124F}"/>
                </a:ext>
              </a:extLst>
            </p:cNvPr>
            <p:cNvSpPr/>
            <p:nvPr/>
          </p:nvSpPr>
          <p:spPr>
            <a:xfrm>
              <a:off x="6909229" y="6511671"/>
              <a:ext cx="56" cy="2158"/>
            </a:xfrm>
            <a:custGeom>
              <a:avLst/>
              <a:gdLst>
                <a:gd name="connsiteX0" fmla="*/ 57 w 56"/>
                <a:gd name="connsiteY0" fmla="*/ 0 h 2158"/>
                <a:gd name="connsiteX1" fmla="*/ 57 w 56"/>
                <a:gd name="connsiteY1" fmla="*/ 1270 h 2158"/>
                <a:gd name="connsiteX2" fmla="*/ 57 w 56"/>
                <a:gd name="connsiteY2" fmla="*/ 2158 h 2158"/>
                <a:gd name="connsiteX3" fmla="*/ 57 w 56"/>
                <a:gd name="connsiteY3" fmla="*/ 1524 h 2158"/>
                <a:gd name="connsiteX4" fmla="*/ 57 w 56"/>
                <a:gd name="connsiteY4" fmla="*/ 0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2158">
                  <a:moveTo>
                    <a:pt x="57" y="0"/>
                  </a:moveTo>
                  <a:lnTo>
                    <a:pt x="57" y="1270"/>
                  </a:lnTo>
                  <a:cubicBezTo>
                    <a:pt x="7" y="1562"/>
                    <a:pt x="7" y="1866"/>
                    <a:pt x="57" y="2158"/>
                  </a:cubicBezTo>
                  <a:cubicBezTo>
                    <a:pt x="-7" y="1955"/>
                    <a:pt x="-7" y="1727"/>
                    <a:pt x="57" y="1524"/>
                  </a:cubicBezTo>
                  <a:cubicBezTo>
                    <a:pt x="-19" y="1016"/>
                    <a:pt x="-19" y="508"/>
                    <a:pt x="57" y="0"/>
                  </a:cubicBezTo>
                  <a:close/>
                </a:path>
              </a:pathLst>
            </a:custGeom>
            <a:solidFill>
              <a:srgbClr val="000000"/>
            </a:solidFill>
            <a:ln w="12690"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52643344-5226-449B-8D20-69456C36072E}"/>
                </a:ext>
              </a:extLst>
            </p:cNvPr>
            <p:cNvSpPr/>
            <p:nvPr/>
          </p:nvSpPr>
          <p:spPr>
            <a:xfrm>
              <a:off x="6922744" y="6511544"/>
              <a:ext cx="56" cy="2158"/>
            </a:xfrm>
            <a:custGeom>
              <a:avLst/>
              <a:gdLst>
                <a:gd name="connsiteX0" fmla="*/ 0 w 56"/>
                <a:gd name="connsiteY0" fmla="*/ 1524 h 2158"/>
                <a:gd name="connsiteX1" fmla="*/ 0 w 56"/>
                <a:gd name="connsiteY1" fmla="*/ 2158 h 2158"/>
                <a:gd name="connsiteX2" fmla="*/ 0 w 56"/>
                <a:gd name="connsiteY2" fmla="*/ 1270 h 2158"/>
                <a:gd name="connsiteX3" fmla="*/ 0 w 56"/>
                <a:gd name="connsiteY3" fmla="*/ 0 h 2158"/>
                <a:gd name="connsiteX4" fmla="*/ 0 w 56"/>
                <a:gd name="connsiteY4" fmla="*/ 1524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2158">
                  <a:moveTo>
                    <a:pt x="0" y="1524"/>
                  </a:moveTo>
                  <a:cubicBezTo>
                    <a:pt x="64" y="1727"/>
                    <a:pt x="64" y="1955"/>
                    <a:pt x="0" y="2158"/>
                  </a:cubicBezTo>
                  <a:cubicBezTo>
                    <a:pt x="51" y="1866"/>
                    <a:pt x="51" y="1562"/>
                    <a:pt x="0" y="1270"/>
                  </a:cubicBezTo>
                  <a:lnTo>
                    <a:pt x="0" y="0"/>
                  </a:lnTo>
                  <a:cubicBezTo>
                    <a:pt x="76" y="508"/>
                    <a:pt x="76" y="1016"/>
                    <a:pt x="0" y="1524"/>
                  </a:cubicBezTo>
                  <a:close/>
                </a:path>
              </a:pathLst>
            </a:custGeom>
            <a:solidFill>
              <a:srgbClr val="000000"/>
            </a:solidFill>
            <a:ln w="12690"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157BB7E7-965B-4C84-ADA4-02E316BE88E6}"/>
                </a:ext>
              </a:extLst>
            </p:cNvPr>
            <p:cNvSpPr/>
            <p:nvPr/>
          </p:nvSpPr>
          <p:spPr>
            <a:xfrm>
              <a:off x="3998188" y="6446409"/>
              <a:ext cx="19680" cy="13839"/>
            </a:xfrm>
            <a:custGeom>
              <a:avLst/>
              <a:gdLst>
                <a:gd name="connsiteX0" fmla="*/ 12824 w 19680"/>
                <a:gd name="connsiteY0" fmla="*/ 6856 h 13839"/>
                <a:gd name="connsiteX1" fmla="*/ 19680 w 19680"/>
                <a:gd name="connsiteY1" fmla="*/ 0 h 13839"/>
                <a:gd name="connsiteX2" fmla="*/ 6983 w 19680"/>
                <a:gd name="connsiteY2" fmla="*/ 0 h 13839"/>
                <a:gd name="connsiteX3" fmla="*/ 6983 w 19680"/>
                <a:gd name="connsiteY3" fmla="*/ 6856 h 13839"/>
                <a:gd name="connsiteX4" fmla="*/ 0 w 19680"/>
                <a:gd name="connsiteY4" fmla="*/ 13839 h 13839"/>
                <a:gd name="connsiteX5" fmla="*/ 19299 w 19680"/>
                <a:gd name="connsiteY5" fmla="*/ 13839 h 13839"/>
                <a:gd name="connsiteX6" fmla="*/ 12824 w 19680"/>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80" h="13839">
                  <a:moveTo>
                    <a:pt x="12824" y="6856"/>
                  </a:moveTo>
                  <a:cubicBezTo>
                    <a:pt x="12824" y="3073"/>
                    <a:pt x="15896" y="0"/>
                    <a:pt x="19680" y="0"/>
                  </a:cubicBezTo>
                  <a:lnTo>
                    <a:pt x="6983" y="0"/>
                  </a:lnTo>
                  <a:lnTo>
                    <a:pt x="6983" y="6856"/>
                  </a:lnTo>
                  <a:cubicBezTo>
                    <a:pt x="6983" y="10716"/>
                    <a:pt x="3860" y="13839"/>
                    <a:pt x="0" y="13839"/>
                  </a:cubicBezTo>
                  <a:lnTo>
                    <a:pt x="19299" y="13839"/>
                  </a:lnTo>
                  <a:cubicBezTo>
                    <a:pt x="15642" y="13573"/>
                    <a:pt x="12811" y="10526"/>
                    <a:pt x="12824" y="6856"/>
                  </a:cubicBezTo>
                  <a:close/>
                </a:path>
              </a:pathLst>
            </a:custGeom>
            <a:solidFill>
              <a:srgbClr val="000000"/>
            </a:solidFill>
            <a:ln w="12690"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686C8D79-6EDD-4B33-ADFD-EA0C1A7685B4}"/>
                </a:ext>
              </a:extLst>
            </p:cNvPr>
            <p:cNvSpPr/>
            <p:nvPr/>
          </p:nvSpPr>
          <p:spPr>
            <a:xfrm>
              <a:off x="4011012" y="6446409"/>
              <a:ext cx="35804" cy="13839"/>
            </a:xfrm>
            <a:custGeom>
              <a:avLst/>
              <a:gdLst>
                <a:gd name="connsiteX0" fmla="*/ 6856 w 35804"/>
                <a:gd name="connsiteY0" fmla="*/ 0 h 13839"/>
                <a:gd name="connsiteX1" fmla="*/ 0 w 35804"/>
                <a:gd name="connsiteY1" fmla="*/ 6856 h 13839"/>
                <a:gd name="connsiteX2" fmla="*/ 6856 w 35804"/>
                <a:gd name="connsiteY2" fmla="*/ 13839 h 13839"/>
                <a:gd name="connsiteX3" fmla="*/ 28948 w 35804"/>
                <a:gd name="connsiteY3" fmla="*/ 13839 h 13839"/>
                <a:gd name="connsiteX4" fmla="*/ 35805 w 35804"/>
                <a:gd name="connsiteY4" fmla="*/ 6856 h 13839"/>
                <a:gd name="connsiteX5" fmla="*/ 28948 w 35804"/>
                <a:gd name="connsiteY5" fmla="*/ 0 h 13839"/>
                <a:gd name="connsiteX6" fmla="*/ 6856 w 35804"/>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04" h="13839">
                  <a:moveTo>
                    <a:pt x="6856" y="0"/>
                  </a:moveTo>
                  <a:cubicBezTo>
                    <a:pt x="3073" y="0"/>
                    <a:pt x="0" y="3073"/>
                    <a:pt x="0" y="6856"/>
                  </a:cubicBezTo>
                  <a:cubicBezTo>
                    <a:pt x="0" y="10665"/>
                    <a:pt x="3047" y="13776"/>
                    <a:pt x="6856" y="13839"/>
                  </a:cubicBezTo>
                  <a:lnTo>
                    <a:pt x="28948" y="13839"/>
                  </a:lnTo>
                  <a:cubicBezTo>
                    <a:pt x="32757" y="13776"/>
                    <a:pt x="35805" y="10665"/>
                    <a:pt x="35805" y="6856"/>
                  </a:cubicBezTo>
                  <a:cubicBezTo>
                    <a:pt x="35805" y="3073"/>
                    <a:pt x="32732" y="0"/>
                    <a:pt x="28948" y="0"/>
                  </a:cubicBezTo>
                  <a:lnTo>
                    <a:pt x="6856" y="0"/>
                  </a:lnTo>
                  <a:close/>
                </a:path>
              </a:pathLst>
            </a:custGeom>
            <a:solidFill>
              <a:srgbClr val="000000"/>
            </a:solidFill>
            <a:ln w="12690"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8F72685D-9189-462C-A2CD-FD7F7C0BA978}"/>
                </a:ext>
              </a:extLst>
            </p:cNvPr>
            <p:cNvSpPr/>
            <p:nvPr/>
          </p:nvSpPr>
          <p:spPr>
            <a:xfrm>
              <a:off x="3601797" y="5745422"/>
              <a:ext cx="13839" cy="716096"/>
            </a:xfrm>
            <a:custGeom>
              <a:avLst/>
              <a:gdLst>
                <a:gd name="connsiteX0" fmla="*/ 0 w 13839"/>
                <a:gd name="connsiteY0" fmla="*/ 709240 h 716096"/>
                <a:gd name="connsiteX1" fmla="*/ 6983 w 13839"/>
                <a:gd name="connsiteY1" fmla="*/ 716097 h 716096"/>
                <a:gd name="connsiteX2" fmla="*/ 13839 w 13839"/>
                <a:gd name="connsiteY2" fmla="*/ 709240 h 716096"/>
                <a:gd name="connsiteX3" fmla="*/ 13839 w 13839"/>
                <a:gd name="connsiteY3" fmla="*/ 0 h 716096"/>
                <a:gd name="connsiteX4" fmla="*/ 6983 w 13839"/>
                <a:gd name="connsiteY4" fmla="*/ 6856 h 716096"/>
                <a:gd name="connsiteX5" fmla="*/ 0 w 13839"/>
                <a:gd name="connsiteY5" fmla="*/ 0 h 716096"/>
                <a:gd name="connsiteX6" fmla="*/ 0 w 13839"/>
                <a:gd name="connsiteY6" fmla="*/ 709240 h 7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16096">
                  <a:moveTo>
                    <a:pt x="0" y="709240"/>
                  </a:moveTo>
                  <a:cubicBezTo>
                    <a:pt x="64" y="713050"/>
                    <a:pt x="3174" y="716097"/>
                    <a:pt x="6983" y="716097"/>
                  </a:cubicBezTo>
                  <a:cubicBezTo>
                    <a:pt x="10767" y="716097"/>
                    <a:pt x="13839" y="713024"/>
                    <a:pt x="13839" y="709240"/>
                  </a:cubicBezTo>
                  <a:lnTo>
                    <a:pt x="13839" y="0"/>
                  </a:lnTo>
                  <a:cubicBezTo>
                    <a:pt x="13839" y="3786"/>
                    <a:pt x="10767" y="6856"/>
                    <a:pt x="6983" y="6856"/>
                  </a:cubicBezTo>
                  <a:cubicBezTo>
                    <a:pt x="3174" y="6856"/>
                    <a:pt x="64" y="3806"/>
                    <a:pt x="0" y="0"/>
                  </a:cubicBezTo>
                  <a:lnTo>
                    <a:pt x="0" y="709240"/>
                  </a:lnTo>
                  <a:close/>
                </a:path>
              </a:pathLst>
            </a:custGeom>
            <a:solidFill>
              <a:srgbClr val="000000"/>
            </a:solidFill>
            <a:ln w="12690"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0485A585-C81E-4334-8934-4A76170ADA9A}"/>
                </a:ext>
              </a:extLst>
            </p:cNvPr>
            <p:cNvSpPr/>
            <p:nvPr/>
          </p:nvSpPr>
          <p:spPr>
            <a:xfrm>
              <a:off x="3601797" y="5448318"/>
              <a:ext cx="13839" cy="303960"/>
            </a:xfrm>
            <a:custGeom>
              <a:avLst/>
              <a:gdLst>
                <a:gd name="connsiteX0" fmla="*/ 6983 w 13839"/>
                <a:gd name="connsiteY0" fmla="*/ 303960 h 303960"/>
                <a:gd name="connsiteX1" fmla="*/ 13839 w 13839"/>
                <a:gd name="connsiteY1" fmla="*/ 297104 h 303960"/>
                <a:gd name="connsiteX2" fmla="*/ 13839 w 13839"/>
                <a:gd name="connsiteY2" fmla="*/ 6856 h 303960"/>
                <a:gd name="connsiteX3" fmla="*/ 6983 w 13839"/>
                <a:gd name="connsiteY3" fmla="*/ 0 h 303960"/>
                <a:gd name="connsiteX4" fmla="*/ 0 w 13839"/>
                <a:gd name="connsiteY4" fmla="*/ 6856 h 303960"/>
                <a:gd name="connsiteX5" fmla="*/ 0 w 13839"/>
                <a:gd name="connsiteY5" fmla="*/ 297104 h 303960"/>
                <a:gd name="connsiteX6" fmla="*/ 6983 w 13839"/>
                <a:gd name="connsiteY6" fmla="*/ 303960 h 30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03960">
                  <a:moveTo>
                    <a:pt x="6983" y="303960"/>
                  </a:moveTo>
                  <a:cubicBezTo>
                    <a:pt x="10767" y="303960"/>
                    <a:pt x="13839" y="300890"/>
                    <a:pt x="13839" y="297104"/>
                  </a:cubicBezTo>
                  <a:lnTo>
                    <a:pt x="13839" y="6856"/>
                  </a:lnTo>
                  <a:cubicBezTo>
                    <a:pt x="13839" y="3070"/>
                    <a:pt x="10767" y="0"/>
                    <a:pt x="6983" y="0"/>
                  </a:cubicBezTo>
                  <a:cubicBezTo>
                    <a:pt x="3174" y="-1"/>
                    <a:pt x="64" y="3050"/>
                    <a:pt x="0" y="6856"/>
                  </a:cubicBezTo>
                  <a:lnTo>
                    <a:pt x="0" y="297104"/>
                  </a:lnTo>
                  <a:cubicBezTo>
                    <a:pt x="64" y="300910"/>
                    <a:pt x="3174" y="303960"/>
                    <a:pt x="6983" y="303960"/>
                  </a:cubicBezTo>
                  <a:close/>
                </a:path>
              </a:pathLst>
            </a:custGeom>
            <a:solidFill>
              <a:srgbClr val="000000"/>
            </a:solidFill>
            <a:ln w="12690"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F1DB6F91-1FC8-4AAB-9C89-43E0CFEEF4C0}"/>
                </a:ext>
              </a:extLst>
            </p:cNvPr>
            <p:cNvSpPr/>
            <p:nvPr/>
          </p:nvSpPr>
          <p:spPr>
            <a:xfrm>
              <a:off x="3991713" y="5620105"/>
              <a:ext cx="13839" cy="840144"/>
            </a:xfrm>
            <a:custGeom>
              <a:avLst/>
              <a:gdLst>
                <a:gd name="connsiteX0" fmla="*/ 6856 w 13839"/>
                <a:gd name="connsiteY0" fmla="*/ 840144 h 840144"/>
                <a:gd name="connsiteX1" fmla="*/ 13839 w 13839"/>
                <a:gd name="connsiteY1" fmla="*/ 833161 h 840144"/>
                <a:gd name="connsiteX2" fmla="*/ 13839 w 13839"/>
                <a:gd name="connsiteY2" fmla="*/ 0 h 840144"/>
                <a:gd name="connsiteX3" fmla="*/ 6856 w 13839"/>
                <a:gd name="connsiteY3" fmla="*/ 6983 h 840144"/>
                <a:gd name="connsiteX4" fmla="*/ 0 w 13839"/>
                <a:gd name="connsiteY4" fmla="*/ 0 h 840144"/>
                <a:gd name="connsiteX5" fmla="*/ 0 w 13839"/>
                <a:gd name="connsiteY5" fmla="*/ 833161 h 840144"/>
                <a:gd name="connsiteX6" fmla="*/ 6856 w 13839"/>
                <a:gd name="connsiteY6" fmla="*/ 840144 h 84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40144">
                  <a:moveTo>
                    <a:pt x="6856" y="840144"/>
                  </a:moveTo>
                  <a:cubicBezTo>
                    <a:pt x="10716" y="840144"/>
                    <a:pt x="13839" y="837021"/>
                    <a:pt x="13839" y="833161"/>
                  </a:cubicBezTo>
                  <a:lnTo>
                    <a:pt x="13839" y="0"/>
                  </a:lnTo>
                  <a:cubicBezTo>
                    <a:pt x="13839" y="3857"/>
                    <a:pt x="10716" y="6983"/>
                    <a:pt x="6856" y="6983"/>
                  </a:cubicBezTo>
                  <a:cubicBezTo>
                    <a:pt x="3047" y="6913"/>
                    <a:pt x="0" y="3808"/>
                    <a:pt x="0" y="0"/>
                  </a:cubicBezTo>
                  <a:lnTo>
                    <a:pt x="0" y="833161"/>
                  </a:lnTo>
                  <a:cubicBezTo>
                    <a:pt x="0" y="836970"/>
                    <a:pt x="3047" y="840081"/>
                    <a:pt x="6856" y="840144"/>
                  </a:cubicBezTo>
                  <a:close/>
                </a:path>
              </a:pathLst>
            </a:custGeom>
            <a:solidFill>
              <a:srgbClr val="000000"/>
            </a:solidFill>
            <a:ln w="12690"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EF09F5F7-C583-4987-8A74-7DE1791D0478}"/>
                </a:ext>
              </a:extLst>
            </p:cNvPr>
            <p:cNvSpPr/>
            <p:nvPr/>
          </p:nvSpPr>
          <p:spPr>
            <a:xfrm>
              <a:off x="3991713" y="5465093"/>
              <a:ext cx="13877" cy="161995"/>
            </a:xfrm>
            <a:custGeom>
              <a:avLst/>
              <a:gdLst>
                <a:gd name="connsiteX0" fmla="*/ 0 w 13877"/>
                <a:gd name="connsiteY0" fmla="*/ 6841 h 161995"/>
                <a:gd name="connsiteX1" fmla="*/ 0 w 13877"/>
                <a:gd name="connsiteY1" fmla="*/ 155012 h 161995"/>
                <a:gd name="connsiteX2" fmla="*/ 6856 w 13877"/>
                <a:gd name="connsiteY2" fmla="*/ 161995 h 161995"/>
                <a:gd name="connsiteX3" fmla="*/ 13839 w 13877"/>
                <a:gd name="connsiteY3" fmla="*/ 155012 h 161995"/>
                <a:gd name="connsiteX4" fmla="*/ 13839 w 13877"/>
                <a:gd name="connsiteY4" fmla="*/ 6841 h 161995"/>
                <a:gd name="connsiteX5" fmla="*/ 13839 w 13877"/>
                <a:gd name="connsiteY5" fmla="*/ 6206 h 161995"/>
                <a:gd name="connsiteX6" fmla="*/ 13839 w 13877"/>
                <a:gd name="connsiteY6" fmla="*/ 4809 h 161995"/>
                <a:gd name="connsiteX7" fmla="*/ 13839 w 13877"/>
                <a:gd name="connsiteY7" fmla="*/ 3667 h 161995"/>
                <a:gd name="connsiteX8" fmla="*/ 13078 w 13877"/>
                <a:gd name="connsiteY8" fmla="*/ 2651 h 161995"/>
                <a:gd name="connsiteX9" fmla="*/ 12189 w 13877"/>
                <a:gd name="connsiteY9" fmla="*/ 1635 h 161995"/>
                <a:gd name="connsiteX10" fmla="*/ 2526 w 13877"/>
                <a:gd name="connsiteY10" fmla="*/ 2412 h 161995"/>
                <a:gd name="connsiteX11" fmla="*/ 888 w 13877"/>
                <a:gd name="connsiteY11" fmla="*/ 6841 h 1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77" h="161995">
                  <a:moveTo>
                    <a:pt x="0" y="6841"/>
                  </a:moveTo>
                  <a:lnTo>
                    <a:pt x="0" y="155012"/>
                  </a:lnTo>
                  <a:cubicBezTo>
                    <a:pt x="0" y="158820"/>
                    <a:pt x="3047" y="161925"/>
                    <a:pt x="6856" y="161995"/>
                  </a:cubicBezTo>
                  <a:cubicBezTo>
                    <a:pt x="10716" y="161995"/>
                    <a:pt x="13839" y="158869"/>
                    <a:pt x="13839" y="155012"/>
                  </a:cubicBezTo>
                  <a:lnTo>
                    <a:pt x="13839" y="6841"/>
                  </a:lnTo>
                  <a:cubicBezTo>
                    <a:pt x="13839" y="6841"/>
                    <a:pt x="13839" y="6841"/>
                    <a:pt x="13839" y="6206"/>
                  </a:cubicBezTo>
                  <a:cubicBezTo>
                    <a:pt x="13839" y="5571"/>
                    <a:pt x="13839" y="5317"/>
                    <a:pt x="13839" y="4809"/>
                  </a:cubicBezTo>
                  <a:cubicBezTo>
                    <a:pt x="13890" y="4430"/>
                    <a:pt x="13890" y="4046"/>
                    <a:pt x="13839" y="3667"/>
                  </a:cubicBezTo>
                  <a:lnTo>
                    <a:pt x="13078" y="2651"/>
                  </a:lnTo>
                  <a:lnTo>
                    <a:pt x="12189" y="1635"/>
                  </a:lnTo>
                  <a:cubicBezTo>
                    <a:pt x="9306" y="-819"/>
                    <a:pt x="4977" y="-471"/>
                    <a:pt x="2526" y="2412"/>
                  </a:cubicBezTo>
                  <a:cubicBezTo>
                    <a:pt x="1473" y="3649"/>
                    <a:pt x="888" y="5218"/>
                    <a:pt x="888" y="6841"/>
                  </a:cubicBezTo>
                  <a:close/>
                </a:path>
              </a:pathLst>
            </a:custGeom>
            <a:solidFill>
              <a:srgbClr val="000000"/>
            </a:solidFill>
            <a:ln w="12690"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F5692C5E-2780-4CF5-96AF-6F69EFBFF4FC}"/>
                </a:ext>
              </a:extLst>
            </p:cNvPr>
            <p:cNvSpPr/>
            <p:nvPr/>
          </p:nvSpPr>
          <p:spPr>
            <a:xfrm>
              <a:off x="4153596" y="6452250"/>
              <a:ext cx="13839" cy="411882"/>
            </a:xfrm>
            <a:custGeom>
              <a:avLst/>
              <a:gdLst>
                <a:gd name="connsiteX0" fmla="*/ 6348 w 13839"/>
                <a:gd name="connsiteY0" fmla="*/ 6983 h 411882"/>
                <a:gd name="connsiteX1" fmla="*/ 0 w 13839"/>
                <a:gd name="connsiteY1" fmla="*/ 2666 h 411882"/>
                <a:gd name="connsiteX2" fmla="*/ 0 w 13839"/>
                <a:gd name="connsiteY2" fmla="*/ 2666 h 411882"/>
                <a:gd name="connsiteX3" fmla="*/ 0 w 13839"/>
                <a:gd name="connsiteY3" fmla="*/ 411882 h 411882"/>
                <a:gd name="connsiteX4" fmla="*/ 13839 w 13839"/>
                <a:gd name="connsiteY4" fmla="*/ 411882 h 411882"/>
                <a:gd name="connsiteX5" fmla="*/ 13839 w 13839"/>
                <a:gd name="connsiteY5" fmla="*/ 0 h 411882"/>
                <a:gd name="connsiteX6" fmla="*/ 6869 w 13839"/>
                <a:gd name="connsiteY6" fmla="*/ 6996 h 411882"/>
                <a:gd name="connsiteX7" fmla="*/ 6348 w 13839"/>
                <a:gd name="connsiteY7" fmla="*/ 6983 h 41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11882">
                  <a:moveTo>
                    <a:pt x="6348" y="6983"/>
                  </a:moveTo>
                  <a:cubicBezTo>
                    <a:pt x="3555" y="6970"/>
                    <a:pt x="1041" y="5269"/>
                    <a:pt x="0" y="2666"/>
                  </a:cubicBezTo>
                  <a:lnTo>
                    <a:pt x="0" y="2666"/>
                  </a:lnTo>
                  <a:lnTo>
                    <a:pt x="0" y="411882"/>
                  </a:lnTo>
                  <a:lnTo>
                    <a:pt x="13839" y="411882"/>
                  </a:lnTo>
                  <a:lnTo>
                    <a:pt x="13839" y="0"/>
                  </a:lnTo>
                  <a:cubicBezTo>
                    <a:pt x="13852" y="3860"/>
                    <a:pt x="10728" y="6996"/>
                    <a:pt x="6869" y="6996"/>
                  </a:cubicBezTo>
                  <a:cubicBezTo>
                    <a:pt x="6704" y="6996"/>
                    <a:pt x="6526" y="6996"/>
                    <a:pt x="6348" y="6983"/>
                  </a:cubicBezTo>
                  <a:close/>
                </a:path>
              </a:pathLst>
            </a:custGeom>
            <a:solidFill>
              <a:srgbClr val="000000"/>
            </a:solidFill>
            <a:ln w="12690"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3E673F16-C463-4DED-81C8-4D85423528F3}"/>
                </a:ext>
              </a:extLst>
            </p:cNvPr>
            <p:cNvSpPr/>
            <p:nvPr/>
          </p:nvSpPr>
          <p:spPr>
            <a:xfrm>
              <a:off x="4143184" y="6115405"/>
              <a:ext cx="13839" cy="344843"/>
            </a:xfrm>
            <a:custGeom>
              <a:avLst/>
              <a:gdLst>
                <a:gd name="connsiteX0" fmla="*/ 6983 w 13839"/>
                <a:gd name="connsiteY0" fmla="*/ 344844 h 344843"/>
                <a:gd name="connsiteX1" fmla="*/ 9903 w 13839"/>
                <a:gd name="connsiteY1" fmla="*/ 344082 h 344843"/>
                <a:gd name="connsiteX2" fmla="*/ 9903 w 13839"/>
                <a:gd name="connsiteY2" fmla="*/ 344082 h 344843"/>
                <a:gd name="connsiteX3" fmla="*/ 9903 w 13839"/>
                <a:gd name="connsiteY3" fmla="*/ 341543 h 344843"/>
                <a:gd name="connsiteX4" fmla="*/ 9903 w 13839"/>
                <a:gd name="connsiteY4" fmla="*/ 331512 h 344843"/>
                <a:gd name="connsiteX5" fmla="*/ 13839 w 13839"/>
                <a:gd name="connsiteY5" fmla="*/ 325418 h 344843"/>
                <a:gd name="connsiteX6" fmla="*/ 13839 w 13839"/>
                <a:gd name="connsiteY6" fmla="*/ 325418 h 344843"/>
                <a:gd name="connsiteX7" fmla="*/ 13839 w 13839"/>
                <a:gd name="connsiteY7" fmla="*/ 0 h 344843"/>
                <a:gd name="connsiteX8" fmla="*/ 6983 w 13839"/>
                <a:gd name="connsiteY8" fmla="*/ 6983 h 344843"/>
                <a:gd name="connsiteX9" fmla="*/ 0 w 13839"/>
                <a:gd name="connsiteY9" fmla="*/ 0 h 344843"/>
                <a:gd name="connsiteX10" fmla="*/ 0 w 13839"/>
                <a:gd name="connsiteY10" fmla="*/ 337860 h 344843"/>
                <a:gd name="connsiteX11" fmla="*/ 6983 w 13839"/>
                <a:gd name="connsiteY11" fmla="*/ 344844 h 34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344843">
                  <a:moveTo>
                    <a:pt x="6983" y="344844"/>
                  </a:moveTo>
                  <a:cubicBezTo>
                    <a:pt x="8011" y="344844"/>
                    <a:pt x="9015" y="344590"/>
                    <a:pt x="9903" y="344082"/>
                  </a:cubicBezTo>
                  <a:lnTo>
                    <a:pt x="9903" y="344082"/>
                  </a:lnTo>
                  <a:cubicBezTo>
                    <a:pt x="9776" y="343244"/>
                    <a:pt x="9776" y="342381"/>
                    <a:pt x="9903" y="341543"/>
                  </a:cubicBezTo>
                  <a:lnTo>
                    <a:pt x="9903" y="331512"/>
                  </a:lnTo>
                  <a:cubicBezTo>
                    <a:pt x="9916" y="328884"/>
                    <a:pt x="11452" y="326510"/>
                    <a:pt x="13839" y="325418"/>
                  </a:cubicBezTo>
                  <a:lnTo>
                    <a:pt x="13839" y="325418"/>
                  </a:lnTo>
                  <a:lnTo>
                    <a:pt x="13839" y="0"/>
                  </a:lnTo>
                  <a:cubicBezTo>
                    <a:pt x="13839" y="3809"/>
                    <a:pt x="10792" y="6920"/>
                    <a:pt x="6983" y="6983"/>
                  </a:cubicBezTo>
                  <a:cubicBezTo>
                    <a:pt x="3123" y="6983"/>
                    <a:pt x="0" y="3860"/>
                    <a:pt x="0" y="0"/>
                  </a:cubicBezTo>
                  <a:lnTo>
                    <a:pt x="0" y="337860"/>
                  </a:lnTo>
                  <a:cubicBezTo>
                    <a:pt x="0" y="341720"/>
                    <a:pt x="3123" y="344844"/>
                    <a:pt x="6983" y="344844"/>
                  </a:cubicBezTo>
                  <a:close/>
                </a:path>
              </a:pathLst>
            </a:custGeom>
            <a:solidFill>
              <a:srgbClr val="000000"/>
            </a:solidFill>
            <a:ln w="12690"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ABD3668F-59A2-42E1-9164-94053A6FD7F3}"/>
                </a:ext>
              </a:extLst>
            </p:cNvPr>
            <p:cNvSpPr/>
            <p:nvPr/>
          </p:nvSpPr>
          <p:spPr>
            <a:xfrm>
              <a:off x="4510372" y="6443235"/>
              <a:ext cx="13839" cy="421786"/>
            </a:xfrm>
            <a:custGeom>
              <a:avLst/>
              <a:gdLst>
                <a:gd name="connsiteX0" fmla="*/ 13839 w 13839"/>
                <a:gd name="connsiteY0" fmla="*/ 6348 h 421786"/>
                <a:gd name="connsiteX1" fmla="*/ 13839 w 13839"/>
                <a:gd name="connsiteY1" fmla="*/ 0 h 421786"/>
                <a:gd name="connsiteX2" fmla="*/ 6983 w 13839"/>
                <a:gd name="connsiteY2" fmla="*/ 6983 h 421786"/>
                <a:gd name="connsiteX3" fmla="*/ 0 w 13839"/>
                <a:gd name="connsiteY3" fmla="*/ 0 h 421786"/>
                <a:gd name="connsiteX4" fmla="*/ 0 w 13839"/>
                <a:gd name="connsiteY4" fmla="*/ 421786 h 421786"/>
                <a:gd name="connsiteX5" fmla="*/ 13839 w 13839"/>
                <a:gd name="connsiteY5" fmla="*/ 421786 h 421786"/>
                <a:gd name="connsiteX6" fmla="*/ 13839 w 13839"/>
                <a:gd name="connsiteY6" fmla="*/ 6348 h 421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421786">
                  <a:moveTo>
                    <a:pt x="13839" y="6348"/>
                  </a:moveTo>
                  <a:lnTo>
                    <a:pt x="13839" y="0"/>
                  </a:lnTo>
                  <a:cubicBezTo>
                    <a:pt x="13839" y="3809"/>
                    <a:pt x="10792" y="6920"/>
                    <a:pt x="6983" y="6983"/>
                  </a:cubicBezTo>
                  <a:cubicBezTo>
                    <a:pt x="3123" y="6983"/>
                    <a:pt x="0" y="3860"/>
                    <a:pt x="0" y="0"/>
                  </a:cubicBezTo>
                  <a:lnTo>
                    <a:pt x="0" y="421786"/>
                  </a:lnTo>
                  <a:lnTo>
                    <a:pt x="13839" y="421786"/>
                  </a:lnTo>
                  <a:lnTo>
                    <a:pt x="13839" y="6348"/>
                  </a:lnTo>
                  <a:close/>
                </a:path>
              </a:pathLst>
            </a:custGeom>
            <a:solidFill>
              <a:srgbClr val="000000"/>
            </a:solidFill>
            <a:ln w="12690"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D04C7480-D0C0-45D9-8F79-CA56CC3F93EB}"/>
                </a:ext>
              </a:extLst>
            </p:cNvPr>
            <p:cNvSpPr/>
            <p:nvPr/>
          </p:nvSpPr>
          <p:spPr>
            <a:xfrm>
              <a:off x="8175146" y="6511751"/>
              <a:ext cx="14277" cy="352762"/>
            </a:xfrm>
            <a:custGeom>
              <a:avLst/>
              <a:gdLst>
                <a:gd name="connsiteX0" fmla="*/ 0 w 14277"/>
                <a:gd name="connsiteY0" fmla="*/ 6395 h 352762"/>
                <a:gd name="connsiteX1" fmla="*/ 0 w 14277"/>
                <a:gd name="connsiteY1" fmla="*/ 352763 h 352762"/>
                <a:gd name="connsiteX2" fmla="*/ 14220 w 14277"/>
                <a:gd name="connsiteY2" fmla="*/ 352763 h 352762"/>
                <a:gd name="connsiteX3" fmla="*/ 14220 w 14277"/>
                <a:gd name="connsiteY3" fmla="*/ 6395 h 352762"/>
                <a:gd name="connsiteX4" fmla="*/ 14220 w 14277"/>
                <a:gd name="connsiteY4" fmla="*/ 5126 h 352762"/>
                <a:gd name="connsiteX5" fmla="*/ 14220 w 14277"/>
                <a:gd name="connsiteY5" fmla="*/ 3856 h 352762"/>
                <a:gd name="connsiteX6" fmla="*/ 13458 w 14277"/>
                <a:gd name="connsiteY6" fmla="*/ 2713 h 352762"/>
                <a:gd name="connsiteX7" fmla="*/ 13458 w 14277"/>
                <a:gd name="connsiteY7" fmla="*/ 1571 h 352762"/>
                <a:gd name="connsiteX8" fmla="*/ 12315 w 14277"/>
                <a:gd name="connsiteY8" fmla="*/ 809 h 352762"/>
                <a:gd name="connsiteX9" fmla="*/ 11300 w 14277"/>
                <a:gd name="connsiteY9" fmla="*/ 174 h 352762"/>
                <a:gd name="connsiteX10" fmla="*/ 9903 w 14277"/>
                <a:gd name="connsiteY10" fmla="*/ 174 h 352762"/>
                <a:gd name="connsiteX11" fmla="*/ 8507 w 14277"/>
                <a:gd name="connsiteY11" fmla="*/ 174 h 352762"/>
                <a:gd name="connsiteX12" fmla="*/ 153 w 14277"/>
                <a:gd name="connsiteY12" fmla="*/ 5431 h 352762"/>
                <a:gd name="connsiteX13" fmla="*/ 0 w 14277"/>
                <a:gd name="connsiteY13" fmla="*/ 6395 h 35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77" h="352762">
                  <a:moveTo>
                    <a:pt x="0" y="6395"/>
                  </a:moveTo>
                  <a:lnTo>
                    <a:pt x="0" y="352763"/>
                  </a:lnTo>
                  <a:lnTo>
                    <a:pt x="14220" y="352763"/>
                  </a:lnTo>
                  <a:lnTo>
                    <a:pt x="14220" y="6395"/>
                  </a:lnTo>
                  <a:cubicBezTo>
                    <a:pt x="14296" y="5977"/>
                    <a:pt x="14296" y="5545"/>
                    <a:pt x="14220" y="5126"/>
                  </a:cubicBezTo>
                  <a:cubicBezTo>
                    <a:pt x="14220" y="5126"/>
                    <a:pt x="14220" y="4237"/>
                    <a:pt x="14220" y="3856"/>
                  </a:cubicBezTo>
                  <a:cubicBezTo>
                    <a:pt x="14220" y="3475"/>
                    <a:pt x="14220" y="3094"/>
                    <a:pt x="13458" y="2713"/>
                  </a:cubicBezTo>
                  <a:lnTo>
                    <a:pt x="13458" y="1571"/>
                  </a:lnTo>
                  <a:lnTo>
                    <a:pt x="12315" y="809"/>
                  </a:lnTo>
                  <a:lnTo>
                    <a:pt x="11300" y="174"/>
                  </a:lnTo>
                  <a:lnTo>
                    <a:pt x="9903" y="174"/>
                  </a:lnTo>
                  <a:lnTo>
                    <a:pt x="8507" y="174"/>
                  </a:lnTo>
                  <a:cubicBezTo>
                    <a:pt x="4749" y="-677"/>
                    <a:pt x="1003" y="1672"/>
                    <a:pt x="153" y="5431"/>
                  </a:cubicBezTo>
                  <a:cubicBezTo>
                    <a:pt x="76" y="5748"/>
                    <a:pt x="26" y="6078"/>
                    <a:pt x="0" y="6395"/>
                  </a:cubicBezTo>
                  <a:close/>
                </a:path>
              </a:pathLst>
            </a:custGeom>
            <a:solidFill>
              <a:srgbClr val="000000"/>
            </a:solidFill>
            <a:ln w="12690"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93A79A2F-BA70-4D53-AE23-625782102214}"/>
                </a:ext>
              </a:extLst>
            </p:cNvPr>
            <p:cNvSpPr/>
            <p:nvPr/>
          </p:nvSpPr>
          <p:spPr>
            <a:xfrm>
              <a:off x="5523061" y="5839505"/>
              <a:ext cx="6856" cy="13839"/>
            </a:xfrm>
            <a:custGeom>
              <a:avLst/>
              <a:gdLst>
                <a:gd name="connsiteX0" fmla="*/ 0 w 6856"/>
                <a:gd name="connsiteY0" fmla="*/ 6856 h 13839"/>
                <a:gd name="connsiteX1" fmla="*/ 6856 w 6856"/>
                <a:gd name="connsiteY1" fmla="*/ 0 h 13839"/>
                <a:gd name="connsiteX2" fmla="*/ 6856 w 6856"/>
                <a:gd name="connsiteY2" fmla="*/ 0 h 13839"/>
                <a:gd name="connsiteX3" fmla="*/ 0 w 6856"/>
                <a:gd name="connsiteY3" fmla="*/ 6856 h 13839"/>
                <a:gd name="connsiteX4" fmla="*/ 6856 w 6856"/>
                <a:gd name="connsiteY4" fmla="*/ 13840 h 13839"/>
                <a:gd name="connsiteX5" fmla="*/ 6856 w 6856"/>
                <a:gd name="connsiteY5" fmla="*/ 13840 h 13839"/>
                <a:gd name="connsiteX6" fmla="*/ 0 w 685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6" h="13839">
                  <a:moveTo>
                    <a:pt x="0" y="6856"/>
                  </a:moveTo>
                  <a:cubicBezTo>
                    <a:pt x="0" y="3070"/>
                    <a:pt x="3073" y="0"/>
                    <a:pt x="6856" y="0"/>
                  </a:cubicBezTo>
                  <a:lnTo>
                    <a:pt x="6856" y="0"/>
                  </a:lnTo>
                  <a:cubicBezTo>
                    <a:pt x="3073" y="0"/>
                    <a:pt x="0" y="3070"/>
                    <a:pt x="0" y="6856"/>
                  </a:cubicBezTo>
                  <a:cubicBezTo>
                    <a:pt x="0" y="10664"/>
                    <a:pt x="3047" y="13770"/>
                    <a:pt x="6856" y="13840"/>
                  </a:cubicBezTo>
                  <a:lnTo>
                    <a:pt x="6856" y="13840"/>
                  </a:lnTo>
                  <a:cubicBezTo>
                    <a:pt x="3047" y="13770"/>
                    <a:pt x="0" y="10664"/>
                    <a:pt x="0" y="6856"/>
                  </a:cubicBezTo>
                  <a:close/>
                </a:path>
              </a:pathLst>
            </a:custGeom>
            <a:solidFill>
              <a:srgbClr val="000000"/>
            </a:solidFill>
            <a:ln w="12690"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211467FA-C34A-4EB5-88B1-FC8807C45957}"/>
                </a:ext>
              </a:extLst>
            </p:cNvPr>
            <p:cNvSpPr/>
            <p:nvPr/>
          </p:nvSpPr>
          <p:spPr>
            <a:xfrm>
              <a:off x="4510372" y="6446536"/>
              <a:ext cx="13839" cy="6983"/>
            </a:xfrm>
            <a:custGeom>
              <a:avLst/>
              <a:gdLst>
                <a:gd name="connsiteX0" fmla="*/ 6983 w 13839"/>
                <a:gd name="connsiteY0" fmla="*/ 6983 h 6983"/>
                <a:gd name="connsiteX1" fmla="*/ 0 w 13839"/>
                <a:gd name="connsiteY1" fmla="*/ 0 h 6983"/>
                <a:gd name="connsiteX2" fmla="*/ 0 w 13839"/>
                <a:gd name="connsiteY2" fmla="*/ 0 h 6983"/>
                <a:gd name="connsiteX3" fmla="*/ 6983 w 13839"/>
                <a:gd name="connsiteY3" fmla="*/ 6856 h 6983"/>
                <a:gd name="connsiteX4" fmla="*/ 13839 w 13839"/>
                <a:gd name="connsiteY4" fmla="*/ 0 h 6983"/>
                <a:gd name="connsiteX5" fmla="*/ 13839 w 13839"/>
                <a:gd name="connsiteY5" fmla="*/ 0 h 6983"/>
                <a:gd name="connsiteX6" fmla="*/ 6983 w 13839"/>
                <a:gd name="connsiteY6"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983">
                  <a:moveTo>
                    <a:pt x="6983" y="6983"/>
                  </a:moveTo>
                  <a:cubicBezTo>
                    <a:pt x="3123" y="6983"/>
                    <a:pt x="0" y="3860"/>
                    <a:pt x="0" y="0"/>
                  </a:cubicBezTo>
                  <a:lnTo>
                    <a:pt x="0" y="0"/>
                  </a:lnTo>
                  <a:cubicBezTo>
                    <a:pt x="64" y="3809"/>
                    <a:pt x="3174" y="6856"/>
                    <a:pt x="6983" y="6856"/>
                  </a:cubicBezTo>
                  <a:cubicBezTo>
                    <a:pt x="10767" y="6856"/>
                    <a:pt x="13839" y="3784"/>
                    <a:pt x="13839" y="0"/>
                  </a:cubicBezTo>
                  <a:lnTo>
                    <a:pt x="13839" y="0"/>
                  </a:lnTo>
                  <a:cubicBezTo>
                    <a:pt x="13839" y="3809"/>
                    <a:pt x="10792" y="6920"/>
                    <a:pt x="6983" y="6983"/>
                  </a:cubicBezTo>
                  <a:close/>
                </a:path>
              </a:pathLst>
            </a:custGeom>
            <a:solidFill>
              <a:srgbClr val="000000"/>
            </a:solidFill>
            <a:ln w="12690"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1FC4B114-7EF6-492D-AC8F-D753C37F8A8D}"/>
                </a:ext>
              </a:extLst>
            </p:cNvPr>
            <p:cNvSpPr/>
            <p:nvPr/>
          </p:nvSpPr>
          <p:spPr>
            <a:xfrm>
              <a:off x="4510372" y="6438664"/>
              <a:ext cx="13839" cy="14855"/>
            </a:xfrm>
            <a:custGeom>
              <a:avLst/>
              <a:gdLst>
                <a:gd name="connsiteX0" fmla="*/ 11046 w 13839"/>
                <a:gd name="connsiteY0" fmla="*/ 1397 h 14855"/>
                <a:gd name="connsiteX1" fmla="*/ 6983 w 13839"/>
                <a:gd name="connsiteY1" fmla="*/ 0 h 14855"/>
                <a:gd name="connsiteX2" fmla="*/ 0 w 13839"/>
                <a:gd name="connsiteY2" fmla="*/ 6856 h 14855"/>
                <a:gd name="connsiteX3" fmla="*/ 0 w 13839"/>
                <a:gd name="connsiteY3" fmla="*/ 7872 h 14855"/>
                <a:gd name="connsiteX4" fmla="*/ 6983 w 13839"/>
                <a:gd name="connsiteY4" fmla="*/ 14855 h 14855"/>
                <a:gd name="connsiteX5" fmla="*/ 13839 w 13839"/>
                <a:gd name="connsiteY5" fmla="*/ 7872 h 14855"/>
                <a:gd name="connsiteX6" fmla="*/ 13839 w 13839"/>
                <a:gd name="connsiteY6" fmla="*/ 6856 h 14855"/>
                <a:gd name="connsiteX7" fmla="*/ 12443 w 13839"/>
                <a:gd name="connsiteY7" fmla="*/ 2920 h 1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14855">
                  <a:moveTo>
                    <a:pt x="11046" y="1397"/>
                  </a:moveTo>
                  <a:cubicBezTo>
                    <a:pt x="9853" y="546"/>
                    <a:pt x="8443" y="64"/>
                    <a:pt x="6983" y="0"/>
                  </a:cubicBezTo>
                  <a:cubicBezTo>
                    <a:pt x="3174" y="0"/>
                    <a:pt x="64" y="3047"/>
                    <a:pt x="0" y="6856"/>
                  </a:cubicBezTo>
                  <a:lnTo>
                    <a:pt x="0" y="7872"/>
                  </a:lnTo>
                  <a:cubicBezTo>
                    <a:pt x="0" y="11732"/>
                    <a:pt x="3123" y="14855"/>
                    <a:pt x="6983" y="14855"/>
                  </a:cubicBezTo>
                  <a:cubicBezTo>
                    <a:pt x="10792" y="14792"/>
                    <a:pt x="13839" y="11681"/>
                    <a:pt x="13839" y="7872"/>
                  </a:cubicBezTo>
                  <a:lnTo>
                    <a:pt x="13839" y="6856"/>
                  </a:lnTo>
                  <a:cubicBezTo>
                    <a:pt x="13827" y="5422"/>
                    <a:pt x="13332" y="4037"/>
                    <a:pt x="12443" y="2920"/>
                  </a:cubicBezTo>
                  <a:close/>
                </a:path>
              </a:pathLst>
            </a:custGeom>
            <a:solidFill>
              <a:srgbClr val="000000"/>
            </a:solidFill>
            <a:ln w="12690"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06027BD9-8C3A-4E39-80E3-A551421D58D0}"/>
                </a:ext>
              </a:extLst>
            </p:cNvPr>
            <p:cNvSpPr/>
            <p:nvPr/>
          </p:nvSpPr>
          <p:spPr>
            <a:xfrm>
              <a:off x="4805571" y="6123023"/>
              <a:ext cx="1142" cy="3555"/>
            </a:xfrm>
            <a:custGeom>
              <a:avLst/>
              <a:gdLst>
                <a:gd name="connsiteX0" fmla="*/ 0 w 1142"/>
                <a:gd name="connsiteY0" fmla="*/ 3555 h 3555"/>
                <a:gd name="connsiteX1" fmla="*/ 1143 w 1142"/>
                <a:gd name="connsiteY1" fmla="*/ 3555 h 3555"/>
                <a:gd name="connsiteX2" fmla="*/ 1143 w 1142"/>
                <a:gd name="connsiteY2" fmla="*/ 0 h 3555"/>
                <a:gd name="connsiteX3" fmla="*/ 0 w 1142"/>
                <a:gd name="connsiteY3" fmla="*/ 3555 h 3555"/>
              </a:gdLst>
              <a:ahLst/>
              <a:cxnLst>
                <a:cxn ang="0">
                  <a:pos x="connsiteX0" y="connsiteY0"/>
                </a:cxn>
                <a:cxn ang="0">
                  <a:pos x="connsiteX1" y="connsiteY1"/>
                </a:cxn>
                <a:cxn ang="0">
                  <a:pos x="connsiteX2" y="connsiteY2"/>
                </a:cxn>
                <a:cxn ang="0">
                  <a:pos x="connsiteX3" y="connsiteY3"/>
                </a:cxn>
              </a:cxnLst>
              <a:rect l="l" t="t" r="r" b="b"/>
              <a:pathLst>
                <a:path w="1142" h="3555">
                  <a:moveTo>
                    <a:pt x="0" y="3555"/>
                  </a:moveTo>
                  <a:lnTo>
                    <a:pt x="1143" y="3555"/>
                  </a:lnTo>
                  <a:lnTo>
                    <a:pt x="1143" y="0"/>
                  </a:lnTo>
                  <a:cubicBezTo>
                    <a:pt x="1117" y="1270"/>
                    <a:pt x="711" y="2501"/>
                    <a:pt x="0" y="3555"/>
                  </a:cubicBezTo>
                  <a:close/>
                </a:path>
              </a:pathLst>
            </a:custGeom>
            <a:solidFill>
              <a:srgbClr val="000000"/>
            </a:solidFill>
            <a:ln w="12690"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DAFD7F58-383F-4342-BE30-95B6BB56661A}"/>
                </a:ext>
              </a:extLst>
            </p:cNvPr>
            <p:cNvSpPr/>
            <p:nvPr/>
          </p:nvSpPr>
          <p:spPr>
            <a:xfrm>
              <a:off x="4792874" y="6123023"/>
              <a:ext cx="1269" cy="3555"/>
            </a:xfrm>
            <a:custGeom>
              <a:avLst/>
              <a:gdLst>
                <a:gd name="connsiteX0" fmla="*/ 1270 w 1269"/>
                <a:gd name="connsiteY0" fmla="*/ 3555 h 3555"/>
                <a:gd name="connsiteX1" fmla="*/ 0 w 1269"/>
                <a:gd name="connsiteY1" fmla="*/ 0 h 3555"/>
                <a:gd name="connsiteX2" fmla="*/ 0 w 1269"/>
                <a:gd name="connsiteY2" fmla="*/ 3555 h 3555"/>
              </a:gdLst>
              <a:ahLst/>
              <a:cxnLst>
                <a:cxn ang="0">
                  <a:pos x="connsiteX0" y="connsiteY0"/>
                </a:cxn>
                <a:cxn ang="0">
                  <a:pos x="connsiteX1" y="connsiteY1"/>
                </a:cxn>
                <a:cxn ang="0">
                  <a:pos x="connsiteX2" y="connsiteY2"/>
                </a:cxn>
              </a:cxnLst>
              <a:rect l="l" t="t" r="r" b="b"/>
              <a:pathLst>
                <a:path w="1269" h="3555">
                  <a:moveTo>
                    <a:pt x="1270" y="3555"/>
                  </a:moveTo>
                  <a:cubicBezTo>
                    <a:pt x="457" y="2552"/>
                    <a:pt x="13" y="1295"/>
                    <a:pt x="0" y="0"/>
                  </a:cubicBezTo>
                  <a:lnTo>
                    <a:pt x="0" y="3555"/>
                  </a:lnTo>
                  <a:close/>
                </a:path>
              </a:pathLst>
            </a:custGeom>
            <a:solidFill>
              <a:srgbClr val="000000"/>
            </a:solidFill>
            <a:ln w="12690"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A10E3DAD-3F70-4797-A418-3927F0CEE1F0}"/>
                </a:ext>
              </a:extLst>
            </p:cNvPr>
            <p:cNvSpPr/>
            <p:nvPr/>
          </p:nvSpPr>
          <p:spPr>
            <a:xfrm>
              <a:off x="4510372" y="5794431"/>
              <a:ext cx="13839" cy="204544"/>
            </a:xfrm>
            <a:custGeom>
              <a:avLst/>
              <a:gdLst>
                <a:gd name="connsiteX0" fmla="*/ 6983 w 13839"/>
                <a:gd name="connsiteY0" fmla="*/ 204545 h 204544"/>
                <a:gd name="connsiteX1" fmla="*/ 13839 w 13839"/>
                <a:gd name="connsiteY1" fmla="*/ 197688 h 204544"/>
                <a:gd name="connsiteX2" fmla="*/ 13839 w 13839"/>
                <a:gd name="connsiteY2" fmla="*/ 0 h 204544"/>
                <a:gd name="connsiteX3" fmla="*/ 6983 w 13839"/>
                <a:gd name="connsiteY3" fmla="*/ 6856 h 204544"/>
                <a:gd name="connsiteX4" fmla="*/ 0 w 13839"/>
                <a:gd name="connsiteY4" fmla="*/ 0 h 204544"/>
                <a:gd name="connsiteX5" fmla="*/ 0 w 13839"/>
                <a:gd name="connsiteY5" fmla="*/ 198069 h 204544"/>
                <a:gd name="connsiteX6" fmla="*/ 6983 w 13839"/>
                <a:gd name="connsiteY6"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204544">
                  <a:moveTo>
                    <a:pt x="6983" y="204545"/>
                  </a:moveTo>
                  <a:cubicBezTo>
                    <a:pt x="10767" y="204545"/>
                    <a:pt x="13839" y="201475"/>
                    <a:pt x="13839" y="197688"/>
                  </a:cubicBezTo>
                  <a:lnTo>
                    <a:pt x="13839" y="0"/>
                  </a:lnTo>
                  <a:cubicBezTo>
                    <a:pt x="13839" y="3786"/>
                    <a:pt x="10767" y="6856"/>
                    <a:pt x="6983" y="6856"/>
                  </a:cubicBezTo>
                  <a:cubicBezTo>
                    <a:pt x="3174" y="6856"/>
                    <a:pt x="64" y="3806"/>
                    <a:pt x="0" y="0"/>
                  </a:cubicBezTo>
                  <a:lnTo>
                    <a:pt x="0" y="198069"/>
                  </a:lnTo>
                  <a:cubicBezTo>
                    <a:pt x="267" y="201726"/>
                    <a:pt x="3314" y="204555"/>
                    <a:pt x="6983" y="204545"/>
                  </a:cubicBezTo>
                  <a:close/>
                </a:path>
              </a:pathLst>
            </a:custGeom>
            <a:solidFill>
              <a:srgbClr val="000000"/>
            </a:solidFill>
            <a:ln w="12690"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122C3DEA-E9CF-4735-B3AA-D6E51C7A6C94}"/>
                </a:ext>
              </a:extLst>
            </p:cNvPr>
            <p:cNvSpPr/>
            <p:nvPr/>
          </p:nvSpPr>
          <p:spPr>
            <a:xfrm>
              <a:off x="4933299" y="6122261"/>
              <a:ext cx="13585" cy="4316"/>
            </a:xfrm>
            <a:custGeom>
              <a:avLst/>
              <a:gdLst>
                <a:gd name="connsiteX0" fmla="*/ 0 w 13585"/>
                <a:gd name="connsiteY0" fmla="*/ 4317 h 4316"/>
                <a:gd name="connsiteX1" fmla="*/ 7110 w 13585"/>
                <a:gd name="connsiteY1" fmla="*/ 4317 h 4316"/>
                <a:gd name="connsiteX2" fmla="*/ 13586 w 13585"/>
                <a:gd name="connsiteY2" fmla="*/ 0 h 4316"/>
                <a:gd name="connsiteX3" fmla="*/ 6475 w 13585"/>
                <a:gd name="connsiteY3" fmla="*/ 0 h 4316"/>
                <a:gd name="connsiteX4" fmla="*/ 0 w 13585"/>
                <a:gd name="connsiteY4" fmla="*/ 4317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5" h="4316">
                  <a:moveTo>
                    <a:pt x="0" y="4317"/>
                  </a:moveTo>
                  <a:lnTo>
                    <a:pt x="7110" y="4317"/>
                  </a:lnTo>
                  <a:cubicBezTo>
                    <a:pt x="8190" y="1701"/>
                    <a:pt x="10754" y="-13"/>
                    <a:pt x="13586" y="0"/>
                  </a:cubicBezTo>
                  <a:lnTo>
                    <a:pt x="6475" y="0"/>
                  </a:lnTo>
                  <a:cubicBezTo>
                    <a:pt x="3644" y="-13"/>
                    <a:pt x="1079" y="1701"/>
                    <a:pt x="0" y="4317"/>
                  </a:cubicBezTo>
                  <a:close/>
                </a:path>
              </a:pathLst>
            </a:custGeom>
            <a:solidFill>
              <a:srgbClr val="000000"/>
            </a:solidFill>
            <a:ln w="12690"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C13D8CE1-77E7-4898-A835-4F9F9A1FF767}"/>
                </a:ext>
              </a:extLst>
            </p:cNvPr>
            <p:cNvSpPr/>
            <p:nvPr/>
          </p:nvSpPr>
          <p:spPr>
            <a:xfrm>
              <a:off x="4940409" y="6122261"/>
              <a:ext cx="71355" cy="4317"/>
            </a:xfrm>
            <a:custGeom>
              <a:avLst/>
              <a:gdLst>
                <a:gd name="connsiteX0" fmla="*/ 0 w 71355"/>
                <a:gd name="connsiteY0" fmla="*/ 4317 h 4317"/>
                <a:gd name="connsiteX1" fmla="*/ 71356 w 71355"/>
                <a:gd name="connsiteY1" fmla="*/ 4317 h 4317"/>
                <a:gd name="connsiteX2" fmla="*/ 65007 w 71355"/>
                <a:gd name="connsiteY2" fmla="*/ 0 h 4317"/>
                <a:gd name="connsiteX3" fmla="*/ 6475 w 71355"/>
                <a:gd name="connsiteY3" fmla="*/ 0 h 4317"/>
                <a:gd name="connsiteX4" fmla="*/ 0 w 71355"/>
                <a:gd name="connsiteY4" fmla="*/ 4317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317">
                  <a:moveTo>
                    <a:pt x="0" y="4317"/>
                  </a:moveTo>
                  <a:lnTo>
                    <a:pt x="71356" y="4317"/>
                  </a:lnTo>
                  <a:cubicBezTo>
                    <a:pt x="70353" y="1689"/>
                    <a:pt x="67813" y="-25"/>
                    <a:pt x="65007" y="0"/>
                  </a:cubicBezTo>
                  <a:lnTo>
                    <a:pt x="6475" y="0"/>
                  </a:lnTo>
                  <a:cubicBezTo>
                    <a:pt x="3644" y="-12"/>
                    <a:pt x="1079" y="1702"/>
                    <a:pt x="0" y="4317"/>
                  </a:cubicBezTo>
                  <a:close/>
                </a:path>
              </a:pathLst>
            </a:custGeom>
            <a:solidFill>
              <a:srgbClr val="000000"/>
            </a:solidFill>
            <a:ln w="12690"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130104F7-B540-4B9E-8515-1EA8374CBF60}"/>
                </a:ext>
              </a:extLst>
            </p:cNvPr>
            <p:cNvSpPr/>
            <p:nvPr/>
          </p:nvSpPr>
          <p:spPr>
            <a:xfrm>
              <a:off x="4932792" y="5787575"/>
              <a:ext cx="14093" cy="13712"/>
            </a:xfrm>
            <a:custGeom>
              <a:avLst/>
              <a:gdLst>
                <a:gd name="connsiteX0" fmla="*/ 0 w 14093"/>
                <a:gd name="connsiteY0" fmla="*/ 6856 h 13712"/>
                <a:gd name="connsiteX1" fmla="*/ 6983 w 14093"/>
                <a:gd name="connsiteY1" fmla="*/ 13713 h 13712"/>
                <a:gd name="connsiteX2" fmla="*/ 14093 w 14093"/>
                <a:gd name="connsiteY2" fmla="*/ 13713 h 13712"/>
                <a:gd name="connsiteX3" fmla="*/ 7237 w 14093"/>
                <a:gd name="connsiteY3" fmla="*/ 6856 h 13712"/>
                <a:gd name="connsiteX4" fmla="*/ 14093 w 14093"/>
                <a:gd name="connsiteY4" fmla="*/ 0 h 13712"/>
                <a:gd name="connsiteX5" fmla="*/ 6983 w 14093"/>
                <a:gd name="connsiteY5" fmla="*/ 0 h 13712"/>
                <a:gd name="connsiteX6" fmla="*/ 0 w 14093"/>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3" h="13712">
                  <a:moveTo>
                    <a:pt x="0" y="6856"/>
                  </a:moveTo>
                  <a:cubicBezTo>
                    <a:pt x="64" y="10663"/>
                    <a:pt x="3174" y="13713"/>
                    <a:pt x="6983" y="13713"/>
                  </a:cubicBezTo>
                  <a:lnTo>
                    <a:pt x="14093" y="13713"/>
                  </a:lnTo>
                  <a:cubicBezTo>
                    <a:pt x="10309" y="13713"/>
                    <a:pt x="7237" y="10642"/>
                    <a:pt x="7237" y="6856"/>
                  </a:cubicBezTo>
                  <a:cubicBezTo>
                    <a:pt x="7237" y="3070"/>
                    <a:pt x="10309" y="0"/>
                    <a:pt x="14093" y="0"/>
                  </a:cubicBezTo>
                  <a:lnTo>
                    <a:pt x="6983" y="0"/>
                  </a:lnTo>
                  <a:cubicBezTo>
                    <a:pt x="3174" y="0"/>
                    <a:pt x="64" y="3050"/>
                    <a:pt x="0" y="6856"/>
                  </a:cubicBezTo>
                  <a:close/>
                </a:path>
              </a:pathLst>
            </a:custGeom>
            <a:solidFill>
              <a:srgbClr val="000000"/>
            </a:solidFill>
            <a:ln w="12690"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C59D98A5-ACA1-4C07-803F-F9539C5220D3}"/>
                </a:ext>
              </a:extLst>
            </p:cNvPr>
            <p:cNvSpPr/>
            <p:nvPr/>
          </p:nvSpPr>
          <p:spPr>
            <a:xfrm>
              <a:off x="4939902" y="5788463"/>
              <a:ext cx="47866" cy="12824"/>
            </a:xfrm>
            <a:custGeom>
              <a:avLst/>
              <a:gdLst>
                <a:gd name="connsiteX0" fmla="*/ 0 w 47866"/>
                <a:gd name="connsiteY0" fmla="*/ 5968 h 12824"/>
                <a:gd name="connsiteX1" fmla="*/ 6983 w 47866"/>
                <a:gd name="connsiteY1" fmla="*/ 12824 h 12824"/>
                <a:gd name="connsiteX2" fmla="*/ 40883 w 47866"/>
                <a:gd name="connsiteY2" fmla="*/ 12824 h 12824"/>
                <a:gd name="connsiteX3" fmla="*/ 47866 w 47866"/>
                <a:gd name="connsiteY3" fmla="*/ 5968 h 12824"/>
                <a:gd name="connsiteX4" fmla="*/ 46216 w 47866"/>
                <a:gd name="connsiteY4" fmla="*/ 1778 h 12824"/>
                <a:gd name="connsiteX5" fmla="*/ 45327 w 47866"/>
                <a:gd name="connsiteY5" fmla="*/ 762 h 12824"/>
                <a:gd name="connsiteX6" fmla="*/ 44184 w 47866"/>
                <a:gd name="connsiteY6" fmla="*/ 0 h 12824"/>
                <a:gd name="connsiteX7" fmla="*/ 43042 w 47866"/>
                <a:gd name="connsiteY7" fmla="*/ 0 h 12824"/>
                <a:gd name="connsiteX8" fmla="*/ 41645 w 47866"/>
                <a:gd name="connsiteY8" fmla="*/ 0 h 12824"/>
                <a:gd name="connsiteX9" fmla="*/ 6983 w 47866"/>
                <a:gd name="connsiteY9" fmla="*/ 0 h 12824"/>
                <a:gd name="connsiteX10" fmla="*/ 0 w 47866"/>
                <a:gd name="connsiteY10" fmla="*/ 5968 h 1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66" h="12824">
                  <a:moveTo>
                    <a:pt x="0" y="5968"/>
                  </a:moveTo>
                  <a:cubicBezTo>
                    <a:pt x="64" y="9774"/>
                    <a:pt x="3174" y="12824"/>
                    <a:pt x="6983" y="12824"/>
                  </a:cubicBezTo>
                  <a:lnTo>
                    <a:pt x="40883" y="12824"/>
                  </a:lnTo>
                  <a:cubicBezTo>
                    <a:pt x="44692" y="12824"/>
                    <a:pt x="47803" y="9774"/>
                    <a:pt x="47866" y="5968"/>
                  </a:cubicBezTo>
                  <a:cubicBezTo>
                    <a:pt x="47854" y="4414"/>
                    <a:pt x="47270" y="2919"/>
                    <a:pt x="46216" y="1778"/>
                  </a:cubicBezTo>
                  <a:cubicBezTo>
                    <a:pt x="45987" y="1384"/>
                    <a:pt x="45683" y="1039"/>
                    <a:pt x="45327" y="762"/>
                  </a:cubicBezTo>
                  <a:lnTo>
                    <a:pt x="44184" y="0"/>
                  </a:lnTo>
                  <a:lnTo>
                    <a:pt x="43042" y="0"/>
                  </a:lnTo>
                  <a:lnTo>
                    <a:pt x="41645" y="0"/>
                  </a:lnTo>
                  <a:lnTo>
                    <a:pt x="6983" y="0"/>
                  </a:lnTo>
                  <a:cubicBezTo>
                    <a:pt x="3492" y="-36"/>
                    <a:pt x="508" y="2512"/>
                    <a:pt x="0" y="5968"/>
                  </a:cubicBezTo>
                  <a:close/>
                </a:path>
              </a:pathLst>
            </a:custGeom>
            <a:solidFill>
              <a:srgbClr val="000000"/>
            </a:solidFill>
            <a:ln w="12690"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450EC1BB-9674-490E-AF82-8392D01E6C69}"/>
                </a:ext>
              </a:extLst>
            </p:cNvPr>
            <p:cNvSpPr/>
            <p:nvPr/>
          </p:nvSpPr>
          <p:spPr>
            <a:xfrm>
              <a:off x="6055052" y="6511671"/>
              <a:ext cx="13839" cy="6983"/>
            </a:xfrm>
            <a:custGeom>
              <a:avLst/>
              <a:gdLst>
                <a:gd name="connsiteX0" fmla="*/ 6983 w 13839"/>
                <a:gd name="connsiteY0" fmla="*/ 6983 h 6983"/>
                <a:gd name="connsiteX1" fmla="*/ 13839 w 13839"/>
                <a:gd name="connsiteY1" fmla="*/ 0 h 6983"/>
                <a:gd name="connsiteX2" fmla="*/ 13839 w 13839"/>
                <a:gd name="connsiteY2" fmla="*/ 0 h 6983"/>
                <a:gd name="connsiteX3" fmla="*/ 6983 w 13839"/>
                <a:gd name="connsiteY3" fmla="*/ 6983 h 6983"/>
                <a:gd name="connsiteX4" fmla="*/ 0 w 13839"/>
                <a:gd name="connsiteY4" fmla="*/ 0 h 6983"/>
                <a:gd name="connsiteX5" fmla="*/ 0 w 13839"/>
                <a:gd name="connsiteY5" fmla="*/ 0 h 6983"/>
                <a:gd name="connsiteX6" fmla="*/ 0 w 13839"/>
                <a:gd name="connsiteY6" fmla="*/ 0 h 6983"/>
                <a:gd name="connsiteX7" fmla="*/ 6983 w 13839"/>
                <a:gd name="connsiteY7"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6983">
                  <a:moveTo>
                    <a:pt x="6983" y="6983"/>
                  </a:moveTo>
                  <a:cubicBezTo>
                    <a:pt x="10792" y="6920"/>
                    <a:pt x="13839" y="3809"/>
                    <a:pt x="13839" y="0"/>
                  </a:cubicBezTo>
                  <a:lnTo>
                    <a:pt x="13839" y="0"/>
                  </a:lnTo>
                  <a:cubicBezTo>
                    <a:pt x="13839" y="3809"/>
                    <a:pt x="10792" y="6920"/>
                    <a:pt x="6983" y="6983"/>
                  </a:cubicBezTo>
                  <a:cubicBezTo>
                    <a:pt x="3123" y="6983"/>
                    <a:pt x="0" y="3860"/>
                    <a:pt x="0" y="0"/>
                  </a:cubicBezTo>
                  <a:lnTo>
                    <a:pt x="0" y="0"/>
                  </a:lnTo>
                  <a:lnTo>
                    <a:pt x="0" y="0"/>
                  </a:lnTo>
                  <a:cubicBezTo>
                    <a:pt x="0" y="3860"/>
                    <a:pt x="3123" y="6983"/>
                    <a:pt x="6983" y="6983"/>
                  </a:cubicBezTo>
                  <a:close/>
                </a:path>
              </a:pathLst>
            </a:custGeom>
            <a:solidFill>
              <a:srgbClr val="000000"/>
            </a:solidFill>
            <a:ln w="12690"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FADF4E12-23FE-4676-87F3-A5FFD47EAB8A}"/>
                </a:ext>
              </a:extLst>
            </p:cNvPr>
            <p:cNvSpPr/>
            <p:nvPr/>
          </p:nvSpPr>
          <p:spPr>
            <a:xfrm>
              <a:off x="4769385" y="6249356"/>
              <a:ext cx="13839" cy="204544"/>
            </a:xfrm>
            <a:custGeom>
              <a:avLst/>
              <a:gdLst>
                <a:gd name="connsiteX0" fmla="*/ 6983 w 13839"/>
                <a:gd name="connsiteY0" fmla="*/ 6856 h 204544"/>
                <a:gd name="connsiteX1" fmla="*/ 0 w 13839"/>
                <a:gd name="connsiteY1" fmla="*/ 0 h 204544"/>
                <a:gd name="connsiteX2" fmla="*/ 0 w 13839"/>
                <a:gd name="connsiteY2" fmla="*/ 0 h 204544"/>
                <a:gd name="connsiteX3" fmla="*/ 0 w 13839"/>
                <a:gd name="connsiteY3" fmla="*/ 197688 h 204544"/>
                <a:gd name="connsiteX4" fmla="*/ 6983 w 13839"/>
                <a:gd name="connsiteY4" fmla="*/ 204545 h 204544"/>
                <a:gd name="connsiteX5" fmla="*/ 13839 w 13839"/>
                <a:gd name="connsiteY5" fmla="*/ 197688 h 204544"/>
                <a:gd name="connsiteX6" fmla="*/ 13839 w 13839"/>
                <a:gd name="connsiteY6" fmla="*/ 0 h 204544"/>
                <a:gd name="connsiteX7" fmla="*/ 6983 w 13839"/>
                <a:gd name="connsiteY7" fmla="*/ 6856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04544">
                  <a:moveTo>
                    <a:pt x="6983" y="6856"/>
                  </a:moveTo>
                  <a:cubicBezTo>
                    <a:pt x="3174" y="6856"/>
                    <a:pt x="63" y="3809"/>
                    <a:pt x="0" y="0"/>
                  </a:cubicBezTo>
                  <a:lnTo>
                    <a:pt x="0" y="0"/>
                  </a:lnTo>
                  <a:lnTo>
                    <a:pt x="0" y="197688"/>
                  </a:lnTo>
                  <a:cubicBezTo>
                    <a:pt x="63" y="201497"/>
                    <a:pt x="3174" y="204545"/>
                    <a:pt x="6983" y="204545"/>
                  </a:cubicBezTo>
                  <a:cubicBezTo>
                    <a:pt x="10767" y="204545"/>
                    <a:pt x="13839" y="201472"/>
                    <a:pt x="13839" y="197688"/>
                  </a:cubicBezTo>
                  <a:lnTo>
                    <a:pt x="13839" y="0"/>
                  </a:lnTo>
                  <a:cubicBezTo>
                    <a:pt x="13839" y="3784"/>
                    <a:pt x="10767" y="6856"/>
                    <a:pt x="6983" y="6856"/>
                  </a:cubicBezTo>
                  <a:close/>
                </a:path>
              </a:pathLst>
            </a:custGeom>
            <a:solidFill>
              <a:srgbClr val="000000"/>
            </a:solidFill>
            <a:ln w="12690"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63070785-AAD9-4C7A-8C0A-3C7F591AAEA8}"/>
                </a:ext>
              </a:extLst>
            </p:cNvPr>
            <p:cNvSpPr/>
            <p:nvPr/>
          </p:nvSpPr>
          <p:spPr>
            <a:xfrm>
              <a:off x="4769385" y="6241230"/>
              <a:ext cx="13840" cy="14982"/>
            </a:xfrm>
            <a:custGeom>
              <a:avLst/>
              <a:gdLst>
                <a:gd name="connsiteX0" fmla="*/ 0 w 13840"/>
                <a:gd name="connsiteY0" fmla="*/ 6983 h 14982"/>
                <a:gd name="connsiteX1" fmla="*/ 0 w 13840"/>
                <a:gd name="connsiteY1" fmla="*/ 8126 h 14982"/>
                <a:gd name="connsiteX2" fmla="*/ 6983 w 13840"/>
                <a:gd name="connsiteY2" fmla="*/ 14982 h 14982"/>
                <a:gd name="connsiteX3" fmla="*/ 13839 w 13840"/>
                <a:gd name="connsiteY3" fmla="*/ 8126 h 14982"/>
                <a:gd name="connsiteX4" fmla="*/ 13839 w 13840"/>
                <a:gd name="connsiteY4" fmla="*/ 6983 h 14982"/>
                <a:gd name="connsiteX5" fmla="*/ 7110 w 13840"/>
                <a:gd name="connsiteY5" fmla="*/ 0 h 14982"/>
                <a:gd name="connsiteX6" fmla="*/ 6983 w 13840"/>
                <a:gd name="connsiteY6" fmla="*/ 0 h 14982"/>
                <a:gd name="connsiteX7" fmla="*/ 254 w 13840"/>
                <a:gd name="connsiteY7" fmla="*/ 5714 h 14982"/>
                <a:gd name="connsiteX8" fmla="*/ 0 w 13840"/>
                <a:gd name="connsiteY8" fmla="*/ 6983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40" h="14982">
                  <a:moveTo>
                    <a:pt x="0" y="6983"/>
                  </a:moveTo>
                  <a:lnTo>
                    <a:pt x="0" y="8126"/>
                  </a:lnTo>
                  <a:cubicBezTo>
                    <a:pt x="63" y="11935"/>
                    <a:pt x="3174" y="14982"/>
                    <a:pt x="6983" y="14982"/>
                  </a:cubicBezTo>
                  <a:cubicBezTo>
                    <a:pt x="10767" y="14982"/>
                    <a:pt x="13839" y="11910"/>
                    <a:pt x="13839" y="8126"/>
                  </a:cubicBezTo>
                  <a:lnTo>
                    <a:pt x="13839" y="6983"/>
                  </a:lnTo>
                  <a:cubicBezTo>
                    <a:pt x="13915" y="3200"/>
                    <a:pt x="10893" y="76"/>
                    <a:pt x="7110" y="0"/>
                  </a:cubicBezTo>
                  <a:cubicBezTo>
                    <a:pt x="7072" y="0"/>
                    <a:pt x="7021" y="0"/>
                    <a:pt x="6983" y="0"/>
                  </a:cubicBezTo>
                  <a:cubicBezTo>
                    <a:pt x="3669" y="64"/>
                    <a:pt x="851" y="2450"/>
                    <a:pt x="254" y="5714"/>
                  </a:cubicBezTo>
                  <a:cubicBezTo>
                    <a:pt x="254" y="5714"/>
                    <a:pt x="0" y="6475"/>
                    <a:pt x="0" y="6983"/>
                  </a:cubicBezTo>
                  <a:close/>
                </a:path>
              </a:pathLst>
            </a:custGeom>
            <a:solidFill>
              <a:srgbClr val="000000"/>
            </a:solidFill>
            <a:ln w="12690"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5A6F75DC-D011-44AE-9179-192F84C8DD6C}"/>
                </a:ext>
              </a:extLst>
            </p:cNvPr>
            <p:cNvSpPr/>
            <p:nvPr/>
          </p:nvSpPr>
          <p:spPr>
            <a:xfrm>
              <a:off x="5215039" y="6439680"/>
              <a:ext cx="320718" cy="13850"/>
            </a:xfrm>
            <a:custGeom>
              <a:avLst/>
              <a:gdLst>
                <a:gd name="connsiteX0" fmla="*/ 313355 w 320718"/>
                <a:gd name="connsiteY0" fmla="*/ 6856 h 13850"/>
                <a:gd name="connsiteX1" fmla="*/ 320211 w 320718"/>
                <a:gd name="connsiteY1" fmla="*/ 0 h 13850"/>
                <a:gd name="connsiteX2" fmla="*/ 6856 w 320718"/>
                <a:gd name="connsiteY2" fmla="*/ 0 h 13850"/>
                <a:gd name="connsiteX3" fmla="*/ 0 w 320718"/>
                <a:gd name="connsiteY3" fmla="*/ 6856 h 13850"/>
                <a:gd name="connsiteX4" fmla="*/ 6856 w 320718"/>
                <a:gd name="connsiteY4" fmla="*/ 13839 h 13850"/>
                <a:gd name="connsiteX5" fmla="*/ 320719 w 320718"/>
                <a:gd name="connsiteY5" fmla="*/ 13839 h 13850"/>
                <a:gd name="connsiteX6" fmla="*/ 313367 w 320718"/>
                <a:gd name="connsiteY6" fmla="*/ 7250 h 13850"/>
                <a:gd name="connsiteX7" fmla="*/ 313355 w 320718"/>
                <a:gd name="connsiteY7" fmla="*/ 6856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718" h="13850">
                  <a:moveTo>
                    <a:pt x="313355" y="6856"/>
                  </a:moveTo>
                  <a:cubicBezTo>
                    <a:pt x="313355" y="3073"/>
                    <a:pt x="316427" y="0"/>
                    <a:pt x="320211" y="0"/>
                  </a:cubicBezTo>
                  <a:lnTo>
                    <a:pt x="6856" y="0"/>
                  </a:lnTo>
                  <a:cubicBezTo>
                    <a:pt x="3073" y="0"/>
                    <a:pt x="0" y="3073"/>
                    <a:pt x="0" y="6856"/>
                  </a:cubicBezTo>
                  <a:cubicBezTo>
                    <a:pt x="0" y="10665"/>
                    <a:pt x="3047" y="13776"/>
                    <a:pt x="6856" y="13839"/>
                  </a:cubicBezTo>
                  <a:lnTo>
                    <a:pt x="320719" y="13839"/>
                  </a:lnTo>
                  <a:cubicBezTo>
                    <a:pt x="316871" y="14055"/>
                    <a:pt x="313571" y="11097"/>
                    <a:pt x="313367" y="7250"/>
                  </a:cubicBezTo>
                  <a:cubicBezTo>
                    <a:pt x="313355" y="7123"/>
                    <a:pt x="313355" y="6983"/>
                    <a:pt x="313355" y="6856"/>
                  </a:cubicBezTo>
                  <a:close/>
                </a:path>
              </a:pathLst>
            </a:custGeom>
            <a:solidFill>
              <a:srgbClr val="000000"/>
            </a:solidFill>
            <a:ln w="12690"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8617262E-9933-434E-B4C1-6E84F378AB20}"/>
                </a:ext>
              </a:extLst>
            </p:cNvPr>
            <p:cNvSpPr/>
            <p:nvPr/>
          </p:nvSpPr>
          <p:spPr>
            <a:xfrm>
              <a:off x="5528901" y="6439680"/>
              <a:ext cx="10665" cy="13850"/>
            </a:xfrm>
            <a:custGeom>
              <a:avLst/>
              <a:gdLst>
                <a:gd name="connsiteX0" fmla="*/ 3301 w 10665"/>
                <a:gd name="connsiteY0" fmla="*/ 6856 h 13850"/>
                <a:gd name="connsiteX1" fmla="*/ 10158 w 10665"/>
                <a:gd name="connsiteY1" fmla="*/ 0 h 13850"/>
                <a:gd name="connsiteX2" fmla="*/ 6856 w 10665"/>
                <a:gd name="connsiteY2" fmla="*/ 0 h 13850"/>
                <a:gd name="connsiteX3" fmla="*/ 0 w 10665"/>
                <a:gd name="connsiteY3" fmla="*/ 6856 h 13850"/>
                <a:gd name="connsiteX4" fmla="*/ 6856 w 10665"/>
                <a:gd name="connsiteY4" fmla="*/ 13839 h 13850"/>
                <a:gd name="connsiteX5" fmla="*/ 10665 w 10665"/>
                <a:gd name="connsiteY5" fmla="*/ 13839 h 13850"/>
                <a:gd name="connsiteX6" fmla="*/ 3314 w 10665"/>
                <a:gd name="connsiteY6" fmla="*/ 7250 h 13850"/>
                <a:gd name="connsiteX7" fmla="*/ 3301 w 10665"/>
                <a:gd name="connsiteY7" fmla="*/ 6856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5" h="13850">
                  <a:moveTo>
                    <a:pt x="3301" y="6856"/>
                  </a:moveTo>
                  <a:cubicBezTo>
                    <a:pt x="3301" y="3073"/>
                    <a:pt x="6374" y="0"/>
                    <a:pt x="10158" y="0"/>
                  </a:cubicBezTo>
                  <a:lnTo>
                    <a:pt x="6856" y="0"/>
                  </a:lnTo>
                  <a:cubicBezTo>
                    <a:pt x="3073" y="0"/>
                    <a:pt x="0" y="3073"/>
                    <a:pt x="0" y="6856"/>
                  </a:cubicBezTo>
                  <a:cubicBezTo>
                    <a:pt x="0" y="10665"/>
                    <a:pt x="3047" y="13776"/>
                    <a:pt x="6856" y="13839"/>
                  </a:cubicBezTo>
                  <a:lnTo>
                    <a:pt x="10665" y="13839"/>
                  </a:lnTo>
                  <a:cubicBezTo>
                    <a:pt x="6818" y="14055"/>
                    <a:pt x="3517" y="11097"/>
                    <a:pt x="3314" y="7250"/>
                  </a:cubicBezTo>
                  <a:cubicBezTo>
                    <a:pt x="3301" y="7123"/>
                    <a:pt x="3301" y="6983"/>
                    <a:pt x="3301" y="6856"/>
                  </a:cubicBezTo>
                  <a:close/>
                </a:path>
              </a:pathLst>
            </a:custGeom>
            <a:solidFill>
              <a:srgbClr val="000000"/>
            </a:solidFill>
            <a:ln w="12690"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EACE6645-9EED-44E2-847B-E9B965A2662B}"/>
                </a:ext>
              </a:extLst>
            </p:cNvPr>
            <p:cNvSpPr/>
            <p:nvPr/>
          </p:nvSpPr>
          <p:spPr>
            <a:xfrm>
              <a:off x="5532202" y="6439680"/>
              <a:ext cx="201242" cy="13844"/>
            </a:xfrm>
            <a:custGeom>
              <a:avLst/>
              <a:gdLst>
                <a:gd name="connsiteX0" fmla="*/ 194005 w 201242"/>
                <a:gd name="connsiteY0" fmla="*/ 6856 h 13844"/>
                <a:gd name="connsiteX1" fmla="*/ 200988 w 201242"/>
                <a:gd name="connsiteY1" fmla="*/ 0 h 13844"/>
                <a:gd name="connsiteX2" fmla="*/ 6856 w 201242"/>
                <a:gd name="connsiteY2" fmla="*/ 0 h 13844"/>
                <a:gd name="connsiteX3" fmla="*/ 0 w 201242"/>
                <a:gd name="connsiteY3" fmla="*/ 6856 h 13844"/>
                <a:gd name="connsiteX4" fmla="*/ 6856 w 201242"/>
                <a:gd name="connsiteY4" fmla="*/ 13839 h 13844"/>
                <a:gd name="connsiteX5" fmla="*/ 201243 w 201242"/>
                <a:gd name="connsiteY5" fmla="*/ 13839 h 13844"/>
                <a:gd name="connsiteX6" fmla="*/ 194005 w 201242"/>
                <a:gd name="connsiteY6" fmla="*/ 7110 h 13844"/>
                <a:gd name="connsiteX7" fmla="*/ 194005 w 201242"/>
                <a:gd name="connsiteY7" fmla="*/ 6856 h 1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242" h="13844">
                  <a:moveTo>
                    <a:pt x="194005" y="6856"/>
                  </a:moveTo>
                  <a:cubicBezTo>
                    <a:pt x="194069" y="3047"/>
                    <a:pt x="197180" y="0"/>
                    <a:pt x="200988" y="0"/>
                  </a:cubicBezTo>
                  <a:lnTo>
                    <a:pt x="6856" y="0"/>
                  </a:lnTo>
                  <a:cubicBezTo>
                    <a:pt x="3073" y="0"/>
                    <a:pt x="0" y="3073"/>
                    <a:pt x="0" y="6856"/>
                  </a:cubicBezTo>
                  <a:cubicBezTo>
                    <a:pt x="0" y="10665"/>
                    <a:pt x="3047" y="13776"/>
                    <a:pt x="6856" y="13839"/>
                  </a:cubicBezTo>
                  <a:lnTo>
                    <a:pt x="201243" y="13839"/>
                  </a:lnTo>
                  <a:cubicBezTo>
                    <a:pt x="197383" y="13979"/>
                    <a:pt x="194145" y="10970"/>
                    <a:pt x="194005" y="7110"/>
                  </a:cubicBezTo>
                  <a:cubicBezTo>
                    <a:pt x="194005" y="7034"/>
                    <a:pt x="194005" y="6945"/>
                    <a:pt x="194005" y="6856"/>
                  </a:cubicBezTo>
                  <a:close/>
                </a:path>
              </a:pathLst>
            </a:custGeom>
            <a:solidFill>
              <a:srgbClr val="000000"/>
            </a:solidFill>
            <a:ln w="12690"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BBFE2943-69CA-4DA1-A091-2BA7B6F346BD}"/>
                </a:ext>
              </a:extLst>
            </p:cNvPr>
            <p:cNvSpPr/>
            <p:nvPr/>
          </p:nvSpPr>
          <p:spPr>
            <a:xfrm>
              <a:off x="5726462" y="6439680"/>
              <a:ext cx="98527" cy="13839"/>
            </a:xfrm>
            <a:custGeom>
              <a:avLst/>
              <a:gdLst>
                <a:gd name="connsiteX0" fmla="*/ 95479 w 98527"/>
                <a:gd name="connsiteY0" fmla="*/ 12443 h 13839"/>
                <a:gd name="connsiteX1" fmla="*/ 98526 w 98527"/>
                <a:gd name="connsiteY1" fmla="*/ 6856 h 13839"/>
                <a:gd name="connsiteX2" fmla="*/ 96495 w 98527"/>
                <a:gd name="connsiteY2" fmla="*/ 2032 h 13839"/>
                <a:gd name="connsiteX3" fmla="*/ 91924 w 98527"/>
                <a:gd name="connsiteY3" fmla="*/ 0 h 13839"/>
                <a:gd name="connsiteX4" fmla="*/ 6983 w 98527"/>
                <a:gd name="connsiteY4" fmla="*/ 0 h 13839"/>
                <a:gd name="connsiteX5" fmla="*/ 0 w 98527"/>
                <a:gd name="connsiteY5" fmla="*/ 6856 h 13839"/>
                <a:gd name="connsiteX6" fmla="*/ 6983 w 98527"/>
                <a:gd name="connsiteY6" fmla="*/ 13839 h 13839"/>
                <a:gd name="connsiteX7" fmla="*/ 91670 w 98527"/>
                <a:gd name="connsiteY7" fmla="*/ 13839 h 13839"/>
                <a:gd name="connsiteX8" fmla="*/ 95479 w 98527"/>
                <a:gd name="connsiteY8" fmla="*/ 1244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7" h="13839">
                  <a:moveTo>
                    <a:pt x="95479" y="12443"/>
                  </a:moveTo>
                  <a:cubicBezTo>
                    <a:pt x="97409" y="11237"/>
                    <a:pt x="98564" y="9129"/>
                    <a:pt x="98526" y="6856"/>
                  </a:cubicBezTo>
                  <a:cubicBezTo>
                    <a:pt x="98526" y="5041"/>
                    <a:pt x="97790" y="3301"/>
                    <a:pt x="96495" y="2032"/>
                  </a:cubicBezTo>
                  <a:cubicBezTo>
                    <a:pt x="95264" y="838"/>
                    <a:pt x="93638" y="114"/>
                    <a:pt x="91924" y="0"/>
                  </a:cubicBezTo>
                  <a:lnTo>
                    <a:pt x="6983" y="0"/>
                  </a:lnTo>
                  <a:cubicBezTo>
                    <a:pt x="3174" y="0"/>
                    <a:pt x="64" y="3047"/>
                    <a:pt x="0" y="6856"/>
                  </a:cubicBezTo>
                  <a:cubicBezTo>
                    <a:pt x="0" y="10716"/>
                    <a:pt x="3123" y="13839"/>
                    <a:pt x="6983" y="13839"/>
                  </a:cubicBezTo>
                  <a:lnTo>
                    <a:pt x="91670" y="13839"/>
                  </a:lnTo>
                  <a:cubicBezTo>
                    <a:pt x="93054" y="13789"/>
                    <a:pt x="94387" y="13293"/>
                    <a:pt x="95479" y="12443"/>
                  </a:cubicBezTo>
                  <a:close/>
                </a:path>
              </a:pathLst>
            </a:custGeom>
            <a:solidFill>
              <a:srgbClr val="000000"/>
            </a:solidFill>
            <a:ln w="12690"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7BCFA3AB-0DBE-46E9-B2CB-5F992B033310}"/>
                </a:ext>
              </a:extLst>
            </p:cNvPr>
            <p:cNvSpPr/>
            <p:nvPr/>
          </p:nvSpPr>
          <p:spPr>
            <a:xfrm>
              <a:off x="4241965" y="5614391"/>
              <a:ext cx="52183" cy="13839"/>
            </a:xfrm>
            <a:custGeom>
              <a:avLst/>
              <a:gdLst>
                <a:gd name="connsiteX0" fmla="*/ 45327 w 52183"/>
                <a:gd name="connsiteY0" fmla="*/ 6856 h 13839"/>
                <a:gd name="connsiteX1" fmla="*/ 52183 w 52183"/>
                <a:gd name="connsiteY1" fmla="*/ 0 h 13839"/>
                <a:gd name="connsiteX2" fmla="*/ 6856 w 52183"/>
                <a:gd name="connsiteY2" fmla="*/ 0 h 13839"/>
                <a:gd name="connsiteX3" fmla="*/ 0 w 52183"/>
                <a:gd name="connsiteY3" fmla="*/ 6856 h 13839"/>
                <a:gd name="connsiteX4" fmla="*/ 6856 w 52183"/>
                <a:gd name="connsiteY4" fmla="*/ 13839 h 13839"/>
                <a:gd name="connsiteX5" fmla="*/ 52183 w 52183"/>
                <a:gd name="connsiteY5" fmla="*/ 13839 h 13839"/>
                <a:gd name="connsiteX6" fmla="*/ 45327 w 52183"/>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83" h="13839">
                  <a:moveTo>
                    <a:pt x="45327" y="6856"/>
                  </a:moveTo>
                  <a:cubicBezTo>
                    <a:pt x="45327" y="3070"/>
                    <a:pt x="48400" y="0"/>
                    <a:pt x="52183" y="0"/>
                  </a:cubicBezTo>
                  <a:lnTo>
                    <a:pt x="6856" y="0"/>
                  </a:lnTo>
                  <a:cubicBezTo>
                    <a:pt x="3073" y="0"/>
                    <a:pt x="0" y="3070"/>
                    <a:pt x="0" y="6856"/>
                  </a:cubicBezTo>
                  <a:cubicBezTo>
                    <a:pt x="0" y="10664"/>
                    <a:pt x="3047" y="13771"/>
                    <a:pt x="6856" y="13839"/>
                  </a:cubicBezTo>
                  <a:lnTo>
                    <a:pt x="52183" y="13839"/>
                  </a:lnTo>
                  <a:cubicBezTo>
                    <a:pt x="48374" y="13770"/>
                    <a:pt x="45327" y="10664"/>
                    <a:pt x="45327" y="6856"/>
                  </a:cubicBezTo>
                  <a:close/>
                </a:path>
              </a:pathLst>
            </a:custGeom>
            <a:solidFill>
              <a:srgbClr val="000000"/>
            </a:solidFill>
            <a:ln w="12690"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DECD6DBA-294C-4083-B0EB-E86846F7D0B6}"/>
                </a:ext>
              </a:extLst>
            </p:cNvPr>
            <p:cNvSpPr/>
            <p:nvPr/>
          </p:nvSpPr>
          <p:spPr>
            <a:xfrm>
              <a:off x="6909229" y="6511036"/>
              <a:ext cx="56" cy="1523"/>
            </a:xfrm>
            <a:custGeom>
              <a:avLst/>
              <a:gdLst>
                <a:gd name="connsiteX0" fmla="*/ 57 w 56"/>
                <a:gd name="connsiteY0" fmla="*/ 0 h 1523"/>
                <a:gd name="connsiteX1" fmla="*/ 57 w 56"/>
                <a:gd name="connsiteY1" fmla="*/ 0 h 1523"/>
                <a:gd name="connsiteX2" fmla="*/ 57 w 56"/>
                <a:gd name="connsiteY2" fmla="*/ 1524 h 1523"/>
                <a:gd name="connsiteX3" fmla="*/ 57 w 56"/>
                <a:gd name="connsiteY3" fmla="*/ 1524 h 1523"/>
                <a:gd name="connsiteX4" fmla="*/ 57 w 5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1523">
                  <a:moveTo>
                    <a:pt x="57" y="0"/>
                  </a:moveTo>
                  <a:lnTo>
                    <a:pt x="57" y="0"/>
                  </a:lnTo>
                  <a:cubicBezTo>
                    <a:pt x="-19" y="508"/>
                    <a:pt x="-19" y="1016"/>
                    <a:pt x="57" y="1524"/>
                  </a:cubicBezTo>
                  <a:lnTo>
                    <a:pt x="57" y="1524"/>
                  </a:lnTo>
                  <a:cubicBezTo>
                    <a:pt x="7" y="1016"/>
                    <a:pt x="7" y="508"/>
                    <a:pt x="57" y="0"/>
                  </a:cubicBezTo>
                  <a:close/>
                </a:path>
              </a:pathLst>
            </a:custGeom>
            <a:solidFill>
              <a:srgbClr val="000000"/>
            </a:solidFill>
            <a:ln w="12690"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AA659A68-2408-4039-9F84-DFFA2C3CE04B}"/>
                </a:ext>
              </a:extLst>
            </p:cNvPr>
            <p:cNvSpPr/>
            <p:nvPr/>
          </p:nvSpPr>
          <p:spPr>
            <a:xfrm>
              <a:off x="6922744" y="6511544"/>
              <a:ext cx="56" cy="1523"/>
            </a:xfrm>
            <a:custGeom>
              <a:avLst/>
              <a:gdLst>
                <a:gd name="connsiteX0" fmla="*/ 0 w 56"/>
                <a:gd name="connsiteY0" fmla="*/ 1524 h 1523"/>
                <a:gd name="connsiteX1" fmla="*/ 0 w 56"/>
                <a:gd name="connsiteY1" fmla="*/ 1524 h 1523"/>
                <a:gd name="connsiteX2" fmla="*/ 0 w 56"/>
                <a:gd name="connsiteY2" fmla="*/ 0 h 1523"/>
                <a:gd name="connsiteX3" fmla="*/ 0 w 56"/>
                <a:gd name="connsiteY3" fmla="*/ 0 h 1523"/>
                <a:gd name="connsiteX4" fmla="*/ 0 w 56"/>
                <a:gd name="connsiteY4" fmla="*/ 1524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1523">
                  <a:moveTo>
                    <a:pt x="0" y="1524"/>
                  </a:moveTo>
                  <a:lnTo>
                    <a:pt x="0" y="1524"/>
                  </a:lnTo>
                  <a:cubicBezTo>
                    <a:pt x="76" y="1016"/>
                    <a:pt x="76" y="508"/>
                    <a:pt x="0" y="0"/>
                  </a:cubicBezTo>
                  <a:lnTo>
                    <a:pt x="0" y="0"/>
                  </a:lnTo>
                  <a:cubicBezTo>
                    <a:pt x="51" y="508"/>
                    <a:pt x="51" y="1016"/>
                    <a:pt x="0" y="1524"/>
                  </a:cubicBezTo>
                  <a:close/>
                </a:path>
              </a:pathLst>
            </a:custGeom>
            <a:solidFill>
              <a:srgbClr val="000000"/>
            </a:solidFill>
            <a:ln w="12690"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8DF31363-6B08-4431-AAB6-6DDBFBFA0175}"/>
                </a:ext>
              </a:extLst>
            </p:cNvPr>
            <p:cNvSpPr/>
            <p:nvPr/>
          </p:nvSpPr>
          <p:spPr>
            <a:xfrm>
              <a:off x="6500198" y="6508623"/>
              <a:ext cx="13839" cy="355509"/>
            </a:xfrm>
            <a:custGeom>
              <a:avLst/>
              <a:gdLst>
                <a:gd name="connsiteX0" fmla="*/ 6856 w 13839"/>
                <a:gd name="connsiteY0" fmla="*/ 6983 h 355509"/>
                <a:gd name="connsiteX1" fmla="*/ 0 w 13839"/>
                <a:gd name="connsiteY1" fmla="*/ 0 h 355509"/>
                <a:gd name="connsiteX2" fmla="*/ 0 w 13839"/>
                <a:gd name="connsiteY2" fmla="*/ 355509 h 355509"/>
                <a:gd name="connsiteX3" fmla="*/ 13839 w 13839"/>
                <a:gd name="connsiteY3" fmla="*/ 355509 h 355509"/>
                <a:gd name="connsiteX4" fmla="*/ 13839 w 13839"/>
                <a:gd name="connsiteY4" fmla="*/ 0 h 355509"/>
                <a:gd name="connsiteX5" fmla="*/ 6856 w 13839"/>
                <a:gd name="connsiteY5" fmla="*/ 6983 h 35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55509">
                  <a:moveTo>
                    <a:pt x="6856" y="6983"/>
                  </a:moveTo>
                  <a:cubicBezTo>
                    <a:pt x="3047" y="6920"/>
                    <a:pt x="0" y="3809"/>
                    <a:pt x="0" y="0"/>
                  </a:cubicBezTo>
                  <a:lnTo>
                    <a:pt x="0" y="355509"/>
                  </a:lnTo>
                  <a:lnTo>
                    <a:pt x="13839" y="355509"/>
                  </a:ln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33E5B492-C90E-44FF-970D-27A9F2DC8A27}"/>
                </a:ext>
              </a:extLst>
            </p:cNvPr>
            <p:cNvSpPr/>
            <p:nvPr/>
          </p:nvSpPr>
          <p:spPr>
            <a:xfrm>
              <a:off x="3450453" y="5738566"/>
              <a:ext cx="13712" cy="69197"/>
            </a:xfrm>
            <a:custGeom>
              <a:avLst/>
              <a:gdLst>
                <a:gd name="connsiteX0" fmla="*/ 13712 w 13712"/>
                <a:gd name="connsiteY0" fmla="*/ 69197 h 69197"/>
                <a:gd name="connsiteX1" fmla="*/ 13712 w 13712"/>
                <a:gd name="connsiteY1" fmla="*/ 6856 h 69197"/>
                <a:gd name="connsiteX2" fmla="*/ 6856 w 13712"/>
                <a:gd name="connsiteY2" fmla="*/ 0 h 69197"/>
                <a:gd name="connsiteX3" fmla="*/ 0 w 13712"/>
                <a:gd name="connsiteY3" fmla="*/ 6856 h 69197"/>
                <a:gd name="connsiteX4" fmla="*/ 0 w 13712"/>
                <a:gd name="connsiteY4" fmla="*/ 69197 h 69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 h="69197">
                  <a:moveTo>
                    <a:pt x="13712" y="69197"/>
                  </a:moveTo>
                  <a:lnTo>
                    <a:pt x="13712" y="6856"/>
                  </a:lnTo>
                  <a:cubicBezTo>
                    <a:pt x="13712" y="3070"/>
                    <a:pt x="10640" y="0"/>
                    <a:pt x="6856" y="0"/>
                  </a:cubicBezTo>
                  <a:cubicBezTo>
                    <a:pt x="3073" y="0"/>
                    <a:pt x="0" y="3070"/>
                    <a:pt x="0" y="6856"/>
                  </a:cubicBezTo>
                  <a:lnTo>
                    <a:pt x="0" y="69197"/>
                  </a:lnTo>
                  <a:close/>
                </a:path>
              </a:pathLst>
            </a:custGeom>
            <a:solidFill>
              <a:srgbClr val="000000"/>
            </a:solidFill>
            <a:ln w="12690"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17218FDF-2D24-4C0C-8676-CBA0422D2BB2}"/>
                </a:ext>
              </a:extLst>
            </p:cNvPr>
            <p:cNvSpPr/>
            <p:nvPr/>
          </p:nvSpPr>
          <p:spPr>
            <a:xfrm>
              <a:off x="4152992" y="6454916"/>
              <a:ext cx="13934" cy="8524"/>
            </a:xfrm>
            <a:custGeom>
              <a:avLst/>
              <a:gdLst>
                <a:gd name="connsiteX0" fmla="*/ 6952 w 13934"/>
                <a:gd name="connsiteY0" fmla="*/ 8507 h 8524"/>
                <a:gd name="connsiteX1" fmla="*/ 13935 w 13934"/>
                <a:gd name="connsiteY1" fmla="*/ 1651 h 8524"/>
                <a:gd name="connsiteX2" fmla="*/ 13935 w 13934"/>
                <a:gd name="connsiteY2" fmla="*/ 0 h 8524"/>
                <a:gd name="connsiteX3" fmla="*/ 6952 w 13934"/>
                <a:gd name="connsiteY3" fmla="*/ 6856 h 8524"/>
                <a:gd name="connsiteX4" fmla="*/ 95 w 13934"/>
                <a:gd name="connsiteY4" fmla="*/ 0 h 8524"/>
                <a:gd name="connsiteX5" fmla="*/ 95 w 13934"/>
                <a:gd name="connsiteY5" fmla="*/ 1651 h 8524"/>
                <a:gd name="connsiteX6" fmla="*/ 95 w 13934"/>
                <a:gd name="connsiteY6" fmla="*/ 4190 h 8524"/>
                <a:gd name="connsiteX7" fmla="*/ 6952 w 13934"/>
                <a:gd name="connsiteY7" fmla="*/ 8507 h 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4" h="8524">
                  <a:moveTo>
                    <a:pt x="6952" y="8507"/>
                  </a:moveTo>
                  <a:cubicBezTo>
                    <a:pt x="10760" y="8507"/>
                    <a:pt x="13871" y="5460"/>
                    <a:pt x="13935" y="1651"/>
                  </a:cubicBezTo>
                  <a:lnTo>
                    <a:pt x="13935" y="0"/>
                  </a:lnTo>
                  <a:cubicBezTo>
                    <a:pt x="13871" y="3809"/>
                    <a:pt x="10760" y="6856"/>
                    <a:pt x="6952" y="6856"/>
                  </a:cubicBezTo>
                  <a:cubicBezTo>
                    <a:pt x="3168" y="6856"/>
                    <a:pt x="95" y="3784"/>
                    <a:pt x="95" y="0"/>
                  </a:cubicBezTo>
                  <a:lnTo>
                    <a:pt x="95" y="1651"/>
                  </a:lnTo>
                  <a:cubicBezTo>
                    <a:pt x="-32" y="2489"/>
                    <a:pt x="-32" y="3352"/>
                    <a:pt x="95" y="4190"/>
                  </a:cubicBezTo>
                  <a:cubicBezTo>
                    <a:pt x="1200" y="6970"/>
                    <a:pt x="3968" y="8723"/>
                    <a:pt x="6952" y="8507"/>
                  </a:cubicBezTo>
                  <a:close/>
                </a:path>
              </a:pathLst>
            </a:custGeom>
            <a:solidFill>
              <a:srgbClr val="000000"/>
            </a:solidFill>
            <a:ln w="12690"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09825D11-12F5-4076-BF45-0451F8D2D6C9}"/>
                </a:ext>
              </a:extLst>
            </p:cNvPr>
            <p:cNvSpPr/>
            <p:nvPr/>
          </p:nvSpPr>
          <p:spPr>
            <a:xfrm>
              <a:off x="4153424" y="6440188"/>
              <a:ext cx="13503" cy="22092"/>
            </a:xfrm>
            <a:custGeom>
              <a:avLst/>
              <a:gdLst>
                <a:gd name="connsiteX0" fmla="*/ 6521 w 13503"/>
                <a:gd name="connsiteY0" fmla="*/ 22092 h 22092"/>
                <a:gd name="connsiteX1" fmla="*/ 13504 w 13503"/>
                <a:gd name="connsiteY1" fmla="*/ 15236 h 22092"/>
                <a:gd name="connsiteX2" fmla="*/ 13504 w 13503"/>
                <a:gd name="connsiteY2" fmla="*/ 6856 h 22092"/>
                <a:gd name="connsiteX3" fmla="*/ 13504 w 13503"/>
                <a:gd name="connsiteY3" fmla="*/ 5714 h 22092"/>
                <a:gd name="connsiteX4" fmla="*/ 6774 w 13503"/>
                <a:gd name="connsiteY4" fmla="*/ 0 h 22092"/>
                <a:gd name="connsiteX5" fmla="*/ 5377 w 13503"/>
                <a:gd name="connsiteY5" fmla="*/ 0 h 22092"/>
                <a:gd name="connsiteX6" fmla="*/ 3981 w 13503"/>
                <a:gd name="connsiteY6" fmla="*/ 0 h 22092"/>
                <a:gd name="connsiteX7" fmla="*/ 3981 w 13503"/>
                <a:gd name="connsiteY7" fmla="*/ 0 h 22092"/>
                <a:gd name="connsiteX8" fmla="*/ 45 w 13503"/>
                <a:gd name="connsiteY8" fmla="*/ 6095 h 22092"/>
                <a:gd name="connsiteX9" fmla="*/ 45 w 13503"/>
                <a:gd name="connsiteY9" fmla="*/ 14474 h 22092"/>
                <a:gd name="connsiteX10" fmla="*/ 6088 w 13503"/>
                <a:gd name="connsiteY10" fmla="*/ 22054 h 22092"/>
                <a:gd name="connsiteX11" fmla="*/ 6521 w 13503"/>
                <a:gd name="connsiteY11" fmla="*/ 22092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03" h="22092">
                  <a:moveTo>
                    <a:pt x="6521" y="22092"/>
                  </a:moveTo>
                  <a:cubicBezTo>
                    <a:pt x="10329" y="22092"/>
                    <a:pt x="13440" y="19045"/>
                    <a:pt x="13504" y="15236"/>
                  </a:cubicBezTo>
                  <a:lnTo>
                    <a:pt x="13504" y="6856"/>
                  </a:lnTo>
                  <a:cubicBezTo>
                    <a:pt x="13504" y="6856"/>
                    <a:pt x="13504" y="6095"/>
                    <a:pt x="13504" y="5714"/>
                  </a:cubicBezTo>
                  <a:cubicBezTo>
                    <a:pt x="12945" y="2425"/>
                    <a:pt x="10114" y="13"/>
                    <a:pt x="6774" y="0"/>
                  </a:cubicBezTo>
                  <a:lnTo>
                    <a:pt x="5377" y="0"/>
                  </a:lnTo>
                  <a:lnTo>
                    <a:pt x="3981" y="0"/>
                  </a:lnTo>
                  <a:lnTo>
                    <a:pt x="3981" y="0"/>
                  </a:lnTo>
                  <a:cubicBezTo>
                    <a:pt x="1594" y="1092"/>
                    <a:pt x="58" y="3466"/>
                    <a:pt x="45" y="6095"/>
                  </a:cubicBezTo>
                  <a:lnTo>
                    <a:pt x="45" y="14474"/>
                  </a:lnTo>
                  <a:cubicBezTo>
                    <a:pt x="-387" y="18233"/>
                    <a:pt x="2330" y="21635"/>
                    <a:pt x="6088" y="22054"/>
                  </a:cubicBezTo>
                  <a:cubicBezTo>
                    <a:pt x="6228" y="22080"/>
                    <a:pt x="6381" y="22080"/>
                    <a:pt x="6521" y="22092"/>
                  </a:cubicBezTo>
                  <a:close/>
                </a:path>
              </a:pathLst>
            </a:custGeom>
            <a:solidFill>
              <a:srgbClr val="000000"/>
            </a:solidFill>
            <a:ln w="12690"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9EA5A255-F547-4C71-A0A1-62CDC713DFEF}"/>
                </a:ext>
              </a:extLst>
            </p:cNvPr>
            <p:cNvSpPr/>
            <p:nvPr/>
          </p:nvSpPr>
          <p:spPr>
            <a:xfrm>
              <a:off x="5951828" y="6830486"/>
              <a:ext cx="13839" cy="33646"/>
            </a:xfrm>
            <a:custGeom>
              <a:avLst/>
              <a:gdLst>
                <a:gd name="connsiteX0" fmla="*/ 13839 w 13839"/>
                <a:gd name="connsiteY0" fmla="*/ 0 h 33646"/>
                <a:gd name="connsiteX1" fmla="*/ 6983 w 13839"/>
                <a:gd name="connsiteY1" fmla="*/ 6856 h 33646"/>
                <a:gd name="connsiteX2" fmla="*/ 0 w 13839"/>
                <a:gd name="connsiteY2" fmla="*/ 0 h 33646"/>
                <a:gd name="connsiteX3" fmla="*/ 0 w 13839"/>
                <a:gd name="connsiteY3" fmla="*/ 33646 h 33646"/>
                <a:gd name="connsiteX4" fmla="*/ 13839 w 13839"/>
                <a:gd name="connsiteY4" fmla="*/ 33646 h 33646"/>
                <a:gd name="connsiteX5" fmla="*/ 13839 w 13839"/>
                <a:gd name="connsiteY5" fmla="*/ 0 h 3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3646">
                  <a:moveTo>
                    <a:pt x="13839" y="0"/>
                  </a:moveTo>
                  <a:cubicBezTo>
                    <a:pt x="13839" y="3784"/>
                    <a:pt x="10767" y="6856"/>
                    <a:pt x="6983" y="6856"/>
                  </a:cubicBezTo>
                  <a:cubicBezTo>
                    <a:pt x="3174" y="6856"/>
                    <a:pt x="64" y="3809"/>
                    <a:pt x="0" y="0"/>
                  </a:cubicBezTo>
                  <a:lnTo>
                    <a:pt x="0" y="33646"/>
                  </a:lnTo>
                  <a:lnTo>
                    <a:pt x="13839" y="33646"/>
                  </a:lnTo>
                  <a:lnTo>
                    <a:pt x="13839" y="0"/>
                  </a:lnTo>
                  <a:close/>
                </a:path>
              </a:pathLst>
            </a:custGeom>
            <a:solidFill>
              <a:srgbClr val="000000"/>
            </a:solidFill>
            <a:ln w="12690"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79E2F8B6-B760-4E83-939E-A0BFC1FAB33B}"/>
                </a:ext>
              </a:extLst>
            </p:cNvPr>
            <p:cNvSpPr/>
            <p:nvPr/>
          </p:nvSpPr>
          <p:spPr>
            <a:xfrm>
              <a:off x="5522426" y="5839505"/>
              <a:ext cx="8125" cy="13839"/>
            </a:xfrm>
            <a:custGeom>
              <a:avLst/>
              <a:gdLst>
                <a:gd name="connsiteX0" fmla="*/ 1269 w 8125"/>
                <a:gd name="connsiteY0" fmla="*/ 6856 h 13839"/>
                <a:gd name="connsiteX1" fmla="*/ 8126 w 8125"/>
                <a:gd name="connsiteY1" fmla="*/ 0 h 13839"/>
                <a:gd name="connsiteX2" fmla="*/ 6856 w 8125"/>
                <a:gd name="connsiteY2" fmla="*/ 0 h 13839"/>
                <a:gd name="connsiteX3" fmla="*/ 0 w 8125"/>
                <a:gd name="connsiteY3" fmla="*/ 6856 h 13839"/>
                <a:gd name="connsiteX4" fmla="*/ 6856 w 8125"/>
                <a:gd name="connsiteY4" fmla="*/ 13840 h 13839"/>
                <a:gd name="connsiteX5" fmla="*/ 8126 w 8125"/>
                <a:gd name="connsiteY5" fmla="*/ 13840 h 13839"/>
                <a:gd name="connsiteX6" fmla="*/ 1269 w 812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5" h="13839">
                  <a:moveTo>
                    <a:pt x="1269" y="6856"/>
                  </a:moveTo>
                  <a:cubicBezTo>
                    <a:pt x="1269" y="3070"/>
                    <a:pt x="4342" y="0"/>
                    <a:pt x="8126" y="0"/>
                  </a:cubicBezTo>
                  <a:lnTo>
                    <a:pt x="6856" y="0"/>
                  </a:lnTo>
                  <a:cubicBezTo>
                    <a:pt x="3072" y="0"/>
                    <a:pt x="0" y="3070"/>
                    <a:pt x="0" y="6856"/>
                  </a:cubicBezTo>
                  <a:cubicBezTo>
                    <a:pt x="0" y="10664"/>
                    <a:pt x="3047" y="13770"/>
                    <a:pt x="6856" y="13840"/>
                  </a:cubicBezTo>
                  <a:lnTo>
                    <a:pt x="8126" y="13840"/>
                  </a:lnTo>
                  <a:cubicBezTo>
                    <a:pt x="4317" y="13770"/>
                    <a:pt x="1269" y="10664"/>
                    <a:pt x="1269" y="6856"/>
                  </a:cubicBezTo>
                  <a:close/>
                </a:path>
              </a:pathLst>
            </a:custGeom>
            <a:solidFill>
              <a:srgbClr val="000000"/>
            </a:solidFill>
            <a:ln w="12690"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2B98B45E-D3D6-4017-A148-4E4E29AE2798}"/>
                </a:ext>
              </a:extLst>
            </p:cNvPr>
            <p:cNvSpPr/>
            <p:nvPr/>
          </p:nvSpPr>
          <p:spPr>
            <a:xfrm>
              <a:off x="5523696" y="5840013"/>
              <a:ext cx="18537" cy="13839"/>
            </a:xfrm>
            <a:custGeom>
              <a:avLst/>
              <a:gdLst>
                <a:gd name="connsiteX0" fmla="*/ 12824 w 18537"/>
                <a:gd name="connsiteY0" fmla="*/ 12824 h 13839"/>
                <a:gd name="connsiteX1" fmla="*/ 14221 w 18537"/>
                <a:gd name="connsiteY1" fmla="*/ 12824 h 13839"/>
                <a:gd name="connsiteX2" fmla="*/ 16633 w 18537"/>
                <a:gd name="connsiteY2" fmla="*/ 11046 h 13839"/>
                <a:gd name="connsiteX3" fmla="*/ 18537 w 18537"/>
                <a:gd name="connsiteY3" fmla="*/ 6348 h 13839"/>
                <a:gd name="connsiteX4" fmla="*/ 16633 w 18537"/>
                <a:gd name="connsiteY4" fmla="*/ 1778 h 13839"/>
                <a:gd name="connsiteX5" fmla="*/ 14221 w 18537"/>
                <a:gd name="connsiteY5" fmla="*/ 0 h 13839"/>
                <a:gd name="connsiteX6" fmla="*/ 12824 w 18537"/>
                <a:gd name="connsiteY6" fmla="*/ 0 h 13839"/>
                <a:gd name="connsiteX7" fmla="*/ 11554 w 18537"/>
                <a:gd name="connsiteY7" fmla="*/ 0 h 13839"/>
                <a:gd name="connsiteX8" fmla="*/ 6856 w 18537"/>
                <a:gd name="connsiteY8" fmla="*/ 0 h 13839"/>
                <a:gd name="connsiteX9" fmla="*/ 0 w 18537"/>
                <a:gd name="connsiteY9" fmla="*/ 6856 h 13839"/>
                <a:gd name="connsiteX10" fmla="*/ 6856 w 18537"/>
                <a:gd name="connsiteY10" fmla="*/ 13840 h 13839"/>
                <a:gd name="connsiteX11" fmla="*/ 12062 w 18537"/>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37" h="13839">
                  <a:moveTo>
                    <a:pt x="12824" y="12824"/>
                  </a:moveTo>
                  <a:lnTo>
                    <a:pt x="14221" y="12824"/>
                  </a:lnTo>
                  <a:cubicBezTo>
                    <a:pt x="15147" y="12424"/>
                    <a:pt x="15973" y="11816"/>
                    <a:pt x="16633" y="11046"/>
                  </a:cubicBezTo>
                  <a:cubicBezTo>
                    <a:pt x="17839" y="9782"/>
                    <a:pt x="18525" y="8101"/>
                    <a:pt x="18537" y="6348"/>
                  </a:cubicBezTo>
                  <a:cubicBezTo>
                    <a:pt x="18537" y="4633"/>
                    <a:pt x="17852" y="2989"/>
                    <a:pt x="16633" y="1778"/>
                  </a:cubicBezTo>
                  <a:cubicBezTo>
                    <a:pt x="15973" y="1008"/>
                    <a:pt x="15147" y="400"/>
                    <a:pt x="14221" y="0"/>
                  </a:cubicBezTo>
                  <a:lnTo>
                    <a:pt x="12824" y="0"/>
                  </a:lnTo>
                  <a:lnTo>
                    <a:pt x="11554" y="0"/>
                  </a:lnTo>
                  <a:lnTo>
                    <a:pt x="6856" y="0"/>
                  </a:lnTo>
                  <a:cubicBezTo>
                    <a:pt x="3073" y="0"/>
                    <a:pt x="0" y="3070"/>
                    <a:pt x="0" y="6856"/>
                  </a:cubicBezTo>
                  <a:cubicBezTo>
                    <a:pt x="0" y="10664"/>
                    <a:pt x="3047" y="13770"/>
                    <a:pt x="6856" y="13840"/>
                  </a:cubicBezTo>
                  <a:lnTo>
                    <a:pt x="12062" y="13840"/>
                  </a:lnTo>
                  <a:close/>
                </a:path>
              </a:pathLst>
            </a:custGeom>
            <a:solidFill>
              <a:srgbClr val="000000"/>
            </a:solidFill>
            <a:ln w="12690"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30B70B93-D4BC-4835-A79E-BAD3A1FA2E74}"/>
                </a:ext>
              </a:extLst>
            </p:cNvPr>
            <p:cNvSpPr/>
            <p:nvPr/>
          </p:nvSpPr>
          <p:spPr>
            <a:xfrm>
              <a:off x="4792874" y="6025959"/>
              <a:ext cx="13896" cy="77383"/>
            </a:xfrm>
            <a:custGeom>
              <a:avLst/>
              <a:gdLst>
                <a:gd name="connsiteX0" fmla="*/ 0 w 13896"/>
                <a:gd name="connsiteY0" fmla="*/ 6409 h 77383"/>
                <a:gd name="connsiteX1" fmla="*/ 0 w 13896"/>
                <a:gd name="connsiteY1" fmla="*/ 77384 h 77383"/>
                <a:gd name="connsiteX2" fmla="*/ 6983 w 13896"/>
                <a:gd name="connsiteY2" fmla="*/ 70401 h 77383"/>
                <a:gd name="connsiteX3" fmla="*/ 13839 w 13896"/>
                <a:gd name="connsiteY3" fmla="*/ 77384 h 77383"/>
                <a:gd name="connsiteX4" fmla="*/ 13839 w 13896"/>
                <a:gd name="connsiteY4" fmla="*/ 6409 h 77383"/>
                <a:gd name="connsiteX5" fmla="*/ 13839 w 13896"/>
                <a:gd name="connsiteY5" fmla="*/ 5012 h 77383"/>
                <a:gd name="connsiteX6" fmla="*/ 13839 w 13896"/>
                <a:gd name="connsiteY6" fmla="*/ 3743 h 77383"/>
                <a:gd name="connsiteX7" fmla="*/ 13078 w 13896"/>
                <a:gd name="connsiteY7" fmla="*/ 2727 h 77383"/>
                <a:gd name="connsiteX8" fmla="*/ 12189 w 13896"/>
                <a:gd name="connsiteY8" fmla="*/ 1711 h 77383"/>
                <a:gd name="connsiteX9" fmla="*/ 7872 w 13896"/>
                <a:gd name="connsiteY9" fmla="*/ 61 h 77383"/>
                <a:gd name="connsiteX10" fmla="*/ 38 w 13896"/>
                <a:gd name="connsiteY10" fmla="*/ 6071 h 77383"/>
                <a:gd name="connsiteX11" fmla="*/ 0 w 13896"/>
                <a:gd name="connsiteY11" fmla="*/ 6409 h 7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7383">
                  <a:moveTo>
                    <a:pt x="0" y="6409"/>
                  </a:moveTo>
                  <a:lnTo>
                    <a:pt x="0" y="77384"/>
                  </a:lnTo>
                  <a:cubicBezTo>
                    <a:pt x="0" y="73524"/>
                    <a:pt x="3123" y="70401"/>
                    <a:pt x="6983" y="70401"/>
                  </a:cubicBezTo>
                  <a:cubicBezTo>
                    <a:pt x="10792" y="70464"/>
                    <a:pt x="13839" y="73575"/>
                    <a:pt x="13839" y="77384"/>
                  </a:cubicBezTo>
                  <a:lnTo>
                    <a:pt x="13839" y="6409"/>
                  </a:lnTo>
                  <a:cubicBezTo>
                    <a:pt x="13916" y="5946"/>
                    <a:pt x="13916" y="5476"/>
                    <a:pt x="13839" y="5012"/>
                  </a:cubicBezTo>
                  <a:cubicBezTo>
                    <a:pt x="13916" y="4592"/>
                    <a:pt x="13916" y="4163"/>
                    <a:pt x="13839" y="3743"/>
                  </a:cubicBezTo>
                  <a:cubicBezTo>
                    <a:pt x="13674" y="3348"/>
                    <a:pt x="13408" y="2999"/>
                    <a:pt x="13078" y="2727"/>
                  </a:cubicBezTo>
                  <a:lnTo>
                    <a:pt x="12189" y="1711"/>
                  </a:lnTo>
                  <a:cubicBezTo>
                    <a:pt x="10957" y="720"/>
                    <a:pt x="9447" y="142"/>
                    <a:pt x="7872" y="61"/>
                  </a:cubicBezTo>
                  <a:cubicBezTo>
                    <a:pt x="4050" y="-443"/>
                    <a:pt x="546" y="2248"/>
                    <a:pt x="38" y="6071"/>
                  </a:cubicBezTo>
                  <a:cubicBezTo>
                    <a:pt x="26" y="6184"/>
                    <a:pt x="13" y="6296"/>
                    <a:pt x="0" y="6409"/>
                  </a:cubicBezTo>
                  <a:close/>
                </a:path>
              </a:pathLst>
            </a:custGeom>
            <a:solidFill>
              <a:srgbClr val="000000"/>
            </a:solidFill>
            <a:ln w="12690"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E52E4903-EEB7-4E7D-B371-13EECDB95CC3}"/>
                </a:ext>
              </a:extLst>
            </p:cNvPr>
            <p:cNvSpPr/>
            <p:nvPr/>
          </p:nvSpPr>
          <p:spPr>
            <a:xfrm>
              <a:off x="4510372" y="5001011"/>
              <a:ext cx="13839" cy="620236"/>
            </a:xfrm>
            <a:custGeom>
              <a:avLst/>
              <a:gdLst>
                <a:gd name="connsiteX0" fmla="*/ 6983 w 13839"/>
                <a:gd name="connsiteY0" fmla="*/ 613380 h 620236"/>
                <a:gd name="connsiteX1" fmla="*/ 13839 w 13839"/>
                <a:gd name="connsiteY1" fmla="*/ 620236 h 620236"/>
                <a:gd name="connsiteX2" fmla="*/ 13839 w 13839"/>
                <a:gd name="connsiteY2" fmla="*/ 6856 h 620236"/>
                <a:gd name="connsiteX3" fmla="*/ 6983 w 13839"/>
                <a:gd name="connsiteY3" fmla="*/ 0 h 620236"/>
                <a:gd name="connsiteX4" fmla="*/ 0 w 13839"/>
                <a:gd name="connsiteY4" fmla="*/ 6856 h 620236"/>
                <a:gd name="connsiteX5" fmla="*/ 0 w 13839"/>
                <a:gd name="connsiteY5" fmla="*/ 620236 h 620236"/>
                <a:gd name="connsiteX6" fmla="*/ 6983 w 13839"/>
                <a:gd name="connsiteY6" fmla="*/ 613380 h 62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20236">
                  <a:moveTo>
                    <a:pt x="6983" y="613380"/>
                  </a:moveTo>
                  <a:cubicBezTo>
                    <a:pt x="10767" y="613380"/>
                    <a:pt x="13839" y="616450"/>
                    <a:pt x="13839" y="620236"/>
                  </a:cubicBezTo>
                  <a:lnTo>
                    <a:pt x="13839" y="6856"/>
                  </a:lnTo>
                  <a:cubicBezTo>
                    <a:pt x="13839" y="3070"/>
                    <a:pt x="10767" y="0"/>
                    <a:pt x="6983" y="0"/>
                  </a:cubicBezTo>
                  <a:cubicBezTo>
                    <a:pt x="3174" y="0"/>
                    <a:pt x="64" y="3050"/>
                    <a:pt x="0" y="6856"/>
                  </a:cubicBezTo>
                  <a:lnTo>
                    <a:pt x="0" y="620236"/>
                  </a:lnTo>
                  <a:cubicBezTo>
                    <a:pt x="64" y="616430"/>
                    <a:pt x="3174" y="613380"/>
                    <a:pt x="6983" y="613380"/>
                  </a:cubicBezTo>
                  <a:close/>
                </a:path>
              </a:pathLst>
            </a:custGeom>
            <a:solidFill>
              <a:srgbClr val="000000"/>
            </a:solidFill>
            <a:ln w="12690"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D95B04E8-6B8E-4C59-8020-FFB02452F12E}"/>
                </a:ext>
              </a:extLst>
            </p:cNvPr>
            <p:cNvSpPr/>
            <p:nvPr/>
          </p:nvSpPr>
          <p:spPr>
            <a:xfrm>
              <a:off x="4510372" y="5614391"/>
              <a:ext cx="13839" cy="186896"/>
            </a:xfrm>
            <a:custGeom>
              <a:avLst/>
              <a:gdLst>
                <a:gd name="connsiteX0" fmla="*/ 0 w 13839"/>
                <a:gd name="connsiteY0" fmla="*/ 180040 h 186896"/>
                <a:gd name="connsiteX1" fmla="*/ 6983 w 13839"/>
                <a:gd name="connsiteY1" fmla="*/ 186896 h 186896"/>
                <a:gd name="connsiteX2" fmla="*/ 13839 w 13839"/>
                <a:gd name="connsiteY2" fmla="*/ 180040 h 186896"/>
                <a:gd name="connsiteX3" fmla="*/ 13839 w 13839"/>
                <a:gd name="connsiteY3" fmla="*/ 6856 h 186896"/>
                <a:gd name="connsiteX4" fmla="*/ 6983 w 13839"/>
                <a:gd name="connsiteY4" fmla="*/ 0 h 186896"/>
                <a:gd name="connsiteX5" fmla="*/ 0 w 13839"/>
                <a:gd name="connsiteY5" fmla="*/ 6856 h 186896"/>
                <a:gd name="connsiteX6" fmla="*/ 0 w 13839"/>
                <a:gd name="connsiteY6" fmla="*/ 180040 h 1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186896">
                  <a:moveTo>
                    <a:pt x="0" y="180040"/>
                  </a:moveTo>
                  <a:cubicBezTo>
                    <a:pt x="64" y="183846"/>
                    <a:pt x="3174" y="186896"/>
                    <a:pt x="6983" y="186896"/>
                  </a:cubicBezTo>
                  <a:cubicBezTo>
                    <a:pt x="10767" y="186896"/>
                    <a:pt x="13839" y="183826"/>
                    <a:pt x="13839" y="180040"/>
                  </a:cubicBezTo>
                  <a:lnTo>
                    <a:pt x="13839" y="6856"/>
                  </a:lnTo>
                  <a:cubicBezTo>
                    <a:pt x="13839" y="3070"/>
                    <a:pt x="10767" y="0"/>
                    <a:pt x="6983" y="0"/>
                  </a:cubicBezTo>
                  <a:cubicBezTo>
                    <a:pt x="3174" y="0"/>
                    <a:pt x="64" y="3050"/>
                    <a:pt x="0" y="6856"/>
                  </a:cubicBezTo>
                  <a:lnTo>
                    <a:pt x="0" y="180040"/>
                  </a:lnTo>
                  <a:close/>
                </a:path>
              </a:pathLst>
            </a:custGeom>
            <a:solidFill>
              <a:srgbClr val="000000"/>
            </a:solidFill>
            <a:ln w="12690"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C9C3A6E2-52CC-4A8F-BF9C-FB02A3FB8005}"/>
                </a:ext>
              </a:extLst>
            </p:cNvPr>
            <p:cNvSpPr/>
            <p:nvPr/>
          </p:nvSpPr>
          <p:spPr>
            <a:xfrm>
              <a:off x="7175282" y="6508623"/>
              <a:ext cx="13838" cy="355509"/>
            </a:xfrm>
            <a:custGeom>
              <a:avLst/>
              <a:gdLst>
                <a:gd name="connsiteX0" fmla="*/ 6856 w 13838"/>
                <a:gd name="connsiteY0" fmla="*/ 6983 h 355509"/>
                <a:gd name="connsiteX1" fmla="*/ 0 w 13838"/>
                <a:gd name="connsiteY1" fmla="*/ 0 h 355509"/>
                <a:gd name="connsiteX2" fmla="*/ 0 w 13838"/>
                <a:gd name="connsiteY2" fmla="*/ 355509 h 355509"/>
                <a:gd name="connsiteX3" fmla="*/ 13839 w 13838"/>
                <a:gd name="connsiteY3" fmla="*/ 355509 h 355509"/>
                <a:gd name="connsiteX4" fmla="*/ 13839 w 13838"/>
                <a:gd name="connsiteY4" fmla="*/ 0 h 355509"/>
                <a:gd name="connsiteX5" fmla="*/ 6856 w 13838"/>
                <a:gd name="connsiteY5" fmla="*/ 6983 h 35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355509">
                  <a:moveTo>
                    <a:pt x="6856" y="6983"/>
                  </a:moveTo>
                  <a:cubicBezTo>
                    <a:pt x="3047" y="6920"/>
                    <a:pt x="0" y="3809"/>
                    <a:pt x="0" y="0"/>
                  </a:cubicBezTo>
                  <a:lnTo>
                    <a:pt x="0" y="355509"/>
                  </a:lnTo>
                  <a:lnTo>
                    <a:pt x="13839" y="355509"/>
                  </a:ln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3ECB40C0-9F04-40D7-9A75-64CD7053068D}"/>
                </a:ext>
              </a:extLst>
            </p:cNvPr>
            <p:cNvSpPr/>
            <p:nvPr/>
          </p:nvSpPr>
          <p:spPr>
            <a:xfrm>
              <a:off x="6055052" y="6510147"/>
              <a:ext cx="13839" cy="7871"/>
            </a:xfrm>
            <a:custGeom>
              <a:avLst/>
              <a:gdLst>
                <a:gd name="connsiteX0" fmla="*/ 6983 w 13839"/>
                <a:gd name="connsiteY0" fmla="*/ 7872 h 7871"/>
                <a:gd name="connsiteX1" fmla="*/ 13839 w 13839"/>
                <a:gd name="connsiteY1" fmla="*/ 889 h 7871"/>
                <a:gd name="connsiteX2" fmla="*/ 13839 w 13839"/>
                <a:gd name="connsiteY2" fmla="*/ 0 h 7871"/>
                <a:gd name="connsiteX3" fmla="*/ 6983 w 13839"/>
                <a:gd name="connsiteY3" fmla="*/ 6856 h 7871"/>
                <a:gd name="connsiteX4" fmla="*/ 0 w 13839"/>
                <a:gd name="connsiteY4" fmla="*/ 0 h 7871"/>
                <a:gd name="connsiteX5" fmla="*/ 0 w 13839"/>
                <a:gd name="connsiteY5" fmla="*/ 889 h 7871"/>
                <a:gd name="connsiteX6" fmla="*/ 6983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983" y="7872"/>
                  </a:moveTo>
                  <a:cubicBezTo>
                    <a:pt x="10792" y="7808"/>
                    <a:pt x="13839" y="4698"/>
                    <a:pt x="13839" y="889"/>
                  </a:cubicBezTo>
                  <a:lnTo>
                    <a:pt x="13839" y="0"/>
                  </a:lnTo>
                  <a:cubicBezTo>
                    <a:pt x="13839" y="3783"/>
                    <a:pt x="10767" y="6856"/>
                    <a:pt x="6983" y="6856"/>
                  </a:cubicBezTo>
                  <a:cubicBezTo>
                    <a:pt x="3174" y="6856"/>
                    <a:pt x="64" y="3809"/>
                    <a:pt x="0" y="0"/>
                  </a:cubicBezTo>
                  <a:lnTo>
                    <a:pt x="0" y="889"/>
                  </a:lnTo>
                  <a:cubicBezTo>
                    <a:pt x="0" y="4748"/>
                    <a:pt x="3123" y="7872"/>
                    <a:pt x="6983" y="7872"/>
                  </a:cubicBezTo>
                  <a:close/>
                </a:path>
              </a:pathLst>
            </a:custGeom>
            <a:solidFill>
              <a:srgbClr val="000000"/>
            </a:solidFill>
            <a:ln w="12690"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E1C626FE-812D-4A29-9997-8CBC6DA1DF0C}"/>
                </a:ext>
              </a:extLst>
            </p:cNvPr>
            <p:cNvSpPr/>
            <p:nvPr/>
          </p:nvSpPr>
          <p:spPr>
            <a:xfrm>
              <a:off x="4510372" y="6126578"/>
              <a:ext cx="270185" cy="13839"/>
            </a:xfrm>
            <a:custGeom>
              <a:avLst/>
              <a:gdLst>
                <a:gd name="connsiteX0" fmla="*/ 0 w 270185"/>
                <a:gd name="connsiteY0" fmla="*/ 6983 h 13839"/>
                <a:gd name="connsiteX1" fmla="*/ 6983 w 270185"/>
                <a:gd name="connsiteY1" fmla="*/ 13840 h 13839"/>
                <a:gd name="connsiteX2" fmla="*/ 270186 w 270185"/>
                <a:gd name="connsiteY2" fmla="*/ 13840 h 13839"/>
                <a:gd name="connsiteX3" fmla="*/ 263330 w 270185"/>
                <a:gd name="connsiteY3" fmla="*/ 6983 h 13839"/>
                <a:gd name="connsiteX4" fmla="*/ 270186 w 270185"/>
                <a:gd name="connsiteY4" fmla="*/ 0 h 13839"/>
                <a:gd name="connsiteX5" fmla="*/ 6983 w 270185"/>
                <a:gd name="connsiteY5" fmla="*/ 0 h 13839"/>
                <a:gd name="connsiteX6" fmla="*/ 0 w 270185"/>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185" h="13839">
                  <a:moveTo>
                    <a:pt x="0" y="6983"/>
                  </a:moveTo>
                  <a:cubicBezTo>
                    <a:pt x="64" y="10792"/>
                    <a:pt x="3174" y="13840"/>
                    <a:pt x="6983" y="13840"/>
                  </a:cubicBezTo>
                  <a:lnTo>
                    <a:pt x="270186" y="13840"/>
                  </a:lnTo>
                  <a:cubicBezTo>
                    <a:pt x="266402" y="13840"/>
                    <a:pt x="263330" y="10767"/>
                    <a:pt x="263330" y="6983"/>
                  </a:cubicBezTo>
                  <a:cubicBezTo>
                    <a:pt x="263330" y="3174"/>
                    <a:pt x="266377" y="64"/>
                    <a:pt x="270186" y="0"/>
                  </a:cubicBezTo>
                  <a:lnTo>
                    <a:pt x="6983" y="0"/>
                  </a:lnTo>
                  <a:cubicBezTo>
                    <a:pt x="3123" y="0"/>
                    <a:pt x="0" y="3123"/>
                    <a:pt x="0" y="6983"/>
                  </a:cubicBezTo>
                  <a:close/>
                </a:path>
              </a:pathLst>
            </a:custGeom>
            <a:solidFill>
              <a:srgbClr val="000000"/>
            </a:solidFill>
            <a:ln w="12690"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7F407213-F992-4BFC-A37D-F031C3C2F447}"/>
                </a:ext>
              </a:extLst>
            </p:cNvPr>
            <p:cNvSpPr/>
            <p:nvPr/>
          </p:nvSpPr>
          <p:spPr>
            <a:xfrm>
              <a:off x="4939775" y="6139275"/>
              <a:ext cx="7110" cy="1142"/>
            </a:xfrm>
            <a:custGeom>
              <a:avLst/>
              <a:gdLst>
                <a:gd name="connsiteX0" fmla="*/ 0 w 7110"/>
                <a:gd name="connsiteY0" fmla="*/ 1143 h 1142"/>
                <a:gd name="connsiteX1" fmla="*/ 7110 w 7110"/>
                <a:gd name="connsiteY1" fmla="*/ 1143 h 1142"/>
                <a:gd name="connsiteX2" fmla="*/ 3555 w 7110"/>
                <a:gd name="connsiteY2" fmla="*/ 0 h 1142"/>
                <a:gd name="connsiteX3" fmla="*/ 0 w 7110"/>
                <a:gd name="connsiteY3" fmla="*/ 1143 h 1142"/>
              </a:gdLst>
              <a:ahLst/>
              <a:cxnLst>
                <a:cxn ang="0">
                  <a:pos x="connsiteX0" y="connsiteY0"/>
                </a:cxn>
                <a:cxn ang="0">
                  <a:pos x="connsiteX1" y="connsiteY1"/>
                </a:cxn>
                <a:cxn ang="0">
                  <a:pos x="connsiteX2" y="connsiteY2"/>
                </a:cxn>
                <a:cxn ang="0">
                  <a:pos x="connsiteX3" y="connsiteY3"/>
                </a:cxn>
              </a:cxnLst>
              <a:rect l="l" t="t" r="r" b="b"/>
              <a:pathLst>
                <a:path w="7110" h="1142">
                  <a:moveTo>
                    <a:pt x="0" y="1143"/>
                  </a:moveTo>
                  <a:lnTo>
                    <a:pt x="7110" y="1143"/>
                  </a:lnTo>
                  <a:cubicBezTo>
                    <a:pt x="5840" y="1117"/>
                    <a:pt x="4609" y="711"/>
                    <a:pt x="3555" y="0"/>
                  </a:cubicBezTo>
                  <a:cubicBezTo>
                    <a:pt x="2489" y="686"/>
                    <a:pt x="1270" y="1079"/>
                    <a:pt x="0" y="1143"/>
                  </a:cubicBezTo>
                  <a:close/>
                </a:path>
              </a:pathLst>
            </a:custGeom>
            <a:solidFill>
              <a:srgbClr val="000000"/>
            </a:solidFill>
            <a:ln w="12690"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CB8F17F1-B6A4-47E2-BB80-22254B1A849D}"/>
                </a:ext>
              </a:extLst>
            </p:cNvPr>
            <p:cNvSpPr/>
            <p:nvPr/>
          </p:nvSpPr>
          <p:spPr>
            <a:xfrm>
              <a:off x="4939775" y="6126578"/>
              <a:ext cx="7110" cy="1142"/>
            </a:xfrm>
            <a:custGeom>
              <a:avLst/>
              <a:gdLst>
                <a:gd name="connsiteX0" fmla="*/ 635 w 7110"/>
                <a:gd name="connsiteY0" fmla="*/ 0 h 1142"/>
                <a:gd name="connsiteX1" fmla="*/ 0 w 7110"/>
                <a:gd name="connsiteY1" fmla="*/ 0 h 1142"/>
                <a:gd name="connsiteX2" fmla="*/ 3555 w 7110"/>
                <a:gd name="connsiteY2" fmla="*/ 1143 h 1142"/>
                <a:gd name="connsiteX3" fmla="*/ 7110 w 7110"/>
                <a:gd name="connsiteY3" fmla="*/ 0 h 1142"/>
              </a:gdLst>
              <a:ahLst/>
              <a:cxnLst>
                <a:cxn ang="0">
                  <a:pos x="connsiteX0" y="connsiteY0"/>
                </a:cxn>
                <a:cxn ang="0">
                  <a:pos x="connsiteX1" y="connsiteY1"/>
                </a:cxn>
                <a:cxn ang="0">
                  <a:pos x="connsiteX2" y="connsiteY2"/>
                </a:cxn>
                <a:cxn ang="0">
                  <a:pos x="connsiteX3" y="connsiteY3"/>
                </a:cxn>
              </a:cxnLst>
              <a:rect l="l" t="t" r="r" b="b"/>
              <a:pathLst>
                <a:path w="7110" h="1142">
                  <a:moveTo>
                    <a:pt x="635" y="0"/>
                  </a:moveTo>
                  <a:lnTo>
                    <a:pt x="0" y="0"/>
                  </a:lnTo>
                  <a:cubicBezTo>
                    <a:pt x="1270" y="64"/>
                    <a:pt x="2489" y="457"/>
                    <a:pt x="3555" y="1143"/>
                  </a:cubicBezTo>
                  <a:cubicBezTo>
                    <a:pt x="4609" y="432"/>
                    <a:pt x="5840" y="25"/>
                    <a:pt x="7110" y="0"/>
                  </a:cubicBezTo>
                  <a:close/>
                </a:path>
              </a:pathLst>
            </a:custGeom>
            <a:solidFill>
              <a:srgbClr val="000000"/>
            </a:solidFill>
            <a:ln w="12690"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0E2BF679-4E06-495E-9079-25EF501EB772}"/>
                </a:ext>
              </a:extLst>
            </p:cNvPr>
            <p:cNvSpPr/>
            <p:nvPr/>
          </p:nvSpPr>
          <p:spPr>
            <a:xfrm>
              <a:off x="6909990" y="6509639"/>
              <a:ext cx="13896" cy="354874"/>
            </a:xfrm>
            <a:custGeom>
              <a:avLst/>
              <a:gdLst>
                <a:gd name="connsiteX0" fmla="*/ 13135 w 13896"/>
                <a:gd name="connsiteY0" fmla="*/ 889 h 354874"/>
                <a:gd name="connsiteX1" fmla="*/ 13135 w 13896"/>
                <a:gd name="connsiteY1" fmla="*/ 0 h 354874"/>
                <a:gd name="connsiteX2" fmla="*/ 13135 w 13896"/>
                <a:gd name="connsiteY2" fmla="*/ 0 h 354874"/>
                <a:gd name="connsiteX3" fmla="*/ 6532 w 13896"/>
                <a:gd name="connsiteY3" fmla="*/ 5079 h 354874"/>
                <a:gd name="connsiteX4" fmla="*/ 57 w 13896"/>
                <a:gd name="connsiteY4" fmla="*/ 0 h 354874"/>
                <a:gd name="connsiteX5" fmla="*/ 57 w 13896"/>
                <a:gd name="connsiteY5" fmla="*/ 0 h 354874"/>
                <a:gd name="connsiteX6" fmla="*/ 57 w 13896"/>
                <a:gd name="connsiteY6" fmla="*/ 889 h 354874"/>
                <a:gd name="connsiteX7" fmla="*/ 57 w 13896"/>
                <a:gd name="connsiteY7" fmla="*/ 354874 h 354874"/>
                <a:gd name="connsiteX8" fmla="*/ 13897 w 13896"/>
                <a:gd name="connsiteY8" fmla="*/ 354874 h 354874"/>
                <a:gd name="connsiteX9" fmla="*/ 13897 w 13896"/>
                <a:gd name="connsiteY9" fmla="*/ 889 h 35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6" h="354874">
                  <a:moveTo>
                    <a:pt x="13135" y="889"/>
                  </a:moveTo>
                  <a:cubicBezTo>
                    <a:pt x="13211" y="597"/>
                    <a:pt x="13211" y="292"/>
                    <a:pt x="13135" y="0"/>
                  </a:cubicBezTo>
                  <a:lnTo>
                    <a:pt x="13135" y="0"/>
                  </a:lnTo>
                  <a:cubicBezTo>
                    <a:pt x="12296" y="2958"/>
                    <a:pt x="9617" y="5028"/>
                    <a:pt x="6532" y="5079"/>
                  </a:cubicBezTo>
                  <a:cubicBezTo>
                    <a:pt x="3472" y="5053"/>
                    <a:pt x="806" y="2971"/>
                    <a:pt x="57" y="0"/>
                  </a:cubicBezTo>
                  <a:lnTo>
                    <a:pt x="57" y="0"/>
                  </a:lnTo>
                  <a:cubicBezTo>
                    <a:pt x="-19" y="292"/>
                    <a:pt x="-19" y="597"/>
                    <a:pt x="57" y="889"/>
                  </a:cubicBezTo>
                  <a:lnTo>
                    <a:pt x="57" y="354874"/>
                  </a:lnTo>
                  <a:lnTo>
                    <a:pt x="13897" y="354874"/>
                  </a:lnTo>
                  <a:lnTo>
                    <a:pt x="13897" y="889"/>
                  </a:lnTo>
                  <a:close/>
                </a:path>
              </a:pathLst>
            </a:custGeom>
            <a:solidFill>
              <a:srgbClr val="000000"/>
            </a:solidFill>
            <a:ln w="12690"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A6897AA8-7522-4FA8-834B-1B2BDF615CD4}"/>
                </a:ext>
              </a:extLst>
            </p:cNvPr>
            <p:cNvSpPr/>
            <p:nvPr/>
          </p:nvSpPr>
          <p:spPr>
            <a:xfrm>
              <a:off x="4287292" y="5614391"/>
              <a:ext cx="123030" cy="13839"/>
            </a:xfrm>
            <a:custGeom>
              <a:avLst/>
              <a:gdLst>
                <a:gd name="connsiteX0" fmla="*/ 0 w 123030"/>
                <a:gd name="connsiteY0" fmla="*/ 6856 h 13839"/>
                <a:gd name="connsiteX1" fmla="*/ 6856 w 123030"/>
                <a:gd name="connsiteY1" fmla="*/ 13839 h 13839"/>
                <a:gd name="connsiteX2" fmla="*/ 123031 w 123030"/>
                <a:gd name="connsiteY2" fmla="*/ 13839 h 13839"/>
                <a:gd name="connsiteX3" fmla="*/ 116175 w 123030"/>
                <a:gd name="connsiteY3" fmla="*/ 6856 h 13839"/>
                <a:gd name="connsiteX4" fmla="*/ 123031 w 123030"/>
                <a:gd name="connsiteY4" fmla="*/ 0 h 13839"/>
                <a:gd name="connsiteX5" fmla="*/ 6856 w 123030"/>
                <a:gd name="connsiteY5" fmla="*/ 0 h 13839"/>
                <a:gd name="connsiteX6" fmla="*/ 0 w 123030"/>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0" h="13839">
                  <a:moveTo>
                    <a:pt x="0" y="6856"/>
                  </a:moveTo>
                  <a:cubicBezTo>
                    <a:pt x="0" y="10664"/>
                    <a:pt x="3047" y="13771"/>
                    <a:pt x="6856" y="13839"/>
                  </a:cubicBezTo>
                  <a:lnTo>
                    <a:pt x="123031" y="13839"/>
                  </a:lnTo>
                  <a:cubicBezTo>
                    <a:pt x="119222" y="13770"/>
                    <a:pt x="116175" y="10664"/>
                    <a:pt x="116175" y="6856"/>
                  </a:cubicBezTo>
                  <a:cubicBezTo>
                    <a:pt x="116175" y="3070"/>
                    <a:pt x="119247" y="0"/>
                    <a:pt x="123031" y="0"/>
                  </a:cubicBezTo>
                  <a:lnTo>
                    <a:pt x="6856" y="0"/>
                  </a:lnTo>
                  <a:cubicBezTo>
                    <a:pt x="3072"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B566EF90-9C58-455F-8161-0E3E85956C1A}"/>
                </a:ext>
              </a:extLst>
            </p:cNvPr>
            <p:cNvSpPr/>
            <p:nvPr/>
          </p:nvSpPr>
          <p:spPr>
            <a:xfrm>
              <a:off x="4403467" y="5614391"/>
              <a:ext cx="52564" cy="13839"/>
            </a:xfrm>
            <a:custGeom>
              <a:avLst/>
              <a:gdLst>
                <a:gd name="connsiteX0" fmla="*/ 0 w 52564"/>
                <a:gd name="connsiteY0" fmla="*/ 6856 h 13839"/>
                <a:gd name="connsiteX1" fmla="*/ 6856 w 52564"/>
                <a:gd name="connsiteY1" fmla="*/ 13839 h 13839"/>
                <a:gd name="connsiteX2" fmla="*/ 45581 w 52564"/>
                <a:gd name="connsiteY2" fmla="*/ 13839 h 13839"/>
                <a:gd name="connsiteX3" fmla="*/ 52564 w 52564"/>
                <a:gd name="connsiteY3" fmla="*/ 6856 h 13839"/>
                <a:gd name="connsiteX4" fmla="*/ 45581 w 52564"/>
                <a:gd name="connsiteY4" fmla="*/ 0 h 13839"/>
                <a:gd name="connsiteX5" fmla="*/ 6856 w 52564"/>
                <a:gd name="connsiteY5" fmla="*/ 0 h 13839"/>
                <a:gd name="connsiteX6" fmla="*/ 0 w 52564"/>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64" h="13839">
                  <a:moveTo>
                    <a:pt x="0" y="6856"/>
                  </a:moveTo>
                  <a:cubicBezTo>
                    <a:pt x="0" y="10664"/>
                    <a:pt x="3047" y="13771"/>
                    <a:pt x="6856" y="13839"/>
                  </a:cubicBezTo>
                  <a:lnTo>
                    <a:pt x="45581" y="13839"/>
                  </a:lnTo>
                  <a:cubicBezTo>
                    <a:pt x="49441" y="13839"/>
                    <a:pt x="52564" y="10713"/>
                    <a:pt x="52564" y="6856"/>
                  </a:cubicBezTo>
                  <a:cubicBezTo>
                    <a:pt x="52501" y="3050"/>
                    <a:pt x="49390" y="-1"/>
                    <a:pt x="45581" y="0"/>
                  </a:cubicBezTo>
                  <a:lnTo>
                    <a:pt x="6856" y="0"/>
                  </a:ln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D40A71BA-4791-4474-9D86-D6FEBAD93DE0}"/>
                </a:ext>
              </a:extLst>
            </p:cNvPr>
            <p:cNvSpPr/>
            <p:nvPr/>
          </p:nvSpPr>
          <p:spPr>
            <a:xfrm>
              <a:off x="6908905" y="6510274"/>
              <a:ext cx="13895" cy="7871"/>
            </a:xfrm>
            <a:custGeom>
              <a:avLst/>
              <a:gdLst>
                <a:gd name="connsiteX0" fmla="*/ 762 w 13895"/>
                <a:gd name="connsiteY0" fmla="*/ 2793 h 7871"/>
                <a:gd name="connsiteX1" fmla="*/ 7236 w 13895"/>
                <a:gd name="connsiteY1" fmla="*/ 7872 h 7871"/>
                <a:gd name="connsiteX2" fmla="*/ 13839 w 13895"/>
                <a:gd name="connsiteY2" fmla="*/ 2793 h 7871"/>
                <a:gd name="connsiteX3" fmla="*/ 13839 w 13895"/>
                <a:gd name="connsiteY3" fmla="*/ 889 h 7871"/>
                <a:gd name="connsiteX4" fmla="*/ 13839 w 13895"/>
                <a:gd name="connsiteY4" fmla="*/ 0 h 7871"/>
                <a:gd name="connsiteX5" fmla="*/ 6856 w 13895"/>
                <a:gd name="connsiteY5" fmla="*/ 6856 h 7871"/>
                <a:gd name="connsiteX6" fmla="*/ 0 w 13895"/>
                <a:gd name="connsiteY6" fmla="*/ 0 h 7871"/>
                <a:gd name="connsiteX7" fmla="*/ 0 w 13895"/>
                <a:gd name="connsiteY7" fmla="*/ 889 h 7871"/>
                <a:gd name="connsiteX8" fmla="*/ 762 w 13895"/>
                <a:gd name="connsiteY8" fmla="*/ 2793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95" h="7871">
                  <a:moveTo>
                    <a:pt x="762" y="2793"/>
                  </a:moveTo>
                  <a:cubicBezTo>
                    <a:pt x="1510" y="5764"/>
                    <a:pt x="4177" y="7847"/>
                    <a:pt x="7236" y="7872"/>
                  </a:cubicBezTo>
                  <a:cubicBezTo>
                    <a:pt x="10322" y="7821"/>
                    <a:pt x="13001" y="5752"/>
                    <a:pt x="13839" y="2793"/>
                  </a:cubicBezTo>
                  <a:cubicBezTo>
                    <a:pt x="13915" y="2158"/>
                    <a:pt x="13915" y="1524"/>
                    <a:pt x="13839" y="889"/>
                  </a:cubicBezTo>
                  <a:lnTo>
                    <a:pt x="13839" y="0"/>
                  </a:lnTo>
                  <a:cubicBezTo>
                    <a:pt x="13775" y="3809"/>
                    <a:pt x="10665" y="6856"/>
                    <a:pt x="6856" y="6856"/>
                  </a:cubicBezTo>
                  <a:cubicBezTo>
                    <a:pt x="3073" y="6856"/>
                    <a:pt x="0" y="3784"/>
                    <a:pt x="0" y="0"/>
                  </a:cubicBezTo>
                  <a:lnTo>
                    <a:pt x="0" y="889"/>
                  </a:lnTo>
                  <a:cubicBezTo>
                    <a:pt x="177" y="1549"/>
                    <a:pt x="432" y="2197"/>
                    <a:pt x="762" y="2793"/>
                  </a:cubicBezTo>
                  <a:close/>
                </a:path>
              </a:pathLst>
            </a:custGeom>
            <a:solidFill>
              <a:srgbClr val="000000"/>
            </a:solidFill>
            <a:ln w="12690"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A9151853-D829-4C99-8358-C0CE191D891D}"/>
                </a:ext>
              </a:extLst>
            </p:cNvPr>
            <p:cNvSpPr/>
            <p:nvPr/>
          </p:nvSpPr>
          <p:spPr>
            <a:xfrm>
              <a:off x="6909482" y="6427053"/>
              <a:ext cx="13896" cy="89442"/>
            </a:xfrm>
            <a:custGeom>
              <a:avLst/>
              <a:gdLst>
                <a:gd name="connsiteX0" fmla="*/ 58 w 13896"/>
                <a:gd name="connsiteY0" fmla="*/ 5136 h 89442"/>
                <a:gd name="connsiteX1" fmla="*/ 58 w 13896"/>
                <a:gd name="connsiteY1" fmla="*/ 6405 h 89442"/>
                <a:gd name="connsiteX2" fmla="*/ 58 w 13896"/>
                <a:gd name="connsiteY2" fmla="*/ 82586 h 89442"/>
                <a:gd name="connsiteX3" fmla="*/ 6913 w 13896"/>
                <a:gd name="connsiteY3" fmla="*/ 89442 h 89442"/>
                <a:gd name="connsiteX4" fmla="*/ 13897 w 13896"/>
                <a:gd name="connsiteY4" fmla="*/ 82586 h 89442"/>
                <a:gd name="connsiteX5" fmla="*/ 13897 w 13896"/>
                <a:gd name="connsiteY5" fmla="*/ 6405 h 89442"/>
                <a:gd name="connsiteX6" fmla="*/ 13897 w 13896"/>
                <a:gd name="connsiteY6" fmla="*/ 5136 h 89442"/>
                <a:gd name="connsiteX7" fmla="*/ 13897 w 13896"/>
                <a:gd name="connsiteY7" fmla="*/ 3739 h 89442"/>
                <a:gd name="connsiteX8" fmla="*/ 13135 w 13896"/>
                <a:gd name="connsiteY8" fmla="*/ 2596 h 89442"/>
                <a:gd name="connsiteX9" fmla="*/ 12373 w 13896"/>
                <a:gd name="connsiteY9" fmla="*/ 1581 h 89442"/>
                <a:gd name="connsiteX10" fmla="*/ 11358 w 13896"/>
                <a:gd name="connsiteY10" fmla="*/ 819 h 89442"/>
                <a:gd name="connsiteX11" fmla="*/ 10215 w 13896"/>
                <a:gd name="connsiteY11" fmla="*/ 57 h 89442"/>
                <a:gd name="connsiteX12" fmla="*/ 8945 w 13896"/>
                <a:gd name="connsiteY12" fmla="*/ 57 h 89442"/>
                <a:gd name="connsiteX13" fmla="*/ 7422 w 13896"/>
                <a:gd name="connsiteY13" fmla="*/ 57 h 89442"/>
                <a:gd name="connsiteX14" fmla="*/ 58 w 13896"/>
                <a:gd name="connsiteY14" fmla="*/ 5136 h 8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96" h="89442">
                  <a:moveTo>
                    <a:pt x="58" y="5136"/>
                  </a:moveTo>
                  <a:cubicBezTo>
                    <a:pt x="-19" y="5555"/>
                    <a:pt x="-19" y="5987"/>
                    <a:pt x="58" y="6405"/>
                  </a:cubicBezTo>
                  <a:lnTo>
                    <a:pt x="58" y="82586"/>
                  </a:lnTo>
                  <a:cubicBezTo>
                    <a:pt x="58" y="86370"/>
                    <a:pt x="3130" y="89442"/>
                    <a:pt x="6913" y="89442"/>
                  </a:cubicBezTo>
                  <a:cubicBezTo>
                    <a:pt x="10722" y="89442"/>
                    <a:pt x="13833" y="86395"/>
                    <a:pt x="13897" y="82586"/>
                  </a:cubicBezTo>
                  <a:lnTo>
                    <a:pt x="13897" y="6405"/>
                  </a:lnTo>
                  <a:cubicBezTo>
                    <a:pt x="13897" y="6405"/>
                    <a:pt x="13897" y="5517"/>
                    <a:pt x="13897" y="5136"/>
                  </a:cubicBezTo>
                  <a:cubicBezTo>
                    <a:pt x="13897" y="4755"/>
                    <a:pt x="13897" y="4120"/>
                    <a:pt x="13897" y="3739"/>
                  </a:cubicBezTo>
                  <a:lnTo>
                    <a:pt x="13135" y="2596"/>
                  </a:lnTo>
                  <a:lnTo>
                    <a:pt x="12373" y="1581"/>
                  </a:lnTo>
                  <a:cubicBezTo>
                    <a:pt x="12094" y="1263"/>
                    <a:pt x="11751" y="997"/>
                    <a:pt x="11358" y="819"/>
                  </a:cubicBezTo>
                  <a:lnTo>
                    <a:pt x="10215" y="57"/>
                  </a:lnTo>
                  <a:lnTo>
                    <a:pt x="8945" y="57"/>
                  </a:lnTo>
                  <a:cubicBezTo>
                    <a:pt x="8437" y="-19"/>
                    <a:pt x="7929" y="-19"/>
                    <a:pt x="7422" y="57"/>
                  </a:cubicBezTo>
                  <a:cubicBezTo>
                    <a:pt x="4044" y="-311"/>
                    <a:pt x="921" y="1860"/>
                    <a:pt x="58" y="5136"/>
                  </a:cubicBezTo>
                  <a:close/>
                </a:path>
              </a:pathLst>
            </a:custGeom>
            <a:solidFill>
              <a:srgbClr val="000000"/>
            </a:solidFill>
            <a:ln w="12690"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69B8B24F-C5DD-4F9D-A6E1-ABF8DB83BF75}"/>
                </a:ext>
              </a:extLst>
            </p:cNvPr>
            <p:cNvSpPr/>
            <p:nvPr/>
          </p:nvSpPr>
          <p:spPr>
            <a:xfrm>
              <a:off x="6500198" y="6511671"/>
              <a:ext cx="13839" cy="7314"/>
            </a:xfrm>
            <a:custGeom>
              <a:avLst/>
              <a:gdLst>
                <a:gd name="connsiteX0" fmla="*/ 6856 w 13839"/>
                <a:gd name="connsiteY0" fmla="*/ 6983 h 7314"/>
                <a:gd name="connsiteX1" fmla="*/ 0 w 13839"/>
                <a:gd name="connsiteY1" fmla="*/ 0 h 7314"/>
                <a:gd name="connsiteX2" fmla="*/ 0 w 13839"/>
                <a:gd name="connsiteY2" fmla="*/ 1270 h 7314"/>
                <a:gd name="connsiteX3" fmla="*/ 7859 w 13839"/>
                <a:gd name="connsiteY3" fmla="*/ 7250 h 7314"/>
                <a:gd name="connsiteX4" fmla="*/ 13839 w 13839"/>
                <a:gd name="connsiteY4" fmla="*/ 1270 h 7314"/>
                <a:gd name="connsiteX5" fmla="*/ 13839 w 13839"/>
                <a:gd name="connsiteY5" fmla="*/ 0 h 7314"/>
                <a:gd name="connsiteX6" fmla="*/ 6856 w 13839"/>
                <a:gd name="connsiteY6" fmla="*/ 6983 h 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314">
                  <a:moveTo>
                    <a:pt x="6856" y="6983"/>
                  </a:moveTo>
                  <a:cubicBezTo>
                    <a:pt x="3047" y="6920"/>
                    <a:pt x="0" y="3809"/>
                    <a:pt x="0" y="0"/>
                  </a:cubicBezTo>
                  <a:lnTo>
                    <a:pt x="0" y="1270"/>
                  </a:lnTo>
                  <a:cubicBezTo>
                    <a:pt x="520" y="5091"/>
                    <a:pt x="4038" y="7770"/>
                    <a:pt x="7859" y="7250"/>
                  </a:cubicBezTo>
                  <a:cubicBezTo>
                    <a:pt x="10970" y="6831"/>
                    <a:pt x="13421" y="4380"/>
                    <a:pt x="13839" y="1270"/>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B6BEE829-FDD1-48F1-B89A-84DC2F52BF04}"/>
                </a:ext>
              </a:extLst>
            </p:cNvPr>
            <p:cNvSpPr/>
            <p:nvPr/>
          </p:nvSpPr>
          <p:spPr>
            <a:xfrm>
              <a:off x="7705114" y="6513067"/>
              <a:ext cx="13712" cy="351573"/>
            </a:xfrm>
            <a:custGeom>
              <a:avLst/>
              <a:gdLst>
                <a:gd name="connsiteX0" fmla="*/ 13713 w 13712"/>
                <a:gd name="connsiteY0" fmla="*/ 0 h 351573"/>
                <a:gd name="connsiteX1" fmla="*/ 6857 w 13712"/>
                <a:gd name="connsiteY1" fmla="*/ 6856 h 351573"/>
                <a:gd name="connsiteX2" fmla="*/ 0 w 13712"/>
                <a:gd name="connsiteY2" fmla="*/ 0 h 351573"/>
                <a:gd name="connsiteX3" fmla="*/ 0 w 13712"/>
                <a:gd name="connsiteY3" fmla="*/ 351573 h 351573"/>
                <a:gd name="connsiteX4" fmla="*/ 13713 w 13712"/>
                <a:gd name="connsiteY4" fmla="*/ 351573 h 351573"/>
                <a:gd name="connsiteX5" fmla="*/ 13713 w 13712"/>
                <a:gd name="connsiteY5" fmla="*/ 0 h 35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51573">
                  <a:moveTo>
                    <a:pt x="13713" y="0"/>
                  </a:moveTo>
                  <a:cubicBezTo>
                    <a:pt x="13713" y="3784"/>
                    <a:pt x="10640" y="6856"/>
                    <a:pt x="6857" y="6856"/>
                  </a:cubicBezTo>
                  <a:cubicBezTo>
                    <a:pt x="3073" y="6856"/>
                    <a:pt x="0" y="3784"/>
                    <a:pt x="0" y="0"/>
                  </a:cubicBezTo>
                  <a:lnTo>
                    <a:pt x="0" y="351573"/>
                  </a:lnTo>
                  <a:lnTo>
                    <a:pt x="13713" y="351573"/>
                  </a:lnTo>
                  <a:lnTo>
                    <a:pt x="13713" y="0"/>
                  </a:lnTo>
                  <a:close/>
                </a:path>
              </a:pathLst>
            </a:custGeom>
            <a:solidFill>
              <a:srgbClr val="000000"/>
            </a:solidFill>
            <a:ln w="12690"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4938E888-B576-4B78-8D58-AB434FA09E22}"/>
                </a:ext>
              </a:extLst>
            </p:cNvPr>
            <p:cNvSpPr/>
            <p:nvPr/>
          </p:nvSpPr>
          <p:spPr>
            <a:xfrm>
              <a:off x="5951828" y="6814615"/>
              <a:ext cx="13839" cy="27425"/>
            </a:xfrm>
            <a:custGeom>
              <a:avLst/>
              <a:gdLst>
                <a:gd name="connsiteX0" fmla="*/ 13839 w 13839"/>
                <a:gd name="connsiteY0" fmla="*/ 1270 h 27425"/>
                <a:gd name="connsiteX1" fmla="*/ 13839 w 13839"/>
                <a:gd name="connsiteY1" fmla="*/ 0 h 27425"/>
                <a:gd name="connsiteX2" fmla="*/ 6983 w 13839"/>
                <a:gd name="connsiteY2" fmla="*/ 6856 h 27425"/>
                <a:gd name="connsiteX3" fmla="*/ 0 w 13839"/>
                <a:gd name="connsiteY3" fmla="*/ 0 h 27425"/>
                <a:gd name="connsiteX4" fmla="*/ 0 w 13839"/>
                <a:gd name="connsiteY4" fmla="*/ 20442 h 27425"/>
                <a:gd name="connsiteX5" fmla="*/ 6983 w 13839"/>
                <a:gd name="connsiteY5" fmla="*/ 27425 h 27425"/>
                <a:gd name="connsiteX6" fmla="*/ 13839 w 13839"/>
                <a:gd name="connsiteY6" fmla="*/ 20442 h 27425"/>
                <a:gd name="connsiteX7" fmla="*/ 13839 w 13839"/>
                <a:gd name="connsiteY7" fmla="*/ 1270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7425">
                  <a:moveTo>
                    <a:pt x="13839" y="1270"/>
                  </a:moveTo>
                  <a:lnTo>
                    <a:pt x="13839" y="0"/>
                  </a:lnTo>
                  <a:cubicBezTo>
                    <a:pt x="13839" y="3784"/>
                    <a:pt x="10767" y="6856"/>
                    <a:pt x="6983" y="6856"/>
                  </a:cubicBezTo>
                  <a:cubicBezTo>
                    <a:pt x="3174" y="6856"/>
                    <a:pt x="64" y="3809"/>
                    <a:pt x="0" y="0"/>
                  </a:cubicBezTo>
                  <a:lnTo>
                    <a:pt x="0" y="20442"/>
                  </a:lnTo>
                  <a:cubicBezTo>
                    <a:pt x="0" y="24302"/>
                    <a:pt x="3123" y="27425"/>
                    <a:pt x="6983" y="27425"/>
                  </a:cubicBezTo>
                  <a:cubicBezTo>
                    <a:pt x="10792" y="27361"/>
                    <a:pt x="13839" y="24251"/>
                    <a:pt x="13839" y="20442"/>
                  </a:cubicBezTo>
                  <a:lnTo>
                    <a:pt x="13839" y="1270"/>
                  </a:lnTo>
                  <a:close/>
                </a:path>
              </a:pathLst>
            </a:custGeom>
            <a:solidFill>
              <a:srgbClr val="000000"/>
            </a:solidFill>
            <a:ln w="12690"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E7C0F1FE-AE9C-4506-B6EC-CB9632311ADC}"/>
                </a:ext>
              </a:extLst>
            </p:cNvPr>
            <p:cNvSpPr/>
            <p:nvPr/>
          </p:nvSpPr>
          <p:spPr>
            <a:xfrm>
              <a:off x="4792874" y="6120992"/>
              <a:ext cx="3301" cy="5586"/>
            </a:xfrm>
            <a:custGeom>
              <a:avLst/>
              <a:gdLst>
                <a:gd name="connsiteX0" fmla="*/ 1270 w 3301"/>
                <a:gd name="connsiteY0" fmla="*/ 5587 h 5586"/>
                <a:gd name="connsiteX1" fmla="*/ 3301 w 3301"/>
                <a:gd name="connsiteY1" fmla="*/ 5587 h 5586"/>
                <a:gd name="connsiteX2" fmla="*/ 0 w 3301"/>
                <a:gd name="connsiteY2" fmla="*/ 0 h 5586"/>
                <a:gd name="connsiteX3" fmla="*/ 0 w 3301"/>
                <a:gd name="connsiteY3" fmla="*/ 2031 h 5586"/>
                <a:gd name="connsiteX4" fmla="*/ 1270 w 3301"/>
                <a:gd name="connsiteY4" fmla="*/ 5587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 h="5586">
                  <a:moveTo>
                    <a:pt x="1270" y="5587"/>
                  </a:moveTo>
                  <a:lnTo>
                    <a:pt x="3301" y="5587"/>
                  </a:lnTo>
                  <a:cubicBezTo>
                    <a:pt x="1295" y="4431"/>
                    <a:pt x="51" y="2311"/>
                    <a:pt x="0" y="0"/>
                  </a:cubicBezTo>
                  <a:lnTo>
                    <a:pt x="0" y="2031"/>
                  </a:lnTo>
                  <a:cubicBezTo>
                    <a:pt x="13" y="3327"/>
                    <a:pt x="457" y="4584"/>
                    <a:pt x="1270" y="5587"/>
                  </a:cubicBezTo>
                  <a:close/>
                </a:path>
              </a:pathLst>
            </a:custGeom>
            <a:solidFill>
              <a:srgbClr val="000000"/>
            </a:solidFill>
            <a:ln w="12690"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20F6F428-971B-4B94-916A-F50B4B322E32}"/>
                </a:ext>
              </a:extLst>
            </p:cNvPr>
            <p:cNvSpPr/>
            <p:nvPr/>
          </p:nvSpPr>
          <p:spPr>
            <a:xfrm>
              <a:off x="4803539" y="6120992"/>
              <a:ext cx="3174" cy="5586"/>
            </a:xfrm>
            <a:custGeom>
              <a:avLst/>
              <a:gdLst>
                <a:gd name="connsiteX0" fmla="*/ 3174 w 3174"/>
                <a:gd name="connsiteY0" fmla="*/ 2031 h 5586"/>
                <a:gd name="connsiteX1" fmla="*/ 3174 w 3174"/>
                <a:gd name="connsiteY1" fmla="*/ 0 h 5586"/>
                <a:gd name="connsiteX2" fmla="*/ 0 w 3174"/>
                <a:gd name="connsiteY2" fmla="*/ 5587 h 5586"/>
                <a:gd name="connsiteX3" fmla="*/ 2032 w 3174"/>
                <a:gd name="connsiteY3" fmla="*/ 5587 h 5586"/>
                <a:gd name="connsiteX4" fmla="*/ 3174 w 3174"/>
                <a:gd name="connsiteY4" fmla="*/ 2031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5586">
                  <a:moveTo>
                    <a:pt x="3174" y="2031"/>
                  </a:moveTo>
                  <a:lnTo>
                    <a:pt x="3174" y="0"/>
                  </a:lnTo>
                  <a:cubicBezTo>
                    <a:pt x="3174" y="2298"/>
                    <a:pt x="1968" y="4418"/>
                    <a:pt x="0" y="5587"/>
                  </a:cubicBezTo>
                  <a:lnTo>
                    <a:pt x="2032" y="5587"/>
                  </a:lnTo>
                  <a:cubicBezTo>
                    <a:pt x="2743" y="4533"/>
                    <a:pt x="3149" y="3301"/>
                    <a:pt x="3174" y="2031"/>
                  </a:cubicBezTo>
                  <a:close/>
                </a:path>
              </a:pathLst>
            </a:custGeom>
            <a:solidFill>
              <a:srgbClr val="000000"/>
            </a:solidFill>
            <a:ln w="12690"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80854465-2A8E-4279-A4EA-79861EE1ADFB}"/>
                </a:ext>
              </a:extLst>
            </p:cNvPr>
            <p:cNvSpPr/>
            <p:nvPr/>
          </p:nvSpPr>
          <p:spPr>
            <a:xfrm>
              <a:off x="4792874" y="6096360"/>
              <a:ext cx="13839" cy="30218"/>
            </a:xfrm>
            <a:custGeom>
              <a:avLst/>
              <a:gdLst>
                <a:gd name="connsiteX0" fmla="*/ 3301 w 13839"/>
                <a:gd name="connsiteY0" fmla="*/ 30218 h 30218"/>
                <a:gd name="connsiteX1" fmla="*/ 10665 w 13839"/>
                <a:gd name="connsiteY1" fmla="*/ 30218 h 30218"/>
                <a:gd name="connsiteX2" fmla="*/ 13839 w 13839"/>
                <a:gd name="connsiteY2" fmla="*/ 24632 h 30218"/>
                <a:gd name="connsiteX3" fmla="*/ 13839 w 13839"/>
                <a:gd name="connsiteY3" fmla="*/ 6983 h 30218"/>
                <a:gd name="connsiteX4" fmla="*/ 6983 w 13839"/>
                <a:gd name="connsiteY4" fmla="*/ 0 h 30218"/>
                <a:gd name="connsiteX5" fmla="*/ 0 w 13839"/>
                <a:gd name="connsiteY5" fmla="*/ 6983 h 30218"/>
                <a:gd name="connsiteX6" fmla="*/ 0 w 13839"/>
                <a:gd name="connsiteY6" fmla="*/ 24632 h 30218"/>
                <a:gd name="connsiteX7" fmla="*/ 3301 w 13839"/>
                <a:gd name="connsiteY7" fmla="*/ 30218 h 3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30218">
                  <a:moveTo>
                    <a:pt x="3301" y="30218"/>
                  </a:moveTo>
                  <a:lnTo>
                    <a:pt x="10665" y="30218"/>
                  </a:lnTo>
                  <a:cubicBezTo>
                    <a:pt x="12633" y="29050"/>
                    <a:pt x="13839" y="26930"/>
                    <a:pt x="13839" y="24632"/>
                  </a:cubicBezTo>
                  <a:lnTo>
                    <a:pt x="13839" y="6983"/>
                  </a:lnTo>
                  <a:cubicBezTo>
                    <a:pt x="13839" y="3174"/>
                    <a:pt x="10792" y="63"/>
                    <a:pt x="6983" y="0"/>
                  </a:cubicBezTo>
                  <a:cubicBezTo>
                    <a:pt x="3123" y="0"/>
                    <a:pt x="0" y="3123"/>
                    <a:pt x="0" y="6983"/>
                  </a:cubicBezTo>
                  <a:lnTo>
                    <a:pt x="0" y="24632"/>
                  </a:lnTo>
                  <a:cubicBezTo>
                    <a:pt x="51" y="26943"/>
                    <a:pt x="1295" y="29063"/>
                    <a:pt x="3301" y="30218"/>
                  </a:cubicBezTo>
                  <a:close/>
                </a:path>
              </a:pathLst>
            </a:custGeom>
            <a:solidFill>
              <a:srgbClr val="000000"/>
            </a:solidFill>
            <a:ln w="12690"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EC204AAC-8EC8-4A9C-8ABB-E603689C9B63}"/>
                </a:ext>
              </a:extLst>
            </p:cNvPr>
            <p:cNvSpPr/>
            <p:nvPr/>
          </p:nvSpPr>
          <p:spPr>
            <a:xfrm>
              <a:off x="7175282" y="6474977"/>
              <a:ext cx="13838" cy="44946"/>
            </a:xfrm>
            <a:custGeom>
              <a:avLst/>
              <a:gdLst>
                <a:gd name="connsiteX0" fmla="*/ 0 w 13838"/>
                <a:gd name="connsiteY0" fmla="*/ 38090 h 44946"/>
                <a:gd name="connsiteX1" fmla="*/ 6856 w 13838"/>
                <a:gd name="connsiteY1" fmla="*/ 44946 h 44946"/>
                <a:gd name="connsiteX2" fmla="*/ 13839 w 13838"/>
                <a:gd name="connsiteY2" fmla="*/ 38090 h 44946"/>
                <a:gd name="connsiteX3" fmla="*/ 13839 w 13838"/>
                <a:gd name="connsiteY3" fmla="*/ 0 h 44946"/>
                <a:gd name="connsiteX4" fmla="*/ 6945 w 13838"/>
                <a:gd name="connsiteY4" fmla="*/ 6831 h 44946"/>
                <a:gd name="connsiteX5" fmla="*/ 2412 w 13838"/>
                <a:gd name="connsiteY5" fmla="*/ 5079 h 44946"/>
                <a:gd name="connsiteX6" fmla="*/ 0 w 13838"/>
                <a:gd name="connsiteY6" fmla="*/ 5079 h 44946"/>
                <a:gd name="connsiteX7" fmla="*/ 0 w 13838"/>
                <a:gd name="connsiteY7" fmla="*/ 38090 h 4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8" h="44946">
                  <a:moveTo>
                    <a:pt x="0" y="38090"/>
                  </a:moveTo>
                  <a:cubicBezTo>
                    <a:pt x="0" y="41874"/>
                    <a:pt x="3073" y="44946"/>
                    <a:pt x="6856" y="44946"/>
                  </a:cubicBezTo>
                  <a:cubicBezTo>
                    <a:pt x="10665" y="44946"/>
                    <a:pt x="13776" y="41899"/>
                    <a:pt x="13839" y="38090"/>
                  </a:cubicBezTo>
                  <a:lnTo>
                    <a:pt x="13839" y="0"/>
                  </a:lnTo>
                  <a:cubicBezTo>
                    <a:pt x="13827" y="3784"/>
                    <a:pt x="10742" y="6844"/>
                    <a:pt x="6945" y="6831"/>
                  </a:cubicBezTo>
                  <a:cubicBezTo>
                    <a:pt x="5282" y="6818"/>
                    <a:pt x="3657" y="6196"/>
                    <a:pt x="2412" y="5079"/>
                  </a:cubicBezTo>
                  <a:lnTo>
                    <a:pt x="0" y="5079"/>
                  </a:lnTo>
                  <a:lnTo>
                    <a:pt x="0" y="38090"/>
                  </a:lnTo>
                  <a:close/>
                </a:path>
              </a:pathLst>
            </a:custGeom>
            <a:solidFill>
              <a:srgbClr val="000000"/>
            </a:solidFill>
            <a:ln w="12690"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2765F6BD-EF26-47AD-B08A-C02C08D5C021}"/>
                </a:ext>
              </a:extLst>
            </p:cNvPr>
            <p:cNvSpPr/>
            <p:nvPr/>
          </p:nvSpPr>
          <p:spPr>
            <a:xfrm>
              <a:off x="4799349" y="6126578"/>
              <a:ext cx="143980" cy="13839"/>
            </a:xfrm>
            <a:custGeom>
              <a:avLst/>
              <a:gdLst>
                <a:gd name="connsiteX0" fmla="*/ 140552 w 143980"/>
                <a:gd name="connsiteY0" fmla="*/ 6983 h 13839"/>
                <a:gd name="connsiteX1" fmla="*/ 143980 w 143980"/>
                <a:gd name="connsiteY1" fmla="*/ 1143 h 13839"/>
                <a:gd name="connsiteX2" fmla="*/ 140425 w 143980"/>
                <a:gd name="connsiteY2" fmla="*/ 0 h 13839"/>
                <a:gd name="connsiteX3" fmla="*/ 0 w 143980"/>
                <a:gd name="connsiteY3" fmla="*/ 0 h 13839"/>
                <a:gd name="connsiteX4" fmla="*/ 6856 w 143980"/>
                <a:gd name="connsiteY4" fmla="*/ 6983 h 13839"/>
                <a:gd name="connsiteX5" fmla="*/ 0 w 143980"/>
                <a:gd name="connsiteY5" fmla="*/ 13840 h 13839"/>
                <a:gd name="connsiteX6" fmla="*/ 139664 w 143980"/>
                <a:gd name="connsiteY6" fmla="*/ 13840 h 13839"/>
                <a:gd name="connsiteX7" fmla="*/ 143219 w 143980"/>
                <a:gd name="connsiteY7" fmla="*/ 12697 h 13839"/>
                <a:gd name="connsiteX8" fmla="*/ 140552 w 143980"/>
                <a:gd name="connsiteY8"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80" h="13839">
                  <a:moveTo>
                    <a:pt x="140552" y="6983"/>
                  </a:moveTo>
                  <a:cubicBezTo>
                    <a:pt x="140590" y="4571"/>
                    <a:pt x="141885" y="2349"/>
                    <a:pt x="143980" y="1143"/>
                  </a:cubicBezTo>
                  <a:cubicBezTo>
                    <a:pt x="142914" y="457"/>
                    <a:pt x="141695" y="64"/>
                    <a:pt x="140425" y="0"/>
                  </a:cubicBezTo>
                  <a:lnTo>
                    <a:pt x="0" y="0"/>
                  </a:lnTo>
                  <a:cubicBezTo>
                    <a:pt x="3809" y="64"/>
                    <a:pt x="6856" y="3174"/>
                    <a:pt x="6856" y="6983"/>
                  </a:cubicBezTo>
                  <a:cubicBezTo>
                    <a:pt x="6856" y="10767"/>
                    <a:pt x="3784" y="13840"/>
                    <a:pt x="0" y="13840"/>
                  </a:cubicBezTo>
                  <a:lnTo>
                    <a:pt x="139664" y="13840"/>
                  </a:lnTo>
                  <a:cubicBezTo>
                    <a:pt x="140933" y="13776"/>
                    <a:pt x="142152" y="13382"/>
                    <a:pt x="143219" y="12697"/>
                  </a:cubicBezTo>
                  <a:cubicBezTo>
                    <a:pt x="141416" y="11364"/>
                    <a:pt x="140413" y="9218"/>
                    <a:pt x="140552" y="6983"/>
                  </a:cubicBezTo>
                  <a:close/>
                </a:path>
              </a:pathLst>
            </a:custGeom>
            <a:solidFill>
              <a:srgbClr val="000000"/>
            </a:solidFill>
            <a:ln w="12690"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CCAA200B-4D56-47BF-8093-16A00044CF85}"/>
                </a:ext>
              </a:extLst>
            </p:cNvPr>
            <p:cNvSpPr/>
            <p:nvPr/>
          </p:nvSpPr>
          <p:spPr>
            <a:xfrm>
              <a:off x="6500134" y="6511036"/>
              <a:ext cx="13970" cy="7924"/>
            </a:xfrm>
            <a:custGeom>
              <a:avLst/>
              <a:gdLst>
                <a:gd name="connsiteX0" fmla="*/ 6921 w 13970"/>
                <a:gd name="connsiteY0" fmla="*/ 6983 h 7924"/>
                <a:gd name="connsiteX1" fmla="*/ 65 w 13970"/>
                <a:gd name="connsiteY1" fmla="*/ 0 h 7924"/>
                <a:gd name="connsiteX2" fmla="*/ 65 w 13970"/>
                <a:gd name="connsiteY2" fmla="*/ 0 h 7924"/>
                <a:gd name="connsiteX3" fmla="*/ 6045 w 13970"/>
                <a:gd name="connsiteY3" fmla="*/ 7859 h 7924"/>
                <a:gd name="connsiteX4" fmla="*/ 13904 w 13970"/>
                <a:gd name="connsiteY4" fmla="*/ 1879 h 7924"/>
                <a:gd name="connsiteX5" fmla="*/ 13904 w 13970"/>
                <a:gd name="connsiteY5" fmla="*/ 0 h 7924"/>
                <a:gd name="connsiteX6" fmla="*/ 13904 w 13970"/>
                <a:gd name="connsiteY6" fmla="*/ 0 h 7924"/>
                <a:gd name="connsiteX7" fmla="*/ 6921 w 13970"/>
                <a:gd name="connsiteY7" fmla="*/ 6983 h 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 h="7924">
                  <a:moveTo>
                    <a:pt x="6921" y="6983"/>
                  </a:moveTo>
                  <a:cubicBezTo>
                    <a:pt x="3112" y="6920"/>
                    <a:pt x="65" y="3809"/>
                    <a:pt x="65" y="0"/>
                  </a:cubicBezTo>
                  <a:lnTo>
                    <a:pt x="65" y="0"/>
                  </a:lnTo>
                  <a:cubicBezTo>
                    <a:pt x="-456" y="3822"/>
                    <a:pt x="2223" y="7339"/>
                    <a:pt x="6045" y="7859"/>
                  </a:cubicBezTo>
                  <a:cubicBezTo>
                    <a:pt x="9867" y="8380"/>
                    <a:pt x="13383" y="5701"/>
                    <a:pt x="13904" y="1879"/>
                  </a:cubicBezTo>
                  <a:cubicBezTo>
                    <a:pt x="13993" y="1257"/>
                    <a:pt x="13993" y="622"/>
                    <a:pt x="13904" y="0"/>
                  </a:cubicBezTo>
                  <a:lnTo>
                    <a:pt x="13904" y="0"/>
                  </a:lnTo>
                  <a:cubicBezTo>
                    <a:pt x="13904" y="3860"/>
                    <a:pt x="10781" y="6983"/>
                    <a:pt x="6921" y="6983"/>
                  </a:cubicBezTo>
                  <a:close/>
                </a:path>
              </a:pathLst>
            </a:custGeom>
            <a:solidFill>
              <a:srgbClr val="000000"/>
            </a:solidFill>
            <a:ln w="12690"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7A8C51CB-8963-47EB-93E7-0D2039A9B838}"/>
                </a:ext>
              </a:extLst>
            </p:cNvPr>
            <p:cNvSpPr/>
            <p:nvPr/>
          </p:nvSpPr>
          <p:spPr>
            <a:xfrm>
              <a:off x="7705114" y="6511671"/>
              <a:ext cx="13712" cy="8125"/>
            </a:xfrm>
            <a:custGeom>
              <a:avLst/>
              <a:gdLst>
                <a:gd name="connsiteX0" fmla="*/ 13713 w 13712"/>
                <a:gd name="connsiteY0" fmla="*/ 0 h 8125"/>
                <a:gd name="connsiteX1" fmla="*/ 6857 w 13712"/>
                <a:gd name="connsiteY1" fmla="*/ 6856 h 8125"/>
                <a:gd name="connsiteX2" fmla="*/ 0 w 13712"/>
                <a:gd name="connsiteY2" fmla="*/ 0 h 8125"/>
                <a:gd name="connsiteX3" fmla="*/ 0 w 13712"/>
                <a:gd name="connsiteY3" fmla="*/ 1270 h 8125"/>
                <a:gd name="connsiteX4" fmla="*/ 6857 w 13712"/>
                <a:gd name="connsiteY4" fmla="*/ 8126 h 8125"/>
                <a:gd name="connsiteX5" fmla="*/ 13713 w 13712"/>
                <a:gd name="connsiteY5" fmla="*/ 1270 h 8125"/>
                <a:gd name="connsiteX6" fmla="*/ 13713 w 13712"/>
                <a:gd name="connsiteY6"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8125">
                  <a:moveTo>
                    <a:pt x="13713" y="0"/>
                  </a:moveTo>
                  <a:cubicBezTo>
                    <a:pt x="13713" y="3784"/>
                    <a:pt x="10640" y="6856"/>
                    <a:pt x="6857" y="6856"/>
                  </a:cubicBezTo>
                  <a:cubicBezTo>
                    <a:pt x="3073" y="6856"/>
                    <a:pt x="0" y="3784"/>
                    <a:pt x="0" y="0"/>
                  </a:cubicBezTo>
                  <a:lnTo>
                    <a:pt x="0" y="1270"/>
                  </a:lnTo>
                  <a:cubicBezTo>
                    <a:pt x="0" y="5053"/>
                    <a:pt x="3073" y="8126"/>
                    <a:pt x="6857" y="8126"/>
                  </a:cubicBezTo>
                  <a:cubicBezTo>
                    <a:pt x="10640" y="8126"/>
                    <a:pt x="13713" y="5053"/>
                    <a:pt x="13713" y="1270"/>
                  </a:cubicBezTo>
                  <a:lnTo>
                    <a:pt x="13713" y="0"/>
                  </a:lnTo>
                  <a:close/>
                </a:path>
              </a:pathLst>
            </a:custGeom>
            <a:solidFill>
              <a:srgbClr val="000000"/>
            </a:solidFill>
            <a:ln w="12690"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2AF69183-0EF9-4A23-B1D6-0CD593D953EE}"/>
                </a:ext>
              </a:extLst>
            </p:cNvPr>
            <p:cNvSpPr/>
            <p:nvPr/>
          </p:nvSpPr>
          <p:spPr>
            <a:xfrm>
              <a:off x="5951827" y="6440061"/>
              <a:ext cx="13840" cy="73006"/>
            </a:xfrm>
            <a:custGeom>
              <a:avLst/>
              <a:gdLst>
                <a:gd name="connsiteX0" fmla="*/ 6985 w 13840"/>
                <a:gd name="connsiteY0" fmla="*/ 65896 h 73006"/>
                <a:gd name="connsiteX1" fmla="*/ 13841 w 13840"/>
                <a:gd name="connsiteY1" fmla="*/ 72879 h 73006"/>
                <a:gd name="connsiteX2" fmla="*/ 13841 w 13840"/>
                <a:gd name="connsiteY2" fmla="*/ 6983 h 73006"/>
                <a:gd name="connsiteX3" fmla="*/ 6985 w 13840"/>
                <a:gd name="connsiteY3" fmla="*/ 0 h 73006"/>
                <a:gd name="connsiteX4" fmla="*/ 1 w 13840"/>
                <a:gd name="connsiteY4" fmla="*/ 6983 h 73006"/>
                <a:gd name="connsiteX5" fmla="*/ 1 w 13840"/>
                <a:gd name="connsiteY5" fmla="*/ 73006 h 73006"/>
                <a:gd name="connsiteX6" fmla="*/ 6858 w 13840"/>
                <a:gd name="connsiteY6" fmla="*/ 65896 h 73006"/>
                <a:gd name="connsiteX7" fmla="*/ 6985 w 13840"/>
                <a:gd name="connsiteY7" fmla="*/ 65896 h 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0" h="73006">
                  <a:moveTo>
                    <a:pt x="6985" y="65896"/>
                  </a:moveTo>
                  <a:cubicBezTo>
                    <a:pt x="10794" y="65960"/>
                    <a:pt x="13841" y="69070"/>
                    <a:pt x="13841" y="72879"/>
                  </a:cubicBezTo>
                  <a:lnTo>
                    <a:pt x="13841" y="6983"/>
                  </a:lnTo>
                  <a:cubicBezTo>
                    <a:pt x="13841" y="3174"/>
                    <a:pt x="10794" y="64"/>
                    <a:pt x="6985" y="0"/>
                  </a:cubicBezTo>
                  <a:cubicBezTo>
                    <a:pt x="3125" y="0"/>
                    <a:pt x="1" y="3123"/>
                    <a:pt x="1" y="6983"/>
                  </a:cubicBezTo>
                  <a:lnTo>
                    <a:pt x="1" y="73006"/>
                  </a:lnTo>
                  <a:cubicBezTo>
                    <a:pt x="-75" y="69147"/>
                    <a:pt x="2998" y="65972"/>
                    <a:pt x="6858" y="65896"/>
                  </a:cubicBezTo>
                  <a:cubicBezTo>
                    <a:pt x="6896" y="65896"/>
                    <a:pt x="6946" y="65896"/>
                    <a:pt x="6985" y="65896"/>
                  </a:cubicBezTo>
                  <a:close/>
                </a:path>
              </a:pathLst>
            </a:custGeom>
            <a:solidFill>
              <a:srgbClr val="000000"/>
            </a:solidFill>
            <a:ln w="12690"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894D2322-54CB-46C7-BF56-FDCB9DAAEAC3}"/>
                </a:ext>
              </a:extLst>
            </p:cNvPr>
            <p:cNvSpPr/>
            <p:nvPr/>
          </p:nvSpPr>
          <p:spPr>
            <a:xfrm>
              <a:off x="5951828" y="6506084"/>
              <a:ext cx="13839" cy="315387"/>
            </a:xfrm>
            <a:custGeom>
              <a:avLst/>
              <a:gdLst>
                <a:gd name="connsiteX0" fmla="*/ 6983 w 13839"/>
                <a:gd name="connsiteY0" fmla="*/ 315387 h 315387"/>
                <a:gd name="connsiteX1" fmla="*/ 13839 w 13839"/>
                <a:gd name="connsiteY1" fmla="*/ 308531 h 315387"/>
                <a:gd name="connsiteX2" fmla="*/ 13839 w 13839"/>
                <a:gd name="connsiteY2" fmla="*/ 6983 h 315387"/>
                <a:gd name="connsiteX3" fmla="*/ 6983 w 13839"/>
                <a:gd name="connsiteY3" fmla="*/ 0 h 315387"/>
                <a:gd name="connsiteX4" fmla="*/ 0 w 13839"/>
                <a:gd name="connsiteY4" fmla="*/ 6983 h 315387"/>
                <a:gd name="connsiteX5" fmla="*/ 0 w 13839"/>
                <a:gd name="connsiteY5" fmla="*/ 308658 h 315387"/>
                <a:gd name="connsiteX6" fmla="*/ 6983 w 13839"/>
                <a:gd name="connsiteY6" fmla="*/ 315387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15387">
                  <a:moveTo>
                    <a:pt x="6983" y="315387"/>
                  </a:moveTo>
                  <a:cubicBezTo>
                    <a:pt x="10767" y="315387"/>
                    <a:pt x="13839" y="312315"/>
                    <a:pt x="13839" y="308531"/>
                  </a:cubicBezTo>
                  <a:lnTo>
                    <a:pt x="13839" y="6983"/>
                  </a:lnTo>
                  <a:cubicBezTo>
                    <a:pt x="13839" y="3174"/>
                    <a:pt x="10792" y="64"/>
                    <a:pt x="6983" y="0"/>
                  </a:cubicBezTo>
                  <a:cubicBezTo>
                    <a:pt x="3123" y="0"/>
                    <a:pt x="0" y="3123"/>
                    <a:pt x="0" y="6983"/>
                  </a:cubicBezTo>
                  <a:lnTo>
                    <a:pt x="0" y="308658"/>
                  </a:lnTo>
                  <a:cubicBezTo>
                    <a:pt x="140" y="312416"/>
                    <a:pt x="3225" y="315387"/>
                    <a:pt x="6983" y="315387"/>
                  </a:cubicBezTo>
                  <a:close/>
                </a:path>
              </a:pathLst>
            </a:custGeom>
            <a:solidFill>
              <a:srgbClr val="000000"/>
            </a:solidFill>
            <a:ln w="12690"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73CF3C07-81BF-44A5-8F10-8E244FF68FB7}"/>
                </a:ext>
              </a:extLst>
            </p:cNvPr>
            <p:cNvSpPr/>
            <p:nvPr/>
          </p:nvSpPr>
          <p:spPr>
            <a:xfrm>
              <a:off x="7177694" y="6473200"/>
              <a:ext cx="11426" cy="8604"/>
            </a:xfrm>
            <a:custGeom>
              <a:avLst/>
              <a:gdLst>
                <a:gd name="connsiteX0" fmla="*/ 11427 w 11426"/>
                <a:gd name="connsiteY0" fmla="*/ 1778 h 8604"/>
                <a:gd name="connsiteX1" fmla="*/ 11427 w 11426"/>
                <a:gd name="connsiteY1" fmla="*/ 0 h 8604"/>
                <a:gd name="connsiteX2" fmla="*/ 4444 w 11426"/>
                <a:gd name="connsiteY2" fmla="*/ 6856 h 8604"/>
                <a:gd name="connsiteX3" fmla="*/ 0 w 11426"/>
                <a:gd name="connsiteY3" fmla="*/ 6856 h 8604"/>
                <a:gd name="connsiteX4" fmla="*/ 9688 w 11426"/>
                <a:gd name="connsiteY4" fmla="*/ 6323 h 8604"/>
                <a:gd name="connsiteX5" fmla="*/ 11427 w 11426"/>
                <a:gd name="connsiteY5" fmla="*/ 1778 h 8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26" h="8604">
                  <a:moveTo>
                    <a:pt x="11427" y="1778"/>
                  </a:moveTo>
                  <a:lnTo>
                    <a:pt x="11427" y="0"/>
                  </a:lnTo>
                  <a:cubicBezTo>
                    <a:pt x="11364" y="3809"/>
                    <a:pt x="8252" y="6856"/>
                    <a:pt x="4444" y="6856"/>
                  </a:cubicBezTo>
                  <a:lnTo>
                    <a:pt x="0" y="6856"/>
                  </a:lnTo>
                  <a:cubicBezTo>
                    <a:pt x="2818" y="9383"/>
                    <a:pt x="7160" y="9142"/>
                    <a:pt x="9688" y="6323"/>
                  </a:cubicBezTo>
                  <a:cubicBezTo>
                    <a:pt x="10805" y="5066"/>
                    <a:pt x="11414" y="3454"/>
                    <a:pt x="11427" y="1778"/>
                  </a:cubicBezTo>
                  <a:close/>
                </a:path>
              </a:pathLst>
            </a:custGeom>
            <a:solidFill>
              <a:srgbClr val="000000"/>
            </a:solidFill>
            <a:ln w="12690"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6ACB3D07-0D80-4FA5-9651-783157820730}"/>
                </a:ext>
              </a:extLst>
            </p:cNvPr>
            <p:cNvSpPr/>
            <p:nvPr/>
          </p:nvSpPr>
          <p:spPr>
            <a:xfrm>
              <a:off x="7175996" y="5911143"/>
              <a:ext cx="13515" cy="562310"/>
            </a:xfrm>
            <a:custGeom>
              <a:avLst/>
              <a:gdLst>
                <a:gd name="connsiteX0" fmla="*/ 13125 w 13515"/>
                <a:gd name="connsiteY0" fmla="*/ 562310 h 562310"/>
                <a:gd name="connsiteX1" fmla="*/ 13125 w 13515"/>
                <a:gd name="connsiteY1" fmla="*/ 7081 h 562310"/>
                <a:gd name="connsiteX2" fmla="*/ 6142 w 13515"/>
                <a:gd name="connsiteY2" fmla="*/ 98 h 562310"/>
                <a:gd name="connsiteX3" fmla="*/ 3984 w 13515"/>
                <a:gd name="connsiteY3" fmla="*/ 98 h 562310"/>
                <a:gd name="connsiteX4" fmla="*/ 2714 w 13515"/>
                <a:gd name="connsiteY4" fmla="*/ 98 h 562310"/>
                <a:gd name="connsiteX5" fmla="*/ 1698 w 13515"/>
                <a:gd name="connsiteY5" fmla="*/ 98 h 562310"/>
                <a:gd name="connsiteX6" fmla="*/ 809 w 13515"/>
                <a:gd name="connsiteY6" fmla="*/ 1114 h 562310"/>
                <a:gd name="connsiteX7" fmla="*/ 48 w 13515"/>
                <a:gd name="connsiteY7" fmla="*/ 2257 h 562310"/>
                <a:gd name="connsiteX8" fmla="*/ 48 w 13515"/>
                <a:gd name="connsiteY8" fmla="*/ 3399 h 562310"/>
                <a:gd name="connsiteX9" fmla="*/ 48 w 13515"/>
                <a:gd name="connsiteY9" fmla="*/ 4796 h 562310"/>
                <a:gd name="connsiteX10" fmla="*/ 48 w 13515"/>
                <a:gd name="connsiteY10" fmla="*/ 4796 h 562310"/>
                <a:gd name="connsiteX11" fmla="*/ 48 w 13515"/>
                <a:gd name="connsiteY11" fmla="*/ 553042 h 562310"/>
                <a:gd name="connsiteX12" fmla="*/ 6904 w 13515"/>
                <a:gd name="connsiteY12" fmla="*/ 553042 h 562310"/>
                <a:gd name="connsiteX13" fmla="*/ 13506 w 13515"/>
                <a:gd name="connsiteY13" fmla="*/ 560393 h 562310"/>
                <a:gd name="connsiteX14" fmla="*/ 13125 w 13515"/>
                <a:gd name="connsiteY14" fmla="*/ 562310 h 56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15" h="562310">
                  <a:moveTo>
                    <a:pt x="13125" y="562310"/>
                  </a:moveTo>
                  <a:lnTo>
                    <a:pt x="13125" y="7081"/>
                  </a:lnTo>
                  <a:cubicBezTo>
                    <a:pt x="13125" y="3224"/>
                    <a:pt x="10002" y="98"/>
                    <a:pt x="6142" y="98"/>
                  </a:cubicBezTo>
                  <a:cubicBezTo>
                    <a:pt x="5431" y="-33"/>
                    <a:pt x="4695" y="-33"/>
                    <a:pt x="3984" y="98"/>
                  </a:cubicBezTo>
                  <a:lnTo>
                    <a:pt x="2714" y="98"/>
                  </a:lnTo>
                  <a:lnTo>
                    <a:pt x="1698" y="98"/>
                  </a:lnTo>
                  <a:lnTo>
                    <a:pt x="809" y="1114"/>
                  </a:lnTo>
                  <a:lnTo>
                    <a:pt x="48" y="2257"/>
                  </a:lnTo>
                  <a:lnTo>
                    <a:pt x="48" y="3399"/>
                  </a:lnTo>
                  <a:cubicBezTo>
                    <a:pt x="-16" y="3863"/>
                    <a:pt x="-16" y="4332"/>
                    <a:pt x="48" y="4796"/>
                  </a:cubicBezTo>
                  <a:cubicBezTo>
                    <a:pt x="48" y="4796"/>
                    <a:pt x="48" y="4796"/>
                    <a:pt x="48" y="4796"/>
                  </a:cubicBezTo>
                  <a:lnTo>
                    <a:pt x="48" y="553042"/>
                  </a:lnTo>
                  <a:lnTo>
                    <a:pt x="6904" y="553042"/>
                  </a:lnTo>
                  <a:cubicBezTo>
                    <a:pt x="10751" y="553245"/>
                    <a:pt x="13709" y="556533"/>
                    <a:pt x="13506" y="560393"/>
                  </a:cubicBezTo>
                  <a:cubicBezTo>
                    <a:pt x="13468" y="561041"/>
                    <a:pt x="13341" y="561688"/>
                    <a:pt x="13125" y="562310"/>
                  </a:cubicBezTo>
                  <a:close/>
                </a:path>
              </a:pathLst>
            </a:custGeom>
            <a:solidFill>
              <a:srgbClr val="000000"/>
            </a:solidFill>
            <a:ln w="12690"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5DE3D77B-4F09-4615-B602-F7E8616F959B}"/>
                </a:ext>
              </a:extLst>
            </p:cNvPr>
            <p:cNvSpPr/>
            <p:nvPr/>
          </p:nvSpPr>
          <p:spPr>
            <a:xfrm>
              <a:off x="4773702" y="6126578"/>
              <a:ext cx="13458" cy="13839"/>
            </a:xfrm>
            <a:custGeom>
              <a:avLst/>
              <a:gdLst>
                <a:gd name="connsiteX0" fmla="*/ 6602 w 13458"/>
                <a:gd name="connsiteY0" fmla="*/ 6983 h 13839"/>
                <a:gd name="connsiteX1" fmla="*/ 13458 w 13458"/>
                <a:gd name="connsiteY1" fmla="*/ 0 h 13839"/>
                <a:gd name="connsiteX2" fmla="*/ 6856 w 13458"/>
                <a:gd name="connsiteY2" fmla="*/ 0 h 13839"/>
                <a:gd name="connsiteX3" fmla="*/ 0 w 13458"/>
                <a:gd name="connsiteY3" fmla="*/ 6983 h 13839"/>
                <a:gd name="connsiteX4" fmla="*/ 6856 w 13458"/>
                <a:gd name="connsiteY4" fmla="*/ 13840 h 13839"/>
                <a:gd name="connsiteX5" fmla="*/ 12950 w 13458"/>
                <a:gd name="connsiteY5" fmla="*/ 13840 h 13839"/>
                <a:gd name="connsiteX6" fmla="*/ 6602 w 134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8" h="13839">
                  <a:moveTo>
                    <a:pt x="6602" y="6983"/>
                  </a:moveTo>
                  <a:cubicBezTo>
                    <a:pt x="6602" y="3174"/>
                    <a:pt x="9649" y="64"/>
                    <a:pt x="13458" y="0"/>
                  </a:cubicBezTo>
                  <a:lnTo>
                    <a:pt x="6856" y="0"/>
                  </a:lnTo>
                  <a:cubicBezTo>
                    <a:pt x="3047" y="64"/>
                    <a:pt x="0" y="3174"/>
                    <a:pt x="0" y="6983"/>
                  </a:cubicBezTo>
                  <a:cubicBezTo>
                    <a:pt x="0" y="10767"/>
                    <a:pt x="3072" y="13840"/>
                    <a:pt x="6856" y="13840"/>
                  </a:cubicBezTo>
                  <a:lnTo>
                    <a:pt x="12950" y="13840"/>
                  </a:lnTo>
                  <a:cubicBezTo>
                    <a:pt x="9357" y="13573"/>
                    <a:pt x="6589" y="10576"/>
                    <a:pt x="6602" y="6983"/>
                  </a:cubicBezTo>
                  <a:close/>
                </a:path>
              </a:pathLst>
            </a:custGeom>
            <a:solidFill>
              <a:srgbClr val="000000"/>
            </a:solidFill>
            <a:ln w="12690"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8BD165CD-5A88-4FF9-92D7-7B32F82FEDDE}"/>
                </a:ext>
              </a:extLst>
            </p:cNvPr>
            <p:cNvSpPr/>
            <p:nvPr/>
          </p:nvSpPr>
          <p:spPr>
            <a:xfrm>
              <a:off x="4780304" y="6126578"/>
              <a:ext cx="26408" cy="13839"/>
            </a:xfrm>
            <a:custGeom>
              <a:avLst/>
              <a:gdLst>
                <a:gd name="connsiteX0" fmla="*/ 26409 w 26408"/>
                <a:gd name="connsiteY0" fmla="*/ 6983 h 13839"/>
                <a:gd name="connsiteX1" fmla="*/ 19553 w 26408"/>
                <a:gd name="connsiteY1" fmla="*/ 0 h 13839"/>
                <a:gd name="connsiteX2" fmla="*/ 6856 w 26408"/>
                <a:gd name="connsiteY2" fmla="*/ 0 h 13839"/>
                <a:gd name="connsiteX3" fmla="*/ 0 w 26408"/>
                <a:gd name="connsiteY3" fmla="*/ 6983 h 13839"/>
                <a:gd name="connsiteX4" fmla="*/ 6856 w 26408"/>
                <a:gd name="connsiteY4" fmla="*/ 13840 h 13839"/>
                <a:gd name="connsiteX5" fmla="*/ 19553 w 26408"/>
                <a:gd name="connsiteY5" fmla="*/ 13840 h 13839"/>
                <a:gd name="connsiteX6" fmla="*/ 26409 w 2640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8" h="13839">
                  <a:moveTo>
                    <a:pt x="26409" y="6983"/>
                  </a:moveTo>
                  <a:cubicBezTo>
                    <a:pt x="26409" y="3174"/>
                    <a:pt x="23362" y="64"/>
                    <a:pt x="19553" y="0"/>
                  </a:cubicBezTo>
                  <a:lnTo>
                    <a:pt x="6856" y="0"/>
                  </a:lnTo>
                  <a:cubicBezTo>
                    <a:pt x="3047" y="64"/>
                    <a:pt x="0" y="3174"/>
                    <a:pt x="0" y="6983"/>
                  </a:cubicBezTo>
                  <a:cubicBezTo>
                    <a:pt x="0" y="10767"/>
                    <a:pt x="3073" y="13840"/>
                    <a:pt x="6856" y="13840"/>
                  </a:cubicBezTo>
                  <a:lnTo>
                    <a:pt x="19553" y="13840"/>
                  </a:lnTo>
                  <a:cubicBezTo>
                    <a:pt x="23337" y="13840"/>
                    <a:pt x="26409" y="10767"/>
                    <a:pt x="26409" y="6983"/>
                  </a:cubicBezTo>
                  <a:close/>
                </a:path>
              </a:pathLst>
            </a:custGeom>
            <a:solidFill>
              <a:srgbClr val="000000"/>
            </a:solidFill>
            <a:ln w="12690"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F17F0F95-0D00-40D1-8696-410ECC664696}"/>
                </a:ext>
              </a:extLst>
            </p:cNvPr>
            <p:cNvSpPr/>
            <p:nvPr/>
          </p:nvSpPr>
          <p:spPr>
            <a:xfrm>
              <a:off x="4939902" y="6126578"/>
              <a:ext cx="65514" cy="13839"/>
            </a:xfrm>
            <a:custGeom>
              <a:avLst/>
              <a:gdLst>
                <a:gd name="connsiteX0" fmla="*/ 58659 w 65514"/>
                <a:gd name="connsiteY0" fmla="*/ 6983 h 13839"/>
                <a:gd name="connsiteX1" fmla="*/ 65515 w 65514"/>
                <a:gd name="connsiteY1" fmla="*/ 0 h 13839"/>
                <a:gd name="connsiteX2" fmla="*/ 6983 w 65514"/>
                <a:gd name="connsiteY2" fmla="*/ 0 h 13839"/>
                <a:gd name="connsiteX3" fmla="*/ 3428 w 65514"/>
                <a:gd name="connsiteY3" fmla="*/ 1143 h 13839"/>
                <a:gd name="connsiteX4" fmla="*/ 0 w 65514"/>
                <a:gd name="connsiteY4" fmla="*/ 6983 h 13839"/>
                <a:gd name="connsiteX5" fmla="*/ 6983 w 65514"/>
                <a:gd name="connsiteY5" fmla="*/ 13840 h 13839"/>
                <a:gd name="connsiteX6" fmla="*/ 65515 w 65514"/>
                <a:gd name="connsiteY6" fmla="*/ 13840 h 13839"/>
                <a:gd name="connsiteX7" fmla="*/ 58659 w 65514"/>
                <a:gd name="connsiteY7"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14" h="13839">
                  <a:moveTo>
                    <a:pt x="58659" y="6983"/>
                  </a:moveTo>
                  <a:cubicBezTo>
                    <a:pt x="58659" y="3174"/>
                    <a:pt x="61706" y="64"/>
                    <a:pt x="65515" y="0"/>
                  </a:cubicBezTo>
                  <a:lnTo>
                    <a:pt x="6983" y="0"/>
                  </a:lnTo>
                  <a:cubicBezTo>
                    <a:pt x="5713" y="25"/>
                    <a:pt x="4482" y="432"/>
                    <a:pt x="3428" y="1143"/>
                  </a:cubicBezTo>
                  <a:cubicBezTo>
                    <a:pt x="1333" y="2349"/>
                    <a:pt x="38" y="4571"/>
                    <a:pt x="0" y="6983"/>
                  </a:cubicBezTo>
                  <a:cubicBezTo>
                    <a:pt x="254" y="10703"/>
                    <a:pt x="3250" y="13649"/>
                    <a:pt x="6983" y="13840"/>
                  </a:cubicBezTo>
                  <a:lnTo>
                    <a:pt x="65515" y="13840"/>
                  </a:lnTo>
                  <a:cubicBezTo>
                    <a:pt x="61731" y="13840"/>
                    <a:pt x="58659" y="10767"/>
                    <a:pt x="58659" y="6983"/>
                  </a:cubicBezTo>
                  <a:close/>
                </a:path>
              </a:pathLst>
            </a:custGeom>
            <a:solidFill>
              <a:srgbClr val="000000"/>
            </a:solidFill>
            <a:ln w="12690"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6443406A-2334-4529-9616-BAA5E694E157}"/>
                </a:ext>
              </a:extLst>
            </p:cNvPr>
            <p:cNvSpPr/>
            <p:nvPr/>
          </p:nvSpPr>
          <p:spPr>
            <a:xfrm>
              <a:off x="4998560" y="6126578"/>
              <a:ext cx="14474" cy="13839"/>
            </a:xfrm>
            <a:custGeom>
              <a:avLst/>
              <a:gdLst>
                <a:gd name="connsiteX0" fmla="*/ 13205 w 14474"/>
                <a:gd name="connsiteY0" fmla="*/ 0 h 13839"/>
                <a:gd name="connsiteX1" fmla="*/ 6856 w 14474"/>
                <a:gd name="connsiteY1" fmla="*/ 0 h 13839"/>
                <a:gd name="connsiteX2" fmla="*/ 0 w 14474"/>
                <a:gd name="connsiteY2" fmla="*/ 6983 h 13839"/>
                <a:gd name="connsiteX3" fmla="*/ 6856 w 14474"/>
                <a:gd name="connsiteY3" fmla="*/ 13840 h 13839"/>
                <a:gd name="connsiteX4" fmla="*/ 14474 w 14474"/>
                <a:gd name="connsiteY4" fmla="*/ 13840 h 13839"/>
                <a:gd name="connsiteX5" fmla="*/ 7618 w 14474"/>
                <a:gd name="connsiteY5" fmla="*/ 6983 h 13839"/>
                <a:gd name="connsiteX6" fmla="*/ 14474 w 14474"/>
                <a:gd name="connsiteY6" fmla="*/ 0 h 13839"/>
                <a:gd name="connsiteX7" fmla="*/ 13205 w 14474"/>
                <a:gd name="connsiteY7"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 h="13839">
                  <a:moveTo>
                    <a:pt x="13205" y="0"/>
                  </a:moveTo>
                  <a:lnTo>
                    <a:pt x="6856" y="0"/>
                  </a:lnTo>
                  <a:cubicBezTo>
                    <a:pt x="3047" y="64"/>
                    <a:pt x="0" y="3174"/>
                    <a:pt x="0" y="6983"/>
                  </a:cubicBezTo>
                  <a:cubicBezTo>
                    <a:pt x="0" y="10767"/>
                    <a:pt x="3073" y="13840"/>
                    <a:pt x="6856" y="13840"/>
                  </a:cubicBezTo>
                  <a:lnTo>
                    <a:pt x="14474" y="13840"/>
                  </a:lnTo>
                  <a:cubicBezTo>
                    <a:pt x="10691" y="13840"/>
                    <a:pt x="7618" y="10767"/>
                    <a:pt x="7618" y="6983"/>
                  </a:cubicBezTo>
                  <a:cubicBezTo>
                    <a:pt x="7618" y="3174"/>
                    <a:pt x="10665" y="64"/>
                    <a:pt x="14474" y="0"/>
                  </a:cubicBezTo>
                  <a:lnTo>
                    <a:pt x="13205" y="0"/>
                  </a:lnTo>
                  <a:close/>
                </a:path>
              </a:pathLst>
            </a:custGeom>
            <a:solidFill>
              <a:srgbClr val="000000"/>
            </a:solidFill>
            <a:ln w="12690"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3E5FFF80-2E7F-4828-B36A-F5D355C24C14}"/>
                </a:ext>
              </a:extLst>
            </p:cNvPr>
            <p:cNvSpPr/>
            <p:nvPr/>
          </p:nvSpPr>
          <p:spPr>
            <a:xfrm>
              <a:off x="5006179" y="6126578"/>
              <a:ext cx="164929" cy="13839"/>
            </a:xfrm>
            <a:custGeom>
              <a:avLst/>
              <a:gdLst>
                <a:gd name="connsiteX0" fmla="*/ 0 w 164929"/>
                <a:gd name="connsiteY0" fmla="*/ 6983 h 13839"/>
                <a:gd name="connsiteX1" fmla="*/ 6856 w 164929"/>
                <a:gd name="connsiteY1" fmla="*/ 13840 h 13839"/>
                <a:gd name="connsiteX2" fmla="*/ 164930 w 164929"/>
                <a:gd name="connsiteY2" fmla="*/ 13840 h 13839"/>
                <a:gd name="connsiteX3" fmla="*/ 158074 w 164929"/>
                <a:gd name="connsiteY3" fmla="*/ 6983 h 13839"/>
                <a:gd name="connsiteX4" fmla="*/ 164930 w 164929"/>
                <a:gd name="connsiteY4" fmla="*/ 0 h 13839"/>
                <a:gd name="connsiteX5" fmla="*/ 6856 w 164929"/>
                <a:gd name="connsiteY5" fmla="*/ 0 h 13839"/>
                <a:gd name="connsiteX6" fmla="*/ 0 w 16492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929" h="13839">
                  <a:moveTo>
                    <a:pt x="0" y="6983"/>
                  </a:moveTo>
                  <a:cubicBezTo>
                    <a:pt x="0" y="10767"/>
                    <a:pt x="3073" y="13840"/>
                    <a:pt x="6856" y="13840"/>
                  </a:cubicBezTo>
                  <a:lnTo>
                    <a:pt x="164930" y="13840"/>
                  </a:lnTo>
                  <a:cubicBezTo>
                    <a:pt x="161146" y="13840"/>
                    <a:pt x="158074" y="10767"/>
                    <a:pt x="158074" y="6983"/>
                  </a:cubicBezTo>
                  <a:cubicBezTo>
                    <a:pt x="158074" y="3174"/>
                    <a:pt x="161121" y="64"/>
                    <a:pt x="164930"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D57D4B74-EC15-4E08-85CA-F108F2E2ABCB}"/>
                </a:ext>
              </a:extLst>
            </p:cNvPr>
            <p:cNvSpPr/>
            <p:nvPr/>
          </p:nvSpPr>
          <p:spPr>
            <a:xfrm>
              <a:off x="6500642" y="6510147"/>
              <a:ext cx="13970" cy="8812"/>
            </a:xfrm>
            <a:custGeom>
              <a:avLst/>
              <a:gdLst>
                <a:gd name="connsiteX0" fmla="*/ 65 w 13970"/>
                <a:gd name="connsiteY0" fmla="*/ 889 h 8812"/>
                <a:gd name="connsiteX1" fmla="*/ 6045 w 13970"/>
                <a:gd name="connsiteY1" fmla="*/ 8748 h 8812"/>
                <a:gd name="connsiteX2" fmla="*/ 13904 w 13970"/>
                <a:gd name="connsiteY2" fmla="*/ 2768 h 8812"/>
                <a:gd name="connsiteX3" fmla="*/ 13904 w 13970"/>
                <a:gd name="connsiteY3" fmla="*/ 889 h 8812"/>
                <a:gd name="connsiteX4" fmla="*/ 13904 w 13970"/>
                <a:gd name="connsiteY4" fmla="*/ 0 h 8812"/>
                <a:gd name="connsiteX5" fmla="*/ 6045 w 13970"/>
                <a:gd name="connsiteY5" fmla="*/ 5980 h 8812"/>
                <a:gd name="connsiteX6" fmla="*/ 65 w 13970"/>
                <a:gd name="connsiteY6" fmla="*/ 0 h 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70" h="8812">
                  <a:moveTo>
                    <a:pt x="65" y="889"/>
                  </a:moveTo>
                  <a:cubicBezTo>
                    <a:pt x="-456" y="4711"/>
                    <a:pt x="2223" y="8227"/>
                    <a:pt x="6045" y="8748"/>
                  </a:cubicBezTo>
                  <a:cubicBezTo>
                    <a:pt x="9866" y="9269"/>
                    <a:pt x="13384" y="6590"/>
                    <a:pt x="13904" y="2768"/>
                  </a:cubicBezTo>
                  <a:cubicBezTo>
                    <a:pt x="13993" y="2146"/>
                    <a:pt x="13993" y="1511"/>
                    <a:pt x="13904" y="889"/>
                  </a:cubicBezTo>
                  <a:lnTo>
                    <a:pt x="13904" y="0"/>
                  </a:lnTo>
                  <a:cubicBezTo>
                    <a:pt x="13384" y="3822"/>
                    <a:pt x="9866" y="6501"/>
                    <a:pt x="6045" y="5980"/>
                  </a:cubicBezTo>
                  <a:cubicBezTo>
                    <a:pt x="2934" y="5561"/>
                    <a:pt x="484" y="3111"/>
                    <a:pt x="65" y="0"/>
                  </a:cubicBezTo>
                  <a:close/>
                </a:path>
              </a:pathLst>
            </a:custGeom>
            <a:solidFill>
              <a:srgbClr val="000000"/>
            </a:solidFill>
            <a:ln w="12690"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15E5D800-2D47-4F19-B80E-A3E113C9F21E}"/>
                </a:ext>
              </a:extLst>
            </p:cNvPr>
            <p:cNvSpPr/>
            <p:nvPr/>
          </p:nvSpPr>
          <p:spPr>
            <a:xfrm>
              <a:off x="6500706" y="6425841"/>
              <a:ext cx="13886" cy="90351"/>
            </a:xfrm>
            <a:custGeom>
              <a:avLst/>
              <a:gdLst>
                <a:gd name="connsiteX0" fmla="*/ 0 w 13886"/>
                <a:gd name="connsiteY0" fmla="*/ 84306 h 90351"/>
                <a:gd name="connsiteX1" fmla="*/ 7859 w 13886"/>
                <a:gd name="connsiteY1" fmla="*/ 90287 h 90351"/>
                <a:gd name="connsiteX2" fmla="*/ 13840 w 13886"/>
                <a:gd name="connsiteY2" fmla="*/ 84306 h 90351"/>
                <a:gd name="connsiteX3" fmla="*/ 13840 w 13886"/>
                <a:gd name="connsiteY3" fmla="*/ 6983 h 90351"/>
                <a:gd name="connsiteX4" fmla="*/ 13840 w 13886"/>
                <a:gd name="connsiteY4" fmla="*/ 5840 h 90351"/>
                <a:gd name="connsiteX5" fmla="*/ 7110 w 13886"/>
                <a:gd name="connsiteY5" fmla="*/ 0 h 90351"/>
                <a:gd name="connsiteX6" fmla="*/ 254 w 13886"/>
                <a:gd name="connsiteY6" fmla="*/ 6983 h 90351"/>
                <a:gd name="connsiteX7" fmla="*/ 254 w 13886"/>
                <a:gd name="connsiteY7" fmla="*/ 84306 h 9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6" h="90351">
                  <a:moveTo>
                    <a:pt x="0" y="84306"/>
                  </a:moveTo>
                  <a:cubicBezTo>
                    <a:pt x="521" y="88128"/>
                    <a:pt x="4037" y="90807"/>
                    <a:pt x="7859" y="90287"/>
                  </a:cubicBezTo>
                  <a:cubicBezTo>
                    <a:pt x="10970" y="89867"/>
                    <a:pt x="13420" y="87417"/>
                    <a:pt x="13840" y="84306"/>
                  </a:cubicBezTo>
                  <a:lnTo>
                    <a:pt x="13840" y="6983"/>
                  </a:lnTo>
                  <a:cubicBezTo>
                    <a:pt x="13903" y="6602"/>
                    <a:pt x="13903" y="6221"/>
                    <a:pt x="13840" y="5840"/>
                  </a:cubicBezTo>
                  <a:cubicBezTo>
                    <a:pt x="13345" y="2501"/>
                    <a:pt x="10487" y="25"/>
                    <a:pt x="7110" y="0"/>
                  </a:cubicBezTo>
                  <a:cubicBezTo>
                    <a:pt x="3301" y="63"/>
                    <a:pt x="254" y="3174"/>
                    <a:pt x="254" y="6983"/>
                  </a:cubicBezTo>
                  <a:lnTo>
                    <a:pt x="254" y="84306"/>
                  </a:lnTo>
                  <a:close/>
                </a:path>
              </a:pathLst>
            </a:custGeom>
            <a:solidFill>
              <a:srgbClr val="000000"/>
            </a:solidFill>
            <a:ln w="12690"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C43FFFA5-1E6E-4A4C-AEF3-E9CB11946FB7}"/>
                </a:ext>
              </a:extLst>
            </p:cNvPr>
            <p:cNvSpPr/>
            <p:nvPr/>
          </p:nvSpPr>
          <p:spPr>
            <a:xfrm>
              <a:off x="7705114" y="6511671"/>
              <a:ext cx="13712" cy="6983"/>
            </a:xfrm>
            <a:custGeom>
              <a:avLst/>
              <a:gdLst>
                <a:gd name="connsiteX0" fmla="*/ 6857 w 13712"/>
                <a:gd name="connsiteY0" fmla="*/ 6983 h 6983"/>
                <a:gd name="connsiteX1" fmla="*/ 13713 w 13712"/>
                <a:gd name="connsiteY1" fmla="*/ 0 h 6983"/>
                <a:gd name="connsiteX2" fmla="*/ 13713 w 13712"/>
                <a:gd name="connsiteY2" fmla="*/ 0 h 6983"/>
                <a:gd name="connsiteX3" fmla="*/ 6857 w 13712"/>
                <a:gd name="connsiteY3" fmla="*/ 6856 h 6983"/>
                <a:gd name="connsiteX4" fmla="*/ 0 w 13712"/>
                <a:gd name="connsiteY4" fmla="*/ 0 h 6983"/>
                <a:gd name="connsiteX5" fmla="*/ 0 w 13712"/>
                <a:gd name="connsiteY5" fmla="*/ 0 h 6983"/>
                <a:gd name="connsiteX6" fmla="*/ 6857 w 13712"/>
                <a:gd name="connsiteY6"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983">
                  <a:moveTo>
                    <a:pt x="6857" y="6983"/>
                  </a:moveTo>
                  <a:cubicBezTo>
                    <a:pt x="10666" y="6920"/>
                    <a:pt x="13713" y="3809"/>
                    <a:pt x="13713" y="0"/>
                  </a:cubicBezTo>
                  <a:lnTo>
                    <a:pt x="13713" y="0"/>
                  </a:lnTo>
                  <a:cubicBezTo>
                    <a:pt x="13713" y="3784"/>
                    <a:pt x="10640" y="6856"/>
                    <a:pt x="6857" y="6856"/>
                  </a:cubicBezTo>
                  <a:cubicBezTo>
                    <a:pt x="3073" y="6856"/>
                    <a:pt x="0" y="3784"/>
                    <a:pt x="0" y="0"/>
                  </a:cubicBezTo>
                  <a:lnTo>
                    <a:pt x="0" y="0"/>
                  </a:lnTo>
                  <a:cubicBezTo>
                    <a:pt x="0" y="3809"/>
                    <a:pt x="3047" y="6920"/>
                    <a:pt x="6857" y="6983"/>
                  </a:cubicBezTo>
                  <a:close/>
                </a:path>
              </a:pathLst>
            </a:custGeom>
            <a:solidFill>
              <a:srgbClr val="000000"/>
            </a:solidFill>
            <a:ln w="12690"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629E896F-B4A1-4204-B347-4855E90CA55B}"/>
                </a:ext>
              </a:extLst>
            </p:cNvPr>
            <p:cNvSpPr/>
            <p:nvPr/>
          </p:nvSpPr>
          <p:spPr>
            <a:xfrm>
              <a:off x="5164252" y="6126578"/>
              <a:ext cx="44946" cy="13839"/>
            </a:xfrm>
            <a:custGeom>
              <a:avLst/>
              <a:gdLst>
                <a:gd name="connsiteX0" fmla="*/ 0 w 44946"/>
                <a:gd name="connsiteY0" fmla="*/ 6983 h 13839"/>
                <a:gd name="connsiteX1" fmla="*/ 6856 w 44946"/>
                <a:gd name="connsiteY1" fmla="*/ 13840 h 13839"/>
                <a:gd name="connsiteX2" fmla="*/ 44946 w 44946"/>
                <a:gd name="connsiteY2" fmla="*/ 13840 h 13839"/>
                <a:gd name="connsiteX3" fmla="*/ 38090 w 44946"/>
                <a:gd name="connsiteY3" fmla="*/ 6983 h 13839"/>
                <a:gd name="connsiteX4" fmla="*/ 44946 w 44946"/>
                <a:gd name="connsiteY4" fmla="*/ 0 h 13839"/>
                <a:gd name="connsiteX5" fmla="*/ 6856 w 44946"/>
                <a:gd name="connsiteY5" fmla="*/ 0 h 13839"/>
                <a:gd name="connsiteX6" fmla="*/ 0 w 44946"/>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46" h="13839">
                  <a:moveTo>
                    <a:pt x="0" y="6983"/>
                  </a:moveTo>
                  <a:cubicBezTo>
                    <a:pt x="0" y="10767"/>
                    <a:pt x="3073" y="13840"/>
                    <a:pt x="6856" y="13840"/>
                  </a:cubicBezTo>
                  <a:lnTo>
                    <a:pt x="44946" y="13840"/>
                  </a:lnTo>
                  <a:cubicBezTo>
                    <a:pt x="41163" y="13840"/>
                    <a:pt x="38090" y="10767"/>
                    <a:pt x="38090" y="6983"/>
                  </a:cubicBezTo>
                  <a:cubicBezTo>
                    <a:pt x="38090" y="3174"/>
                    <a:pt x="41138" y="64"/>
                    <a:pt x="44946"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3F655864-5468-4CED-B5A3-F8A8E5B979D3}"/>
                </a:ext>
              </a:extLst>
            </p:cNvPr>
            <p:cNvSpPr/>
            <p:nvPr/>
          </p:nvSpPr>
          <p:spPr>
            <a:xfrm>
              <a:off x="7705114" y="6510147"/>
              <a:ext cx="13712" cy="7871"/>
            </a:xfrm>
            <a:custGeom>
              <a:avLst/>
              <a:gdLst>
                <a:gd name="connsiteX0" fmla="*/ 6857 w 13712"/>
                <a:gd name="connsiteY0" fmla="*/ 7872 h 7871"/>
                <a:gd name="connsiteX1" fmla="*/ 13713 w 13712"/>
                <a:gd name="connsiteY1" fmla="*/ 889 h 7871"/>
                <a:gd name="connsiteX2" fmla="*/ 13713 w 13712"/>
                <a:gd name="connsiteY2" fmla="*/ 0 h 7871"/>
                <a:gd name="connsiteX3" fmla="*/ 6857 w 13712"/>
                <a:gd name="connsiteY3" fmla="*/ 6856 h 7871"/>
                <a:gd name="connsiteX4" fmla="*/ 0 w 13712"/>
                <a:gd name="connsiteY4" fmla="*/ 0 h 7871"/>
                <a:gd name="connsiteX5" fmla="*/ 0 w 13712"/>
                <a:gd name="connsiteY5" fmla="*/ 889 h 7871"/>
                <a:gd name="connsiteX6" fmla="*/ 6857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7" y="7872"/>
                  </a:moveTo>
                  <a:cubicBezTo>
                    <a:pt x="10666" y="7808"/>
                    <a:pt x="13713" y="4698"/>
                    <a:pt x="13713" y="889"/>
                  </a:cubicBezTo>
                  <a:lnTo>
                    <a:pt x="13713" y="0"/>
                  </a:lnTo>
                  <a:cubicBezTo>
                    <a:pt x="13713" y="3783"/>
                    <a:pt x="10640" y="6856"/>
                    <a:pt x="6857" y="6856"/>
                  </a:cubicBezTo>
                  <a:cubicBezTo>
                    <a:pt x="3073" y="6856"/>
                    <a:pt x="0" y="3783"/>
                    <a:pt x="0" y="0"/>
                  </a:cubicBezTo>
                  <a:lnTo>
                    <a:pt x="0" y="889"/>
                  </a:lnTo>
                  <a:cubicBezTo>
                    <a:pt x="0" y="4698"/>
                    <a:pt x="3047" y="7808"/>
                    <a:pt x="6857" y="7872"/>
                  </a:cubicBezTo>
                  <a:close/>
                </a:path>
              </a:pathLst>
            </a:custGeom>
            <a:solidFill>
              <a:srgbClr val="000000"/>
            </a:solidFill>
            <a:ln w="12690"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65994D7D-6EC0-4B23-8600-38668D0BCAF8}"/>
                </a:ext>
              </a:extLst>
            </p:cNvPr>
            <p:cNvSpPr/>
            <p:nvPr/>
          </p:nvSpPr>
          <p:spPr>
            <a:xfrm>
              <a:off x="7705114" y="5895117"/>
              <a:ext cx="13712" cy="621886"/>
            </a:xfrm>
            <a:custGeom>
              <a:avLst/>
              <a:gdLst>
                <a:gd name="connsiteX0" fmla="*/ 0 w 13712"/>
                <a:gd name="connsiteY0" fmla="*/ 6856 h 621886"/>
                <a:gd name="connsiteX1" fmla="*/ 0 w 13712"/>
                <a:gd name="connsiteY1" fmla="*/ 615031 h 621886"/>
                <a:gd name="connsiteX2" fmla="*/ 6857 w 13712"/>
                <a:gd name="connsiteY2" fmla="*/ 621887 h 621886"/>
                <a:gd name="connsiteX3" fmla="*/ 13713 w 13712"/>
                <a:gd name="connsiteY3" fmla="*/ 615031 h 621886"/>
                <a:gd name="connsiteX4" fmla="*/ 13713 w 13712"/>
                <a:gd name="connsiteY4" fmla="*/ 6856 h 621886"/>
                <a:gd name="connsiteX5" fmla="*/ 6857 w 13712"/>
                <a:gd name="connsiteY5" fmla="*/ 0 h 621886"/>
                <a:gd name="connsiteX6" fmla="*/ 0 w 13712"/>
                <a:gd name="connsiteY6" fmla="*/ 6856 h 6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21886">
                  <a:moveTo>
                    <a:pt x="0" y="6856"/>
                  </a:moveTo>
                  <a:lnTo>
                    <a:pt x="0" y="615031"/>
                  </a:lnTo>
                  <a:cubicBezTo>
                    <a:pt x="0" y="618814"/>
                    <a:pt x="3073" y="621887"/>
                    <a:pt x="6857" y="621887"/>
                  </a:cubicBezTo>
                  <a:cubicBezTo>
                    <a:pt x="10640" y="621887"/>
                    <a:pt x="13713" y="618814"/>
                    <a:pt x="13713" y="615031"/>
                  </a:cubicBezTo>
                  <a:lnTo>
                    <a:pt x="13713" y="6856"/>
                  </a:lnTo>
                  <a:cubicBezTo>
                    <a:pt x="13713" y="3070"/>
                    <a:pt x="10640" y="0"/>
                    <a:pt x="6857" y="0"/>
                  </a:cubicBez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98FE9FCA-4949-4DC2-919D-61EA8E17FA45}"/>
                </a:ext>
              </a:extLst>
            </p:cNvPr>
            <p:cNvSpPr/>
            <p:nvPr/>
          </p:nvSpPr>
          <p:spPr>
            <a:xfrm>
              <a:off x="5202850" y="6126578"/>
              <a:ext cx="10157" cy="13839"/>
            </a:xfrm>
            <a:custGeom>
              <a:avLst/>
              <a:gdLst>
                <a:gd name="connsiteX0" fmla="*/ 0 w 10157"/>
                <a:gd name="connsiteY0" fmla="*/ 6983 h 13839"/>
                <a:gd name="connsiteX1" fmla="*/ 6856 w 10157"/>
                <a:gd name="connsiteY1" fmla="*/ 13840 h 13839"/>
                <a:gd name="connsiteX2" fmla="*/ 10157 w 10157"/>
                <a:gd name="connsiteY2" fmla="*/ 13840 h 13839"/>
                <a:gd name="connsiteX3" fmla="*/ 3174 w 10157"/>
                <a:gd name="connsiteY3" fmla="*/ 6983 h 13839"/>
                <a:gd name="connsiteX4" fmla="*/ 10157 w 10157"/>
                <a:gd name="connsiteY4" fmla="*/ 0 h 13839"/>
                <a:gd name="connsiteX5" fmla="*/ 6856 w 10157"/>
                <a:gd name="connsiteY5" fmla="*/ 0 h 13839"/>
                <a:gd name="connsiteX6" fmla="*/ 0 w 10157"/>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7" h="13839">
                  <a:moveTo>
                    <a:pt x="0" y="6983"/>
                  </a:moveTo>
                  <a:cubicBezTo>
                    <a:pt x="0" y="10767"/>
                    <a:pt x="3073" y="13840"/>
                    <a:pt x="6856" y="13840"/>
                  </a:cubicBezTo>
                  <a:lnTo>
                    <a:pt x="10157" y="13840"/>
                  </a:lnTo>
                  <a:cubicBezTo>
                    <a:pt x="6348" y="13840"/>
                    <a:pt x="3238" y="10792"/>
                    <a:pt x="3174" y="6983"/>
                  </a:cubicBezTo>
                  <a:cubicBezTo>
                    <a:pt x="3174" y="3123"/>
                    <a:pt x="6298" y="0"/>
                    <a:pt x="10157"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283BF4A2-C844-40EF-9ADD-43FE5CD25BD7}"/>
                </a:ext>
              </a:extLst>
            </p:cNvPr>
            <p:cNvSpPr/>
            <p:nvPr/>
          </p:nvSpPr>
          <p:spPr>
            <a:xfrm>
              <a:off x="5205644" y="6127075"/>
              <a:ext cx="21895" cy="13342"/>
            </a:xfrm>
            <a:custGeom>
              <a:avLst/>
              <a:gdLst>
                <a:gd name="connsiteX0" fmla="*/ 0 w 21895"/>
                <a:gd name="connsiteY0" fmla="*/ 6487 h 13342"/>
                <a:gd name="connsiteX1" fmla="*/ 6983 w 21895"/>
                <a:gd name="connsiteY1" fmla="*/ 13343 h 13342"/>
                <a:gd name="connsiteX2" fmla="*/ 14982 w 21895"/>
                <a:gd name="connsiteY2" fmla="*/ 13343 h 13342"/>
                <a:gd name="connsiteX3" fmla="*/ 21838 w 21895"/>
                <a:gd name="connsiteY3" fmla="*/ 6487 h 13342"/>
                <a:gd name="connsiteX4" fmla="*/ 21838 w 21895"/>
                <a:gd name="connsiteY4" fmla="*/ 4455 h 13342"/>
                <a:gd name="connsiteX5" fmla="*/ 20823 w 21895"/>
                <a:gd name="connsiteY5" fmla="*/ 2551 h 13342"/>
                <a:gd name="connsiteX6" fmla="*/ 19934 w 21895"/>
                <a:gd name="connsiteY6" fmla="*/ 1408 h 13342"/>
                <a:gd name="connsiteX7" fmla="*/ 18791 w 21895"/>
                <a:gd name="connsiteY7" fmla="*/ 646 h 13342"/>
                <a:gd name="connsiteX8" fmla="*/ 17649 w 21895"/>
                <a:gd name="connsiteY8" fmla="*/ 11 h 13342"/>
                <a:gd name="connsiteX9" fmla="*/ 16252 w 21895"/>
                <a:gd name="connsiteY9" fmla="*/ 11 h 13342"/>
                <a:gd name="connsiteX10" fmla="*/ 15363 w 21895"/>
                <a:gd name="connsiteY10" fmla="*/ 11 h 13342"/>
                <a:gd name="connsiteX11" fmla="*/ 7364 w 21895"/>
                <a:gd name="connsiteY11" fmla="*/ 11 h 13342"/>
                <a:gd name="connsiteX12" fmla="*/ 0 w 21895"/>
                <a:gd name="connsiteY12" fmla="*/ 6487 h 1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95" h="13342">
                  <a:moveTo>
                    <a:pt x="0" y="6487"/>
                  </a:moveTo>
                  <a:cubicBezTo>
                    <a:pt x="64" y="10296"/>
                    <a:pt x="3174" y="13343"/>
                    <a:pt x="6983" y="13343"/>
                  </a:cubicBezTo>
                  <a:lnTo>
                    <a:pt x="14982" y="13343"/>
                  </a:lnTo>
                  <a:cubicBezTo>
                    <a:pt x="18766" y="13343"/>
                    <a:pt x="21838" y="10270"/>
                    <a:pt x="21838" y="6487"/>
                  </a:cubicBezTo>
                  <a:cubicBezTo>
                    <a:pt x="21915" y="5814"/>
                    <a:pt x="21915" y="5128"/>
                    <a:pt x="21838" y="4455"/>
                  </a:cubicBezTo>
                  <a:cubicBezTo>
                    <a:pt x="21572" y="3782"/>
                    <a:pt x="21242" y="3147"/>
                    <a:pt x="20823" y="2551"/>
                  </a:cubicBezTo>
                  <a:lnTo>
                    <a:pt x="19934" y="1408"/>
                  </a:lnTo>
                  <a:lnTo>
                    <a:pt x="18791" y="646"/>
                  </a:lnTo>
                  <a:cubicBezTo>
                    <a:pt x="18461" y="367"/>
                    <a:pt x="18067" y="151"/>
                    <a:pt x="17649" y="11"/>
                  </a:cubicBezTo>
                  <a:lnTo>
                    <a:pt x="16252" y="11"/>
                  </a:lnTo>
                  <a:lnTo>
                    <a:pt x="15363" y="11"/>
                  </a:lnTo>
                  <a:lnTo>
                    <a:pt x="7364" y="11"/>
                  </a:lnTo>
                  <a:cubicBezTo>
                    <a:pt x="3555" y="-204"/>
                    <a:pt x="267" y="2678"/>
                    <a:pt x="0" y="6487"/>
                  </a:cubicBezTo>
                  <a:close/>
                </a:path>
              </a:pathLst>
            </a:custGeom>
            <a:solidFill>
              <a:srgbClr val="000000"/>
            </a:solidFill>
            <a:ln w="12690"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C98A2EF1-6565-4EDA-82F3-848CB5FFC59B}"/>
                </a:ext>
              </a:extLst>
            </p:cNvPr>
            <p:cNvSpPr/>
            <p:nvPr/>
          </p:nvSpPr>
          <p:spPr>
            <a:xfrm>
              <a:off x="7090595" y="6466470"/>
              <a:ext cx="98525" cy="13839"/>
            </a:xfrm>
            <a:custGeom>
              <a:avLst/>
              <a:gdLst>
                <a:gd name="connsiteX0" fmla="*/ 6856 w 98525"/>
                <a:gd name="connsiteY0" fmla="*/ 13839 h 13839"/>
                <a:gd name="connsiteX1" fmla="*/ 91543 w 98525"/>
                <a:gd name="connsiteY1" fmla="*/ 13839 h 13839"/>
                <a:gd name="connsiteX2" fmla="*/ 98526 w 98525"/>
                <a:gd name="connsiteY2" fmla="*/ 6983 h 13839"/>
                <a:gd name="connsiteX3" fmla="*/ 91543 w 98525"/>
                <a:gd name="connsiteY3" fmla="*/ 0 h 13839"/>
                <a:gd name="connsiteX4" fmla="*/ 6856 w 98525"/>
                <a:gd name="connsiteY4" fmla="*/ 0 h 13839"/>
                <a:gd name="connsiteX5" fmla="*/ 0 w 98525"/>
                <a:gd name="connsiteY5" fmla="*/ 6983 h 13839"/>
                <a:gd name="connsiteX6" fmla="*/ 6856 w 98525"/>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25" h="13839">
                  <a:moveTo>
                    <a:pt x="6856" y="13839"/>
                  </a:moveTo>
                  <a:lnTo>
                    <a:pt x="91543" y="13839"/>
                  </a:lnTo>
                  <a:cubicBezTo>
                    <a:pt x="95352" y="13839"/>
                    <a:pt x="98463" y="10792"/>
                    <a:pt x="98526" y="6983"/>
                  </a:cubicBezTo>
                  <a:cubicBezTo>
                    <a:pt x="98526" y="3123"/>
                    <a:pt x="95403" y="0"/>
                    <a:pt x="91543" y="0"/>
                  </a:cubicBezTo>
                  <a:lnTo>
                    <a:pt x="6856" y="0"/>
                  </a:lnTo>
                  <a:cubicBezTo>
                    <a:pt x="3047" y="64"/>
                    <a:pt x="0" y="3174"/>
                    <a:pt x="0" y="6983"/>
                  </a:cubicBezTo>
                  <a:cubicBezTo>
                    <a:pt x="0" y="10767"/>
                    <a:pt x="3073" y="13839"/>
                    <a:pt x="6856" y="13839"/>
                  </a:cubicBezTo>
                  <a:close/>
                </a:path>
              </a:pathLst>
            </a:custGeom>
            <a:solidFill>
              <a:srgbClr val="000000"/>
            </a:solidFill>
            <a:ln w="12690"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98FC0C3F-800D-46E0-A54A-18C3CE801809}"/>
                </a:ext>
              </a:extLst>
            </p:cNvPr>
            <p:cNvSpPr/>
            <p:nvPr/>
          </p:nvSpPr>
          <p:spPr>
            <a:xfrm>
              <a:off x="7835128" y="6507354"/>
              <a:ext cx="2539" cy="357032"/>
            </a:xfrm>
            <a:custGeom>
              <a:avLst/>
              <a:gdLst>
                <a:gd name="connsiteX0" fmla="*/ 2539 w 2539"/>
                <a:gd name="connsiteY0" fmla="*/ 7999 h 357032"/>
                <a:gd name="connsiteX1" fmla="*/ 2539 w 2539"/>
                <a:gd name="connsiteY1" fmla="*/ 7999 h 357032"/>
                <a:gd name="connsiteX2" fmla="*/ 2539 w 2539"/>
                <a:gd name="connsiteY2" fmla="*/ 1270 h 357032"/>
                <a:gd name="connsiteX3" fmla="*/ 1270 w 2539"/>
                <a:gd name="connsiteY3" fmla="*/ 0 h 357032"/>
                <a:gd name="connsiteX4" fmla="*/ 0 w 2539"/>
                <a:gd name="connsiteY4" fmla="*/ 1270 h 357032"/>
                <a:gd name="connsiteX5" fmla="*/ 0 w 2539"/>
                <a:gd name="connsiteY5" fmla="*/ 7999 h 357032"/>
                <a:gd name="connsiteX6" fmla="*/ 0 w 2539"/>
                <a:gd name="connsiteY6" fmla="*/ 7999 h 357032"/>
                <a:gd name="connsiteX7" fmla="*/ 0 w 2539"/>
                <a:gd name="connsiteY7" fmla="*/ 357033 h 357032"/>
                <a:gd name="connsiteX8" fmla="*/ 2539 w 2539"/>
                <a:gd name="connsiteY8" fmla="*/ 357033 h 357032"/>
                <a:gd name="connsiteX9" fmla="*/ 2539 w 2539"/>
                <a:gd name="connsiteY9" fmla="*/ 7872 h 35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357032">
                  <a:moveTo>
                    <a:pt x="2539" y="7999"/>
                  </a:moveTo>
                  <a:lnTo>
                    <a:pt x="2539" y="7999"/>
                  </a:lnTo>
                  <a:lnTo>
                    <a:pt x="2539" y="1270"/>
                  </a:lnTo>
                  <a:cubicBezTo>
                    <a:pt x="2539" y="571"/>
                    <a:pt x="1968" y="0"/>
                    <a:pt x="1270" y="0"/>
                  </a:cubicBezTo>
                  <a:cubicBezTo>
                    <a:pt x="572" y="0"/>
                    <a:pt x="0" y="571"/>
                    <a:pt x="0" y="1270"/>
                  </a:cubicBezTo>
                  <a:lnTo>
                    <a:pt x="0" y="7999"/>
                  </a:lnTo>
                  <a:lnTo>
                    <a:pt x="0" y="7999"/>
                  </a:lnTo>
                  <a:lnTo>
                    <a:pt x="0" y="357033"/>
                  </a:lnTo>
                  <a:lnTo>
                    <a:pt x="2539" y="357033"/>
                  </a:lnTo>
                  <a:lnTo>
                    <a:pt x="2539" y="7872"/>
                  </a:lnTo>
                  <a:close/>
                </a:path>
              </a:pathLst>
            </a:custGeom>
            <a:solidFill>
              <a:srgbClr val="000000"/>
            </a:solidFill>
            <a:ln w="12690"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3F559011-6763-4EB0-9BCC-DFDA694DAFC5}"/>
                </a:ext>
              </a:extLst>
            </p:cNvPr>
            <p:cNvSpPr/>
            <p:nvPr/>
          </p:nvSpPr>
          <p:spPr>
            <a:xfrm>
              <a:off x="6055052" y="5854741"/>
              <a:ext cx="13839" cy="662262"/>
            </a:xfrm>
            <a:custGeom>
              <a:avLst/>
              <a:gdLst>
                <a:gd name="connsiteX0" fmla="*/ 0 w 13839"/>
                <a:gd name="connsiteY0" fmla="*/ 6983 h 662262"/>
                <a:gd name="connsiteX1" fmla="*/ 0 w 13839"/>
                <a:gd name="connsiteY1" fmla="*/ 655406 h 662262"/>
                <a:gd name="connsiteX2" fmla="*/ 6983 w 13839"/>
                <a:gd name="connsiteY2" fmla="*/ 662263 h 662262"/>
                <a:gd name="connsiteX3" fmla="*/ 13839 w 13839"/>
                <a:gd name="connsiteY3" fmla="*/ 655406 h 662262"/>
                <a:gd name="connsiteX4" fmla="*/ 13839 w 13839"/>
                <a:gd name="connsiteY4" fmla="*/ 6983 h 662262"/>
                <a:gd name="connsiteX5" fmla="*/ 6983 w 13839"/>
                <a:gd name="connsiteY5" fmla="*/ 0 h 662262"/>
                <a:gd name="connsiteX6" fmla="*/ 0 w 13839"/>
                <a:gd name="connsiteY6" fmla="*/ 6983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62262">
                  <a:moveTo>
                    <a:pt x="0" y="6983"/>
                  </a:moveTo>
                  <a:lnTo>
                    <a:pt x="0" y="655406"/>
                  </a:lnTo>
                  <a:cubicBezTo>
                    <a:pt x="64" y="659215"/>
                    <a:pt x="3174" y="662263"/>
                    <a:pt x="6983" y="662263"/>
                  </a:cubicBezTo>
                  <a:cubicBezTo>
                    <a:pt x="10767" y="662263"/>
                    <a:pt x="13839" y="659190"/>
                    <a:pt x="13839" y="655406"/>
                  </a:cubicBezTo>
                  <a:lnTo>
                    <a:pt x="13839" y="6983"/>
                  </a:lnTo>
                  <a:cubicBezTo>
                    <a:pt x="13839" y="3175"/>
                    <a:pt x="10792" y="69"/>
                    <a:pt x="6983" y="0"/>
                  </a:cubicBezTo>
                  <a:cubicBezTo>
                    <a:pt x="3123" y="0"/>
                    <a:pt x="0" y="3126"/>
                    <a:pt x="0" y="6983"/>
                  </a:cubicBezTo>
                  <a:close/>
                </a:path>
              </a:pathLst>
            </a:custGeom>
            <a:solidFill>
              <a:srgbClr val="000000"/>
            </a:solidFill>
            <a:ln w="12690"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A598EA6A-FBD9-4B3A-B5EB-0802D41F2096}"/>
                </a:ext>
              </a:extLst>
            </p:cNvPr>
            <p:cNvSpPr/>
            <p:nvPr/>
          </p:nvSpPr>
          <p:spPr>
            <a:xfrm>
              <a:off x="7801260" y="5861380"/>
              <a:ext cx="12792" cy="103584"/>
            </a:xfrm>
            <a:custGeom>
              <a:avLst/>
              <a:gdLst>
                <a:gd name="connsiteX0" fmla="*/ 95 w 12792"/>
                <a:gd name="connsiteY0" fmla="*/ 98109 h 103584"/>
                <a:gd name="connsiteX1" fmla="*/ 95 w 12792"/>
                <a:gd name="connsiteY1" fmla="*/ 99506 h 103584"/>
                <a:gd name="connsiteX2" fmla="*/ 95 w 12792"/>
                <a:gd name="connsiteY2" fmla="*/ 100522 h 103584"/>
                <a:gd name="connsiteX3" fmla="*/ 857 w 12792"/>
                <a:gd name="connsiteY3" fmla="*/ 101791 h 103584"/>
                <a:gd name="connsiteX4" fmla="*/ 1492 w 12792"/>
                <a:gd name="connsiteY4" fmla="*/ 102553 h 103584"/>
                <a:gd name="connsiteX5" fmla="*/ 2888 w 12792"/>
                <a:gd name="connsiteY5" fmla="*/ 103442 h 103584"/>
                <a:gd name="connsiteX6" fmla="*/ 3650 w 12792"/>
                <a:gd name="connsiteY6" fmla="*/ 103442 h 103584"/>
                <a:gd name="connsiteX7" fmla="*/ 6189 w 12792"/>
                <a:gd name="connsiteY7" fmla="*/ 103442 h 103584"/>
                <a:gd name="connsiteX8" fmla="*/ 9237 w 12792"/>
                <a:gd name="connsiteY8" fmla="*/ 102680 h 103584"/>
                <a:gd name="connsiteX9" fmla="*/ 9237 w 12792"/>
                <a:gd name="connsiteY9" fmla="*/ 102680 h 103584"/>
                <a:gd name="connsiteX10" fmla="*/ 12792 w 12792"/>
                <a:gd name="connsiteY10" fmla="*/ 96713 h 103584"/>
                <a:gd name="connsiteX11" fmla="*/ 12792 w 12792"/>
                <a:gd name="connsiteY11" fmla="*/ 6566 h 103584"/>
                <a:gd name="connsiteX12" fmla="*/ 8094 w 12792"/>
                <a:gd name="connsiteY12" fmla="*/ 90 h 103584"/>
                <a:gd name="connsiteX13" fmla="*/ 6698 w 12792"/>
                <a:gd name="connsiteY13" fmla="*/ 90 h 103584"/>
                <a:gd name="connsiteX14" fmla="*/ 7205 w 12792"/>
                <a:gd name="connsiteY14" fmla="*/ 90 h 103584"/>
                <a:gd name="connsiteX15" fmla="*/ 5047 w 12792"/>
                <a:gd name="connsiteY15" fmla="*/ 90 h 103584"/>
                <a:gd name="connsiteX16" fmla="*/ 3777 w 12792"/>
                <a:gd name="connsiteY16" fmla="*/ 90 h 103584"/>
                <a:gd name="connsiteX17" fmla="*/ 2762 w 12792"/>
                <a:gd name="connsiteY17" fmla="*/ 852 h 103584"/>
                <a:gd name="connsiteX18" fmla="*/ 1873 w 12792"/>
                <a:gd name="connsiteY18" fmla="*/ 1741 h 103584"/>
                <a:gd name="connsiteX19" fmla="*/ 1111 w 12792"/>
                <a:gd name="connsiteY19" fmla="*/ 2884 h 103584"/>
                <a:gd name="connsiteX20" fmla="*/ 1111 w 12792"/>
                <a:gd name="connsiteY20" fmla="*/ 4026 h 103584"/>
                <a:gd name="connsiteX21" fmla="*/ 1111 w 12792"/>
                <a:gd name="connsiteY21" fmla="*/ 5423 h 103584"/>
                <a:gd name="connsiteX22" fmla="*/ 1111 w 12792"/>
                <a:gd name="connsiteY22" fmla="*/ 5423 h 103584"/>
                <a:gd name="connsiteX23" fmla="*/ 1111 w 12792"/>
                <a:gd name="connsiteY23" fmla="*/ 96332 h 103584"/>
                <a:gd name="connsiteX24" fmla="*/ 95 w 12792"/>
                <a:gd name="connsiteY24" fmla="*/ 98109 h 1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92" h="103584">
                  <a:moveTo>
                    <a:pt x="95" y="98109"/>
                  </a:moveTo>
                  <a:cubicBezTo>
                    <a:pt x="19" y="98572"/>
                    <a:pt x="19" y="99044"/>
                    <a:pt x="95" y="99506"/>
                  </a:cubicBezTo>
                  <a:cubicBezTo>
                    <a:pt x="-32" y="99832"/>
                    <a:pt x="-32" y="100195"/>
                    <a:pt x="95" y="100522"/>
                  </a:cubicBezTo>
                  <a:cubicBezTo>
                    <a:pt x="273" y="100986"/>
                    <a:pt x="527" y="101417"/>
                    <a:pt x="857" y="101791"/>
                  </a:cubicBezTo>
                  <a:lnTo>
                    <a:pt x="1492" y="102553"/>
                  </a:lnTo>
                  <a:cubicBezTo>
                    <a:pt x="1911" y="102923"/>
                    <a:pt x="2381" y="103222"/>
                    <a:pt x="2888" y="103442"/>
                  </a:cubicBezTo>
                  <a:cubicBezTo>
                    <a:pt x="2888" y="103442"/>
                    <a:pt x="2888" y="103442"/>
                    <a:pt x="3650" y="103442"/>
                  </a:cubicBezTo>
                  <a:cubicBezTo>
                    <a:pt x="4488" y="103632"/>
                    <a:pt x="5352" y="103632"/>
                    <a:pt x="6189" y="103442"/>
                  </a:cubicBezTo>
                  <a:cubicBezTo>
                    <a:pt x="7257" y="103447"/>
                    <a:pt x="8297" y="103185"/>
                    <a:pt x="9237" y="102680"/>
                  </a:cubicBezTo>
                  <a:lnTo>
                    <a:pt x="9237" y="102680"/>
                  </a:lnTo>
                  <a:cubicBezTo>
                    <a:pt x="11382" y="101445"/>
                    <a:pt x="12728" y="99185"/>
                    <a:pt x="12792" y="96713"/>
                  </a:cubicBezTo>
                  <a:lnTo>
                    <a:pt x="12792" y="6566"/>
                  </a:lnTo>
                  <a:cubicBezTo>
                    <a:pt x="12780" y="3623"/>
                    <a:pt x="10887" y="1017"/>
                    <a:pt x="8094" y="90"/>
                  </a:cubicBezTo>
                  <a:lnTo>
                    <a:pt x="6698" y="90"/>
                  </a:lnTo>
                  <a:lnTo>
                    <a:pt x="7205" y="90"/>
                  </a:lnTo>
                  <a:cubicBezTo>
                    <a:pt x="6494" y="-30"/>
                    <a:pt x="5758" y="-30"/>
                    <a:pt x="5047" y="90"/>
                  </a:cubicBezTo>
                  <a:lnTo>
                    <a:pt x="3777" y="90"/>
                  </a:lnTo>
                  <a:lnTo>
                    <a:pt x="2762" y="852"/>
                  </a:lnTo>
                  <a:lnTo>
                    <a:pt x="1873" y="1741"/>
                  </a:lnTo>
                  <a:lnTo>
                    <a:pt x="1111" y="2884"/>
                  </a:lnTo>
                  <a:lnTo>
                    <a:pt x="1111" y="4026"/>
                  </a:lnTo>
                  <a:cubicBezTo>
                    <a:pt x="1111" y="4026"/>
                    <a:pt x="1111" y="4915"/>
                    <a:pt x="1111" y="5423"/>
                  </a:cubicBezTo>
                  <a:cubicBezTo>
                    <a:pt x="1111" y="5931"/>
                    <a:pt x="1111" y="5423"/>
                    <a:pt x="1111" y="5423"/>
                  </a:cubicBezTo>
                  <a:lnTo>
                    <a:pt x="1111" y="96332"/>
                  </a:lnTo>
                  <a:cubicBezTo>
                    <a:pt x="1111" y="96332"/>
                    <a:pt x="95" y="97855"/>
                    <a:pt x="95" y="98109"/>
                  </a:cubicBezTo>
                  <a:close/>
                </a:path>
              </a:pathLst>
            </a:custGeom>
            <a:solidFill>
              <a:srgbClr val="000000"/>
            </a:solidFill>
            <a:ln w="12690"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CF8E9FCA-5A9F-41D8-9F07-3D616A17932C}"/>
                </a:ext>
              </a:extLst>
            </p:cNvPr>
            <p:cNvSpPr/>
            <p:nvPr/>
          </p:nvSpPr>
          <p:spPr>
            <a:xfrm>
              <a:off x="4143311" y="6100423"/>
              <a:ext cx="13839" cy="21330"/>
            </a:xfrm>
            <a:custGeom>
              <a:avLst/>
              <a:gdLst>
                <a:gd name="connsiteX0" fmla="*/ 13078 w 13839"/>
                <a:gd name="connsiteY0" fmla="*/ 4063 h 21330"/>
                <a:gd name="connsiteX1" fmla="*/ 11046 w 13839"/>
                <a:gd name="connsiteY1" fmla="*/ 1651 h 21330"/>
                <a:gd name="connsiteX2" fmla="*/ 6856 w 13839"/>
                <a:gd name="connsiteY2" fmla="*/ 0 h 21330"/>
                <a:gd name="connsiteX3" fmla="*/ 2539 w 13839"/>
                <a:gd name="connsiteY3" fmla="*/ 1651 h 21330"/>
                <a:gd name="connsiteX4" fmla="*/ 635 w 13839"/>
                <a:gd name="connsiteY4" fmla="*/ 4063 h 21330"/>
                <a:gd name="connsiteX5" fmla="*/ 0 w 13839"/>
                <a:gd name="connsiteY5" fmla="*/ 6348 h 21330"/>
                <a:gd name="connsiteX6" fmla="*/ 0 w 13839"/>
                <a:gd name="connsiteY6" fmla="*/ 14347 h 21330"/>
                <a:gd name="connsiteX7" fmla="*/ 6983 w 13839"/>
                <a:gd name="connsiteY7" fmla="*/ 21331 h 21330"/>
                <a:gd name="connsiteX8" fmla="*/ 13840 w 13839"/>
                <a:gd name="connsiteY8" fmla="*/ 14347 h 21330"/>
                <a:gd name="connsiteX9" fmla="*/ 13840 w 13839"/>
                <a:gd name="connsiteY9" fmla="*/ 6348 h 21330"/>
                <a:gd name="connsiteX10" fmla="*/ 13078 w 13839"/>
                <a:gd name="connsiteY10" fmla="*/ 4063 h 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21330">
                  <a:moveTo>
                    <a:pt x="13078" y="4063"/>
                  </a:moveTo>
                  <a:cubicBezTo>
                    <a:pt x="12621" y="3098"/>
                    <a:pt x="11923" y="2273"/>
                    <a:pt x="11046" y="1651"/>
                  </a:cubicBezTo>
                  <a:cubicBezTo>
                    <a:pt x="9878" y="648"/>
                    <a:pt x="8393" y="63"/>
                    <a:pt x="6856" y="0"/>
                  </a:cubicBezTo>
                  <a:cubicBezTo>
                    <a:pt x="5282" y="76"/>
                    <a:pt x="3771" y="660"/>
                    <a:pt x="2539" y="1651"/>
                  </a:cubicBezTo>
                  <a:cubicBezTo>
                    <a:pt x="1701" y="2273"/>
                    <a:pt x="1054" y="3111"/>
                    <a:pt x="635" y="4063"/>
                  </a:cubicBezTo>
                  <a:cubicBezTo>
                    <a:pt x="292" y="4787"/>
                    <a:pt x="76" y="5561"/>
                    <a:pt x="0" y="6348"/>
                  </a:cubicBezTo>
                  <a:lnTo>
                    <a:pt x="0" y="14347"/>
                  </a:lnTo>
                  <a:cubicBezTo>
                    <a:pt x="0" y="18207"/>
                    <a:pt x="3123" y="21331"/>
                    <a:pt x="6983" y="21331"/>
                  </a:cubicBezTo>
                  <a:cubicBezTo>
                    <a:pt x="10792" y="21267"/>
                    <a:pt x="13840" y="18156"/>
                    <a:pt x="13840" y="14347"/>
                  </a:cubicBezTo>
                  <a:lnTo>
                    <a:pt x="13840" y="6348"/>
                  </a:lnTo>
                  <a:cubicBezTo>
                    <a:pt x="13713" y="5548"/>
                    <a:pt x="13459" y="4774"/>
                    <a:pt x="13078" y="4063"/>
                  </a:cubicBezTo>
                  <a:close/>
                </a:path>
              </a:pathLst>
            </a:custGeom>
            <a:solidFill>
              <a:srgbClr val="000000"/>
            </a:solidFill>
            <a:ln w="12690"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852371D6-9497-403B-BAB7-1227AF0B7C71}"/>
                </a:ext>
              </a:extLst>
            </p:cNvPr>
            <p:cNvSpPr/>
            <p:nvPr/>
          </p:nvSpPr>
          <p:spPr>
            <a:xfrm>
              <a:off x="1989825" y="6388512"/>
              <a:ext cx="21838" cy="476001"/>
            </a:xfrm>
            <a:custGeom>
              <a:avLst/>
              <a:gdLst>
                <a:gd name="connsiteX0" fmla="*/ 21838 w 21838"/>
                <a:gd name="connsiteY0" fmla="*/ 68309 h 476001"/>
                <a:gd name="connsiteX1" fmla="*/ 21838 w 21838"/>
                <a:gd name="connsiteY1" fmla="*/ 0 h 476001"/>
                <a:gd name="connsiteX2" fmla="*/ 0 w 21838"/>
                <a:gd name="connsiteY2" fmla="*/ 0 h 476001"/>
                <a:gd name="connsiteX3" fmla="*/ 0 w 21838"/>
                <a:gd name="connsiteY3" fmla="*/ 476001 h 476001"/>
                <a:gd name="connsiteX4" fmla="*/ 16252 w 21838"/>
                <a:gd name="connsiteY4" fmla="*/ 476001 h 476001"/>
                <a:gd name="connsiteX5" fmla="*/ 16252 w 21838"/>
                <a:gd name="connsiteY5" fmla="*/ 75038 h 476001"/>
                <a:gd name="connsiteX6" fmla="*/ 21838 w 21838"/>
                <a:gd name="connsiteY6" fmla="*/ 68309 h 47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8" h="476001">
                  <a:moveTo>
                    <a:pt x="21838" y="68309"/>
                  </a:moveTo>
                  <a:lnTo>
                    <a:pt x="21838" y="0"/>
                  </a:lnTo>
                  <a:lnTo>
                    <a:pt x="0" y="0"/>
                  </a:lnTo>
                  <a:lnTo>
                    <a:pt x="0" y="476001"/>
                  </a:lnTo>
                  <a:lnTo>
                    <a:pt x="16252" y="476001"/>
                  </a:lnTo>
                  <a:lnTo>
                    <a:pt x="16252" y="75038"/>
                  </a:lnTo>
                  <a:cubicBezTo>
                    <a:pt x="16252" y="71749"/>
                    <a:pt x="18601" y="68918"/>
                    <a:pt x="21838" y="68309"/>
                  </a:cubicBezTo>
                  <a:close/>
                </a:path>
              </a:pathLst>
            </a:custGeom>
            <a:solidFill>
              <a:srgbClr val="E8E7E3"/>
            </a:solidFill>
            <a:ln w="12690"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868F914F-4758-4722-AEAB-17830CDAEF01}"/>
                </a:ext>
              </a:extLst>
            </p:cNvPr>
            <p:cNvSpPr/>
            <p:nvPr/>
          </p:nvSpPr>
          <p:spPr>
            <a:xfrm>
              <a:off x="2014076" y="6392702"/>
              <a:ext cx="370997" cy="68181"/>
            </a:xfrm>
            <a:custGeom>
              <a:avLst/>
              <a:gdLst>
                <a:gd name="connsiteX0" fmla="*/ 0 w 370997"/>
                <a:gd name="connsiteY0" fmla="*/ 0 h 68181"/>
                <a:gd name="connsiteX1" fmla="*/ 0 w 370997"/>
                <a:gd name="connsiteY1" fmla="*/ 68182 h 68181"/>
                <a:gd name="connsiteX2" fmla="*/ 338240 w 370997"/>
                <a:gd name="connsiteY2" fmla="*/ 68182 h 68181"/>
                <a:gd name="connsiteX3" fmla="*/ 370997 w 370997"/>
                <a:gd name="connsiteY3" fmla="*/ 68182 h 68181"/>
                <a:gd name="connsiteX4" fmla="*/ 370997 w 370997"/>
                <a:gd name="connsiteY4" fmla="*/ 508 h 68181"/>
                <a:gd name="connsiteX5" fmla="*/ 338240 w 370997"/>
                <a:gd name="connsiteY5" fmla="*/ 0 h 68181"/>
                <a:gd name="connsiteX6" fmla="*/ 0 w 370997"/>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7" h="68181">
                  <a:moveTo>
                    <a:pt x="0" y="0"/>
                  </a:moveTo>
                  <a:lnTo>
                    <a:pt x="0" y="68182"/>
                  </a:lnTo>
                  <a:lnTo>
                    <a:pt x="338240" y="68182"/>
                  </a:lnTo>
                  <a:lnTo>
                    <a:pt x="370997" y="68182"/>
                  </a:lnTo>
                  <a:lnTo>
                    <a:pt x="370997" y="508"/>
                  </a:lnTo>
                  <a:lnTo>
                    <a:pt x="338240" y="0"/>
                  </a:lnTo>
                  <a:lnTo>
                    <a:pt x="0" y="0"/>
                  </a:lnTo>
                  <a:close/>
                </a:path>
              </a:pathLst>
            </a:custGeom>
            <a:solidFill>
              <a:schemeClr val="bg1">
                <a:lumMod val="95000"/>
              </a:schemeClr>
            </a:solidFill>
            <a:ln w="12690"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273AAA44-55F2-441E-B116-E17956392252}"/>
                </a:ext>
              </a:extLst>
            </p:cNvPr>
            <p:cNvSpPr/>
            <p:nvPr/>
          </p:nvSpPr>
          <p:spPr>
            <a:xfrm>
              <a:off x="653752" y="5594965"/>
              <a:ext cx="28059" cy="190959"/>
            </a:xfrm>
            <a:custGeom>
              <a:avLst/>
              <a:gdLst>
                <a:gd name="connsiteX0" fmla="*/ 28060 w 28059"/>
                <a:gd name="connsiteY0" fmla="*/ 190959 h 190959"/>
                <a:gd name="connsiteX1" fmla="*/ 28060 w 28059"/>
                <a:gd name="connsiteY1" fmla="*/ 10411 h 190959"/>
                <a:gd name="connsiteX2" fmla="*/ 26028 w 28059"/>
                <a:gd name="connsiteY2" fmla="*/ 0 h 190959"/>
                <a:gd name="connsiteX3" fmla="*/ 0 w 28059"/>
                <a:gd name="connsiteY3" fmla="*/ 0 h 190959"/>
                <a:gd name="connsiteX4" fmla="*/ 0 w 28059"/>
                <a:gd name="connsiteY4" fmla="*/ 9649 h 190959"/>
                <a:gd name="connsiteX5" fmla="*/ 0 w 28059"/>
                <a:gd name="connsiteY5" fmla="*/ 190959 h 190959"/>
                <a:gd name="connsiteX6" fmla="*/ 28060 w 28059"/>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59" h="190959">
                  <a:moveTo>
                    <a:pt x="28060" y="190959"/>
                  </a:moveTo>
                  <a:lnTo>
                    <a:pt x="28060" y="10411"/>
                  </a:lnTo>
                  <a:lnTo>
                    <a:pt x="26028" y="0"/>
                  </a:lnTo>
                  <a:lnTo>
                    <a:pt x="0" y="0"/>
                  </a:lnTo>
                  <a:lnTo>
                    <a:pt x="0" y="9649"/>
                  </a:lnTo>
                  <a:lnTo>
                    <a:pt x="0" y="190959"/>
                  </a:lnTo>
                  <a:lnTo>
                    <a:pt x="28060" y="190959"/>
                  </a:lnTo>
                  <a:close/>
                </a:path>
              </a:pathLst>
            </a:custGeom>
            <a:solidFill>
              <a:schemeClr val="accent5"/>
            </a:solidFill>
            <a:ln w="12690"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563FEA35-4B28-4753-A878-83A8C068B6E0}"/>
                </a:ext>
              </a:extLst>
            </p:cNvPr>
            <p:cNvSpPr/>
            <p:nvPr/>
          </p:nvSpPr>
          <p:spPr>
            <a:xfrm>
              <a:off x="169754" y="4787452"/>
              <a:ext cx="244538" cy="953145"/>
            </a:xfrm>
            <a:custGeom>
              <a:avLst/>
              <a:gdLst>
                <a:gd name="connsiteX0" fmla="*/ 86591 w 244538"/>
                <a:gd name="connsiteY0" fmla="*/ 166581 h 953145"/>
                <a:gd name="connsiteX1" fmla="*/ 89258 w 244538"/>
                <a:gd name="connsiteY1" fmla="*/ 166581 h 953145"/>
                <a:gd name="connsiteX2" fmla="*/ 90273 w 244538"/>
                <a:gd name="connsiteY2" fmla="*/ 167343 h 953145"/>
                <a:gd name="connsiteX3" fmla="*/ 91416 w 244538"/>
                <a:gd name="connsiteY3" fmla="*/ 168105 h 953145"/>
                <a:gd name="connsiteX4" fmla="*/ 92940 w 244538"/>
                <a:gd name="connsiteY4" fmla="*/ 170263 h 953145"/>
                <a:gd name="connsiteX5" fmla="*/ 92940 w 244538"/>
                <a:gd name="connsiteY5" fmla="*/ 170263 h 953145"/>
                <a:gd name="connsiteX6" fmla="*/ 99542 w 244538"/>
                <a:gd name="connsiteY6" fmla="*/ 186261 h 953145"/>
                <a:gd name="connsiteX7" fmla="*/ 99542 w 244538"/>
                <a:gd name="connsiteY7" fmla="*/ 186261 h 953145"/>
                <a:gd name="connsiteX8" fmla="*/ 99542 w 244538"/>
                <a:gd name="connsiteY8" fmla="*/ 187531 h 953145"/>
                <a:gd name="connsiteX9" fmla="*/ 99542 w 244538"/>
                <a:gd name="connsiteY9" fmla="*/ 188928 h 953145"/>
                <a:gd name="connsiteX10" fmla="*/ 99542 w 244538"/>
                <a:gd name="connsiteY10" fmla="*/ 188928 h 953145"/>
                <a:gd name="connsiteX11" fmla="*/ 99542 w 244538"/>
                <a:gd name="connsiteY11" fmla="*/ 953145 h 953145"/>
                <a:gd name="connsiteX12" fmla="*/ 244538 w 244538"/>
                <a:gd name="connsiteY12" fmla="*/ 953145 h 953145"/>
                <a:gd name="connsiteX13" fmla="*/ 244538 w 244538"/>
                <a:gd name="connsiteY13" fmla="*/ 15236 h 953145"/>
                <a:gd name="connsiteX14" fmla="*/ 240475 w 244538"/>
                <a:gd name="connsiteY14" fmla="*/ 0 h 953145"/>
                <a:gd name="connsiteX15" fmla="*/ 0 w 244538"/>
                <a:gd name="connsiteY15" fmla="*/ 0 h 953145"/>
                <a:gd name="connsiteX16" fmla="*/ 0 w 244538"/>
                <a:gd name="connsiteY16" fmla="*/ 166581 h 9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4538" h="953145">
                  <a:moveTo>
                    <a:pt x="86591" y="166581"/>
                  </a:moveTo>
                  <a:cubicBezTo>
                    <a:pt x="87471" y="166400"/>
                    <a:pt x="88378" y="166400"/>
                    <a:pt x="89258" y="166581"/>
                  </a:cubicBezTo>
                  <a:cubicBezTo>
                    <a:pt x="89646" y="166762"/>
                    <a:pt x="89992" y="167021"/>
                    <a:pt x="90273" y="167343"/>
                  </a:cubicBezTo>
                  <a:cubicBezTo>
                    <a:pt x="90273" y="167343"/>
                    <a:pt x="91162" y="167343"/>
                    <a:pt x="91416" y="168105"/>
                  </a:cubicBezTo>
                  <a:cubicBezTo>
                    <a:pt x="92064" y="168714"/>
                    <a:pt x="92583" y="169448"/>
                    <a:pt x="92940" y="170263"/>
                  </a:cubicBezTo>
                  <a:lnTo>
                    <a:pt x="92940" y="170263"/>
                  </a:lnTo>
                  <a:lnTo>
                    <a:pt x="99542" y="186261"/>
                  </a:lnTo>
                  <a:lnTo>
                    <a:pt x="99542" y="186261"/>
                  </a:lnTo>
                  <a:cubicBezTo>
                    <a:pt x="99598" y="186683"/>
                    <a:pt x="99598" y="187109"/>
                    <a:pt x="99542" y="187531"/>
                  </a:cubicBezTo>
                  <a:cubicBezTo>
                    <a:pt x="99542" y="187531"/>
                    <a:pt x="99542" y="188420"/>
                    <a:pt x="99542" y="188928"/>
                  </a:cubicBezTo>
                  <a:lnTo>
                    <a:pt x="99542" y="188928"/>
                  </a:lnTo>
                  <a:lnTo>
                    <a:pt x="99542" y="953145"/>
                  </a:lnTo>
                  <a:lnTo>
                    <a:pt x="244538" y="953145"/>
                  </a:lnTo>
                  <a:lnTo>
                    <a:pt x="244538" y="15236"/>
                  </a:lnTo>
                  <a:lnTo>
                    <a:pt x="240475" y="0"/>
                  </a:lnTo>
                  <a:lnTo>
                    <a:pt x="0" y="0"/>
                  </a:lnTo>
                  <a:lnTo>
                    <a:pt x="0" y="166581"/>
                  </a:lnTo>
                  <a:close/>
                </a:path>
              </a:pathLst>
            </a:custGeom>
            <a:solidFill>
              <a:schemeClr val="accent6">
                <a:lumMod val="75000"/>
              </a:schemeClr>
            </a:solidFill>
            <a:ln w="12690" cap="flat">
              <a:solidFill>
                <a:schemeClr val="accent1"/>
              </a:solid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2761B78D-5CB2-41FD-A664-84201BACF63C}"/>
                </a:ext>
              </a:extLst>
            </p:cNvPr>
            <p:cNvSpPr/>
            <p:nvPr/>
          </p:nvSpPr>
          <p:spPr>
            <a:xfrm>
              <a:off x="686764" y="5806112"/>
              <a:ext cx="761" cy="273741"/>
            </a:xfrm>
            <a:custGeom>
              <a:avLst/>
              <a:gdLst>
                <a:gd name="connsiteX0" fmla="*/ 762 w 761"/>
                <a:gd name="connsiteY0" fmla="*/ 273488 h 273741"/>
                <a:gd name="connsiteX1" fmla="*/ 762 w 761"/>
                <a:gd name="connsiteY1" fmla="*/ 0 h 273741"/>
                <a:gd name="connsiteX2" fmla="*/ 0 w 761"/>
                <a:gd name="connsiteY2" fmla="*/ 0 h 273741"/>
                <a:gd name="connsiteX3" fmla="*/ 0 w 761"/>
                <a:gd name="connsiteY3" fmla="*/ 273742 h 273741"/>
              </a:gdLst>
              <a:ahLst/>
              <a:cxnLst>
                <a:cxn ang="0">
                  <a:pos x="connsiteX0" y="connsiteY0"/>
                </a:cxn>
                <a:cxn ang="0">
                  <a:pos x="connsiteX1" y="connsiteY1"/>
                </a:cxn>
                <a:cxn ang="0">
                  <a:pos x="connsiteX2" y="connsiteY2"/>
                </a:cxn>
                <a:cxn ang="0">
                  <a:pos x="connsiteX3" y="connsiteY3"/>
                </a:cxn>
              </a:cxnLst>
              <a:rect l="l" t="t" r="r" b="b"/>
              <a:pathLst>
                <a:path w="761" h="273741">
                  <a:moveTo>
                    <a:pt x="762" y="273488"/>
                  </a:moveTo>
                  <a:lnTo>
                    <a:pt x="762" y="0"/>
                  </a:lnTo>
                  <a:lnTo>
                    <a:pt x="0" y="0"/>
                  </a:lnTo>
                  <a:lnTo>
                    <a:pt x="0" y="273742"/>
                  </a:lnTo>
                  <a:close/>
                </a:path>
              </a:pathLst>
            </a:custGeom>
            <a:solidFill>
              <a:srgbClr val="F4F5F3"/>
            </a:solidFill>
            <a:ln w="12690"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34360F06-6A55-4224-91FE-E9C746BD5593}"/>
                </a:ext>
              </a:extLst>
            </p:cNvPr>
            <p:cNvSpPr/>
            <p:nvPr/>
          </p:nvSpPr>
          <p:spPr>
            <a:xfrm>
              <a:off x="689938" y="5806366"/>
              <a:ext cx="318052" cy="585447"/>
            </a:xfrm>
            <a:custGeom>
              <a:avLst/>
              <a:gdLst>
                <a:gd name="connsiteX0" fmla="*/ 6729 w 318052"/>
                <a:gd name="connsiteY0" fmla="*/ 273234 h 585447"/>
                <a:gd name="connsiteX1" fmla="*/ 7745 w 318052"/>
                <a:gd name="connsiteY1" fmla="*/ 273234 h 585447"/>
                <a:gd name="connsiteX2" fmla="*/ 9142 w 318052"/>
                <a:gd name="connsiteY2" fmla="*/ 273234 h 585447"/>
                <a:gd name="connsiteX3" fmla="*/ 10284 w 318052"/>
                <a:gd name="connsiteY3" fmla="*/ 273234 h 585447"/>
                <a:gd name="connsiteX4" fmla="*/ 11427 w 318052"/>
                <a:gd name="connsiteY4" fmla="*/ 273996 h 585447"/>
                <a:gd name="connsiteX5" fmla="*/ 12316 w 318052"/>
                <a:gd name="connsiteY5" fmla="*/ 275139 h 585447"/>
                <a:gd name="connsiteX6" fmla="*/ 12316 w 318052"/>
                <a:gd name="connsiteY6" fmla="*/ 275900 h 585447"/>
                <a:gd name="connsiteX7" fmla="*/ 13332 w 318052"/>
                <a:gd name="connsiteY7" fmla="*/ 277932 h 585447"/>
                <a:gd name="connsiteX8" fmla="*/ 13332 w 318052"/>
                <a:gd name="connsiteY8" fmla="*/ 277932 h 585447"/>
                <a:gd name="connsiteX9" fmla="*/ 13332 w 318052"/>
                <a:gd name="connsiteY9" fmla="*/ 279329 h 585447"/>
                <a:gd name="connsiteX10" fmla="*/ 13332 w 318052"/>
                <a:gd name="connsiteY10" fmla="*/ 280725 h 585447"/>
                <a:gd name="connsiteX11" fmla="*/ 13332 w 318052"/>
                <a:gd name="connsiteY11" fmla="*/ 280725 h 585447"/>
                <a:gd name="connsiteX12" fmla="*/ 13332 w 318052"/>
                <a:gd name="connsiteY12" fmla="*/ 585447 h 585447"/>
                <a:gd name="connsiteX13" fmla="*/ 318052 w 318052"/>
                <a:gd name="connsiteY13" fmla="*/ 585447 h 585447"/>
                <a:gd name="connsiteX14" fmla="*/ 318052 w 318052"/>
                <a:gd name="connsiteY14" fmla="*/ 0 h 585447"/>
                <a:gd name="connsiteX15" fmla="*/ 0 w 318052"/>
                <a:gd name="connsiteY15" fmla="*/ 0 h 585447"/>
                <a:gd name="connsiteX16" fmla="*/ 0 w 318052"/>
                <a:gd name="connsiteY16" fmla="*/ 273234 h 58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052" h="585447">
                  <a:moveTo>
                    <a:pt x="6729" y="273234"/>
                  </a:moveTo>
                  <a:lnTo>
                    <a:pt x="7745" y="273234"/>
                  </a:lnTo>
                  <a:lnTo>
                    <a:pt x="9142" y="273234"/>
                  </a:lnTo>
                  <a:cubicBezTo>
                    <a:pt x="9520" y="273171"/>
                    <a:pt x="9906" y="273171"/>
                    <a:pt x="10284" y="273234"/>
                  </a:cubicBezTo>
                  <a:lnTo>
                    <a:pt x="11427" y="273996"/>
                  </a:lnTo>
                  <a:lnTo>
                    <a:pt x="12316" y="275139"/>
                  </a:lnTo>
                  <a:lnTo>
                    <a:pt x="12316" y="275900"/>
                  </a:lnTo>
                  <a:lnTo>
                    <a:pt x="13332" y="277932"/>
                  </a:lnTo>
                  <a:lnTo>
                    <a:pt x="13332" y="277932"/>
                  </a:lnTo>
                  <a:cubicBezTo>
                    <a:pt x="13389" y="278402"/>
                    <a:pt x="13389" y="278859"/>
                    <a:pt x="13332" y="279329"/>
                  </a:cubicBezTo>
                  <a:cubicBezTo>
                    <a:pt x="13391" y="279798"/>
                    <a:pt x="13391" y="280255"/>
                    <a:pt x="13332" y="280725"/>
                  </a:cubicBezTo>
                  <a:lnTo>
                    <a:pt x="13332" y="280725"/>
                  </a:lnTo>
                  <a:lnTo>
                    <a:pt x="13332" y="585447"/>
                  </a:lnTo>
                  <a:lnTo>
                    <a:pt x="318052" y="585447"/>
                  </a:lnTo>
                  <a:lnTo>
                    <a:pt x="318052" y="0"/>
                  </a:lnTo>
                  <a:lnTo>
                    <a:pt x="0" y="0"/>
                  </a:lnTo>
                  <a:lnTo>
                    <a:pt x="0" y="273234"/>
                  </a:lnTo>
                  <a:close/>
                </a:path>
              </a:pathLst>
            </a:custGeom>
            <a:solidFill>
              <a:schemeClr val="accent3"/>
            </a:solidFill>
            <a:ln w="12690"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3C7D562A-E71B-4ADA-814C-493523945121}"/>
                </a:ext>
              </a:extLst>
            </p:cNvPr>
            <p:cNvSpPr/>
            <p:nvPr/>
          </p:nvSpPr>
          <p:spPr>
            <a:xfrm>
              <a:off x="3438264" y="6471422"/>
              <a:ext cx="212669" cy="393091"/>
            </a:xfrm>
            <a:custGeom>
              <a:avLst/>
              <a:gdLst>
                <a:gd name="connsiteX0" fmla="*/ 158963 w 212669"/>
                <a:gd name="connsiteY0" fmla="*/ 0 h 393091"/>
                <a:gd name="connsiteX1" fmla="*/ 84179 w 212669"/>
                <a:gd name="connsiteY1" fmla="*/ 0 h 393091"/>
                <a:gd name="connsiteX2" fmla="*/ 0 w 212669"/>
                <a:gd name="connsiteY2" fmla="*/ 0 h 393091"/>
                <a:gd name="connsiteX3" fmla="*/ 0 w 212669"/>
                <a:gd name="connsiteY3" fmla="*/ 393091 h 393091"/>
                <a:gd name="connsiteX4" fmla="*/ 212670 w 212669"/>
                <a:gd name="connsiteY4" fmla="*/ 393091 h 393091"/>
                <a:gd name="connsiteX5" fmla="*/ 212670 w 212669"/>
                <a:gd name="connsiteY5" fmla="*/ 2158 h 393091"/>
                <a:gd name="connsiteX6" fmla="*/ 158963 w 212669"/>
                <a:gd name="connsiteY6" fmla="*/ 0 h 39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69" h="393091">
                  <a:moveTo>
                    <a:pt x="158963" y="0"/>
                  </a:moveTo>
                  <a:lnTo>
                    <a:pt x="84179" y="0"/>
                  </a:lnTo>
                  <a:lnTo>
                    <a:pt x="0" y="0"/>
                  </a:lnTo>
                  <a:lnTo>
                    <a:pt x="0" y="393091"/>
                  </a:lnTo>
                  <a:lnTo>
                    <a:pt x="212670" y="393091"/>
                  </a:lnTo>
                  <a:lnTo>
                    <a:pt x="212670" y="2158"/>
                  </a:lnTo>
                  <a:lnTo>
                    <a:pt x="158963" y="0"/>
                  </a:lnTo>
                  <a:close/>
                </a:path>
              </a:pathLst>
            </a:custGeom>
            <a:solidFill>
              <a:schemeClr val="accent1"/>
            </a:solidFill>
            <a:ln w="12690"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32997617-320B-4BF9-B736-93A6C1E8C556}"/>
                </a:ext>
              </a:extLst>
            </p:cNvPr>
            <p:cNvSpPr/>
            <p:nvPr/>
          </p:nvSpPr>
          <p:spPr>
            <a:xfrm>
              <a:off x="3382525" y="6471549"/>
              <a:ext cx="53199" cy="392964"/>
            </a:xfrm>
            <a:custGeom>
              <a:avLst/>
              <a:gdLst>
                <a:gd name="connsiteX0" fmla="*/ 0 w 53199"/>
                <a:gd name="connsiteY0" fmla="*/ 0 h 392964"/>
                <a:gd name="connsiteX1" fmla="*/ 53199 w 53199"/>
                <a:gd name="connsiteY1" fmla="*/ 0 h 392964"/>
                <a:gd name="connsiteX2" fmla="*/ 53199 w 53199"/>
                <a:gd name="connsiteY2" fmla="*/ 392964 h 392964"/>
                <a:gd name="connsiteX3" fmla="*/ 0 w 53199"/>
                <a:gd name="connsiteY3" fmla="*/ 392964 h 392964"/>
              </a:gdLst>
              <a:ahLst/>
              <a:cxnLst>
                <a:cxn ang="0">
                  <a:pos x="connsiteX0" y="connsiteY0"/>
                </a:cxn>
                <a:cxn ang="0">
                  <a:pos x="connsiteX1" y="connsiteY1"/>
                </a:cxn>
                <a:cxn ang="0">
                  <a:pos x="connsiteX2" y="connsiteY2"/>
                </a:cxn>
                <a:cxn ang="0">
                  <a:pos x="connsiteX3" y="connsiteY3"/>
                </a:cxn>
              </a:cxnLst>
              <a:rect l="l" t="t" r="r" b="b"/>
              <a:pathLst>
                <a:path w="53199" h="392964">
                  <a:moveTo>
                    <a:pt x="0" y="0"/>
                  </a:moveTo>
                  <a:lnTo>
                    <a:pt x="53199" y="0"/>
                  </a:lnTo>
                  <a:lnTo>
                    <a:pt x="53199" y="392964"/>
                  </a:lnTo>
                  <a:lnTo>
                    <a:pt x="0" y="392964"/>
                  </a:lnTo>
                  <a:close/>
                </a:path>
              </a:pathLst>
            </a:custGeom>
            <a:solidFill>
              <a:schemeClr val="accent3"/>
            </a:solidFill>
            <a:ln w="12690"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85A056EF-CC0A-42F0-9454-F28BCB61A718}"/>
                </a:ext>
              </a:extLst>
            </p:cNvPr>
            <p:cNvSpPr/>
            <p:nvPr/>
          </p:nvSpPr>
          <p:spPr>
            <a:xfrm>
              <a:off x="3319042" y="5907940"/>
              <a:ext cx="196417" cy="553959"/>
            </a:xfrm>
            <a:custGeom>
              <a:avLst/>
              <a:gdLst>
                <a:gd name="connsiteX0" fmla="*/ 196418 w 196417"/>
                <a:gd name="connsiteY0" fmla="*/ 0 h 553959"/>
                <a:gd name="connsiteX1" fmla="*/ 0 w 196417"/>
                <a:gd name="connsiteY1" fmla="*/ 0 h 553959"/>
                <a:gd name="connsiteX2" fmla="*/ 0 w 196417"/>
                <a:gd name="connsiteY2" fmla="*/ 3174 h 553959"/>
                <a:gd name="connsiteX3" fmla="*/ 0 w 196417"/>
                <a:gd name="connsiteY3" fmla="*/ 551420 h 553959"/>
                <a:gd name="connsiteX4" fmla="*/ 62468 w 196417"/>
                <a:gd name="connsiteY4" fmla="*/ 553959 h 553959"/>
                <a:gd name="connsiteX5" fmla="*/ 196418 w 196417"/>
                <a:gd name="connsiteY5" fmla="*/ 553959 h 553959"/>
                <a:gd name="connsiteX6" fmla="*/ 196418 w 196417"/>
                <a:gd name="connsiteY6" fmla="*/ 0 h 55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417" h="553959">
                  <a:moveTo>
                    <a:pt x="196418" y="0"/>
                  </a:moveTo>
                  <a:lnTo>
                    <a:pt x="0" y="0"/>
                  </a:lnTo>
                  <a:lnTo>
                    <a:pt x="0" y="3174"/>
                  </a:lnTo>
                  <a:lnTo>
                    <a:pt x="0" y="551420"/>
                  </a:lnTo>
                  <a:lnTo>
                    <a:pt x="62468" y="553959"/>
                  </a:lnTo>
                  <a:lnTo>
                    <a:pt x="196418" y="553959"/>
                  </a:lnTo>
                  <a:lnTo>
                    <a:pt x="196418" y="0"/>
                  </a:lnTo>
                  <a:close/>
                </a:path>
              </a:pathLst>
            </a:custGeom>
            <a:solidFill>
              <a:schemeClr val="bg1">
                <a:lumMod val="95000"/>
              </a:schemeClr>
            </a:solidFill>
            <a:ln w="12690"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15DAF0C4-4D90-4E5D-8843-296ACDEFB800}"/>
                </a:ext>
              </a:extLst>
            </p:cNvPr>
            <p:cNvSpPr/>
            <p:nvPr/>
          </p:nvSpPr>
          <p:spPr>
            <a:xfrm>
              <a:off x="1011799" y="5633564"/>
              <a:ext cx="172675" cy="127983"/>
            </a:xfrm>
            <a:custGeom>
              <a:avLst/>
              <a:gdLst>
                <a:gd name="connsiteX0" fmla="*/ 127 w 172675"/>
                <a:gd name="connsiteY0" fmla="*/ 126968 h 127983"/>
                <a:gd name="connsiteX1" fmla="*/ 1270 w 172675"/>
                <a:gd name="connsiteY1" fmla="*/ 126968 h 127983"/>
                <a:gd name="connsiteX2" fmla="*/ 2666 w 172675"/>
                <a:gd name="connsiteY2" fmla="*/ 126968 h 127983"/>
                <a:gd name="connsiteX3" fmla="*/ 172675 w 172675"/>
                <a:gd name="connsiteY3" fmla="*/ 126968 h 127983"/>
                <a:gd name="connsiteX4" fmla="*/ 172675 w 172675"/>
                <a:gd name="connsiteY4" fmla="*/ 0 h 127983"/>
                <a:gd name="connsiteX5" fmla="*/ 0 w 172675"/>
                <a:gd name="connsiteY5" fmla="*/ 0 h 127983"/>
                <a:gd name="connsiteX6" fmla="*/ 0 w 172675"/>
                <a:gd name="connsiteY6" fmla="*/ 1016 h 127983"/>
                <a:gd name="connsiteX7" fmla="*/ 0 w 172675"/>
                <a:gd name="connsiteY7" fmla="*/ 127983 h 1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675" h="127983">
                  <a:moveTo>
                    <a:pt x="127" y="126968"/>
                  </a:moveTo>
                  <a:lnTo>
                    <a:pt x="1270" y="126968"/>
                  </a:lnTo>
                  <a:lnTo>
                    <a:pt x="2666" y="126968"/>
                  </a:lnTo>
                  <a:lnTo>
                    <a:pt x="172675" y="126968"/>
                  </a:lnTo>
                  <a:lnTo>
                    <a:pt x="172675" y="0"/>
                  </a:lnTo>
                  <a:lnTo>
                    <a:pt x="0" y="0"/>
                  </a:lnTo>
                  <a:lnTo>
                    <a:pt x="0" y="1016"/>
                  </a:lnTo>
                  <a:lnTo>
                    <a:pt x="0" y="127983"/>
                  </a:lnTo>
                  <a:close/>
                </a:path>
              </a:pathLst>
            </a:custGeom>
            <a:solidFill>
              <a:schemeClr val="accent5"/>
            </a:solidFill>
            <a:ln w="12690"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879677DE-791A-4B55-926C-69D89FEB7AA1}"/>
                </a:ext>
              </a:extLst>
            </p:cNvPr>
            <p:cNvSpPr/>
            <p:nvPr/>
          </p:nvSpPr>
          <p:spPr>
            <a:xfrm>
              <a:off x="491362" y="5611598"/>
              <a:ext cx="148551" cy="468002"/>
            </a:xfrm>
            <a:custGeom>
              <a:avLst/>
              <a:gdLst>
                <a:gd name="connsiteX0" fmla="*/ 3809 w 148551"/>
                <a:gd name="connsiteY0" fmla="*/ 191086 h 468002"/>
                <a:gd name="connsiteX1" fmla="*/ 3047 w 148551"/>
                <a:gd name="connsiteY1" fmla="*/ 192229 h 468002"/>
                <a:gd name="connsiteX2" fmla="*/ 2031 w 148551"/>
                <a:gd name="connsiteY2" fmla="*/ 193118 h 468002"/>
                <a:gd name="connsiteX3" fmla="*/ 2031 w 148551"/>
                <a:gd name="connsiteY3" fmla="*/ 193752 h 468002"/>
                <a:gd name="connsiteX4" fmla="*/ 2031 w 148551"/>
                <a:gd name="connsiteY4" fmla="*/ 193752 h 468002"/>
                <a:gd name="connsiteX5" fmla="*/ 0 w 148551"/>
                <a:gd name="connsiteY5" fmla="*/ 194514 h 468002"/>
                <a:gd name="connsiteX6" fmla="*/ 0 w 148551"/>
                <a:gd name="connsiteY6" fmla="*/ 468002 h 468002"/>
                <a:gd name="connsiteX7" fmla="*/ 148551 w 148551"/>
                <a:gd name="connsiteY7" fmla="*/ 468002 h 468002"/>
                <a:gd name="connsiteX8" fmla="*/ 148551 w 148551"/>
                <a:gd name="connsiteY8" fmla="*/ 0 h 468002"/>
                <a:gd name="connsiteX9" fmla="*/ 3809 w 148551"/>
                <a:gd name="connsiteY9" fmla="*/ 0 h 468002"/>
                <a:gd name="connsiteX10" fmla="*/ 3809 w 148551"/>
                <a:gd name="connsiteY10" fmla="*/ 187785 h 468002"/>
                <a:gd name="connsiteX11" fmla="*/ 3809 w 148551"/>
                <a:gd name="connsiteY11" fmla="*/ 188547 h 468002"/>
                <a:gd name="connsiteX12" fmla="*/ 3809 w 148551"/>
                <a:gd name="connsiteY12" fmla="*/ 190451 h 46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551" h="468002">
                  <a:moveTo>
                    <a:pt x="3809" y="191086"/>
                  </a:moveTo>
                  <a:lnTo>
                    <a:pt x="3047" y="192229"/>
                  </a:lnTo>
                  <a:lnTo>
                    <a:pt x="2031" y="193118"/>
                  </a:lnTo>
                  <a:lnTo>
                    <a:pt x="2031" y="193752"/>
                  </a:lnTo>
                  <a:lnTo>
                    <a:pt x="2031" y="193752"/>
                  </a:lnTo>
                  <a:cubicBezTo>
                    <a:pt x="1421" y="194157"/>
                    <a:pt x="726" y="194418"/>
                    <a:pt x="0" y="194514"/>
                  </a:cubicBezTo>
                  <a:lnTo>
                    <a:pt x="0" y="468002"/>
                  </a:lnTo>
                  <a:lnTo>
                    <a:pt x="148551" y="468002"/>
                  </a:lnTo>
                  <a:lnTo>
                    <a:pt x="148551" y="0"/>
                  </a:lnTo>
                  <a:lnTo>
                    <a:pt x="3809" y="0"/>
                  </a:lnTo>
                  <a:lnTo>
                    <a:pt x="3809" y="187785"/>
                  </a:lnTo>
                  <a:cubicBezTo>
                    <a:pt x="3809" y="187785"/>
                    <a:pt x="3809" y="187785"/>
                    <a:pt x="3809" y="188547"/>
                  </a:cubicBezTo>
                  <a:cubicBezTo>
                    <a:pt x="3942" y="189174"/>
                    <a:pt x="3942" y="189824"/>
                    <a:pt x="3809" y="190451"/>
                  </a:cubicBezTo>
                  <a:close/>
                </a:path>
              </a:pathLst>
            </a:custGeom>
            <a:solidFill>
              <a:schemeClr val="accent1"/>
            </a:solidFill>
            <a:ln w="12690"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4F2535DD-DD71-4D49-8EDA-B49AFCCE3A0D}"/>
                </a:ext>
              </a:extLst>
            </p:cNvPr>
            <p:cNvSpPr/>
            <p:nvPr/>
          </p:nvSpPr>
          <p:spPr>
            <a:xfrm>
              <a:off x="3313455" y="6468629"/>
              <a:ext cx="66657" cy="395884"/>
            </a:xfrm>
            <a:custGeom>
              <a:avLst/>
              <a:gdLst>
                <a:gd name="connsiteX0" fmla="*/ 0 w 66657"/>
                <a:gd name="connsiteY0" fmla="*/ 0 h 395884"/>
                <a:gd name="connsiteX1" fmla="*/ 0 w 66657"/>
                <a:gd name="connsiteY1" fmla="*/ 395885 h 395884"/>
                <a:gd name="connsiteX2" fmla="*/ 66658 w 66657"/>
                <a:gd name="connsiteY2" fmla="*/ 395885 h 395884"/>
                <a:gd name="connsiteX3" fmla="*/ 66658 w 66657"/>
                <a:gd name="connsiteY3" fmla="*/ 2793 h 395884"/>
                <a:gd name="connsiteX4" fmla="*/ 0 w 66657"/>
                <a:gd name="connsiteY4" fmla="*/ 0 h 395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57" h="395884">
                  <a:moveTo>
                    <a:pt x="0" y="0"/>
                  </a:moveTo>
                  <a:lnTo>
                    <a:pt x="0" y="395885"/>
                  </a:lnTo>
                  <a:lnTo>
                    <a:pt x="66658" y="395885"/>
                  </a:lnTo>
                  <a:lnTo>
                    <a:pt x="66658" y="2793"/>
                  </a:lnTo>
                  <a:lnTo>
                    <a:pt x="0" y="0"/>
                  </a:lnTo>
                  <a:close/>
                </a:path>
              </a:pathLst>
            </a:custGeom>
            <a:solidFill>
              <a:srgbClr val="088A8F"/>
            </a:solidFill>
            <a:ln w="12690"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E94393B7-7CC6-49B3-A35E-F467DB87CCF6}"/>
                </a:ext>
              </a:extLst>
            </p:cNvPr>
            <p:cNvSpPr/>
            <p:nvPr/>
          </p:nvSpPr>
          <p:spPr>
            <a:xfrm>
              <a:off x="3196519" y="6462915"/>
              <a:ext cx="116301" cy="400582"/>
            </a:xfrm>
            <a:custGeom>
              <a:avLst/>
              <a:gdLst>
                <a:gd name="connsiteX0" fmla="*/ 91924 w 116301"/>
                <a:gd name="connsiteY0" fmla="*/ 4698 h 400582"/>
                <a:gd name="connsiteX1" fmla="*/ 85703 w 116301"/>
                <a:gd name="connsiteY1" fmla="*/ 0 h 400582"/>
                <a:gd name="connsiteX2" fmla="*/ 79227 w 116301"/>
                <a:gd name="connsiteY2" fmla="*/ 0 h 400582"/>
                <a:gd name="connsiteX3" fmla="*/ 78593 w 116301"/>
                <a:gd name="connsiteY3" fmla="*/ 1016 h 400582"/>
                <a:gd name="connsiteX4" fmla="*/ 78593 w 116301"/>
                <a:gd name="connsiteY4" fmla="*/ 1904 h 400582"/>
                <a:gd name="connsiteX5" fmla="*/ 77196 w 116301"/>
                <a:gd name="connsiteY5" fmla="*/ 2793 h 400582"/>
                <a:gd name="connsiteX6" fmla="*/ 76434 w 116301"/>
                <a:gd name="connsiteY6" fmla="*/ 2793 h 400582"/>
                <a:gd name="connsiteX7" fmla="*/ 73768 w 116301"/>
                <a:gd name="connsiteY7" fmla="*/ 2793 h 400582"/>
                <a:gd name="connsiteX8" fmla="*/ 73768 w 116301"/>
                <a:gd name="connsiteY8" fmla="*/ 2793 h 400582"/>
                <a:gd name="connsiteX9" fmla="*/ 50787 w 116301"/>
                <a:gd name="connsiteY9" fmla="*/ 1904 h 400582"/>
                <a:gd name="connsiteX10" fmla="*/ 0 w 116301"/>
                <a:gd name="connsiteY10" fmla="*/ 1904 h 400582"/>
                <a:gd name="connsiteX11" fmla="*/ 0 w 116301"/>
                <a:gd name="connsiteY11" fmla="*/ 400583 h 400582"/>
                <a:gd name="connsiteX12" fmla="*/ 116302 w 116301"/>
                <a:gd name="connsiteY12" fmla="*/ 400583 h 400582"/>
                <a:gd name="connsiteX13" fmla="*/ 116302 w 116301"/>
                <a:gd name="connsiteY13" fmla="*/ 5587 h 4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1" h="400582">
                  <a:moveTo>
                    <a:pt x="91924" y="4698"/>
                  </a:moveTo>
                  <a:cubicBezTo>
                    <a:pt x="89093" y="4545"/>
                    <a:pt x="86630" y="2692"/>
                    <a:pt x="85703" y="0"/>
                  </a:cubicBezTo>
                  <a:lnTo>
                    <a:pt x="79227" y="0"/>
                  </a:lnTo>
                  <a:cubicBezTo>
                    <a:pt x="79062" y="368"/>
                    <a:pt x="78847" y="711"/>
                    <a:pt x="78593" y="1016"/>
                  </a:cubicBezTo>
                  <a:lnTo>
                    <a:pt x="78593" y="1904"/>
                  </a:lnTo>
                  <a:cubicBezTo>
                    <a:pt x="78174" y="2273"/>
                    <a:pt x="77704" y="2577"/>
                    <a:pt x="77196" y="2793"/>
                  </a:cubicBezTo>
                  <a:lnTo>
                    <a:pt x="76434" y="2793"/>
                  </a:lnTo>
                  <a:cubicBezTo>
                    <a:pt x="75558" y="2971"/>
                    <a:pt x="74644" y="2971"/>
                    <a:pt x="73768" y="2793"/>
                  </a:cubicBezTo>
                  <a:lnTo>
                    <a:pt x="73768" y="2793"/>
                  </a:lnTo>
                  <a:lnTo>
                    <a:pt x="50787" y="1904"/>
                  </a:lnTo>
                  <a:lnTo>
                    <a:pt x="0" y="1904"/>
                  </a:lnTo>
                  <a:lnTo>
                    <a:pt x="0" y="400583"/>
                  </a:lnTo>
                  <a:lnTo>
                    <a:pt x="116302" y="400583"/>
                  </a:lnTo>
                  <a:lnTo>
                    <a:pt x="116302" y="5587"/>
                  </a:lnTo>
                  <a:close/>
                </a:path>
              </a:pathLst>
            </a:custGeom>
            <a:solidFill>
              <a:schemeClr val="accent4"/>
            </a:solidFill>
            <a:ln w="12690"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48C04622-7CFF-4187-AB9C-7267B3141609}"/>
                </a:ext>
              </a:extLst>
            </p:cNvPr>
            <p:cNvSpPr/>
            <p:nvPr/>
          </p:nvSpPr>
          <p:spPr>
            <a:xfrm>
              <a:off x="2353585" y="6470406"/>
              <a:ext cx="31487" cy="394107"/>
            </a:xfrm>
            <a:custGeom>
              <a:avLst/>
              <a:gdLst>
                <a:gd name="connsiteX0" fmla="*/ 0 w 31487"/>
                <a:gd name="connsiteY0" fmla="*/ 0 h 394107"/>
                <a:gd name="connsiteX1" fmla="*/ 31488 w 31487"/>
                <a:gd name="connsiteY1" fmla="*/ 0 h 394107"/>
                <a:gd name="connsiteX2" fmla="*/ 31488 w 31487"/>
                <a:gd name="connsiteY2" fmla="*/ 394107 h 394107"/>
                <a:gd name="connsiteX3" fmla="*/ 0 w 31487"/>
                <a:gd name="connsiteY3" fmla="*/ 394107 h 394107"/>
              </a:gdLst>
              <a:ahLst/>
              <a:cxnLst>
                <a:cxn ang="0">
                  <a:pos x="connsiteX0" y="connsiteY0"/>
                </a:cxn>
                <a:cxn ang="0">
                  <a:pos x="connsiteX1" y="connsiteY1"/>
                </a:cxn>
                <a:cxn ang="0">
                  <a:pos x="connsiteX2" y="connsiteY2"/>
                </a:cxn>
                <a:cxn ang="0">
                  <a:pos x="connsiteX3" y="connsiteY3"/>
                </a:cxn>
              </a:cxnLst>
              <a:rect l="l" t="t" r="r" b="b"/>
              <a:pathLst>
                <a:path w="31487" h="394107">
                  <a:moveTo>
                    <a:pt x="0" y="0"/>
                  </a:moveTo>
                  <a:lnTo>
                    <a:pt x="31488" y="0"/>
                  </a:lnTo>
                  <a:lnTo>
                    <a:pt x="31488" y="394107"/>
                  </a:lnTo>
                  <a:lnTo>
                    <a:pt x="0" y="394107"/>
                  </a:lnTo>
                  <a:close/>
                </a:path>
              </a:pathLst>
            </a:custGeom>
            <a:solidFill>
              <a:schemeClr val="tx2"/>
            </a:solidFill>
            <a:ln w="12690"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BBD70BDF-DB8D-42C9-860E-50C09170CB98}"/>
                </a:ext>
              </a:extLst>
            </p:cNvPr>
            <p:cNvSpPr/>
            <p:nvPr/>
          </p:nvSpPr>
          <p:spPr>
            <a:xfrm>
              <a:off x="2019662" y="6470406"/>
              <a:ext cx="331383" cy="394107"/>
            </a:xfrm>
            <a:custGeom>
              <a:avLst/>
              <a:gdLst>
                <a:gd name="connsiteX0" fmla="*/ 0 w 331383"/>
                <a:gd name="connsiteY0" fmla="*/ 0 h 394107"/>
                <a:gd name="connsiteX1" fmla="*/ 331384 w 331383"/>
                <a:gd name="connsiteY1" fmla="*/ 0 h 394107"/>
                <a:gd name="connsiteX2" fmla="*/ 331384 w 331383"/>
                <a:gd name="connsiteY2" fmla="*/ 394107 h 394107"/>
                <a:gd name="connsiteX3" fmla="*/ 0 w 331383"/>
                <a:gd name="connsiteY3" fmla="*/ 394107 h 394107"/>
              </a:gdLst>
              <a:ahLst/>
              <a:cxnLst>
                <a:cxn ang="0">
                  <a:pos x="connsiteX0" y="connsiteY0"/>
                </a:cxn>
                <a:cxn ang="0">
                  <a:pos x="connsiteX1" y="connsiteY1"/>
                </a:cxn>
                <a:cxn ang="0">
                  <a:pos x="connsiteX2" y="connsiteY2"/>
                </a:cxn>
                <a:cxn ang="0">
                  <a:pos x="connsiteX3" y="connsiteY3"/>
                </a:cxn>
              </a:cxnLst>
              <a:rect l="l" t="t" r="r" b="b"/>
              <a:pathLst>
                <a:path w="331383" h="394107">
                  <a:moveTo>
                    <a:pt x="0" y="0"/>
                  </a:moveTo>
                  <a:lnTo>
                    <a:pt x="331384" y="0"/>
                  </a:lnTo>
                  <a:lnTo>
                    <a:pt x="331384" y="394107"/>
                  </a:lnTo>
                  <a:lnTo>
                    <a:pt x="0" y="394107"/>
                  </a:lnTo>
                  <a:close/>
                </a:path>
              </a:pathLst>
            </a:custGeom>
            <a:solidFill>
              <a:schemeClr val="bg1">
                <a:lumMod val="95000"/>
              </a:schemeClr>
            </a:solidFill>
            <a:ln w="12690"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320DDEFE-CA64-4FDB-98C4-EE811E871169}"/>
                </a:ext>
              </a:extLst>
            </p:cNvPr>
            <p:cNvSpPr/>
            <p:nvPr/>
          </p:nvSpPr>
          <p:spPr>
            <a:xfrm>
              <a:off x="1309409" y="6402733"/>
              <a:ext cx="118206" cy="461526"/>
            </a:xfrm>
            <a:custGeom>
              <a:avLst/>
              <a:gdLst>
                <a:gd name="connsiteX0" fmla="*/ 118206 w 118206"/>
                <a:gd name="connsiteY0" fmla="*/ 360588 h 461526"/>
                <a:gd name="connsiteX1" fmla="*/ 118206 w 118206"/>
                <a:gd name="connsiteY1" fmla="*/ 0 h 461526"/>
                <a:gd name="connsiteX2" fmla="*/ 65007 w 118206"/>
                <a:gd name="connsiteY2" fmla="*/ 0 h 461526"/>
                <a:gd name="connsiteX3" fmla="*/ 63483 w 118206"/>
                <a:gd name="connsiteY3" fmla="*/ 0 h 461526"/>
                <a:gd name="connsiteX4" fmla="*/ 0 w 118206"/>
                <a:gd name="connsiteY4" fmla="*/ 0 h 461526"/>
                <a:gd name="connsiteX5" fmla="*/ 0 w 118206"/>
                <a:gd name="connsiteY5" fmla="*/ 461527 h 461526"/>
                <a:gd name="connsiteX6" fmla="*/ 117698 w 118206"/>
                <a:gd name="connsiteY6" fmla="*/ 461527 h 461526"/>
                <a:gd name="connsiteX7" fmla="*/ 117698 w 118206"/>
                <a:gd name="connsiteY7" fmla="*/ 359953 h 46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61526">
                  <a:moveTo>
                    <a:pt x="118206" y="360588"/>
                  </a:moveTo>
                  <a:lnTo>
                    <a:pt x="118206" y="0"/>
                  </a:lnTo>
                  <a:lnTo>
                    <a:pt x="65007" y="0"/>
                  </a:lnTo>
                  <a:lnTo>
                    <a:pt x="63483" y="0"/>
                  </a:lnTo>
                  <a:lnTo>
                    <a:pt x="0" y="0"/>
                  </a:lnTo>
                  <a:lnTo>
                    <a:pt x="0" y="461527"/>
                  </a:lnTo>
                  <a:lnTo>
                    <a:pt x="117698" y="461527"/>
                  </a:lnTo>
                  <a:lnTo>
                    <a:pt x="117698" y="359953"/>
                  </a:lnTo>
                  <a:close/>
                </a:path>
              </a:pathLst>
            </a:custGeom>
            <a:solidFill>
              <a:srgbClr val="22B0AE"/>
            </a:solidFill>
            <a:ln w="12690" cap="flat">
              <a:solidFill>
                <a:schemeClr val="accent1"/>
              </a:solid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1325D7D9-E18F-4A96-B665-B194893E55AC}"/>
                </a:ext>
              </a:extLst>
            </p:cNvPr>
            <p:cNvSpPr/>
            <p:nvPr/>
          </p:nvSpPr>
          <p:spPr>
            <a:xfrm>
              <a:off x="1216089" y="5821602"/>
              <a:ext cx="314497" cy="642709"/>
            </a:xfrm>
            <a:custGeom>
              <a:avLst/>
              <a:gdLst>
                <a:gd name="connsiteX0" fmla="*/ 77831 w 314497"/>
                <a:gd name="connsiteY0" fmla="*/ 571100 h 642709"/>
                <a:gd name="connsiteX1" fmla="*/ 77831 w 314497"/>
                <a:gd name="connsiteY1" fmla="*/ 571100 h 642709"/>
                <a:gd name="connsiteX2" fmla="*/ 82909 w 314497"/>
                <a:gd name="connsiteY2" fmla="*/ 571100 h 642709"/>
                <a:gd name="connsiteX3" fmla="*/ 218637 w 314497"/>
                <a:gd name="connsiteY3" fmla="*/ 571100 h 642709"/>
                <a:gd name="connsiteX4" fmla="*/ 225620 w 314497"/>
                <a:gd name="connsiteY4" fmla="*/ 578083 h 642709"/>
                <a:gd name="connsiteX5" fmla="*/ 225620 w 314497"/>
                <a:gd name="connsiteY5" fmla="*/ 642710 h 642709"/>
                <a:gd name="connsiteX6" fmla="*/ 314497 w 314497"/>
                <a:gd name="connsiteY6" fmla="*/ 642710 h 642709"/>
                <a:gd name="connsiteX7" fmla="*/ 314497 w 314497"/>
                <a:gd name="connsiteY7" fmla="*/ 0 h 642709"/>
                <a:gd name="connsiteX8" fmla="*/ 0 w 314497"/>
                <a:gd name="connsiteY8" fmla="*/ 0 h 642709"/>
                <a:gd name="connsiteX9" fmla="*/ 0 w 314497"/>
                <a:gd name="connsiteY9" fmla="*/ 571354 h 6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497" h="642709">
                  <a:moveTo>
                    <a:pt x="77831" y="571100"/>
                  </a:moveTo>
                  <a:lnTo>
                    <a:pt x="77831" y="571100"/>
                  </a:lnTo>
                  <a:lnTo>
                    <a:pt x="82909" y="571100"/>
                  </a:lnTo>
                  <a:lnTo>
                    <a:pt x="218637" y="571100"/>
                  </a:lnTo>
                  <a:cubicBezTo>
                    <a:pt x="222497" y="571100"/>
                    <a:pt x="225620" y="574223"/>
                    <a:pt x="225620" y="578083"/>
                  </a:cubicBezTo>
                  <a:lnTo>
                    <a:pt x="225620" y="642710"/>
                  </a:lnTo>
                  <a:lnTo>
                    <a:pt x="314497" y="642710"/>
                  </a:lnTo>
                  <a:lnTo>
                    <a:pt x="314497" y="0"/>
                  </a:lnTo>
                  <a:lnTo>
                    <a:pt x="0" y="0"/>
                  </a:lnTo>
                  <a:lnTo>
                    <a:pt x="0" y="571354"/>
                  </a:lnTo>
                  <a:close/>
                </a:path>
              </a:pathLst>
            </a:custGeom>
            <a:solidFill>
              <a:schemeClr val="accent2"/>
            </a:solidFill>
            <a:ln w="12690"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E0D6BAFB-4D72-4DE6-82B4-D53E5DC47BE5}"/>
                </a:ext>
              </a:extLst>
            </p:cNvPr>
            <p:cNvSpPr/>
            <p:nvPr/>
          </p:nvSpPr>
          <p:spPr>
            <a:xfrm>
              <a:off x="1538966" y="6465328"/>
              <a:ext cx="435369" cy="398677"/>
            </a:xfrm>
            <a:custGeom>
              <a:avLst/>
              <a:gdLst>
                <a:gd name="connsiteX0" fmla="*/ 4190 w 435369"/>
                <a:gd name="connsiteY0" fmla="*/ 508 h 398677"/>
                <a:gd name="connsiteX1" fmla="*/ 0 w 435369"/>
                <a:gd name="connsiteY1" fmla="*/ 3047 h 398677"/>
                <a:gd name="connsiteX2" fmla="*/ 0 w 435369"/>
                <a:gd name="connsiteY2" fmla="*/ 291263 h 398677"/>
                <a:gd name="connsiteX3" fmla="*/ 2285 w 435369"/>
                <a:gd name="connsiteY3" fmla="*/ 292025 h 398677"/>
                <a:gd name="connsiteX4" fmla="*/ 37582 w 435369"/>
                <a:gd name="connsiteY4" fmla="*/ 312594 h 398677"/>
                <a:gd name="connsiteX5" fmla="*/ 37582 w 435369"/>
                <a:gd name="connsiteY5" fmla="*/ 312594 h 398677"/>
                <a:gd name="connsiteX6" fmla="*/ 38598 w 435369"/>
                <a:gd name="connsiteY6" fmla="*/ 313610 h 398677"/>
                <a:gd name="connsiteX7" fmla="*/ 39360 w 435369"/>
                <a:gd name="connsiteY7" fmla="*/ 314625 h 398677"/>
                <a:gd name="connsiteX8" fmla="*/ 39360 w 435369"/>
                <a:gd name="connsiteY8" fmla="*/ 315768 h 398677"/>
                <a:gd name="connsiteX9" fmla="*/ 39360 w 435369"/>
                <a:gd name="connsiteY9" fmla="*/ 317165 h 398677"/>
                <a:gd name="connsiteX10" fmla="*/ 39360 w 435369"/>
                <a:gd name="connsiteY10" fmla="*/ 318053 h 398677"/>
                <a:gd name="connsiteX11" fmla="*/ 39360 w 435369"/>
                <a:gd name="connsiteY11" fmla="*/ 398678 h 398677"/>
                <a:gd name="connsiteX12" fmla="*/ 435370 w 435369"/>
                <a:gd name="connsiteY12" fmla="*/ 398678 h 398677"/>
                <a:gd name="connsiteX13" fmla="*/ 435370 w 435369"/>
                <a:gd name="connsiteY13" fmla="*/ 0 h 39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369" h="398677">
                  <a:moveTo>
                    <a:pt x="4190" y="508"/>
                  </a:moveTo>
                  <a:cubicBezTo>
                    <a:pt x="3136" y="1828"/>
                    <a:pt x="1651" y="2730"/>
                    <a:pt x="0" y="3047"/>
                  </a:cubicBezTo>
                  <a:lnTo>
                    <a:pt x="0" y="291263"/>
                  </a:lnTo>
                  <a:cubicBezTo>
                    <a:pt x="800" y="291403"/>
                    <a:pt x="1562" y="291657"/>
                    <a:pt x="2285" y="292025"/>
                  </a:cubicBezTo>
                  <a:lnTo>
                    <a:pt x="37582" y="312594"/>
                  </a:lnTo>
                  <a:lnTo>
                    <a:pt x="37582" y="312594"/>
                  </a:lnTo>
                  <a:cubicBezTo>
                    <a:pt x="37976" y="312861"/>
                    <a:pt x="38331" y="313216"/>
                    <a:pt x="38598" y="313610"/>
                  </a:cubicBezTo>
                  <a:cubicBezTo>
                    <a:pt x="38915" y="313889"/>
                    <a:pt x="39182" y="314232"/>
                    <a:pt x="39360" y="314625"/>
                  </a:cubicBezTo>
                  <a:lnTo>
                    <a:pt x="39360" y="315768"/>
                  </a:lnTo>
                  <a:cubicBezTo>
                    <a:pt x="39360" y="315768"/>
                    <a:pt x="39360" y="316657"/>
                    <a:pt x="39360" y="317165"/>
                  </a:cubicBezTo>
                  <a:cubicBezTo>
                    <a:pt x="39360" y="317673"/>
                    <a:pt x="39360" y="317165"/>
                    <a:pt x="39360" y="318053"/>
                  </a:cubicBezTo>
                  <a:lnTo>
                    <a:pt x="39360" y="398678"/>
                  </a:lnTo>
                  <a:lnTo>
                    <a:pt x="435370" y="398678"/>
                  </a:lnTo>
                  <a:lnTo>
                    <a:pt x="435370" y="0"/>
                  </a:lnTo>
                  <a:close/>
                </a:path>
              </a:pathLst>
            </a:custGeom>
            <a:solidFill>
              <a:schemeClr val="accent2"/>
            </a:solidFill>
            <a:ln w="12690"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884BA1F2-0C6F-499B-A899-4DBEE81B04BB}"/>
                </a:ext>
              </a:extLst>
            </p:cNvPr>
            <p:cNvSpPr/>
            <p:nvPr/>
          </p:nvSpPr>
          <p:spPr>
            <a:xfrm>
              <a:off x="1440820" y="6467105"/>
              <a:ext cx="95098" cy="299897"/>
            </a:xfrm>
            <a:custGeom>
              <a:avLst/>
              <a:gdLst>
                <a:gd name="connsiteX0" fmla="*/ 635 w 95098"/>
                <a:gd name="connsiteY0" fmla="*/ 299897 h 299897"/>
                <a:gd name="connsiteX1" fmla="*/ 89512 w 95098"/>
                <a:gd name="connsiteY1" fmla="*/ 299897 h 299897"/>
                <a:gd name="connsiteX2" fmla="*/ 90273 w 95098"/>
                <a:gd name="connsiteY2" fmla="*/ 297739 h 299897"/>
                <a:gd name="connsiteX3" fmla="*/ 95098 w 95098"/>
                <a:gd name="connsiteY3" fmla="*/ 294438 h 299897"/>
                <a:gd name="connsiteX4" fmla="*/ 95098 w 95098"/>
                <a:gd name="connsiteY4" fmla="*/ 5460 h 299897"/>
                <a:gd name="connsiteX5" fmla="*/ 89639 w 95098"/>
                <a:gd name="connsiteY5" fmla="*/ 0 h 299897"/>
                <a:gd name="connsiteX6" fmla="*/ 0 w 95098"/>
                <a:gd name="connsiteY6" fmla="*/ 0 h 29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98" h="299897">
                  <a:moveTo>
                    <a:pt x="635" y="299897"/>
                  </a:moveTo>
                  <a:lnTo>
                    <a:pt x="89512" y="299897"/>
                  </a:lnTo>
                  <a:cubicBezTo>
                    <a:pt x="89689" y="299148"/>
                    <a:pt x="89943" y="298424"/>
                    <a:pt x="90273" y="297739"/>
                  </a:cubicBezTo>
                  <a:cubicBezTo>
                    <a:pt x="91340" y="295999"/>
                    <a:pt x="93092" y="294793"/>
                    <a:pt x="95098" y="294438"/>
                  </a:cubicBezTo>
                  <a:lnTo>
                    <a:pt x="95098" y="5460"/>
                  </a:lnTo>
                  <a:cubicBezTo>
                    <a:pt x="92318" y="4964"/>
                    <a:pt x="90134" y="2781"/>
                    <a:pt x="89639" y="0"/>
                  </a:cubicBezTo>
                  <a:lnTo>
                    <a:pt x="0" y="0"/>
                  </a:lnTo>
                  <a:close/>
                </a:path>
              </a:pathLst>
            </a:custGeom>
            <a:solidFill>
              <a:schemeClr val="tx2"/>
            </a:solidFill>
            <a:ln w="12690"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2FFB39F6-53FD-4507-9026-5413AFD0970D}"/>
                </a:ext>
              </a:extLst>
            </p:cNvPr>
            <p:cNvSpPr/>
            <p:nvPr/>
          </p:nvSpPr>
          <p:spPr>
            <a:xfrm>
              <a:off x="0" y="6406923"/>
              <a:ext cx="1523" cy="461780"/>
            </a:xfrm>
            <a:custGeom>
              <a:avLst/>
              <a:gdLst>
                <a:gd name="connsiteX0" fmla="*/ 0 w 1523"/>
                <a:gd name="connsiteY0" fmla="*/ 0 h 461780"/>
                <a:gd name="connsiteX1" fmla="*/ 1524 w 1523"/>
                <a:gd name="connsiteY1" fmla="*/ 0 h 461780"/>
                <a:gd name="connsiteX2" fmla="*/ 1524 w 1523"/>
                <a:gd name="connsiteY2" fmla="*/ 461781 h 461780"/>
                <a:gd name="connsiteX3" fmla="*/ 0 w 1523"/>
                <a:gd name="connsiteY3" fmla="*/ 461781 h 461780"/>
              </a:gdLst>
              <a:ahLst/>
              <a:cxnLst>
                <a:cxn ang="0">
                  <a:pos x="connsiteX0" y="connsiteY0"/>
                </a:cxn>
                <a:cxn ang="0">
                  <a:pos x="connsiteX1" y="connsiteY1"/>
                </a:cxn>
                <a:cxn ang="0">
                  <a:pos x="connsiteX2" y="connsiteY2"/>
                </a:cxn>
                <a:cxn ang="0">
                  <a:pos x="connsiteX3" y="connsiteY3"/>
                </a:cxn>
              </a:cxnLst>
              <a:rect l="l" t="t" r="r" b="b"/>
              <a:pathLst>
                <a:path w="1523" h="461780">
                  <a:moveTo>
                    <a:pt x="0" y="0"/>
                  </a:moveTo>
                  <a:lnTo>
                    <a:pt x="1524" y="0"/>
                  </a:lnTo>
                  <a:lnTo>
                    <a:pt x="1524" y="461781"/>
                  </a:lnTo>
                  <a:lnTo>
                    <a:pt x="0" y="461781"/>
                  </a:lnTo>
                  <a:close/>
                </a:path>
              </a:pathLst>
            </a:custGeom>
            <a:solidFill>
              <a:srgbClr val="F9C996"/>
            </a:solidFill>
            <a:ln w="12690"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01E65A9A-F83F-4B1C-927C-ED9EB5518DA4}"/>
                </a:ext>
              </a:extLst>
            </p:cNvPr>
            <p:cNvSpPr/>
            <p:nvPr/>
          </p:nvSpPr>
          <p:spPr>
            <a:xfrm>
              <a:off x="3935" y="6402733"/>
              <a:ext cx="240602" cy="461780"/>
            </a:xfrm>
            <a:custGeom>
              <a:avLst/>
              <a:gdLst>
                <a:gd name="connsiteX0" fmla="*/ 0 w 240602"/>
                <a:gd name="connsiteY0" fmla="*/ 0 h 461780"/>
                <a:gd name="connsiteX1" fmla="*/ 240602 w 240602"/>
                <a:gd name="connsiteY1" fmla="*/ 0 h 461780"/>
                <a:gd name="connsiteX2" fmla="*/ 240602 w 240602"/>
                <a:gd name="connsiteY2" fmla="*/ 461781 h 461780"/>
                <a:gd name="connsiteX3" fmla="*/ 0 w 240602"/>
                <a:gd name="connsiteY3" fmla="*/ 461781 h 461780"/>
              </a:gdLst>
              <a:ahLst/>
              <a:cxnLst>
                <a:cxn ang="0">
                  <a:pos x="connsiteX0" y="connsiteY0"/>
                </a:cxn>
                <a:cxn ang="0">
                  <a:pos x="connsiteX1" y="connsiteY1"/>
                </a:cxn>
                <a:cxn ang="0">
                  <a:pos x="connsiteX2" y="connsiteY2"/>
                </a:cxn>
                <a:cxn ang="0">
                  <a:pos x="connsiteX3" y="connsiteY3"/>
                </a:cxn>
              </a:cxnLst>
              <a:rect l="l" t="t" r="r" b="b"/>
              <a:pathLst>
                <a:path w="240602" h="461780">
                  <a:moveTo>
                    <a:pt x="0" y="0"/>
                  </a:moveTo>
                  <a:lnTo>
                    <a:pt x="240602" y="0"/>
                  </a:lnTo>
                  <a:lnTo>
                    <a:pt x="240602" y="461781"/>
                  </a:lnTo>
                  <a:lnTo>
                    <a:pt x="0" y="461781"/>
                  </a:lnTo>
                  <a:close/>
                </a:path>
              </a:pathLst>
            </a:custGeom>
            <a:solidFill>
              <a:schemeClr val="tx2"/>
            </a:solidFill>
            <a:ln w="12690"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5F15D169-34D1-4F1A-8A28-4452E337365E}"/>
                </a:ext>
              </a:extLst>
            </p:cNvPr>
            <p:cNvSpPr/>
            <p:nvPr/>
          </p:nvSpPr>
          <p:spPr>
            <a:xfrm>
              <a:off x="653752" y="5788337"/>
              <a:ext cx="30472" cy="291263"/>
            </a:xfrm>
            <a:custGeom>
              <a:avLst/>
              <a:gdLst>
                <a:gd name="connsiteX0" fmla="*/ 0 w 30472"/>
                <a:gd name="connsiteY0" fmla="*/ 0 h 291263"/>
                <a:gd name="connsiteX1" fmla="*/ 0 w 30472"/>
                <a:gd name="connsiteY1" fmla="*/ 291264 h 291263"/>
                <a:gd name="connsiteX2" fmla="*/ 30472 w 30472"/>
                <a:gd name="connsiteY2" fmla="*/ 291264 h 291263"/>
                <a:gd name="connsiteX3" fmla="*/ 30472 w 30472"/>
                <a:gd name="connsiteY3" fmla="*/ 16252 h 291263"/>
                <a:gd name="connsiteX4" fmla="*/ 28060 w 30472"/>
                <a:gd name="connsiteY4" fmla="*/ 11046 h 291263"/>
                <a:gd name="connsiteX5" fmla="*/ 28060 w 30472"/>
                <a:gd name="connsiteY5" fmla="*/ 0 h 29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72" h="291263">
                  <a:moveTo>
                    <a:pt x="0" y="0"/>
                  </a:moveTo>
                  <a:lnTo>
                    <a:pt x="0" y="291264"/>
                  </a:lnTo>
                  <a:lnTo>
                    <a:pt x="30472" y="291264"/>
                  </a:lnTo>
                  <a:lnTo>
                    <a:pt x="30472" y="16252"/>
                  </a:lnTo>
                  <a:cubicBezTo>
                    <a:pt x="28960" y="14943"/>
                    <a:pt x="28081" y="13047"/>
                    <a:pt x="28060" y="11046"/>
                  </a:cubicBezTo>
                  <a:lnTo>
                    <a:pt x="28060" y="0"/>
                  </a:lnTo>
                  <a:close/>
                </a:path>
              </a:pathLst>
            </a:custGeom>
            <a:solidFill>
              <a:schemeClr val="accent2"/>
            </a:solidFill>
            <a:ln w="12690"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DF377CBD-AF83-43EC-9845-B3BD4A80FBFA}"/>
                </a:ext>
              </a:extLst>
            </p:cNvPr>
            <p:cNvSpPr/>
            <p:nvPr/>
          </p:nvSpPr>
          <p:spPr>
            <a:xfrm>
              <a:off x="1012307" y="5805858"/>
              <a:ext cx="1396" cy="586589"/>
            </a:xfrm>
            <a:custGeom>
              <a:avLst/>
              <a:gdLst>
                <a:gd name="connsiteX0" fmla="*/ 1397 w 1396"/>
                <a:gd name="connsiteY0" fmla="*/ 0 h 586589"/>
                <a:gd name="connsiteX1" fmla="*/ 0 w 1396"/>
                <a:gd name="connsiteY1" fmla="*/ 0 h 586589"/>
                <a:gd name="connsiteX2" fmla="*/ 0 w 1396"/>
                <a:gd name="connsiteY2" fmla="*/ 586590 h 586589"/>
                <a:gd name="connsiteX3" fmla="*/ 1397 w 1396"/>
                <a:gd name="connsiteY3" fmla="*/ 586590 h 586589"/>
              </a:gdLst>
              <a:ahLst/>
              <a:cxnLst>
                <a:cxn ang="0">
                  <a:pos x="connsiteX0" y="connsiteY0"/>
                </a:cxn>
                <a:cxn ang="0">
                  <a:pos x="connsiteX1" y="connsiteY1"/>
                </a:cxn>
                <a:cxn ang="0">
                  <a:pos x="connsiteX2" y="connsiteY2"/>
                </a:cxn>
                <a:cxn ang="0">
                  <a:pos x="connsiteX3" y="connsiteY3"/>
                </a:cxn>
              </a:cxnLst>
              <a:rect l="l" t="t" r="r" b="b"/>
              <a:pathLst>
                <a:path w="1396" h="586589">
                  <a:moveTo>
                    <a:pt x="1397" y="0"/>
                  </a:moveTo>
                  <a:lnTo>
                    <a:pt x="0" y="0"/>
                  </a:lnTo>
                  <a:lnTo>
                    <a:pt x="0" y="586590"/>
                  </a:lnTo>
                  <a:lnTo>
                    <a:pt x="1397" y="586590"/>
                  </a:lnTo>
                  <a:close/>
                </a:path>
              </a:pathLst>
            </a:custGeom>
            <a:solidFill>
              <a:srgbClr val="F9AA19"/>
            </a:solidFill>
            <a:ln w="12690"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FE344515-3EFA-4B4A-B2A5-3F171162CA7C}"/>
                </a:ext>
              </a:extLst>
            </p:cNvPr>
            <p:cNvSpPr/>
            <p:nvPr/>
          </p:nvSpPr>
          <p:spPr>
            <a:xfrm>
              <a:off x="1016116" y="5773609"/>
              <a:ext cx="186133" cy="619093"/>
            </a:xfrm>
            <a:custGeom>
              <a:avLst/>
              <a:gdLst>
                <a:gd name="connsiteX0" fmla="*/ 1524 w 186133"/>
                <a:gd name="connsiteY0" fmla="*/ 7745 h 619093"/>
                <a:gd name="connsiteX1" fmla="*/ 0 w 186133"/>
                <a:gd name="connsiteY1" fmla="*/ 13078 h 619093"/>
                <a:gd name="connsiteX2" fmla="*/ 0 w 186133"/>
                <a:gd name="connsiteY2" fmla="*/ 21204 h 619093"/>
                <a:gd name="connsiteX3" fmla="*/ 1905 w 186133"/>
                <a:gd name="connsiteY3" fmla="*/ 25774 h 619093"/>
                <a:gd name="connsiteX4" fmla="*/ 0 w 186133"/>
                <a:gd name="connsiteY4" fmla="*/ 30472 h 619093"/>
                <a:gd name="connsiteX5" fmla="*/ 0 w 186133"/>
                <a:gd name="connsiteY5" fmla="*/ 619094 h 619093"/>
                <a:gd name="connsiteX6" fmla="*/ 186134 w 186133"/>
                <a:gd name="connsiteY6" fmla="*/ 619094 h 619093"/>
                <a:gd name="connsiteX7" fmla="*/ 186134 w 186133"/>
                <a:gd name="connsiteY7" fmla="*/ 0 h 619093"/>
                <a:gd name="connsiteX8" fmla="*/ 3936 w 186133"/>
                <a:gd name="connsiteY8"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33" h="619093">
                  <a:moveTo>
                    <a:pt x="1524" y="7745"/>
                  </a:moveTo>
                  <a:lnTo>
                    <a:pt x="0" y="13078"/>
                  </a:lnTo>
                  <a:lnTo>
                    <a:pt x="0" y="21204"/>
                  </a:lnTo>
                  <a:cubicBezTo>
                    <a:pt x="1215" y="22415"/>
                    <a:pt x="1901" y="24059"/>
                    <a:pt x="1905" y="25774"/>
                  </a:cubicBezTo>
                  <a:cubicBezTo>
                    <a:pt x="1893" y="27527"/>
                    <a:pt x="1211" y="29208"/>
                    <a:pt x="0" y="30472"/>
                  </a:cubicBezTo>
                  <a:lnTo>
                    <a:pt x="0" y="619094"/>
                  </a:lnTo>
                  <a:lnTo>
                    <a:pt x="186134" y="619094"/>
                  </a:lnTo>
                  <a:lnTo>
                    <a:pt x="186134" y="0"/>
                  </a:lnTo>
                  <a:lnTo>
                    <a:pt x="3936" y="0"/>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EB06B33D-4E9C-460F-BE15-406FC1C45AEB}"/>
                </a:ext>
              </a:extLst>
            </p:cNvPr>
            <p:cNvSpPr/>
            <p:nvPr/>
          </p:nvSpPr>
          <p:spPr>
            <a:xfrm>
              <a:off x="1441328" y="6769542"/>
              <a:ext cx="127093" cy="17394"/>
            </a:xfrm>
            <a:custGeom>
              <a:avLst/>
              <a:gdLst>
                <a:gd name="connsiteX0" fmla="*/ 127 w 127093"/>
                <a:gd name="connsiteY0" fmla="*/ 17395 h 17394"/>
                <a:gd name="connsiteX1" fmla="*/ 127094 w 127093"/>
                <a:gd name="connsiteY1" fmla="*/ 17395 h 17394"/>
                <a:gd name="connsiteX2" fmla="*/ 101701 w 127093"/>
                <a:gd name="connsiteY2" fmla="*/ 4698 h 17394"/>
                <a:gd name="connsiteX3" fmla="*/ 98145 w 127093"/>
                <a:gd name="connsiteY3" fmla="*/ 0 h 17394"/>
                <a:gd name="connsiteX4" fmla="*/ 0 w 127093"/>
                <a:gd name="connsiteY4" fmla="*/ 0 h 17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93" h="17394">
                  <a:moveTo>
                    <a:pt x="127" y="17395"/>
                  </a:moveTo>
                  <a:lnTo>
                    <a:pt x="127094" y="17395"/>
                  </a:lnTo>
                  <a:lnTo>
                    <a:pt x="101701" y="4698"/>
                  </a:lnTo>
                  <a:cubicBezTo>
                    <a:pt x="99847" y="3771"/>
                    <a:pt x="98526" y="2032"/>
                    <a:pt x="98145" y="0"/>
                  </a:cubicBezTo>
                  <a:lnTo>
                    <a:pt x="0" y="0"/>
                  </a:lnTo>
                  <a:close/>
                </a:path>
              </a:pathLst>
            </a:custGeom>
            <a:solidFill>
              <a:srgbClr val="088A8F"/>
            </a:solidFill>
            <a:ln w="12690"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F0D82155-6F9E-41A7-8EC9-DDB8CD6BDFDA}"/>
                </a:ext>
              </a:extLst>
            </p:cNvPr>
            <p:cNvSpPr/>
            <p:nvPr/>
          </p:nvSpPr>
          <p:spPr>
            <a:xfrm>
              <a:off x="1441455" y="6785032"/>
              <a:ext cx="124681" cy="79481"/>
            </a:xfrm>
            <a:custGeom>
              <a:avLst/>
              <a:gdLst>
                <a:gd name="connsiteX0" fmla="*/ 119984 w 124681"/>
                <a:gd name="connsiteY0" fmla="*/ 0 h 79481"/>
                <a:gd name="connsiteX1" fmla="*/ 0 w 124681"/>
                <a:gd name="connsiteY1" fmla="*/ 0 h 79481"/>
                <a:gd name="connsiteX2" fmla="*/ 0 w 124681"/>
                <a:gd name="connsiteY2" fmla="*/ 79482 h 79481"/>
                <a:gd name="connsiteX3" fmla="*/ 124682 w 124681"/>
                <a:gd name="connsiteY3" fmla="*/ 79482 h 79481"/>
                <a:gd name="connsiteX4" fmla="*/ 124682 w 124681"/>
                <a:gd name="connsiteY4" fmla="*/ 2793 h 79481"/>
                <a:gd name="connsiteX5" fmla="*/ 119984 w 124681"/>
                <a:gd name="connsiteY5" fmla="*/ 0 h 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81" h="79481">
                  <a:moveTo>
                    <a:pt x="119984" y="0"/>
                  </a:moveTo>
                  <a:lnTo>
                    <a:pt x="0" y="0"/>
                  </a:lnTo>
                  <a:lnTo>
                    <a:pt x="0" y="79482"/>
                  </a:lnTo>
                  <a:lnTo>
                    <a:pt x="124682" y="79482"/>
                  </a:lnTo>
                  <a:lnTo>
                    <a:pt x="124682" y="2793"/>
                  </a:lnTo>
                  <a:lnTo>
                    <a:pt x="119984" y="0"/>
                  </a:lnTo>
                  <a:close/>
                </a:path>
              </a:pathLst>
            </a:custGeom>
            <a:solidFill>
              <a:schemeClr val="accent2"/>
            </a:solidFill>
            <a:ln w="12690"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22453010-1FB2-4B69-B78E-41E8CE233BBB}"/>
                </a:ext>
              </a:extLst>
            </p:cNvPr>
            <p:cNvSpPr/>
            <p:nvPr/>
          </p:nvSpPr>
          <p:spPr>
            <a:xfrm>
              <a:off x="2579967" y="6432697"/>
              <a:ext cx="39486" cy="31360"/>
            </a:xfrm>
            <a:custGeom>
              <a:avLst/>
              <a:gdLst>
                <a:gd name="connsiteX0" fmla="*/ 10157 w 39486"/>
                <a:gd name="connsiteY0" fmla="*/ 30218 h 31360"/>
                <a:gd name="connsiteX1" fmla="*/ 11173 w 39486"/>
                <a:gd name="connsiteY1" fmla="*/ 30218 h 31360"/>
                <a:gd name="connsiteX2" fmla="*/ 20950 w 39486"/>
                <a:gd name="connsiteY2" fmla="*/ 30218 h 31360"/>
                <a:gd name="connsiteX3" fmla="*/ 22092 w 39486"/>
                <a:gd name="connsiteY3" fmla="*/ 31361 h 31360"/>
                <a:gd name="connsiteX4" fmla="*/ 39487 w 39486"/>
                <a:gd name="connsiteY4" fmla="*/ 31361 h 31360"/>
                <a:gd name="connsiteX5" fmla="*/ 39487 w 39486"/>
                <a:gd name="connsiteY5" fmla="*/ 0 h 31360"/>
                <a:gd name="connsiteX6" fmla="*/ 0 w 39486"/>
                <a:gd name="connsiteY6" fmla="*/ 0 h 31360"/>
                <a:gd name="connsiteX7" fmla="*/ 0 w 39486"/>
                <a:gd name="connsiteY7" fmla="*/ 27679 h 31360"/>
                <a:gd name="connsiteX8" fmla="*/ 0 w 39486"/>
                <a:gd name="connsiteY8" fmla="*/ 29583 h 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86" h="31360">
                  <a:moveTo>
                    <a:pt x="10157" y="30218"/>
                  </a:moveTo>
                  <a:cubicBezTo>
                    <a:pt x="10475" y="30079"/>
                    <a:pt x="10843" y="30079"/>
                    <a:pt x="11173" y="30218"/>
                  </a:cubicBezTo>
                  <a:lnTo>
                    <a:pt x="20950" y="30218"/>
                  </a:lnTo>
                  <a:cubicBezTo>
                    <a:pt x="21584" y="30218"/>
                    <a:pt x="22092" y="30726"/>
                    <a:pt x="22092" y="31361"/>
                  </a:cubicBezTo>
                  <a:lnTo>
                    <a:pt x="39487" y="31361"/>
                  </a:lnTo>
                  <a:lnTo>
                    <a:pt x="39487" y="0"/>
                  </a:lnTo>
                  <a:lnTo>
                    <a:pt x="0" y="0"/>
                  </a:lnTo>
                  <a:lnTo>
                    <a:pt x="0" y="27679"/>
                  </a:lnTo>
                  <a:cubicBezTo>
                    <a:pt x="0" y="27679"/>
                    <a:pt x="0" y="28822"/>
                    <a:pt x="0" y="29583"/>
                  </a:cubicBezTo>
                  <a:close/>
                </a:path>
              </a:pathLst>
            </a:custGeom>
            <a:solidFill>
              <a:srgbClr val="F9C996"/>
            </a:solidFill>
            <a:ln w="12690"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5E6AF3D5-753B-454E-9979-E471F6BFFE49}"/>
                </a:ext>
              </a:extLst>
            </p:cNvPr>
            <p:cNvSpPr/>
            <p:nvPr/>
          </p:nvSpPr>
          <p:spPr>
            <a:xfrm>
              <a:off x="2622247" y="6433332"/>
              <a:ext cx="28821" cy="31360"/>
            </a:xfrm>
            <a:custGeom>
              <a:avLst/>
              <a:gdLst>
                <a:gd name="connsiteX0" fmla="*/ 0 w 28821"/>
                <a:gd name="connsiteY0" fmla="*/ 0 h 31360"/>
                <a:gd name="connsiteX1" fmla="*/ 28822 w 28821"/>
                <a:gd name="connsiteY1" fmla="*/ 0 h 31360"/>
                <a:gd name="connsiteX2" fmla="*/ 28822 w 28821"/>
                <a:gd name="connsiteY2" fmla="*/ 31361 h 31360"/>
                <a:gd name="connsiteX3" fmla="*/ 0 w 28821"/>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8821" h="31360">
                  <a:moveTo>
                    <a:pt x="0" y="0"/>
                  </a:moveTo>
                  <a:lnTo>
                    <a:pt x="28822" y="0"/>
                  </a:lnTo>
                  <a:lnTo>
                    <a:pt x="28822" y="31361"/>
                  </a:lnTo>
                  <a:lnTo>
                    <a:pt x="0" y="31361"/>
                  </a:lnTo>
                  <a:close/>
                </a:path>
              </a:pathLst>
            </a:custGeom>
            <a:solidFill>
              <a:schemeClr val="tx2"/>
            </a:solidFill>
            <a:ln w="12690"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703EEE45-5DAF-4530-B6CB-97B0E66D7B97}"/>
                </a:ext>
              </a:extLst>
            </p:cNvPr>
            <p:cNvSpPr/>
            <p:nvPr/>
          </p:nvSpPr>
          <p:spPr>
            <a:xfrm>
              <a:off x="2398913" y="6462915"/>
              <a:ext cx="252156" cy="401598"/>
            </a:xfrm>
            <a:custGeom>
              <a:avLst/>
              <a:gdLst>
                <a:gd name="connsiteX0" fmla="*/ 180293 w 252156"/>
                <a:gd name="connsiteY0" fmla="*/ 0 h 401598"/>
                <a:gd name="connsiteX1" fmla="*/ 174834 w 252156"/>
                <a:gd name="connsiteY1" fmla="*/ 2920 h 401598"/>
                <a:gd name="connsiteX2" fmla="*/ 0 w 252156"/>
                <a:gd name="connsiteY2" fmla="*/ 2920 h 401598"/>
                <a:gd name="connsiteX3" fmla="*/ 0 w 252156"/>
                <a:gd name="connsiteY3" fmla="*/ 401598 h 401598"/>
                <a:gd name="connsiteX4" fmla="*/ 252156 w 252156"/>
                <a:gd name="connsiteY4" fmla="*/ 401598 h 401598"/>
                <a:gd name="connsiteX5" fmla="*/ 252156 w 252156"/>
                <a:gd name="connsiteY5" fmla="*/ 0 h 40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156" h="401598">
                  <a:moveTo>
                    <a:pt x="180293" y="0"/>
                  </a:moveTo>
                  <a:cubicBezTo>
                    <a:pt x="179023" y="1765"/>
                    <a:pt x="177005" y="2857"/>
                    <a:pt x="174834" y="2920"/>
                  </a:cubicBezTo>
                  <a:lnTo>
                    <a:pt x="0" y="2920"/>
                  </a:lnTo>
                  <a:lnTo>
                    <a:pt x="0" y="401598"/>
                  </a:lnTo>
                  <a:lnTo>
                    <a:pt x="252156" y="401598"/>
                  </a:lnTo>
                  <a:lnTo>
                    <a:pt x="252156" y="0"/>
                  </a:lnTo>
                  <a:close/>
                </a:path>
              </a:pathLst>
            </a:custGeom>
            <a:solidFill>
              <a:schemeClr val="accent5"/>
            </a:solidFill>
            <a:ln w="12690"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379EEAB5-A44E-4593-A0EA-5CFCA1AEC700}"/>
                </a:ext>
              </a:extLst>
            </p:cNvPr>
            <p:cNvSpPr/>
            <p:nvPr/>
          </p:nvSpPr>
          <p:spPr>
            <a:xfrm>
              <a:off x="2719504" y="5857661"/>
              <a:ext cx="461397" cy="1006852"/>
            </a:xfrm>
            <a:custGeom>
              <a:avLst/>
              <a:gdLst>
                <a:gd name="connsiteX0" fmla="*/ 461398 w 461397"/>
                <a:gd name="connsiteY0" fmla="*/ 602842 h 1006852"/>
                <a:gd name="connsiteX1" fmla="*/ 461398 w 461397"/>
                <a:gd name="connsiteY1" fmla="*/ 602207 h 1006852"/>
                <a:gd name="connsiteX2" fmla="*/ 461398 w 461397"/>
                <a:gd name="connsiteY2" fmla="*/ 601191 h 1006852"/>
                <a:gd name="connsiteX3" fmla="*/ 461398 w 461397"/>
                <a:gd name="connsiteY3" fmla="*/ 0 h 1006852"/>
                <a:gd name="connsiteX4" fmla="*/ 0 w 461397"/>
                <a:gd name="connsiteY4" fmla="*/ 0 h 1006852"/>
                <a:gd name="connsiteX5" fmla="*/ 0 w 461397"/>
                <a:gd name="connsiteY5" fmla="*/ 1006852 h 1006852"/>
                <a:gd name="connsiteX6" fmla="*/ 461398 w 461397"/>
                <a:gd name="connsiteY6" fmla="*/ 1006852 h 1006852"/>
                <a:gd name="connsiteX7" fmla="*/ 461398 w 461397"/>
                <a:gd name="connsiteY7" fmla="*/ 603984 h 1006852"/>
                <a:gd name="connsiteX8" fmla="*/ 461398 w 461397"/>
                <a:gd name="connsiteY8" fmla="*/ 602842 h 100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397" h="1006852">
                  <a:moveTo>
                    <a:pt x="461398" y="602842"/>
                  </a:moveTo>
                  <a:lnTo>
                    <a:pt x="461398" y="602207"/>
                  </a:lnTo>
                  <a:lnTo>
                    <a:pt x="461398" y="601191"/>
                  </a:lnTo>
                  <a:lnTo>
                    <a:pt x="461398" y="0"/>
                  </a:lnTo>
                  <a:lnTo>
                    <a:pt x="0" y="0"/>
                  </a:lnTo>
                  <a:lnTo>
                    <a:pt x="0" y="1006852"/>
                  </a:lnTo>
                  <a:lnTo>
                    <a:pt x="461398" y="1006852"/>
                  </a:lnTo>
                  <a:lnTo>
                    <a:pt x="461398" y="603984"/>
                  </a:lnTo>
                  <a:lnTo>
                    <a:pt x="461398" y="602842"/>
                  </a:lnTo>
                  <a:close/>
                </a:path>
              </a:pathLst>
            </a:custGeom>
            <a:solidFill>
              <a:schemeClr val="accent1">
                <a:lumMod val="75000"/>
              </a:schemeClr>
            </a:solidFill>
            <a:ln w="12690"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A2F4A72F-D7D8-48E2-852E-B0E89D0B684B}"/>
                </a:ext>
              </a:extLst>
            </p:cNvPr>
            <p:cNvSpPr/>
            <p:nvPr/>
          </p:nvSpPr>
          <p:spPr>
            <a:xfrm>
              <a:off x="2664908" y="5858169"/>
              <a:ext cx="52183" cy="1006344"/>
            </a:xfrm>
            <a:custGeom>
              <a:avLst/>
              <a:gdLst>
                <a:gd name="connsiteX0" fmla="*/ 0 w 52183"/>
                <a:gd name="connsiteY0" fmla="*/ 14093 h 1006344"/>
                <a:gd name="connsiteX1" fmla="*/ 0 w 52183"/>
                <a:gd name="connsiteY1" fmla="*/ 563990 h 1006344"/>
                <a:gd name="connsiteX2" fmla="*/ 0 w 52183"/>
                <a:gd name="connsiteY2" fmla="*/ 565767 h 1006344"/>
                <a:gd name="connsiteX3" fmla="*/ 0 w 52183"/>
                <a:gd name="connsiteY3" fmla="*/ 603477 h 1006344"/>
                <a:gd name="connsiteX4" fmla="*/ 0 w 52183"/>
                <a:gd name="connsiteY4" fmla="*/ 1006344 h 1006344"/>
                <a:gd name="connsiteX5" fmla="*/ 52183 w 52183"/>
                <a:gd name="connsiteY5" fmla="*/ 1006344 h 1006344"/>
                <a:gd name="connsiteX6" fmla="*/ 52183 w 52183"/>
                <a:gd name="connsiteY6" fmla="*/ 0 h 1006344"/>
                <a:gd name="connsiteX7" fmla="*/ 0 w 52183"/>
                <a:gd name="connsiteY7" fmla="*/ 14093 h 100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83" h="1006344">
                  <a:moveTo>
                    <a:pt x="0" y="14093"/>
                  </a:moveTo>
                  <a:lnTo>
                    <a:pt x="0" y="563990"/>
                  </a:lnTo>
                  <a:lnTo>
                    <a:pt x="0" y="565767"/>
                  </a:lnTo>
                  <a:lnTo>
                    <a:pt x="0" y="603477"/>
                  </a:lnTo>
                  <a:lnTo>
                    <a:pt x="0" y="1006344"/>
                  </a:lnTo>
                  <a:lnTo>
                    <a:pt x="52183" y="1006344"/>
                  </a:lnTo>
                  <a:lnTo>
                    <a:pt x="52183" y="0"/>
                  </a:lnTo>
                  <a:lnTo>
                    <a:pt x="0" y="14093"/>
                  </a:lnTo>
                  <a:close/>
                </a:path>
              </a:pathLst>
            </a:custGeom>
            <a:solidFill>
              <a:srgbClr val="22B0AE"/>
            </a:solidFill>
            <a:ln w="12690" cap="flat">
              <a:solidFill>
                <a:schemeClr val="accent1"/>
              </a:solid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4A7A5A6C-48E7-419C-A64F-FA4273AE05A9}"/>
                </a:ext>
              </a:extLst>
            </p:cNvPr>
            <p:cNvSpPr/>
            <p:nvPr/>
          </p:nvSpPr>
          <p:spPr>
            <a:xfrm>
              <a:off x="482347" y="5802049"/>
              <a:ext cx="4189" cy="270694"/>
            </a:xfrm>
            <a:custGeom>
              <a:avLst/>
              <a:gdLst>
                <a:gd name="connsiteX0" fmla="*/ 127 w 4189"/>
                <a:gd name="connsiteY0" fmla="*/ 266632 h 270694"/>
                <a:gd name="connsiteX1" fmla="*/ 2666 w 4189"/>
                <a:gd name="connsiteY1" fmla="*/ 268663 h 270694"/>
                <a:gd name="connsiteX2" fmla="*/ 2666 w 4189"/>
                <a:gd name="connsiteY2" fmla="*/ 268663 h 270694"/>
                <a:gd name="connsiteX3" fmla="*/ 3555 w 4189"/>
                <a:gd name="connsiteY3" fmla="*/ 269679 h 270694"/>
                <a:gd name="connsiteX4" fmla="*/ 4190 w 4189"/>
                <a:gd name="connsiteY4" fmla="*/ 270695 h 270694"/>
                <a:gd name="connsiteX5" fmla="*/ 4190 w 4189"/>
                <a:gd name="connsiteY5" fmla="*/ 270695 h 270694"/>
                <a:gd name="connsiteX6" fmla="*/ 4190 w 4189"/>
                <a:gd name="connsiteY6" fmla="*/ 4063 h 270694"/>
                <a:gd name="connsiteX7" fmla="*/ 2412 w 4189"/>
                <a:gd name="connsiteY7" fmla="*/ 4063 h 270694"/>
                <a:gd name="connsiteX8" fmla="*/ 1651 w 4189"/>
                <a:gd name="connsiteY8" fmla="*/ 4063 h 270694"/>
                <a:gd name="connsiteX9" fmla="*/ 0 w 4189"/>
                <a:gd name="connsiteY9" fmla="*/ 2412 h 270694"/>
                <a:gd name="connsiteX10" fmla="*/ 0 w 4189"/>
                <a:gd name="connsiteY10" fmla="*/ 2412 h 270694"/>
                <a:gd name="connsiteX11" fmla="*/ 127 w 4189"/>
                <a:gd name="connsiteY11" fmla="*/ 0 h 270694"/>
                <a:gd name="connsiteX12" fmla="*/ 127 w 4189"/>
                <a:gd name="connsiteY12" fmla="*/ 266632 h 27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9" h="270694">
                  <a:moveTo>
                    <a:pt x="127" y="266632"/>
                  </a:moveTo>
                  <a:lnTo>
                    <a:pt x="2666" y="268663"/>
                  </a:lnTo>
                  <a:lnTo>
                    <a:pt x="2666" y="268663"/>
                  </a:lnTo>
                  <a:cubicBezTo>
                    <a:pt x="3027" y="268943"/>
                    <a:pt x="3329" y="269285"/>
                    <a:pt x="3555" y="269679"/>
                  </a:cubicBezTo>
                  <a:lnTo>
                    <a:pt x="4190" y="270695"/>
                  </a:lnTo>
                  <a:lnTo>
                    <a:pt x="4190" y="270695"/>
                  </a:lnTo>
                  <a:lnTo>
                    <a:pt x="4190" y="4063"/>
                  </a:lnTo>
                  <a:lnTo>
                    <a:pt x="2412" y="4063"/>
                  </a:lnTo>
                  <a:lnTo>
                    <a:pt x="1651" y="4063"/>
                  </a:lnTo>
                  <a:cubicBezTo>
                    <a:pt x="1039" y="3578"/>
                    <a:pt x="485" y="3024"/>
                    <a:pt x="0" y="2412"/>
                  </a:cubicBezTo>
                  <a:cubicBezTo>
                    <a:pt x="0" y="2412"/>
                    <a:pt x="0" y="2412"/>
                    <a:pt x="0" y="2412"/>
                  </a:cubicBezTo>
                  <a:lnTo>
                    <a:pt x="127" y="0"/>
                  </a:lnTo>
                  <a:lnTo>
                    <a:pt x="127" y="266632"/>
                  </a:lnTo>
                  <a:close/>
                </a:path>
              </a:pathLst>
            </a:custGeom>
            <a:solidFill>
              <a:srgbClr val="F9C996"/>
            </a:solidFill>
            <a:ln w="12690"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35306475-B470-4B34-AB9C-4EAA657C0075}"/>
                </a:ext>
              </a:extLst>
            </p:cNvPr>
            <p:cNvSpPr/>
            <p:nvPr/>
          </p:nvSpPr>
          <p:spPr>
            <a:xfrm>
              <a:off x="479808" y="5798113"/>
              <a:ext cx="126" cy="269171"/>
            </a:xfrm>
            <a:custGeom>
              <a:avLst/>
              <a:gdLst>
                <a:gd name="connsiteX0" fmla="*/ 127 w 126"/>
                <a:gd name="connsiteY0" fmla="*/ 269171 h 269171"/>
                <a:gd name="connsiteX1" fmla="*/ 127 w 126"/>
                <a:gd name="connsiteY1" fmla="*/ 127 h 269171"/>
                <a:gd name="connsiteX2" fmla="*/ 0 w 126"/>
                <a:gd name="connsiteY2" fmla="*/ 0 h 269171"/>
                <a:gd name="connsiteX3" fmla="*/ 0 w 126"/>
                <a:gd name="connsiteY3" fmla="*/ 269171 h 269171"/>
                <a:gd name="connsiteX4" fmla="*/ 127 w 126"/>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 h="269171">
                  <a:moveTo>
                    <a:pt x="127" y="269171"/>
                  </a:moveTo>
                  <a:lnTo>
                    <a:pt x="127" y="127"/>
                  </a:lnTo>
                  <a:lnTo>
                    <a:pt x="0" y="0"/>
                  </a:lnTo>
                  <a:lnTo>
                    <a:pt x="0" y="269171"/>
                  </a:lnTo>
                  <a:lnTo>
                    <a:pt x="127" y="269171"/>
                  </a:lnTo>
                  <a:close/>
                </a:path>
              </a:pathLst>
            </a:custGeom>
            <a:solidFill>
              <a:srgbClr val="F9AA19"/>
            </a:solidFill>
            <a:ln w="12690"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6DCCA3AD-E4A4-4E1C-A43D-21858FE6D1D7}"/>
                </a:ext>
              </a:extLst>
            </p:cNvPr>
            <p:cNvSpPr/>
            <p:nvPr/>
          </p:nvSpPr>
          <p:spPr>
            <a:xfrm>
              <a:off x="457842" y="5762562"/>
              <a:ext cx="19552" cy="304468"/>
            </a:xfrm>
            <a:custGeom>
              <a:avLst/>
              <a:gdLst>
                <a:gd name="connsiteX0" fmla="*/ 14093 w 19552"/>
                <a:gd name="connsiteY0" fmla="*/ 304468 h 304468"/>
                <a:gd name="connsiteX1" fmla="*/ 19553 w 19552"/>
                <a:gd name="connsiteY1" fmla="*/ 304468 h 304468"/>
                <a:gd name="connsiteX2" fmla="*/ 19553 w 19552"/>
                <a:gd name="connsiteY2" fmla="*/ 31615 h 304468"/>
                <a:gd name="connsiteX3" fmla="*/ 17521 w 19552"/>
                <a:gd name="connsiteY3" fmla="*/ 28187 h 304468"/>
                <a:gd name="connsiteX4" fmla="*/ 17521 w 19552"/>
                <a:gd name="connsiteY4" fmla="*/ 28187 h 304468"/>
                <a:gd name="connsiteX5" fmla="*/ 14855 w 19552"/>
                <a:gd name="connsiteY5" fmla="*/ 24124 h 304468"/>
                <a:gd name="connsiteX6" fmla="*/ 14855 w 19552"/>
                <a:gd name="connsiteY6" fmla="*/ 24124 h 304468"/>
                <a:gd name="connsiteX7" fmla="*/ 0 w 19552"/>
                <a:gd name="connsiteY7" fmla="*/ 0 h 304468"/>
                <a:gd name="connsiteX8" fmla="*/ 0 w 19552"/>
                <a:gd name="connsiteY8" fmla="*/ 293168 h 304468"/>
                <a:gd name="connsiteX9" fmla="*/ 14093 w 19552"/>
                <a:gd name="connsiteY9" fmla="*/ 304468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2" h="304468">
                  <a:moveTo>
                    <a:pt x="14093" y="304468"/>
                  </a:moveTo>
                  <a:lnTo>
                    <a:pt x="19553" y="304468"/>
                  </a:lnTo>
                  <a:lnTo>
                    <a:pt x="19553" y="31615"/>
                  </a:lnTo>
                  <a:lnTo>
                    <a:pt x="17521" y="28187"/>
                  </a:lnTo>
                  <a:lnTo>
                    <a:pt x="17521" y="28187"/>
                  </a:lnTo>
                  <a:lnTo>
                    <a:pt x="14855" y="24124"/>
                  </a:lnTo>
                  <a:lnTo>
                    <a:pt x="14855" y="24124"/>
                  </a:lnTo>
                  <a:lnTo>
                    <a:pt x="0" y="0"/>
                  </a:lnTo>
                  <a:lnTo>
                    <a:pt x="0" y="293168"/>
                  </a:lnTo>
                  <a:lnTo>
                    <a:pt x="14093" y="304468"/>
                  </a:lnTo>
                  <a:close/>
                </a:path>
              </a:pathLst>
            </a:custGeom>
            <a:solidFill>
              <a:schemeClr val="accent2"/>
            </a:solidFill>
            <a:ln w="12690"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605756CA-A450-4865-BA08-0DE016141683}"/>
                </a:ext>
              </a:extLst>
            </p:cNvPr>
            <p:cNvSpPr/>
            <p:nvPr/>
          </p:nvSpPr>
          <p:spPr>
            <a:xfrm>
              <a:off x="269931" y="5754310"/>
              <a:ext cx="185498" cy="299897"/>
            </a:xfrm>
            <a:custGeom>
              <a:avLst/>
              <a:gdLst>
                <a:gd name="connsiteX0" fmla="*/ 0 w 185498"/>
                <a:gd name="connsiteY0" fmla="*/ 0 h 299897"/>
                <a:gd name="connsiteX1" fmla="*/ 0 w 185498"/>
                <a:gd name="connsiteY1" fmla="*/ 218892 h 299897"/>
                <a:gd name="connsiteX2" fmla="*/ 9396 w 185498"/>
                <a:gd name="connsiteY2" fmla="*/ 225494 h 299897"/>
                <a:gd name="connsiteX3" fmla="*/ 9396 w 185498"/>
                <a:gd name="connsiteY3" fmla="*/ 225494 h 299897"/>
                <a:gd name="connsiteX4" fmla="*/ 10411 w 185498"/>
                <a:gd name="connsiteY4" fmla="*/ 226510 h 299897"/>
                <a:gd name="connsiteX5" fmla="*/ 11173 w 185498"/>
                <a:gd name="connsiteY5" fmla="*/ 227526 h 299897"/>
                <a:gd name="connsiteX6" fmla="*/ 11173 w 185498"/>
                <a:gd name="connsiteY6" fmla="*/ 228796 h 299897"/>
                <a:gd name="connsiteX7" fmla="*/ 11173 w 185498"/>
                <a:gd name="connsiteY7" fmla="*/ 230192 h 299897"/>
                <a:gd name="connsiteX8" fmla="*/ 11173 w 185498"/>
                <a:gd name="connsiteY8" fmla="*/ 299897 h 299897"/>
                <a:gd name="connsiteX9" fmla="*/ 185499 w 185498"/>
                <a:gd name="connsiteY9" fmla="*/ 299897 h 299897"/>
                <a:gd name="connsiteX10" fmla="*/ 185499 w 185498"/>
                <a:gd name="connsiteY10" fmla="*/ 4317 h 299897"/>
                <a:gd name="connsiteX11" fmla="*/ 182832 w 185498"/>
                <a:gd name="connsiteY11" fmla="*/ 0 h 299897"/>
                <a:gd name="connsiteX12" fmla="*/ 0 w 185498"/>
                <a:gd name="connsiteY12" fmla="*/ 0 h 29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498" h="299897">
                  <a:moveTo>
                    <a:pt x="0" y="0"/>
                  </a:moveTo>
                  <a:lnTo>
                    <a:pt x="0" y="218892"/>
                  </a:lnTo>
                  <a:lnTo>
                    <a:pt x="9396" y="225494"/>
                  </a:lnTo>
                  <a:lnTo>
                    <a:pt x="9396" y="225494"/>
                  </a:lnTo>
                  <a:cubicBezTo>
                    <a:pt x="9765" y="225800"/>
                    <a:pt x="10105" y="226141"/>
                    <a:pt x="10411" y="226510"/>
                  </a:cubicBezTo>
                  <a:lnTo>
                    <a:pt x="11173" y="227526"/>
                  </a:lnTo>
                  <a:cubicBezTo>
                    <a:pt x="11244" y="227946"/>
                    <a:pt x="11244" y="228375"/>
                    <a:pt x="11173" y="228796"/>
                  </a:cubicBezTo>
                  <a:cubicBezTo>
                    <a:pt x="11244" y="229259"/>
                    <a:pt x="11244" y="229729"/>
                    <a:pt x="11173" y="230192"/>
                  </a:cubicBezTo>
                  <a:lnTo>
                    <a:pt x="11173" y="299897"/>
                  </a:lnTo>
                  <a:lnTo>
                    <a:pt x="185499" y="299897"/>
                  </a:lnTo>
                  <a:lnTo>
                    <a:pt x="185499" y="4317"/>
                  </a:lnTo>
                  <a:lnTo>
                    <a:pt x="182832" y="0"/>
                  </a:lnTo>
                  <a:lnTo>
                    <a:pt x="0" y="0"/>
                  </a:lnTo>
                  <a:close/>
                </a:path>
              </a:pathLst>
            </a:custGeom>
            <a:solidFill>
              <a:schemeClr val="accent5"/>
            </a:solidFill>
            <a:ln w="12690"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C70BBA09-1D6F-4019-B7DF-83B832F54F34}"/>
                </a:ext>
              </a:extLst>
            </p:cNvPr>
            <p:cNvSpPr/>
            <p:nvPr/>
          </p:nvSpPr>
          <p:spPr>
            <a:xfrm>
              <a:off x="282501" y="6057508"/>
              <a:ext cx="185625" cy="9522"/>
            </a:xfrm>
            <a:custGeom>
              <a:avLst/>
              <a:gdLst>
                <a:gd name="connsiteX0" fmla="*/ 173691 w 185625"/>
                <a:gd name="connsiteY0" fmla="*/ 0 h 9522"/>
                <a:gd name="connsiteX1" fmla="*/ 0 w 185625"/>
                <a:gd name="connsiteY1" fmla="*/ 0 h 9522"/>
                <a:gd name="connsiteX2" fmla="*/ 0 w 185625"/>
                <a:gd name="connsiteY2" fmla="*/ 9523 h 9522"/>
                <a:gd name="connsiteX3" fmla="*/ 185626 w 185625"/>
                <a:gd name="connsiteY3" fmla="*/ 9523 h 9522"/>
                <a:gd name="connsiteX4" fmla="*/ 173691 w 185625"/>
                <a:gd name="connsiteY4" fmla="*/ 0 h 9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25" h="9522">
                  <a:moveTo>
                    <a:pt x="173691" y="0"/>
                  </a:moveTo>
                  <a:lnTo>
                    <a:pt x="0" y="0"/>
                  </a:lnTo>
                  <a:lnTo>
                    <a:pt x="0" y="9523"/>
                  </a:lnTo>
                  <a:lnTo>
                    <a:pt x="185626" y="9523"/>
                  </a:lnTo>
                  <a:lnTo>
                    <a:pt x="173691" y="0"/>
                  </a:lnTo>
                  <a:close/>
                </a:path>
              </a:pathLst>
            </a:custGeom>
            <a:solidFill>
              <a:schemeClr val="accent2"/>
            </a:solidFill>
            <a:ln w="12690"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8C4B5C75-8BB0-4C1F-A44F-8656F9C8B718}"/>
                </a:ext>
              </a:extLst>
            </p:cNvPr>
            <p:cNvSpPr/>
            <p:nvPr/>
          </p:nvSpPr>
          <p:spPr>
            <a:xfrm>
              <a:off x="3313836" y="5821602"/>
              <a:ext cx="201623" cy="83925"/>
            </a:xfrm>
            <a:custGeom>
              <a:avLst/>
              <a:gdLst>
                <a:gd name="connsiteX0" fmla="*/ 4952 w 201623"/>
                <a:gd name="connsiteY0" fmla="*/ 83926 h 83925"/>
                <a:gd name="connsiteX1" fmla="*/ 201624 w 201623"/>
                <a:gd name="connsiteY1" fmla="*/ 83926 h 83925"/>
                <a:gd name="connsiteX2" fmla="*/ 201624 w 201623"/>
                <a:gd name="connsiteY2" fmla="*/ 0 h 83925"/>
                <a:gd name="connsiteX3" fmla="*/ 0 w 201623"/>
                <a:gd name="connsiteY3" fmla="*/ 0 h 83925"/>
                <a:gd name="connsiteX4" fmla="*/ 0 w 201623"/>
                <a:gd name="connsiteY4" fmla="*/ 78466 h 83925"/>
                <a:gd name="connsiteX5" fmla="*/ 4952 w 201623"/>
                <a:gd name="connsiteY5" fmla="*/ 83926 h 8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23" h="83925">
                  <a:moveTo>
                    <a:pt x="4952" y="83926"/>
                  </a:moveTo>
                  <a:lnTo>
                    <a:pt x="201624" y="83926"/>
                  </a:lnTo>
                  <a:lnTo>
                    <a:pt x="201624" y="0"/>
                  </a:lnTo>
                  <a:lnTo>
                    <a:pt x="0" y="0"/>
                  </a:lnTo>
                  <a:lnTo>
                    <a:pt x="0" y="78466"/>
                  </a:lnTo>
                  <a:cubicBezTo>
                    <a:pt x="2603" y="79110"/>
                    <a:pt x="4571" y="81268"/>
                    <a:pt x="4952" y="83926"/>
                  </a:cubicBezTo>
                  <a:close/>
                </a:path>
              </a:pathLst>
            </a:custGeom>
            <a:solidFill>
              <a:srgbClr val="9FD1D0"/>
            </a:solidFill>
            <a:ln w="12690"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D47A9144-0263-4F7B-A208-BDE4CB9E4431}"/>
                </a:ext>
              </a:extLst>
            </p:cNvPr>
            <p:cNvSpPr/>
            <p:nvPr/>
          </p:nvSpPr>
          <p:spPr>
            <a:xfrm>
              <a:off x="3295172" y="5821983"/>
              <a:ext cx="15743" cy="86591"/>
            </a:xfrm>
            <a:custGeom>
              <a:avLst/>
              <a:gdLst>
                <a:gd name="connsiteX0" fmla="*/ 0 w 15743"/>
                <a:gd name="connsiteY0" fmla="*/ 86592 h 86591"/>
                <a:gd name="connsiteX1" fmla="*/ 10157 w 15743"/>
                <a:gd name="connsiteY1" fmla="*/ 84687 h 86591"/>
                <a:gd name="connsiteX2" fmla="*/ 10157 w 15743"/>
                <a:gd name="connsiteY2" fmla="*/ 84687 h 86591"/>
                <a:gd name="connsiteX3" fmla="*/ 15744 w 15743"/>
                <a:gd name="connsiteY3" fmla="*/ 78085 h 86591"/>
                <a:gd name="connsiteX4" fmla="*/ 15744 w 15743"/>
                <a:gd name="connsiteY4" fmla="*/ 0 h 86591"/>
                <a:gd name="connsiteX5" fmla="*/ 0 w 15743"/>
                <a:gd name="connsiteY5" fmla="*/ 3555 h 8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3" h="86591">
                  <a:moveTo>
                    <a:pt x="0" y="86592"/>
                  </a:moveTo>
                  <a:lnTo>
                    <a:pt x="10157" y="84687"/>
                  </a:lnTo>
                  <a:lnTo>
                    <a:pt x="10157" y="84687"/>
                  </a:lnTo>
                  <a:cubicBezTo>
                    <a:pt x="10170" y="81423"/>
                    <a:pt x="12532" y="78640"/>
                    <a:pt x="15744" y="78085"/>
                  </a:cubicBezTo>
                  <a:lnTo>
                    <a:pt x="15744" y="0"/>
                  </a:lnTo>
                  <a:lnTo>
                    <a:pt x="0" y="3555"/>
                  </a:lnTo>
                  <a:close/>
                </a:path>
              </a:pathLst>
            </a:custGeom>
            <a:solidFill>
              <a:srgbClr val="F4F5F3"/>
            </a:solidFill>
            <a:ln w="12690"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9BB657E0-4A69-43D3-B778-1798B80D548E}"/>
                </a:ext>
              </a:extLst>
            </p:cNvPr>
            <p:cNvSpPr/>
            <p:nvPr/>
          </p:nvSpPr>
          <p:spPr>
            <a:xfrm>
              <a:off x="3275746" y="5919113"/>
              <a:ext cx="6856" cy="544055"/>
            </a:xfrm>
            <a:custGeom>
              <a:avLst/>
              <a:gdLst>
                <a:gd name="connsiteX0" fmla="*/ 0 w 6856"/>
                <a:gd name="connsiteY0" fmla="*/ 544056 h 544055"/>
                <a:gd name="connsiteX1" fmla="*/ 5714 w 6856"/>
                <a:gd name="connsiteY1" fmla="*/ 544056 h 544055"/>
                <a:gd name="connsiteX2" fmla="*/ 6856 w 6856"/>
                <a:gd name="connsiteY2" fmla="*/ 541643 h 544055"/>
                <a:gd name="connsiteX3" fmla="*/ 6856 w 6856"/>
                <a:gd name="connsiteY3" fmla="*/ 0 h 544055"/>
                <a:gd name="connsiteX4" fmla="*/ 0 w 6856"/>
                <a:gd name="connsiteY4" fmla="*/ 1270 h 544055"/>
                <a:gd name="connsiteX5" fmla="*/ 0 w 6856"/>
                <a:gd name="connsiteY5" fmla="*/ 544056 h 54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6" h="544055">
                  <a:moveTo>
                    <a:pt x="0" y="544056"/>
                  </a:moveTo>
                  <a:lnTo>
                    <a:pt x="5714" y="544056"/>
                  </a:lnTo>
                  <a:cubicBezTo>
                    <a:pt x="5942" y="543192"/>
                    <a:pt x="6323" y="542367"/>
                    <a:pt x="6856" y="541643"/>
                  </a:cubicBezTo>
                  <a:lnTo>
                    <a:pt x="6856" y="0"/>
                  </a:lnTo>
                  <a:lnTo>
                    <a:pt x="0" y="1270"/>
                  </a:lnTo>
                  <a:lnTo>
                    <a:pt x="0" y="544056"/>
                  </a:lnTo>
                  <a:close/>
                </a:path>
              </a:pathLst>
            </a:custGeom>
            <a:solidFill>
              <a:srgbClr val="F9C996"/>
            </a:solidFill>
            <a:ln w="12690"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5FB0EB1A-D88F-46E9-9769-8B3C124DB3F9}"/>
                </a:ext>
              </a:extLst>
            </p:cNvPr>
            <p:cNvSpPr/>
            <p:nvPr/>
          </p:nvSpPr>
          <p:spPr>
            <a:xfrm>
              <a:off x="3285142" y="5918352"/>
              <a:ext cx="1904" cy="540119"/>
            </a:xfrm>
            <a:custGeom>
              <a:avLst/>
              <a:gdLst>
                <a:gd name="connsiteX0" fmla="*/ 1905 w 1904"/>
                <a:gd name="connsiteY0" fmla="*/ 0 h 540119"/>
                <a:gd name="connsiteX1" fmla="*/ 0 w 1904"/>
                <a:gd name="connsiteY1" fmla="*/ 0 h 540119"/>
                <a:gd name="connsiteX2" fmla="*/ 0 w 1904"/>
                <a:gd name="connsiteY2" fmla="*/ 0 h 540119"/>
                <a:gd name="connsiteX3" fmla="*/ 0 w 1904"/>
                <a:gd name="connsiteY3" fmla="*/ 540120 h 540119"/>
                <a:gd name="connsiteX4" fmla="*/ 1905 w 1904"/>
                <a:gd name="connsiteY4" fmla="*/ 540120 h 54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 h="540119">
                  <a:moveTo>
                    <a:pt x="1905" y="0"/>
                  </a:moveTo>
                  <a:lnTo>
                    <a:pt x="0" y="0"/>
                  </a:lnTo>
                  <a:lnTo>
                    <a:pt x="0" y="0"/>
                  </a:lnTo>
                  <a:lnTo>
                    <a:pt x="0" y="540120"/>
                  </a:lnTo>
                  <a:cubicBezTo>
                    <a:pt x="635" y="540044"/>
                    <a:pt x="1270" y="540044"/>
                    <a:pt x="1905" y="540120"/>
                  </a:cubicBezTo>
                  <a:close/>
                </a:path>
              </a:pathLst>
            </a:custGeom>
            <a:solidFill>
              <a:srgbClr val="E8E7E3"/>
            </a:solidFill>
            <a:ln w="12690"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4C3D7365-8C08-4E0A-8809-1D14D7478F8D}"/>
                </a:ext>
              </a:extLst>
            </p:cNvPr>
            <p:cNvSpPr/>
            <p:nvPr/>
          </p:nvSpPr>
          <p:spPr>
            <a:xfrm>
              <a:off x="3290221" y="5912257"/>
              <a:ext cx="15870" cy="545706"/>
            </a:xfrm>
            <a:custGeom>
              <a:avLst/>
              <a:gdLst>
                <a:gd name="connsiteX0" fmla="*/ 15109 w 15870"/>
                <a:gd name="connsiteY0" fmla="*/ 0 h 545706"/>
                <a:gd name="connsiteX1" fmla="*/ 4698 w 15870"/>
                <a:gd name="connsiteY1" fmla="*/ 0 h 545706"/>
                <a:gd name="connsiteX2" fmla="*/ 4698 w 15870"/>
                <a:gd name="connsiteY2" fmla="*/ 889 h 545706"/>
                <a:gd name="connsiteX3" fmla="*/ 4698 w 15870"/>
                <a:gd name="connsiteY3" fmla="*/ 2158 h 545706"/>
                <a:gd name="connsiteX4" fmla="*/ 4063 w 15870"/>
                <a:gd name="connsiteY4" fmla="*/ 3174 h 545706"/>
                <a:gd name="connsiteX5" fmla="*/ 3047 w 15870"/>
                <a:gd name="connsiteY5" fmla="*/ 4063 h 545706"/>
                <a:gd name="connsiteX6" fmla="*/ 2031 w 15870"/>
                <a:gd name="connsiteY6" fmla="*/ 4825 h 545706"/>
                <a:gd name="connsiteX7" fmla="*/ 762 w 15870"/>
                <a:gd name="connsiteY7" fmla="*/ 4825 h 545706"/>
                <a:gd name="connsiteX8" fmla="*/ 0 w 15870"/>
                <a:gd name="connsiteY8" fmla="*/ 4825 h 545706"/>
                <a:gd name="connsiteX9" fmla="*/ 0 w 15870"/>
                <a:gd name="connsiteY9" fmla="*/ 4825 h 545706"/>
                <a:gd name="connsiteX10" fmla="*/ 0 w 15870"/>
                <a:gd name="connsiteY10" fmla="*/ 545072 h 545706"/>
                <a:gd name="connsiteX11" fmla="*/ 15871 w 15870"/>
                <a:gd name="connsiteY11" fmla="*/ 545706 h 54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70" h="545706">
                  <a:moveTo>
                    <a:pt x="15109" y="0"/>
                  </a:moveTo>
                  <a:lnTo>
                    <a:pt x="4698" y="0"/>
                  </a:lnTo>
                  <a:cubicBezTo>
                    <a:pt x="4774" y="292"/>
                    <a:pt x="4774" y="597"/>
                    <a:pt x="4698" y="889"/>
                  </a:cubicBezTo>
                  <a:cubicBezTo>
                    <a:pt x="4774" y="1309"/>
                    <a:pt x="4774" y="1738"/>
                    <a:pt x="4698" y="2158"/>
                  </a:cubicBezTo>
                  <a:cubicBezTo>
                    <a:pt x="4533" y="2524"/>
                    <a:pt x="4317" y="2866"/>
                    <a:pt x="4063" y="3174"/>
                  </a:cubicBezTo>
                  <a:lnTo>
                    <a:pt x="3047" y="4063"/>
                  </a:lnTo>
                  <a:cubicBezTo>
                    <a:pt x="2768" y="4385"/>
                    <a:pt x="2425" y="4644"/>
                    <a:pt x="2031" y="4825"/>
                  </a:cubicBezTo>
                  <a:lnTo>
                    <a:pt x="762" y="4825"/>
                  </a:lnTo>
                  <a:lnTo>
                    <a:pt x="0" y="4825"/>
                  </a:lnTo>
                  <a:lnTo>
                    <a:pt x="0" y="4825"/>
                  </a:lnTo>
                  <a:lnTo>
                    <a:pt x="0" y="545072"/>
                  </a:lnTo>
                  <a:lnTo>
                    <a:pt x="15871" y="545706"/>
                  </a:lnTo>
                  <a:close/>
                </a:path>
              </a:pathLst>
            </a:custGeom>
            <a:solidFill>
              <a:srgbClr val="9FD1D0"/>
            </a:solidFill>
            <a:ln w="12690"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EFA3698B-9135-4540-822C-28954C440172}"/>
                </a:ext>
              </a:extLst>
            </p:cNvPr>
            <p:cNvSpPr/>
            <p:nvPr/>
          </p:nvSpPr>
          <p:spPr>
            <a:xfrm>
              <a:off x="3301648" y="5909210"/>
              <a:ext cx="3555" cy="634"/>
            </a:xfrm>
            <a:custGeom>
              <a:avLst/>
              <a:gdLst>
                <a:gd name="connsiteX0" fmla="*/ 0 w 3555"/>
                <a:gd name="connsiteY0" fmla="*/ 635 h 634"/>
                <a:gd name="connsiteX1" fmla="*/ 3555 w 3555"/>
                <a:gd name="connsiteY1" fmla="*/ 635 h 634"/>
                <a:gd name="connsiteX2" fmla="*/ 3555 w 3555"/>
                <a:gd name="connsiteY2" fmla="*/ 0 h 634"/>
                <a:gd name="connsiteX3" fmla="*/ 0 w 3555"/>
                <a:gd name="connsiteY3" fmla="*/ 635 h 634"/>
              </a:gdLst>
              <a:ahLst/>
              <a:cxnLst>
                <a:cxn ang="0">
                  <a:pos x="connsiteX0" y="connsiteY0"/>
                </a:cxn>
                <a:cxn ang="0">
                  <a:pos x="connsiteX1" y="connsiteY1"/>
                </a:cxn>
                <a:cxn ang="0">
                  <a:pos x="connsiteX2" y="connsiteY2"/>
                </a:cxn>
                <a:cxn ang="0">
                  <a:pos x="connsiteX3" y="connsiteY3"/>
                </a:cxn>
              </a:cxnLst>
              <a:rect l="l" t="t" r="r" b="b"/>
              <a:pathLst>
                <a:path w="3555" h="634">
                  <a:moveTo>
                    <a:pt x="0" y="635"/>
                  </a:moveTo>
                  <a:lnTo>
                    <a:pt x="3555" y="635"/>
                  </a:lnTo>
                  <a:lnTo>
                    <a:pt x="3555" y="0"/>
                  </a:lnTo>
                  <a:lnTo>
                    <a:pt x="0" y="635"/>
                  </a:lnTo>
                  <a:close/>
                </a:path>
              </a:pathLst>
            </a:custGeom>
            <a:solidFill>
              <a:srgbClr val="088A8F"/>
            </a:solidFill>
            <a:ln w="12690"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D271DFFB-D458-4CA1-8F80-5236CACA9C6C}"/>
                </a:ext>
              </a:extLst>
            </p:cNvPr>
            <p:cNvSpPr/>
            <p:nvPr/>
          </p:nvSpPr>
          <p:spPr>
            <a:xfrm>
              <a:off x="264218" y="5986025"/>
              <a:ext cx="4443" cy="93575"/>
            </a:xfrm>
            <a:custGeom>
              <a:avLst/>
              <a:gdLst>
                <a:gd name="connsiteX0" fmla="*/ 4444 w 4443"/>
                <a:gd name="connsiteY0" fmla="*/ 87988 h 93575"/>
                <a:gd name="connsiteX1" fmla="*/ 4444 w 4443"/>
                <a:gd name="connsiteY1" fmla="*/ 70340 h 93575"/>
                <a:gd name="connsiteX2" fmla="*/ 4444 w 4443"/>
                <a:gd name="connsiteY2" fmla="*/ 3047 h 93575"/>
                <a:gd name="connsiteX3" fmla="*/ 0 w 4443"/>
                <a:gd name="connsiteY3" fmla="*/ 0 h 93575"/>
                <a:gd name="connsiteX4" fmla="*/ 0 w 4443"/>
                <a:gd name="connsiteY4" fmla="*/ 93575 h 93575"/>
                <a:gd name="connsiteX5" fmla="*/ 4444 w 4443"/>
                <a:gd name="connsiteY5" fmla="*/ 93575 h 93575"/>
                <a:gd name="connsiteX6" fmla="*/ 4444 w 4443"/>
                <a:gd name="connsiteY6" fmla="*/ 90020 h 93575"/>
                <a:gd name="connsiteX7" fmla="*/ 4444 w 4443"/>
                <a:gd name="connsiteY7" fmla="*/ 87988 h 9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3" h="93575">
                  <a:moveTo>
                    <a:pt x="4444" y="87988"/>
                  </a:moveTo>
                  <a:lnTo>
                    <a:pt x="4444" y="70340"/>
                  </a:lnTo>
                  <a:lnTo>
                    <a:pt x="4444" y="3047"/>
                  </a:lnTo>
                  <a:lnTo>
                    <a:pt x="0" y="0"/>
                  </a:lnTo>
                  <a:lnTo>
                    <a:pt x="0" y="93575"/>
                  </a:lnTo>
                  <a:lnTo>
                    <a:pt x="4444" y="93575"/>
                  </a:lnTo>
                  <a:lnTo>
                    <a:pt x="4444" y="90020"/>
                  </a:lnTo>
                  <a:lnTo>
                    <a:pt x="4444" y="87988"/>
                  </a:lnTo>
                  <a:close/>
                </a:path>
              </a:pathLst>
            </a:custGeom>
            <a:solidFill>
              <a:srgbClr val="9FD1D0"/>
            </a:solidFill>
            <a:ln w="12690"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F45C61C8-A338-4036-A857-7C2A29E506DE}"/>
                </a:ext>
              </a:extLst>
            </p:cNvPr>
            <p:cNvSpPr/>
            <p:nvPr/>
          </p:nvSpPr>
          <p:spPr>
            <a:xfrm>
              <a:off x="0" y="6094075"/>
              <a:ext cx="690700" cy="304722"/>
            </a:xfrm>
            <a:custGeom>
              <a:avLst/>
              <a:gdLst>
                <a:gd name="connsiteX0" fmla="*/ 252156 w 690700"/>
                <a:gd name="connsiteY0" fmla="*/ 100177 h 304722"/>
                <a:gd name="connsiteX1" fmla="*/ 259013 w 690700"/>
                <a:gd name="connsiteY1" fmla="*/ 107161 h 304722"/>
                <a:gd name="connsiteX2" fmla="*/ 259013 w 690700"/>
                <a:gd name="connsiteY2" fmla="*/ 304722 h 304722"/>
                <a:gd name="connsiteX3" fmla="*/ 690700 w 690700"/>
                <a:gd name="connsiteY3" fmla="*/ 304722 h 304722"/>
                <a:gd name="connsiteX4" fmla="*/ 690700 w 690700"/>
                <a:gd name="connsiteY4" fmla="*/ 0 h 304722"/>
                <a:gd name="connsiteX5" fmla="*/ 0 w 690700"/>
                <a:gd name="connsiteY5" fmla="*/ 0 h 304722"/>
                <a:gd name="connsiteX6" fmla="*/ 0 w 690700"/>
                <a:gd name="connsiteY6" fmla="*/ 106526 h 304722"/>
                <a:gd name="connsiteX7" fmla="*/ 245427 w 690700"/>
                <a:gd name="connsiteY7" fmla="*/ 106526 h 304722"/>
                <a:gd name="connsiteX8" fmla="*/ 252156 w 690700"/>
                <a:gd name="connsiteY8" fmla="*/ 100177 h 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00" h="304722">
                  <a:moveTo>
                    <a:pt x="252156" y="100177"/>
                  </a:moveTo>
                  <a:cubicBezTo>
                    <a:pt x="255963" y="100241"/>
                    <a:pt x="259014" y="103352"/>
                    <a:pt x="259013" y="107161"/>
                  </a:cubicBezTo>
                  <a:lnTo>
                    <a:pt x="259013" y="304722"/>
                  </a:lnTo>
                  <a:lnTo>
                    <a:pt x="690700" y="304722"/>
                  </a:lnTo>
                  <a:lnTo>
                    <a:pt x="690700" y="0"/>
                  </a:lnTo>
                  <a:lnTo>
                    <a:pt x="0" y="0"/>
                  </a:lnTo>
                  <a:lnTo>
                    <a:pt x="0" y="106526"/>
                  </a:lnTo>
                  <a:lnTo>
                    <a:pt x="245427" y="106526"/>
                  </a:lnTo>
                  <a:cubicBezTo>
                    <a:pt x="245746" y="103009"/>
                    <a:pt x="248632" y="100292"/>
                    <a:pt x="252156" y="100177"/>
                  </a:cubicBezTo>
                  <a:close/>
                </a:path>
              </a:pathLst>
            </a:custGeom>
            <a:solidFill>
              <a:schemeClr val="accent1">
                <a:lumMod val="75000"/>
              </a:schemeClr>
            </a:solidFill>
            <a:ln w="12690"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21644381-EE47-4273-95BF-33F8F6454B58}"/>
                </a:ext>
              </a:extLst>
            </p:cNvPr>
            <p:cNvSpPr/>
            <p:nvPr/>
          </p:nvSpPr>
          <p:spPr>
            <a:xfrm>
              <a:off x="0" y="6203521"/>
              <a:ext cx="245173" cy="189562"/>
            </a:xfrm>
            <a:custGeom>
              <a:avLst/>
              <a:gdLst>
                <a:gd name="connsiteX0" fmla="*/ 245173 w 245173"/>
                <a:gd name="connsiteY0" fmla="*/ 189563 h 189562"/>
                <a:gd name="connsiteX1" fmla="*/ 245173 w 245173"/>
                <a:gd name="connsiteY1" fmla="*/ 0 h 189562"/>
                <a:gd name="connsiteX2" fmla="*/ 0 w 245173"/>
                <a:gd name="connsiteY2" fmla="*/ 0 h 189562"/>
                <a:gd name="connsiteX3" fmla="*/ 0 w 245173"/>
                <a:gd name="connsiteY3" fmla="*/ 189563 h 189562"/>
                <a:gd name="connsiteX4" fmla="*/ 2793 w 245173"/>
                <a:gd name="connsiteY4" fmla="*/ 189563 h 189562"/>
                <a:gd name="connsiteX5" fmla="*/ 245173 w 245173"/>
                <a:gd name="connsiteY5" fmla="*/ 189563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245173" y="189563"/>
                  </a:moveTo>
                  <a:lnTo>
                    <a:pt x="245173" y="0"/>
                  </a:lnTo>
                  <a:lnTo>
                    <a:pt x="0" y="0"/>
                  </a:lnTo>
                  <a:lnTo>
                    <a:pt x="0" y="189563"/>
                  </a:lnTo>
                  <a:lnTo>
                    <a:pt x="2793" y="189563"/>
                  </a:lnTo>
                  <a:lnTo>
                    <a:pt x="245173" y="189563"/>
                  </a:lnTo>
                  <a:close/>
                </a:path>
              </a:pathLst>
            </a:custGeom>
            <a:solidFill>
              <a:schemeClr val="tx2"/>
            </a:solidFill>
            <a:ln w="12690"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CAE3D279-CB31-4C91-B5C8-BAC0F30988FC}"/>
                </a:ext>
              </a:extLst>
            </p:cNvPr>
            <p:cNvSpPr/>
            <p:nvPr/>
          </p:nvSpPr>
          <p:spPr>
            <a:xfrm>
              <a:off x="258250" y="5981581"/>
              <a:ext cx="4189" cy="98526"/>
            </a:xfrm>
            <a:custGeom>
              <a:avLst/>
              <a:gdLst>
                <a:gd name="connsiteX0" fmla="*/ 889 w 4189"/>
                <a:gd name="connsiteY0" fmla="*/ 1016 h 98526"/>
                <a:gd name="connsiteX1" fmla="*/ 889 w 4189"/>
                <a:gd name="connsiteY1" fmla="*/ 1016 h 98526"/>
                <a:gd name="connsiteX2" fmla="*/ 0 w 4189"/>
                <a:gd name="connsiteY2" fmla="*/ 0 h 98526"/>
                <a:gd name="connsiteX3" fmla="*/ 0 w 4189"/>
                <a:gd name="connsiteY3" fmla="*/ 0 h 98526"/>
                <a:gd name="connsiteX4" fmla="*/ 0 w 4189"/>
                <a:gd name="connsiteY4" fmla="*/ 98527 h 98526"/>
                <a:gd name="connsiteX5" fmla="*/ 4190 w 4189"/>
                <a:gd name="connsiteY5" fmla="*/ 98527 h 98526"/>
                <a:gd name="connsiteX6" fmla="*/ 4190 w 4189"/>
                <a:gd name="connsiteY6" fmla="*/ 3301 h 9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9" h="98526">
                  <a:moveTo>
                    <a:pt x="889" y="1016"/>
                  </a:moveTo>
                  <a:lnTo>
                    <a:pt x="889" y="1016"/>
                  </a:lnTo>
                  <a:lnTo>
                    <a:pt x="0" y="0"/>
                  </a:lnTo>
                  <a:lnTo>
                    <a:pt x="0" y="0"/>
                  </a:lnTo>
                  <a:lnTo>
                    <a:pt x="0" y="98527"/>
                  </a:lnTo>
                  <a:lnTo>
                    <a:pt x="4190" y="98527"/>
                  </a:lnTo>
                  <a:lnTo>
                    <a:pt x="4190" y="3301"/>
                  </a:lnTo>
                  <a:close/>
                </a:path>
              </a:pathLst>
            </a:custGeom>
            <a:solidFill>
              <a:srgbClr val="66B2B0"/>
            </a:solidFill>
            <a:ln w="12690"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8F0EC0D1-2D36-4946-92EB-07C228E13121}"/>
                </a:ext>
              </a:extLst>
            </p:cNvPr>
            <p:cNvSpPr/>
            <p:nvPr/>
          </p:nvSpPr>
          <p:spPr>
            <a:xfrm>
              <a:off x="0" y="4967746"/>
              <a:ext cx="255076" cy="1111854"/>
            </a:xfrm>
            <a:custGeom>
              <a:avLst/>
              <a:gdLst>
                <a:gd name="connsiteX0" fmla="*/ 255077 w 255076"/>
                <a:gd name="connsiteY0" fmla="*/ 8253 h 1111854"/>
                <a:gd name="connsiteX1" fmla="*/ 251775 w 255076"/>
                <a:gd name="connsiteY1" fmla="*/ 0 h 1111854"/>
                <a:gd name="connsiteX2" fmla="*/ 162899 w 255076"/>
                <a:gd name="connsiteY2" fmla="*/ 0 h 1111854"/>
                <a:gd name="connsiteX3" fmla="*/ 0 w 255076"/>
                <a:gd name="connsiteY3" fmla="*/ 0 h 1111854"/>
                <a:gd name="connsiteX4" fmla="*/ 0 w 255076"/>
                <a:gd name="connsiteY4" fmla="*/ 606524 h 1111854"/>
                <a:gd name="connsiteX5" fmla="*/ 0 w 255076"/>
                <a:gd name="connsiteY5" fmla="*/ 779707 h 1111854"/>
                <a:gd name="connsiteX6" fmla="*/ 0 w 255076"/>
                <a:gd name="connsiteY6" fmla="*/ 977396 h 1111854"/>
                <a:gd name="connsiteX7" fmla="*/ 0 w 255076"/>
                <a:gd name="connsiteY7" fmla="*/ 1111855 h 1111854"/>
                <a:gd name="connsiteX8" fmla="*/ 255077 w 255076"/>
                <a:gd name="connsiteY8" fmla="*/ 1111855 h 1111854"/>
                <a:gd name="connsiteX9" fmla="*/ 255077 w 255076"/>
                <a:gd name="connsiteY9" fmla="*/ 8253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255077" y="8253"/>
                  </a:moveTo>
                  <a:lnTo>
                    <a:pt x="251775" y="0"/>
                  </a:lnTo>
                  <a:lnTo>
                    <a:pt x="162899" y="0"/>
                  </a:lnTo>
                  <a:lnTo>
                    <a:pt x="0" y="0"/>
                  </a:lnTo>
                  <a:lnTo>
                    <a:pt x="0" y="606524"/>
                  </a:lnTo>
                  <a:lnTo>
                    <a:pt x="0" y="779707"/>
                  </a:lnTo>
                  <a:lnTo>
                    <a:pt x="0" y="977396"/>
                  </a:lnTo>
                  <a:lnTo>
                    <a:pt x="0" y="1111855"/>
                  </a:lnTo>
                  <a:lnTo>
                    <a:pt x="255077" y="1111855"/>
                  </a:lnTo>
                  <a:lnTo>
                    <a:pt x="255077" y="8253"/>
                  </a:lnTo>
                  <a:close/>
                </a:path>
              </a:pathLst>
            </a:custGeom>
            <a:solidFill>
              <a:schemeClr val="accent3"/>
            </a:solidFill>
            <a:ln w="12690"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B21C7E3D-F9B5-4755-9CF1-77F731637891}"/>
                </a:ext>
              </a:extLst>
            </p:cNvPr>
            <p:cNvSpPr/>
            <p:nvPr/>
          </p:nvSpPr>
          <p:spPr>
            <a:xfrm>
              <a:off x="259774" y="6402479"/>
              <a:ext cx="1037827" cy="462542"/>
            </a:xfrm>
            <a:custGeom>
              <a:avLst/>
              <a:gdLst>
                <a:gd name="connsiteX0" fmla="*/ 949459 w 1037827"/>
                <a:gd name="connsiteY0" fmla="*/ 4444 h 462542"/>
                <a:gd name="connsiteX1" fmla="*/ 440194 w 1037827"/>
                <a:gd name="connsiteY1" fmla="*/ 4444 h 462542"/>
                <a:gd name="connsiteX2" fmla="*/ 437909 w 1037827"/>
                <a:gd name="connsiteY2" fmla="*/ 4444 h 462542"/>
                <a:gd name="connsiteX3" fmla="*/ 431688 w 1037827"/>
                <a:gd name="connsiteY3" fmla="*/ 0 h 462542"/>
                <a:gd name="connsiteX4" fmla="*/ 431688 w 1037827"/>
                <a:gd name="connsiteY4" fmla="*/ 0 h 462542"/>
                <a:gd name="connsiteX5" fmla="*/ 431688 w 1037827"/>
                <a:gd name="connsiteY5" fmla="*/ 0 h 462542"/>
                <a:gd name="connsiteX6" fmla="*/ 0 w 1037827"/>
                <a:gd name="connsiteY6" fmla="*/ 0 h 462542"/>
                <a:gd name="connsiteX7" fmla="*/ 0 w 1037827"/>
                <a:gd name="connsiteY7" fmla="*/ 1270 h 462542"/>
                <a:gd name="connsiteX8" fmla="*/ 0 w 1037827"/>
                <a:gd name="connsiteY8" fmla="*/ 462543 h 462542"/>
                <a:gd name="connsiteX9" fmla="*/ 1037828 w 1037827"/>
                <a:gd name="connsiteY9" fmla="*/ 462543 h 462542"/>
                <a:gd name="connsiteX10" fmla="*/ 1037828 w 1037827"/>
                <a:gd name="connsiteY10" fmla="*/ 5460 h 462542"/>
                <a:gd name="connsiteX11" fmla="*/ 1035288 w 1037827"/>
                <a:gd name="connsiteY11" fmla="*/ 5460 h 46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7827" h="462542">
                  <a:moveTo>
                    <a:pt x="949459" y="4444"/>
                  </a:moveTo>
                  <a:lnTo>
                    <a:pt x="440194" y="4444"/>
                  </a:lnTo>
                  <a:cubicBezTo>
                    <a:pt x="439438" y="4558"/>
                    <a:pt x="438666" y="4558"/>
                    <a:pt x="437909" y="4444"/>
                  </a:cubicBezTo>
                  <a:cubicBezTo>
                    <a:pt x="435113" y="4393"/>
                    <a:pt x="432637" y="2628"/>
                    <a:pt x="431688" y="0"/>
                  </a:cubicBezTo>
                  <a:cubicBezTo>
                    <a:pt x="431688" y="0"/>
                    <a:pt x="431688" y="0"/>
                    <a:pt x="431688" y="0"/>
                  </a:cubicBezTo>
                  <a:cubicBezTo>
                    <a:pt x="431688" y="0"/>
                    <a:pt x="431688" y="0"/>
                    <a:pt x="431688" y="0"/>
                  </a:cubicBezTo>
                  <a:lnTo>
                    <a:pt x="0" y="0"/>
                  </a:lnTo>
                  <a:cubicBezTo>
                    <a:pt x="0" y="0"/>
                    <a:pt x="0" y="889"/>
                    <a:pt x="0" y="1270"/>
                  </a:cubicBezTo>
                  <a:lnTo>
                    <a:pt x="0" y="462543"/>
                  </a:lnTo>
                  <a:lnTo>
                    <a:pt x="1037828" y="462543"/>
                  </a:lnTo>
                  <a:lnTo>
                    <a:pt x="1037828" y="5460"/>
                  </a:lnTo>
                  <a:lnTo>
                    <a:pt x="1035288" y="5460"/>
                  </a:lnTo>
                  <a:close/>
                </a:path>
              </a:pathLst>
            </a:custGeom>
            <a:solidFill>
              <a:schemeClr val="accent1"/>
            </a:solidFill>
            <a:ln w="12690"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96353D42-6D41-4525-B277-0A4AD34ECEC5}"/>
                </a:ext>
              </a:extLst>
            </p:cNvPr>
            <p:cNvSpPr/>
            <p:nvPr/>
          </p:nvSpPr>
          <p:spPr>
            <a:xfrm>
              <a:off x="1523" y="6406923"/>
              <a:ext cx="2539" cy="461780"/>
            </a:xfrm>
            <a:custGeom>
              <a:avLst/>
              <a:gdLst>
                <a:gd name="connsiteX0" fmla="*/ 1270 w 2539"/>
                <a:gd name="connsiteY0" fmla="*/ 0 h 461780"/>
                <a:gd name="connsiteX1" fmla="*/ 0 w 2539"/>
                <a:gd name="connsiteY1" fmla="*/ 0 h 461780"/>
                <a:gd name="connsiteX2" fmla="*/ 0 w 2539"/>
                <a:gd name="connsiteY2" fmla="*/ 461781 h 461780"/>
                <a:gd name="connsiteX3" fmla="*/ 2539 w 2539"/>
                <a:gd name="connsiteY3" fmla="*/ 461781 h 461780"/>
                <a:gd name="connsiteX4" fmla="*/ 2539 w 2539"/>
                <a:gd name="connsiteY4" fmla="*/ 0 h 461780"/>
                <a:gd name="connsiteX5" fmla="*/ 1270 w 2539"/>
                <a:gd name="connsiteY5" fmla="*/ 0 h 4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461780">
                  <a:moveTo>
                    <a:pt x="1270" y="0"/>
                  </a:moveTo>
                  <a:lnTo>
                    <a:pt x="0" y="0"/>
                  </a:lnTo>
                  <a:lnTo>
                    <a:pt x="0" y="461781"/>
                  </a:lnTo>
                  <a:lnTo>
                    <a:pt x="2539" y="461781"/>
                  </a:lnTo>
                  <a:lnTo>
                    <a:pt x="2539" y="0"/>
                  </a:lnTo>
                  <a:lnTo>
                    <a:pt x="1270" y="0"/>
                  </a:lnTo>
                  <a:close/>
                </a:path>
              </a:pathLst>
            </a:custGeom>
            <a:solidFill>
              <a:srgbClr val="000000"/>
            </a:solidFill>
            <a:ln w="12690"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1A281922-626D-4E2F-BCE9-A2F0C573D86F}"/>
                </a:ext>
              </a:extLst>
            </p:cNvPr>
            <p:cNvSpPr/>
            <p:nvPr/>
          </p:nvSpPr>
          <p:spPr>
            <a:xfrm>
              <a:off x="2352443" y="6379450"/>
              <a:ext cx="41010" cy="5761"/>
            </a:xfrm>
            <a:custGeom>
              <a:avLst/>
              <a:gdLst>
                <a:gd name="connsiteX0" fmla="*/ 6729 w 41010"/>
                <a:gd name="connsiteY0" fmla="*/ 5761 h 5761"/>
                <a:gd name="connsiteX1" fmla="*/ 32884 w 41010"/>
                <a:gd name="connsiteY1" fmla="*/ 5761 h 5761"/>
                <a:gd name="connsiteX2" fmla="*/ 39487 w 41010"/>
                <a:gd name="connsiteY2" fmla="*/ 48 h 5761"/>
                <a:gd name="connsiteX3" fmla="*/ 41010 w 41010"/>
                <a:gd name="connsiteY3" fmla="*/ 48 h 5761"/>
                <a:gd name="connsiteX4" fmla="*/ 39614 w 41010"/>
                <a:gd name="connsiteY4" fmla="*/ 48 h 5761"/>
                <a:gd name="connsiteX5" fmla="*/ 0 w 41010"/>
                <a:gd name="connsiteY5" fmla="*/ 48 h 5761"/>
                <a:gd name="connsiteX6" fmla="*/ 0 w 41010"/>
                <a:gd name="connsiteY6" fmla="*/ 48 h 5761"/>
                <a:gd name="connsiteX7" fmla="*/ 6729 w 41010"/>
                <a:gd name="connsiteY7" fmla="*/ 5761 h 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10" h="5761">
                  <a:moveTo>
                    <a:pt x="6729" y="5761"/>
                  </a:moveTo>
                  <a:lnTo>
                    <a:pt x="32884" y="5761"/>
                  </a:lnTo>
                  <a:cubicBezTo>
                    <a:pt x="33430" y="2524"/>
                    <a:pt x="36198" y="124"/>
                    <a:pt x="39487" y="48"/>
                  </a:cubicBezTo>
                  <a:cubicBezTo>
                    <a:pt x="39995" y="-16"/>
                    <a:pt x="40502" y="-16"/>
                    <a:pt x="41010" y="48"/>
                  </a:cubicBezTo>
                  <a:cubicBezTo>
                    <a:pt x="40541" y="-3"/>
                    <a:pt x="40083" y="-3"/>
                    <a:pt x="39614" y="48"/>
                  </a:cubicBezTo>
                  <a:lnTo>
                    <a:pt x="0" y="48"/>
                  </a:lnTo>
                  <a:lnTo>
                    <a:pt x="0" y="48"/>
                  </a:lnTo>
                  <a:cubicBezTo>
                    <a:pt x="3339" y="60"/>
                    <a:pt x="6171" y="2473"/>
                    <a:pt x="6729" y="5761"/>
                  </a:cubicBezTo>
                  <a:close/>
                </a:path>
              </a:pathLst>
            </a:custGeom>
            <a:solidFill>
              <a:srgbClr val="000000"/>
            </a:solidFill>
            <a:ln w="12690"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5CBD2E06-4CC4-416D-9688-325D22477AE9}"/>
                </a:ext>
              </a:extLst>
            </p:cNvPr>
            <p:cNvSpPr/>
            <p:nvPr/>
          </p:nvSpPr>
          <p:spPr>
            <a:xfrm>
              <a:off x="2352316" y="6387116"/>
              <a:ext cx="32757" cy="5586"/>
            </a:xfrm>
            <a:custGeom>
              <a:avLst/>
              <a:gdLst>
                <a:gd name="connsiteX0" fmla="*/ 0 w 32757"/>
                <a:gd name="connsiteY0" fmla="*/ 5587 h 5586"/>
                <a:gd name="connsiteX1" fmla="*/ 0 w 32757"/>
                <a:gd name="connsiteY1" fmla="*/ 5587 h 5586"/>
                <a:gd name="connsiteX2" fmla="*/ 32757 w 32757"/>
                <a:gd name="connsiteY2" fmla="*/ 5587 h 5586"/>
                <a:gd name="connsiteX3" fmla="*/ 32757 w 32757"/>
                <a:gd name="connsiteY3" fmla="*/ 0 h 5586"/>
                <a:gd name="connsiteX4" fmla="*/ 6602 w 32757"/>
                <a:gd name="connsiteY4" fmla="*/ 0 h 5586"/>
                <a:gd name="connsiteX5" fmla="*/ 0 w 32757"/>
                <a:gd name="connsiteY5"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7" h="5586">
                  <a:moveTo>
                    <a:pt x="0" y="5587"/>
                  </a:moveTo>
                  <a:lnTo>
                    <a:pt x="0" y="5587"/>
                  </a:lnTo>
                  <a:lnTo>
                    <a:pt x="32757" y="5587"/>
                  </a:lnTo>
                  <a:lnTo>
                    <a:pt x="32757" y="0"/>
                  </a:lnTo>
                  <a:lnTo>
                    <a:pt x="6602" y="0"/>
                  </a:lnTo>
                  <a:cubicBezTo>
                    <a:pt x="5955" y="3161"/>
                    <a:pt x="3225" y="5472"/>
                    <a:pt x="0" y="5587"/>
                  </a:cubicBezTo>
                  <a:close/>
                </a:path>
              </a:pathLst>
            </a:custGeom>
            <a:solidFill>
              <a:srgbClr val="000000"/>
            </a:solidFill>
            <a:ln w="12690"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FD7C4CA4-A59C-4ABA-A224-20F939D7BC99}"/>
                </a:ext>
              </a:extLst>
            </p:cNvPr>
            <p:cNvSpPr/>
            <p:nvPr/>
          </p:nvSpPr>
          <p:spPr>
            <a:xfrm>
              <a:off x="1982842" y="6378355"/>
              <a:ext cx="376329" cy="6348"/>
            </a:xfrm>
            <a:custGeom>
              <a:avLst/>
              <a:gdLst>
                <a:gd name="connsiteX0" fmla="*/ 6729 w 376329"/>
                <a:gd name="connsiteY0" fmla="*/ 6348 h 6348"/>
                <a:gd name="connsiteX1" fmla="*/ 29964 w 376329"/>
                <a:gd name="connsiteY1" fmla="*/ 6348 h 6348"/>
                <a:gd name="connsiteX2" fmla="*/ 376330 w 376329"/>
                <a:gd name="connsiteY2" fmla="*/ 6348 h 6348"/>
                <a:gd name="connsiteX3" fmla="*/ 369474 w 376329"/>
                <a:gd name="connsiteY3" fmla="*/ 0 h 6348"/>
                <a:gd name="connsiteX4" fmla="*/ 0 w 376329"/>
                <a:gd name="connsiteY4" fmla="*/ 0 h 6348"/>
                <a:gd name="connsiteX5" fmla="*/ 6729 w 376329"/>
                <a:gd name="connsiteY5"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329" h="6348">
                  <a:moveTo>
                    <a:pt x="6729" y="6348"/>
                  </a:moveTo>
                  <a:lnTo>
                    <a:pt x="29964" y="6348"/>
                  </a:lnTo>
                  <a:lnTo>
                    <a:pt x="376330" y="6348"/>
                  </a:lnTo>
                  <a:cubicBezTo>
                    <a:pt x="376063" y="2755"/>
                    <a:pt x="373067" y="-13"/>
                    <a:pt x="369474" y="0"/>
                  </a:cubicBezTo>
                  <a:lnTo>
                    <a:pt x="0" y="0"/>
                  </a:lnTo>
                  <a:cubicBezTo>
                    <a:pt x="3542" y="51"/>
                    <a:pt x="6463" y="2806"/>
                    <a:pt x="6729" y="6348"/>
                  </a:cubicBezTo>
                  <a:close/>
                </a:path>
              </a:pathLst>
            </a:custGeom>
            <a:solidFill>
              <a:srgbClr val="000000"/>
            </a:solidFill>
            <a:ln w="12690"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54A213E8-CA25-4384-BEE0-6F07D083EF0F}"/>
                </a:ext>
              </a:extLst>
            </p:cNvPr>
            <p:cNvSpPr/>
            <p:nvPr/>
          </p:nvSpPr>
          <p:spPr>
            <a:xfrm>
              <a:off x="1989825" y="6387116"/>
              <a:ext cx="21838" cy="5586"/>
            </a:xfrm>
            <a:custGeom>
              <a:avLst/>
              <a:gdLst>
                <a:gd name="connsiteX0" fmla="*/ 21838 w 21838"/>
                <a:gd name="connsiteY0" fmla="*/ 508 h 5586"/>
                <a:gd name="connsiteX1" fmla="*/ 0 w 21838"/>
                <a:gd name="connsiteY1" fmla="*/ 0 h 5586"/>
                <a:gd name="connsiteX2" fmla="*/ 0 w 21838"/>
                <a:gd name="connsiteY2" fmla="*/ 5587 h 5586"/>
                <a:gd name="connsiteX3" fmla="*/ 21838 w 21838"/>
                <a:gd name="connsiteY3" fmla="*/ 5587 h 5586"/>
                <a:gd name="connsiteX4" fmla="*/ 21838 w 21838"/>
                <a:gd name="connsiteY4" fmla="*/ 508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586">
                  <a:moveTo>
                    <a:pt x="21838" y="508"/>
                  </a:moveTo>
                  <a:lnTo>
                    <a:pt x="0" y="0"/>
                  </a:lnTo>
                  <a:lnTo>
                    <a:pt x="0" y="5587"/>
                  </a:lnTo>
                  <a:lnTo>
                    <a:pt x="21838" y="5587"/>
                  </a:lnTo>
                  <a:lnTo>
                    <a:pt x="21838" y="508"/>
                  </a:lnTo>
                  <a:close/>
                </a:path>
              </a:pathLst>
            </a:custGeom>
            <a:solidFill>
              <a:srgbClr val="000000"/>
            </a:solidFill>
            <a:ln w="12690"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B405731A-A72E-49A9-9BD5-03972ACBF55F}"/>
                </a:ext>
              </a:extLst>
            </p:cNvPr>
            <p:cNvSpPr/>
            <p:nvPr/>
          </p:nvSpPr>
          <p:spPr>
            <a:xfrm>
              <a:off x="2014076" y="6387624"/>
              <a:ext cx="344842" cy="5078"/>
            </a:xfrm>
            <a:custGeom>
              <a:avLst/>
              <a:gdLst>
                <a:gd name="connsiteX0" fmla="*/ 338240 w 344842"/>
                <a:gd name="connsiteY0" fmla="*/ 5079 h 5078"/>
                <a:gd name="connsiteX1" fmla="*/ 338240 w 344842"/>
                <a:gd name="connsiteY1" fmla="*/ 5079 h 5078"/>
                <a:gd name="connsiteX2" fmla="*/ 344842 w 344842"/>
                <a:gd name="connsiteY2" fmla="*/ 0 h 5078"/>
                <a:gd name="connsiteX3" fmla="*/ 0 w 344842"/>
                <a:gd name="connsiteY3" fmla="*/ 0 h 5078"/>
                <a:gd name="connsiteX4" fmla="*/ 0 w 344842"/>
                <a:gd name="connsiteY4" fmla="*/ 5079 h 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2" h="5078">
                  <a:moveTo>
                    <a:pt x="338240" y="5079"/>
                  </a:moveTo>
                  <a:lnTo>
                    <a:pt x="338240" y="5079"/>
                  </a:lnTo>
                  <a:cubicBezTo>
                    <a:pt x="341325" y="5028"/>
                    <a:pt x="344004" y="2958"/>
                    <a:pt x="344842" y="0"/>
                  </a:cubicBezTo>
                  <a:lnTo>
                    <a:pt x="0" y="0"/>
                  </a:lnTo>
                  <a:lnTo>
                    <a:pt x="0" y="5079"/>
                  </a:lnTo>
                  <a:close/>
                </a:path>
              </a:pathLst>
            </a:custGeom>
            <a:solidFill>
              <a:srgbClr val="000000"/>
            </a:solidFill>
            <a:ln w="12690"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5053B7AD-35C1-4C83-9C8E-1AF495E20047}"/>
                </a:ext>
              </a:extLst>
            </p:cNvPr>
            <p:cNvSpPr/>
            <p:nvPr/>
          </p:nvSpPr>
          <p:spPr>
            <a:xfrm>
              <a:off x="1989571" y="6384830"/>
              <a:ext cx="23234" cy="2412"/>
            </a:xfrm>
            <a:custGeom>
              <a:avLst/>
              <a:gdLst>
                <a:gd name="connsiteX0" fmla="*/ 22092 w 23234"/>
                <a:gd name="connsiteY0" fmla="*/ 1270 h 2412"/>
                <a:gd name="connsiteX1" fmla="*/ 23095 w 23234"/>
                <a:gd name="connsiteY1" fmla="*/ 13 h 2412"/>
                <a:gd name="connsiteX2" fmla="*/ 23235 w 23234"/>
                <a:gd name="connsiteY2" fmla="*/ 0 h 2412"/>
                <a:gd name="connsiteX3" fmla="*/ 23235 w 23234"/>
                <a:gd name="connsiteY3" fmla="*/ 0 h 2412"/>
                <a:gd name="connsiteX4" fmla="*/ 0 w 23234"/>
                <a:gd name="connsiteY4" fmla="*/ 0 h 2412"/>
                <a:gd name="connsiteX5" fmla="*/ 0 w 23234"/>
                <a:gd name="connsiteY5" fmla="*/ 1143 h 2412"/>
                <a:gd name="connsiteX6" fmla="*/ 0 w 23234"/>
                <a:gd name="connsiteY6" fmla="*/ 2412 h 2412"/>
                <a:gd name="connsiteX7" fmla="*/ 21838 w 23234"/>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34" h="2412">
                  <a:moveTo>
                    <a:pt x="22092" y="1270"/>
                  </a:moveTo>
                  <a:cubicBezTo>
                    <a:pt x="22016" y="647"/>
                    <a:pt x="22473" y="76"/>
                    <a:pt x="23095" y="13"/>
                  </a:cubicBezTo>
                  <a:cubicBezTo>
                    <a:pt x="23146" y="0"/>
                    <a:pt x="23184" y="0"/>
                    <a:pt x="23235" y="0"/>
                  </a:cubicBezTo>
                  <a:lnTo>
                    <a:pt x="23235" y="0"/>
                  </a:lnTo>
                  <a:lnTo>
                    <a:pt x="0" y="0"/>
                  </a:lnTo>
                  <a:cubicBezTo>
                    <a:pt x="0" y="0"/>
                    <a:pt x="0" y="762"/>
                    <a:pt x="0" y="1143"/>
                  </a:cubicBezTo>
                  <a:lnTo>
                    <a:pt x="0" y="2412"/>
                  </a:lnTo>
                  <a:lnTo>
                    <a:pt x="21838" y="2412"/>
                  </a:lnTo>
                  <a:close/>
                </a:path>
              </a:pathLst>
            </a:custGeom>
            <a:solidFill>
              <a:srgbClr val="000000"/>
            </a:solidFill>
            <a:ln w="12690"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2274A963-9DC4-4792-8B62-11454BB78BC6}"/>
                </a:ext>
              </a:extLst>
            </p:cNvPr>
            <p:cNvSpPr/>
            <p:nvPr/>
          </p:nvSpPr>
          <p:spPr>
            <a:xfrm>
              <a:off x="2012806" y="6384830"/>
              <a:ext cx="372267" cy="2412"/>
            </a:xfrm>
            <a:custGeom>
              <a:avLst/>
              <a:gdLst>
                <a:gd name="connsiteX0" fmla="*/ 1270 w 372267"/>
                <a:gd name="connsiteY0" fmla="*/ 1270 h 2412"/>
                <a:gd name="connsiteX1" fmla="*/ 1270 w 372267"/>
                <a:gd name="connsiteY1" fmla="*/ 2412 h 2412"/>
                <a:gd name="connsiteX2" fmla="*/ 372267 w 372267"/>
                <a:gd name="connsiteY2" fmla="*/ 2412 h 2412"/>
                <a:gd name="connsiteX3" fmla="*/ 372267 w 372267"/>
                <a:gd name="connsiteY3" fmla="*/ 1270 h 2412"/>
                <a:gd name="connsiteX4" fmla="*/ 372267 w 372267"/>
                <a:gd name="connsiteY4" fmla="*/ 0 h 2412"/>
                <a:gd name="connsiteX5" fmla="*/ 0 w 372267"/>
                <a:gd name="connsiteY5" fmla="*/ 0 h 2412"/>
                <a:gd name="connsiteX6" fmla="*/ 1270 w 372267"/>
                <a:gd name="connsiteY6" fmla="*/ 127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267" h="2412">
                  <a:moveTo>
                    <a:pt x="1270" y="1270"/>
                  </a:moveTo>
                  <a:lnTo>
                    <a:pt x="1270" y="2412"/>
                  </a:lnTo>
                  <a:lnTo>
                    <a:pt x="372267" y="2412"/>
                  </a:lnTo>
                  <a:lnTo>
                    <a:pt x="372267" y="1270"/>
                  </a:lnTo>
                  <a:cubicBezTo>
                    <a:pt x="372191" y="851"/>
                    <a:pt x="372191" y="419"/>
                    <a:pt x="372267" y="0"/>
                  </a:cubicBezTo>
                  <a:lnTo>
                    <a:pt x="0" y="0"/>
                  </a:lnTo>
                  <a:cubicBezTo>
                    <a:pt x="698" y="0"/>
                    <a:pt x="1270" y="571"/>
                    <a:pt x="1270" y="1270"/>
                  </a:cubicBezTo>
                  <a:close/>
                </a:path>
              </a:pathLst>
            </a:custGeom>
            <a:solidFill>
              <a:srgbClr val="000000"/>
            </a:solidFill>
            <a:ln w="12690"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0B12945E-F84F-498D-8735-635A43E6493F}"/>
                </a:ext>
              </a:extLst>
            </p:cNvPr>
            <p:cNvSpPr/>
            <p:nvPr/>
          </p:nvSpPr>
          <p:spPr>
            <a:xfrm>
              <a:off x="2351173" y="6474723"/>
              <a:ext cx="2412" cy="389790"/>
            </a:xfrm>
            <a:custGeom>
              <a:avLst/>
              <a:gdLst>
                <a:gd name="connsiteX0" fmla="*/ 1143 w 2412"/>
                <a:gd name="connsiteY0" fmla="*/ 0 h 389790"/>
                <a:gd name="connsiteX1" fmla="*/ 0 w 2412"/>
                <a:gd name="connsiteY1" fmla="*/ 0 h 389790"/>
                <a:gd name="connsiteX2" fmla="*/ 0 w 2412"/>
                <a:gd name="connsiteY2" fmla="*/ 389790 h 389790"/>
                <a:gd name="connsiteX3" fmla="*/ 2412 w 2412"/>
                <a:gd name="connsiteY3" fmla="*/ 389790 h 389790"/>
                <a:gd name="connsiteX4" fmla="*/ 2412 w 2412"/>
                <a:gd name="connsiteY4" fmla="*/ 0 h 389790"/>
                <a:gd name="connsiteX5" fmla="*/ 1143 w 2412"/>
                <a:gd name="connsiteY5" fmla="*/ 0 h 38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389790">
                  <a:moveTo>
                    <a:pt x="1143" y="0"/>
                  </a:moveTo>
                  <a:lnTo>
                    <a:pt x="0" y="0"/>
                  </a:lnTo>
                  <a:lnTo>
                    <a:pt x="0" y="389790"/>
                  </a:lnTo>
                  <a:lnTo>
                    <a:pt x="2412" y="389790"/>
                  </a:lnTo>
                  <a:lnTo>
                    <a:pt x="2412" y="0"/>
                  </a:lnTo>
                  <a:lnTo>
                    <a:pt x="1143" y="0"/>
                  </a:lnTo>
                  <a:close/>
                </a:path>
              </a:pathLst>
            </a:custGeom>
            <a:solidFill>
              <a:srgbClr val="000000"/>
            </a:solidFill>
            <a:ln w="12690"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BABA8FFE-E7EA-4E81-B42B-095EBF957EFE}"/>
                </a:ext>
              </a:extLst>
            </p:cNvPr>
            <p:cNvSpPr/>
            <p:nvPr/>
          </p:nvSpPr>
          <p:spPr>
            <a:xfrm>
              <a:off x="2011651" y="6788587"/>
              <a:ext cx="2425" cy="75926"/>
            </a:xfrm>
            <a:custGeom>
              <a:avLst/>
              <a:gdLst>
                <a:gd name="connsiteX0" fmla="*/ 2425 w 2425"/>
                <a:gd name="connsiteY0" fmla="*/ 75673 h 75926"/>
                <a:gd name="connsiteX1" fmla="*/ 2425 w 2425"/>
                <a:gd name="connsiteY1" fmla="*/ 1270 h 75926"/>
                <a:gd name="connsiteX2" fmla="*/ 1155 w 2425"/>
                <a:gd name="connsiteY2" fmla="*/ 0 h 75926"/>
                <a:gd name="connsiteX3" fmla="*/ 0 w 2425"/>
                <a:gd name="connsiteY3" fmla="*/ 1130 h 75926"/>
                <a:gd name="connsiteX4" fmla="*/ 13 w 2425"/>
                <a:gd name="connsiteY4" fmla="*/ 1270 h 75926"/>
                <a:gd name="connsiteX5" fmla="*/ 13 w 2425"/>
                <a:gd name="connsiteY5" fmla="*/ 75927 h 75926"/>
                <a:gd name="connsiteX6" fmla="*/ 1155 w 2425"/>
                <a:gd name="connsiteY6" fmla="*/ 75927 h 7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5" h="75926">
                  <a:moveTo>
                    <a:pt x="2425" y="75673"/>
                  </a:moveTo>
                  <a:lnTo>
                    <a:pt x="2425" y="1270"/>
                  </a:lnTo>
                  <a:cubicBezTo>
                    <a:pt x="2425" y="571"/>
                    <a:pt x="1854" y="0"/>
                    <a:pt x="1155" y="0"/>
                  </a:cubicBezTo>
                  <a:cubicBezTo>
                    <a:pt x="521" y="0"/>
                    <a:pt x="13" y="508"/>
                    <a:pt x="0" y="1130"/>
                  </a:cubicBezTo>
                  <a:cubicBezTo>
                    <a:pt x="0" y="1181"/>
                    <a:pt x="13" y="1219"/>
                    <a:pt x="13" y="1270"/>
                  </a:cubicBezTo>
                  <a:lnTo>
                    <a:pt x="13" y="75927"/>
                  </a:lnTo>
                  <a:lnTo>
                    <a:pt x="1155" y="75927"/>
                  </a:lnTo>
                  <a:close/>
                </a:path>
              </a:pathLst>
            </a:custGeom>
            <a:solidFill>
              <a:srgbClr val="000000"/>
            </a:solidFill>
            <a:ln w="12690"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F74B8C22-A385-44CB-9A9E-EB9E8E17B0FC}"/>
                </a:ext>
              </a:extLst>
            </p:cNvPr>
            <p:cNvSpPr/>
            <p:nvPr/>
          </p:nvSpPr>
          <p:spPr>
            <a:xfrm>
              <a:off x="2619708" y="6433332"/>
              <a:ext cx="2412" cy="31360"/>
            </a:xfrm>
            <a:custGeom>
              <a:avLst/>
              <a:gdLst>
                <a:gd name="connsiteX0" fmla="*/ 0 w 2412"/>
                <a:gd name="connsiteY0" fmla="*/ 0 h 31360"/>
                <a:gd name="connsiteX1" fmla="*/ 2412 w 2412"/>
                <a:gd name="connsiteY1" fmla="*/ 0 h 31360"/>
                <a:gd name="connsiteX2" fmla="*/ 2412 w 2412"/>
                <a:gd name="connsiteY2" fmla="*/ 31361 h 31360"/>
                <a:gd name="connsiteX3" fmla="*/ 0 w 2412"/>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412" h="31360">
                  <a:moveTo>
                    <a:pt x="0" y="0"/>
                  </a:moveTo>
                  <a:lnTo>
                    <a:pt x="2412" y="0"/>
                  </a:lnTo>
                  <a:lnTo>
                    <a:pt x="2412" y="31361"/>
                  </a:lnTo>
                  <a:lnTo>
                    <a:pt x="0" y="31361"/>
                  </a:lnTo>
                  <a:close/>
                </a:path>
              </a:pathLst>
            </a:custGeom>
            <a:solidFill>
              <a:srgbClr val="000000"/>
            </a:solidFill>
            <a:ln w="12690" cap="flat">
              <a:no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10C26C01-8868-4360-BB96-B3DD39B0BC31}"/>
                </a:ext>
              </a:extLst>
            </p:cNvPr>
            <p:cNvSpPr/>
            <p:nvPr/>
          </p:nvSpPr>
          <p:spPr>
            <a:xfrm>
              <a:off x="647531" y="5581237"/>
              <a:ext cx="38090" cy="13728"/>
            </a:xfrm>
            <a:custGeom>
              <a:avLst/>
              <a:gdLst>
                <a:gd name="connsiteX0" fmla="*/ 6221 w 38090"/>
                <a:gd name="connsiteY0" fmla="*/ 6872 h 13728"/>
                <a:gd name="connsiteX1" fmla="*/ 6221 w 38090"/>
                <a:gd name="connsiteY1" fmla="*/ 13728 h 13728"/>
                <a:gd name="connsiteX2" fmla="*/ 31615 w 38090"/>
                <a:gd name="connsiteY2" fmla="*/ 13728 h 13728"/>
                <a:gd name="connsiteX3" fmla="*/ 30599 w 38090"/>
                <a:gd name="connsiteY3" fmla="*/ 8142 h 13728"/>
                <a:gd name="connsiteX4" fmla="*/ 35824 w 38090"/>
                <a:gd name="connsiteY4" fmla="*/ 187 h 13728"/>
                <a:gd name="connsiteX5" fmla="*/ 36059 w 38090"/>
                <a:gd name="connsiteY5" fmla="*/ 143 h 13728"/>
                <a:gd name="connsiteX6" fmla="*/ 38090 w 38090"/>
                <a:gd name="connsiteY6" fmla="*/ 143 h 13728"/>
                <a:gd name="connsiteX7" fmla="*/ 0 w 38090"/>
                <a:gd name="connsiteY7" fmla="*/ 143 h 13728"/>
                <a:gd name="connsiteX8" fmla="*/ 6221 w 38090"/>
                <a:gd name="connsiteY8" fmla="*/ 6872 h 1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90" h="13728">
                  <a:moveTo>
                    <a:pt x="6221" y="6872"/>
                  </a:moveTo>
                  <a:lnTo>
                    <a:pt x="6221" y="13728"/>
                  </a:lnTo>
                  <a:lnTo>
                    <a:pt x="31615" y="13728"/>
                  </a:lnTo>
                  <a:lnTo>
                    <a:pt x="30599" y="8142"/>
                  </a:lnTo>
                  <a:cubicBezTo>
                    <a:pt x="29845" y="4503"/>
                    <a:pt x="32184" y="941"/>
                    <a:pt x="35824" y="187"/>
                  </a:cubicBezTo>
                  <a:cubicBezTo>
                    <a:pt x="35901" y="171"/>
                    <a:pt x="35980" y="157"/>
                    <a:pt x="36059" y="143"/>
                  </a:cubicBezTo>
                  <a:cubicBezTo>
                    <a:pt x="36723" y="-48"/>
                    <a:pt x="37426" y="-48"/>
                    <a:pt x="38090" y="143"/>
                  </a:cubicBezTo>
                  <a:lnTo>
                    <a:pt x="0" y="143"/>
                  </a:lnTo>
                  <a:cubicBezTo>
                    <a:pt x="3489" y="467"/>
                    <a:pt x="6172" y="3369"/>
                    <a:pt x="6221" y="6872"/>
                  </a:cubicBezTo>
                  <a:close/>
                </a:path>
              </a:pathLst>
            </a:custGeom>
            <a:solidFill>
              <a:srgbClr val="000000"/>
            </a:solidFill>
            <a:ln w="12690" cap="flat">
              <a:no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D71125B7-2213-45D9-AD61-C11F149F936B}"/>
                </a:ext>
              </a:extLst>
            </p:cNvPr>
            <p:cNvSpPr/>
            <p:nvPr/>
          </p:nvSpPr>
          <p:spPr>
            <a:xfrm>
              <a:off x="155915" y="4780469"/>
              <a:ext cx="13839" cy="173564"/>
            </a:xfrm>
            <a:custGeom>
              <a:avLst/>
              <a:gdLst>
                <a:gd name="connsiteX0" fmla="*/ 13839 w 13839"/>
                <a:gd name="connsiteY0" fmla="*/ 173565 h 173564"/>
                <a:gd name="connsiteX1" fmla="*/ 13839 w 13839"/>
                <a:gd name="connsiteY1" fmla="*/ 6983 h 173564"/>
                <a:gd name="connsiteX2" fmla="*/ 6983 w 13839"/>
                <a:gd name="connsiteY2" fmla="*/ 6983 h 173564"/>
                <a:gd name="connsiteX3" fmla="*/ 0 w 13839"/>
                <a:gd name="connsiteY3" fmla="*/ 0 h 173564"/>
                <a:gd name="connsiteX4" fmla="*/ 0 w 13839"/>
                <a:gd name="connsiteY4" fmla="*/ 173565 h 173564"/>
                <a:gd name="connsiteX5" fmla="*/ 13839 w 13839"/>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73564">
                  <a:moveTo>
                    <a:pt x="13839" y="173565"/>
                  </a:moveTo>
                  <a:lnTo>
                    <a:pt x="13839" y="6983"/>
                  </a:lnTo>
                  <a:lnTo>
                    <a:pt x="6983" y="6983"/>
                  </a:lnTo>
                  <a:cubicBezTo>
                    <a:pt x="3126" y="6983"/>
                    <a:pt x="0" y="3857"/>
                    <a:pt x="0" y="0"/>
                  </a:cubicBezTo>
                  <a:lnTo>
                    <a:pt x="0" y="173565"/>
                  </a:lnTo>
                  <a:lnTo>
                    <a:pt x="13839" y="173565"/>
                  </a:lnTo>
                  <a:close/>
                </a:path>
              </a:pathLst>
            </a:custGeom>
            <a:solidFill>
              <a:srgbClr val="000000"/>
            </a:solidFill>
            <a:ln w="12690" cap="flat">
              <a:no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DA27C9D0-32E5-41B0-8A4F-F35F6038AB9D}"/>
                </a:ext>
              </a:extLst>
            </p:cNvPr>
            <p:cNvSpPr/>
            <p:nvPr/>
          </p:nvSpPr>
          <p:spPr>
            <a:xfrm>
              <a:off x="155915" y="4773471"/>
              <a:ext cx="260028" cy="13980"/>
            </a:xfrm>
            <a:custGeom>
              <a:avLst/>
              <a:gdLst>
                <a:gd name="connsiteX0" fmla="*/ 6983 w 260028"/>
                <a:gd name="connsiteY0" fmla="*/ 13981 h 13980"/>
                <a:gd name="connsiteX1" fmla="*/ 254315 w 260028"/>
                <a:gd name="connsiteY1" fmla="*/ 13981 h 13980"/>
                <a:gd name="connsiteX2" fmla="*/ 252918 w 260028"/>
                <a:gd name="connsiteY2" fmla="*/ 8775 h 13980"/>
                <a:gd name="connsiteX3" fmla="*/ 257514 w 260028"/>
                <a:gd name="connsiteY3" fmla="*/ 238 h 13980"/>
                <a:gd name="connsiteX4" fmla="*/ 257870 w 260028"/>
                <a:gd name="connsiteY4" fmla="*/ 141 h 13980"/>
                <a:gd name="connsiteX5" fmla="*/ 260028 w 260028"/>
                <a:gd name="connsiteY5" fmla="*/ 141 h 13980"/>
                <a:gd name="connsiteX6" fmla="*/ 6983 w 260028"/>
                <a:gd name="connsiteY6" fmla="*/ 141 h 13980"/>
                <a:gd name="connsiteX7" fmla="*/ 0 w 260028"/>
                <a:gd name="connsiteY7" fmla="*/ 6998 h 13980"/>
                <a:gd name="connsiteX8" fmla="*/ 6983 w 260028"/>
                <a:gd name="connsiteY8" fmla="*/ 13981 h 1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28" h="13980">
                  <a:moveTo>
                    <a:pt x="6983" y="13981"/>
                  </a:moveTo>
                  <a:lnTo>
                    <a:pt x="254315" y="13981"/>
                  </a:lnTo>
                  <a:lnTo>
                    <a:pt x="252918" y="8775"/>
                  </a:lnTo>
                  <a:cubicBezTo>
                    <a:pt x="251830" y="5148"/>
                    <a:pt x="253888" y="1326"/>
                    <a:pt x="257514" y="238"/>
                  </a:cubicBezTo>
                  <a:cubicBezTo>
                    <a:pt x="257632" y="202"/>
                    <a:pt x="257751" y="170"/>
                    <a:pt x="257870" y="141"/>
                  </a:cubicBezTo>
                  <a:cubicBezTo>
                    <a:pt x="258577" y="-47"/>
                    <a:pt x="259321" y="-47"/>
                    <a:pt x="260028" y="141"/>
                  </a:cubicBezTo>
                  <a:lnTo>
                    <a:pt x="6983" y="141"/>
                  </a:lnTo>
                  <a:cubicBezTo>
                    <a:pt x="3175" y="141"/>
                    <a:pt x="70" y="3191"/>
                    <a:pt x="0" y="6998"/>
                  </a:cubicBezTo>
                  <a:cubicBezTo>
                    <a:pt x="0" y="10854"/>
                    <a:pt x="3126" y="13981"/>
                    <a:pt x="6983" y="13981"/>
                  </a:cubicBezTo>
                  <a:close/>
                </a:path>
              </a:pathLst>
            </a:custGeom>
            <a:solidFill>
              <a:srgbClr val="000000"/>
            </a:solidFill>
            <a:ln w="12690"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3A5299CB-08A5-470E-80F3-1ABDF22E0D24}"/>
                </a:ext>
              </a:extLst>
            </p:cNvPr>
            <p:cNvSpPr/>
            <p:nvPr/>
          </p:nvSpPr>
          <p:spPr>
            <a:xfrm>
              <a:off x="408732" y="4774233"/>
              <a:ext cx="20542" cy="32010"/>
            </a:xfrm>
            <a:custGeom>
              <a:avLst/>
              <a:gdLst>
                <a:gd name="connsiteX0" fmla="*/ 101 w 20542"/>
                <a:gd name="connsiteY0" fmla="*/ 8013 h 32010"/>
                <a:gd name="connsiteX1" fmla="*/ 1497 w 20542"/>
                <a:gd name="connsiteY1" fmla="*/ 13219 h 32010"/>
                <a:gd name="connsiteX2" fmla="*/ 5560 w 20542"/>
                <a:gd name="connsiteY2" fmla="*/ 28455 h 32010"/>
                <a:gd name="connsiteX3" fmla="*/ 5560 w 20542"/>
                <a:gd name="connsiteY3" fmla="*/ 6236 h 32010"/>
                <a:gd name="connsiteX4" fmla="*/ 6695 w 20542"/>
                <a:gd name="connsiteY4" fmla="*/ 5086 h 32010"/>
                <a:gd name="connsiteX5" fmla="*/ 6830 w 20542"/>
                <a:gd name="connsiteY5" fmla="*/ 5093 h 32010"/>
                <a:gd name="connsiteX6" fmla="*/ 7973 w 20542"/>
                <a:gd name="connsiteY6" fmla="*/ 6236 h 32010"/>
                <a:gd name="connsiteX7" fmla="*/ 7973 w 20542"/>
                <a:gd name="connsiteY7" fmla="*/ 29471 h 32010"/>
                <a:gd name="connsiteX8" fmla="*/ 13940 w 20542"/>
                <a:gd name="connsiteY8" fmla="*/ 26043 h 32010"/>
                <a:gd name="connsiteX9" fmla="*/ 20542 w 20542"/>
                <a:gd name="connsiteY9" fmla="*/ 32010 h 32010"/>
                <a:gd name="connsiteX10" fmla="*/ 20542 w 20542"/>
                <a:gd name="connsiteY10" fmla="*/ 31121 h 32010"/>
                <a:gd name="connsiteX11" fmla="*/ 13432 w 20542"/>
                <a:gd name="connsiteY11" fmla="*/ 4458 h 32010"/>
                <a:gd name="connsiteX12" fmla="*/ 13432 w 20542"/>
                <a:gd name="connsiteY12" fmla="*/ 4458 h 32010"/>
                <a:gd name="connsiteX13" fmla="*/ 13432 w 20542"/>
                <a:gd name="connsiteY13" fmla="*/ 3189 h 32010"/>
                <a:gd name="connsiteX14" fmla="*/ 11909 w 20542"/>
                <a:gd name="connsiteY14" fmla="*/ 1792 h 32010"/>
                <a:gd name="connsiteX15" fmla="*/ 10893 w 20542"/>
                <a:gd name="connsiteY15" fmla="*/ 903 h 32010"/>
                <a:gd name="connsiteX16" fmla="*/ 10258 w 20542"/>
                <a:gd name="connsiteY16" fmla="*/ 141 h 32010"/>
                <a:gd name="connsiteX17" fmla="*/ 8988 w 20542"/>
                <a:gd name="connsiteY17" fmla="*/ 141 h 32010"/>
                <a:gd name="connsiteX18" fmla="*/ 7592 w 20542"/>
                <a:gd name="connsiteY18" fmla="*/ 141 h 32010"/>
                <a:gd name="connsiteX19" fmla="*/ 5433 w 20542"/>
                <a:gd name="connsiteY19" fmla="*/ 141 h 32010"/>
                <a:gd name="connsiteX20" fmla="*/ 101 w 20542"/>
                <a:gd name="connsiteY20" fmla="*/ 8013 h 3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2" h="32010">
                  <a:moveTo>
                    <a:pt x="101" y="8013"/>
                  </a:moveTo>
                  <a:lnTo>
                    <a:pt x="1497" y="13219"/>
                  </a:lnTo>
                  <a:lnTo>
                    <a:pt x="5560" y="28455"/>
                  </a:lnTo>
                  <a:lnTo>
                    <a:pt x="5560" y="6236"/>
                  </a:lnTo>
                  <a:cubicBezTo>
                    <a:pt x="5556" y="5605"/>
                    <a:pt x="6064" y="5090"/>
                    <a:pt x="6695" y="5086"/>
                  </a:cubicBezTo>
                  <a:cubicBezTo>
                    <a:pt x="6741" y="5086"/>
                    <a:pt x="6785" y="5088"/>
                    <a:pt x="6830" y="5093"/>
                  </a:cubicBezTo>
                  <a:cubicBezTo>
                    <a:pt x="7461" y="5093"/>
                    <a:pt x="7973" y="5605"/>
                    <a:pt x="7973" y="6236"/>
                  </a:cubicBezTo>
                  <a:lnTo>
                    <a:pt x="7973" y="29471"/>
                  </a:lnTo>
                  <a:cubicBezTo>
                    <a:pt x="9203" y="27340"/>
                    <a:pt x="11479" y="26032"/>
                    <a:pt x="13940" y="26043"/>
                  </a:cubicBezTo>
                  <a:cubicBezTo>
                    <a:pt x="17330" y="26085"/>
                    <a:pt x="20159" y="28642"/>
                    <a:pt x="20542" y="32010"/>
                  </a:cubicBezTo>
                  <a:cubicBezTo>
                    <a:pt x="20542" y="32010"/>
                    <a:pt x="20542" y="32010"/>
                    <a:pt x="20542" y="31121"/>
                  </a:cubicBezTo>
                  <a:lnTo>
                    <a:pt x="13432" y="4458"/>
                  </a:lnTo>
                  <a:cubicBezTo>
                    <a:pt x="13432" y="4458"/>
                    <a:pt x="13432" y="4458"/>
                    <a:pt x="13432" y="4458"/>
                  </a:cubicBezTo>
                  <a:cubicBezTo>
                    <a:pt x="13454" y="4035"/>
                    <a:pt x="13454" y="3612"/>
                    <a:pt x="13432" y="3189"/>
                  </a:cubicBezTo>
                  <a:lnTo>
                    <a:pt x="11909" y="1792"/>
                  </a:lnTo>
                  <a:cubicBezTo>
                    <a:pt x="11632" y="1431"/>
                    <a:pt x="11286" y="1129"/>
                    <a:pt x="10893" y="903"/>
                  </a:cubicBezTo>
                  <a:lnTo>
                    <a:pt x="10258" y="141"/>
                  </a:lnTo>
                  <a:lnTo>
                    <a:pt x="8988" y="141"/>
                  </a:lnTo>
                  <a:lnTo>
                    <a:pt x="7592" y="141"/>
                  </a:lnTo>
                  <a:cubicBezTo>
                    <a:pt x="6884" y="-47"/>
                    <a:pt x="6140" y="-47"/>
                    <a:pt x="5433" y="141"/>
                  </a:cubicBezTo>
                  <a:cubicBezTo>
                    <a:pt x="1830" y="906"/>
                    <a:pt x="-525" y="4383"/>
                    <a:pt x="101" y="8013"/>
                  </a:cubicBezTo>
                  <a:close/>
                </a:path>
              </a:pathLst>
            </a:custGeom>
            <a:solidFill>
              <a:srgbClr val="000000"/>
            </a:solidFill>
            <a:ln w="12690"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9C01945D-4020-48EA-895D-FFD574511F13}"/>
                </a:ext>
              </a:extLst>
            </p:cNvPr>
            <p:cNvSpPr/>
            <p:nvPr/>
          </p:nvSpPr>
          <p:spPr>
            <a:xfrm>
              <a:off x="414166" y="4779319"/>
              <a:ext cx="2412" cy="961278"/>
            </a:xfrm>
            <a:custGeom>
              <a:avLst/>
              <a:gdLst>
                <a:gd name="connsiteX0" fmla="*/ 1397 w 2412"/>
                <a:gd name="connsiteY0" fmla="*/ 961278 h 961278"/>
                <a:gd name="connsiteX1" fmla="*/ 1397 w 2412"/>
                <a:gd name="connsiteY1" fmla="*/ 961278 h 961278"/>
                <a:gd name="connsiteX2" fmla="*/ 1397 w 2412"/>
                <a:gd name="connsiteY2" fmla="*/ 27813 h 961278"/>
                <a:gd name="connsiteX3" fmla="*/ 2412 w 2412"/>
                <a:gd name="connsiteY3" fmla="*/ 24385 h 961278"/>
                <a:gd name="connsiteX4" fmla="*/ 2412 w 2412"/>
                <a:gd name="connsiteY4" fmla="*/ 1150 h 961278"/>
                <a:gd name="connsiteX5" fmla="*/ 1270 w 2412"/>
                <a:gd name="connsiteY5" fmla="*/ 7 h 961278"/>
                <a:gd name="connsiteX6" fmla="*/ 8 w 2412"/>
                <a:gd name="connsiteY6" fmla="*/ 1016 h 961278"/>
                <a:gd name="connsiteX7" fmla="*/ 0 w 2412"/>
                <a:gd name="connsiteY7" fmla="*/ 1150 h 961278"/>
                <a:gd name="connsiteX8" fmla="*/ 0 w 2412"/>
                <a:gd name="connsiteY8" fmla="*/ 961278 h 96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 h="961278">
                  <a:moveTo>
                    <a:pt x="1397" y="961278"/>
                  </a:moveTo>
                  <a:lnTo>
                    <a:pt x="1397" y="961278"/>
                  </a:lnTo>
                  <a:lnTo>
                    <a:pt x="1397" y="27813"/>
                  </a:lnTo>
                  <a:cubicBezTo>
                    <a:pt x="1463" y="26607"/>
                    <a:pt x="1811" y="25433"/>
                    <a:pt x="2412" y="24385"/>
                  </a:cubicBezTo>
                  <a:lnTo>
                    <a:pt x="2412" y="1150"/>
                  </a:lnTo>
                  <a:cubicBezTo>
                    <a:pt x="2412" y="519"/>
                    <a:pt x="1901" y="7"/>
                    <a:pt x="1270" y="7"/>
                  </a:cubicBezTo>
                  <a:cubicBezTo>
                    <a:pt x="642" y="-63"/>
                    <a:pt x="77" y="389"/>
                    <a:pt x="8" y="1016"/>
                  </a:cubicBezTo>
                  <a:cubicBezTo>
                    <a:pt x="3" y="1060"/>
                    <a:pt x="0" y="1105"/>
                    <a:pt x="0" y="1150"/>
                  </a:cubicBezTo>
                  <a:lnTo>
                    <a:pt x="0" y="961278"/>
                  </a:lnTo>
                  <a:close/>
                </a:path>
              </a:pathLst>
            </a:custGeom>
            <a:solidFill>
              <a:srgbClr val="000000"/>
            </a:solidFill>
            <a:ln w="12690"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28463A63-1DED-40B0-9641-8B2ABA5A6415}"/>
                </a:ext>
              </a:extLst>
            </p:cNvPr>
            <p:cNvSpPr/>
            <p:nvPr/>
          </p:nvSpPr>
          <p:spPr>
            <a:xfrm>
              <a:off x="415689" y="4800273"/>
              <a:ext cx="13870" cy="940323"/>
            </a:xfrm>
            <a:custGeom>
              <a:avLst/>
              <a:gdLst>
                <a:gd name="connsiteX0" fmla="*/ 6983 w 13870"/>
                <a:gd name="connsiteY0" fmla="*/ 2 h 940323"/>
                <a:gd name="connsiteX1" fmla="*/ 1016 w 13870"/>
                <a:gd name="connsiteY1" fmla="*/ 3430 h 940323"/>
                <a:gd name="connsiteX2" fmla="*/ 0 w 13870"/>
                <a:gd name="connsiteY2" fmla="*/ 6858 h 940323"/>
                <a:gd name="connsiteX3" fmla="*/ 0 w 13870"/>
                <a:gd name="connsiteY3" fmla="*/ 940324 h 940323"/>
                <a:gd name="connsiteX4" fmla="*/ 13839 w 13870"/>
                <a:gd name="connsiteY4" fmla="*/ 940324 h 940323"/>
                <a:gd name="connsiteX5" fmla="*/ 13839 w 13870"/>
                <a:gd name="connsiteY5" fmla="*/ 6858 h 940323"/>
                <a:gd name="connsiteX6" fmla="*/ 13839 w 13870"/>
                <a:gd name="connsiteY6" fmla="*/ 5970 h 940323"/>
                <a:gd name="connsiteX7" fmla="*/ 6983 w 13870"/>
                <a:gd name="connsiteY7" fmla="*/ 2 h 94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70" h="940323">
                  <a:moveTo>
                    <a:pt x="6983" y="2"/>
                  </a:moveTo>
                  <a:cubicBezTo>
                    <a:pt x="4523" y="-8"/>
                    <a:pt x="2246" y="1300"/>
                    <a:pt x="1016" y="3430"/>
                  </a:cubicBezTo>
                  <a:cubicBezTo>
                    <a:pt x="414" y="4478"/>
                    <a:pt x="66" y="5652"/>
                    <a:pt x="0" y="6858"/>
                  </a:cubicBezTo>
                  <a:lnTo>
                    <a:pt x="0" y="940324"/>
                  </a:lnTo>
                  <a:lnTo>
                    <a:pt x="13839" y="940324"/>
                  </a:lnTo>
                  <a:lnTo>
                    <a:pt x="13839" y="6858"/>
                  </a:lnTo>
                  <a:cubicBezTo>
                    <a:pt x="13881" y="6564"/>
                    <a:pt x="13881" y="6264"/>
                    <a:pt x="13839" y="5970"/>
                  </a:cubicBezTo>
                  <a:cubicBezTo>
                    <a:pt x="13446" y="2504"/>
                    <a:pt x="10470" y="-86"/>
                    <a:pt x="6983" y="2"/>
                  </a:cubicBezTo>
                  <a:close/>
                </a:path>
              </a:pathLst>
            </a:custGeom>
            <a:solidFill>
              <a:srgbClr val="000000"/>
            </a:solidFill>
            <a:ln w="12690"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991389A4-E076-4028-B45F-1F126B4F4604}"/>
                </a:ext>
              </a:extLst>
            </p:cNvPr>
            <p:cNvSpPr/>
            <p:nvPr/>
          </p:nvSpPr>
          <p:spPr>
            <a:xfrm>
              <a:off x="3435852" y="6471549"/>
              <a:ext cx="2412" cy="392964"/>
            </a:xfrm>
            <a:custGeom>
              <a:avLst/>
              <a:gdLst>
                <a:gd name="connsiteX0" fmla="*/ 0 w 2412"/>
                <a:gd name="connsiteY0" fmla="*/ 0 h 392964"/>
                <a:gd name="connsiteX1" fmla="*/ 2412 w 2412"/>
                <a:gd name="connsiteY1" fmla="*/ 0 h 392964"/>
                <a:gd name="connsiteX2" fmla="*/ 2412 w 2412"/>
                <a:gd name="connsiteY2" fmla="*/ 392964 h 392964"/>
                <a:gd name="connsiteX3" fmla="*/ 0 w 2412"/>
                <a:gd name="connsiteY3" fmla="*/ 392964 h 392964"/>
              </a:gdLst>
              <a:ahLst/>
              <a:cxnLst>
                <a:cxn ang="0">
                  <a:pos x="connsiteX0" y="connsiteY0"/>
                </a:cxn>
                <a:cxn ang="0">
                  <a:pos x="connsiteX1" y="connsiteY1"/>
                </a:cxn>
                <a:cxn ang="0">
                  <a:pos x="connsiteX2" y="connsiteY2"/>
                </a:cxn>
                <a:cxn ang="0">
                  <a:pos x="connsiteX3" y="connsiteY3"/>
                </a:cxn>
              </a:cxnLst>
              <a:rect l="l" t="t" r="r" b="b"/>
              <a:pathLst>
                <a:path w="2412" h="392964">
                  <a:moveTo>
                    <a:pt x="0" y="0"/>
                  </a:moveTo>
                  <a:lnTo>
                    <a:pt x="2412" y="0"/>
                  </a:lnTo>
                  <a:lnTo>
                    <a:pt x="2412" y="392964"/>
                  </a:lnTo>
                  <a:lnTo>
                    <a:pt x="0" y="392964"/>
                  </a:lnTo>
                  <a:close/>
                </a:path>
              </a:pathLst>
            </a:custGeom>
            <a:solidFill>
              <a:srgbClr val="000000"/>
            </a:solidFill>
            <a:ln w="12690"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7C43ECF3-567B-4839-A479-A0EC8C53AE73}"/>
                </a:ext>
              </a:extLst>
            </p:cNvPr>
            <p:cNvSpPr/>
            <p:nvPr/>
          </p:nvSpPr>
          <p:spPr>
            <a:xfrm>
              <a:off x="1369719" y="6393082"/>
              <a:ext cx="65007" cy="11555"/>
            </a:xfrm>
            <a:custGeom>
              <a:avLst/>
              <a:gdLst>
                <a:gd name="connsiteX0" fmla="*/ 65007 w 65007"/>
                <a:gd name="connsiteY0" fmla="*/ 1 h 11555"/>
                <a:gd name="connsiteX1" fmla="*/ 0 w 65007"/>
                <a:gd name="connsiteY1" fmla="*/ 1 h 11555"/>
                <a:gd name="connsiteX2" fmla="*/ 3936 w 65007"/>
                <a:gd name="connsiteY2" fmla="*/ 1 h 11555"/>
                <a:gd name="connsiteX3" fmla="*/ 4952 w 65007"/>
                <a:gd name="connsiteY3" fmla="*/ 1 h 11555"/>
                <a:gd name="connsiteX4" fmla="*/ 6348 w 65007"/>
                <a:gd name="connsiteY4" fmla="*/ 1 h 11555"/>
                <a:gd name="connsiteX5" fmla="*/ 7364 w 65007"/>
                <a:gd name="connsiteY5" fmla="*/ 763 h 11555"/>
                <a:gd name="connsiteX6" fmla="*/ 8380 w 65007"/>
                <a:gd name="connsiteY6" fmla="*/ 1525 h 11555"/>
                <a:gd name="connsiteX7" fmla="*/ 9142 w 65007"/>
                <a:gd name="connsiteY7" fmla="*/ 2667 h 11555"/>
                <a:gd name="connsiteX8" fmla="*/ 9142 w 65007"/>
                <a:gd name="connsiteY8" fmla="*/ 3810 h 11555"/>
                <a:gd name="connsiteX9" fmla="*/ 9142 w 65007"/>
                <a:gd name="connsiteY9" fmla="*/ 5080 h 11555"/>
                <a:gd name="connsiteX10" fmla="*/ 9142 w 65007"/>
                <a:gd name="connsiteY10" fmla="*/ 6222 h 11555"/>
                <a:gd name="connsiteX11" fmla="*/ 9142 w 65007"/>
                <a:gd name="connsiteY11" fmla="*/ 6222 h 11555"/>
                <a:gd name="connsiteX12" fmla="*/ 9142 w 65007"/>
                <a:gd name="connsiteY12" fmla="*/ 7492 h 11555"/>
                <a:gd name="connsiteX13" fmla="*/ 9142 w 65007"/>
                <a:gd name="connsiteY13" fmla="*/ 8508 h 11555"/>
                <a:gd name="connsiteX14" fmla="*/ 8253 w 65007"/>
                <a:gd name="connsiteY14" fmla="*/ 9778 h 11555"/>
                <a:gd name="connsiteX15" fmla="*/ 8253 w 65007"/>
                <a:gd name="connsiteY15" fmla="*/ 10666 h 11555"/>
                <a:gd name="connsiteX16" fmla="*/ 6856 w 65007"/>
                <a:gd name="connsiteY16" fmla="*/ 11555 h 11555"/>
                <a:gd name="connsiteX17" fmla="*/ 6094 w 65007"/>
                <a:gd name="connsiteY17" fmla="*/ 11555 h 11555"/>
                <a:gd name="connsiteX18" fmla="*/ 5079 w 65007"/>
                <a:gd name="connsiteY18" fmla="*/ 11555 h 11555"/>
                <a:gd name="connsiteX19" fmla="*/ 58278 w 65007"/>
                <a:gd name="connsiteY19" fmla="*/ 11555 h 11555"/>
                <a:gd name="connsiteX20" fmla="*/ 58278 w 65007"/>
                <a:gd name="connsiteY20" fmla="*/ 4699 h 11555"/>
                <a:gd name="connsiteX21" fmla="*/ 65007 w 65007"/>
                <a:gd name="connsiteY21" fmla="*/ 1 h 1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007" h="11555">
                  <a:moveTo>
                    <a:pt x="65007" y="1"/>
                  </a:moveTo>
                  <a:lnTo>
                    <a:pt x="0" y="1"/>
                  </a:lnTo>
                  <a:lnTo>
                    <a:pt x="3936" y="1"/>
                  </a:lnTo>
                  <a:lnTo>
                    <a:pt x="4952" y="1"/>
                  </a:lnTo>
                  <a:lnTo>
                    <a:pt x="6348" y="1"/>
                  </a:lnTo>
                  <a:lnTo>
                    <a:pt x="7364" y="763"/>
                  </a:lnTo>
                  <a:lnTo>
                    <a:pt x="8380" y="1525"/>
                  </a:lnTo>
                  <a:cubicBezTo>
                    <a:pt x="8672" y="1880"/>
                    <a:pt x="8939" y="2261"/>
                    <a:pt x="9142" y="2667"/>
                  </a:cubicBezTo>
                  <a:cubicBezTo>
                    <a:pt x="9205" y="3048"/>
                    <a:pt x="9205" y="3429"/>
                    <a:pt x="9142" y="3810"/>
                  </a:cubicBezTo>
                  <a:cubicBezTo>
                    <a:pt x="9256" y="4229"/>
                    <a:pt x="9256" y="4661"/>
                    <a:pt x="9142" y="5080"/>
                  </a:cubicBezTo>
                  <a:cubicBezTo>
                    <a:pt x="9205" y="5461"/>
                    <a:pt x="9205" y="5841"/>
                    <a:pt x="9142" y="6222"/>
                  </a:cubicBezTo>
                  <a:lnTo>
                    <a:pt x="9142" y="6222"/>
                  </a:lnTo>
                  <a:cubicBezTo>
                    <a:pt x="9180" y="6641"/>
                    <a:pt x="9180" y="7073"/>
                    <a:pt x="9142" y="7492"/>
                  </a:cubicBezTo>
                  <a:cubicBezTo>
                    <a:pt x="9218" y="7822"/>
                    <a:pt x="9218" y="8178"/>
                    <a:pt x="9142" y="8508"/>
                  </a:cubicBezTo>
                  <a:cubicBezTo>
                    <a:pt x="8926" y="8978"/>
                    <a:pt x="8621" y="9409"/>
                    <a:pt x="8253" y="9778"/>
                  </a:cubicBezTo>
                  <a:cubicBezTo>
                    <a:pt x="8316" y="10070"/>
                    <a:pt x="8316" y="10374"/>
                    <a:pt x="8253" y="10666"/>
                  </a:cubicBezTo>
                  <a:cubicBezTo>
                    <a:pt x="7834" y="11035"/>
                    <a:pt x="7364" y="11339"/>
                    <a:pt x="6856" y="11555"/>
                  </a:cubicBezTo>
                  <a:lnTo>
                    <a:pt x="6094" y="11555"/>
                  </a:lnTo>
                  <a:lnTo>
                    <a:pt x="5079" y="11555"/>
                  </a:lnTo>
                  <a:lnTo>
                    <a:pt x="58278" y="11555"/>
                  </a:lnTo>
                  <a:lnTo>
                    <a:pt x="58278" y="4699"/>
                  </a:lnTo>
                  <a:cubicBezTo>
                    <a:pt x="59268" y="1842"/>
                    <a:pt x="61985" y="-50"/>
                    <a:pt x="65007" y="1"/>
                  </a:cubicBezTo>
                  <a:close/>
                </a:path>
              </a:pathLst>
            </a:custGeom>
            <a:solidFill>
              <a:srgbClr val="000000"/>
            </a:solidFill>
            <a:ln w="12690"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E2659DC8-4227-484D-94BF-EB24824EA181}"/>
                </a:ext>
              </a:extLst>
            </p:cNvPr>
            <p:cNvSpPr/>
            <p:nvPr/>
          </p:nvSpPr>
          <p:spPr>
            <a:xfrm>
              <a:off x="687525" y="5806366"/>
              <a:ext cx="2412" cy="273488"/>
            </a:xfrm>
            <a:custGeom>
              <a:avLst/>
              <a:gdLst>
                <a:gd name="connsiteX0" fmla="*/ 1270 w 2412"/>
                <a:gd name="connsiteY0" fmla="*/ 273234 h 273488"/>
                <a:gd name="connsiteX1" fmla="*/ 2412 w 2412"/>
                <a:gd name="connsiteY1" fmla="*/ 273234 h 273488"/>
                <a:gd name="connsiteX2" fmla="*/ 2412 w 2412"/>
                <a:gd name="connsiteY2" fmla="*/ 0 h 273488"/>
                <a:gd name="connsiteX3" fmla="*/ 1270 w 2412"/>
                <a:gd name="connsiteY3" fmla="*/ 0 h 273488"/>
                <a:gd name="connsiteX4" fmla="*/ 0 w 2412"/>
                <a:gd name="connsiteY4" fmla="*/ 0 h 273488"/>
                <a:gd name="connsiteX5" fmla="*/ 0 w 2412"/>
                <a:gd name="connsiteY5" fmla="*/ 273488 h 27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488">
                  <a:moveTo>
                    <a:pt x="1270" y="273234"/>
                  </a:moveTo>
                  <a:lnTo>
                    <a:pt x="2412" y="273234"/>
                  </a:lnTo>
                  <a:lnTo>
                    <a:pt x="2412" y="0"/>
                  </a:lnTo>
                  <a:lnTo>
                    <a:pt x="1270" y="0"/>
                  </a:lnTo>
                  <a:lnTo>
                    <a:pt x="0" y="0"/>
                  </a:lnTo>
                  <a:lnTo>
                    <a:pt x="0" y="273488"/>
                  </a:lnTo>
                  <a:close/>
                </a:path>
              </a:pathLst>
            </a:custGeom>
            <a:solidFill>
              <a:srgbClr val="000000"/>
            </a:solidFill>
            <a:ln w="12690"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70213C6B-0389-4A46-9EC0-C71BA3F6F5C1}"/>
                </a:ext>
              </a:extLst>
            </p:cNvPr>
            <p:cNvSpPr/>
            <p:nvPr/>
          </p:nvSpPr>
          <p:spPr>
            <a:xfrm>
              <a:off x="678753" y="5582126"/>
              <a:ext cx="16771" cy="23250"/>
            </a:xfrm>
            <a:custGeom>
              <a:avLst/>
              <a:gdLst>
                <a:gd name="connsiteX0" fmla="*/ 12 w 16771"/>
                <a:gd name="connsiteY0" fmla="*/ 7253 h 23250"/>
                <a:gd name="connsiteX1" fmla="*/ 1028 w 16771"/>
                <a:gd name="connsiteY1" fmla="*/ 12840 h 23250"/>
                <a:gd name="connsiteX2" fmla="*/ 3059 w 16771"/>
                <a:gd name="connsiteY2" fmla="*/ 23251 h 23250"/>
                <a:gd name="connsiteX3" fmla="*/ 3059 w 16771"/>
                <a:gd name="connsiteY3" fmla="*/ 22489 h 23250"/>
                <a:gd name="connsiteX4" fmla="*/ 5472 w 16771"/>
                <a:gd name="connsiteY4" fmla="*/ 17410 h 23250"/>
                <a:gd name="connsiteX5" fmla="*/ 5472 w 16771"/>
                <a:gd name="connsiteY5" fmla="*/ 5983 h 23250"/>
                <a:gd name="connsiteX6" fmla="*/ 6741 w 16771"/>
                <a:gd name="connsiteY6" fmla="*/ 4714 h 23250"/>
                <a:gd name="connsiteX7" fmla="*/ 8011 w 16771"/>
                <a:gd name="connsiteY7" fmla="*/ 5983 h 23250"/>
                <a:gd name="connsiteX8" fmla="*/ 8011 w 16771"/>
                <a:gd name="connsiteY8" fmla="*/ 16014 h 23250"/>
                <a:gd name="connsiteX9" fmla="*/ 10042 w 16771"/>
                <a:gd name="connsiteY9" fmla="*/ 16014 h 23250"/>
                <a:gd name="connsiteX10" fmla="*/ 16772 w 16771"/>
                <a:gd name="connsiteY10" fmla="*/ 22235 h 23250"/>
                <a:gd name="connsiteX11" fmla="*/ 16772 w 16771"/>
                <a:gd name="connsiteY11" fmla="*/ 21600 h 23250"/>
                <a:gd name="connsiteX12" fmla="*/ 13471 w 16771"/>
                <a:gd name="connsiteY12" fmla="*/ 4079 h 23250"/>
                <a:gd name="connsiteX13" fmla="*/ 13471 w 16771"/>
                <a:gd name="connsiteY13" fmla="*/ 3444 h 23250"/>
                <a:gd name="connsiteX14" fmla="*/ 13471 w 16771"/>
                <a:gd name="connsiteY14" fmla="*/ 2174 h 23250"/>
                <a:gd name="connsiteX15" fmla="*/ 12709 w 16771"/>
                <a:gd name="connsiteY15" fmla="*/ 1159 h 23250"/>
                <a:gd name="connsiteX16" fmla="*/ 11820 w 16771"/>
                <a:gd name="connsiteY16" fmla="*/ 143 h 23250"/>
                <a:gd name="connsiteX17" fmla="*/ 10804 w 16771"/>
                <a:gd name="connsiteY17" fmla="*/ 143 h 23250"/>
                <a:gd name="connsiteX18" fmla="*/ 9535 w 16771"/>
                <a:gd name="connsiteY18" fmla="*/ 143 h 23250"/>
                <a:gd name="connsiteX19" fmla="*/ 8265 w 16771"/>
                <a:gd name="connsiteY19" fmla="*/ 143 h 23250"/>
                <a:gd name="connsiteX20" fmla="*/ 6233 w 16771"/>
                <a:gd name="connsiteY20" fmla="*/ 143 h 23250"/>
                <a:gd name="connsiteX21" fmla="*/ 12 w 16771"/>
                <a:gd name="connsiteY21" fmla="*/ 7253 h 2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771" h="23250">
                  <a:moveTo>
                    <a:pt x="12" y="7253"/>
                  </a:moveTo>
                  <a:lnTo>
                    <a:pt x="1028" y="12840"/>
                  </a:lnTo>
                  <a:lnTo>
                    <a:pt x="3059" y="23251"/>
                  </a:lnTo>
                  <a:lnTo>
                    <a:pt x="3059" y="22489"/>
                  </a:lnTo>
                  <a:cubicBezTo>
                    <a:pt x="3116" y="20533"/>
                    <a:pt x="3991" y="18690"/>
                    <a:pt x="5472" y="17410"/>
                  </a:cubicBezTo>
                  <a:lnTo>
                    <a:pt x="5472" y="5983"/>
                  </a:lnTo>
                  <a:cubicBezTo>
                    <a:pt x="5472" y="5283"/>
                    <a:pt x="6040" y="4714"/>
                    <a:pt x="6741" y="4714"/>
                  </a:cubicBezTo>
                  <a:cubicBezTo>
                    <a:pt x="7442" y="4714"/>
                    <a:pt x="8011" y="5283"/>
                    <a:pt x="8011" y="5983"/>
                  </a:cubicBezTo>
                  <a:lnTo>
                    <a:pt x="8011" y="16014"/>
                  </a:lnTo>
                  <a:cubicBezTo>
                    <a:pt x="8686" y="15943"/>
                    <a:pt x="9367" y="15943"/>
                    <a:pt x="10042" y="16014"/>
                  </a:cubicBezTo>
                  <a:cubicBezTo>
                    <a:pt x="13546" y="16063"/>
                    <a:pt x="16448" y="18746"/>
                    <a:pt x="16772" y="22235"/>
                  </a:cubicBezTo>
                  <a:lnTo>
                    <a:pt x="16772" y="21600"/>
                  </a:lnTo>
                  <a:lnTo>
                    <a:pt x="13471" y="4079"/>
                  </a:lnTo>
                  <a:cubicBezTo>
                    <a:pt x="13502" y="3868"/>
                    <a:pt x="13502" y="3655"/>
                    <a:pt x="13471" y="3444"/>
                  </a:cubicBezTo>
                  <a:cubicBezTo>
                    <a:pt x="13521" y="3022"/>
                    <a:pt x="13521" y="2596"/>
                    <a:pt x="13471" y="2174"/>
                  </a:cubicBezTo>
                  <a:cubicBezTo>
                    <a:pt x="13290" y="1786"/>
                    <a:pt x="13031" y="1440"/>
                    <a:pt x="12709" y="1159"/>
                  </a:cubicBezTo>
                  <a:lnTo>
                    <a:pt x="11820" y="143"/>
                  </a:lnTo>
                  <a:lnTo>
                    <a:pt x="10804" y="143"/>
                  </a:lnTo>
                  <a:lnTo>
                    <a:pt x="9535" y="143"/>
                  </a:lnTo>
                  <a:lnTo>
                    <a:pt x="8265" y="143"/>
                  </a:lnTo>
                  <a:cubicBezTo>
                    <a:pt x="7601" y="-48"/>
                    <a:pt x="6897" y="-48"/>
                    <a:pt x="6233" y="143"/>
                  </a:cubicBezTo>
                  <a:cubicBezTo>
                    <a:pt x="2565" y="415"/>
                    <a:pt x="-206" y="3581"/>
                    <a:pt x="12" y="7253"/>
                  </a:cubicBezTo>
                  <a:close/>
                </a:path>
              </a:pathLst>
            </a:custGeom>
            <a:solidFill>
              <a:srgbClr val="000000"/>
            </a:solidFill>
            <a:ln w="12690"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13F97B5E-051E-44E4-9C27-17F55C5D150C}"/>
                </a:ext>
              </a:extLst>
            </p:cNvPr>
            <p:cNvSpPr/>
            <p:nvPr/>
          </p:nvSpPr>
          <p:spPr>
            <a:xfrm>
              <a:off x="684224" y="5586839"/>
              <a:ext cx="2539" cy="12696"/>
            </a:xfrm>
            <a:custGeom>
              <a:avLst/>
              <a:gdLst>
                <a:gd name="connsiteX0" fmla="*/ 2539 w 2539"/>
                <a:gd name="connsiteY0" fmla="*/ 1270 h 12696"/>
                <a:gd name="connsiteX1" fmla="*/ 1270 w 2539"/>
                <a:gd name="connsiteY1" fmla="*/ 0 h 12696"/>
                <a:gd name="connsiteX2" fmla="*/ 0 w 2539"/>
                <a:gd name="connsiteY2" fmla="*/ 1270 h 12696"/>
                <a:gd name="connsiteX3" fmla="*/ 0 w 2539"/>
                <a:gd name="connsiteY3" fmla="*/ 12697 h 12696"/>
                <a:gd name="connsiteX4" fmla="*/ 2539 w 2539"/>
                <a:gd name="connsiteY4" fmla="*/ 1130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2696">
                  <a:moveTo>
                    <a:pt x="2539" y="1270"/>
                  </a:moveTo>
                  <a:cubicBezTo>
                    <a:pt x="2539" y="569"/>
                    <a:pt x="1971" y="0"/>
                    <a:pt x="1270" y="0"/>
                  </a:cubicBezTo>
                  <a:cubicBezTo>
                    <a:pt x="569" y="0"/>
                    <a:pt x="0" y="569"/>
                    <a:pt x="0" y="1270"/>
                  </a:cubicBezTo>
                  <a:lnTo>
                    <a:pt x="0" y="12697"/>
                  </a:lnTo>
                  <a:cubicBezTo>
                    <a:pt x="741" y="12062"/>
                    <a:pt x="1606" y="11586"/>
                    <a:pt x="2539" y="11300"/>
                  </a:cubicBezTo>
                  <a:close/>
                </a:path>
              </a:pathLst>
            </a:custGeom>
            <a:solidFill>
              <a:srgbClr val="000000"/>
            </a:solidFill>
            <a:ln w="12690"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B7C3516E-961C-4B56-9A97-9775A81706F1}"/>
                </a:ext>
              </a:extLst>
            </p:cNvPr>
            <p:cNvSpPr/>
            <p:nvPr/>
          </p:nvSpPr>
          <p:spPr>
            <a:xfrm>
              <a:off x="3597734" y="6462280"/>
              <a:ext cx="62087" cy="15744"/>
            </a:xfrm>
            <a:custGeom>
              <a:avLst/>
              <a:gdLst>
                <a:gd name="connsiteX0" fmla="*/ 0 w 62087"/>
                <a:gd name="connsiteY0" fmla="*/ 0 h 15744"/>
                <a:gd name="connsiteX1" fmla="*/ 0 w 62087"/>
                <a:gd name="connsiteY1" fmla="*/ 0 h 15744"/>
                <a:gd name="connsiteX2" fmla="*/ 6856 w 62087"/>
                <a:gd name="connsiteY2" fmla="*/ 6856 h 15744"/>
                <a:gd name="connsiteX3" fmla="*/ 0 w 62087"/>
                <a:gd name="connsiteY3" fmla="*/ 13713 h 15744"/>
                <a:gd name="connsiteX4" fmla="*/ 0 w 62087"/>
                <a:gd name="connsiteY4" fmla="*/ 13713 h 15744"/>
                <a:gd name="connsiteX5" fmla="*/ 53707 w 62087"/>
                <a:gd name="connsiteY5" fmla="*/ 15744 h 15744"/>
                <a:gd name="connsiteX6" fmla="*/ 53707 w 62087"/>
                <a:gd name="connsiteY6" fmla="*/ 9142 h 15744"/>
                <a:gd name="connsiteX7" fmla="*/ 60563 w 62087"/>
                <a:gd name="connsiteY7" fmla="*/ 2285 h 15744"/>
                <a:gd name="connsiteX8" fmla="*/ 62087 w 62087"/>
                <a:gd name="connsiteY8" fmla="*/ 2285 h 15744"/>
                <a:gd name="connsiteX9" fmla="*/ 60817 w 62087"/>
                <a:gd name="connsiteY9" fmla="*/ 2285 h 15744"/>
                <a:gd name="connsiteX10" fmla="*/ 13840 w 62087"/>
                <a:gd name="connsiteY10" fmla="*/ 508 h 15744"/>
                <a:gd name="connsiteX11" fmla="*/ 8634 w 62087"/>
                <a:gd name="connsiteY11" fmla="*/ 508 h 1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87" h="15744">
                  <a:moveTo>
                    <a:pt x="0" y="0"/>
                  </a:moveTo>
                  <a:lnTo>
                    <a:pt x="0" y="0"/>
                  </a:lnTo>
                  <a:cubicBezTo>
                    <a:pt x="3784" y="0"/>
                    <a:pt x="6856" y="3073"/>
                    <a:pt x="6856" y="6856"/>
                  </a:cubicBezTo>
                  <a:cubicBezTo>
                    <a:pt x="6856" y="10640"/>
                    <a:pt x="3784" y="13713"/>
                    <a:pt x="0" y="13713"/>
                  </a:cubicBezTo>
                  <a:lnTo>
                    <a:pt x="0" y="13713"/>
                  </a:lnTo>
                  <a:lnTo>
                    <a:pt x="53707" y="15744"/>
                  </a:lnTo>
                  <a:lnTo>
                    <a:pt x="53707" y="9142"/>
                  </a:lnTo>
                  <a:cubicBezTo>
                    <a:pt x="53707" y="5358"/>
                    <a:pt x="56780" y="2285"/>
                    <a:pt x="60563" y="2285"/>
                  </a:cubicBezTo>
                  <a:lnTo>
                    <a:pt x="62087" y="2285"/>
                  </a:lnTo>
                  <a:lnTo>
                    <a:pt x="60817" y="2285"/>
                  </a:lnTo>
                  <a:lnTo>
                    <a:pt x="13840" y="508"/>
                  </a:lnTo>
                  <a:lnTo>
                    <a:pt x="8634" y="508"/>
                  </a:lnTo>
                  <a:close/>
                </a:path>
              </a:pathLst>
            </a:custGeom>
            <a:solidFill>
              <a:srgbClr val="000000"/>
            </a:solidFill>
            <a:ln w="12690"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A0681AAB-9197-4166-B4FD-B0EBF5F4C014}"/>
                </a:ext>
              </a:extLst>
            </p:cNvPr>
            <p:cNvSpPr/>
            <p:nvPr/>
          </p:nvSpPr>
          <p:spPr>
            <a:xfrm>
              <a:off x="3515460" y="5906671"/>
              <a:ext cx="14220" cy="555609"/>
            </a:xfrm>
            <a:custGeom>
              <a:avLst/>
              <a:gdLst>
                <a:gd name="connsiteX0" fmla="*/ 0 w 14220"/>
                <a:gd name="connsiteY0" fmla="*/ 555610 h 555609"/>
                <a:gd name="connsiteX1" fmla="*/ 14220 w 14220"/>
                <a:gd name="connsiteY1" fmla="*/ 555610 h 555609"/>
                <a:gd name="connsiteX2" fmla="*/ 14220 w 14220"/>
                <a:gd name="connsiteY2" fmla="*/ 0 h 555609"/>
                <a:gd name="connsiteX3" fmla="*/ 7326 w 14220"/>
                <a:gd name="connsiteY3" fmla="*/ 6813 h 555609"/>
                <a:gd name="connsiteX4" fmla="*/ 635 w 14220"/>
                <a:gd name="connsiteY4" fmla="*/ 1270 h 555609"/>
                <a:gd name="connsiteX5" fmla="*/ 635 w 14220"/>
                <a:gd name="connsiteY5" fmla="*/ 1270 h 55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20" h="555609">
                  <a:moveTo>
                    <a:pt x="0" y="555610"/>
                  </a:moveTo>
                  <a:lnTo>
                    <a:pt x="14220" y="555610"/>
                  </a:lnTo>
                  <a:lnTo>
                    <a:pt x="14220" y="0"/>
                  </a:lnTo>
                  <a:cubicBezTo>
                    <a:pt x="14195" y="3786"/>
                    <a:pt x="11110" y="6837"/>
                    <a:pt x="7326" y="6813"/>
                  </a:cubicBezTo>
                  <a:cubicBezTo>
                    <a:pt x="4063" y="6793"/>
                    <a:pt x="1257" y="4473"/>
                    <a:pt x="635" y="1270"/>
                  </a:cubicBezTo>
                  <a:lnTo>
                    <a:pt x="635" y="1270"/>
                  </a:lnTo>
                  <a:close/>
                </a:path>
              </a:pathLst>
            </a:custGeom>
            <a:solidFill>
              <a:srgbClr val="000000"/>
            </a:solidFill>
            <a:ln w="12690"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A28A414F-E623-4EEB-83AE-C74CF99F6606}"/>
                </a:ext>
              </a:extLst>
            </p:cNvPr>
            <p:cNvSpPr/>
            <p:nvPr/>
          </p:nvSpPr>
          <p:spPr>
            <a:xfrm>
              <a:off x="1005705" y="5618231"/>
              <a:ext cx="185625" cy="13935"/>
            </a:xfrm>
            <a:custGeom>
              <a:avLst/>
              <a:gdLst>
                <a:gd name="connsiteX0" fmla="*/ 7364 w 185625"/>
                <a:gd name="connsiteY0" fmla="*/ 8603 h 13935"/>
                <a:gd name="connsiteX1" fmla="*/ 6094 w 185625"/>
                <a:gd name="connsiteY1" fmla="*/ 13936 h 13935"/>
                <a:gd name="connsiteX2" fmla="*/ 178769 w 185625"/>
                <a:gd name="connsiteY2" fmla="*/ 13936 h 13935"/>
                <a:gd name="connsiteX3" fmla="*/ 178769 w 185625"/>
                <a:gd name="connsiteY3" fmla="*/ 6952 h 13935"/>
                <a:gd name="connsiteX4" fmla="*/ 185626 w 185625"/>
                <a:gd name="connsiteY4" fmla="*/ 96 h 13935"/>
                <a:gd name="connsiteX5" fmla="*/ 0 w 185625"/>
                <a:gd name="connsiteY5" fmla="*/ 96 h 13935"/>
                <a:gd name="connsiteX6" fmla="*/ 2158 w 185625"/>
                <a:gd name="connsiteY6" fmla="*/ 96 h 13935"/>
                <a:gd name="connsiteX7" fmla="*/ 7396 w 185625"/>
                <a:gd name="connsiteY7" fmla="*/ 8468 h 13935"/>
                <a:gd name="connsiteX8" fmla="*/ 7364 w 185625"/>
                <a:gd name="connsiteY8" fmla="*/ 8603 h 1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25" h="13935">
                  <a:moveTo>
                    <a:pt x="7364" y="8603"/>
                  </a:moveTo>
                  <a:lnTo>
                    <a:pt x="6094" y="13936"/>
                  </a:lnTo>
                  <a:lnTo>
                    <a:pt x="178769" y="13936"/>
                  </a:lnTo>
                  <a:lnTo>
                    <a:pt x="178769" y="6952"/>
                  </a:lnTo>
                  <a:cubicBezTo>
                    <a:pt x="178769" y="3166"/>
                    <a:pt x="181840" y="96"/>
                    <a:pt x="185626" y="96"/>
                  </a:cubicBezTo>
                  <a:lnTo>
                    <a:pt x="0" y="96"/>
                  </a:lnTo>
                  <a:cubicBezTo>
                    <a:pt x="714" y="-32"/>
                    <a:pt x="1445" y="-32"/>
                    <a:pt x="2158" y="96"/>
                  </a:cubicBezTo>
                  <a:cubicBezTo>
                    <a:pt x="5917" y="962"/>
                    <a:pt x="8262" y="4710"/>
                    <a:pt x="7396" y="8468"/>
                  </a:cubicBezTo>
                  <a:cubicBezTo>
                    <a:pt x="7386" y="8513"/>
                    <a:pt x="7376" y="8559"/>
                    <a:pt x="7364" y="8603"/>
                  </a:cubicBezTo>
                  <a:close/>
                </a:path>
              </a:pathLst>
            </a:custGeom>
            <a:solidFill>
              <a:srgbClr val="000000"/>
            </a:solidFill>
            <a:ln w="12690"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867CD16D-285F-4729-8E3E-11988A7DCD01}"/>
                </a:ext>
              </a:extLst>
            </p:cNvPr>
            <p:cNvSpPr/>
            <p:nvPr/>
          </p:nvSpPr>
          <p:spPr>
            <a:xfrm>
              <a:off x="998087" y="5618612"/>
              <a:ext cx="14530" cy="14824"/>
            </a:xfrm>
            <a:custGeom>
              <a:avLst/>
              <a:gdLst>
                <a:gd name="connsiteX0" fmla="*/ 6602 w 14530"/>
                <a:gd name="connsiteY0" fmla="*/ 6825 h 14824"/>
                <a:gd name="connsiteX1" fmla="*/ 6602 w 14530"/>
                <a:gd name="connsiteY1" fmla="*/ 6825 h 14824"/>
                <a:gd name="connsiteX2" fmla="*/ 6602 w 14530"/>
                <a:gd name="connsiteY2" fmla="*/ 6825 h 14824"/>
                <a:gd name="connsiteX3" fmla="*/ 7872 w 14530"/>
                <a:gd name="connsiteY3" fmla="*/ 5556 h 14824"/>
                <a:gd name="connsiteX4" fmla="*/ 9142 w 14530"/>
                <a:gd name="connsiteY4" fmla="*/ 6825 h 14824"/>
                <a:gd name="connsiteX5" fmla="*/ 9142 w 14530"/>
                <a:gd name="connsiteY5" fmla="*/ 7714 h 14824"/>
                <a:gd name="connsiteX6" fmla="*/ 13078 w 14530"/>
                <a:gd name="connsiteY6" fmla="*/ 13936 h 14824"/>
                <a:gd name="connsiteX7" fmla="*/ 13078 w 14530"/>
                <a:gd name="connsiteY7" fmla="*/ 14824 h 14824"/>
                <a:gd name="connsiteX8" fmla="*/ 13078 w 14530"/>
                <a:gd name="connsiteY8" fmla="*/ 13809 h 14824"/>
                <a:gd name="connsiteX9" fmla="*/ 14347 w 14530"/>
                <a:gd name="connsiteY9" fmla="*/ 8476 h 14824"/>
                <a:gd name="connsiteX10" fmla="*/ 9142 w 14530"/>
                <a:gd name="connsiteY10" fmla="*/ 96 h 14824"/>
                <a:gd name="connsiteX11" fmla="*/ 6983 w 14530"/>
                <a:gd name="connsiteY11" fmla="*/ 96 h 14824"/>
                <a:gd name="connsiteX12" fmla="*/ 5713 w 14530"/>
                <a:gd name="connsiteY12" fmla="*/ 96 h 14824"/>
                <a:gd name="connsiteX13" fmla="*/ 4444 w 14530"/>
                <a:gd name="connsiteY13" fmla="*/ 96 h 14824"/>
                <a:gd name="connsiteX14" fmla="*/ 3428 w 14530"/>
                <a:gd name="connsiteY14" fmla="*/ 858 h 14824"/>
                <a:gd name="connsiteX15" fmla="*/ 2412 w 14530"/>
                <a:gd name="connsiteY15" fmla="*/ 1620 h 14824"/>
                <a:gd name="connsiteX16" fmla="*/ 1651 w 14530"/>
                <a:gd name="connsiteY16" fmla="*/ 2762 h 14824"/>
                <a:gd name="connsiteX17" fmla="*/ 1651 w 14530"/>
                <a:gd name="connsiteY17" fmla="*/ 4032 h 14824"/>
                <a:gd name="connsiteX18" fmla="*/ 1651 w 14530"/>
                <a:gd name="connsiteY18" fmla="*/ 4032 h 14824"/>
                <a:gd name="connsiteX19" fmla="*/ 0 w 14530"/>
                <a:gd name="connsiteY19" fmla="*/ 11142 h 14824"/>
                <a:gd name="connsiteX20" fmla="*/ 0 w 14530"/>
                <a:gd name="connsiteY20" fmla="*/ 11904 h 14824"/>
                <a:gd name="connsiteX21" fmla="*/ 6602 w 14530"/>
                <a:gd name="connsiteY21" fmla="*/ 6825 h 1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30" h="14824">
                  <a:moveTo>
                    <a:pt x="6602" y="6825"/>
                  </a:moveTo>
                  <a:lnTo>
                    <a:pt x="6602" y="6825"/>
                  </a:lnTo>
                  <a:lnTo>
                    <a:pt x="6602" y="6825"/>
                  </a:lnTo>
                  <a:cubicBezTo>
                    <a:pt x="6602" y="6125"/>
                    <a:pt x="7171" y="5556"/>
                    <a:pt x="7872" y="5556"/>
                  </a:cubicBezTo>
                  <a:cubicBezTo>
                    <a:pt x="8573" y="5556"/>
                    <a:pt x="9142" y="6125"/>
                    <a:pt x="9142" y="6825"/>
                  </a:cubicBezTo>
                  <a:lnTo>
                    <a:pt x="9142" y="7714"/>
                  </a:lnTo>
                  <a:cubicBezTo>
                    <a:pt x="11508" y="8895"/>
                    <a:pt x="13024" y="11291"/>
                    <a:pt x="13078" y="13936"/>
                  </a:cubicBezTo>
                  <a:lnTo>
                    <a:pt x="13078" y="14824"/>
                  </a:lnTo>
                  <a:lnTo>
                    <a:pt x="13078" y="13809"/>
                  </a:lnTo>
                  <a:lnTo>
                    <a:pt x="14347" y="8476"/>
                  </a:lnTo>
                  <a:cubicBezTo>
                    <a:pt x="15220" y="4725"/>
                    <a:pt x="12891" y="976"/>
                    <a:pt x="9142" y="96"/>
                  </a:cubicBezTo>
                  <a:cubicBezTo>
                    <a:pt x="8428" y="-32"/>
                    <a:pt x="7697" y="-32"/>
                    <a:pt x="6983" y="96"/>
                  </a:cubicBezTo>
                  <a:lnTo>
                    <a:pt x="5713" y="96"/>
                  </a:lnTo>
                  <a:lnTo>
                    <a:pt x="4444" y="96"/>
                  </a:lnTo>
                  <a:cubicBezTo>
                    <a:pt x="4032" y="235"/>
                    <a:pt x="3677" y="503"/>
                    <a:pt x="3428" y="858"/>
                  </a:cubicBezTo>
                  <a:lnTo>
                    <a:pt x="2412" y="1620"/>
                  </a:lnTo>
                  <a:lnTo>
                    <a:pt x="1651" y="2762"/>
                  </a:lnTo>
                  <a:cubicBezTo>
                    <a:pt x="1629" y="3185"/>
                    <a:pt x="1629" y="3609"/>
                    <a:pt x="1651" y="4032"/>
                  </a:cubicBezTo>
                  <a:cubicBezTo>
                    <a:pt x="1651" y="4032"/>
                    <a:pt x="1651" y="4032"/>
                    <a:pt x="1651" y="4032"/>
                  </a:cubicBezTo>
                  <a:lnTo>
                    <a:pt x="0" y="11142"/>
                  </a:lnTo>
                  <a:lnTo>
                    <a:pt x="0" y="11904"/>
                  </a:lnTo>
                  <a:cubicBezTo>
                    <a:pt x="763" y="8889"/>
                    <a:pt x="3493" y="6789"/>
                    <a:pt x="6602" y="6825"/>
                  </a:cubicBezTo>
                  <a:close/>
                </a:path>
              </a:pathLst>
            </a:custGeom>
            <a:solidFill>
              <a:srgbClr val="000000"/>
            </a:solidFill>
            <a:ln w="12690"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4A425A28-69AA-4A45-A206-4B6023C33689}"/>
                </a:ext>
              </a:extLst>
            </p:cNvPr>
            <p:cNvSpPr/>
            <p:nvPr/>
          </p:nvSpPr>
          <p:spPr>
            <a:xfrm>
              <a:off x="488822" y="5597759"/>
              <a:ext cx="151090" cy="13839"/>
            </a:xfrm>
            <a:custGeom>
              <a:avLst/>
              <a:gdLst>
                <a:gd name="connsiteX0" fmla="*/ 6348 w 151090"/>
                <a:gd name="connsiteY0" fmla="*/ 6856 h 13839"/>
                <a:gd name="connsiteX1" fmla="*/ 6348 w 151090"/>
                <a:gd name="connsiteY1" fmla="*/ 13839 h 13839"/>
                <a:gd name="connsiteX2" fmla="*/ 151091 w 151090"/>
                <a:gd name="connsiteY2" fmla="*/ 13839 h 13839"/>
                <a:gd name="connsiteX3" fmla="*/ 151091 w 151090"/>
                <a:gd name="connsiteY3" fmla="*/ 0 h 13839"/>
                <a:gd name="connsiteX4" fmla="*/ 0 w 151090"/>
                <a:gd name="connsiteY4" fmla="*/ 0 h 13839"/>
                <a:gd name="connsiteX5" fmla="*/ 6348 w 151090"/>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090" h="13839">
                  <a:moveTo>
                    <a:pt x="6348" y="6856"/>
                  </a:moveTo>
                  <a:lnTo>
                    <a:pt x="6348" y="13839"/>
                  </a:lnTo>
                  <a:lnTo>
                    <a:pt x="151091" y="13839"/>
                  </a:lnTo>
                  <a:lnTo>
                    <a:pt x="151091" y="0"/>
                  </a:lnTo>
                  <a:lnTo>
                    <a:pt x="0" y="0"/>
                  </a:lnTo>
                  <a:cubicBezTo>
                    <a:pt x="3587" y="267"/>
                    <a:pt x="6359" y="3259"/>
                    <a:pt x="6348" y="6856"/>
                  </a:cubicBezTo>
                  <a:close/>
                </a:path>
              </a:pathLst>
            </a:custGeom>
            <a:solidFill>
              <a:srgbClr val="000000"/>
            </a:solidFill>
            <a:ln w="12690"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3EE693F6-988B-4A1D-83F0-52DD133F43F3}"/>
                </a:ext>
              </a:extLst>
            </p:cNvPr>
            <p:cNvSpPr/>
            <p:nvPr/>
          </p:nvSpPr>
          <p:spPr>
            <a:xfrm>
              <a:off x="997706" y="5625564"/>
              <a:ext cx="6729" cy="166962"/>
            </a:xfrm>
            <a:custGeom>
              <a:avLst/>
              <a:gdLst>
                <a:gd name="connsiteX0" fmla="*/ 6729 w 6729"/>
                <a:gd name="connsiteY0" fmla="*/ 151853 h 166962"/>
                <a:gd name="connsiteX1" fmla="*/ 6729 w 6729"/>
                <a:gd name="connsiteY1" fmla="*/ 151853 h 166962"/>
                <a:gd name="connsiteX2" fmla="*/ 6729 w 6729"/>
                <a:gd name="connsiteY2" fmla="*/ 149695 h 166962"/>
                <a:gd name="connsiteX3" fmla="*/ 6729 w 6729"/>
                <a:gd name="connsiteY3" fmla="*/ 0 h 166962"/>
                <a:gd name="connsiteX4" fmla="*/ 6729 w 6729"/>
                <a:gd name="connsiteY4" fmla="*/ 0 h 166962"/>
                <a:gd name="connsiteX5" fmla="*/ 0 w 6729"/>
                <a:gd name="connsiteY5" fmla="*/ 6095 h 166962"/>
                <a:gd name="connsiteX6" fmla="*/ 0 w 6729"/>
                <a:gd name="connsiteY6" fmla="*/ 6856 h 166962"/>
                <a:gd name="connsiteX7" fmla="*/ 0 w 6729"/>
                <a:gd name="connsiteY7" fmla="*/ 166962 h 166962"/>
                <a:gd name="connsiteX8" fmla="*/ 2158 w 6729"/>
                <a:gd name="connsiteY8" fmla="*/ 166962 h 16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9" h="166962">
                  <a:moveTo>
                    <a:pt x="6729" y="151853"/>
                  </a:moveTo>
                  <a:lnTo>
                    <a:pt x="6729" y="151853"/>
                  </a:lnTo>
                  <a:lnTo>
                    <a:pt x="6729" y="149695"/>
                  </a:lnTo>
                  <a:lnTo>
                    <a:pt x="6729" y="0"/>
                  </a:lnTo>
                  <a:lnTo>
                    <a:pt x="6729" y="0"/>
                  </a:lnTo>
                  <a:cubicBezTo>
                    <a:pt x="3248" y="-15"/>
                    <a:pt x="329" y="2628"/>
                    <a:pt x="0" y="6095"/>
                  </a:cubicBezTo>
                  <a:cubicBezTo>
                    <a:pt x="0" y="6095"/>
                    <a:pt x="0" y="6095"/>
                    <a:pt x="0" y="6856"/>
                  </a:cubicBezTo>
                  <a:lnTo>
                    <a:pt x="0" y="166962"/>
                  </a:lnTo>
                  <a:lnTo>
                    <a:pt x="2158" y="166962"/>
                  </a:lnTo>
                  <a:close/>
                </a:path>
              </a:pathLst>
            </a:custGeom>
            <a:solidFill>
              <a:srgbClr val="000000"/>
            </a:solidFill>
            <a:ln w="12690"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79F99AE2-4BC2-4B00-980D-5608A5F04513}"/>
                </a:ext>
              </a:extLst>
            </p:cNvPr>
            <p:cNvSpPr/>
            <p:nvPr/>
          </p:nvSpPr>
          <p:spPr>
            <a:xfrm>
              <a:off x="1006085" y="5626072"/>
              <a:ext cx="3936" cy="141060"/>
            </a:xfrm>
            <a:custGeom>
              <a:avLst/>
              <a:gdLst>
                <a:gd name="connsiteX0" fmla="*/ 2159 w 3936"/>
                <a:gd name="connsiteY0" fmla="*/ 138649 h 141060"/>
                <a:gd name="connsiteX1" fmla="*/ 2159 w 3936"/>
                <a:gd name="connsiteY1" fmla="*/ 138649 h 141060"/>
                <a:gd name="connsiteX2" fmla="*/ 2159 w 3936"/>
                <a:gd name="connsiteY2" fmla="*/ 137379 h 141060"/>
                <a:gd name="connsiteX3" fmla="*/ 2159 w 3936"/>
                <a:gd name="connsiteY3" fmla="*/ 136363 h 141060"/>
                <a:gd name="connsiteX4" fmla="*/ 3174 w 3936"/>
                <a:gd name="connsiteY4" fmla="*/ 135601 h 141060"/>
                <a:gd name="connsiteX5" fmla="*/ 3936 w 3936"/>
                <a:gd name="connsiteY5" fmla="*/ 134966 h 141060"/>
                <a:gd name="connsiteX6" fmla="*/ 3936 w 3936"/>
                <a:gd name="connsiteY6" fmla="*/ 6221 h 141060"/>
                <a:gd name="connsiteX7" fmla="*/ 0 w 3936"/>
                <a:gd name="connsiteY7" fmla="*/ 0 h 141060"/>
                <a:gd name="connsiteX8" fmla="*/ 0 w 3936"/>
                <a:gd name="connsiteY8" fmla="*/ 141061 h 14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6" h="141060">
                  <a:moveTo>
                    <a:pt x="2159" y="138649"/>
                  </a:moveTo>
                  <a:lnTo>
                    <a:pt x="2159" y="138649"/>
                  </a:lnTo>
                  <a:cubicBezTo>
                    <a:pt x="2136" y="138226"/>
                    <a:pt x="2136" y="137802"/>
                    <a:pt x="2159" y="137379"/>
                  </a:cubicBezTo>
                  <a:cubicBezTo>
                    <a:pt x="2183" y="137041"/>
                    <a:pt x="2183" y="136701"/>
                    <a:pt x="2159" y="136363"/>
                  </a:cubicBezTo>
                  <a:lnTo>
                    <a:pt x="3174" y="135601"/>
                  </a:lnTo>
                  <a:lnTo>
                    <a:pt x="3936" y="134966"/>
                  </a:lnTo>
                  <a:lnTo>
                    <a:pt x="3936" y="6221"/>
                  </a:lnTo>
                  <a:cubicBezTo>
                    <a:pt x="3884" y="3577"/>
                    <a:pt x="2367" y="1181"/>
                    <a:pt x="0" y="0"/>
                  </a:cubicBezTo>
                  <a:lnTo>
                    <a:pt x="0" y="141061"/>
                  </a:lnTo>
                  <a:close/>
                </a:path>
              </a:pathLst>
            </a:custGeom>
            <a:solidFill>
              <a:srgbClr val="000000"/>
            </a:solidFill>
            <a:ln w="12690"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D4C06295-01B7-4749-B1FA-2C984BDC6252}"/>
                </a:ext>
              </a:extLst>
            </p:cNvPr>
            <p:cNvSpPr/>
            <p:nvPr/>
          </p:nvSpPr>
          <p:spPr>
            <a:xfrm>
              <a:off x="681812" y="5788337"/>
              <a:ext cx="2412" cy="11046"/>
            </a:xfrm>
            <a:custGeom>
              <a:avLst/>
              <a:gdLst>
                <a:gd name="connsiteX0" fmla="*/ 0 w 2412"/>
                <a:gd name="connsiteY0" fmla="*/ 0 h 11046"/>
                <a:gd name="connsiteX1" fmla="*/ 0 w 2412"/>
                <a:gd name="connsiteY1" fmla="*/ 11046 h 11046"/>
                <a:gd name="connsiteX2" fmla="*/ 2412 w 2412"/>
                <a:gd name="connsiteY2" fmla="*/ 5967 h 11046"/>
                <a:gd name="connsiteX3" fmla="*/ 2412 w 2412"/>
                <a:gd name="connsiteY3" fmla="*/ 0 h 11046"/>
              </a:gdLst>
              <a:ahLst/>
              <a:cxnLst>
                <a:cxn ang="0">
                  <a:pos x="connsiteX0" y="connsiteY0"/>
                </a:cxn>
                <a:cxn ang="0">
                  <a:pos x="connsiteX1" y="connsiteY1"/>
                </a:cxn>
                <a:cxn ang="0">
                  <a:pos x="connsiteX2" y="connsiteY2"/>
                </a:cxn>
                <a:cxn ang="0">
                  <a:pos x="connsiteX3" y="connsiteY3"/>
                </a:cxn>
              </a:cxnLst>
              <a:rect l="l" t="t" r="r" b="b"/>
              <a:pathLst>
                <a:path w="2412" h="11046">
                  <a:moveTo>
                    <a:pt x="0" y="0"/>
                  </a:moveTo>
                  <a:lnTo>
                    <a:pt x="0" y="11046"/>
                  </a:lnTo>
                  <a:cubicBezTo>
                    <a:pt x="57" y="9090"/>
                    <a:pt x="932" y="7247"/>
                    <a:pt x="2412" y="5967"/>
                  </a:cubicBezTo>
                  <a:lnTo>
                    <a:pt x="2412" y="0"/>
                  </a:lnTo>
                  <a:close/>
                </a:path>
              </a:pathLst>
            </a:custGeom>
            <a:solidFill>
              <a:srgbClr val="000000"/>
            </a:solidFill>
            <a:ln w="12690"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1A934C41-76FD-4769-90EC-1832F926C3D6}"/>
                </a:ext>
              </a:extLst>
            </p:cNvPr>
            <p:cNvSpPr/>
            <p:nvPr/>
          </p:nvSpPr>
          <p:spPr>
            <a:xfrm>
              <a:off x="681812" y="5597705"/>
              <a:ext cx="13966" cy="195202"/>
            </a:xfrm>
            <a:custGeom>
              <a:avLst/>
              <a:gdLst>
                <a:gd name="connsiteX0" fmla="*/ 6983 w 13966"/>
                <a:gd name="connsiteY0" fmla="*/ 53 h 195202"/>
                <a:gd name="connsiteX1" fmla="*/ 4952 w 13966"/>
                <a:gd name="connsiteY1" fmla="*/ 53 h 195202"/>
                <a:gd name="connsiteX2" fmla="*/ 2412 w 13966"/>
                <a:gd name="connsiteY2" fmla="*/ 1450 h 195202"/>
                <a:gd name="connsiteX3" fmla="*/ 0 w 13966"/>
                <a:gd name="connsiteY3" fmla="*/ 6529 h 195202"/>
                <a:gd name="connsiteX4" fmla="*/ 0 w 13966"/>
                <a:gd name="connsiteY4" fmla="*/ 188219 h 195202"/>
                <a:gd name="connsiteX5" fmla="*/ 3809 w 13966"/>
                <a:gd name="connsiteY5" fmla="*/ 188219 h 195202"/>
                <a:gd name="connsiteX6" fmla="*/ 5079 w 13966"/>
                <a:gd name="connsiteY6" fmla="*/ 189362 h 195202"/>
                <a:gd name="connsiteX7" fmla="*/ 5079 w 13966"/>
                <a:gd name="connsiteY7" fmla="*/ 195202 h 195202"/>
                <a:gd name="connsiteX8" fmla="*/ 7110 w 13966"/>
                <a:gd name="connsiteY8" fmla="*/ 195202 h 195202"/>
                <a:gd name="connsiteX9" fmla="*/ 13966 w 13966"/>
                <a:gd name="connsiteY9" fmla="*/ 195202 h 195202"/>
                <a:gd name="connsiteX10" fmla="*/ 13966 w 13966"/>
                <a:gd name="connsiteY10" fmla="*/ 6909 h 195202"/>
                <a:gd name="connsiteX11" fmla="*/ 13966 w 13966"/>
                <a:gd name="connsiteY11" fmla="*/ 6909 h 195202"/>
                <a:gd name="connsiteX12" fmla="*/ 7111 w 13966"/>
                <a:gd name="connsiteY12" fmla="*/ 52 h 195202"/>
                <a:gd name="connsiteX13" fmla="*/ 6983 w 13966"/>
                <a:gd name="connsiteY13" fmla="*/ 53 h 19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66" h="195202">
                  <a:moveTo>
                    <a:pt x="6983" y="53"/>
                  </a:moveTo>
                  <a:cubicBezTo>
                    <a:pt x="6308" y="-18"/>
                    <a:pt x="5627" y="-18"/>
                    <a:pt x="4952" y="53"/>
                  </a:cubicBezTo>
                  <a:cubicBezTo>
                    <a:pt x="4018" y="339"/>
                    <a:pt x="3154" y="815"/>
                    <a:pt x="2412" y="1450"/>
                  </a:cubicBezTo>
                  <a:cubicBezTo>
                    <a:pt x="932" y="2730"/>
                    <a:pt x="57" y="4572"/>
                    <a:pt x="0" y="6529"/>
                  </a:cubicBezTo>
                  <a:lnTo>
                    <a:pt x="0" y="188219"/>
                  </a:lnTo>
                  <a:lnTo>
                    <a:pt x="3809" y="188219"/>
                  </a:lnTo>
                  <a:cubicBezTo>
                    <a:pt x="4463" y="188215"/>
                    <a:pt x="5013" y="188711"/>
                    <a:pt x="5079" y="189362"/>
                  </a:cubicBezTo>
                  <a:lnTo>
                    <a:pt x="5079" y="195202"/>
                  </a:lnTo>
                  <a:cubicBezTo>
                    <a:pt x="5754" y="195131"/>
                    <a:pt x="6435" y="195131"/>
                    <a:pt x="7110" y="195202"/>
                  </a:cubicBezTo>
                  <a:lnTo>
                    <a:pt x="13966" y="195202"/>
                  </a:lnTo>
                  <a:lnTo>
                    <a:pt x="13966" y="6909"/>
                  </a:lnTo>
                  <a:cubicBezTo>
                    <a:pt x="13966" y="6909"/>
                    <a:pt x="13966" y="6909"/>
                    <a:pt x="13966" y="6909"/>
                  </a:cubicBezTo>
                  <a:cubicBezTo>
                    <a:pt x="13966" y="3123"/>
                    <a:pt x="10898" y="53"/>
                    <a:pt x="7111" y="52"/>
                  </a:cubicBezTo>
                  <a:cubicBezTo>
                    <a:pt x="7068" y="52"/>
                    <a:pt x="7026" y="52"/>
                    <a:pt x="6983" y="53"/>
                  </a:cubicBezTo>
                  <a:close/>
                </a:path>
              </a:pathLst>
            </a:custGeom>
            <a:solidFill>
              <a:srgbClr val="000000"/>
            </a:solidFill>
            <a:ln w="12690"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9E65E3EA-2817-400E-9842-5F62421A6D7A}"/>
                </a:ext>
              </a:extLst>
            </p:cNvPr>
            <p:cNvSpPr/>
            <p:nvPr/>
          </p:nvSpPr>
          <p:spPr>
            <a:xfrm>
              <a:off x="1012307" y="5785798"/>
              <a:ext cx="1396" cy="7237"/>
            </a:xfrm>
            <a:custGeom>
              <a:avLst/>
              <a:gdLst>
                <a:gd name="connsiteX0" fmla="*/ 1397 w 1396"/>
                <a:gd name="connsiteY0" fmla="*/ 7237 h 7237"/>
                <a:gd name="connsiteX1" fmla="*/ 1397 w 1396"/>
                <a:gd name="connsiteY1" fmla="*/ 0 h 7237"/>
                <a:gd name="connsiteX2" fmla="*/ 0 w 1396"/>
                <a:gd name="connsiteY2" fmla="*/ 0 h 7237"/>
                <a:gd name="connsiteX3" fmla="*/ 0 w 1396"/>
                <a:gd name="connsiteY3" fmla="*/ 6602 h 7237"/>
              </a:gdLst>
              <a:ahLst/>
              <a:cxnLst>
                <a:cxn ang="0">
                  <a:pos x="connsiteX0" y="connsiteY0"/>
                </a:cxn>
                <a:cxn ang="0">
                  <a:pos x="connsiteX1" y="connsiteY1"/>
                </a:cxn>
                <a:cxn ang="0">
                  <a:pos x="connsiteX2" y="connsiteY2"/>
                </a:cxn>
                <a:cxn ang="0">
                  <a:pos x="connsiteX3" y="connsiteY3"/>
                </a:cxn>
              </a:cxnLst>
              <a:rect l="l" t="t" r="r" b="b"/>
              <a:pathLst>
                <a:path w="1396" h="7237">
                  <a:moveTo>
                    <a:pt x="1397" y="7237"/>
                  </a:moveTo>
                  <a:lnTo>
                    <a:pt x="1397" y="0"/>
                  </a:lnTo>
                  <a:lnTo>
                    <a:pt x="0" y="0"/>
                  </a:lnTo>
                  <a:lnTo>
                    <a:pt x="0" y="6602"/>
                  </a:lnTo>
                  <a:close/>
                </a:path>
              </a:pathLst>
            </a:custGeom>
            <a:solidFill>
              <a:srgbClr val="000000"/>
            </a:solidFill>
            <a:ln w="12690"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E8E2EC82-F28C-43C7-94D2-EDF6DE69C210}"/>
                </a:ext>
              </a:extLst>
            </p:cNvPr>
            <p:cNvSpPr/>
            <p:nvPr/>
          </p:nvSpPr>
          <p:spPr>
            <a:xfrm>
              <a:off x="1016116" y="5781354"/>
              <a:ext cx="1523" cy="5332"/>
            </a:xfrm>
            <a:custGeom>
              <a:avLst/>
              <a:gdLst>
                <a:gd name="connsiteX0" fmla="*/ 1524 w 1523"/>
                <a:gd name="connsiteY0" fmla="*/ 0 h 5332"/>
                <a:gd name="connsiteX1" fmla="*/ 0 w 1523"/>
                <a:gd name="connsiteY1" fmla="*/ 2666 h 5332"/>
                <a:gd name="connsiteX2" fmla="*/ 0 w 1523"/>
                <a:gd name="connsiteY2" fmla="*/ 5333 h 5332"/>
              </a:gdLst>
              <a:ahLst/>
              <a:cxnLst>
                <a:cxn ang="0">
                  <a:pos x="connsiteX0" y="connsiteY0"/>
                </a:cxn>
                <a:cxn ang="0">
                  <a:pos x="connsiteX1" y="connsiteY1"/>
                </a:cxn>
                <a:cxn ang="0">
                  <a:pos x="connsiteX2" y="connsiteY2"/>
                </a:cxn>
              </a:cxnLst>
              <a:rect l="l" t="t" r="r" b="b"/>
              <a:pathLst>
                <a:path w="1523" h="5332">
                  <a:moveTo>
                    <a:pt x="1524" y="0"/>
                  </a:moveTo>
                  <a:cubicBezTo>
                    <a:pt x="1252" y="1004"/>
                    <a:pt x="728" y="1922"/>
                    <a:pt x="0" y="2666"/>
                  </a:cubicBezTo>
                  <a:lnTo>
                    <a:pt x="0" y="5333"/>
                  </a:lnTo>
                  <a:close/>
                </a:path>
              </a:pathLst>
            </a:custGeom>
            <a:solidFill>
              <a:srgbClr val="000000"/>
            </a:solidFill>
            <a:ln w="12690"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111B56D5-E8F1-45D2-BEF2-0CDB34446E87}"/>
                </a:ext>
              </a:extLst>
            </p:cNvPr>
            <p:cNvSpPr/>
            <p:nvPr/>
          </p:nvSpPr>
          <p:spPr>
            <a:xfrm>
              <a:off x="1000626" y="5777418"/>
              <a:ext cx="5078" cy="15109"/>
            </a:xfrm>
            <a:custGeom>
              <a:avLst/>
              <a:gdLst>
                <a:gd name="connsiteX0" fmla="*/ 4444 w 5078"/>
                <a:gd name="connsiteY0" fmla="*/ 15109 h 15109"/>
                <a:gd name="connsiteX1" fmla="*/ 4444 w 5078"/>
                <a:gd name="connsiteY1" fmla="*/ 5460 h 15109"/>
                <a:gd name="connsiteX2" fmla="*/ 4444 w 5078"/>
                <a:gd name="connsiteY2" fmla="*/ 0 h 15109"/>
                <a:gd name="connsiteX3" fmla="*/ 0 w 5078"/>
                <a:gd name="connsiteY3" fmla="*/ 15109 h 15109"/>
                <a:gd name="connsiteX4" fmla="*/ 5079 w 5078"/>
                <a:gd name="connsiteY4" fmla="*/ 15109 h 1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8" h="15109">
                  <a:moveTo>
                    <a:pt x="4444" y="15109"/>
                  </a:moveTo>
                  <a:lnTo>
                    <a:pt x="4444" y="5460"/>
                  </a:lnTo>
                  <a:cubicBezTo>
                    <a:pt x="3744" y="3707"/>
                    <a:pt x="3744" y="1752"/>
                    <a:pt x="4444" y="0"/>
                  </a:cubicBezTo>
                  <a:lnTo>
                    <a:pt x="0" y="15109"/>
                  </a:lnTo>
                  <a:lnTo>
                    <a:pt x="5079" y="15109"/>
                  </a:lnTo>
                  <a:close/>
                </a:path>
              </a:pathLst>
            </a:custGeom>
            <a:solidFill>
              <a:srgbClr val="000000"/>
            </a:solidFill>
            <a:ln w="12690"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BEEA9A70-C858-4BA4-B419-F8A984A51654}"/>
                </a:ext>
              </a:extLst>
            </p:cNvPr>
            <p:cNvSpPr/>
            <p:nvPr/>
          </p:nvSpPr>
          <p:spPr>
            <a:xfrm>
              <a:off x="1007609" y="5785417"/>
              <a:ext cx="2285" cy="7237"/>
            </a:xfrm>
            <a:custGeom>
              <a:avLst/>
              <a:gdLst>
                <a:gd name="connsiteX0" fmla="*/ 2285 w 2285"/>
                <a:gd name="connsiteY0" fmla="*/ 7110 h 7237"/>
                <a:gd name="connsiteX1" fmla="*/ 2285 w 2285"/>
                <a:gd name="connsiteY1" fmla="*/ 762 h 7237"/>
                <a:gd name="connsiteX2" fmla="*/ 1524 w 2285"/>
                <a:gd name="connsiteY2" fmla="*/ 762 h 7237"/>
                <a:gd name="connsiteX3" fmla="*/ 0 w 2285"/>
                <a:gd name="connsiteY3" fmla="*/ 0 h 7237"/>
                <a:gd name="connsiteX4" fmla="*/ 0 w 2285"/>
                <a:gd name="connsiteY4" fmla="*/ 7237 h 7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237">
                  <a:moveTo>
                    <a:pt x="2285" y="7110"/>
                  </a:moveTo>
                  <a:lnTo>
                    <a:pt x="2285" y="762"/>
                  </a:lnTo>
                  <a:lnTo>
                    <a:pt x="1524" y="762"/>
                  </a:lnTo>
                  <a:cubicBezTo>
                    <a:pt x="980" y="585"/>
                    <a:pt x="467" y="329"/>
                    <a:pt x="0" y="0"/>
                  </a:cubicBezTo>
                  <a:lnTo>
                    <a:pt x="0" y="7237"/>
                  </a:lnTo>
                  <a:close/>
                </a:path>
              </a:pathLst>
            </a:custGeom>
            <a:solidFill>
              <a:srgbClr val="000000"/>
            </a:solidFill>
            <a:ln w="12690"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D7F23E3F-2750-485F-A04C-7A9D1467F50C}"/>
                </a:ext>
              </a:extLst>
            </p:cNvPr>
            <p:cNvSpPr/>
            <p:nvPr/>
          </p:nvSpPr>
          <p:spPr>
            <a:xfrm>
              <a:off x="3380113" y="6471549"/>
              <a:ext cx="2412" cy="393599"/>
            </a:xfrm>
            <a:custGeom>
              <a:avLst/>
              <a:gdLst>
                <a:gd name="connsiteX0" fmla="*/ 1270 w 2412"/>
                <a:gd name="connsiteY0" fmla="*/ 0 h 393599"/>
                <a:gd name="connsiteX1" fmla="*/ 0 w 2412"/>
                <a:gd name="connsiteY1" fmla="*/ 0 h 393599"/>
                <a:gd name="connsiteX2" fmla="*/ 0 w 2412"/>
                <a:gd name="connsiteY2" fmla="*/ 393599 h 393599"/>
                <a:gd name="connsiteX3" fmla="*/ 2412 w 2412"/>
                <a:gd name="connsiteY3" fmla="*/ 393599 h 393599"/>
                <a:gd name="connsiteX4" fmla="*/ 2412 w 2412"/>
                <a:gd name="connsiteY4" fmla="*/ 0 h 393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393599">
                  <a:moveTo>
                    <a:pt x="1270" y="0"/>
                  </a:moveTo>
                  <a:lnTo>
                    <a:pt x="0" y="0"/>
                  </a:lnTo>
                  <a:lnTo>
                    <a:pt x="0" y="393599"/>
                  </a:lnTo>
                  <a:lnTo>
                    <a:pt x="2412" y="393599"/>
                  </a:lnTo>
                  <a:lnTo>
                    <a:pt x="2412" y="0"/>
                  </a:lnTo>
                  <a:close/>
                </a:path>
              </a:pathLst>
            </a:custGeom>
            <a:solidFill>
              <a:srgbClr val="000000"/>
            </a:solidFill>
            <a:ln w="12690"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CE6EFF53-E3A7-43E7-9991-24C0CC89B930}"/>
                </a:ext>
              </a:extLst>
            </p:cNvPr>
            <p:cNvSpPr/>
            <p:nvPr/>
          </p:nvSpPr>
          <p:spPr>
            <a:xfrm>
              <a:off x="3313963" y="6459360"/>
              <a:ext cx="67926" cy="15015"/>
            </a:xfrm>
            <a:custGeom>
              <a:avLst/>
              <a:gdLst>
                <a:gd name="connsiteX0" fmla="*/ 60436 w 67926"/>
                <a:gd name="connsiteY0" fmla="*/ 9523 h 15015"/>
                <a:gd name="connsiteX1" fmla="*/ 67419 w 67926"/>
                <a:gd name="connsiteY1" fmla="*/ 2539 h 15015"/>
                <a:gd name="connsiteX2" fmla="*/ 67419 w 67926"/>
                <a:gd name="connsiteY2" fmla="*/ 2539 h 15015"/>
                <a:gd name="connsiteX3" fmla="*/ 4952 w 67926"/>
                <a:gd name="connsiteY3" fmla="*/ 0 h 15015"/>
                <a:gd name="connsiteX4" fmla="*/ 4952 w 67926"/>
                <a:gd name="connsiteY4" fmla="*/ 6602 h 15015"/>
                <a:gd name="connsiteX5" fmla="*/ 4952 w 67926"/>
                <a:gd name="connsiteY5" fmla="*/ 6602 h 15015"/>
                <a:gd name="connsiteX6" fmla="*/ 4952 w 67926"/>
                <a:gd name="connsiteY6" fmla="*/ 7999 h 15015"/>
                <a:gd name="connsiteX7" fmla="*/ 4952 w 67926"/>
                <a:gd name="connsiteY7" fmla="*/ 9142 h 15015"/>
                <a:gd name="connsiteX8" fmla="*/ 4190 w 67926"/>
                <a:gd name="connsiteY8" fmla="*/ 10411 h 15015"/>
                <a:gd name="connsiteX9" fmla="*/ 3555 w 67926"/>
                <a:gd name="connsiteY9" fmla="*/ 11300 h 15015"/>
                <a:gd name="connsiteX10" fmla="*/ 2158 w 67926"/>
                <a:gd name="connsiteY10" fmla="*/ 12189 h 15015"/>
                <a:gd name="connsiteX11" fmla="*/ 1396 w 67926"/>
                <a:gd name="connsiteY11" fmla="*/ 12189 h 15015"/>
                <a:gd name="connsiteX12" fmla="*/ 0 w 67926"/>
                <a:gd name="connsiteY12" fmla="*/ 12189 h 15015"/>
                <a:gd name="connsiteX13" fmla="*/ 0 w 67926"/>
                <a:gd name="connsiteY13" fmla="*/ 12189 h 15015"/>
                <a:gd name="connsiteX14" fmla="*/ 66658 w 67926"/>
                <a:gd name="connsiteY14" fmla="*/ 14982 h 15015"/>
                <a:gd name="connsiteX15" fmla="*/ 67927 w 67926"/>
                <a:gd name="connsiteY15" fmla="*/ 14982 h 15015"/>
                <a:gd name="connsiteX16" fmla="*/ 60436 w 67926"/>
                <a:gd name="connsiteY16" fmla="*/ 9523 h 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926" h="15015">
                  <a:moveTo>
                    <a:pt x="60436" y="9523"/>
                  </a:moveTo>
                  <a:cubicBezTo>
                    <a:pt x="60436" y="5663"/>
                    <a:pt x="63559" y="2539"/>
                    <a:pt x="67419" y="2539"/>
                  </a:cubicBezTo>
                  <a:lnTo>
                    <a:pt x="67419" y="2539"/>
                  </a:lnTo>
                  <a:lnTo>
                    <a:pt x="4952" y="0"/>
                  </a:lnTo>
                  <a:lnTo>
                    <a:pt x="4952" y="6602"/>
                  </a:lnTo>
                  <a:lnTo>
                    <a:pt x="4952" y="6602"/>
                  </a:lnTo>
                  <a:cubicBezTo>
                    <a:pt x="5015" y="7072"/>
                    <a:pt x="5015" y="7529"/>
                    <a:pt x="4952" y="7999"/>
                  </a:cubicBezTo>
                  <a:cubicBezTo>
                    <a:pt x="5002" y="8380"/>
                    <a:pt x="5002" y="8761"/>
                    <a:pt x="4952" y="9142"/>
                  </a:cubicBezTo>
                  <a:cubicBezTo>
                    <a:pt x="4748" y="9586"/>
                    <a:pt x="4495" y="10018"/>
                    <a:pt x="4190" y="10411"/>
                  </a:cubicBezTo>
                  <a:lnTo>
                    <a:pt x="3555" y="11300"/>
                  </a:lnTo>
                  <a:cubicBezTo>
                    <a:pt x="3136" y="11668"/>
                    <a:pt x="2666" y="11973"/>
                    <a:pt x="2158" y="12189"/>
                  </a:cubicBezTo>
                  <a:lnTo>
                    <a:pt x="1396" y="12189"/>
                  </a:lnTo>
                  <a:lnTo>
                    <a:pt x="0" y="12189"/>
                  </a:lnTo>
                  <a:lnTo>
                    <a:pt x="0" y="12189"/>
                  </a:lnTo>
                  <a:lnTo>
                    <a:pt x="66658" y="14982"/>
                  </a:lnTo>
                  <a:lnTo>
                    <a:pt x="67927" y="14982"/>
                  </a:lnTo>
                  <a:cubicBezTo>
                    <a:pt x="64410" y="15325"/>
                    <a:pt x="61185" y="12976"/>
                    <a:pt x="60436" y="9523"/>
                  </a:cubicBezTo>
                  <a:close/>
                </a:path>
              </a:pathLst>
            </a:custGeom>
            <a:solidFill>
              <a:srgbClr val="000000"/>
            </a:solidFill>
            <a:ln w="12690"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F4D4B3AC-FA56-412A-A34B-DDE61DCF03E5}"/>
                </a:ext>
              </a:extLst>
            </p:cNvPr>
            <p:cNvSpPr/>
            <p:nvPr/>
          </p:nvSpPr>
          <p:spPr>
            <a:xfrm>
              <a:off x="1441455" y="6464693"/>
              <a:ext cx="89638" cy="2412"/>
            </a:xfrm>
            <a:custGeom>
              <a:avLst/>
              <a:gdLst>
                <a:gd name="connsiteX0" fmla="*/ 0 w 89638"/>
                <a:gd name="connsiteY0" fmla="*/ 2412 h 2412"/>
                <a:gd name="connsiteX1" fmla="*/ 89639 w 89638"/>
                <a:gd name="connsiteY1" fmla="*/ 2412 h 2412"/>
                <a:gd name="connsiteX2" fmla="*/ 89639 w 89638"/>
                <a:gd name="connsiteY2" fmla="*/ 1270 h 2412"/>
                <a:gd name="connsiteX3" fmla="*/ 89639 w 89638"/>
                <a:gd name="connsiteY3" fmla="*/ 0 h 2412"/>
                <a:gd name="connsiteX4" fmla="*/ 762 w 89638"/>
                <a:gd name="connsiteY4" fmla="*/ 0 h 2412"/>
                <a:gd name="connsiteX5" fmla="*/ 762 w 89638"/>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8" h="2412">
                  <a:moveTo>
                    <a:pt x="0" y="2412"/>
                  </a:moveTo>
                  <a:lnTo>
                    <a:pt x="89639" y="2412"/>
                  </a:lnTo>
                  <a:cubicBezTo>
                    <a:pt x="89575" y="2032"/>
                    <a:pt x="89575" y="1651"/>
                    <a:pt x="89639" y="1270"/>
                  </a:cubicBezTo>
                  <a:lnTo>
                    <a:pt x="89639" y="0"/>
                  </a:lnTo>
                  <a:lnTo>
                    <a:pt x="762" y="0"/>
                  </a:lnTo>
                  <a:lnTo>
                    <a:pt x="762" y="2412"/>
                  </a:lnTo>
                  <a:close/>
                </a:path>
              </a:pathLst>
            </a:custGeom>
            <a:solidFill>
              <a:srgbClr val="000000"/>
            </a:solidFill>
            <a:ln w="12690"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F947879C-3465-4A9E-8DE3-4C6BCEC164F5}"/>
                </a:ext>
              </a:extLst>
            </p:cNvPr>
            <p:cNvSpPr/>
            <p:nvPr/>
          </p:nvSpPr>
          <p:spPr>
            <a:xfrm>
              <a:off x="481712" y="5597759"/>
              <a:ext cx="13906" cy="202767"/>
            </a:xfrm>
            <a:custGeom>
              <a:avLst/>
              <a:gdLst>
                <a:gd name="connsiteX0" fmla="*/ 2793 w 13906"/>
                <a:gd name="connsiteY0" fmla="*/ 181563 h 202767"/>
                <a:gd name="connsiteX1" fmla="*/ 5333 w 13906"/>
                <a:gd name="connsiteY1" fmla="*/ 185753 h 202767"/>
                <a:gd name="connsiteX2" fmla="*/ 5333 w 13906"/>
                <a:gd name="connsiteY2" fmla="*/ 185753 h 202767"/>
                <a:gd name="connsiteX3" fmla="*/ 12951 w 13906"/>
                <a:gd name="connsiteY3" fmla="*/ 198450 h 202767"/>
                <a:gd name="connsiteX4" fmla="*/ 13839 w 13906"/>
                <a:gd name="connsiteY4" fmla="*/ 202767 h 202767"/>
                <a:gd name="connsiteX5" fmla="*/ 13839 w 13906"/>
                <a:gd name="connsiteY5" fmla="*/ 202005 h 202767"/>
                <a:gd name="connsiteX6" fmla="*/ 13839 w 13906"/>
                <a:gd name="connsiteY6" fmla="*/ 6856 h 202767"/>
                <a:gd name="connsiteX7" fmla="*/ 6983 w 13906"/>
                <a:gd name="connsiteY7" fmla="*/ 0 h 202767"/>
                <a:gd name="connsiteX8" fmla="*/ 0 w 13906"/>
                <a:gd name="connsiteY8" fmla="*/ 6856 h 202767"/>
                <a:gd name="connsiteX9" fmla="*/ 0 w 13906"/>
                <a:gd name="connsiteY9" fmla="*/ 177374 h 202767"/>
                <a:gd name="connsiteX10" fmla="*/ 2666 w 13906"/>
                <a:gd name="connsiteY10" fmla="*/ 181563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06" h="202767">
                  <a:moveTo>
                    <a:pt x="2793" y="181563"/>
                  </a:moveTo>
                  <a:lnTo>
                    <a:pt x="5333" y="185753"/>
                  </a:lnTo>
                  <a:lnTo>
                    <a:pt x="5333" y="185753"/>
                  </a:lnTo>
                  <a:lnTo>
                    <a:pt x="12951" y="198450"/>
                  </a:lnTo>
                  <a:cubicBezTo>
                    <a:pt x="13743" y="199741"/>
                    <a:pt x="14057" y="201269"/>
                    <a:pt x="13839" y="202767"/>
                  </a:cubicBezTo>
                  <a:cubicBezTo>
                    <a:pt x="13839" y="202767"/>
                    <a:pt x="13839" y="202767"/>
                    <a:pt x="13839" y="202005"/>
                  </a:cubicBezTo>
                  <a:lnTo>
                    <a:pt x="13839" y="6856"/>
                  </a:lnTo>
                  <a:cubicBezTo>
                    <a:pt x="13839" y="3070"/>
                    <a:pt x="10769" y="0"/>
                    <a:pt x="6983" y="0"/>
                  </a:cubicBezTo>
                  <a:cubicBezTo>
                    <a:pt x="3175" y="0"/>
                    <a:pt x="69" y="3050"/>
                    <a:pt x="0" y="6856"/>
                  </a:cubicBezTo>
                  <a:lnTo>
                    <a:pt x="0" y="177374"/>
                  </a:lnTo>
                  <a:lnTo>
                    <a:pt x="2666" y="181563"/>
                  </a:lnTo>
                  <a:close/>
                </a:path>
              </a:pathLst>
            </a:custGeom>
            <a:solidFill>
              <a:srgbClr val="000000"/>
            </a:solidFill>
            <a:ln w="12690"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6C0616C7-6826-431D-A273-507FE244964D}"/>
                </a:ext>
              </a:extLst>
            </p:cNvPr>
            <p:cNvSpPr/>
            <p:nvPr/>
          </p:nvSpPr>
          <p:spPr>
            <a:xfrm>
              <a:off x="489965" y="5805351"/>
              <a:ext cx="2031" cy="108"/>
            </a:xfrm>
            <a:custGeom>
              <a:avLst/>
              <a:gdLst>
                <a:gd name="connsiteX0" fmla="*/ 2031 w 2031"/>
                <a:gd name="connsiteY0" fmla="*/ 0 h 108"/>
                <a:gd name="connsiteX1" fmla="*/ 0 w 2031"/>
                <a:gd name="connsiteY1" fmla="*/ 0 h 108"/>
                <a:gd name="connsiteX2" fmla="*/ 0 w 2031"/>
                <a:gd name="connsiteY2" fmla="*/ 0 h 108"/>
                <a:gd name="connsiteX3" fmla="*/ 2031 w 2031"/>
                <a:gd name="connsiteY3" fmla="*/ 0 h 108"/>
              </a:gdLst>
              <a:ahLst/>
              <a:cxnLst>
                <a:cxn ang="0">
                  <a:pos x="connsiteX0" y="connsiteY0"/>
                </a:cxn>
                <a:cxn ang="0">
                  <a:pos x="connsiteX1" y="connsiteY1"/>
                </a:cxn>
                <a:cxn ang="0">
                  <a:pos x="connsiteX2" y="connsiteY2"/>
                </a:cxn>
                <a:cxn ang="0">
                  <a:pos x="connsiteX3" y="connsiteY3"/>
                </a:cxn>
              </a:cxnLst>
              <a:rect l="l" t="t" r="r" b="b"/>
              <a:pathLst>
                <a:path w="2031" h="108">
                  <a:moveTo>
                    <a:pt x="2031" y="0"/>
                  </a:moveTo>
                  <a:cubicBezTo>
                    <a:pt x="1360" y="127"/>
                    <a:pt x="672" y="127"/>
                    <a:pt x="0" y="0"/>
                  </a:cubicBezTo>
                  <a:lnTo>
                    <a:pt x="0" y="0"/>
                  </a:lnTo>
                  <a:cubicBezTo>
                    <a:pt x="669" y="145"/>
                    <a:pt x="1362" y="145"/>
                    <a:pt x="2031" y="0"/>
                  </a:cubicBezTo>
                  <a:close/>
                </a:path>
              </a:pathLst>
            </a:custGeom>
            <a:solidFill>
              <a:srgbClr val="000000"/>
            </a:solidFill>
            <a:ln w="12690"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C10B60C3-6B87-4D7D-A17A-CC31A7507C3B}"/>
                </a:ext>
              </a:extLst>
            </p:cNvPr>
            <p:cNvSpPr/>
            <p:nvPr/>
          </p:nvSpPr>
          <p:spPr>
            <a:xfrm>
              <a:off x="485775" y="5805985"/>
              <a:ext cx="1777" cy="54"/>
            </a:xfrm>
            <a:custGeom>
              <a:avLst/>
              <a:gdLst>
                <a:gd name="connsiteX0" fmla="*/ 1778 w 1777"/>
                <a:gd name="connsiteY0" fmla="*/ 0 h 54"/>
                <a:gd name="connsiteX1" fmla="*/ 0 w 1777"/>
                <a:gd name="connsiteY1" fmla="*/ 0 h 54"/>
                <a:gd name="connsiteX2" fmla="*/ 1778 w 1777"/>
                <a:gd name="connsiteY2" fmla="*/ 0 h 54"/>
              </a:gdLst>
              <a:ahLst/>
              <a:cxnLst>
                <a:cxn ang="0">
                  <a:pos x="connsiteX0" y="connsiteY0"/>
                </a:cxn>
                <a:cxn ang="0">
                  <a:pos x="connsiteX1" y="connsiteY1"/>
                </a:cxn>
                <a:cxn ang="0">
                  <a:pos x="connsiteX2" y="connsiteY2"/>
                </a:cxn>
              </a:cxnLst>
              <a:rect l="l" t="t" r="r" b="b"/>
              <a:pathLst>
                <a:path w="1777" h="54">
                  <a:moveTo>
                    <a:pt x="1778" y="0"/>
                  </a:moveTo>
                  <a:cubicBezTo>
                    <a:pt x="1187" y="72"/>
                    <a:pt x="590" y="72"/>
                    <a:pt x="0" y="0"/>
                  </a:cubicBezTo>
                  <a:lnTo>
                    <a:pt x="1778" y="0"/>
                  </a:lnTo>
                  <a:close/>
                </a:path>
              </a:pathLst>
            </a:custGeom>
            <a:solidFill>
              <a:srgbClr val="000000"/>
            </a:solidFill>
            <a:ln w="12690"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C587524F-A6F8-4A72-90D6-6BA861CF4EB7}"/>
                </a:ext>
              </a:extLst>
            </p:cNvPr>
            <p:cNvSpPr/>
            <p:nvPr/>
          </p:nvSpPr>
          <p:spPr>
            <a:xfrm>
              <a:off x="1005070" y="5623914"/>
              <a:ext cx="2539" cy="151345"/>
            </a:xfrm>
            <a:custGeom>
              <a:avLst/>
              <a:gdLst>
                <a:gd name="connsiteX0" fmla="*/ 2539 w 2539"/>
                <a:gd name="connsiteY0" fmla="*/ 2158 h 151345"/>
                <a:gd name="connsiteX1" fmla="*/ 2539 w 2539"/>
                <a:gd name="connsiteY1" fmla="*/ 1270 h 151345"/>
                <a:gd name="connsiteX2" fmla="*/ 1270 w 2539"/>
                <a:gd name="connsiteY2" fmla="*/ 0 h 151345"/>
                <a:gd name="connsiteX3" fmla="*/ 0 w 2539"/>
                <a:gd name="connsiteY3" fmla="*/ 1270 h 151345"/>
                <a:gd name="connsiteX4" fmla="*/ 0 w 2539"/>
                <a:gd name="connsiteY4" fmla="*/ 151345 h 151345"/>
                <a:gd name="connsiteX5" fmla="*/ 2539 w 2539"/>
                <a:gd name="connsiteY5" fmla="*/ 143219 h 15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151345">
                  <a:moveTo>
                    <a:pt x="2539" y="2158"/>
                  </a:moveTo>
                  <a:lnTo>
                    <a:pt x="2539" y="1270"/>
                  </a:lnTo>
                  <a:cubicBezTo>
                    <a:pt x="2539" y="569"/>
                    <a:pt x="1970" y="0"/>
                    <a:pt x="1270" y="0"/>
                  </a:cubicBezTo>
                  <a:cubicBezTo>
                    <a:pt x="569" y="0"/>
                    <a:pt x="0" y="569"/>
                    <a:pt x="0" y="1270"/>
                  </a:cubicBezTo>
                  <a:lnTo>
                    <a:pt x="0" y="151345"/>
                  </a:lnTo>
                  <a:lnTo>
                    <a:pt x="2539" y="143219"/>
                  </a:lnTo>
                  <a:close/>
                </a:path>
              </a:pathLst>
            </a:custGeom>
            <a:solidFill>
              <a:srgbClr val="000000"/>
            </a:solidFill>
            <a:ln w="12690"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477A8DDC-06A0-4BC7-9851-85800494D1C5}"/>
                </a:ext>
              </a:extLst>
            </p:cNvPr>
            <p:cNvSpPr/>
            <p:nvPr/>
          </p:nvSpPr>
          <p:spPr>
            <a:xfrm>
              <a:off x="1005070" y="5782877"/>
              <a:ext cx="2539" cy="9649"/>
            </a:xfrm>
            <a:custGeom>
              <a:avLst/>
              <a:gdLst>
                <a:gd name="connsiteX0" fmla="*/ 2539 w 2539"/>
                <a:gd name="connsiteY0" fmla="*/ 9650 h 9649"/>
                <a:gd name="connsiteX1" fmla="*/ 2539 w 2539"/>
                <a:gd name="connsiteY1" fmla="*/ 2412 h 9649"/>
                <a:gd name="connsiteX2" fmla="*/ 0 w 2539"/>
                <a:gd name="connsiteY2" fmla="*/ 0 h 9649"/>
                <a:gd name="connsiteX3" fmla="*/ 0 w 2539"/>
                <a:gd name="connsiteY3" fmla="*/ 9650 h 9649"/>
                <a:gd name="connsiteX4" fmla="*/ 2539 w 2539"/>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9649">
                  <a:moveTo>
                    <a:pt x="2539" y="9650"/>
                  </a:moveTo>
                  <a:lnTo>
                    <a:pt x="2539" y="2412"/>
                  </a:lnTo>
                  <a:cubicBezTo>
                    <a:pt x="1520" y="1813"/>
                    <a:pt x="651" y="988"/>
                    <a:pt x="0" y="0"/>
                  </a:cubicBezTo>
                  <a:lnTo>
                    <a:pt x="0" y="9650"/>
                  </a:lnTo>
                  <a:lnTo>
                    <a:pt x="2539" y="9650"/>
                  </a:lnTo>
                  <a:close/>
                </a:path>
              </a:pathLst>
            </a:custGeom>
            <a:solidFill>
              <a:srgbClr val="000000"/>
            </a:solidFill>
            <a:ln w="12690"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F225BE5F-52EC-42B2-9537-C6E8E73AE6DD}"/>
                </a:ext>
              </a:extLst>
            </p:cNvPr>
            <p:cNvSpPr/>
            <p:nvPr/>
          </p:nvSpPr>
          <p:spPr>
            <a:xfrm>
              <a:off x="653752" y="5785924"/>
              <a:ext cx="31741" cy="2412"/>
            </a:xfrm>
            <a:custGeom>
              <a:avLst/>
              <a:gdLst>
                <a:gd name="connsiteX0" fmla="*/ 0 w 31741"/>
                <a:gd name="connsiteY0" fmla="*/ 1143 h 2412"/>
                <a:gd name="connsiteX1" fmla="*/ 0 w 31741"/>
                <a:gd name="connsiteY1" fmla="*/ 2412 h 2412"/>
                <a:gd name="connsiteX2" fmla="*/ 30472 w 31741"/>
                <a:gd name="connsiteY2" fmla="*/ 2412 h 2412"/>
                <a:gd name="connsiteX3" fmla="*/ 30472 w 31741"/>
                <a:gd name="connsiteY3" fmla="*/ 1143 h 2412"/>
                <a:gd name="connsiteX4" fmla="*/ 31742 w 31741"/>
                <a:gd name="connsiteY4" fmla="*/ 0 h 2412"/>
                <a:gd name="connsiteX5" fmla="*/ 0 w 31741"/>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41" h="2412">
                  <a:moveTo>
                    <a:pt x="0" y="1143"/>
                  </a:moveTo>
                  <a:lnTo>
                    <a:pt x="0" y="2412"/>
                  </a:lnTo>
                  <a:lnTo>
                    <a:pt x="30472" y="2412"/>
                  </a:lnTo>
                  <a:lnTo>
                    <a:pt x="30472" y="1143"/>
                  </a:lnTo>
                  <a:cubicBezTo>
                    <a:pt x="30538" y="491"/>
                    <a:pt x="31087" y="-4"/>
                    <a:pt x="31742" y="0"/>
                  </a:cubicBezTo>
                  <a:lnTo>
                    <a:pt x="0" y="0"/>
                  </a:lnTo>
                  <a:close/>
                </a:path>
              </a:pathLst>
            </a:custGeom>
            <a:solidFill>
              <a:srgbClr val="000000"/>
            </a:solidFill>
            <a:ln w="12690"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476FF381-7A44-4A00-B004-39504D7452BE}"/>
                </a:ext>
              </a:extLst>
            </p:cNvPr>
            <p:cNvSpPr/>
            <p:nvPr/>
          </p:nvSpPr>
          <p:spPr>
            <a:xfrm>
              <a:off x="639913" y="5787067"/>
              <a:ext cx="13840" cy="292025"/>
            </a:xfrm>
            <a:custGeom>
              <a:avLst/>
              <a:gdLst>
                <a:gd name="connsiteX0" fmla="*/ 13839 w 13840"/>
                <a:gd name="connsiteY0" fmla="*/ 0 h 292025"/>
                <a:gd name="connsiteX1" fmla="*/ 7111 w 13840"/>
                <a:gd name="connsiteY1" fmla="*/ 6982 h 292025"/>
                <a:gd name="connsiteX2" fmla="*/ 6983 w 13840"/>
                <a:gd name="connsiteY2" fmla="*/ 6983 h 292025"/>
                <a:gd name="connsiteX3" fmla="*/ 0 w 13840"/>
                <a:gd name="connsiteY3" fmla="*/ 0 h 292025"/>
                <a:gd name="connsiteX4" fmla="*/ 0 w 13840"/>
                <a:gd name="connsiteY4" fmla="*/ 292025 h 292025"/>
                <a:gd name="connsiteX5" fmla="*/ 13839 w 13840"/>
                <a:gd name="connsiteY5" fmla="*/ 292025 h 292025"/>
                <a:gd name="connsiteX6" fmla="*/ 13839 w 13840"/>
                <a:gd name="connsiteY6" fmla="*/ 0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292025">
                  <a:moveTo>
                    <a:pt x="13839" y="0"/>
                  </a:moveTo>
                  <a:cubicBezTo>
                    <a:pt x="13909" y="3786"/>
                    <a:pt x="10898" y="6912"/>
                    <a:pt x="7111" y="6982"/>
                  </a:cubicBezTo>
                  <a:cubicBezTo>
                    <a:pt x="7068" y="6983"/>
                    <a:pt x="7026" y="6983"/>
                    <a:pt x="6983" y="6983"/>
                  </a:cubicBezTo>
                  <a:cubicBezTo>
                    <a:pt x="3126" y="6983"/>
                    <a:pt x="0" y="3856"/>
                    <a:pt x="0" y="0"/>
                  </a:cubicBezTo>
                  <a:lnTo>
                    <a:pt x="0" y="292025"/>
                  </a:lnTo>
                  <a:lnTo>
                    <a:pt x="13839" y="292025"/>
                  </a:lnTo>
                  <a:lnTo>
                    <a:pt x="13839" y="0"/>
                  </a:lnTo>
                  <a:close/>
                </a:path>
              </a:pathLst>
            </a:custGeom>
            <a:solidFill>
              <a:schemeClr val="accent2"/>
            </a:solidFill>
            <a:ln w="12690"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5AADF5D3-319C-4FAB-9D9E-7ED08CAE76D1}"/>
                </a:ext>
              </a:extLst>
            </p:cNvPr>
            <p:cNvSpPr/>
            <p:nvPr/>
          </p:nvSpPr>
          <p:spPr>
            <a:xfrm>
              <a:off x="3275746" y="6465709"/>
              <a:ext cx="6602" cy="1142"/>
            </a:xfrm>
            <a:custGeom>
              <a:avLst/>
              <a:gdLst>
                <a:gd name="connsiteX0" fmla="*/ 0 w 6602"/>
                <a:gd name="connsiteY0" fmla="*/ 254 h 1142"/>
                <a:gd name="connsiteX1" fmla="*/ 0 w 6602"/>
                <a:gd name="connsiteY1" fmla="*/ 1143 h 1142"/>
                <a:gd name="connsiteX2" fmla="*/ 0 w 6602"/>
                <a:gd name="connsiteY2" fmla="*/ 1143 h 1142"/>
                <a:gd name="connsiteX3" fmla="*/ 6602 w 6602"/>
                <a:gd name="connsiteY3" fmla="*/ 1143 h 1142"/>
                <a:gd name="connsiteX4" fmla="*/ 6602 w 6602"/>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2" h="1142">
                  <a:moveTo>
                    <a:pt x="0" y="254"/>
                  </a:moveTo>
                  <a:cubicBezTo>
                    <a:pt x="0" y="254"/>
                    <a:pt x="0" y="889"/>
                    <a:pt x="0" y="1143"/>
                  </a:cubicBezTo>
                  <a:lnTo>
                    <a:pt x="0" y="1143"/>
                  </a:lnTo>
                  <a:lnTo>
                    <a:pt x="6602" y="1143"/>
                  </a:lnTo>
                  <a:cubicBezTo>
                    <a:pt x="6539" y="762"/>
                    <a:pt x="6539" y="381"/>
                    <a:pt x="6602" y="0"/>
                  </a:cubicBezTo>
                  <a:close/>
                </a:path>
              </a:pathLst>
            </a:custGeom>
            <a:solidFill>
              <a:srgbClr val="000000"/>
            </a:solidFill>
            <a:ln w="12690" cap="flat">
              <a:no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90A55070-2965-4681-9380-31EBB229AB9E}"/>
                </a:ext>
              </a:extLst>
            </p:cNvPr>
            <p:cNvSpPr/>
            <p:nvPr/>
          </p:nvSpPr>
          <p:spPr>
            <a:xfrm>
              <a:off x="2579206" y="6464693"/>
              <a:ext cx="71863" cy="2412"/>
            </a:xfrm>
            <a:custGeom>
              <a:avLst/>
              <a:gdLst>
                <a:gd name="connsiteX0" fmla="*/ 43042 w 71863"/>
                <a:gd name="connsiteY0" fmla="*/ 0 h 2412"/>
                <a:gd name="connsiteX1" fmla="*/ 23616 w 71863"/>
                <a:gd name="connsiteY1" fmla="*/ 0 h 2412"/>
                <a:gd name="connsiteX2" fmla="*/ 22613 w 71863"/>
                <a:gd name="connsiteY2" fmla="*/ 1257 h 2412"/>
                <a:gd name="connsiteX3" fmla="*/ 22473 w 71863"/>
                <a:gd name="connsiteY3" fmla="*/ 1270 h 2412"/>
                <a:gd name="connsiteX4" fmla="*/ 762 w 71863"/>
                <a:gd name="connsiteY4" fmla="*/ 1270 h 2412"/>
                <a:gd name="connsiteX5" fmla="*/ 0 w 71863"/>
                <a:gd name="connsiteY5" fmla="*/ 2412 h 2412"/>
                <a:gd name="connsiteX6" fmla="*/ 71863 w 71863"/>
                <a:gd name="connsiteY6" fmla="*/ 2412 h 2412"/>
                <a:gd name="connsiteX7" fmla="*/ 71863 w 71863"/>
                <a:gd name="connsiteY7"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63" h="2412">
                  <a:moveTo>
                    <a:pt x="43042" y="0"/>
                  </a:moveTo>
                  <a:lnTo>
                    <a:pt x="23616" y="0"/>
                  </a:lnTo>
                  <a:cubicBezTo>
                    <a:pt x="23692" y="622"/>
                    <a:pt x="23235" y="1193"/>
                    <a:pt x="22613" y="1257"/>
                  </a:cubicBezTo>
                  <a:cubicBezTo>
                    <a:pt x="22562" y="1270"/>
                    <a:pt x="22524" y="1270"/>
                    <a:pt x="22473" y="1270"/>
                  </a:cubicBezTo>
                  <a:lnTo>
                    <a:pt x="762" y="1270"/>
                  </a:lnTo>
                  <a:lnTo>
                    <a:pt x="0" y="2412"/>
                  </a:lnTo>
                  <a:lnTo>
                    <a:pt x="71863" y="2412"/>
                  </a:lnTo>
                  <a:lnTo>
                    <a:pt x="71863" y="0"/>
                  </a:lnTo>
                  <a:close/>
                </a:path>
              </a:pathLst>
            </a:custGeom>
            <a:solidFill>
              <a:srgbClr val="000000"/>
            </a:solidFill>
            <a:ln w="12690" cap="flat">
              <a:no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E425EC90-C673-4391-B483-9046C699FB05}"/>
                </a:ext>
              </a:extLst>
            </p:cNvPr>
            <p:cNvSpPr/>
            <p:nvPr/>
          </p:nvSpPr>
          <p:spPr>
            <a:xfrm>
              <a:off x="1013323" y="5804081"/>
              <a:ext cx="2412" cy="588621"/>
            </a:xfrm>
            <a:custGeom>
              <a:avLst/>
              <a:gdLst>
                <a:gd name="connsiteX0" fmla="*/ 381 w 2412"/>
                <a:gd name="connsiteY0" fmla="*/ 588621 h 588621"/>
                <a:gd name="connsiteX1" fmla="*/ 2412 w 2412"/>
                <a:gd name="connsiteY1" fmla="*/ 588621 h 588621"/>
                <a:gd name="connsiteX2" fmla="*/ 2412 w 2412"/>
                <a:gd name="connsiteY2" fmla="*/ 0 h 588621"/>
                <a:gd name="connsiteX3" fmla="*/ 0 w 2412"/>
                <a:gd name="connsiteY3" fmla="*/ 1778 h 588621"/>
              </a:gdLst>
              <a:ahLst/>
              <a:cxnLst>
                <a:cxn ang="0">
                  <a:pos x="connsiteX0" y="connsiteY0"/>
                </a:cxn>
                <a:cxn ang="0">
                  <a:pos x="connsiteX1" y="connsiteY1"/>
                </a:cxn>
                <a:cxn ang="0">
                  <a:pos x="connsiteX2" y="connsiteY2"/>
                </a:cxn>
                <a:cxn ang="0">
                  <a:pos x="connsiteX3" y="connsiteY3"/>
                </a:cxn>
              </a:cxnLst>
              <a:rect l="l" t="t" r="r" b="b"/>
              <a:pathLst>
                <a:path w="2412" h="588621">
                  <a:moveTo>
                    <a:pt x="381" y="588621"/>
                  </a:moveTo>
                  <a:lnTo>
                    <a:pt x="2412" y="588621"/>
                  </a:lnTo>
                  <a:lnTo>
                    <a:pt x="2412" y="0"/>
                  </a:lnTo>
                  <a:cubicBezTo>
                    <a:pt x="1755" y="769"/>
                    <a:pt x="929" y="1378"/>
                    <a:pt x="0" y="1778"/>
                  </a:cubicBezTo>
                  <a:close/>
                </a:path>
              </a:pathLst>
            </a:custGeom>
            <a:solidFill>
              <a:srgbClr val="000000"/>
            </a:solidFill>
            <a:ln w="12690" cap="flat">
              <a:no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4FA3DC61-AAD7-4F70-91FF-515998954B91}"/>
                </a:ext>
              </a:extLst>
            </p:cNvPr>
            <p:cNvSpPr/>
            <p:nvPr/>
          </p:nvSpPr>
          <p:spPr>
            <a:xfrm>
              <a:off x="1013323" y="5784020"/>
              <a:ext cx="2412" cy="10792"/>
            </a:xfrm>
            <a:custGeom>
              <a:avLst/>
              <a:gdLst>
                <a:gd name="connsiteX0" fmla="*/ 2412 w 2412"/>
                <a:gd name="connsiteY0" fmla="*/ 10792 h 10792"/>
                <a:gd name="connsiteX1" fmla="*/ 2412 w 2412"/>
                <a:gd name="connsiteY1" fmla="*/ 0 h 10792"/>
                <a:gd name="connsiteX2" fmla="*/ 0 w 2412"/>
                <a:gd name="connsiteY2" fmla="*/ 1778 h 10792"/>
                <a:gd name="connsiteX3" fmla="*/ 0 w 2412"/>
                <a:gd name="connsiteY3" fmla="*/ 9015 h 10792"/>
                <a:gd name="connsiteX4" fmla="*/ 2412 w 2412"/>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0792">
                  <a:moveTo>
                    <a:pt x="2412" y="10792"/>
                  </a:moveTo>
                  <a:lnTo>
                    <a:pt x="2412" y="0"/>
                  </a:lnTo>
                  <a:cubicBezTo>
                    <a:pt x="1729" y="741"/>
                    <a:pt x="910" y="1345"/>
                    <a:pt x="0" y="1778"/>
                  </a:cubicBezTo>
                  <a:lnTo>
                    <a:pt x="0" y="9015"/>
                  </a:lnTo>
                  <a:cubicBezTo>
                    <a:pt x="929" y="9415"/>
                    <a:pt x="1755" y="10023"/>
                    <a:pt x="2412" y="10792"/>
                  </a:cubicBezTo>
                  <a:close/>
                </a:path>
              </a:pathLst>
            </a:custGeom>
            <a:solidFill>
              <a:srgbClr val="000000"/>
            </a:solidFill>
            <a:ln w="12690"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A6BE5E5F-931C-44A6-B597-3EA610326C4A}"/>
                </a:ext>
              </a:extLst>
            </p:cNvPr>
            <p:cNvSpPr/>
            <p:nvPr/>
          </p:nvSpPr>
          <p:spPr>
            <a:xfrm>
              <a:off x="1009894" y="5785925"/>
              <a:ext cx="2412" cy="6602"/>
            </a:xfrm>
            <a:custGeom>
              <a:avLst/>
              <a:gdLst>
                <a:gd name="connsiteX0" fmla="*/ 1143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348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143" y="6602"/>
                  </a:moveTo>
                  <a:lnTo>
                    <a:pt x="2412" y="6602"/>
                  </a:lnTo>
                  <a:lnTo>
                    <a:pt x="2412" y="0"/>
                  </a:lnTo>
                  <a:lnTo>
                    <a:pt x="0" y="0"/>
                  </a:lnTo>
                  <a:lnTo>
                    <a:pt x="0" y="6348"/>
                  </a:lnTo>
                  <a:close/>
                </a:path>
              </a:pathLst>
            </a:custGeom>
            <a:solidFill>
              <a:srgbClr val="000000"/>
            </a:solidFill>
            <a:ln w="12690"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7BDC4ECF-FC2D-4C96-A187-9DA133F9F180}"/>
                </a:ext>
              </a:extLst>
            </p:cNvPr>
            <p:cNvSpPr/>
            <p:nvPr/>
          </p:nvSpPr>
          <p:spPr>
            <a:xfrm>
              <a:off x="1010783" y="5760531"/>
              <a:ext cx="1142" cy="761"/>
            </a:xfrm>
            <a:custGeom>
              <a:avLst/>
              <a:gdLst>
                <a:gd name="connsiteX0" fmla="*/ 762 w 1142"/>
                <a:gd name="connsiteY0" fmla="*/ 127 h 761"/>
                <a:gd name="connsiteX1" fmla="*/ 0 w 1142"/>
                <a:gd name="connsiteY1" fmla="*/ 762 h 761"/>
                <a:gd name="connsiteX2" fmla="*/ 1143 w 1142"/>
                <a:gd name="connsiteY2" fmla="*/ 0 h 761"/>
              </a:gdLst>
              <a:ahLst/>
              <a:cxnLst>
                <a:cxn ang="0">
                  <a:pos x="connsiteX0" y="connsiteY0"/>
                </a:cxn>
                <a:cxn ang="0">
                  <a:pos x="connsiteX1" y="connsiteY1"/>
                </a:cxn>
                <a:cxn ang="0">
                  <a:pos x="connsiteX2" y="connsiteY2"/>
                </a:cxn>
              </a:cxnLst>
              <a:rect l="l" t="t" r="r" b="b"/>
              <a:pathLst>
                <a:path w="1142" h="761">
                  <a:moveTo>
                    <a:pt x="762" y="127"/>
                  </a:moveTo>
                  <a:lnTo>
                    <a:pt x="0" y="762"/>
                  </a:lnTo>
                  <a:cubicBezTo>
                    <a:pt x="350" y="465"/>
                    <a:pt x="734" y="209"/>
                    <a:pt x="1143" y="0"/>
                  </a:cubicBezTo>
                  <a:close/>
                </a:path>
              </a:pathLst>
            </a:custGeom>
            <a:solidFill>
              <a:srgbClr val="000000"/>
            </a:solidFill>
            <a:ln w="12690"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E621E085-98C3-4A32-8A87-873F19E752D0}"/>
                </a:ext>
              </a:extLst>
            </p:cNvPr>
            <p:cNvSpPr/>
            <p:nvPr/>
          </p:nvSpPr>
          <p:spPr>
            <a:xfrm>
              <a:off x="1004692" y="5764594"/>
              <a:ext cx="15360" cy="21457"/>
            </a:xfrm>
            <a:custGeom>
              <a:avLst/>
              <a:gdLst>
                <a:gd name="connsiteX0" fmla="*/ 378 w 15360"/>
                <a:gd name="connsiteY0" fmla="*/ 18283 h 21457"/>
                <a:gd name="connsiteX1" fmla="*/ 2917 w 15360"/>
                <a:gd name="connsiteY1" fmla="*/ 20696 h 21457"/>
                <a:gd name="connsiteX2" fmla="*/ 4441 w 15360"/>
                <a:gd name="connsiteY2" fmla="*/ 21457 h 21457"/>
                <a:gd name="connsiteX3" fmla="*/ 7615 w 15360"/>
                <a:gd name="connsiteY3" fmla="*/ 21457 h 21457"/>
                <a:gd name="connsiteX4" fmla="*/ 9012 w 15360"/>
                <a:gd name="connsiteY4" fmla="*/ 21457 h 21457"/>
                <a:gd name="connsiteX5" fmla="*/ 11424 w 15360"/>
                <a:gd name="connsiteY5" fmla="*/ 19680 h 21457"/>
                <a:gd name="connsiteX6" fmla="*/ 12948 w 15360"/>
                <a:gd name="connsiteY6" fmla="*/ 17014 h 21457"/>
                <a:gd name="connsiteX7" fmla="*/ 15360 w 15360"/>
                <a:gd name="connsiteY7" fmla="*/ 9269 h 21457"/>
                <a:gd name="connsiteX8" fmla="*/ 10154 w 15360"/>
                <a:gd name="connsiteY8" fmla="*/ 9269 h 21457"/>
                <a:gd name="connsiteX9" fmla="*/ 3298 w 15360"/>
                <a:gd name="connsiteY9" fmla="*/ 2412 h 21457"/>
                <a:gd name="connsiteX10" fmla="*/ 3298 w 15360"/>
                <a:gd name="connsiteY10" fmla="*/ 0 h 21457"/>
                <a:gd name="connsiteX11" fmla="*/ 3298 w 15360"/>
                <a:gd name="connsiteY11" fmla="*/ 0 h 21457"/>
                <a:gd name="connsiteX12" fmla="*/ 3298 w 15360"/>
                <a:gd name="connsiteY12" fmla="*/ 2412 h 21457"/>
                <a:gd name="connsiteX13" fmla="*/ 759 w 15360"/>
                <a:gd name="connsiteY13" fmla="*/ 10538 h 21457"/>
                <a:gd name="connsiteX14" fmla="*/ 759 w 15360"/>
                <a:gd name="connsiteY14" fmla="*/ 12697 h 21457"/>
                <a:gd name="connsiteX15" fmla="*/ 759 w 15360"/>
                <a:gd name="connsiteY15" fmla="*/ 12697 h 21457"/>
                <a:gd name="connsiteX16" fmla="*/ 378 w 15360"/>
                <a:gd name="connsiteY16" fmla="*/ 18283 h 2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0" h="21457">
                  <a:moveTo>
                    <a:pt x="378" y="18283"/>
                  </a:moveTo>
                  <a:cubicBezTo>
                    <a:pt x="1029" y="19271"/>
                    <a:pt x="1898" y="20096"/>
                    <a:pt x="2917" y="20696"/>
                  </a:cubicBezTo>
                  <a:cubicBezTo>
                    <a:pt x="3385" y="21025"/>
                    <a:pt x="3898" y="21281"/>
                    <a:pt x="4441" y="21457"/>
                  </a:cubicBezTo>
                  <a:lnTo>
                    <a:pt x="7615" y="21457"/>
                  </a:lnTo>
                  <a:lnTo>
                    <a:pt x="9012" y="21457"/>
                  </a:lnTo>
                  <a:cubicBezTo>
                    <a:pt x="9922" y="21025"/>
                    <a:pt x="10741" y="20421"/>
                    <a:pt x="11424" y="19680"/>
                  </a:cubicBezTo>
                  <a:cubicBezTo>
                    <a:pt x="12152" y="18936"/>
                    <a:pt x="12676" y="18018"/>
                    <a:pt x="12948" y="17014"/>
                  </a:cubicBezTo>
                  <a:lnTo>
                    <a:pt x="15360" y="9269"/>
                  </a:lnTo>
                  <a:lnTo>
                    <a:pt x="10154" y="9269"/>
                  </a:lnTo>
                  <a:cubicBezTo>
                    <a:pt x="6368" y="9269"/>
                    <a:pt x="3298" y="6199"/>
                    <a:pt x="3298" y="2412"/>
                  </a:cubicBezTo>
                  <a:cubicBezTo>
                    <a:pt x="3166" y="1614"/>
                    <a:pt x="3166" y="799"/>
                    <a:pt x="3298" y="0"/>
                  </a:cubicBezTo>
                  <a:lnTo>
                    <a:pt x="3298" y="0"/>
                  </a:lnTo>
                  <a:lnTo>
                    <a:pt x="3298" y="2412"/>
                  </a:lnTo>
                  <a:lnTo>
                    <a:pt x="759" y="10538"/>
                  </a:lnTo>
                  <a:lnTo>
                    <a:pt x="759" y="12697"/>
                  </a:lnTo>
                  <a:lnTo>
                    <a:pt x="759" y="12697"/>
                  </a:lnTo>
                  <a:cubicBezTo>
                    <a:pt x="-98" y="14436"/>
                    <a:pt x="-235" y="16444"/>
                    <a:pt x="378" y="18283"/>
                  </a:cubicBezTo>
                  <a:close/>
                </a:path>
              </a:pathLst>
            </a:custGeom>
            <a:solidFill>
              <a:srgbClr val="000000"/>
            </a:solidFill>
            <a:ln w="12690"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2227656B-5421-495F-80FB-F63A4D5B0174}"/>
                </a:ext>
              </a:extLst>
            </p:cNvPr>
            <p:cNvSpPr/>
            <p:nvPr/>
          </p:nvSpPr>
          <p:spPr>
            <a:xfrm>
              <a:off x="1441455" y="6784524"/>
              <a:ext cx="124681" cy="1777"/>
            </a:xfrm>
            <a:custGeom>
              <a:avLst/>
              <a:gdLst>
                <a:gd name="connsiteX0" fmla="*/ 0 w 124681"/>
                <a:gd name="connsiteY0" fmla="*/ 0 h 1777"/>
                <a:gd name="connsiteX1" fmla="*/ 0 w 124681"/>
                <a:gd name="connsiteY1" fmla="*/ 889 h 1777"/>
                <a:gd name="connsiteX2" fmla="*/ 0 w 124681"/>
                <a:gd name="connsiteY2" fmla="*/ 1778 h 1777"/>
                <a:gd name="connsiteX3" fmla="*/ 124682 w 124681"/>
                <a:gd name="connsiteY3" fmla="*/ 1778 h 1777"/>
                <a:gd name="connsiteX4" fmla="*/ 120365 w 124681"/>
                <a:gd name="connsiteY4" fmla="*/ 0 h 1777"/>
                <a:gd name="connsiteX5" fmla="*/ 0 w 124681"/>
                <a:gd name="connsiteY5" fmla="*/ 0 h 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81" h="1777">
                  <a:moveTo>
                    <a:pt x="0" y="0"/>
                  </a:moveTo>
                  <a:lnTo>
                    <a:pt x="0" y="889"/>
                  </a:lnTo>
                  <a:lnTo>
                    <a:pt x="0" y="1778"/>
                  </a:lnTo>
                  <a:lnTo>
                    <a:pt x="124682" y="1778"/>
                  </a:lnTo>
                  <a:lnTo>
                    <a:pt x="120365" y="0"/>
                  </a:lnTo>
                  <a:lnTo>
                    <a:pt x="0" y="0"/>
                  </a:lnTo>
                  <a:close/>
                </a:path>
              </a:pathLst>
            </a:custGeom>
            <a:solidFill>
              <a:srgbClr val="000000"/>
            </a:solidFill>
            <a:ln w="12690" cap="flat">
              <a:no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AF5F17B3-CC8E-4D78-B52A-6D83308021CF}"/>
                </a:ext>
              </a:extLst>
            </p:cNvPr>
            <p:cNvSpPr/>
            <p:nvPr/>
          </p:nvSpPr>
          <p:spPr>
            <a:xfrm>
              <a:off x="1441455" y="6766368"/>
              <a:ext cx="98145" cy="2539"/>
            </a:xfrm>
            <a:custGeom>
              <a:avLst/>
              <a:gdLst>
                <a:gd name="connsiteX0" fmla="*/ 0 w 98145"/>
                <a:gd name="connsiteY0" fmla="*/ 1270 h 2539"/>
                <a:gd name="connsiteX1" fmla="*/ 0 w 98145"/>
                <a:gd name="connsiteY1" fmla="*/ 2539 h 2539"/>
                <a:gd name="connsiteX2" fmla="*/ 98145 w 98145"/>
                <a:gd name="connsiteY2" fmla="*/ 2539 h 2539"/>
                <a:gd name="connsiteX3" fmla="*/ 98145 w 98145"/>
                <a:gd name="connsiteY3" fmla="*/ 0 h 2539"/>
                <a:gd name="connsiteX4" fmla="*/ 127 w 98145"/>
                <a:gd name="connsiteY4" fmla="*/ 0 h 2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45" h="2539">
                  <a:moveTo>
                    <a:pt x="0" y="1270"/>
                  </a:moveTo>
                  <a:lnTo>
                    <a:pt x="0" y="2539"/>
                  </a:lnTo>
                  <a:lnTo>
                    <a:pt x="98145" y="2539"/>
                  </a:lnTo>
                  <a:cubicBezTo>
                    <a:pt x="97955" y="1701"/>
                    <a:pt x="97955" y="838"/>
                    <a:pt x="98145" y="0"/>
                  </a:cubicBezTo>
                  <a:lnTo>
                    <a:pt x="127" y="0"/>
                  </a:lnTo>
                  <a:close/>
                </a:path>
              </a:pathLst>
            </a:custGeom>
            <a:solidFill>
              <a:srgbClr val="000000"/>
            </a:solidFill>
            <a:ln w="12690"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458FE27C-3622-44E0-BE51-5C8855E81A5E}"/>
                </a:ext>
              </a:extLst>
            </p:cNvPr>
            <p:cNvSpPr/>
            <p:nvPr/>
          </p:nvSpPr>
          <p:spPr>
            <a:xfrm>
              <a:off x="1536299" y="6472565"/>
              <a:ext cx="2412" cy="296342"/>
            </a:xfrm>
            <a:custGeom>
              <a:avLst/>
              <a:gdLst>
                <a:gd name="connsiteX0" fmla="*/ 0 w 2412"/>
                <a:gd name="connsiteY0" fmla="*/ 0 h 296342"/>
                <a:gd name="connsiteX1" fmla="*/ 0 w 2412"/>
                <a:gd name="connsiteY1" fmla="*/ 295073 h 296342"/>
                <a:gd name="connsiteX2" fmla="*/ 1143 w 2412"/>
                <a:gd name="connsiteY2" fmla="*/ 296342 h 296342"/>
                <a:gd name="connsiteX3" fmla="*/ 2412 w 2412"/>
                <a:gd name="connsiteY3" fmla="*/ 295073 h 296342"/>
                <a:gd name="connsiteX4" fmla="*/ 2412 w 2412"/>
                <a:gd name="connsiteY4" fmla="*/ 0 h 296342"/>
                <a:gd name="connsiteX5" fmla="*/ 1143 w 2412"/>
                <a:gd name="connsiteY5" fmla="*/ 0 h 2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342">
                  <a:moveTo>
                    <a:pt x="0" y="0"/>
                  </a:moveTo>
                  <a:lnTo>
                    <a:pt x="0" y="295073"/>
                  </a:lnTo>
                  <a:cubicBezTo>
                    <a:pt x="0" y="295733"/>
                    <a:pt x="495" y="296279"/>
                    <a:pt x="1143" y="296342"/>
                  </a:cubicBezTo>
                  <a:cubicBezTo>
                    <a:pt x="1841" y="296342"/>
                    <a:pt x="2412" y="295771"/>
                    <a:pt x="2412" y="295073"/>
                  </a:cubicBezTo>
                  <a:lnTo>
                    <a:pt x="2412" y="0"/>
                  </a:lnTo>
                  <a:lnTo>
                    <a:pt x="1143" y="0"/>
                  </a:lnTo>
                  <a:close/>
                </a:path>
              </a:pathLst>
            </a:custGeom>
            <a:solidFill>
              <a:srgbClr val="000000"/>
            </a:solidFill>
            <a:ln w="12690" cap="flat">
              <a:no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4C45D52D-0F40-4DA0-A5A0-E2639F36AB5F}"/>
                </a:ext>
              </a:extLst>
            </p:cNvPr>
            <p:cNvSpPr/>
            <p:nvPr/>
          </p:nvSpPr>
          <p:spPr>
            <a:xfrm>
              <a:off x="0" y="6202378"/>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5250C375-5D65-44DD-A1F1-E31B1479F18B}"/>
                </a:ext>
              </a:extLst>
            </p:cNvPr>
            <p:cNvSpPr/>
            <p:nvPr/>
          </p:nvSpPr>
          <p:spPr>
            <a:xfrm>
              <a:off x="684351" y="5804589"/>
              <a:ext cx="2539" cy="275011"/>
            </a:xfrm>
            <a:custGeom>
              <a:avLst/>
              <a:gdLst>
                <a:gd name="connsiteX0" fmla="*/ 1270 w 2539"/>
                <a:gd name="connsiteY0" fmla="*/ 275012 h 275011"/>
                <a:gd name="connsiteX1" fmla="*/ 2539 w 2539"/>
                <a:gd name="connsiteY1" fmla="*/ 275012 h 275011"/>
                <a:gd name="connsiteX2" fmla="*/ 2539 w 2539"/>
                <a:gd name="connsiteY2" fmla="*/ 1270 h 275011"/>
                <a:gd name="connsiteX3" fmla="*/ 0 w 2539"/>
                <a:gd name="connsiteY3" fmla="*/ 0 h 275011"/>
                <a:gd name="connsiteX4" fmla="*/ 0 w 2539"/>
                <a:gd name="connsiteY4" fmla="*/ 275012 h 275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275011">
                  <a:moveTo>
                    <a:pt x="1270" y="275012"/>
                  </a:moveTo>
                  <a:lnTo>
                    <a:pt x="2539" y="275012"/>
                  </a:lnTo>
                  <a:lnTo>
                    <a:pt x="2539" y="1270"/>
                  </a:lnTo>
                  <a:cubicBezTo>
                    <a:pt x="1614" y="1028"/>
                    <a:pt x="749" y="596"/>
                    <a:pt x="0" y="0"/>
                  </a:cubicBezTo>
                  <a:lnTo>
                    <a:pt x="0" y="275012"/>
                  </a:lnTo>
                  <a:close/>
                </a:path>
              </a:pathLst>
            </a:custGeom>
            <a:solidFill>
              <a:srgbClr val="000000"/>
            </a:solidFill>
            <a:ln w="12690"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DF3771B7-664A-4E7E-BDBD-EAC31B06E7DF}"/>
                </a:ext>
              </a:extLst>
            </p:cNvPr>
            <p:cNvSpPr/>
            <p:nvPr/>
          </p:nvSpPr>
          <p:spPr>
            <a:xfrm>
              <a:off x="684224" y="5785798"/>
              <a:ext cx="2539" cy="8506"/>
            </a:xfrm>
            <a:custGeom>
              <a:avLst/>
              <a:gdLst>
                <a:gd name="connsiteX0" fmla="*/ 0 w 2539"/>
                <a:gd name="connsiteY0" fmla="*/ 1270 h 8506"/>
                <a:gd name="connsiteX1" fmla="*/ 0 w 2539"/>
                <a:gd name="connsiteY1" fmla="*/ 8507 h 8506"/>
                <a:gd name="connsiteX2" fmla="*/ 2539 w 2539"/>
                <a:gd name="connsiteY2" fmla="*/ 7110 h 8506"/>
                <a:gd name="connsiteX3" fmla="*/ 2539 w 2539"/>
                <a:gd name="connsiteY3" fmla="*/ 1270 h 8506"/>
                <a:gd name="connsiteX4" fmla="*/ 1270 w 2539"/>
                <a:gd name="connsiteY4" fmla="*/ 0 h 8506"/>
                <a:gd name="connsiteX5" fmla="*/ 0 w 2539"/>
                <a:gd name="connsiteY5" fmla="*/ 1270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8506">
                  <a:moveTo>
                    <a:pt x="0" y="1270"/>
                  </a:moveTo>
                  <a:lnTo>
                    <a:pt x="0" y="8507"/>
                  </a:lnTo>
                  <a:cubicBezTo>
                    <a:pt x="741" y="7872"/>
                    <a:pt x="1606" y="7396"/>
                    <a:pt x="2539" y="7110"/>
                  </a:cubicBezTo>
                  <a:lnTo>
                    <a:pt x="2539" y="1270"/>
                  </a:lnTo>
                  <a:cubicBezTo>
                    <a:pt x="2539" y="569"/>
                    <a:pt x="1971" y="0"/>
                    <a:pt x="1270" y="0"/>
                  </a:cubicBezTo>
                  <a:cubicBezTo>
                    <a:pt x="569" y="0"/>
                    <a:pt x="0" y="569"/>
                    <a:pt x="0" y="1270"/>
                  </a:cubicBezTo>
                  <a:close/>
                </a:path>
              </a:pathLst>
            </a:custGeom>
            <a:solidFill>
              <a:srgbClr val="000000"/>
            </a:solidFill>
            <a:ln w="12690"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45CD553C-B4C3-4D77-AE52-9E78CA2A0042}"/>
                </a:ext>
              </a:extLst>
            </p:cNvPr>
            <p:cNvSpPr/>
            <p:nvPr/>
          </p:nvSpPr>
          <p:spPr>
            <a:xfrm>
              <a:off x="1009894" y="5806112"/>
              <a:ext cx="2412" cy="586589"/>
            </a:xfrm>
            <a:custGeom>
              <a:avLst/>
              <a:gdLst>
                <a:gd name="connsiteX0" fmla="*/ 2412 w 2412"/>
                <a:gd name="connsiteY0" fmla="*/ 586590 h 586589"/>
                <a:gd name="connsiteX1" fmla="*/ 2412 w 2412"/>
                <a:gd name="connsiteY1" fmla="*/ 0 h 586589"/>
                <a:gd name="connsiteX2" fmla="*/ 1143 w 2412"/>
                <a:gd name="connsiteY2" fmla="*/ 0 h 586589"/>
                <a:gd name="connsiteX3" fmla="*/ 0 w 2412"/>
                <a:gd name="connsiteY3" fmla="*/ 0 h 586589"/>
                <a:gd name="connsiteX4" fmla="*/ 0 w 2412"/>
                <a:gd name="connsiteY4" fmla="*/ 586336 h 586589"/>
                <a:gd name="connsiteX5" fmla="*/ 2412 w 2412"/>
                <a:gd name="connsiteY5" fmla="*/ 586336 h 5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589">
                  <a:moveTo>
                    <a:pt x="2412" y="586590"/>
                  </a:moveTo>
                  <a:lnTo>
                    <a:pt x="2412" y="0"/>
                  </a:lnTo>
                  <a:lnTo>
                    <a:pt x="1143" y="0"/>
                  </a:lnTo>
                  <a:lnTo>
                    <a:pt x="0" y="0"/>
                  </a:lnTo>
                  <a:lnTo>
                    <a:pt x="0" y="586336"/>
                  </a:lnTo>
                  <a:lnTo>
                    <a:pt x="2412" y="586336"/>
                  </a:lnTo>
                  <a:close/>
                </a:path>
              </a:pathLst>
            </a:custGeom>
            <a:solidFill>
              <a:srgbClr val="000000"/>
            </a:solidFill>
            <a:ln w="12690"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EAD6EA09-300A-4DA5-BED7-D3DE991FFDD8}"/>
                </a:ext>
              </a:extLst>
            </p:cNvPr>
            <p:cNvSpPr/>
            <p:nvPr/>
          </p:nvSpPr>
          <p:spPr>
            <a:xfrm>
              <a:off x="2566382" y="6426475"/>
              <a:ext cx="13839" cy="34535"/>
            </a:xfrm>
            <a:custGeom>
              <a:avLst/>
              <a:gdLst>
                <a:gd name="connsiteX0" fmla="*/ 7364 w 13839"/>
                <a:gd name="connsiteY0" fmla="*/ 29711 h 34535"/>
                <a:gd name="connsiteX1" fmla="*/ 13839 w 13839"/>
                <a:gd name="connsiteY1" fmla="*/ 34535 h 34535"/>
                <a:gd name="connsiteX2" fmla="*/ 13839 w 13839"/>
                <a:gd name="connsiteY2" fmla="*/ 6856 h 34535"/>
                <a:gd name="connsiteX3" fmla="*/ 6856 w 13839"/>
                <a:gd name="connsiteY3" fmla="*/ 6856 h 34535"/>
                <a:gd name="connsiteX4" fmla="*/ 0 w 13839"/>
                <a:gd name="connsiteY4" fmla="*/ 0 h 34535"/>
                <a:gd name="connsiteX5" fmla="*/ 0 w 13839"/>
                <a:gd name="connsiteY5" fmla="*/ 29711 h 34535"/>
                <a:gd name="connsiteX6" fmla="*/ 7364 w 13839"/>
                <a:gd name="connsiteY6" fmla="*/ 29711 h 3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4535">
                  <a:moveTo>
                    <a:pt x="7364" y="29711"/>
                  </a:moveTo>
                  <a:cubicBezTo>
                    <a:pt x="10322" y="29787"/>
                    <a:pt x="12925" y="31716"/>
                    <a:pt x="13839" y="34535"/>
                  </a:cubicBezTo>
                  <a:lnTo>
                    <a:pt x="13839" y="6856"/>
                  </a:lnTo>
                  <a:lnTo>
                    <a:pt x="6856" y="6856"/>
                  </a:lnTo>
                  <a:cubicBezTo>
                    <a:pt x="3072" y="6856"/>
                    <a:pt x="0" y="3784"/>
                    <a:pt x="0" y="0"/>
                  </a:cubicBezTo>
                  <a:lnTo>
                    <a:pt x="0" y="29711"/>
                  </a:lnTo>
                  <a:lnTo>
                    <a:pt x="7364" y="29711"/>
                  </a:lnTo>
                  <a:close/>
                </a:path>
              </a:pathLst>
            </a:custGeom>
            <a:solidFill>
              <a:srgbClr val="000000"/>
            </a:solidFill>
            <a:ln w="12690"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9F9FC5D2-EA2F-45E6-8EB7-636323363A63}"/>
                </a:ext>
              </a:extLst>
            </p:cNvPr>
            <p:cNvSpPr/>
            <p:nvPr/>
          </p:nvSpPr>
          <p:spPr>
            <a:xfrm>
              <a:off x="1184474" y="5618327"/>
              <a:ext cx="13712" cy="141441"/>
            </a:xfrm>
            <a:custGeom>
              <a:avLst/>
              <a:gdLst>
                <a:gd name="connsiteX0" fmla="*/ 0 w 13712"/>
                <a:gd name="connsiteY0" fmla="*/ 6856 h 141441"/>
                <a:gd name="connsiteX1" fmla="*/ 0 w 13712"/>
                <a:gd name="connsiteY1" fmla="*/ 141442 h 141441"/>
                <a:gd name="connsiteX2" fmla="*/ 13712 w 13712"/>
                <a:gd name="connsiteY2" fmla="*/ 141442 h 141441"/>
                <a:gd name="connsiteX3" fmla="*/ 13712 w 13712"/>
                <a:gd name="connsiteY3" fmla="*/ 6856 h 141441"/>
                <a:gd name="connsiteX4" fmla="*/ 6856 w 13712"/>
                <a:gd name="connsiteY4" fmla="*/ 0 h 141441"/>
                <a:gd name="connsiteX5" fmla="*/ 0 w 13712"/>
                <a:gd name="connsiteY5" fmla="*/ 6856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41441">
                  <a:moveTo>
                    <a:pt x="0" y="6856"/>
                  </a:moveTo>
                  <a:lnTo>
                    <a:pt x="0" y="141442"/>
                  </a:lnTo>
                  <a:lnTo>
                    <a:pt x="13712" y="141442"/>
                  </a:lnTo>
                  <a:lnTo>
                    <a:pt x="13712" y="6856"/>
                  </a:lnTo>
                  <a:cubicBezTo>
                    <a:pt x="13712" y="3070"/>
                    <a:pt x="10642" y="0"/>
                    <a:pt x="6856" y="0"/>
                  </a:cubicBezTo>
                  <a:cubicBezTo>
                    <a:pt x="3070"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5CA0591A-2C05-4B8C-8ED8-C6E79738A6EA}"/>
                </a:ext>
              </a:extLst>
            </p:cNvPr>
            <p:cNvSpPr/>
            <p:nvPr/>
          </p:nvSpPr>
          <p:spPr>
            <a:xfrm>
              <a:off x="2717092" y="5847280"/>
              <a:ext cx="470666" cy="13936"/>
            </a:xfrm>
            <a:custGeom>
              <a:avLst/>
              <a:gdLst>
                <a:gd name="connsiteX0" fmla="*/ 7872 w 470666"/>
                <a:gd name="connsiteY0" fmla="*/ 5556 h 13936"/>
                <a:gd name="connsiteX1" fmla="*/ 2920 w 470666"/>
                <a:gd name="connsiteY1" fmla="*/ 13936 h 13936"/>
                <a:gd name="connsiteX2" fmla="*/ 463810 w 470666"/>
                <a:gd name="connsiteY2" fmla="*/ 13936 h 13936"/>
                <a:gd name="connsiteX3" fmla="*/ 463810 w 470666"/>
                <a:gd name="connsiteY3" fmla="*/ 7080 h 13936"/>
                <a:gd name="connsiteX4" fmla="*/ 470667 w 470666"/>
                <a:gd name="connsiteY4" fmla="*/ 97 h 13936"/>
                <a:gd name="connsiteX5" fmla="*/ 889 w 470666"/>
                <a:gd name="connsiteY5" fmla="*/ 97 h 13936"/>
                <a:gd name="connsiteX6" fmla="*/ 0 w 470666"/>
                <a:gd name="connsiteY6" fmla="*/ 97 h 13936"/>
                <a:gd name="connsiteX7" fmla="*/ 7872 w 470666"/>
                <a:gd name="connsiteY7" fmla="*/ 5556 h 1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666" h="13936">
                  <a:moveTo>
                    <a:pt x="7872" y="5556"/>
                  </a:moveTo>
                  <a:cubicBezTo>
                    <a:pt x="8761" y="9229"/>
                    <a:pt x="6564" y="12943"/>
                    <a:pt x="2920" y="13936"/>
                  </a:cubicBezTo>
                  <a:lnTo>
                    <a:pt x="463810" y="13936"/>
                  </a:lnTo>
                  <a:lnTo>
                    <a:pt x="463810" y="7080"/>
                  </a:lnTo>
                  <a:cubicBezTo>
                    <a:pt x="463810" y="3272"/>
                    <a:pt x="466857" y="166"/>
                    <a:pt x="470667" y="97"/>
                  </a:cubicBezTo>
                  <a:lnTo>
                    <a:pt x="889" y="97"/>
                  </a:lnTo>
                  <a:lnTo>
                    <a:pt x="0" y="97"/>
                  </a:lnTo>
                  <a:cubicBezTo>
                    <a:pt x="3669" y="-523"/>
                    <a:pt x="7161" y="1901"/>
                    <a:pt x="7872" y="5556"/>
                  </a:cubicBezTo>
                  <a:close/>
                </a:path>
              </a:pathLst>
            </a:custGeom>
            <a:solidFill>
              <a:srgbClr val="000000"/>
            </a:solidFill>
            <a:ln w="12690"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1DB39E93-FD88-46B3-8EF9-EA81F1841550}"/>
                </a:ext>
              </a:extLst>
            </p:cNvPr>
            <p:cNvSpPr/>
            <p:nvPr/>
          </p:nvSpPr>
          <p:spPr>
            <a:xfrm>
              <a:off x="2656782" y="5848317"/>
              <a:ext cx="67870" cy="28135"/>
            </a:xfrm>
            <a:custGeom>
              <a:avLst/>
              <a:gdLst>
                <a:gd name="connsiteX0" fmla="*/ 8126 w 67870"/>
                <a:gd name="connsiteY0" fmla="*/ 22930 h 28135"/>
                <a:gd name="connsiteX1" fmla="*/ 8126 w 67870"/>
                <a:gd name="connsiteY1" fmla="*/ 28135 h 28135"/>
                <a:gd name="connsiteX2" fmla="*/ 60182 w 67870"/>
                <a:gd name="connsiteY2" fmla="*/ 14169 h 28135"/>
                <a:gd name="connsiteX3" fmla="*/ 60182 w 67870"/>
                <a:gd name="connsiteY3" fmla="*/ 6678 h 28135"/>
                <a:gd name="connsiteX4" fmla="*/ 61452 w 67870"/>
                <a:gd name="connsiteY4" fmla="*/ 5408 h 28135"/>
                <a:gd name="connsiteX5" fmla="*/ 62722 w 67870"/>
                <a:gd name="connsiteY5" fmla="*/ 6678 h 28135"/>
                <a:gd name="connsiteX6" fmla="*/ 62722 w 67870"/>
                <a:gd name="connsiteY6" fmla="*/ 13407 h 28135"/>
                <a:gd name="connsiteX7" fmla="*/ 62722 w 67870"/>
                <a:gd name="connsiteY7" fmla="*/ 13407 h 28135"/>
                <a:gd name="connsiteX8" fmla="*/ 67673 w 67870"/>
                <a:gd name="connsiteY8" fmla="*/ 5027 h 28135"/>
                <a:gd name="connsiteX9" fmla="*/ 60055 w 67870"/>
                <a:gd name="connsiteY9" fmla="*/ 76 h 28135"/>
                <a:gd name="connsiteX10" fmla="*/ 60309 w 67870"/>
                <a:gd name="connsiteY10" fmla="*/ 76 h 28135"/>
                <a:gd name="connsiteX11" fmla="*/ 0 w 67870"/>
                <a:gd name="connsiteY11" fmla="*/ 16327 h 28135"/>
                <a:gd name="connsiteX12" fmla="*/ 0 w 67870"/>
                <a:gd name="connsiteY12" fmla="*/ 16327 h 28135"/>
                <a:gd name="connsiteX13" fmla="*/ 2158 w 67870"/>
                <a:gd name="connsiteY13" fmla="*/ 16327 h 28135"/>
                <a:gd name="connsiteX14" fmla="*/ 8126 w 67870"/>
                <a:gd name="connsiteY14" fmla="*/ 22930 h 2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870" h="28135">
                  <a:moveTo>
                    <a:pt x="8126" y="22930"/>
                  </a:moveTo>
                  <a:lnTo>
                    <a:pt x="8126" y="28135"/>
                  </a:lnTo>
                  <a:lnTo>
                    <a:pt x="60182" y="14169"/>
                  </a:lnTo>
                  <a:lnTo>
                    <a:pt x="60182" y="6678"/>
                  </a:lnTo>
                  <a:cubicBezTo>
                    <a:pt x="60182" y="5977"/>
                    <a:pt x="60754" y="5408"/>
                    <a:pt x="61452" y="5408"/>
                  </a:cubicBezTo>
                  <a:cubicBezTo>
                    <a:pt x="62150" y="5408"/>
                    <a:pt x="62722" y="5977"/>
                    <a:pt x="62722" y="6678"/>
                  </a:cubicBezTo>
                  <a:lnTo>
                    <a:pt x="62722" y="13407"/>
                  </a:lnTo>
                  <a:lnTo>
                    <a:pt x="62722" y="13407"/>
                  </a:lnTo>
                  <a:cubicBezTo>
                    <a:pt x="66366" y="12414"/>
                    <a:pt x="68562" y="8700"/>
                    <a:pt x="67673" y="5027"/>
                  </a:cubicBezTo>
                  <a:cubicBezTo>
                    <a:pt x="66747" y="1689"/>
                    <a:pt x="63483" y="-435"/>
                    <a:pt x="60055" y="76"/>
                  </a:cubicBezTo>
                  <a:lnTo>
                    <a:pt x="60309" y="76"/>
                  </a:lnTo>
                  <a:lnTo>
                    <a:pt x="0" y="16327"/>
                  </a:lnTo>
                  <a:lnTo>
                    <a:pt x="0" y="16327"/>
                  </a:lnTo>
                  <a:cubicBezTo>
                    <a:pt x="711" y="16197"/>
                    <a:pt x="1447" y="16197"/>
                    <a:pt x="2158" y="16327"/>
                  </a:cubicBezTo>
                  <a:cubicBezTo>
                    <a:pt x="5472" y="16811"/>
                    <a:pt x="7974" y="19583"/>
                    <a:pt x="8126" y="22930"/>
                  </a:cubicBezTo>
                  <a:close/>
                </a:path>
              </a:pathLst>
            </a:custGeom>
            <a:solidFill>
              <a:srgbClr val="000000"/>
            </a:solidFill>
            <a:ln w="12690" cap="flat">
              <a:no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FD60B99C-324D-4DAC-85B5-21A5F2B0447E}"/>
                </a:ext>
              </a:extLst>
            </p:cNvPr>
            <p:cNvSpPr/>
            <p:nvPr/>
          </p:nvSpPr>
          <p:spPr>
            <a:xfrm>
              <a:off x="2716965" y="5853725"/>
              <a:ext cx="2539" cy="1014851"/>
            </a:xfrm>
            <a:custGeom>
              <a:avLst/>
              <a:gdLst>
                <a:gd name="connsiteX0" fmla="*/ 2539 w 2539"/>
                <a:gd name="connsiteY0" fmla="*/ 7999 h 1014851"/>
                <a:gd name="connsiteX1" fmla="*/ 2539 w 2539"/>
                <a:gd name="connsiteY1" fmla="*/ 1270 h 1014851"/>
                <a:gd name="connsiteX2" fmla="*/ 1270 w 2539"/>
                <a:gd name="connsiteY2" fmla="*/ 0 h 1014851"/>
                <a:gd name="connsiteX3" fmla="*/ 0 w 2539"/>
                <a:gd name="connsiteY3" fmla="*/ 1270 h 1014851"/>
                <a:gd name="connsiteX4" fmla="*/ 0 w 2539"/>
                <a:gd name="connsiteY4" fmla="*/ 1014851 h 1014851"/>
                <a:gd name="connsiteX5" fmla="*/ 2539 w 2539"/>
                <a:gd name="connsiteY5" fmla="*/ 1014851 h 1014851"/>
                <a:gd name="connsiteX6" fmla="*/ 2539 w 2539"/>
                <a:gd name="connsiteY6" fmla="*/ 8126 h 101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9" h="1014851">
                  <a:moveTo>
                    <a:pt x="2539" y="7999"/>
                  </a:moveTo>
                  <a:lnTo>
                    <a:pt x="2539" y="1270"/>
                  </a:lnTo>
                  <a:cubicBezTo>
                    <a:pt x="2539" y="569"/>
                    <a:pt x="1968" y="0"/>
                    <a:pt x="1270" y="0"/>
                  </a:cubicBezTo>
                  <a:cubicBezTo>
                    <a:pt x="571" y="0"/>
                    <a:pt x="0" y="569"/>
                    <a:pt x="0" y="1270"/>
                  </a:cubicBezTo>
                  <a:lnTo>
                    <a:pt x="0" y="1014851"/>
                  </a:lnTo>
                  <a:lnTo>
                    <a:pt x="2539" y="1014851"/>
                  </a:lnTo>
                  <a:lnTo>
                    <a:pt x="2539" y="8126"/>
                  </a:lnTo>
                  <a:close/>
                </a:path>
              </a:pathLst>
            </a:custGeom>
            <a:solidFill>
              <a:srgbClr val="000000"/>
            </a:solidFill>
            <a:ln w="12690"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F30B7594-8139-45AE-8924-9E53AAACC7C5}"/>
                </a:ext>
              </a:extLst>
            </p:cNvPr>
            <p:cNvSpPr/>
            <p:nvPr/>
          </p:nvSpPr>
          <p:spPr>
            <a:xfrm>
              <a:off x="487553" y="5805985"/>
              <a:ext cx="2412" cy="273488"/>
            </a:xfrm>
            <a:custGeom>
              <a:avLst/>
              <a:gdLst>
                <a:gd name="connsiteX0" fmla="*/ 2412 w 2412"/>
                <a:gd name="connsiteY0" fmla="*/ 0 h 273488"/>
                <a:gd name="connsiteX1" fmla="*/ 1270 w 2412"/>
                <a:gd name="connsiteY1" fmla="*/ 0 h 273488"/>
                <a:gd name="connsiteX2" fmla="*/ 0 w 2412"/>
                <a:gd name="connsiteY2" fmla="*/ 0 h 273488"/>
                <a:gd name="connsiteX3" fmla="*/ 0 w 2412"/>
                <a:gd name="connsiteY3" fmla="*/ 0 h 273488"/>
                <a:gd name="connsiteX4" fmla="*/ 0 w 2412"/>
                <a:gd name="connsiteY4" fmla="*/ 267394 h 273488"/>
                <a:gd name="connsiteX5" fmla="*/ 0 w 2412"/>
                <a:gd name="connsiteY5" fmla="*/ 268155 h 273488"/>
                <a:gd name="connsiteX6" fmla="*/ 0 w 2412"/>
                <a:gd name="connsiteY6" fmla="*/ 269552 h 273488"/>
                <a:gd name="connsiteX7" fmla="*/ 0 w 2412"/>
                <a:gd name="connsiteY7" fmla="*/ 273488 h 273488"/>
                <a:gd name="connsiteX8" fmla="*/ 1904 w 2412"/>
                <a:gd name="connsiteY8" fmla="*/ 273488 h 273488"/>
                <a:gd name="connsiteX9" fmla="*/ 1904 w 2412"/>
                <a:gd name="connsiteY9" fmla="*/ 127 h 27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2" h="273488">
                  <a:moveTo>
                    <a:pt x="2412" y="0"/>
                  </a:moveTo>
                  <a:cubicBezTo>
                    <a:pt x="2034" y="53"/>
                    <a:pt x="1649" y="53"/>
                    <a:pt x="1270" y="0"/>
                  </a:cubicBezTo>
                  <a:cubicBezTo>
                    <a:pt x="849" y="74"/>
                    <a:pt x="420" y="74"/>
                    <a:pt x="0" y="0"/>
                  </a:cubicBezTo>
                  <a:lnTo>
                    <a:pt x="0" y="0"/>
                  </a:lnTo>
                  <a:lnTo>
                    <a:pt x="0" y="267394"/>
                  </a:lnTo>
                  <a:cubicBezTo>
                    <a:pt x="60" y="267648"/>
                    <a:pt x="60" y="267902"/>
                    <a:pt x="0" y="268155"/>
                  </a:cubicBezTo>
                  <a:lnTo>
                    <a:pt x="0" y="269552"/>
                  </a:lnTo>
                  <a:lnTo>
                    <a:pt x="0" y="273488"/>
                  </a:lnTo>
                  <a:lnTo>
                    <a:pt x="1904" y="273488"/>
                  </a:lnTo>
                  <a:lnTo>
                    <a:pt x="1904" y="127"/>
                  </a:lnTo>
                  <a:close/>
                </a:path>
              </a:pathLst>
            </a:custGeom>
            <a:solidFill>
              <a:srgbClr val="000000"/>
            </a:solidFill>
            <a:ln w="12690"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B3923D0B-EDE8-4690-8095-90058FD55C63}"/>
                </a:ext>
              </a:extLst>
            </p:cNvPr>
            <p:cNvSpPr/>
            <p:nvPr/>
          </p:nvSpPr>
          <p:spPr>
            <a:xfrm>
              <a:off x="479681" y="5798113"/>
              <a:ext cx="2412" cy="269425"/>
            </a:xfrm>
            <a:custGeom>
              <a:avLst/>
              <a:gdLst>
                <a:gd name="connsiteX0" fmla="*/ 1270 w 2412"/>
                <a:gd name="connsiteY0" fmla="*/ 269425 h 269425"/>
                <a:gd name="connsiteX1" fmla="*/ 2412 w 2412"/>
                <a:gd name="connsiteY1" fmla="*/ 269425 h 269425"/>
                <a:gd name="connsiteX2" fmla="*/ 2412 w 2412"/>
                <a:gd name="connsiteY2" fmla="*/ 269425 h 269425"/>
                <a:gd name="connsiteX3" fmla="*/ 2412 w 2412"/>
                <a:gd name="connsiteY3" fmla="*/ 3936 h 269425"/>
                <a:gd name="connsiteX4" fmla="*/ 0 w 2412"/>
                <a:gd name="connsiteY4" fmla="*/ 0 h 269425"/>
                <a:gd name="connsiteX5" fmla="*/ 0 w 2412"/>
                <a:gd name="connsiteY5" fmla="*/ 269044 h 26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69425">
                  <a:moveTo>
                    <a:pt x="1270" y="269425"/>
                  </a:moveTo>
                  <a:lnTo>
                    <a:pt x="2412" y="269425"/>
                  </a:lnTo>
                  <a:lnTo>
                    <a:pt x="2412" y="269425"/>
                  </a:lnTo>
                  <a:lnTo>
                    <a:pt x="2412" y="3936"/>
                  </a:lnTo>
                  <a:lnTo>
                    <a:pt x="0" y="0"/>
                  </a:lnTo>
                  <a:lnTo>
                    <a:pt x="0" y="269044"/>
                  </a:lnTo>
                  <a:close/>
                </a:path>
              </a:pathLst>
            </a:custGeom>
            <a:solidFill>
              <a:srgbClr val="000000"/>
            </a:solidFill>
            <a:ln w="12690"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2AE43495-49CE-426A-8400-9AD9E16109B4}"/>
                </a:ext>
              </a:extLst>
            </p:cNvPr>
            <p:cNvSpPr/>
            <p:nvPr/>
          </p:nvSpPr>
          <p:spPr>
            <a:xfrm>
              <a:off x="454668" y="5758626"/>
              <a:ext cx="2412" cy="296469"/>
            </a:xfrm>
            <a:custGeom>
              <a:avLst/>
              <a:gdLst>
                <a:gd name="connsiteX0" fmla="*/ 2412 w 2412"/>
                <a:gd name="connsiteY0" fmla="*/ 296469 h 296469"/>
                <a:gd name="connsiteX1" fmla="*/ 2412 w 2412"/>
                <a:gd name="connsiteY1" fmla="*/ 296469 h 296469"/>
                <a:gd name="connsiteX2" fmla="*/ 2412 w 2412"/>
                <a:gd name="connsiteY2" fmla="*/ 296469 h 296469"/>
                <a:gd name="connsiteX3" fmla="*/ 2412 w 2412"/>
                <a:gd name="connsiteY3" fmla="*/ 3936 h 296469"/>
                <a:gd name="connsiteX4" fmla="*/ 0 w 2412"/>
                <a:gd name="connsiteY4" fmla="*/ 0 h 296469"/>
                <a:gd name="connsiteX5" fmla="*/ 0 w 2412"/>
                <a:gd name="connsiteY5"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469">
                  <a:moveTo>
                    <a:pt x="2412" y="296469"/>
                  </a:moveTo>
                  <a:lnTo>
                    <a:pt x="2412" y="296469"/>
                  </a:lnTo>
                  <a:lnTo>
                    <a:pt x="2412" y="296469"/>
                  </a:lnTo>
                  <a:lnTo>
                    <a:pt x="2412" y="3936"/>
                  </a:lnTo>
                  <a:lnTo>
                    <a:pt x="0" y="0"/>
                  </a:lnTo>
                  <a:lnTo>
                    <a:pt x="0" y="296469"/>
                  </a:lnTo>
                  <a:close/>
                </a:path>
              </a:pathLst>
            </a:custGeom>
            <a:solidFill>
              <a:schemeClr val="accent2"/>
            </a:solidFill>
            <a:ln w="12690"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94D3BCCA-A286-4436-A6E9-439CB4B1F043}"/>
                </a:ext>
              </a:extLst>
            </p:cNvPr>
            <p:cNvSpPr/>
            <p:nvPr/>
          </p:nvSpPr>
          <p:spPr>
            <a:xfrm>
              <a:off x="282501" y="6055857"/>
              <a:ext cx="174960" cy="2412"/>
            </a:xfrm>
            <a:custGeom>
              <a:avLst/>
              <a:gdLst>
                <a:gd name="connsiteX0" fmla="*/ 0 w 174960"/>
                <a:gd name="connsiteY0" fmla="*/ 1651 h 2412"/>
                <a:gd name="connsiteX1" fmla="*/ 173691 w 174960"/>
                <a:gd name="connsiteY1" fmla="*/ 1651 h 2412"/>
                <a:gd name="connsiteX2" fmla="*/ 173691 w 174960"/>
                <a:gd name="connsiteY2" fmla="*/ 1651 h 2412"/>
                <a:gd name="connsiteX3" fmla="*/ 173655 w 174960"/>
                <a:gd name="connsiteY3" fmla="*/ 38 h 2412"/>
                <a:gd name="connsiteX4" fmla="*/ 173691 w 174960"/>
                <a:gd name="connsiteY4" fmla="*/ 0 h 2412"/>
                <a:gd name="connsiteX5" fmla="*/ 174960 w 174960"/>
                <a:gd name="connsiteY5" fmla="*/ 0 h 2412"/>
                <a:gd name="connsiteX6" fmla="*/ 0 w 174960"/>
                <a:gd name="connsiteY6" fmla="*/ 0 h 2412"/>
                <a:gd name="connsiteX7" fmla="*/ 0 w 174960"/>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60" h="2412">
                  <a:moveTo>
                    <a:pt x="0" y="1651"/>
                  </a:moveTo>
                  <a:lnTo>
                    <a:pt x="173691" y="1651"/>
                  </a:lnTo>
                  <a:lnTo>
                    <a:pt x="173691" y="1651"/>
                  </a:lnTo>
                  <a:cubicBezTo>
                    <a:pt x="173235" y="1219"/>
                    <a:pt x="173220" y="495"/>
                    <a:pt x="173655" y="38"/>
                  </a:cubicBezTo>
                  <a:cubicBezTo>
                    <a:pt x="173667" y="25"/>
                    <a:pt x="173679" y="13"/>
                    <a:pt x="173691" y="0"/>
                  </a:cubicBezTo>
                  <a:cubicBezTo>
                    <a:pt x="173691" y="0"/>
                    <a:pt x="174453" y="0"/>
                    <a:pt x="174960" y="0"/>
                  </a:cubicBezTo>
                  <a:lnTo>
                    <a:pt x="0" y="0"/>
                  </a:lnTo>
                  <a:lnTo>
                    <a:pt x="0" y="2412"/>
                  </a:lnTo>
                  <a:close/>
                </a:path>
              </a:pathLst>
            </a:custGeom>
            <a:solidFill>
              <a:srgbClr val="000000"/>
            </a:solidFill>
            <a:ln w="12690"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1CC0920E-B0A6-4689-BEAD-4DA01D8A5E26}"/>
                </a:ext>
              </a:extLst>
            </p:cNvPr>
            <p:cNvSpPr/>
            <p:nvPr/>
          </p:nvSpPr>
          <p:spPr>
            <a:xfrm>
              <a:off x="471936" y="6067284"/>
              <a:ext cx="5459" cy="1777"/>
            </a:xfrm>
            <a:custGeom>
              <a:avLst/>
              <a:gdLst>
                <a:gd name="connsiteX0" fmla="*/ 5460 w 5459"/>
                <a:gd name="connsiteY0" fmla="*/ 0 h 1777"/>
                <a:gd name="connsiteX1" fmla="*/ 5460 w 5459"/>
                <a:gd name="connsiteY1" fmla="*/ 0 h 1777"/>
                <a:gd name="connsiteX2" fmla="*/ 0 w 5459"/>
                <a:gd name="connsiteY2" fmla="*/ 0 h 1777"/>
                <a:gd name="connsiteX3" fmla="*/ 2285 w 5459"/>
                <a:gd name="connsiteY3" fmla="*/ 1778 h 1777"/>
                <a:gd name="connsiteX4" fmla="*/ 5460 w 5459"/>
                <a:gd name="connsiteY4" fmla="*/ 0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9" h="1777">
                  <a:moveTo>
                    <a:pt x="5460" y="0"/>
                  </a:moveTo>
                  <a:lnTo>
                    <a:pt x="5460" y="0"/>
                  </a:lnTo>
                  <a:lnTo>
                    <a:pt x="0" y="0"/>
                  </a:lnTo>
                  <a:lnTo>
                    <a:pt x="2285" y="1778"/>
                  </a:lnTo>
                  <a:cubicBezTo>
                    <a:pt x="3178" y="927"/>
                    <a:pt x="4270" y="317"/>
                    <a:pt x="5460" y="0"/>
                  </a:cubicBezTo>
                  <a:close/>
                </a:path>
              </a:pathLst>
            </a:custGeom>
            <a:solidFill>
              <a:srgbClr val="000000"/>
            </a:solidFill>
            <a:ln w="12690"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88E3AD06-54BE-4343-9535-E994C157EB7A}"/>
                </a:ext>
              </a:extLst>
            </p:cNvPr>
            <p:cNvSpPr/>
            <p:nvPr/>
          </p:nvSpPr>
          <p:spPr>
            <a:xfrm>
              <a:off x="282501" y="6067031"/>
              <a:ext cx="190196" cy="8252"/>
            </a:xfrm>
            <a:custGeom>
              <a:avLst/>
              <a:gdLst>
                <a:gd name="connsiteX0" fmla="*/ 190196 w 190196"/>
                <a:gd name="connsiteY0" fmla="*/ 3682 h 8252"/>
                <a:gd name="connsiteX1" fmla="*/ 185626 w 190196"/>
                <a:gd name="connsiteY1" fmla="*/ 0 h 8252"/>
                <a:gd name="connsiteX2" fmla="*/ 0 w 190196"/>
                <a:gd name="connsiteY2" fmla="*/ 0 h 8252"/>
                <a:gd name="connsiteX3" fmla="*/ 0 w 190196"/>
                <a:gd name="connsiteY3" fmla="*/ 8253 h 8252"/>
                <a:gd name="connsiteX4" fmla="*/ 189435 w 190196"/>
                <a:gd name="connsiteY4" fmla="*/ 8253 h 8252"/>
                <a:gd name="connsiteX5" fmla="*/ 190196 w 190196"/>
                <a:gd name="connsiteY5" fmla="*/ 3682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96" h="8252">
                  <a:moveTo>
                    <a:pt x="190196" y="3682"/>
                  </a:moveTo>
                  <a:lnTo>
                    <a:pt x="185626" y="0"/>
                  </a:lnTo>
                  <a:lnTo>
                    <a:pt x="0" y="0"/>
                  </a:lnTo>
                  <a:lnTo>
                    <a:pt x="0" y="8253"/>
                  </a:lnTo>
                  <a:lnTo>
                    <a:pt x="189435" y="8253"/>
                  </a:lnTo>
                  <a:cubicBezTo>
                    <a:pt x="189190" y="6691"/>
                    <a:pt x="189458" y="5079"/>
                    <a:pt x="190196" y="3682"/>
                  </a:cubicBezTo>
                  <a:close/>
                </a:path>
              </a:pathLst>
            </a:custGeom>
            <a:solidFill>
              <a:srgbClr val="000000"/>
            </a:solidFill>
            <a:ln w="12690"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BC545698-6548-426E-95EE-C8AF4EF9FD74}"/>
                </a:ext>
              </a:extLst>
            </p:cNvPr>
            <p:cNvSpPr/>
            <p:nvPr/>
          </p:nvSpPr>
          <p:spPr>
            <a:xfrm>
              <a:off x="477395" y="5794177"/>
              <a:ext cx="2412" cy="273107"/>
            </a:xfrm>
            <a:custGeom>
              <a:avLst/>
              <a:gdLst>
                <a:gd name="connsiteX0" fmla="*/ 2412 w 2412"/>
                <a:gd name="connsiteY0" fmla="*/ 273107 h 273107"/>
                <a:gd name="connsiteX1" fmla="*/ 2412 w 2412"/>
                <a:gd name="connsiteY1" fmla="*/ 3936 h 273107"/>
                <a:gd name="connsiteX2" fmla="*/ 0 w 2412"/>
                <a:gd name="connsiteY2" fmla="*/ 0 h 273107"/>
                <a:gd name="connsiteX3" fmla="*/ 0 w 2412"/>
                <a:gd name="connsiteY3" fmla="*/ 273107 h 273107"/>
                <a:gd name="connsiteX4" fmla="*/ 2412 w 2412"/>
                <a:gd name="connsiteY4" fmla="*/ 273107 h 27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3107">
                  <a:moveTo>
                    <a:pt x="2412" y="273107"/>
                  </a:moveTo>
                  <a:lnTo>
                    <a:pt x="2412" y="3936"/>
                  </a:lnTo>
                  <a:lnTo>
                    <a:pt x="0" y="0"/>
                  </a:lnTo>
                  <a:lnTo>
                    <a:pt x="0" y="273107"/>
                  </a:lnTo>
                  <a:cubicBezTo>
                    <a:pt x="799" y="272980"/>
                    <a:pt x="1614" y="272980"/>
                    <a:pt x="2412" y="273107"/>
                  </a:cubicBezTo>
                  <a:close/>
                </a:path>
              </a:pathLst>
            </a:custGeom>
            <a:solidFill>
              <a:srgbClr val="000000"/>
            </a:solidFill>
            <a:ln w="12690"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A664FA19-E2CF-4B24-93D9-EBB66381E96A}"/>
                </a:ext>
              </a:extLst>
            </p:cNvPr>
            <p:cNvSpPr/>
            <p:nvPr/>
          </p:nvSpPr>
          <p:spPr>
            <a:xfrm>
              <a:off x="475364" y="5783639"/>
              <a:ext cx="19873" cy="21044"/>
            </a:xfrm>
            <a:custGeom>
              <a:avLst/>
              <a:gdLst>
                <a:gd name="connsiteX0" fmla="*/ 9396 w 19873"/>
                <a:gd name="connsiteY0" fmla="*/ 9396 h 21044"/>
                <a:gd name="connsiteX1" fmla="*/ 5841 w 19873"/>
                <a:gd name="connsiteY1" fmla="*/ 10411 h 21044"/>
                <a:gd name="connsiteX2" fmla="*/ 0 w 19873"/>
                <a:gd name="connsiteY2" fmla="*/ 7110 h 21044"/>
                <a:gd name="connsiteX3" fmla="*/ 2031 w 19873"/>
                <a:gd name="connsiteY3" fmla="*/ 10538 h 21044"/>
                <a:gd name="connsiteX4" fmla="*/ 4444 w 19873"/>
                <a:gd name="connsiteY4" fmla="*/ 14474 h 21044"/>
                <a:gd name="connsiteX5" fmla="*/ 4444 w 19873"/>
                <a:gd name="connsiteY5" fmla="*/ 14474 h 21044"/>
                <a:gd name="connsiteX6" fmla="*/ 7110 w 19873"/>
                <a:gd name="connsiteY6" fmla="*/ 18410 h 21044"/>
                <a:gd name="connsiteX7" fmla="*/ 7110 w 19873"/>
                <a:gd name="connsiteY7" fmla="*/ 19299 h 21044"/>
                <a:gd name="connsiteX8" fmla="*/ 7110 w 19873"/>
                <a:gd name="connsiteY8" fmla="*/ 19299 h 21044"/>
                <a:gd name="connsiteX9" fmla="*/ 8761 w 19873"/>
                <a:gd name="connsiteY9" fmla="*/ 20950 h 21044"/>
                <a:gd name="connsiteX10" fmla="*/ 9523 w 19873"/>
                <a:gd name="connsiteY10" fmla="*/ 20950 h 21044"/>
                <a:gd name="connsiteX11" fmla="*/ 11300 w 19873"/>
                <a:gd name="connsiteY11" fmla="*/ 20950 h 21044"/>
                <a:gd name="connsiteX12" fmla="*/ 12570 w 19873"/>
                <a:gd name="connsiteY12" fmla="*/ 20950 h 21044"/>
                <a:gd name="connsiteX13" fmla="*/ 13712 w 19873"/>
                <a:gd name="connsiteY13" fmla="*/ 20950 h 21044"/>
                <a:gd name="connsiteX14" fmla="*/ 15744 w 19873"/>
                <a:gd name="connsiteY14" fmla="*/ 20950 h 21044"/>
                <a:gd name="connsiteX15" fmla="*/ 15744 w 19873"/>
                <a:gd name="connsiteY15" fmla="*/ 20950 h 21044"/>
                <a:gd name="connsiteX16" fmla="*/ 15744 w 19873"/>
                <a:gd name="connsiteY16" fmla="*/ 20315 h 21044"/>
                <a:gd name="connsiteX17" fmla="*/ 16760 w 19873"/>
                <a:gd name="connsiteY17" fmla="*/ 19426 h 21044"/>
                <a:gd name="connsiteX18" fmla="*/ 17521 w 19873"/>
                <a:gd name="connsiteY18" fmla="*/ 18283 h 21044"/>
                <a:gd name="connsiteX19" fmla="*/ 19807 w 19873"/>
                <a:gd name="connsiteY19" fmla="*/ 18410 h 21044"/>
                <a:gd name="connsiteX20" fmla="*/ 19807 w 19873"/>
                <a:gd name="connsiteY20" fmla="*/ 17014 h 21044"/>
                <a:gd name="connsiteX21" fmla="*/ 18918 w 19873"/>
                <a:gd name="connsiteY21" fmla="*/ 12697 h 21044"/>
                <a:gd name="connsiteX22" fmla="*/ 11300 w 19873"/>
                <a:gd name="connsiteY22" fmla="*/ 0 h 21044"/>
                <a:gd name="connsiteX23" fmla="*/ 11300 w 19873"/>
                <a:gd name="connsiteY23" fmla="*/ 0 h 21044"/>
                <a:gd name="connsiteX24" fmla="*/ 9396 w 19873"/>
                <a:gd name="connsiteY24" fmla="*/ 9396 h 2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73" h="21044">
                  <a:moveTo>
                    <a:pt x="9396" y="9396"/>
                  </a:moveTo>
                  <a:cubicBezTo>
                    <a:pt x="8319" y="10037"/>
                    <a:pt x="7094" y="10386"/>
                    <a:pt x="5841" y="10411"/>
                  </a:cubicBezTo>
                  <a:cubicBezTo>
                    <a:pt x="3445" y="10429"/>
                    <a:pt x="1220" y="9172"/>
                    <a:pt x="0" y="7110"/>
                  </a:cubicBezTo>
                  <a:lnTo>
                    <a:pt x="2031" y="10538"/>
                  </a:lnTo>
                  <a:lnTo>
                    <a:pt x="4444" y="14474"/>
                  </a:lnTo>
                  <a:lnTo>
                    <a:pt x="4444" y="14474"/>
                  </a:lnTo>
                  <a:lnTo>
                    <a:pt x="7110" y="18410"/>
                  </a:lnTo>
                  <a:lnTo>
                    <a:pt x="7110" y="19299"/>
                  </a:lnTo>
                  <a:cubicBezTo>
                    <a:pt x="7110" y="19299"/>
                    <a:pt x="7110" y="19299"/>
                    <a:pt x="7110" y="19299"/>
                  </a:cubicBezTo>
                  <a:cubicBezTo>
                    <a:pt x="7595" y="19911"/>
                    <a:pt x="8149" y="20465"/>
                    <a:pt x="8761" y="20950"/>
                  </a:cubicBezTo>
                  <a:lnTo>
                    <a:pt x="9523" y="20950"/>
                  </a:lnTo>
                  <a:cubicBezTo>
                    <a:pt x="10113" y="21022"/>
                    <a:pt x="10710" y="21022"/>
                    <a:pt x="11300" y="20950"/>
                  </a:cubicBezTo>
                  <a:cubicBezTo>
                    <a:pt x="11720" y="21023"/>
                    <a:pt x="12149" y="21023"/>
                    <a:pt x="12570" y="20950"/>
                  </a:cubicBezTo>
                  <a:cubicBezTo>
                    <a:pt x="12948" y="21003"/>
                    <a:pt x="13333" y="21003"/>
                    <a:pt x="13712" y="20950"/>
                  </a:cubicBezTo>
                  <a:cubicBezTo>
                    <a:pt x="14384" y="21077"/>
                    <a:pt x="15072" y="21077"/>
                    <a:pt x="15744" y="20950"/>
                  </a:cubicBezTo>
                  <a:lnTo>
                    <a:pt x="15744" y="20950"/>
                  </a:lnTo>
                  <a:lnTo>
                    <a:pt x="15744" y="20315"/>
                  </a:lnTo>
                  <a:lnTo>
                    <a:pt x="16760" y="19426"/>
                  </a:lnTo>
                  <a:lnTo>
                    <a:pt x="17521" y="18283"/>
                  </a:lnTo>
                  <a:lnTo>
                    <a:pt x="19807" y="18410"/>
                  </a:lnTo>
                  <a:cubicBezTo>
                    <a:pt x="19878" y="17947"/>
                    <a:pt x="19878" y="17477"/>
                    <a:pt x="19807" y="17014"/>
                  </a:cubicBezTo>
                  <a:cubicBezTo>
                    <a:pt x="20024" y="15515"/>
                    <a:pt x="19710" y="13988"/>
                    <a:pt x="18918" y="12697"/>
                  </a:cubicBezTo>
                  <a:lnTo>
                    <a:pt x="11300" y="0"/>
                  </a:lnTo>
                  <a:lnTo>
                    <a:pt x="11300" y="0"/>
                  </a:lnTo>
                  <a:cubicBezTo>
                    <a:pt x="13324" y="3128"/>
                    <a:pt x="12478" y="7302"/>
                    <a:pt x="9396" y="9396"/>
                  </a:cubicBezTo>
                  <a:close/>
                </a:path>
              </a:pathLst>
            </a:custGeom>
            <a:solidFill>
              <a:srgbClr val="000000"/>
            </a:solidFill>
            <a:ln w="12690"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3939789A-9E6B-4CB0-B1B6-866E6CAD7A40}"/>
                </a:ext>
              </a:extLst>
            </p:cNvPr>
            <p:cNvSpPr/>
            <p:nvPr/>
          </p:nvSpPr>
          <p:spPr>
            <a:xfrm>
              <a:off x="471847" y="6070713"/>
              <a:ext cx="3389" cy="4570"/>
            </a:xfrm>
            <a:custGeom>
              <a:avLst/>
              <a:gdLst>
                <a:gd name="connsiteX0" fmla="*/ 88 w 3389"/>
                <a:gd name="connsiteY0" fmla="*/ 4571 h 4570"/>
                <a:gd name="connsiteX1" fmla="*/ 2628 w 3389"/>
                <a:gd name="connsiteY1" fmla="*/ 4571 h 4570"/>
                <a:gd name="connsiteX2" fmla="*/ 3390 w 3389"/>
                <a:gd name="connsiteY2" fmla="*/ 2031 h 4570"/>
                <a:gd name="connsiteX3" fmla="*/ 850 w 3389"/>
                <a:gd name="connsiteY3" fmla="*/ 0 h 4570"/>
                <a:gd name="connsiteX4" fmla="*/ 88 w 3389"/>
                <a:gd name="connsiteY4" fmla="*/ 4571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9" h="4570">
                  <a:moveTo>
                    <a:pt x="88" y="4571"/>
                  </a:moveTo>
                  <a:lnTo>
                    <a:pt x="2628" y="4571"/>
                  </a:lnTo>
                  <a:cubicBezTo>
                    <a:pt x="2687" y="3682"/>
                    <a:pt x="2949" y="2806"/>
                    <a:pt x="3390" y="2031"/>
                  </a:cubicBezTo>
                  <a:lnTo>
                    <a:pt x="850" y="0"/>
                  </a:lnTo>
                  <a:cubicBezTo>
                    <a:pt x="111" y="1397"/>
                    <a:pt x="-157" y="3009"/>
                    <a:pt x="88" y="4571"/>
                  </a:cubicBezTo>
                  <a:close/>
                </a:path>
              </a:pathLst>
            </a:custGeom>
            <a:solidFill>
              <a:srgbClr val="000000"/>
            </a:solidFill>
            <a:ln w="12690"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86BB8894-AF2E-4C8C-8582-1AE0C6E6C72B}"/>
                </a:ext>
              </a:extLst>
            </p:cNvPr>
            <p:cNvSpPr/>
            <p:nvPr/>
          </p:nvSpPr>
          <p:spPr>
            <a:xfrm>
              <a:off x="474729" y="6068586"/>
              <a:ext cx="11553" cy="3777"/>
            </a:xfrm>
            <a:custGeom>
              <a:avLst/>
              <a:gdLst>
                <a:gd name="connsiteX0" fmla="*/ 7745 w 11553"/>
                <a:gd name="connsiteY0" fmla="*/ 95 h 3777"/>
                <a:gd name="connsiteX1" fmla="*/ 7745 w 11553"/>
                <a:gd name="connsiteY1" fmla="*/ 95 h 3777"/>
                <a:gd name="connsiteX2" fmla="*/ 7745 w 11553"/>
                <a:gd name="connsiteY2" fmla="*/ 95 h 3777"/>
                <a:gd name="connsiteX3" fmla="*/ 6602 w 11553"/>
                <a:gd name="connsiteY3" fmla="*/ 95 h 3777"/>
                <a:gd name="connsiteX4" fmla="*/ 5587 w 11553"/>
                <a:gd name="connsiteY4" fmla="*/ 95 h 3777"/>
                <a:gd name="connsiteX5" fmla="*/ 5587 w 11553"/>
                <a:gd name="connsiteY5" fmla="*/ 95 h 3777"/>
                <a:gd name="connsiteX6" fmla="*/ 3174 w 11553"/>
                <a:gd name="connsiteY6" fmla="*/ 95 h 3777"/>
                <a:gd name="connsiteX7" fmla="*/ 0 w 11553"/>
                <a:gd name="connsiteY7" fmla="*/ 1619 h 3777"/>
                <a:gd name="connsiteX8" fmla="*/ 2539 w 11553"/>
                <a:gd name="connsiteY8" fmla="*/ 3650 h 3777"/>
                <a:gd name="connsiteX9" fmla="*/ 6983 w 11553"/>
                <a:gd name="connsiteY9" fmla="*/ 1873 h 3777"/>
                <a:gd name="connsiteX10" fmla="*/ 11554 w 11553"/>
                <a:gd name="connsiteY10" fmla="*/ 3777 h 3777"/>
                <a:gd name="connsiteX11" fmla="*/ 11554 w 11553"/>
                <a:gd name="connsiteY11" fmla="*/ 3777 h 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53" h="3777">
                  <a:moveTo>
                    <a:pt x="7745" y="95"/>
                  </a:moveTo>
                  <a:lnTo>
                    <a:pt x="7745" y="95"/>
                  </a:lnTo>
                  <a:lnTo>
                    <a:pt x="7745" y="95"/>
                  </a:lnTo>
                  <a:lnTo>
                    <a:pt x="6602" y="95"/>
                  </a:lnTo>
                  <a:lnTo>
                    <a:pt x="5587" y="95"/>
                  </a:lnTo>
                  <a:lnTo>
                    <a:pt x="5587" y="95"/>
                  </a:lnTo>
                  <a:cubicBezTo>
                    <a:pt x="4788" y="-32"/>
                    <a:pt x="3973" y="-32"/>
                    <a:pt x="3174" y="95"/>
                  </a:cubicBezTo>
                  <a:cubicBezTo>
                    <a:pt x="2009" y="336"/>
                    <a:pt x="919" y="857"/>
                    <a:pt x="0" y="1619"/>
                  </a:cubicBezTo>
                  <a:lnTo>
                    <a:pt x="2539" y="3650"/>
                  </a:lnTo>
                  <a:cubicBezTo>
                    <a:pt x="3753" y="2533"/>
                    <a:pt x="5334" y="1898"/>
                    <a:pt x="6983" y="1873"/>
                  </a:cubicBezTo>
                  <a:cubicBezTo>
                    <a:pt x="8693" y="1898"/>
                    <a:pt x="10327" y="2584"/>
                    <a:pt x="11554" y="3777"/>
                  </a:cubicBezTo>
                  <a:lnTo>
                    <a:pt x="11554" y="3777"/>
                  </a:lnTo>
                  <a:close/>
                </a:path>
              </a:pathLst>
            </a:custGeom>
            <a:solidFill>
              <a:srgbClr val="000000"/>
            </a:solidFill>
            <a:ln w="12690"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AD306319-7202-4FDB-83DC-258E1C50303B}"/>
                </a:ext>
              </a:extLst>
            </p:cNvPr>
            <p:cNvSpPr/>
            <p:nvPr/>
          </p:nvSpPr>
          <p:spPr>
            <a:xfrm>
              <a:off x="455795" y="6055984"/>
              <a:ext cx="20584" cy="16505"/>
            </a:xfrm>
            <a:custGeom>
              <a:avLst/>
              <a:gdLst>
                <a:gd name="connsiteX0" fmla="*/ 15 w 20584"/>
                <a:gd name="connsiteY0" fmla="*/ 1270 h 16505"/>
                <a:gd name="connsiteX1" fmla="*/ 15 w 20584"/>
                <a:gd name="connsiteY1" fmla="*/ 1270 h 16505"/>
                <a:gd name="connsiteX2" fmla="*/ 11950 w 20584"/>
                <a:gd name="connsiteY2" fmla="*/ 10792 h 16505"/>
                <a:gd name="connsiteX3" fmla="*/ 16521 w 20584"/>
                <a:gd name="connsiteY3" fmla="*/ 14474 h 16505"/>
                <a:gd name="connsiteX4" fmla="*/ 19060 w 20584"/>
                <a:gd name="connsiteY4" fmla="*/ 16506 h 16505"/>
                <a:gd name="connsiteX5" fmla="*/ 20584 w 20584"/>
                <a:gd name="connsiteY5" fmla="*/ 14601 h 16505"/>
                <a:gd name="connsiteX6" fmla="*/ 18045 w 20584"/>
                <a:gd name="connsiteY6" fmla="*/ 12570 h 16505"/>
                <a:gd name="connsiteX7" fmla="*/ 15759 w 20584"/>
                <a:gd name="connsiteY7" fmla="*/ 10792 h 16505"/>
                <a:gd name="connsiteX8" fmla="*/ 2047 w 20584"/>
                <a:gd name="connsiteY8" fmla="*/ 0 h 16505"/>
                <a:gd name="connsiteX9" fmla="*/ 2047 w 20584"/>
                <a:gd name="connsiteY9" fmla="*/ 0 h 16505"/>
                <a:gd name="connsiteX10" fmla="*/ 2047 w 20584"/>
                <a:gd name="connsiteY10" fmla="*/ 0 h 16505"/>
                <a:gd name="connsiteX11" fmla="*/ 777 w 20584"/>
                <a:gd name="connsiteY11" fmla="*/ 0 h 16505"/>
                <a:gd name="connsiteX12" fmla="*/ 15 w 20584"/>
                <a:gd name="connsiteY12" fmla="*/ 1270 h 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84" h="16505">
                  <a:moveTo>
                    <a:pt x="15" y="1270"/>
                  </a:moveTo>
                  <a:lnTo>
                    <a:pt x="15" y="1270"/>
                  </a:lnTo>
                  <a:lnTo>
                    <a:pt x="11950" y="10792"/>
                  </a:lnTo>
                  <a:lnTo>
                    <a:pt x="16521" y="14474"/>
                  </a:lnTo>
                  <a:lnTo>
                    <a:pt x="19060" y="16506"/>
                  </a:lnTo>
                  <a:cubicBezTo>
                    <a:pt x="19457" y="15795"/>
                    <a:pt x="19972" y="15147"/>
                    <a:pt x="20584" y="14601"/>
                  </a:cubicBezTo>
                  <a:lnTo>
                    <a:pt x="18045" y="12570"/>
                  </a:lnTo>
                  <a:lnTo>
                    <a:pt x="15759" y="10792"/>
                  </a:lnTo>
                  <a:lnTo>
                    <a:pt x="2047" y="0"/>
                  </a:lnTo>
                  <a:lnTo>
                    <a:pt x="2047" y="0"/>
                  </a:lnTo>
                  <a:lnTo>
                    <a:pt x="2047" y="0"/>
                  </a:lnTo>
                  <a:cubicBezTo>
                    <a:pt x="2047" y="0"/>
                    <a:pt x="1031" y="0"/>
                    <a:pt x="777" y="0"/>
                  </a:cubicBezTo>
                  <a:cubicBezTo>
                    <a:pt x="247" y="178"/>
                    <a:pt x="-76" y="711"/>
                    <a:pt x="15" y="1270"/>
                  </a:cubicBezTo>
                  <a:close/>
                </a:path>
              </a:pathLst>
            </a:custGeom>
            <a:solidFill>
              <a:srgbClr val="000000"/>
            </a:solidFill>
            <a:ln w="12690"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01E5AC78-0D36-43A8-9B8D-C02DF48745FA}"/>
                </a:ext>
              </a:extLst>
            </p:cNvPr>
            <p:cNvSpPr/>
            <p:nvPr/>
          </p:nvSpPr>
          <p:spPr>
            <a:xfrm>
              <a:off x="453271" y="5743771"/>
              <a:ext cx="31741" cy="42914"/>
            </a:xfrm>
            <a:custGeom>
              <a:avLst/>
              <a:gdLst>
                <a:gd name="connsiteX0" fmla="*/ 3809 w 31741"/>
                <a:gd name="connsiteY0" fmla="*/ 10538 h 42914"/>
                <a:gd name="connsiteX1" fmla="*/ 0 w 31741"/>
                <a:gd name="connsiteY1" fmla="*/ 10538 h 42914"/>
                <a:gd name="connsiteX2" fmla="*/ 2666 w 31741"/>
                <a:gd name="connsiteY2" fmla="*/ 14855 h 42914"/>
                <a:gd name="connsiteX3" fmla="*/ 5079 w 31741"/>
                <a:gd name="connsiteY3" fmla="*/ 18791 h 42914"/>
                <a:gd name="connsiteX4" fmla="*/ 19934 w 31741"/>
                <a:gd name="connsiteY4" fmla="*/ 42915 h 42914"/>
                <a:gd name="connsiteX5" fmla="*/ 22219 w 31741"/>
                <a:gd name="connsiteY5" fmla="*/ 33392 h 42914"/>
                <a:gd name="connsiteX6" fmla="*/ 31742 w 31741"/>
                <a:gd name="connsiteY6" fmla="*/ 35551 h 42914"/>
                <a:gd name="connsiteX7" fmla="*/ 29202 w 31741"/>
                <a:gd name="connsiteY7" fmla="*/ 31361 h 42914"/>
                <a:gd name="connsiteX8" fmla="*/ 9776 w 31741"/>
                <a:gd name="connsiteY8" fmla="*/ 0 h 42914"/>
                <a:gd name="connsiteX9" fmla="*/ 9776 w 31741"/>
                <a:gd name="connsiteY9" fmla="*/ 0 h 42914"/>
                <a:gd name="connsiteX10" fmla="*/ 11427 w 31741"/>
                <a:gd name="connsiteY10" fmla="*/ 4190 h 42914"/>
                <a:gd name="connsiteX11" fmla="*/ 3866 w 31741"/>
                <a:gd name="connsiteY11" fmla="*/ 10543 h 42914"/>
                <a:gd name="connsiteX12" fmla="*/ 3809 w 31741"/>
                <a:gd name="connsiteY12" fmla="*/ 10538 h 4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41" h="42914">
                  <a:moveTo>
                    <a:pt x="3809" y="10538"/>
                  </a:moveTo>
                  <a:lnTo>
                    <a:pt x="0" y="10538"/>
                  </a:lnTo>
                  <a:lnTo>
                    <a:pt x="2666" y="14855"/>
                  </a:lnTo>
                  <a:lnTo>
                    <a:pt x="5079" y="18791"/>
                  </a:lnTo>
                  <a:lnTo>
                    <a:pt x="19934" y="42915"/>
                  </a:lnTo>
                  <a:cubicBezTo>
                    <a:pt x="18039" y="39638"/>
                    <a:pt x="19045" y="35453"/>
                    <a:pt x="22219" y="33392"/>
                  </a:cubicBezTo>
                  <a:cubicBezTo>
                    <a:pt x="25453" y="31404"/>
                    <a:pt x="29681" y="32363"/>
                    <a:pt x="31742" y="35551"/>
                  </a:cubicBezTo>
                  <a:lnTo>
                    <a:pt x="29202" y="31361"/>
                  </a:lnTo>
                  <a:lnTo>
                    <a:pt x="9776" y="0"/>
                  </a:lnTo>
                  <a:lnTo>
                    <a:pt x="9776" y="0"/>
                  </a:lnTo>
                  <a:cubicBezTo>
                    <a:pt x="10830" y="1141"/>
                    <a:pt x="11419" y="2636"/>
                    <a:pt x="11427" y="4190"/>
                  </a:cubicBezTo>
                  <a:cubicBezTo>
                    <a:pt x="11094" y="8032"/>
                    <a:pt x="7708" y="10877"/>
                    <a:pt x="3866" y="10543"/>
                  </a:cubicBezTo>
                  <a:cubicBezTo>
                    <a:pt x="3847" y="10542"/>
                    <a:pt x="3828" y="10541"/>
                    <a:pt x="3809" y="10538"/>
                  </a:cubicBezTo>
                  <a:close/>
                </a:path>
              </a:pathLst>
            </a:custGeom>
            <a:solidFill>
              <a:srgbClr val="000000"/>
            </a:solidFill>
            <a:ln w="12690"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2E1607EE-316D-4955-B004-5674ECCB210E}"/>
                </a:ext>
              </a:extLst>
            </p:cNvPr>
            <p:cNvSpPr/>
            <p:nvPr/>
          </p:nvSpPr>
          <p:spPr>
            <a:xfrm>
              <a:off x="471742" y="5776128"/>
              <a:ext cx="16350" cy="17922"/>
            </a:xfrm>
            <a:custGeom>
              <a:avLst/>
              <a:gdLst>
                <a:gd name="connsiteX0" fmla="*/ 3622 w 16350"/>
                <a:gd name="connsiteY0" fmla="*/ 14621 h 17922"/>
                <a:gd name="connsiteX1" fmla="*/ 3622 w 16350"/>
                <a:gd name="connsiteY1" fmla="*/ 14621 h 17922"/>
                <a:gd name="connsiteX2" fmla="*/ 9462 w 16350"/>
                <a:gd name="connsiteY2" fmla="*/ 17922 h 17922"/>
                <a:gd name="connsiteX3" fmla="*/ 13017 w 16350"/>
                <a:gd name="connsiteY3" fmla="*/ 16906 h 17922"/>
                <a:gd name="connsiteX4" fmla="*/ 15375 w 16350"/>
                <a:gd name="connsiteY4" fmla="*/ 7501 h 17922"/>
                <a:gd name="connsiteX5" fmla="*/ 15303 w 16350"/>
                <a:gd name="connsiteY5" fmla="*/ 7384 h 17922"/>
                <a:gd name="connsiteX6" fmla="*/ 15303 w 16350"/>
                <a:gd name="connsiteY6" fmla="*/ 7384 h 17922"/>
                <a:gd name="connsiteX7" fmla="*/ 12763 w 16350"/>
                <a:gd name="connsiteY7" fmla="*/ 3194 h 17922"/>
                <a:gd name="connsiteX8" fmla="*/ 12763 w 16350"/>
                <a:gd name="connsiteY8" fmla="*/ 3194 h 17922"/>
                <a:gd name="connsiteX9" fmla="*/ 3241 w 16350"/>
                <a:gd name="connsiteY9" fmla="*/ 1036 h 17922"/>
                <a:gd name="connsiteX10" fmla="*/ 955 w 16350"/>
                <a:gd name="connsiteY10" fmla="*/ 10558 h 17922"/>
                <a:gd name="connsiteX11" fmla="*/ 955 w 16350"/>
                <a:gd name="connsiteY11" fmla="*/ 10558 h 1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50" h="17922">
                  <a:moveTo>
                    <a:pt x="3622" y="14621"/>
                  </a:moveTo>
                  <a:lnTo>
                    <a:pt x="3622" y="14621"/>
                  </a:lnTo>
                  <a:cubicBezTo>
                    <a:pt x="4842" y="16683"/>
                    <a:pt x="7066" y="17940"/>
                    <a:pt x="9462" y="17922"/>
                  </a:cubicBezTo>
                  <a:cubicBezTo>
                    <a:pt x="10715" y="17897"/>
                    <a:pt x="11940" y="17548"/>
                    <a:pt x="13017" y="16906"/>
                  </a:cubicBezTo>
                  <a:cubicBezTo>
                    <a:pt x="16265" y="14960"/>
                    <a:pt x="17320" y="10750"/>
                    <a:pt x="15375" y="7501"/>
                  </a:cubicBezTo>
                  <a:cubicBezTo>
                    <a:pt x="15351" y="7461"/>
                    <a:pt x="15327" y="7423"/>
                    <a:pt x="15303" y="7384"/>
                  </a:cubicBezTo>
                  <a:lnTo>
                    <a:pt x="15303" y="7384"/>
                  </a:lnTo>
                  <a:lnTo>
                    <a:pt x="12763" y="3194"/>
                  </a:lnTo>
                  <a:lnTo>
                    <a:pt x="12763" y="3194"/>
                  </a:lnTo>
                  <a:cubicBezTo>
                    <a:pt x="10703" y="6"/>
                    <a:pt x="6475" y="-953"/>
                    <a:pt x="3241" y="1036"/>
                  </a:cubicBezTo>
                  <a:cubicBezTo>
                    <a:pt x="67" y="3096"/>
                    <a:pt x="-939" y="7281"/>
                    <a:pt x="955" y="10558"/>
                  </a:cubicBezTo>
                  <a:lnTo>
                    <a:pt x="955" y="10558"/>
                  </a:lnTo>
                  <a:close/>
                </a:path>
              </a:pathLst>
            </a:custGeom>
            <a:solidFill>
              <a:srgbClr val="000000"/>
            </a:solidFill>
            <a:ln w="12690" cap="flat">
              <a:no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6F0025E2-6EE9-4CE0-A383-DE90D1AA06EE}"/>
                </a:ext>
              </a:extLst>
            </p:cNvPr>
            <p:cNvSpPr/>
            <p:nvPr/>
          </p:nvSpPr>
          <p:spPr>
            <a:xfrm>
              <a:off x="3275746" y="6465835"/>
              <a:ext cx="6094" cy="12696"/>
            </a:xfrm>
            <a:custGeom>
              <a:avLst/>
              <a:gdLst>
                <a:gd name="connsiteX0" fmla="*/ 0 w 6094"/>
                <a:gd name="connsiteY0" fmla="*/ 0 h 12696"/>
                <a:gd name="connsiteX1" fmla="*/ 6095 w 6094"/>
                <a:gd name="connsiteY1" fmla="*/ 0 h 12696"/>
                <a:gd name="connsiteX2" fmla="*/ 127 w 6094"/>
                <a:gd name="connsiteY2" fmla="*/ 0 h 12696"/>
              </a:gdLst>
              <a:ahLst/>
              <a:cxnLst>
                <a:cxn ang="0">
                  <a:pos x="connsiteX0" y="connsiteY0"/>
                </a:cxn>
                <a:cxn ang="0">
                  <a:pos x="connsiteX1" y="connsiteY1"/>
                </a:cxn>
                <a:cxn ang="0">
                  <a:pos x="connsiteX2" y="connsiteY2"/>
                </a:cxn>
              </a:cxnLst>
              <a:rect l="l" t="t" r="r" b="b"/>
              <a:pathLst>
                <a:path w="6094" h="12696">
                  <a:moveTo>
                    <a:pt x="0" y="0"/>
                  </a:moveTo>
                  <a:lnTo>
                    <a:pt x="6095" y="0"/>
                  </a:lnTo>
                  <a:lnTo>
                    <a:pt x="127" y="0"/>
                  </a:lnTo>
                  <a:close/>
                </a:path>
              </a:pathLst>
            </a:custGeom>
            <a:solidFill>
              <a:srgbClr val="000000"/>
            </a:solidFill>
            <a:ln w="12690"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34346DBE-9C68-40E2-83FD-A34D1A068A9E}"/>
                </a:ext>
              </a:extLst>
            </p:cNvPr>
            <p:cNvSpPr/>
            <p:nvPr/>
          </p:nvSpPr>
          <p:spPr>
            <a:xfrm>
              <a:off x="2580348" y="6463550"/>
              <a:ext cx="22473" cy="1402"/>
            </a:xfrm>
            <a:custGeom>
              <a:avLst/>
              <a:gdLst>
                <a:gd name="connsiteX0" fmla="*/ 22473 w 22473"/>
                <a:gd name="connsiteY0" fmla="*/ 1143 h 1402"/>
                <a:gd name="connsiteX1" fmla="*/ 22473 w 22473"/>
                <a:gd name="connsiteY1" fmla="*/ 1143 h 1402"/>
                <a:gd name="connsiteX2" fmla="*/ 21331 w 22473"/>
                <a:gd name="connsiteY2" fmla="*/ 0 h 1402"/>
                <a:gd name="connsiteX3" fmla="*/ 11554 w 22473"/>
                <a:gd name="connsiteY3" fmla="*/ 0 h 1402"/>
                <a:gd name="connsiteX4" fmla="*/ 11554 w 22473"/>
                <a:gd name="connsiteY4" fmla="*/ 0 h 1402"/>
                <a:gd name="connsiteX5" fmla="*/ 10284 w 22473"/>
                <a:gd name="connsiteY5" fmla="*/ 1270 h 1402"/>
                <a:gd name="connsiteX6" fmla="*/ 0 w 22473"/>
                <a:gd name="connsiteY6" fmla="*/ 1270 h 1402"/>
                <a:gd name="connsiteX7" fmla="*/ 21203 w 22473"/>
                <a:gd name="connsiteY7" fmla="*/ 1270 h 1402"/>
                <a:gd name="connsiteX8" fmla="*/ 22473 w 22473"/>
                <a:gd name="connsiteY8" fmla="*/ 1143 h 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73" h="1402">
                  <a:moveTo>
                    <a:pt x="22473" y="1143"/>
                  </a:moveTo>
                  <a:lnTo>
                    <a:pt x="22473" y="1143"/>
                  </a:lnTo>
                  <a:cubicBezTo>
                    <a:pt x="22473" y="508"/>
                    <a:pt x="21965" y="0"/>
                    <a:pt x="21331" y="0"/>
                  </a:cubicBezTo>
                  <a:lnTo>
                    <a:pt x="11554" y="0"/>
                  </a:lnTo>
                  <a:cubicBezTo>
                    <a:pt x="11554" y="0"/>
                    <a:pt x="11554" y="0"/>
                    <a:pt x="11554" y="0"/>
                  </a:cubicBezTo>
                  <a:cubicBezTo>
                    <a:pt x="11554" y="698"/>
                    <a:pt x="10983" y="1270"/>
                    <a:pt x="10284" y="1270"/>
                  </a:cubicBezTo>
                  <a:lnTo>
                    <a:pt x="0" y="1270"/>
                  </a:lnTo>
                  <a:lnTo>
                    <a:pt x="21203" y="1270"/>
                  </a:lnTo>
                  <a:cubicBezTo>
                    <a:pt x="21610" y="1485"/>
                    <a:pt x="22118" y="1435"/>
                    <a:pt x="22473" y="1143"/>
                  </a:cubicBezTo>
                  <a:close/>
                </a:path>
              </a:pathLst>
            </a:custGeom>
            <a:solidFill>
              <a:srgbClr val="000000"/>
            </a:solidFill>
            <a:ln w="12690"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5EEB42CF-639A-41E0-A3E9-D38407ECB7D6}"/>
                </a:ext>
              </a:extLst>
            </p:cNvPr>
            <p:cNvSpPr/>
            <p:nvPr/>
          </p:nvSpPr>
          <p:spPr>
            <a:xfrm>
              <a:off x="1216089" y="5807763"/>
              <a:ext cx="321607" cy="13839"/>
            </a:xfrm>
            <a:custGeom>
              <a:avLst/>
              <a:gdLst>
                <a:gd name="connsiteX0" fmla="*/ 0 w 321607"/>
                <a:gd name="connsiteY0" fmla="*/ 13840 h 13839"/>
                <a:gd name="connsiteX1" fmla="*/ 314751 w 321607"/>
                <a:gd name="connsiteY1" fmla="*/ 13840 h 13839"/>
                <a:gd name="connsiteX2" fmla="*/ 314751 w 321607"/>
                <a:gd name="connsiteY2" fmla="*/ 6983 h 13839"/>
                <a:gd name="connsiteX3" fmla="*/ 321607 w 321607"/>
                <a:gd name="connsiteY3" fmla="*/ 0 h 13839"/>
                <a:gd name="connsiteX4" fmla="*/ 0 w 321607"/>
                <a:gd name="connsiteY4" fmla="*/ 0 h 13839"/>
                <a:gd name="connsiteX5" fmla="*/ 0 w 321607"/>
                <a:gd name="connsiteY5"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607" h="13839">
                  <a:moveTo>
                    <a:pt x="0" y="13840"/>
                  </a:moveTo>
                  <a:lnTo>
                    <a:pt x="314751" y="13840"/>
                  </a:lnTo>
                  <a:lnTo>
                    <a:pt x="314751" y="6983"/>
                  </a:lnTo>
                  <a:cubicBezTo>
                    <a:pt x="314751" y="3176"/>
                    <a:pt x="317798" y="70"/>
                    <a:pt x="321607" y="0"/>
                  </a:cubicBezTo>
                  <a:lnTo>
                    <a:pt x="0" y="0"/>
                  </a:lnTo>
                  <a:lnTo>
                    <a:pt x="0" y="13840"/>
                  </a:lnTo>
                  <a:close/>
                </a:path>
              </a:pathLst>
            </a:custGeom>
            <a:solidFill>
              <a:srgbClr val="000000"/>
            </a:solidFill>
            <a:ln w="12690"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F4FEFA86-08CA-4062-A1C4-7829F7AB8856}"/>
                </a:ext>
              </a:extLst>
            </p:cNvPr>
            <p:cNvSpPr/>
            <p:nvPr/>
          </p:nvSpPr>
          <p:spPr>
            <a:xfrm>
              <a:off x="3311424" y="5807719"/>
              <a:ext cx="210892" cy="13756"/>
            </a:xfrm>
            <a:custGeom>
              <a:avLst/>
              <a:gdLst>
                <a:gd name="connsiteX0" fmla="*/ 7491 w 210892"/>
                <a:gd name="connsiteY0" fmla="*/ 5504 h 13756"/>
                <a:gd name="connsiteX1" fmla="*/ 2285 w 210892"/>
                <a:gd name="connsiteY1" fmla="*/ 13756 h 13756"/>
                <a:gd name="connsiteX2" fmla="*/ 204036 w 210892"/>
                <a:gd name="connsiteY2" fmla="*/ 13756 h 13756"/>
                <a:gd name="connsiteX3" fmla="*/ 204036 w 210892"/>
                <a:gd name="connsiteY3" fmla="*/ 7027 h 13756"/>
                <a:gd name="connsiteX4" fmla="*/ 210892 w 210892"/>
                <a:gd name="connsiteY4" fmla="*/ 44 h 13756"/>
                <a:gd name="connsiteX5" fmla="*/ 762 w 210892"/>
                <a:gd name="connsiteY5" fmla="*/ 44 h 13756"/>
                <a:gd name="connsiteX6" fmla="*/ 0 w 210892"/>
                <a:gd name="connsiteY6" fmla="*/ 44 h 13756"/>
                <a:gd name="connsiteX7" fmla="*/ 7491 w 210892"/>
                <a:gd name="connsiteY7" fmla="*/ 5504 h 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92" h="13756">
                  <a:moveTo>
                    <a:pt x="7491" y="5504"/>
                  </a:moveTo>
                  <a:cubicBezTo>
                    <a:pt x="8278" y="9211"/>
                    <a:pt x="5967" y="12875"/>
                    <a:pt x="2285" y="13756"/>
                  </a:cubicBezTo>
                  <a:lnTo>
                    <a:pt x="204036" y="13756"/>
                  </a:lnTo>
                  <a:lnTo>
                    <a:pt x="204036" y="7027"/>
                  </a:lnTo>
                  <a:cubicBezTo>
                    <a:pt x="204036" y="3219"/>
                    <a:pt x="207083" y="114"/>
                    <a:pt x="210892" y="44"/>
                  </a:cubicBezTo>
                  <a:lnTo>
                    <a:pt x="762" y="44"/>
                  </a:lnTo>
                  <a:lnTo>
                    <a:pt x="0" y="44"/>
                  </a:lnTo>
                  <a:cubicBezTo>
                    <a:pt x="3530" y="-356"/>
                    <a:pt x="6793" y="2016"/>
                    <a:pt x="7491" y="5504"/>
                  </a:cubicBezTo>
                  <a:close/>
                </a:path>
              </a:pathLst>
            </a:custGeom>
            <a:solidFill>
              <a:srgbClr val="000000"/>
            </a:solidFill>
            <a:ln w="12690"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E9449E65-FDF8-4755-9306-DFE6D19D2AA7}"/>
                </a:ext>
              </a:extLst>
            </p:cNvPr>
            <p:cNvSpPr/>
            <p:nvPr/>
          </p:nvSpPr>
          <p:spPr>
            <a:xfrm>
              <a:off x="3282222" y="5814746"/>
              <a:ext cx="4316" cy="1015"/>
            </a:xfrm>
            <a:custGeom>
              <a:avLst/>
              <a:gdLst>
                <a:gd name="connsiteX0" fmla="*/ 2412 w 4316"/>
                <a:gd name="connsiteY0" fmla="*/ 0 h 1015"/>
                <a:gd name="connsiteX1" fmla="*/ 2412 w 4316"/>
                <a:gd name="connsiteY1" fmla="*/ 0 h 1015"/>
                <a:gd name="connsiteX2" fmla="*/ 3682 w 4316"/>
                <a:gd name="connsiteY2" fmla="*/ 0 h 1015"/>
                <a:gd name="connsiteX3" fmla="*/ 4317 w 4316"/>
                <a:gd name="connsiteY3" fmla="*/ 0 h 1015"/>
                <a:gd name="connsiteX4" fmla="*/ 0 w 4316"/>
                <a:gd name="connsiteY4" fmla="*/ 1016 h 1015"/>
                <a:gd name="connsiteX5" fmla="*/ 0 w 4316"/>
                <a:gd name="connsiteY5" fmla="*/ 1016 h 1015"/>
                <a:gd name="connsiteX6" fmla="*/ 2032 w 4316"/>
                <a:gd name="connsiteY6" fmla="*/ 1016 h 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6" h="1015">
                  <a:moveTo>
                    <a:pt x="2412" y="0"/>
                  </a:moveTo>
                  <a:lnTo>
                    <a:pt x="2412" y="0"/>
                  </a:lnTo>
                  <a:lnTo>
                    <a:pt x="3682" y="0"/>
                  </a:lnTo>
                  <a:lnTo>
                    <a:pt x="4317" y="0"/>
                  </a:lnTo>
                  <a:lnTo>
                    <a:pt x="0" y="1016"/>
                  </a:lnTo>
                  <a:lnTo>
                    <a:pt x="0" y="1016"/>
                  </a:lnTo>
                  <a:cubicBezTo>
                    <a:pt x="673" y="894"/>
                    <a:pt x="1358" y="894"/>
                    <a:pt x="2032" y="1016"/>
                  </a:cubicBezTo>
                  <a:close/>
                </a:path>
              </a:pathLst>
            </a:custGeom>
            <a:solidFill>
              <a:srgbClr val="000000"/>
            </a:solidFill>
            <a:ln w="12690"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0321DC4D-398D-47EA-AE22-A603FAC2333F}"/>
                </a:ext>
              </a:extLst>
            </p:cNvPr>
            <p:cNvSpPr/>
            <p:nvPr/>
          </p:nvSpPr>
          <p:spPr>
            <a:xfrm>
              <a:off x="3310916" y="5821602"/>
              <a:ext cx="2539" cy="78211"/>
            </a:xfrm>
            <a:custGeom>
              <a:avLst/>
              <a:gdLst>
                <a:gd name="connsiteX0" fmla="*/ 1270 w 2539"/>
                <a:gd name="connsiteY0" fmla="*/ 78212 h 78211"/>
                <a:gd name="connsiteX1" fmla="*/ 2539 w 2539"/>
                <a:gd name="connsiteY1" fmla="*/ 78212 h 78211"/>
                <a:gd name="connsiteX2" fmla="*/ 2539 w 2539"/>
                <a:gd name="connsiteY2" fmla="*/ 0 h 78211"/>
                <a:gd name="connsiteX3" fmla="*/ 2539 w 2539"/>
                <a:gd name="connsiteY3" fmla="*/ 0 h 78211"/>
                <a:gd name="connsiteX4" fmla="*/ 0 w 2539"/>
                <a:gd name="connsiteY4" fmla="*/ 0 h 78211"/>
                <a:gd name="connsiteX5" fmla="*/ 0 w 2539"/>
                <a:gd name="connsiteY5" fmla="*/ 78085 h 7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78211">
                  <a:moveTo>
                    <a:pt x="1270" y="78212"/>
                  </a:moveTo>
                  <a:lnTo>
                    <a:pt x="2539" y="78212"/>
                  </a:lnTo>
                  <a:lnTo>
                    <a:pt x="2539" y="0"/>
                  </a:lnTo>
                  <a:lnTo>
                    <a:pt x="2539" y="0"/>
                  </a:lnTo>
                  <a:lnTo>
                    <a:pt x="0" y="0"/>
                  </a:lnTo>
                  <a:lnTo>
                    <a:pt x="0" y="78085"/>
                  </a:lnTo>
                  <a:close/>
                </a:path>
              </a:pathLst>
            </a:custGeom>
            <a:solidFill>
              <a:srgbClr val="000000"/>
            </a:solidFill>
            <a:ln w="12690"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213B9019-3951-4B2D-8BF1-2579C068229F}"/>
                </a:ext>
              </a:extLst>
            </p:cNvPr>
            <p:cNvSpPr/>
            <p:nvPr/>
          </p:nvSpPr>
          <p:spPr>
            <a:xfrm>
              <a:off x="1544679" y="6456186"/>
              <a:ext cx="431306" cy="6602"/>
            </a:xfrm>
            <a:custGeom>
              <a:avLst/>
              <a:gdLst>
                <a:gd name="connsiteX0" fmla="*/ 0 w 431306"/>
                <a:gd name="connsiteY0" fmla="*/ 0 h 6602"/>
                <a:gd name="connsiteX1" fmla="*/ 431307 w 431306"/>
                <a:gd name="connsiteY1" fmla="*/ 0 h 6602"/>
                <a:gd name="connsiteX2" fmla="*/ 431307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7" y="0"/>
                  </a:lnTo>
                  <a:lnTo>
                    <a:pt x="431307" y="6602"/>
                  </a:lnTo>
                  <a:lnTo>
                    <a:pt x="0" y="6602"/>
                  </a:lnTo>
                  <a:close/>
                </a:path>
              </a:pathLst>
            </a:custGeom>
            <a:solidFill>
              <a:srgbClr val="000000"/>
            </a:solidFill>
            <a:ln w="12690"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C09AE4F8-D497-42E2-B514-55FDA9E1C667}"/>
                </a:ext>
              </a:extLst>
            </p:cNvPr>
            <p:cNvSpPr/>
            <p:nvPr/>
          </p:nvSpPr>
          <p:spPr>
            <a:xfrm>
              <a:off x="1543156" y="6464693"/>
              <a:ext cx="432830" cy="4697"/>
            </a:xfrm>
            <a:custGeom>
              <a:avLst/>
              <a:gdLst>
                <a:gd name="connsiteX0" fmla="*/ 1524 w 432830"/>
                <a:gd name="connsiteY0" fmla="*/ 635 h 4697"/>
                <a:gd name="connsiteX1" fmla="*/ 1524 w 432830"/>
                <a:gd name="connsiteY1" fmla="*/ 635 h 4697"/>
                <a:gd name="connsiteX2" fmla="*/ 0 w 432830"/>
                <a:gd name="connsiteY2" fmla="*/ 4698 h 4697"/>
                <a:gd name="connsiteX3" fmla="*/ 432830 w 432830"/>
                <a:gd name="connsiteY3" fmla="*/ 4698 h 4697"/>
                <a:gd name="connsiteX4" fmla="*/ 432830 w 432830"/>
                <a:gd name="connsiteY4" fmla="*/ 0 h 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830" h="4697">
                  <a:moveTo>
                    <a:pt x="1524" y="635"/>
                  </a:moveTo>
                  <a:lnTo>
                    <a:pt x="1524" y="635"/>
                  </a:lnTo>
                  <a:cubicBezTo>
                    <a:pt x="1473" y="2120"/>
                    <a:pt x="940" y="3555"/>
                    <a:pt x="0" y="4698"/>
                  </a:cubicBezTo>
                  <a:lnTo>
                    <a:pt x="432830" y="4698"/>
                  </a:lnTo>
                  <a:lnTo>
                    <a:pt x="432830" y="0"/>
                  </a:lnTo>
                  <a:close/>
                </a:path>
              </a:pathLst>
            </a:custGeom>
            <a:solidFill>
              <a:srgbClr val="000000"/>
            </a:solidFill>
            <a:ln w="12690"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60A37351-E00D-43F4-9895-FB2FD907673A}"/>
                </a:ext>
              </a:extLst>
            </p:cNvPr>
            <p:cNvSpPr/>
            <p:nvPr/>
          </p:nvSpPr>
          <p:spPr>
            <a:xfrm>
              <a:off x="3193599" y="6457018"/>
              <a:ext cx="50786" cy="6786"/>
            </a:xfrm>
            <a:custGeom>
              <a:avLst/>
              <a:gdLst>
                <a:gd name="connsiteX0" fmla="*/ 45327 w 50786"/>
                <a:gd name="connsiteY0" fmla="*/ 5263 h 6786"/>
                <a:gd name="connsiteX1" fmla="*/ 45327 w 50786"/>
                <a:gd name="connsiteY1" fmla="*/ 3993 h 6786"/>
                <a:gd name="connsiteX2" fmla="*/ 45327 w 50786"/>
                <a:gd name="connsiteY2" fmla="*/ 2850 h 6786"/>
                <a:gd name="connsiteX3" fmla="*/ 46470 w 50786"/>
                <a:gd name="connsiteY3" fmla="*/ 1200 h 6786"/>
                <a:gd name="connsiteX4" fmla="*/ 46470 w 50786"/>
                <a:gd name="connsiteY4" fmla="*/ 1200 h 6786"/>
                <a:gd name="connsiteX5" fmla="*/ 48121 w 50786"/>
                <a:gd name="connsiteY5" fmla="*/ 57 h 6786"/>
                <a:gd name="connsiteX6" fmla="*/ 48121 w 50786"/>
                <a:gd name="connsiteY6" fmla="*/ 57 h 6786"/>
                <a:gd name="connsiteX7" fmla="*/ 49771 w 50786"/>
                <a:gd name="connsiteY7" fmla="*/ 57 h 6786"/>
                <a:gd name="connsiteX8" fmla="*/ 50787 w 50786"/>
                <a:gd name="connsiteY8" fmla="*/ 57 h 6786"/>
                <a:gd name="connsiteX9" fmla="*/ 0 w 50786"/>
                <a:gd name="connsiteY9" fmla="*/ 57 h 6786"/>
                <a:gd name="connsiteX10" fmla="*/ 0 w 50786"/>
                <a:gd name="connsiteY10" fmla="*/ 6786 h 6786"/>
                <a:gd name="connsiteX11" fmla="*/ 44312 w 50786"/>
                <a:gd name="connsiteY11" fmla="*/ 6786 h 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86" h="6786">
                  <a:moveTo>
                    <a:pt x="45327" y="5263"/>
                  </a:moveTo>
                  <a:lnTo>
                    <a:pt x="45327" y="3993"/>
                  </a:lnTo>
                  <a:cubicBezTo>
                    <a:pt x="45327" y="3993"/>
                    <a:pt x="45327" y="3231"/>
                    <a:pt x="45327" y="2850"/>
                  </a:cubicBezTo>
                  <a:cubicBezTo>
                    <a:pt x="45594" y="2228"/>
                    <a:pt x="45975" y="1670"/>
                    <a:pt x="46470" y="1200"/>
                  </a:cubicBezTo>
                  <a:cubicBezTo>
                    <a:pt x="46470" y="1200"/>
                    <a:pt x="46470" y="1200"/>
                    <a:pt x="46470" y="1200"/>
                  </a:cubicBezTo>
                  <a:cubicBezTo>
                    <a:pt x="46940" y="705"/>
                    <a:pt x="47498" y="324"/>
                    <a:pt x="48121" y="57"/>
                  </a:cubicBezTo>
                  <a:lnTo>
                    <a:pt x="48121" y="57"/>
                  </a:lnTo>
                  <a:cubicBezTo>
                    <a:pt x="48667" y="-19"/>
                    <a:pt x="49225" y="-19"/>
                    <a:pt x="49771" y="57"/>
                  </a:cubicBezTo>
                  <a:lnTo>
                    <a:pt x="50787" y="57"/>
                  </a:lnTo>
                  <a:lnTo>
                    <a:pt x="0" y="57"/>
                  </a:lnTo>
                  <a:lnTo>
                    <a:pt x="0" y="6786"/>
                  </a:lnTo>
                  <a:lnTo>
                    <a:pt x="44312" y="6786"/>
                  </a:lnTo>
                  <a:close/>
                </a:path>
              </a:pathLst>
            </a:custGeom>
            <a:solidFill>
              <a:srgbClr val="000000"/>
            </a:solidFill>
            <a:ln w="12690" cap="flat">
              <a:no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FBEC164A-DF1D-44EE-95D6-77F5A7DE8C75}"/>
                </a:ext>
              </a:extLst>
            </p:cNvPr>
            <p:cNvSpPr/>
            <p:nvPr/>
          </p:nvSpPr>
          <p:spPr>
            <a:xfrm>
              <a:off x="3194741" y="6466089"/>
              <a:ext cx="50786" cy="4697"/>
            </a:xfrm>
            <a:custGeom>
              <a:avLst/>
              <a:gdLst>
                <a:gd name="connsiteX0" fmla="*/ 49644 w 50786"/>
                <a:gd name="connsiteY0" fmla="*/ 3682 h 4697"/>
                <a:gd name="connsiteX1" fmla="*/ 48374 w 50786"/>
                <a:gd name="connsiteY1" fmla="*/ 3682 h 4697"/>
                <a:gd name="connsiteX2" fmla="*/ 47232 w 50786"/>
                <a:gd name="connsiteY2" fmla="*/ 2920 h 4697"/>
                <a:gd name="connsiteX3" fmla="*/ 45454 w 50786"/>
                <a:gd name="connsiteY3" fmla="*/ 1143 h 4697"/>
                <a:gd name="connsiteX4" fmla="*/ 44692 w 50786"/>
                <a:gd name="connsiteY4" fmla="*/ 0 h 4697"/>
                <a:gd name="connsiteX5" fmla="*/ 44692 w 50786"/>
                <a:gd name="connsiteY5" fmla="*/ 0 h 4697"/>
                <a:gd name="connsiteX6" fmla="*/ 0 w 50786"/>
                <a:gd name="connsiteY6" fmla="*/ 0 h 4697"/>
                <a:gd name="connsiteX7" fmla="*/ 0 w 50786"/>
                <a:gd name="connsiteY7" fmla="*/ 4698 h 4697"/>
                <a:gd name="connsiteX8" fmla="*/ 50787 w 50786"/>
                <a:gd name="connsiteY8" fmla="*/ 4698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86" h="4697">
                  <a:moveTo>
                    <a:pt x="49644" y="3682"/>
                  </a:moveTo>
                  <a:cubicBezTo>
                    <a:pt x="49225" y="3758"/>
                    <a:pt x="48793" y="3758"/>
                    <a:pt x="48374" y="3682"/>
                  </a:cubicBezTo>
                  <a:cubicBezTo>
                    <a:pt x="48374" y="3682"/>
                    <a:pt x="47613" y="3682"/>
                    <a:pt x="47232" y="2920"/>
                  </a:cubicBezTo>
                  <a:cubicBezTo>
                    <a:pt x="46483" y="2514"/>
                    <a:pt x="45860" y="1892"/>
                    <a:pt x="45454" y="1143"/>
                  </a:cubicBezTo>
                  <a:lnTo>
                    <a:pt x="44692" y="0"/>
                  </a:lnTo>
                  <a:lnTo>
                    <a:pt x="44692" y="0"/>
                  </a:lnTo>
                  <a:lnTo>
                    <a:pt x="0" y="0"/>
                  </a:lnTo>
                  <a:lnTo>
                    <a:pt x="0" y="4698"/>
                  </a:lnTo>
                  <a:lnTo>
                    <a:pt x="50787" y="4698"/>
                  </a:lnTo>
                  <a:close/>
                </a:path>
              </a:pathLst>
            </a:custGeom>
            <a:solidFill>
              <a:srgbClr val="000000"/>
            </a:solidFill>
            <a:ln w="12690"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105B9583-BF93-44EF-8689-EEB1DAE2B90C}"/>
                </a:ext>
              </a:extLst>
            </p:cNvPr>
            <p:cNvSpPr/>
            <p:nvPr/>
          </p:nvSpPr>
          <p:spPr>
            <a:xfrm>
              <a:off x="3266985" y="5906163"/>
              <a:ext cx="15743" cy="14601"/>
            </a:xfrm>
            <a:custGeom>
              <a:avLst/>
              <a:gdLst>
                <a:gd name="connsiteX0" fmla="*/ 0 w 15743"/>
                <a:gd name="connsiteY0" fmla="*/ 1905 h 14601"/>
                <a:gd name="connsiteX1" fmla="*/ 2032 w 15743"/>
                <a:gd name="connsiteY1" fmla="*/ 1905 h 14601"/>
                <a:gd name="connsiteX2" fmla="*/ 8888 w 15743"/>
                <a:gd name="connsiteY2" fmla="*/ 8888 h 14601"/>
                <a:gd name="connsiteX3" fmla="*/ 8888 w 15743"/>
                <a:gd name="connsiteY3" fmla="*/ 14601 h 14601"/>
                <a:gd name="connsiteX4" fmla="*/ 15744 w 15743"/>
                <a:gd name="connsiteY4" fmla="*/ 13332 h 14601"/>
                <a:gd name="connsiteX5" fmla="*/ 15744 w 15743"/>
                <a:gd name="connsiteY5" fmla="*/ 13332 h 14601"/>
                <a:gd name="connsiteX6" fmla="*/ 14474 w 15743"/>
                <a:gd name="connsiteY6" fmla="*/ 13332 h 14601"/>
                <a:gd name="connsiteX7" fmla="*/ 13713 w 15743"/>
                <a:gd name="connsiteY7" fmla="*/ 13332 h 14601"/>
                <a:gd name="connsiteX8" fmla="*/ 12316 w 15743"/>
                <a:gd name="connsiteY8" fmla="*/ 12443 h 14601"/>
                <a:gd name="connsiteX9" fmla="*/ 12316 w 15743"/>
                <a:gd name="connsiteY9" fmla="*/ 11681 h 14601"/>
                <a:gd name="connsiteX10" fmla="*/ 11427 w 15743"/>
                <a:gd name="connsiteY10" fmla="*/ 10411 h 14601"/>
                <a:gd name="connsiteX11" fmla="*/ 11427 w 15743"/>
                <a:gd name="connsiteY11" fmla="*/ 9396 h 14601"/>
                <a:gd name="connsiteX12" fmla="*/ 11427 w 15743"/>
                <a:gd name="connsiteY12" fmla="*/ 8634 h 14601"/>
                <a:gd name="connsiteX13" fmla="*/ 11427 w 15743"/>
                <a:gd name="connsiteY13" fmla="*/ 8634 h 14601"/>
                <a:gd name="connsiteX14" fmla="*/ 11427 w 15743"/>
                <a:gd name="connsiteY14" fmla="*/ 8634 h 14601"/>
                <a:gd name="connsiteX15" fmla="*/ 11427 w 15743"/>
                <a:gd name="connsiteY15" fmla="*/ 0 h 14601"/>
                <a:gd name="connsiteX16" fmla="*/ 8888 w 15743"/>
                <a:gd name="connsiteY16" fmla="*/ 0 h 14601"/>
                <a:gd name="connsiteX17" fmla="*/ 3047 w 15743"/>
                <a:gd name="connsiteY17" fmla="*/ 1143 h 14601"/>
                <a:gd name="connsiteX18" fmla="*/ 2159 w 15743"/>
                <a:gd name="connsiteY18" fmla="*/ 1143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43" h="14601">
                  <a:moveTo>
                    <a:pt x="0" y="1905"/>
                  </a:moveTo>
                  <a:cubicBezTo>
                    <a:pt x="673" y="1833"/>
                    <a:pt x="1358" y="1833"/>
                    <a:pt x="2032" y="1905"/>
                  </a:cubicBezTo>
                  <a:cubicBezTo>
                    <a:pt x="5840" y="1974"/>
                    <a:pt x="8888" y="5080"/>
                    <a:pt x="8888" y="8888"/>
                  </a:cubicBezTo>
                  <a:lnTo>
                    <a:pt x="8888" y="14601"/>
                  </a:lnTo>
                  <a:lnTo>
                    <a:pt x="15744" y="13332"/>
                  </a:lnTo>
                  <a:lnTo>
                    <a:pt x="15744" y="13332"/>
                  </a:lnTo>
                  <a:cubicBezTo>
                    <a:pt x="15325" y="13405"/>
                    <a:pt x="14893" y="13405"/>
                    <a:pt x="14474" y="13332"/>
                  </a:cubicBezTo>
                  <a:cubicBezTo>
                    <a:pt x="14474" y="13332"/>
                    <a:pt x="14474" y="13332"/>
                    <a:pt x="13713" y="13332"/>
                  </a:cubicBezTo>
                  <a:cubicBezTo>
                    <a:pt x="13205" y="13112"/>
                    <a:pt x="12735" y="12812"/>
                    <a:pt x="12316" y="12443"/>
                  </a:cubicBezTo>
                  <a:lnTo>
                    <a:pt x="12316" y="11681"/>
                  </a:lnTo>
                  <a:cubicBezTo>
                    <a:pt x="11948" y="11312"/>
                    <a:pt x="11643" y="10882"/>
                    <a:pt x="11427" y="10411"/>
                  </a:cubicBezTo>
                  <a:lnTo>
                    <a:pt x="11427" y="9396"/>
                  </a:lnTo>
                  <a:cubicBezTo>
                    <a:pt x="11427" y="9396"/>
                    <a:pt x="11427" y="9396"/>
                    <a:pt x="11427" y="8634"/>
                  </a:cubicBezTo>
                  <a:lnTo>
                    <a:pt x="11427" y="8634"/>
                  </a:lnTo>
                  <a:cubicBezTo>
                    <a:pt x="11427" y="8634"/>
                    <a:pt x="11427" y="8634"/>
                    <a:pt x="11427" y="8634"/>
                  </a:cubicBezTo>
                  <a:lnTo>
                    <a:pt x="11427" y="0"/>
                  </a:lnTo>
                  <a:lnTo>
                    <a:pt x="8888" y="0"/>
                  </a:lnTo>
                  <a:lnTo>
                    <a:pt x="3047" y="1143"/>
                  </a:lnTo>
                  <a:lnTo>
                    <a:pt x="2159" y="1143"/>
                  </a:lnTo>
                  <a:close/>
                </a:path>
              </a:pathLst>
            </a:custGeom>
            <a:solidFill>
              <a:srgbClr val="000000"/>
            </a:solidFill>
            <a:ln w="12690" cap="flat">
              <a:no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291D2C59-D5B7-42FF-B903-805347BD6961}"/>
                </a:ext>
              </a:extLst>
            </p:cNvPr>
            <p:cNvSpPr/>
            <p:nvPr/>
          </p:nvSpPr>
          <p:spPr>
            <a:xfrm>
              <a:off x="3285142" y="5918733"/>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 name="connsiteX4" fmla="*/ 0 w 12696"/>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12696">
                  <a:moveTo>
                    <a:pt x="0" y="0"/>
                  </a:moveTo>
                  <a:lnTo>
                    <a:pt x="0" y="0"/>
                  </a:lnTo>
                  <a:lnTo>
                    <a:pt x="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CB9CDD2D-5172-44C5-A7AF-FD600771FE88}"/>
                </a:ext>
              </a:extLst>
            </p:cNvPr>
            <p:cNvSpPr/>
            <p:nvPr/>
          </p:nvSpPr>
          <p:spPr>
            <a:xfrm>
              <a:off x="3244893" y="6456186"/>
              <a:ext cx="17140" cy="761"/>
            </a:xfrm>
            <a:custGeom>
              <a:avLst/>
              <a:gdLst>
                <a:gd name="connsiteX0" fmla="*/ 17141 w 17140"/>
                <a:gd name="connsiteY0" fmla="*/ 762 h 761"/>
                <a:gd name="connsiteX1" fmla="*/ 17141 w 17140"/>
                <a:gd name="connsiteY1" fmla="*/ 0 h 761"/>
                <a:gd name="connsiteX2" fmla="*/ 1016 w 17140"/>
                <a:gd name="connsiteY2" fmla="*/ 0 h 761"/>
                <a:gd name="connsiteX3" fmla="*/ 0 w 17140"/>
                <a:gd name="connsiteY3" fmla="*/ 0 h 761"/>
                <a:gd name="connsiteX4" fmla="*/ 1270 w 17140"/>
                <a:gd name="connsiteY4" fmla="*/ 0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 h="761">
                  <a:moveTo>
                    <a:pt x="17141" y="762"/>
                  </a:moveTo>
                  <a:lnTo>
                    <a:pt x="17141" y="0"/>
                  </a:lnTo>
                  <a:lnTo>
                    <a:pt x="1016" y="0"/>
                  </a:lnTo>
                  <a:lnTo>
                    <a:pt x="0" y="0"/>
                  </a:lnTo>
                  <a:lnTo>
                    <a:pt x="1270" y="0"/>
                  </a:lnTo>
                  <a:close/>
                </a:path>
              </a:pathLst>
            </a:custGeom>
            <a:solidFill>
              <a:srgbClr val="000000"/>
            </a:solidFill>
            <a:ln w="12690"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E221050A-5473-4B0A-BF7C-1DCE033DF06D}"/>
                </a:ext>
              </a:extLst>
            </p:cNvPr>
            <p:cNvSpPr/>
            <p:nvPr/>
          </p:nvSpPr>
          <p:spPr>
            <a:xfrm>
              <a:off x="3275746" y="6462788"/>
              <a:ext cx="5967" cy="2412"/>
            </a:xfrm>
            <a:custGeom>
              <a:avLst/>
              <a:gdLst>
                <a:gd name="connsiteX0" fmla="*/ 0 w 5967"/>
                <a:gd name="connsiteY0" fmla="*/ 1270 h 2412"/>
                <a:gd name="connsiteX1" fmla="*/ 0 w 5967"/>
                <a:gd name="connsiteY1" fmla="*/ 1270 h 2412"/>
                <a:gd name="connsiteX2" fmla="*/ 0 w 5967"/>
                <a:gd name="connsiteY2" fmla="*/ 1270 h 2412"/>
                <a:gd name="connsiteX3" fmla="*/ 0 w 5967"/>
                <a:gd name="connsiteY3" fmla="*/ 2412 h 2412"/>
                <a:gd name="connsiteX4" fmla="*/ 5967 w 5967"/>
                <a:gd name="connsiteY4" fmla="*/ 2412 h 2412"/>
                <a:gd name="connsiteX5" fmla="*/ 5967 w 5967"/>
                <a:gd name="connsiteY5" fmla="*/ 1143 h 2412"/>
                <a:gd name="connsiteX6" fmla="*/ 5967 w 5967"/>
                <a:gd name="connsiteY6" fmla="*/ 0 h 2412"/>
                <a:gd name="connsiteX7" fmla="*/ 254 w 5967"/>
                <a:gd name="connsiteY7"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7" h="2412">
                  <a:moveTo>
                    <a:pt x="0" y="1270"/>
                  </a:moveTo>
                  <a:lnTo>
                    <a:pt x="0" y="1270"/>
                  </a:lnTo>
                  <a:lnTo>
                    <a:pt x="0" y="1270"/>
                  </a:lnTo>
                  <a:cubicBezTo>
                    <a:pt x="64" y="1651"/>
                    <a:pt x="64" y="2032"/>
                    <a:pt x="0" y="2412"/>
                  </a:cubicBezTo>
                  <a:lnTo>
                    <a:pt x="5967" y="2412"/>
                  </a:lnTo>
                  <a:cubicBezTo>
                    <a:pt x="5891" y="1994"/>
                    <a:pt x="5891" y="1562"/>
                    <a:pt x="5967" y="1143"/>
                  </a:cubicBezTo>
                  <a:cubicBezTo>
                    <a:pt x="5967" y="1143"/>
                    <a:pt x="5967" y="381"/>
                    <a:pt x="5967" y="0"/>
                  </a:cubicBezTo>
                  <a:lnTo>
                    <a:pt x="254" y="0"/>
                  </a:lnTo>
                  <a:close/>
                </a:path>
              </a:pathLst>
            </a:custGeom>
            <a:solidFill>
              <a:srgbClr val="000000"/>
            </a:solidFill>
            <a:ln w="12690"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5D4AB23C-B7B9-48A5-9150-0214B8454309}"/>
                </a:ext>
              </a:extLst>
            </p:cNvPr>
            <p:cNvSpPr/>
            <p:nvPr/>
          </p:nvSpPr>
          <p:spPr>
            <a:xfrm>
              <a:off x="3282729" y="5918606"/>
              <a:ext cx="2412" cy="542405"/>
            </a:xfrm>
            <a:custGeom>
              <a:avLst/>
              <a:gdLst>
                <a:gd name="connsiteX0" fmla="*/ 0 w 2412"/>
                <a:gd name="connsiteY0" fmla="*/ 0 h 542405"/>
                <a:gd name="connsiteX1" fmla="*/ 0 w 2412"/>
                <a:gd name="connsiteY1" fmla="*/ 542405 h 542405"/>
                <a:gd name="connsiteX2" fmla="*/ 2412 w 2412"/>
                <a:gd name="connsiteY2" fmla="*/ 540247 h 542405"/>
                <a:gd name="connsiteX3" fmla="*/ 2412 w 2412"/>
                <a:gd name="connsiteY3" fmla="*/ 127 h 542405"/>
                <a:gd name="connsiteX4" fmla="*/ 0 w 2412"/>
                <a:gd name="connsiteY4" fmla="*/ 127 h 54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42405">
                  <a:moveTo>
                    <a:pt x="0" y="0"/>
                  </a:moveTo>
                  <a:lnTo>
                    <a:pt x="0" y="542405"/>
                  </a:lnTo>
                  <a:cubicBezTo>
                    <a:pt x="609" y="541491"/>
                    <a:pt x="1448" y="540755"/>
                    <a:pt x="2412" y="540247"/>
                  </a:cubicBezTo>
                  <a:lnTo>
                    <a:pt x="2412" y="127"/>
                  </a:lnTo>
                  <a:lnTo>
                    <a:pt x="0" y="127"/>
                  </a:lnTo>
                  <a:close/>
                </a:path>
              </a:pathLst>
            </a:custGeom>
            <a:solidFill>
              <a:srgbClr val="000000"/>
            </a:solidFill>
            <a:ln w="12690"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08AA0925-6148-4026-A4F8-BD2C5300D28E}"/>
                </a:ext>
              </a:extLst>
            </p:cNvPr>
            <p:cNvSpPr/>
            <p:nvPr/>
          </p:nvSpPr>
          <p:spPr>
            <a:xfrm>
              <a:off x="3318788" y="5905528"/>
              <a:ext cx="196925" cy="2412"/>
            </a:xfrm>
            <a:custGeom>
              <a:avLst/>
              <a:gdLst>
                <a:gd name="connsiteX0" fmla="*/ 254 w 196925"/>
                <a:gd name="connsiteY0" fmla="*/ 2412 h 2412"/>
                <a:gd name="connsiteX1" fmla="*/ 196925 w 196925"/>
                <a:gd name="connsiteY1" fmla="*/ 2412 h 2412"/>
                <a:gd name="connsiteX2" fmla="*/ 196925 w 196925"/>
                <a:gd name="connsiteY2" fmla="*/ 1143 h 2412"/>
                <a:gd name="connsiteX3" fmla="*/ 196925 w 196925"/>
                <a:gd name="connsiteY3" fmla="*/ 0 h 2412"/>
                <a:gd name="connsiteX4" fmla="*/ 0 w 196925"/>
                <a:gd name="connsiteY4" fmla="*/ 0 h 2412"/>
                <a:gd name="connsiteX5" fmla="*/ 0 w 196925"/>
                <a:gd name="connsiteY5"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5" h="2412">
                  <a:moveTo>
                    <a:pt x="254" y="2412"/>
                  </a:moveTo>
                  <a:lnTo>
                    <a:pt x="196925" y="2412"/>
                  </a:lnTo>
                  <a:cubicBezTo>
                    <a:pt x="196850" y="1992"/>
                    <a:pt x="196850" y="1563"/>
                    <a:pt x="196925" y="1143"/>
                  </a:cubicBezTo>
                  <a:lnTo>
                    <a:pt x="196925" y="0"/>
                  </a:lnTo>
                  <a:lnTo>
                    <a:pt x="0" y="0"/>
                  </a:lnTo>
                  <a:cubicBezTo>
                    <a:pt x="63" y="378"/>
                    <a:pt x="63" y="764"/>
                    <a:pt x="0" y="1143"/>
                  </a:cubicBezTo>
                  <a:close/>
                </a:path>
              </a:pathLst>
            </a:custGeom>
            <a:solidFill>
              <a:srgbClr val="000000"/>
            </a:solidFill>
            <a:ln w="12690"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CC054357-5F5D-4A9B-BAEC-752CE567C18D}"/>
                </a:ext>
              </a:extLst>
            </p:cNvPr>
            <p:cNvSpPr/>
            <p:nvPr/>
          </p:nvSpPr>
          <p:spPr>
            <a:xfrm>
              <a:off x="3289458" y="5917590"/>
              <a:ext cx="762" cy="12696"/>
            </a:xfrm>
            <a:custGeom>
              <a:avLst/>
              <a:gdLst>
                <a:gd name="connsiteX0" fmla="*/ 762 w 762"/>
                <a:gd name="connsiteY0" fmla="*/ 0 h 12696"/>
                <a:gd name="connsiteX1" fmla="*/ 0 w 762"/>
                <a:gd name="connsiteY1" fmla="*/ 0 h 12696"/>
              </a:gdLst>
              <a:ahLst/>
              <a:cxnLst>
                <a:cxn ang="0">
                  <a:pos x="connsiteX0" y="connsiteY0"/>
                </a:cxn>
                <a:cxn ang="0">
                  <a:pos x="connsiteX1" y="connsiteY1"/>
                </a:cxn>
              </a:cxnLst>
              <a:rect l="l" t="t" r="r" b="b"/>
              <a:pathLst>
                <a:path w="762" h="12696">
                  <a:moveTo>
                    <a:pt x="762" y="0"/>
                  </a:moveTo>
                  <a:lnTo>
                    <a:pt x="0" y="0"/>
                  </a:lnTo>
                  <a:close/>
                </a:path>
              </a:pathLst>
            </a:custGeom>
            <a:solidFill>
              <a:srgbClr val="000000"/>
            </a:solidFill>
            <a:ln w="12690"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96C05DB0-2426-425B-A558-E17242BCF91A}"/>
                </a:ext>
              </a:extLst>
            </p:cNvPr>
            <p:cNvSpPr/>
            <p:nvPr/>
          </p:nvSpPr>
          <p:spPr>
            <a:xfrm>
              <a:off x="3294918" y="5912257"/>
              <a:ext cx="56" cy="888"/>
            </a:xfrm>
            <a:custGeom>
              <a:avLst/>
              <a:gdLst>
                <a:gd name="connsiteX0" fmla="*/ 0 w 56"/>
                <a:gd name="connsiteY0" fmla="*/ 0 h 888"/>
                <a:gd name="connsiteX1" fmla="*/ 0 w 56"/>
                <a:gd name="connsiteY1" fmla="*/ 889 h 888"/>
                <a:gd name="connsiteX2" fmla="*/ 0 w 56"/>
                <a:gd name="connsiteY2" fmla="*/ 0 h 888"/>
              </a:gdLst>
              <a:ahLst/>
              <a:cxnLst>
                <a:cxn ang="0">
                  <a:pos x="connsiteX0" y="connsiteY0"/>
                </a:cxn>
                <a:cxn ang="0">
                  <a:pos x="connsiteX1" y="connsiteY1"/>
                </a:cxn>
                <a:cxn ang="0">
                  <a:pos x="connsiteX2" y="connsiteY2"/>
                </a:cxn>
              </a:cxnLst>
              <a:rect l="l" t="t" r="r" b="b"/>
              <a:pathLst>
                <a:path w="56" h="888">
                  <a:moveTo>
                    <a:pt x="0" y="0"/>
                  </a:moveTo>
                  <a:cubicBezTo>
                    <a:pt x="12" y="296"/>
                    <a:pt x="12" y="593"/>
                    <a:pt x="0" y="889"/>
                  </a:cubicBezTo>
                  <a:cubicBezTo>
                    <a:pt x="76" y="597"/>
                    <a:pt x="76" y="292"/>
                    <a:pt x="0" y="0"/>
                  </a:cubicBezTo>
                  <a:close/>
                </a:path>
              </a:pathLst>
            </a:custGeom>
            <a:solidFill>
              <a:srgbClr val="000000"/>
            </a:solidFill>
            <a:ln w="12690"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62684AB8-483C-43A4-8B17-E663F095120D}"/>
                </a:ext>
              </a:extLst>
            </p:cNvPr>
            <p:cNvSpPr/>
            <p:nvPr/>
          </p:nvSpPr>
          <p:spPr>
            <a:xfrm>
              <a:off x="3277340" y="5912511"/>
              <a:ext cx="57" cy="1396"/>
            </a:xfrm>
            <a:custGeom>
              <a:avLst/>
              <a:gdLst>
                <a:gd name="connsiteX0" fmla="*/ 57 w 57"/>
                <a:gd name="connsiteY0" fmla="*/ 1397 h 1396"/>
                <a:gd name="connsiteX1" fmla="*/ 57 w 57"/>
                <a:gd name="connsiteY1" fmla="*/ 0 h 1396"/>
                <a:gd name="connsiteX2" fmla="*/ 57 w 57"/>
                <a:gd name="connsiteY2" fmla="*/ 0 h 1396"/>
                <a:gd name="connsiteX3" fmla="*/ 57 w 57"/>
                <a:gd name="connsiteY3" fmla="*/ 1397 h 1396"/>
              </a:gdLst>
              <a:ahLst/>
              <a:cxnLst>
                <a:cxn ang="0">
                  <a:pos x="connsiteX0" y="connsiteY0"/>
                </a:cxn>
                <a:cxn ang="0">
                  <a:pos x="connsiteX1" y="connsiteY1"/>
                </a:cxn>
                <a:cxn ang="0">
                  <a:pos x="connsiteX2" y="connsiteY2"/>
                </a:cxn>
                <a:cxn ang="0">
                  <a:pos x="connsiteX3" y="connsiteY3"/>
                </a:cxn>
              </a:cxnLst>
              <a:rect l="l" t="t" r="r" b="b"/>
              <a:pathLst>
                <a:path w="57" h="1396">
                  <a:moveTo>
                    <a:pt x="57" y="1397"/>
                  </a:moveTo>
                  <a:cubicBezTo>
                    <a:pt x="-19" y="933"/>
                    <a:pt x="-19" y="464"/>
                    <a:pt x="57" y="0"/>
                  </a:cubicBezTo>
                  <a:lnTo>
                    <a:pt x="57" y="0"/>
                  </a:lnTo>
                  <a:cubicBezTo>
                    <a:pt x="57" y="0"/>
                    <a:pt x="57" y="1143"/>
                    <a:pt x="57" y="1397"/>
                  </a:cubicBezTo>
                  <a:close/>
                </a:path>
              </a:pathLst>
            </a:custGeom>
            <a:solidFill>
              <a:srgbClr val="000000"/>
            </a:solidFill>
            <a:ln w="12690"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2A4956C2-1390-4D74-86EC-7152E26A0FF8}"/>
                </a:ext>
              </a:extLst>
            </p:cNvPr>
            <p:cNvSpPr/>
            <p:nvPr/>
          </p:nvSpPr>
          <p:spPr>
            <a:xfrm>
              <a:off x="3283872" y="5918606"/>
              <a:ext cx="3174" cy="761"/>
            </a:xfrm>
            <a:custGeom>
              <a:avLst/>
              <a:gdLst>
                <a:gd name="connsiteX0" fmla="*/ 1269 w 3174"/>
                <a:gd name="connsiteY0" fmla="*/ 0 h 761"/>
                <a:gd name="connsiteX1" fmla="*/ 1269 w 3174"/>
                <a:gd name="connsiteY1" fmla="*/ 0 h 761"/>
                <a:gd name="connsiteX2" fmla="*/ 3174 w 3174"/>
                <a:gd name="connsiteY2" fmla="*/ 0 h 761"/>
                <a:gd name="connsiteX3" fmla="*/ 3174 w 3174"/>
                <a:gd name="connsiteY3" fmla="*/ 0 h 761"/>
                <a:gd name="connsiteX4" fmla="*/ 0 w 3174"/>
                <a:gd name="connsiteY4" fmla="*/ 762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761">
                  <a:moveTo>
                    <a:pt x="1269" y="0"/>
                  </a:moveTo>
                  <a:lnTo>
                    <a:pt x="1269" y="0"/>
                  </a:lnTo>
                  <a:lnTo>
                    <a:pt x="3174" y="0"/>
                  </a:lnTo>
                  <a:lnTo>
                    <a:pt x="3174" y="0"/>
                  </a:lnTo>
                  <a:cubicBezTo>
                    <a:pt x="2196" y="505"/>
                    <a:pt x="1104" y="767"/>
                    <a:pt x="0" y="762"/>
                  </a:cubicBezTo>
                  <a:close/>
                </a:path>
              </a:pathLst>
            </a:custGeom>
            <a:solidFill>
              <a:srgbClr val="000000"/>
            </a:solidFill>
            <a:ln w="12690"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0764FA11-F93F-491B-86CC-7D180FB7C843}"/>
                </a:ext>
              </a:extLst>
            </p:cNvPr>
            <p:cNvSpPr/>
            <p:nvPr/>
          </p:nvSpPr>
          <p:spPr>
            <a:xfrm>
              <a:off x="3281460" y="5918733"/>
              <a:ext cx="2412" cy="141"/>
            </a:xfrm>
            <a:custGeom>
              <a:avLst/>
              <a:gdLst>
                <a:gd name="connsiteX0" fmla="*/ 2412 w 2412"/>
                <a:gd name="connsiteY0" fmla="*/ 0 h 141"/>
                <a:gd name="connsiteX1" fmla="*/ 2412 w 2412"/>
                <a:gd name="connsiteY1" fmla="*/ 0 h 141"/>
                <a:gd name="connsiteX2" fmla="*/ 0 w 2412"/>
                <a:gd name="connsiteY2" fmla="*/ 0 h 141"/>
                <a:gd name="connsiteX3" fmla="*/ 1269 w 2412"/>
                <a:gd name="connsiteY3" fmla="*/ 0 h 141"/>
              </a:gdLst>
              <a:ahLst/>
              <a:cxnLst>
                <a:cxn ang="0">
                  <a:pos x="connsiteX0" y="connsiteY0"/>
                </a:cxn>
                <a:cxn ang="0">
                  <a:pos x="connsiteX1" y="connsiteY1"/>
                </a:cxn>
                <a:cxn ang="0">
                  <a:pos x="connsiteX2" y="connsiteY2"/>
                </a:cxn>
                <a:cxn ang="0">
                  <a:pos x="connsiteX3" y="connsiteY3"/>
                </a:cxn>
              </a:cxnLst>
              <a:rect l="l" t="t" r="r" b="b"/>
              <a:pathLst>
                <a:path w="2412" h="141">
                  <a:moveTo>
                    <a:pt x="2412" y="0"/>
                  </a:moveTo>
                  <a:lnTo>
                    <a:pt x="2412" y="0"/>
                  </a:lnTo>
                  <a:cubicBezTo>
                    <a:pt x="1625" y="189"/>
                    <a:pt x="787" y="189"/>
                    <a:pt x="0" y="0"/>
                  </a:cubicBezTo>
                  <a:cubicBezTo>
                    <a:pt x="419" y="74"/>
                    <a:pt x="851" y="74"/>
                    <a:pt x="1269" y="0"/>
                  </a:cubicBezTo>
                  <a:close/>
                </a:path>
              </a:pathLst>
            </a:custGeom>
            <a:solidFill>
              <a:srgbClr val="000000"/>
            </a:solidFill>
            <a:ln w="12690"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18ED385D-628E-4BBC-AF28-02F7ED3DF946}"/>
                </a:ext>
              </a:extLst>
            </p:cNvPr>
            <p:cNvSpPr/>
            <p:nvPr/>
          </p:nvSpPr>
          <p:spPr>
            <a:xfrm>
              <a:off x="3515139" y="5806822"/>
              <a:ext cx="13970" cy="106662"/>
            </a:xfrm>
            <a:custGeom>
              <a:avLst/>
              <a:gdLst>
                <a:gd name="connsiteX0" fmla="*/ 321 w 13970"/>
                <a:gd name="connsiteY0" fmla="*/ 99848 h 106662"/>
                <a:gd name="connsiteX1" fmla="*/ 321 w 13970"/>
                <a:gd name="connsiteY1" fmla="*/ 101118 h 106662"/>
                <a:gd name="connsiteX2" fmla="*/ 8358 w 13970"/>
                <a:gd name="connsiteY2" fmla="*/ 106534 h 106662"/>
                <a:gd name="connsiteX3" fmla="*/ 13906 w 13970"/>
                <a:gd name="connsiteY3" fmla="*/ 99848 h 106662"/>
                <a:gd name="connsiteX4" fmla="*/ 13906 w 13970"/>
                <a:gd name="connsiteY4" fmla="*/ 7924 h 106662"/>
                <a:gd name="connsiteX5" fmla="*/ 7926 w 13970"/>
                <a:gd name="connsiteY5" fmla="*/ 64 h 106662"/>
                <a:gd name="connsiteX6" fmla="*/ 67 w 13970"/>
                <a:gd name="connsiteY6" fmla="*/ 6045 h 106662"/>
                <a:gd name="connsiteX7" fmla="*/ 67 w 13970"/>
                <a:gd name="connsiteY7" fmla="*/ 7924 h 106662"/>
                <a:gd name="connsiteX8" fmla="*/ 67 w 13970"/>
                <a:gd name="connsiteY8" fmla="*/ 99848 h 1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 h="106662">
                  <a:moveTo>
                    <a:pt x="321" y="99848"/>
                  </a:moveTo>
                  <a:cubicBezTo>
                    <a:pt x="244" y="100268"/>
                    <a:pt x="244" y="100698"/>
                    <a:pt x="321" y="101118"/>
                  </a:cubicBezTo>
                  <a:cubicBezTo>
                    <a:pt x="1045" y="104834"/>
                    <a:pt x="4650" y="107259"/>
                    <a:pt x="8358" y="106534"/>
                  </a:cubicBezTo>
                  <a:cubicBezTo>
                    <a:pt x="11570" y="105910"/>
                    <a:pt x="13881" y="103113"/>
                    <a:pt x="13906" y="99848"/>
                  </a:cubicBezTo>
                  <a:lnTo>
                    <a:pt x="13906" y="7924"/>
                  </a:lnTo>
                  <a:cubicBezTo>
                    <a:pt x="14427" y="4102"/>
                    <a:pt x="11748" y="584"/>
                    <a:pt x="7926" y="64"/>
                  </a:cubicBezTo>
                  <a:cubicBezTo>
                    <a:pt x="4104" y="-455"/>
                    <a:pt x="587" y="2223"/>
                    <a:pt x="67" y="6045"/>
                  </a:cubicBezTo>
                  <a:cubicBezTo>
                    <a:pt x="-22" y="6668"/>
                    <a:pt x="-22" y="7300"/>
                    <a:pt x="67" y="7924"/>
                  </a:cubicBezTo>
                  <a:lnTo>
                    <a:pt x="67" y="99848"/>
                  </a:lnTo>
                  <a:close/>
                </a:path>
              </a:pathLst>
            </a:custGeom>
            <a:solidFill>
              <a:srgbClr val="000000"/>
            </a:solidFill>
            <a:ln w="12690"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47D17F0F-FCAF-4946-B951-8CA04BBD6EEB}"/>
                </a:ext>
              </a:extLst>
            </p:cNvPr>
            <p:cNvSpPr/>
            <p:nvPr/>
          </p:nvSpPr>
          <p:spPr>
            <a:xfrm>
              <a:off x="3294664" y="5909845"/>
              <a:ext cx="10665" cy="2412"/>
            </a:xfrm>
            <a:custGeom>
              <a:avLst/>
              <a:gdLst>
                <a:gd name="connsiteX0" fmla="*/ 10665 w 10665"/>
                <a:gd name="connsiteY0" fmla="*/ 2412 h 2412"/>
                <a:gd name="connsiteX1" fmla="*/ 10665 w 10665"/>
                <a:gd name="connsiteY1" fmla="*/ 0 h 2412"/>
                <a:gd name="connsiteX2" fmla="*/ 6475 w 10665"/>
                <a:gd name="connsiteY2" fmla="*/ 0 h 2412"/>
                <a:gd name="connsiteX3" fmla="*/ 0 w 10665"/>
                <a:gd name="connsiteY3" fmla="*/ 1270 h 2412"/>
                <a:gd name="connsiteX4" fmla="*/ 0 w 10665"/>
                <a:gd name="connsiteY4" fmla="*/ 1270 h 2412"/>
                <a:gd name="connsiteX5" fmla="*/ 0 w 10665"/>
                <a:gd name="connsiteY5" fmla="*/ 2412 h 2412"/>
                <a:gd name="connsiteX6" fmla="*/ 10411 w 10665"/>
                <a:gd name="connsiteY6"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2412">
                  <a:moveTo>
                    <a:pt x="10665" y="2412"/>
                  </a:moveTo>
                  <a:lnTo>
                    <a:pt x="10665" y="0"/>
                  </a:lnTo>
                  <a:lnTo>
                    <a:pt x="6475" y="0"/>
                  </a:lnTo>
                  <a:lnTo>
                    <a:pt x="0" y="1270"/>
                  </a:lnTo>
                  <a:lnTo>
                    <a:pt x="0" y="1270"/>
                  </a:lnTo>
                  <a:cubicBezTo>
                    <a:pt x="0" y="1270"/>
                    <a:pt x="0" y="2032"/>
                    <a:pt x="0" y="2412"/>
                  </a:cubicBezTo>
                  <a:lnTo>
                    <a:pt x="10411" y="2412"/>
                  </a:lnTo>
                  <a:close/>
                </a:path>
              </a:pathLst>
            </a:custGeom>
            <a:solidFill>
              <a:srgbClr val="000000"/>
            </a:solidFill>
            <a:ln w="12690"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65D2B172-D7D7-42E7-8A72-D5F595B49B4D}"/>
                </a:ext>
              </a:extLst>
            </p:cNvPr>
            <p:cNvSpPr/>
            <p:nvPr/>
          </p:nvSpPr>
          <p:spPr>
            <a:xfrm>
              <a:off x="3287046" y="5917844"/>
              <a:ext cx="2412" cy="540373"/>
            </a:xfrm>
            <a:custGeom>
              <a:avLst/>
              <a:gdLst>
                <a:gd name="connsiteX0" fmla="*/ 0 w 2412"/>
                <a:gd name="connsiteY0" fmla="*/ 540374 h 540373"/>
                <a:gd name="connsiteX1" fmla="*/ 1524 w 2412"/>
                <a:gd name="connsiteY1" fmla="*/ 540374 h 540373"/>
                <a:gd name="connsiteX2" fmla="*/ 2412 w 2412"/>
                <a:gd name="connsiteY2" fmla="*/ 540374 h 540373"/>
                <a:gd name="connsiteX3" fmla="*/ 2412 w 2412"/>
                <a:gd name="connsiteY3" fmla="*/ 0 h 540373"/>
                <a:gd name="connsiteX4" fmla="*/ 2412 w 2412"/>
                <a:gd name="connsiteY4" fmla="*/ 0 h 540373"/>
                <a:gd name="connsiteX5" fmla="*/ 1143 w 2412"/>
                <a:gd name="connsiteY5" fmla="*/ 0 h 540373"/>
                <a:gd name="connsiteX6" fmla="*/ 0 w 2412"/>
                <a:gd name="connsiteY6" fmla="*/ 0 h 540373"/>
                <a:gd name="connsiteX7" fmla="*/ 0 w 2412"/>
                <a:gd name="connsiteY7" fmla="*/ 540247 h 54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540373">
                  <a:moveTo>
                    <a:pt x="0" y="540374"/>
                  </a:moveTo>
                  <a:lnTo>
                    <a:pt x="1524" y="540374"/>
                  </a:lnTo>
                  <a:lnTo>
                    <a:pt x="2412" y="540374"/>
                  </a:lnTo>
                  <a:lnTo>
                    <a:pt x="2412" y="0"/>
                  </a:lnTo>
                  <a:lnTo>
                    <a:pt x="2412" y="0"/>
                  </a:lnTo>
                  <a:lnTo>
                    <a:pt x="1143" y="0"/>
                  </a:lnTo>
                  <a:lnTo>
                    <a:pt x="0" y="0"/>
                  </a:lnTo>
                  <a:lnTo>
                    <a:pt x="0" y="540247"/>
                  </a:lnTo>
                  <a:close/>
                </a:path>
              </a:pathLst>
            </a:custGeom>
            <a:solidFill>
              <a:srgbClr val="000000"/>
            </a:solidFill>
            <a:ln w="12690"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FD2B02CF-604A-4F92-B4BD-208B79197A37}"/>
                </a:ext>
              </a:extLst>
            </p:cNvPr>
            <p:cNvSpPr/>
            <p:nvPr/>
          </p:nvSpPr>
          <p:spPr>
            <a:xfrm>
              <a:off x="3319042" y="6466216"/>
              <a:ext cx="56" cy="1523"/>
            </a:xfrm>
            <a:custGeom>
              <a:avLst/>
              <a:gdLst>
                <a:gd name="connsiteX0" fmla="*/ 0 w 56"/>
                <a:gd name="connsiteY0" fmla="*/ 0 h 1523"/>
                <a:gd name="connsiteX1" fmla="*/ 0 w 56"/>
                <a:gd name="connsiteY1" fmla="*/ 0 h 1523"/>
                <a:gd name="connsiteX2" fmla="*/ 0 w 56"/>
                <a:gd name="connsiteY2" fmla="*/ 1524 h 1523"/>
                <a:gd name="connsiteX3" fmla="*/ 0 w 56"/>
                <a:gd name="connsiteY3" fmla="*/ 0 h 1523"/>
              </a:gdLst>
              <a:ahLst/>
              <a:cxnLst>
                <a:cxn ang="0">
                  <a:pos x="connsiteX0" y="connsiteY0"/>
                </a:cxn>
                <a:cxn ang="0">
                  <a:pos x="connsiteX1" y="connsiteY1"/>
                </a:cxn>
                <a:cxn ang="0">
                  <a:pos x="connsiteX2" y="connsiteY2"/>
                </a:cxn>
                <a:cxn ang="0">
                  <a:pos x="connsiteX3" y="connsiteY3"/>
                </a:cxn>
              </a:cxnLst>
              <a:rect l="l" t="t" r="r" b="b"/>
              <a:pathLst>
                <a:path w="56" h="1523">
                  <a:moveTo>
                    <a:pt x="0" y="0"/>
                  </a:moveTo>
                  <a:lnTo>
                    <a:pt x="0" y="0"/>
                  </a:lnTo>
                  <a:cubicBezTo>
                    <a:pt x="64" y="508"/>
                    <a:pt x="64" y="1016"/>
                    <a:pt x="0" y="1524"/>
                  </a:cubicBezTo>
                  <a:cubicBezTo>
                    <a:pt x="76" y="1016"/>
                    <a:pt x="76" y="508"/>
                    <a:pt x="0" y="0"/>
                  </a:cubicBezTo>
                  <a:close/>
                </a:path>
              </a:pathLst>
            </a:custGeom>
            <a:solidFill>
              <a:srgbClr val="000000"/>
            </a:solidFill>
            <a:ln w="12690"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F17D3F60-5A05-4118-BC1C-2A766EFF3971}"/>
                </a:ext>
              </a:extLst>
            </p:cNvPr>
            <p:cNvSpPr/>
            <p:nvPr/>
          </p:nvSpPr>
          <p:spPr>
            <a:xfrm>
              <a:off x="3313836" y="6472565"/>
              <a:ext cx="1396" cy="12696"/>
            </a:xfrm>
            <a:custGeom>
              <a:avLst/>
              <a:gdLst>
                <a:gd name="connsiteX0" fmla="*/ 0 w 1396"/>
                <a:gd name="connsiteY0" fmla="*/ 0 h 12696"/>
                <a:gd name="connsiteX1" fmla="*/ 0 w 1396"/>
                <a:gd name="connsiteY1" fmla="*/ 0 h 12696"/>
                <a:gd name="connsiteX2" fmla="*/ 1396 w 1396"/>
                <a:gd name="connsiteY2" fmla="*/ 0 h 12696"/>
              </a:gdLst>
              <a:ahLst/>
              <a:cxnLst>
                <a:cxn ang="0">
                  <a:pos x="connsiteX0" y="connsiteY0"/>
                </a:cxn>
                <a:cxn ang="0">
                  <a:pos x="connsiteX1" y="connsiteY1"/>
                </a:cxn>
                <a:cxn ang="0">
                  <a:pos x="connsiteX2" y="connsiteY2"/>
                </a:cxn>
              </a:cxnLst>
              <a:rect l="l" t="t" r="r" b="b"/>
              <a:pathLst>
                <a:path w="1396" h="12696">
                  <a:moveTo>
                    <a:pt x="0" y="0"/>
                  </a:moveTo>
                  <a:lnTo>
                    <a:pt x="0" y="0"/>
                  </a:lnTo>
                  <a:lnTo>
                    <a:pt x="1396" y="0"/>
                  </a:lnTo>
                  <a:close/>
                </a:path>
              </a:pathLst>
            </a:custGeom>
            <a:solidFill>
              <a:srgbClr val="000000"/>
            </a:solidFill>
            <a:ln w="12690"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B3770F73-07B5-4DE9-97FC-853AA3E7E43E}"/>
                </a:ext>
              </a:extLst>
            </p:cNvPr>
            <p:cNvSpPr/>
            <p:nvPr/>
          </p:nvSpPr>
          <p:spPr>
            <a:xfrm>
              <a:off x="3281403" y="6458033"/>
              <a:ext cx="29259" cy="13896"/>
            </a:xfrm>
            <a:custGeom>
              <a:avLst/>
              <a:gdLst>
                <a:gd name="connsiteX0" fmla="*/ 23927 w 29259"/>
                <a:gd name="connsiteY0" fmla="*/ 7929 h 13896"/>
                <a:gd name="connsiteX1" fmla="*/ 23927 w 29259"/>
                <a:gd name="connsiteY1" fmla="*/ 692 h 13896"/>
                <a:gd name="connsiteX2" fmla="*/ 8056 w 29259"/>
                <a:gd name="connsiteY2" fmla="*/ 57 h 13896"/>
                <a:gd name="connsiteX3" fmla="*/ 7040 w 29259"/>
                <a:gd name="connsiteY3" fmla="*/ 57 h 13896"/>
                <a:gd name="connsiteX4" fmla="*/ 5517 w 29259"/>
                <a:gd name="connsiteY4" fmla="*/ 57 h 13896"/>
                <a:gd name="connsiteX5" fmla="*/ 3612 w 29259"/>
                <a:gd name="connsiteY5" fmla="*/ 57 h 13896"/>
                <a:gd name="connsiteX6" fmla="*/ 1200 w 29259"/>
                <a:gd name="connsiteY6" fmla="*/ 2216 h 13896"/>
                <a:gd name="connsiteX7" fmla="*/ 57 w 29259"/>
                <a:gd name="connsiteY7" fmla="*/ 4628 h 13896"/>
                <a:gd name="connsiteX8" fmla="*/ 57 w 29259"/>
                <a:gd name="connsiteY8" fmla="*/ 5771 h 13896"/>
                <a:gd name="connsiteX9" fmla="*/ 57 w 29259"/>
                <a:gd name="connsiteY9" fmla="*/ 7040 h 13896"/>
                <a:gd name="connsiteX10" fmla="*/ 57 w 29259"/>
                <a:gd name="connsiteY10" fmla="*/ 7040 h 13896"/>
                <a:gd name="connsiteX11" fmla="*/ 57 w 29259"/>
                <a:gd name="connsiteY11" fmla="*/ 8183 h 13896"/>
                <a:gd name="connsiteX12" fmla="*/ 6279 w 29259"/>
                <a:gd name="connsiteY12" fmla="*/ 12881 h 13896"/>
                <a:gd name="connsiteX13" fmla="*/ 29259 w 29259"/>
                <a:gd name="connsiteY13" fmla="*/ 13897 h 13896"/>
                <a:gd name="connsiteX14" fmla="*/ 29259 w 29259"/>
                <a:gd name="connsiteY14" fmla="*/ 13897 h 13896"/>
                <a:gd name="connsiteX15" fmla="*/ 23927 w 29259"/>
                <a:gd name="connsiteY15" fmla="*/ 7929 h 13896"/>
                <a:gd name="connsiteX16" fmla="*/ 6786 w 29259"/>
                <a:gd name="connsiteY16" fmla="*/ 7929 h 13896"/>
                <a:gd name="connsiteX17" fmla="*/ 2470 w 29259"/>
                <a:gd name="connsiteY17" fmla="*/ 7929 h 13896"/>
                <a:gd name="connsiteX18" fmla="*/ 1327 w 29259"/>
                <a:gd name="connsiteY18" fmla="*/ 6659 h 13896"/>
                <a:gd name="connsiteX19" fmla="*/ 2457 w 29259"/>
                <a:gd name="connsiteY19" fmla="*/ 5504 h 13896"/>
                <a:gd name="connsiteX20" fmla="*/ 2596 w 29259"/>
                <a:gd name="connsiteY20" fmla="*/ 5517 h 13896"/>
                <a:gd name="connsiteX21" fmla="*/ 7040 w 29259"/>
                <a:gd name="connsiteY21" fmla="*/ 5517 h 13896"/>
                <a:gd name="connsiteX22" fmla="*/ 7853 w 29259"/>
                <a:gd name="connsiteY22" fmla="*/ 7116 h 13896"/>
                <a:gd name="connsiteX23" fmla="*/ 7040 w 29259"/>
                <a:gd name="connsiteY23" fmla="*/ 7929 h 1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59" h="13896">
                  <a:moveTo>
                    <a:pt x="23927" y="7929"/>
                  </a:moveTo>
                  <a:lnTo>
                    <a:pt x="23927" y="692"/>
                  </a:lnTo>
                  <a:lnTo>
                    <a:pt x="8056" y="57"/>
                  </a:lnTo>
                  <a:lnTo>
                    <a:pt x="7040" y="57"/>
                  </a:lnTo>
                  <a:lnTo>
                    <a:pt x="5517" y="57"/>
                  </a:lnTo>
                  <a:cubicBezTo>
                    <a:pt x="4882" y="-19"/>
                    <a:pt x="4247" y="-19"/>
                    <a:pt x="3612" y="57"/>
                  </a:cubicBezTo>
                  <a:cubicBezTo>
                    <a:pt x="2647" y="565"/>
                    <a:pt x="1809" y="1301"/>
                    <a:pt x="1200" y="2216"/>
                  </a:cubicBezTo>
                  <a:cubicBezTo>
                    <a:pt x="666" y="2939"/>
                    <a:pt x="285" y="3765"/>
                    <a:pt x="57" y="4628"/>
                  </a:cubicBezTo>
                  <a:cubicBezTo>
                    <a:pt x="57" y="4628"/>
                    <a:pt x="57" y="5390"/>
                    <a:pt x="57" y="5771"/>
                  </a:cubicBezTo>
                  <a:cubicBezTo>
                    <a:pt x="-19" y="6190"/>
                    <a:pt x="-19" y="6621"/>
                    <a:pt x="57" y="7040"/>
                  </a:cubicBezTo>
                  <a:lnTo>
                    <a:pt x="57" y="7040"/>
                  </a:lnTo>
                  <a:cubicBezTo>
                    <a:pt x="-6" y="7421"/>
                    <a:pt x="-6" y="7802"/>
                    <a:pt x="57" y="8183"/>
                  </a:cubicBezTo>
                  <a:cubicBezTo>
                    <a:pt x="959" y="10887"/>
                    <a:pt x="3434" y="12767"/>
                    <a:pt x="6279" y="12881"/>
                  </a:cubicBezTo>
                  <a:lnTo>
                    <a:pt x="29259" y="13897"/>
                  </a:lnTo>
                  <a:lnTo>
                    <a:pt x="29259" y="13897"/>
                  </a:lnTo>
                  <a:cubicBezTo>
                    <a:pt x="26365" y="13300"/>
                    <a:pt x="24206" y="10875"/>
                    <a:pt x="23927" y="7929"/>
                  </a:cubicBezTo>
                  <a:close/>
                  <a:moveTo>
                    <a:pt x="6786" y="7929"/>
                  </a:moveTo>
                  <a:lnTo>
                    <a:pt x="2470" y="7929"/>
                  </a:lnTo>
                  <a:cubicBezTo>
                    <a:pt x="1822" y="7866"/>
                    <a:pt x="1327" y="7320"/>
                    <a:pt x="1327" y="6659"/>
                  </a:cubicBezTo>
                  <a:cubicBezTo>
                    <a:pt x="1327" y="6025"/>
                    <a:pt x="1835" y="5517"/>
                    <a:pt x="2457" y="5504"/>
                  </a:cubicBezTo>
                  <a:cubicBezTo>
                    <a:pt x="2508" y="5504"/>
                    <a:pt x="2558" y="5517"/>
                    <a:pt x="2596" y="5517"/>
                  </a:cubicBezTo>
                  <a:lnTo>
                    <a:pt x="7040" y="5517"/>
                  </a:lnTo>
                  <a:cubicBezTo>
                    <a:pt x="7701" y="5733"/>
                    <a:pt x="8069" y="6456"/>
                    <a:pt x="7853" y="7116"/>
                  </a:cubicBezTo>
                  <a:cubicBezTo>
                    <a:pt x="7726" y="7497"/>
                    <a:pt x="7421" y="7802"/>
                    <a:pt x="7040" y="7929"/>
                  </a:cubicBezTo>
                  <a:close/>
                </a:path>
              </a:pathLst>
            </a:custGeom>
            <a:solidFill>
              <a:srgbClr val="000000"/>
            </a:solidFill>
            <a:ln w="12690"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3BC4C5F7-6720-4303-8F99-E76A84CB21B2}"/>
                </a:ext>
              </a:extLst>
            </p:cNvPr>
            <p:cNvSpPr/>
            <p:nvPr/>
          </p:nvSpPr>
          <p:spPr>
            <a:xfrm>
              <a:off x="3295172" y="5906671"/>
              <a:ext cx="10030" cy="4443"/>
            </a:xfrm>
            <a:custGeom>
              <a:avLst/>
              <a:gdLst>
                <a:gd name="connsiteX0" fmla="*/ 10030 w 10030"/>
                <a:gd name="connsiteY0" fmla="*/ 2539 h 4443"/>
                <a:gd name="connsiteX1" fmla="*/ 10030 w 10030"/>
                <a:gd name="connsiteY1" fmla="*/ 0 h 4443"/>
                <a:gd name="connsiteX2" fmla="*/ 0 w 10030"/>
                <a:gd name="connsiteY2" fmla="*/ 1905 h 4443"/>
                <a:gd name="connsiteX3" fmla="*/ 0 w 10030"/>
                <a:gd name="connsiteY3" fmla="*/ 4444 h 4443"/>
                <a:gd name="connsiteX4" fmla="*/ 6475 w 10030"/>
                <a:gd name="connsiteY4" fmla="*/ 3174 h 4443"/>
                <a:gd name="connsiteX5" fmla="*/ 10030 w 10030"/>
                <a:gd name="connsiteY5" fmla="*/ 2539 h 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0" h="4443">
                  <a:moveTo>
                    <a:pt x="10030" y="2539"/>
                  </a:moveTo>
                  <a:lnTo>
                    <a:pt x="10030" y="0"/>
                  </a:lnTo>
                  <a:lnTo>
                    <a:pt x="0" y="1905"/>
                  </a:lnTo>
                  <a:lnTo>
                    <a:pt x="0" y="4444"/>
                  </a:lnTo>
                  <a:lnTo>
                    <a:pt x="6475" y="3174"/>
                  </a:lnTo>
                  <a:lnTo>
                    <a:pt x="10030" y="2539"/>
                  </a:lnTo>
                  <a:close/>
                </a:path>
              </a:pathLst>
            </a:custGeom>
            <a:solidFill>
              <a:srgbClr val="000000"/>
            </a:solidFill>
            <a:ln w="12690"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CFE0830A-F280-42EF-80BB-CE7C08B9CF5E}"/>
                </a:ext>
              </a:extLst>
            </p:cNvPr>
            <p:cNvSpPr/>
            <p:nvPr/>
          </p:nvSpPr>
          <p:spPr>
            <a:xfrm>
              <a:off x="3282856" y="6463669"/>
              <a:ext cx="6460" cy="2420"/>
            </a:xfrm>
            <a:custGeom>
              <a:avLst/>
              <a:gdLst>
                <a:gd name="connsiteX0" fmla="*/ 5587 w 6460"/>
                <a:gd name="connsiteY0" fmla="*/ 8 h 2420"/>
                <a:gd name="connsiteX1" fmla="*/ 1270 w 6460"/>
                <a:gd name="connsiteY1" fmla="*/ 8 h 2420"/>
                <a:gd name="connsiteX2" fmla="*/ 13 w 6460"/>
                <a:gd name="connsiteY2" fmla="*/ 1011 h 2420"/>
                <a:gd name="connsiteX3" fmla="*/ 0 w 6460"/>
                <a:gd name="connsiteY3" fmla="*/ 1151 h 2420"/>
                <a:gd name="connsiteX4" fmla="*/ 1143 w 6460"/>
                <a:gd name="connsiteY4" fmla="*/ 2421 h 2420"/>
                <a:gd name="connsiteX5" fmla="*/ 5587 w 6460"/>
                <a:gd name="connsiteY5" fmla="*/ 2421 h 2420"/>
                <a:gd name="connsiteX6" fmla="*/ 6399 w 6460"/>
                <a:gd name="connsiteY6" fmla="*/ 821 h 2420"/>
                <a:gd name="connsiteX7" fmla="*/ 5587 w 6460"/>
                <a:gd name="connsiteY7" fmla="*/ 8 h 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0" h="2420">
                  <a:moveTo>
                    <a:pt x="5587" y="8"/>
                  </a:moveTo>
                  <a:lnTo>
                    <a:pt x="1270" y="8"/>
                  </a:lnTo>
                  <a:cubicBezTo>
                    <a:pt x="647" y="-68"/>
                    <a:pt x="76" y="389"/>
                    <a:pt x="13" y="1011"/>
                  </a:cubicBezTo>
                  <a:cubicBezTo>
                    <a:pt x="0" y="1062"/>
                    <a:pt x="0" y="1100"/>
                    <a:pt x="0" y="1151"/>
                  </a:cubicBezTo>
                  <a:cubicBezTo>
                    <a:pt x="0" y="1811"/>
                    <a:pt x="495" y="2357"/>
                    <a:pt x="1143" y="2421"/>
                  </a:cubicBezTo>
                  <a:lnTo>
                    <a:pt x="5587" y="2421"/>
                  </a:lnTo>
                  <a:cubicBezTo>
                    <a:pt x="6247" y="2205"/>
                    <a:pt x="6615" y="1481"/>
                    <a:pt x="6399" y="821"/>
                  </a:cubicBezTo>
                  <a:cubicBezTo>
                    <a:pt x="6272" y="440"/>
                    <a:pt x="5967" y="135"/>
                    <a:pt x="5587" y="8"/>
                  </a:cubicBezTo>
                  <a:close/>
                </a:path>
              </a:pathLst>
            </a:custGeom>
            <a:solidFill>
              <a:srgbClr val="000000"/>
            </a:solidFill>
            <a:ln w="12690"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1B68ED47-687F-49E0-8A6D-D41B36F90B60}"/>
                </a:ext>
              </a:extLst>
            </p:cNvPr>
            <p:cNvSpPr/>
            <p:nvPr/>
          </p:nvSpPr>
          <p:spPr>
            <a:xfrm>
              <a:off x="3286158" y="5808474"/>
              <a:ext cx="32911" cy="17063"/>
            </a:xfrm>
            <a:custGeom>
              <a:avLst/>
              <a:gdLst>
                <a:gd name="connsiteX0" fmla="*/ 2285 w 32911"/>
                <a:gd name="connsiteY0" fmla="*/ 4621 h 17063"/>
                <a:gd name="connsiteX1" fmla="*/ 9268 w 32911"/>
                <a:gd name="connsiteY1" fmla="*/ 11477 h 17063"/>
                <a:gd name="connsiteX2" fmla="*/ 9268 w 32911"/>
                <a:gd name="connsiteY2" fmla="*/ 17064 h 17063"/>
                <a:gd name="connsiteX3" fmla="*/ 25013 w 32911"/>
                <a:gd name="connsiteY3" fmla="*/ 13509 h 17063"/>
                <a:gd name="connsiteX4" fmla="*/ 27552 w 32911"/>
                <a:gd name="connsiteY4" fmla="*/ 13509 h 17063"/>
                <a:gd name="connsiteX5" fmla="*/ 27552 w 32911"/>
                <a:gd name="connsiteY5" fmla="*/ 13509 h 17063"/>
                <a:gd name="connsiteX6" fmla="*/ 32757 w 32911"/>
                <a:gd name="connsiteY6" fmla="*/ 5256 h 17063"/>
                <a:gd name="connsiteX7" fmla="*/ 25266 w 32911"/>
                <a:gd name="connsiteY7" fmla="*/ 50 h 17063"/>
                <a:gd name="connsiteX8" fmla="*/ 24505 w 32911"/>
                <a:gd name="connsiteY8" fmla="*/ 50 h 17063"/>
                <a:gd name="connsiteX9" fmla="*/ 635 w 32911"/>
                <a:gd name="connsiteY9" fmla="*/ 5256 h 17063"/>
                <a:gd name="connsiteX10" fmla="*/ 0 w 32911"/>
                <a:gd name="connsiteY10" fmla="*/ 5256 h 1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11" h="17063">
                  <a:moveTo>
                    <a:pt x="2285" y="4621"/>
                  </a:moveTo>
                  <a:cubicBezTo>
                    <a:pt x="6094" y="4621"/>
                    <a:pt x="9205" y="7671"/>
                    <a:pt x="9268" y="11477"/>
                  </a:cubicBezTo>
                  <a:lnTo>
                    <a:pt x="9268" y="17064"/>
                  </a:lnTo>
                  <a:lnTo>
                    <a:pt x="25013" y="13509"/>
                  </a:lnTo>
                  <a:lnTo>
                    <a:pt x="27552" y="13509"/>
                  </a:lnTo>
                  <a:lnTo>
                    <a:pt x="27552" y="13509"/>
                  </a:lnTo>
                  <a:cubicBezTo>
                    <a:pt x="31234" y="12628"/>
                    <a:pt x="33545" y="8963"/>
                    <a:pt x="32757" y="5256"/>
                  </a:cubicBezTo>
                  <a:cubicBezTo>
                    <a:pt x="31945" y="1870"/>
                    <a:pt x="28720" y="-369"/>
                    <a:pt x="25266" y="50"/>
                  </a:cubicBezTo>
                  <a:cubicBezTo>
                    <a:pt x="25266" y="50"/>
                    <a:pt x="25266" y="50"/>
                    <a:pt x="24505" y="50"/>
                  </a:cubicBezTo>
                  <a:lnTo>
                    <a:pt x="635" y="5256"/>
                  </a:lnTo>
                  <a:lnTo>
                    <a:pt x="0" y="5256"/>
                  </a:lnTo>
                  <a:close/>
                </a:path>
              </a:pathLst>
            </a:custGeom>
            <a:solidFill>
              <a:srgbClr val="000000"/>
            </a:solidFill>
            <a:ln w="12690"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07C6341E-F6AF-4749-9EDB-8698C470C900}"/>
                </a:ext>
              </a:extLst>
            </p:cNvPr>
            <p:cNvSpPr/>
            <p:nvPr/>
          </p:nvSpPr>
          <p:spPr>
            <a:xfrm>
              <a:off x="3284634" y="581474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3BABE0BE-4192-4AA7-9B92-4DAEFF2AFDB6}"/>
                </a:ext>
              </a:extLst>
            </p:cNvPr>
            <p:cNvSpPr/>
            <p:nvPr/>
          </p:nvSpPr>
          <p:spPr>
            <a:xfrm>
              <a:off x="1544679" y="6462915"/>
              <a:ext cx="431306" cy="2412"/>
            </a:xfrm>
            <a:custGeom>
              <a:avLst/>
              <a:gdLst>
                <a:gd name="connsiteX0" fmla="*/ 0 w 431306"/>
                <a:gd name="connsiteY0" fmla="*/ 1778 h 2412"/>
                <a:gd name="connsiteX1" fmla="*/ 0 w 431306"/>
                <a:gd name="connsiteY1" fmla="*/ 2412 h 2412"/>
                <a:gd name="connsiteX2" fmla="*/ 431307 w 431306"/>
                <a:gd name="connsiteY2" fmla="*/ 2412 h 2412"/>
                <a:gd name="connsiteX3" fmla="*/ 431307 w 431306"/>
                <a:gd name="connsiteY3" fmla="*/ 1778 h 2412"/>
                <a:gd name="connsiteX4" fmla="*/ 431307 w 431306"/>
                <a:gd name="connsiteY4" fmla="*/ 1143 h 2412"/>
                <a:gd name="connsiteX5" fmla="*/ 431307 w 431306"/>
                <a:gd name="connsiteY5" fmla="*/ 254 h 2412"/>
                <a:gd name="connsiteX6" fmla="*/ 431307 w 431306"/>
                <a:gd name="connsiteY6" fmla="*/ 0 h 2412"/>
                <a:gd name="connsiteX7" fmla="*/ 0 w 431306"/>
                <a:gd name="connsiteY7" fmla="*/ 0 h 2412"/>
                <a:gd name="connsiteX8" fmla="*/ 0 w 431306"/>
                <a:gd name="connsiteY8" fmla="*/ 254 h 2412"/>
                <a:gd name="connsiteX9" fmla="*/ 0 w 431306"/>
                <a:gd name="connsiteY9" fmla="*/ 1143 h 2412"/>
                <a:gd name="connsiteX10" fmla="*/ 0 w 431306"/>
                <a:gd name="connsiteY10" fmla="*/ 1778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306" h="2412">
                  <a:moveTo>
                    <a:pt x="0" y="1778"/>
                  </a:moveTo>
                  <a:lnTo>
                    <a:pt x="0" y="2412"/>
                  </a:lnTo>
                  <a:lnTo>
                    <a:pt x="431307" y="2412"/>
                  </a:lnTo>
                  <a:lnTo>
                    <a:pt x="431307" y="1778"/>
                  </a:lnTo>
                  <a:lnTo>
                    <a:pt x="431307" y="1143"/>
                  </a:lnTo>
                  <a:lnTo>
                    <a:pt x="431307" y="254"/>
                  </a:lnTo>
                  <a:lnTo>
                    <a:pt x="431307" y="0"/>
                  </a:lnTo>
                  <a:lnTo>
                    <a:pt x="0" y="0"/>
                  </a:lnTo>
                  <a:lnTo>
                    <a:pt x="0" y="254"/>
                  </a:lnTo>
                  <a:lnTo>
                    <a:pt x="0" y="1143"/>
                  </a:lnTo>
                  <a:lnTo>
                    <a:pt x="0" y="1778"/>
                  </a:lnTo>
                  <a:close/>
                </a:path>
              </a:pathLst>
            </a:custGeom>
            <a:solidFill>
              <a:srgbClr val="000000"/>
            </a:solidFill>
            <a:ln w="12690"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EDAA3735-7822-4F89-8CB7-1D5E442561AF}"/>
                </a:ext>
              </a:extLst>
            </p:cNvPr>
            <p:cNvSpPr/>
            <p:nvPr/>
          </p:nvSpPr>
          <p:spPr>
            <a:xfrm>
              <a:off x="2580856" y="6463953"/>
              <a:ext cx="11350" cy="2504"/>
            </a:xfrm>
            <a:custGeom>
              <a:avLst/>
              <a:gdLst>
                <a:gd name="connsiteX0" fmla="*/ 10792 w 11350"/>
                <a:gd name="connsiteY0" fmla="*/ 105 h 2504"/>
                <a:gd name="connsiteX1" fmla="*/ 10792 w 11350"/>
                <a:gd name="connsiteY1" fmla="*/ 105 h 2504"/>
                <a:gd name="connsiteX2" fmla="*/ 9776 w 11350"/>
                <a:gd name="connsiteY2" fmla="*/ 105 h 2504"/>
                <a:gd name="connsiteX3" fmla="*/ 0 w 11350"/>
                <a:gd name="connsiteY3" fmla="*/ 105 h 2504"/>
                <a:gd name="connsiteX4" fmla="*/ 0 w 11350"/>
                <a:gd name="connsiteY4" fmla="*/ 105 h 2504"/>
                <a:gd name="connsiteX5" fmla="*/ 0 w 11350"/>
                <a:gd name="connsiteY5" fmla="*/ 2263 h 2504"/>
                <a:gd name="connsiteX6" fmla="*/ 9269 w 11350"/>
                <a:gd name="connsiteY6" fmla="*/ 2263 h 2504"/>
                <a:gd name="connsiteX7" fmla="*/ 11110 w 11350"/>
                <a:gd name="connsiteY7" fmla="*/ 1946 h 2504"/>
                <a:gd name="connsiteX8" fmla="*/ 10792 w 11350"/>
                <a:gd name="connsiteY8" fmla="*/ 105 h 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0" h="2504">
                  <a:moveTo>
                    <a:pt x="10792" y="105"/>
                  </a:moveTo>
                  <a:cubicBezTo>
                    <a:pt x="10792" y="105"/>
                    <a:pt x="10792" y="105"/>
                    <a:pt x="10792" y="105"/>
                  </a:cubicBezTo>
                  <a:cubicBezTo>
                    <a:pt x="10462" y="-35"/>
                    <a:pt x="10106" y="-35"/>
                    <a:pt x="9776" y="105"/>
                  </a:cubicBezTo>
                  <a:lnTo>
                    <a:pt x="0" y="105"/>
                  </a:lnTo>
                  <a:lnTo>
                    <a:pt x="0" y="105"/>
                  </a:lnTo>
                  <a:cubicBezTo>
                    <a:pt x="127" y="816"/>
                    <a:pt x="127" y="1552"/>
                    <a:pt x="0" y="2263"/>
                  </a:cubicBezTo>
                  <a:lnTo>
                    <a:pt x="9269" y="2263"/>
                  </a:lnTo>
                  <a:cubicBezTo>
                    <a:pt x="9865" y="2682"/>
                    <a:pt x="10691" y="2543"/>
                    <a:pt x="11110" y="1946"/>
                  </a:cubicBezTo>
                  <a:cubicBezTo>
                    <a:pt x="11528" y="1349"/>
                    <a:pt x="11389" y="524"/>
                    <a:pt x="10792" y="105"/>
                  </a:cubicBezTo>
                  <a:close/>
                </a:path>
              </a:pathLst>
            </a:custGeom>
            <a:solidFill>
              <a:srgbClr val="000000"/>
            </a:solidFill>
            <a:ln w="12690"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ECBFFEE5-56D3-41F0-B557-208621237A34}"/>
                </a:ext>
              </a:extLst>
            </p:cNvPr>
            <p:cNvSpPr/>
            <p:nvPr/>
          </p:nvSpPr>
          <p:spPr>
            <a:xfrm>
              <a:off x="3194614" y="6462915"/>
              <a:ext cx="44692" cy="2412"/>
            </a:xfrm>
            <a:custGeom>
              <a:avLst/>
              <a:gdLst>
                <a:gd name="connsiteX0" fmla="*/ 0 w 44692"/>
                <a:gd name="connsiteY0" fmla="*/ 1778 h 2412"/>
                <a:gd name="connsiteX1" fmla="*/ 0 w 44692"/>
                <a:gd name="connsiteY1" fmla="*/ 2412 h 2412"/>
                <a:gd name="connsiteX2" fmla="*/ 44692 w 44692"/>
                <a:gd name="connsiteY2" fmla="*/ 2412 h 2412"/>
                <a:gd name="connsiteX3" fmla="*/ 44692 w 44692"/>
                <a:gd name="connsiteY3" fmla="*/ 0 h 2412"/>
                <a:gd name="connsiteX4" fmla="*/ 381 w 44692"/>
                <a:gd name="connsiteY4" fmla="*/ 0 h 2412"/>
                <a:gd name="connsiteX5" fmla="*/ 381 w 44692"/>
                <a:gd name="connsiteY5" fmla="*/ 1778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92" h="2412">
                  <a:moveTo>
                    <a:pt x="0" y="1778"/>
                  </a:moveTo>
                  <a:lnTo>
                    <a:pt x="0" y="2412"/>
                  </a:lnTo>
                  <a:lnTo>
                    <a:pt x="44692" y="2412"/>
                  </a:lnTo>
                  <a:cubicBezTo>
                    <a:pt x="44565" y="1612"/>
                    <a:pt x="44565" y="800"/>
                    <a:pt x="44692" y="0"/>
                  </a:cubicBezTo>
                  <a:lnTo>
                    <a:pt x="381" y="0"/>
                  </a:lnTo>
                  <a:lnTo>
                    <a:pt x="381" y="1778"/>
                  </a:lnTo>
                  <a:close/>
                </a:path>
              </a:pathLst>
            </a:custGeom>
            <a:solidFill>
              <a:srgbClr val="000000"/>
            </a:solidFill>
            <a:ln w="12690" cap="flat">
              <a:no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C1282FF0-B603-4558-9249-64B5338EC358}"/>
                </a:ext>
              </a:extLst>
            </p:cNvPr>
            <p:cNvSpPr/>
            <p:nvPr/>
          </p:nvSpPr>
          <p:spPr>
            <a:xfrm>
              <a:off x="3269017" y="6471041"/>
              <a:ext cx="2666" cy="85"/>
            </a:xfrm>
            <a:custGeom>
              <a:avLst/>
              <a:gdLst>
                <a:gd name="connsiteX0" fmla="*/ 0 w 2666"/>
                <a:gd name="connsiteY0" fmla="*/ 0 h 85"/>
                <a:gd name="connsiteX1" fmla="*/ 0 w 2666"/>
                <a:gd name="connsiteY1" fmla="*/ 0 h 85"/>
                <a:gd name="connsiteX2" fmla="*/ 2666 w 2666"/>
                <a:gd name="connsiteY2" fmla="*/ 0 h 85"/>
                <a:gd name="connsiteX3" fmla="*/ 0 w 2666"/>
                <a:gd name="connsiteY3" fmla="*/ 0 h 85"/>
              </a:gdLst>
              <a:ahLst/>
              <a:cxnLst>
                <a:cxn ang="0">
                  <a:pos x="connsiteX0" y="connsiteY0"/>
                </a:cxn>
                <a:cxn ang="0">
                  <a:pos x="connsiteX1" y="connsiteY1"/>
                </a:cxn>
                <a:cxn ang="0">
                  <a:pos x="connsiteX2" y="connsiteY2"/>
                </a:cxn>
                <a:cxn ang="0">
                  <a:pos x="connsiteX3" y="connsiteY3"/>
                </a:cxn>
              </a:cxnLst>
              <a:rect l="l" t="t" r="r" b="b"/>
              <a:pathLst>
                <a:path w="2666" h="85">
                  <a:moveTo>
                    <a:pt x="0" y="0"/>
                  </a:moveTo>
                  <a:lnTo>
                    <a:pt x="0" y="0"/>
                  </a:lnTo>
                  <a:cubicBezTo>
                    <a:pt x="889" y="114"/>
                    <a:pt x="1777" y="114"/>
                    <a:pt x="2666" y="0"/>
                  </a:cubicBezTo>
                  <a:cubicBezTo>
                    <a:pt x="1777" y="114"/>
                    <a:pt x="889" y="114"/>
                    <a:pt x="0" y="0"/>
                  </a:cubicBezTo>
                  <a:close/>
                </a:path>
              </a:pathLst>
            </a:custGeom>
            <a:solidFill>
              <a:srgbClr val="000000"/>
            </a:solidFill>
            <a:ln w="12690" cap="flat">
              <a:no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B837FCB7-97CD-4AC1-AAE2-96E1F38EC350}"/>
                </a:ext>
              </a:extLst>
            </p:cNvPr>
            <p:cNvSpPr/>
            <p:nvPr/>
          </p:nvSpPr>
          <p:spPr>
            <a:xfrm>
              <a:off x="3274476" y="6467105"/>
              <a:ext cx="635" cy="1015"/>
            </a:xfrm>
            <a:custGeom>
              <a:avLst/>
              <a:gdLst>
                <a:gd name="connsiteX0" fmla="*/ 0 w 635"/>
                <a:gd name="connsiteY0" fmla="*/ 1016 h 1015"/>
                <a:gd name="connsiteX1" fmla="*/ 635 w 635"/>
                <a:gd name="connsiteY1" fmla="*/ 0 h 1015"/>
                <a:gd name="connsiteX2" fmla="*/ 635 w 635"/>
                <a:gd name="connsiteY2" fmla="*/ 0 h 1015"/>
                <a:gd name="connsiteX3" fmla="*/ 0 w 635"/>
                <a:gd name="connsiteY3" fmla="*/ 1016 h 1015"/>
              </a:gdLst>
              <a:ahLst/>
              <a:cxnLst>
                <a:cxn ang="0">
                  <a:pos x="connsiteX0" y="connsiteY0"/>
                </a:cxn>
                <a:cxn ang="0">
                  <a:pos x="connsiteX1" y="connsiteY1"/>
                </a:cxn>
                <a:cxn ang="0">
                  <a:pos x="connsiteX2" y="connsiteY2"/>
                </a:cxn>
                <a:cxn ang="0">
                  <a:pos x="connsiteX3" y="connsiteY3"/>
                </a:cxn>
              </a:cxnLst>
              <a:rect l="l" t="t" r="r" b="b"/>
              <a:pathLst>
                <a:path w="635" h="1015">
                  <a:moveTo>
                    <a:pt x="0" y="1016"/>
                  </a:moveTo>
                  <a:cubicBezTo>
                    <a:pt x="279" y="724"/>
                    <a:pt x="495" y="381"/>
                    <a:pt x="635" y="0"/>
                  </a:cubicBezTo>
                  <a:lnTo>
                    <a:pt x="635" y="0"/>
                  </a:lnTo>
                  <a:cubicBezTo>
                    <a:pt x="470" y="368"/>
                    <a:pt x="254" y="711"/>
                    <a:pt x="0" y="1016"/>
                  </a:cubicBezTo>
                  <a:close/>
                </a:path>
              </a:pathLst>
            </a:custGeom>
            <a:solidFill>
              <a:srgbClr val="000000"/>
            </a:solidFill>
            <a:ln w="12690" cap="flat">
              <a:no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231D4FF2-1C44-447E-A553-48C6F152ED97}"/>
                </a:ext>
              </a:extLst>
            </p:cNvPr>
            <p:cNvSpPr/>
            <p:nvPr/>
          </p:nvSpPr>
          <p:spPr>
            <a:xfrm>
              <a:off x="3275746" y="6464439"/>
              <a:ext cx="76" cy="1523"/>
            </a:xfrm>
            <a:custGeom>
              <a:avLst/>
              <a:gdLst>
                <a:gd name="connsiteX0" fmla="*/ 0 w 76"/>
                <a:gd name="connsiteY0" fmla="*/ 0 h 1523"/>
                <a:gd name="connsiteX1" fmla="*/ 0 w 76"/>
                <a:gd name="connsiteY1" fmla="*/ 0 h 1523"/>
                <a:gd name="connsiteX2" fmla="*/ 0 w 76"/>
                <a:gd name="connsiteY2" fmla="*/ 1524 h 1523"/>
                <a:gd name="connsiteX3" fmla="*/ 0 w 76"/>
                <a:gd name="connsiteY3" fmla="*/ 1524 h 1523"/>
                <a:gd name="connsiteX4" fmla="*/ 0 w 7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 h="1523">
                  <a:moveTo>
                    <a:pt x="0" y="0"/>
                  </a:moveTo>
                  <a:lnTo>
                    <a:pt x="0" y="0"/>
                  </a:lnTo>
                  <a:cubicBezTo>
                    <a:pt x="64" y="508"/>
                    <a:pt x="64" y="1016"/>
                    <a:pt x="0" y="1524"/>
                  </a:cubicBezTo>
                  <a:lnTo>
                    <a:pt x="0" y="1524"/>
                  </a:lnTo>
                  <a:cubicBezTo>
                    <a:pt x="102" y="1016"/>
                    <a:pt x="102" y="508"/>
                    <a:pt x="0" y="0"/>
                  </a:cubicBezTo>
                  <a:close/>
                </a:path>
              </a:pathLst>
            </a:custGeom>
            <a:solidFill>
              <a:srgbClr val="000000"/>
            </a:solidFill>
            <a:ln w="12690" cap="flat">
              <a:no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56DBC61F-264C-482E-ACB1-FE3F686D3E60}"/>
                </a:ext>
              </a:extLst>
            </p:cNvPr>
            <p:cNvSpPr/>
            <p:nvPr/>
          </p:nvSpPr>
          <p:spPr>
            <a:xfrm>
              <a:off x="3240354" y="6456129"/>
              <a:ext cx="29170" cy="12438"/>
            </a:xfrm>
            <a:custGeom>
              <a:avLst/>
              <a:gdLst>
                <a:gd name="connsiteX0" fmla="*/ 21680 w 29170"/>
                <a:gd name="connsiteY0" fmla="*/ 7929 h 12438"/>
                <a:gd name="connsiteX1" fmla="*/ 21680 w 29170"/>
                <a:gd name="connsiteY1" fmla="*/ 819 h 12438"/>
                <a:gd name="connsiteX2" fmla="*/ 5809 w 29170"/>
                <a:gd name="connsiteY2" fmla="*/ 57 h 12438"/>
                <a:gd name="connsiteX3" fmla="*/ 4539 w 29170"/>
                <a:gd name="connsiteY3" fmla="*/ 57 h 12438"/>
                <a:gd name="connsiteX4" fmla="*/ 2888 w 29170"/>
                <a:gd name="connsiteY4" fmla="*/ 57 h 12438"/>
                <a:gd name="connsiteX5" fmla="*/ 2888 w 29170"/>
                <a:gd name="connsiteY5" fmla="*/ 57 h 12438"/>
                <a:gd name="connsiteX6" fmla="*/ 1238 w 29170"/>
                <a:gd name="connsiteY6" fmla="*/ 1200 h 12438"/>
                <a:gd name="connsiteX7" fmla="*/ 1238 w 29170"/>
                <a:gd name="connsiteY7" fmla="*/ 1200 h 12438"/>
                <a:gd name="connsiteX8" fmla="*/ 95 w 29170"/>
                <a:gd name="connsiteY8" fmla="*/ 2850 h 12438"/>
                <a:gd name="connsiteX9" fmla="*/ 95 w 29170"/>
                <a:gd name="connsiteY9" fmla="*/ 3993 h 12438"/>
                <a:gd name="connsiteX10" fmla="*/ 95 w 29170"/>
                <a:gd name="connsiteY10" fmla="*/ 5263 h 12438"/>
                <a:gd name="connsiteX11" fmla="*/ 95 w 29170"/>
                <a:gd name="connsiteY11" fmla="*/ 5263 h 12438"/>
                <a:gd name="connsiteX12" fmla="*/ 95 w 29170"/>
                <a:gd name="connsiteY12" fmla="*/ 7675 h 12438"/>
                <a:gd name="connsiteX13" fmla="*/ 95 w 29170"/>
                <a:gd name="connsiteY13" fmla="*/ 7675 h 12438"/>
                <a:gd name="connsiteX14" fmla="*/ 857 w 29170"/>
                <a:gd name="connsiteY14" fmla="*/ 8818 h 12438"/>
                <a:gd name="connsiteX15" fmla="*/ 2634 w 29170"/>
                <a:gd name="connsiteY15" fmla="*/ 10595 h 12438"/>
                <a:gd name="connsiteX16" fmla="*/ 3777 w 29170"/>
                <a:gd name="connsiteY16" fmla="*/ 11357 h 12438"/>
                <a:gd name="connsiteX17" fmla="*/ 5047 w 29170"/>
                <a:gd name="connsiteY17" fmla="*/ 11357 h 12438"/>
                <a:gd name="connsiteX18" fmla="*/ 6190 w 29170"/>
                <a:gd name="connsiteY18" fmla="*/ 11357 h 12438"/>
                <a:gd name="connsiteX19" fmla="*/ 6190 w 29170"/>
                <a:gd name="connsiteY19" fmla="*/ 11357 h 12438"/>
                <a:gd name="connsiteX20" fmla="*/ 29171 w 29170"/>
                <a:gd name="connsiteY20" fmla="*/ 12373 h 12438"/>
                <a:gd name="connsiteX21" fmla="*/ 29171 w 29170"/>
                <a:gd name="connsiteY21" fmla="*/ 12373 h 12438"/>
                <a:gd name="connsiteX22" fmla="*/ 21680 w 29170"/>
                <a:gd name="connsiteY22" fmla="*/ 7929 h 1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170" h="12438">
                  <a:moveTo>
                    <a:pt x="21680" y="7929"/>
                  </a:moveTo>
                  <a:lnTo>
                    <a:pt x="21680" y="819"/>
                  </a:lnTo>
                  <a:lnTo>
                    <a:pt x="5809" y="57"/>
                  </a:lnTo>
                  <a:lnTo>
                    <a:pt x="4539" y="57"/>
                  </a:lnTo>
                  <a:cubicBezTo>
                    <a:pt x="3993" y="-19"/>
                    <a:pt x="3434" y="-19"/>
                    <a:pt x="2888" y="57"/>
                  </a:cubicBezTo>
                  <a:lnTo>
                    <a:pt x="2888" y="57"/>
                  </a:lnTo>
                  <a:cubicBezTo>
                    <a:pt x="2266" y="324"/>
                    <a:pt x="1708" y="705"/>
                    <a:pt x="1238" y="1200"/>
                  </a:cubicBezTo>
                  <a:cubicBezTo>
                    <a:pt x="1238" y="1200"/>
                    <a:pt x="1238" y="1200"/>
                    <a:pt x="1238" y="1200"/>
                  </a:cubicBezTo>
                  <a:cubicBezTo>
                    <a:pt x="743" y="1670"/>
                    <a:pt x="362" y="2228"/>
                    <a:pt x="95" y="2850"/>
                  </a:cubicBezTo>
                  <a:cubicBezTo>
                    <a:pt x="95" y="2850"/>
                    <a:pt x="95" y="3612"/>
                    <a:pt x="95" y="3993"/>
                  </a:cubicBezTo>
                  <a:lnTo>
                    <a:pt x="95" y="5263"/>
                  </a:lnTo>
                  <a:lnTo>
                    <a:pt x="95" y="5263"/>
                  </a:lnTo>
                  <a:cubicBezTo>
                    <a:pt x="-32" y="6063"/>
                    <a:pt x="-32" y="6875"/>
                    <a:pt x="95" y="7675"/>
                  </a:cubicBezTo>
                  <a:lnTo>
                    <a:pt x="95" y="7675"/>
                  </a:lnTo>
                  <a:lnTo>
                    <a:pt x="857" y="8818"/>
                  </a:lnTo>
                  <a:cubicBezTo>
                    <a:pt x="1263" y="9567"/>
                    <a:pt x="1885" y="10189"/>
                    <a:pt x="2634" y="10595"/>
                  </a:cubicBezTo>
                  <a:cubicBezTo>
                    <a:pt x="2634" y="10595"/>
                    <a:pt x="2634" y="11230"/>
                    <a:pt x="3777" y="11357"/>
                  </a:cubicBezTo>
                  <a:cubicBezTo>
                    <a:pt x="4196" y="11433"/>
                    <a:pt x="4628" y="11433"/>
                    <a:pt x="5047" y="11357"/>
                  </a:cubicBezTo>
                  <a:lnTo>
                    <a:pt x="6190" y="11357"/>
                  </a:lnTo>
                  <a:lnTo>
                    <a:pt x="6190" y="11357"/>
                  </a:lnTo>
                  <a:lnTo>
                    <a:pt x="29171" y="12373"/>
                  </a:lnTo>
                  <a:lnTo>
                    <a:pt x="29171" y="12373"/>
                  </a:lnTo>
                  <a:cubicBezTo>
                    <a:pt x="25946" y="12817"/>
                    <a:pt x="22835" y="10976"/>
                    <a:pt x="21680" y="7929"/>
                  </a:cubicBezTo>
                  <a:close/>
                </a:path>
              </a:pathLst>
            </a:custGeom>
            <a:solidFill>
              <a:srgbClr val="000000"/>
            </a:solidFill>
            <a:ln w="12690" cap="flat">
              <a:no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9714745D-E90B-449F-AC62-E39C2368FBF6}"/>
                </a:ext>
              </a:extLst>
            </p:cNvPr>
            <p:cNvSpPr/>
            <p:nvPr/>
          </p:nvSpPr>
          <p:spPr>
            <a:xfrm>
              <a:off x="264218" y="5973455"/>
              <a:ext cx="15109" cy="15617"/>
            </a:xfrm>
            <a:custGeom>
              <a:avLst/>
              <a:gdLst>
                <a:gd name="connsiteX0" fmla="*/ 0 w 15109"/>
                <a:gd name="connsiteY0" fmla="*/ 10030 h 15617"/>
                <a:gd name="connsiteX1" fmla="*/ 0 w 15109"/>
                <a:gd name="connsiteY1" fmla="*/ 12570 h 15617"/>
                <a:gd name="connsiteX2" fmla="*/ 4444 w 15109"/>
                <a:gd name="connsiteY2" fmla="*/ 15617 h 15617"/>
                <a:gd name="connsiteX3" fmla="*/ 4444 w 15109"/>
                <a:gd name="connsiteY3" fmla="*/ 11935 h 15617"/>
                <a:gd name="connsiteX4" fmla="*/ 11427 w 15109"/>
                <a:gd name="connsiteY4" fmla="*/ 4952 h 15617"/>
                <a:gd name="connsiteX5" fmla="*/ 15109 w 15109"/>
                <a:gd name="connsiteY5" fmla="*/ 6348 h 15617"/>
                <a:gd name="connsiteX6" fmla="*/ 15109 w 15109"/>
                <a:gd name="connsiteY6" fmla="*/ 6348 h 15617"/>
                <a:gd name="connsiteX7" fmla="*/ 5587 w 15109"/>
                <a:gd name="connsiteY7" fmla="*/ 0 h 15617"/>
                <a:gd name="connsiteX8" fmla="*/ 5587 w 15109"/>
                <a:gd name="connsiteY8" fmla="*/ 3682 h 15617"/>
                <a:gd name="connsiteX9" fmla="*/ 0 w 15109"/>
                <a:gd name="connsiteY9" fmla="*/ 10030 h 1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09" h="15617">
                  <a:moveTo>
                    <a:pt x="0" y="10030"/>
                  </a:moveTo>
                  <a:lnTo>
                    <a:pt x="0" y="12570"/>
                  </a:lnTo>
                  <a:lnTo>
                    <a:pt x="4444" y="15617"/>
                  </a:lnTo>
                  <a:lnTo>
                    <a:pt x="4444" y="11935"/>
                  </a:lnTo>
                  <a:cubicBezTo>
                    <a:pt x="4444" y="8078"/>
                    <a:pt x="7570" y="4952"/>
                    <a:pt x="11427" y="4952"/>
                  </a:cubicBezTo>
                  <a:cubicBezTo>
                    <a:pt x="12764" y="5047"/>
                    <a:pt x="14045" y="5533"/>
                    <a:pt x="15109" y="6348"/>
                  </a:cubicBezTo>
                  <a:lnTo>
                    <a:pt x="15109" y="6348"/>
                  </a:lnTo>
                  <a:lnTo>
                    <a:pt x="5587" y="0"/>
                  </a:lnTo>
                  <a:lnTo>
                    <a:pt x="5587" y="3682"/>
                  </a:lnTo>
                  <a:cubicBezTo>
                    <a:pt x="5453" y="6850"/>
                    <a:pt x="3126" y="9495"/>
                    <a:pt x="0" y="10030"/>
                  </a:cubicBezTo>
                  <a:close/>
                </a:path>
              </a:pathLst>
            </a:custGeom>
            <a:solidFill>
              <a:srgbClr val="000000"/>
            </a:solidFill>
            <a:ln w="12690" cap="flat">
              <a:no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A5EA77C9-C074-4C9A-BC60-AE83B441090B}"/>
                </a:ext>
              </a:extLst>
            </p:cNvPr>
            <p:cNvSpPr/>
            <p:nvPr/>
          </p:nvSpPr>
          <p:spPr>
            <a:xfrm>
              <a:off x="257615" y="59809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33981167-8D71-4D69-9EDF-6C38AE39BF8D}"/>
                </a:ext>
              </a:extLst>
            </p:cNvPr>
            <p:cNvSpPr/>
            <p:nvPr/>
          </p:nvSpPr>
          <p:spPr>
            <a:xfrm>
              <a:off x="258631" y="5982216"/>
              <a:ext cx="3174" cy="2158"/>
            </a:xfrm>
            <a:custGeom>
              <a:avLst/>
              <a:gdLst>
                <a:gd name="connsiteX0" fmla="*/ 508 w 3174"/>
                <a:gd name="connsiteY0" fmla="*/ 381 h 2158"/>
                <a:gd name="connsiteX1" fmla="*/ 3174 w 3174"/>
                <a:gd name="connsiteY1" fmla="*/ 2158 h 2158"/>
                <a:gd name="connsiteX2" fmla="*/ 3174 w 3174"/>
                <a:gd name="connsiteY2" fmla="*/ 1270 h 2158"/>
                <a:gd name="connsiteX3" fmla="*/ 0 w 3174"/>
                <a:gd name="connsiteY3" fmla="*/ 0 h 2158"/>
              </a:gdLst>
              <a:ahLst/>
              <a:cxnLst>
                <a:cxn ang="0">
                  <a:pos x="connsiteX0" y="connsiteY0"/>
                </a:cxn>
                <a:cxn ang="0">
                  <a:pos x="connsiteX1" y="connsiteY1"/>
                </a:cxn>
                <a:cxn ang="0">
                  <a:pos x="connsiteX2" y="connsiteY2"/>
                </a:cxn>
                <a:cxn ang="0">
                  <a:pos x="connsiteX3" y="connsiteY3"/>
                </a:cxn>
              </a:cxnLst>
              <a:rect l="l" t="t" r="r" b="b"/>
              <a:pathLst>
                <a:path w="3174" h="2158">
                  <a:moveTo>
                    <a:pt x="508" y="381"/>
                  </a:moveTo>
                  <a:lnTo>
                    <a:pt x="3174" y="2158"/>
                  </a:lnTo>
                  <a:lnTo>
                    <a:pt x="3174" y="1270"/>
                  </a:lnTo>
                  <a:cubicBezTo>
                    <a:pt x="2021" y="1139"/>
                    <a:pt x="926" y="700"/>
                    <a:pt x="0" y="0"/>
                  </a:cubicBezTo>
                  <a:close/>
                </a:path>
              </a:pathLst>
            </a:custGeom>
            <a:solidFill>
              <a:srgbClr val="000000"/>
            </a:solidFill>
            <a:ln w="12690" cap="flat">
              <a:no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4ECA25CB-EE05-4F8E-B311-7C710D66DB3F}"/>
                </a:ext>
              </a:extLst>
            </p:cNvPr>
            <p:cNvSpPr/>
            <p:nvPr/>
          </p:nvSpPr>
          <p:spPr>
            <a:xfrm>
              <a:off x="1299760" y="6393534"/>
              <a:ext cx="69450" cy="57"/>
            </a:xfrm>
            <a:custGeom>
              <a:avLst/>
              <a:gdLst>
                <a:gd name="connsiteX0" fmla="*/ 1651 w 69450"/>
                <a:gd name="connsiteY0" fmla="*/ 57 h 57"/>
                <a:gd name="connsiteX1" fmla="*/ 67673 w 69450"/>
                <a:gd name="connsiteY1" fmla="*/ 57 h 57"/>
                <a:gd name="connsiteX2" fmla="*/ 69451 w 69450"/>
                <a:gd name="connsiteY2" fmla="*/ 57 h 57"/>
                <a:gd name="connsiteX3" fmla="*/ 0 w 69450"/>
                <a:gd name="connsiteY3" fmla="*/ 57 h 57"/>
                <a:gd name="connsiteX4" fmla="*/ 1651 w 69450"/>
                <a:gd name="connsiteY4" fmla="*/ 57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50" h="57">
                  <a:moveTo>
                    <a:pt x="1651" y="57"/>
                  </a:moveTo>
                  <a:lnTo>
                    <a:pt x="67673" y="57"/>
                  </a:lnTo>
                  <a:lnTo>
                    <a:pt x="69451" y="57"/>
                  </a:lnTo>
                  <a:lnTo>
                    <a:pt x="0" y="57"/>
                  </a:lnTo>
                  <a:cubicBezTo>
                    <a:pt x="546" y="-19"/>
                    <a:pt x="1105" y="-19"/>
                    <a:pt x="1651" y="57"/>
                  </a:cubicBezTo>
                  <a:close/>
                </a:path>
              </a:pathLst>
            </a:custGeom>
            <a:solidFill>
              <a:srgbClr val="000000"/>
            </a:solidFill>
            <a:ln w="12690" cap="flat">
              <a:no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CEAEFD89-4485-4BE6-8F0F-E50801120C4A}"/>
                </a:ext>
              </a:extLst>
            </p:cNvPr>
            <p:cNvSpPr/>
            <p:nvPr/>
          </p:nvSpPr>
          <p:spPr>
            <a:xfrm>
              <a:off x="0" y="6199965"/>
              <a:ext cx="245173" cy="2412"/>
            </a:xfrm>
            <a:custGeom>
              <a:avLst/>
              <a:gdLst>
                <a:gd name="connsiteX0" fmla="*/ 245173 w 245173"/>
                <a:gd name="connsiteY0" fmla="*/ 2412 h 2412"/>
                <a:gd name="connsiteX1" fmla="*/ 245173 w 245173"/>
                <a:gd name="connsiteY1" fmla="*/ 1270 h 2412"/>
                <a:gd name="connsiteX2" fmla="*/ 245173 w 245173"/>
                <a:gd name="connsiteY2" fmla="*/ 0 h 2412"/>
                <a:gd name="connsiteX3" fmla="*/ 0 w 245173"/>
                <a:gd name="connsiteY3" fmla="*/ 0 h 2412"/>
                <a:gd name="connsiteX4" fmla="*/ 0 w 245173"/>
                <a:gd name="connsiteY4" fmla="*/ 2412 h 2412"/>
                <a:gd name="connsiteX5" fmla="*/ 245173 w 245173"/>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2412">
                  <a:moveTo>
                    <a:pt x="245173" y="2412"/>
                  </a:moveTo>
                  <a:lnTo>
                    <a:pt x="245173" y="1270"/>
                  </a:lnTo>
                  <a:cubicBezTo>
                    <a:pt x="245173" y="1270"/>
                    <a:pt x="245173" y="381"/>
                    <a:pt x="245173" y="0"/>
                  </a:cubicBezTo>
                  <a:lnTo>
                    <a:pt x="0" y="0"/>
                  </a:lnTo>
                  <a:lnTo>
                    <a:pt x="0" y="2412"/>
                  </a:lnTo>
                  <a:lnTo>
                    <a:pt x="245173" y="2412"/>
                  </a:lnTo>
                  <a:close/>
                </a:path>
              </a:pathLst>
            </a:custGeom>
            <a:solidFill>
              <a:srgbClr val="000000"/>
            </a:solidFill>
            <a:ln w="12690"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74D7F11B-50D5-4483-9273-EF168C1C2E71}"/>
                </a:ext>
              </a:extLst>
            </p:cNvPr>
            <p:cNvSpPr/>
            <p:nvPr/>
          </p:nvSpPr>
          <p:spPr>
            <a:xfrm>
              <a:off x="702888" y="6082648"/>
              <a:ext cx="1045" cy="2920"/>
            </a:xfrm>
            <a:custGeom>
              <a:avLst/>
              <a:gdLst>
                <a:gd name="connsiteX0" fmla="*/ 0 w 1045"/>
                <a:gd name="connsiteY0" fmla="*/ 762 h 2920"/>
                <a:gd name="connsiteX1" fmla="*/ 0 w 1045"/>
                <a:gd name="connsiteY1" fmla="*/ 0 h 2920"/>
                <a:gd name="connsiteX2" fmla="*/ 1016 w 1045"/>
                <a:gd name="connsiteY2" fmla="*/ 1905 h 2920"/>
                <a:gd name="connsiteX3" fmla="*/ 1016 w 1045"/>
                <a:gd name="connsiteY3" fmla="*/ 2920 h 2920"/>
                <a:gd name="connsiteX4" fmla="*/ 1016 w 1045"/>
                <a:gd name="connsiteY4" fmla="*/ 2920 h 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5" h="2920">
                  <a:moveTo>
                    <a:pt x="0" y="762"/>
                  </a:moveTo>
                  <a:lnTo>
                    <a:pt x="0" y="0"/>
                  </a:lnTo>
                  <a:cubicBezTo>
                    <a:pt x="387" y="609"/>
                    <a:pt x="728" y="1244"/>
                    <a:pt x="1016" y="1905"/>
                  </a:cubicBezTo>
                  <a:cubicBezTo>
                    <a:pt x="1055" y="2247"/>
                    <a:pt x="1055" y="2577"/>
                    <a:pt x="1016" y="2920"/>
                  </a:cubicBezTo>
                  <a:lnTo>
                    <a:pt x="1016" y="2920"/>
                  </a:lnTo>
                  <a:close/>
                </a:path>
              </a:pathLst>
            </a:custGeom>
            <a:solidFill>
              <a:srgbClr val="000000"/>
            </a:solidFill>
            <a:ln w="12690" cap="flat">
              <a:no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DC98BDDD-2AE7-4E47-BD99-E401A84B6EE8}"/>
                </a:ext>
              </a:extLst>
            </p:cNvPr>
            <p:cNvSpPr/>
            <p:nvPr/>
          </p:nvSpPr>
          <p:spPr>
            <a:xfrm>
              <a:off x="269296" y="4974348"/>
              <a:ext cx="50" cy="1396"/>
            </a:xfrm>
            <a:custGeom>
              <a:avLst/>
              <a:gdLst>
                <a:gd name="connsiteX0" fmla="*/ 0 w 50"/>
                <a:gd name="connsiteY0" fmla="*/ 0 h 1396"/>
                <a:gd name="connsiteX1" fmla="*/ 0 w 50"/>
                <a:gd name="connsiteY1" fmla="*/ 0 h 1396"/>
                <a:gd name="connsiteX2" fmla="*/ 0 w 50"/>
                <a:gd name="connsiteY2" fmla="*/ 1397 h 1396"/>
                <a:gd name="connsiteX3" fmla="*/ 0 w 50"/>
                <a:gd name="connsiteY3" fmla="*/ 0 h 1396"/>
              </a:gdLst>
              <a:ahLst/>
              <a:cxnLst>
                <a:cxn ang="0">
                  <a:pos x="connsiteX0" y="connsiteY0"/>
                </a:cxn>
                <a:cxn ang="0">
                  <a:pos x="connsiteX1" y="connsiteY1"/>
                </a:cxn>
                <a:cxn ang="0">
                  <a:pos x="connsiteX2" y="connsiteY2"/>
                </a:cxn>
                <a:cxn ang="0">
                  <a:pos x="connsiteX3" y="connsiteY3"/>
                </a:cxn>
              </a:cxnLst>
              <a:rect l="l" t="t" r="r" b="b"/>
              <a:pathLst>
                <a:path w="50" h="1396">
                  <a:moveTo>
                    <a:pt x="0" y="0"/>
                  </a:moveTo>
                  <a:lnTo>
                    <a:pt x="0" y="0"/>
                  </a:lnTo>
                  <a:cubicBezTo>
                    <a:pt x="42" y="465"/>
                    <a:pt x="42" y="932"/>
                    <a:pt x="0" y="1397"/>
                  </a:cubicBezTo>
                  <a:cubicBezTo>
                    <a:pt x="67" y="933"/>
                    <a:pt x="67" y="463"/>
                    <a:pt x="0" y="0"/>
                  </a:cubicBezTo>
                  <a:close/>
                </a:path>
              </a:pathLst>
            </a:custGeom>
            <a:solidFill>
              <a:srgbClr val="000000"/>
            </a:solidFill>
            <a:ln w="12690"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19F9094A-0C1F-42B6-BE0C-D102346E8D59}"/>
                </a:ext>
              </a:extLst>
            </p:cNvPr>
            <p:cNvSpPr/>
            <p:nvPr/>
          </p:nvSpPr>
          <p:spPr>
            <a:xfrm>
              <a:off x="257615" y="4958223"/>
              <a:ext cx="11680" cy="15997"/>
            </a:xfrm>
            <a:custGeom>
              <a:avLst/>
              <a:gdLst>
                <a:gd name="connsiteX0" fmla="*/ 11681 w 11680"/>
                <a:gd name="connsiteY0" fmla="*/ 15998 h 15997"/>
                <a:gd name="connsiteX1" fmla="*/ 5079 w 11680"/>
                <a:gd name="connsiteY1" fmla="*/ 0 h 15997"/>
                <a:gd name="connsiteX2" fmla="*/ 5079 w 11680"/>
                <a:gd name="connsiteY2" fmla="*/ 0 h 15997"/>
                <a:gd name="connsiteX3" fmla="*/ 1243 w 11680"/>
                <a:gd name="connsiteY3" fmla="*/ 8905 h 15997"/>
                <a:gd name="connsiteX4" fmla="*/ 0 w 11680"/>
                <a:gd name="connsiteY4" fmla="*/ 9269 h 15997"/>
                <a:gd name="connsiteX5" fmla="*/ 0 w 11680"/>
                <a:gd name="connsiteY5" fmla="*/ 14728 h 15997"/>
                <a:gd name="connsiteX6" fmla="*/ 5333 w 11680"/>
                <a:gd name="connsiteY6" fmla="*/ 11808 h 15997"/>
                <a:gd name="connsiteX7" fmla="*/ 11681 w 11680"/>
                <a:gd name="connsiteY7" fmla="*/ 15998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80" h="15997">
                  <a:moveTo>
                    <a:pt x="11681" y="15998"/>
                  </a:moveTo>
                  <a:lnTo>
                    <a:pt x="5079" y="0"/>
                  </a:lnTo>
                  <a:lnTo>
                    <a:pt x="5079" y="0"/>
                  </a:lnTo>
                  <a:cubicBezTo>
                    <a:pt x="6479" y="3518"/>
                    <a:pt x="4761" y="7505"/>
                    <a:pt x="1243" y="8905"/>
                  </a:cubicBezTo>
                  <a:cubicBezTo>
                    <a:pt x="842" y="9065"/>
                    <a:pt x="425" y="9187"/>
                    <a:pt x="0" y="9269"/>
                  </a:cubicBezTo>
                  <a:lnTo>
                    <a:pt x="0" y="14728"/>
                  </a:lnTo>
                  <a:cubicBezTo>
                    <a:pt x="1149" y="12894"/>
                    <a:pt x="3168" y="11788"/>
                    <a:pt x="5333" y="11808"/>
                  </a:cubicBezTo>
                  <a:cubicBezTo>
                    <a:pt x="8100" y="11795"/>
                    <a:pt x="10604" y="13448"/>
                    <a:pt x="11681" y="15998"/>
                  </a:cubicBezTo>
                  <a:close/>
                </a:path>
              </a:pathLst>
            </a:custGeom>
            <a:solidFill>
              <a:srgbClr val="000000"/>
            </a:solidFill>
            <a:ln w="12690" cap="flat">
              <a:no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E9796323-A268-4F81-9513-B70B98326C83}"/>
                </a:ext>
              </a:extLst>
            </p:cNvPr>
            <p:cNvSpPr/>
            <p:nvPr/>
          </p:nvSpPr>
          <p:spPr>
            <a:xfrm>
              <a:off x="251775" y="4967746"/>
              <a:ext cx="3301" cy="8252"/>
            </a:xfrm>
            <a:custGeom>
              <a:avLst/>
              <a:gdLst>
                <a:gd name="connsiteX0" fmla="*/ 0 w 3301"/>
                <a:gd name="connsiteY0" fmla="*/ 0 h 8252"/>
                <a:gd name="connsiteX1" fmla="*/ 3301 w 3301"/>
                <a:gd name="connsiteY1" fmla="*/ 8253 h 8252"/>
                <a:gd name="connsiteX2" fmla="*/ 3301 w 3301"/>
                <a:gd name="connsiteY2" fmla="*/ 0 h 8252"/>
                <a:gd name="connsiteX3" fmla="*/ 0 w 3301"/>
                <a:gd name="connsiteY3" fmla="*/ 0 h 8252"/>
              </a:gdLst>
              <a:ahLst/>
              <a:cxnLst>
                <a:cxn ang="0">
                  <a:pos x="connsiteX0" y="connsiteY0"/>
                </a:cxn>
                <a:cxn ang="0">
                  <a:pos x="connsiteX1" y="connsiteY1"/>
                </a:cxn>
                <a:cxn ang="0">
                  <a:pos x="connsiteX2" y="connsiteY2"/>
                </a:cxn>
                <a:cxn ang="0">
                  <a:pos x="connsiteX3" y="connsiteY3"/>
                </a:cxn>
              </a:cxnLst>
              <a:rect l="l" t="t" r="r" b="b"/>
              <a:pathLst>
                <a:path w="3301" h="8252">
                  <a:moveTo>
                    <a:pt x="0" y="0"/>
                  </a:moveTo>
                  <a:lnTo>
                    <a:pt x="3301" y="8253"/>
                  </a:lnTo>
                  <a:lnTo>
                    <a:pt x="3301" y="0"/>
                  </a:lnTo>
                  <a:lnTo>
                    <a:pt x="0" y="0"/>
                  </a:lnTo>
                  <a:close/>
                </a:path>
              </a:pathLst>
            </a:custGeom>
            <a:solidFill>
              <a:srgbClr val="000000"/>
            </a:solidFill>
            <a:ln w="12690"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7CCA8617-6BF4-47BC-BD94-02E86593190A}"/>
                </a:ext>
              </a:extLst>
            </p:cNvPr>
            <p:cNvSpPr/>
            <p:nvPr/>
          </p:nvSpPr>
          <p:spPr>
            <a:xfrm>
              <a:off x="255076" y="4967238"/>
              <a:ext cx="2539" cy="1111854"/>
            </a:xfrm>
            <a:custGeom>
              <a:avLst/>
              <a:gdLst>
                <a:gd name="connsiteX0" fmla="*/ 2539 w 2539"/>
                <a:gd name="connsiteY0" fmla="*/ 1013836 h 1111854"/>
                <a:gd name="connsiteX1" fmla="*/ 2539 w 2539"/>
                <a:gd name="connsiteY1" fmla="*/ 1013836 h 1111854"/>
                <a:gd name="connsiteX2" fmla="*/ 1016 w 2539"/>
                <a:gd name="connsiteY2" fmla="*/ 1009773 h 1111854"/>
                <a:gd name="connsiteX3" fmla="*/ 1016 w 2539"/>
                <a:gd name="connsiteY3" fmla="*/ 9523 h 1111854"/>
                <a:gd name="connsiteX4" fmla="*/ 2539 w 2539"/>
                <a:gd name="connsiteY4" fmla="*/ 5460 h 1111854"/>
                <a:gd name="connsiteX5" fmla="*/ 2539 w 2539"/>
                <a:gd name="connsiteY5" fmla="*/ 0 h 1111854"/>
                <a:gd name="connsiteX6" fmla="*/ 1270 w 2539"/>
                <a:gd name="connsiteY6" fmla="*/ 0 h 1111854"/>
                <a:gd name="connsiteX7" fmla="*/ 0 w 2539"/>
                <a:gd name="connsiteY7" fmla="*/ 0 h 1111854"/>
                <a:gd name="connsiteX8" fmla="*/ 0 w 2539"/>
                <a:gd name="connsiteY8" fmla="*/ 1111855 h 1111854"/>
                <a:gd name="connsiteX9" fmla="*/ 2539 w 2539"/>
                <a:gd name="connsiteY9" fmla="*/ 1111855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1111854">
                  <a:moveTo>
                    <a:pt x="2539" y="1013836"/>
                  </a:moveTo>
                  <a:lnTo>
                    <a:pt x="2539" y="1013836"/>
                  </a:lnTo>
                  <a:cubicBezTo>
                    <a:pt x="1597" y="1012687"/>
                    <a:pt x="1061" y="1011258"/>
                    <a:pt x="1016" y="1009773"/>
                  </a:cubicBezTo>
                  <a:lnTo>
                    <a:pt x="1016" y="9523"/>
                  </a:lnTo>
                  <a:cubicBezTo>
                    <a:pt x="1031" y="8031"/>
                    <a:pt x="1571" y="6593"/>
                    <a:pt x="2539" y="5460"/>
                  </a:cubicBezTo>
                  <a:lnTo>
                    <a:pt x="2539" y="0"/>
                  </a:lnTo>
                  <a:lnTo>
                    <a:pt x="1270" y="0"/>
                  </a:lnTo>
                  <a:lnTo>
                    <a:pt x="0" y="0"/>
                  </a:lnTo>
                  <a:lnTo>
                    <a:pt x="0" y="1111855"/>
                  </a:lnTo>
                  <a:lnTo>
                    <a:pt x="2539" y="1111855"/>
                  </a:lnTo>
                  <a:close/>
                </a:path>
              </a:pathLst>
            </a:custGeom>
            <a:solidFill>
              <a:srgbClr val="000000"/>
            </a:solidFill>
            <a:ln w="12690" cap="flat">
              <a:no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0DA61CBC-E47C-4B2D-B129-D2EE2997E2A6}"/>
                </a:ext>
              </a:extLst>
            </p:cNvPr>
            <p:cNvSpPr/>
            <p:nvPr/>
          </p:nvSpPr>
          <p:spPr>
            <a:xfrm>
              <a:off x="261805" y="5983486"/>
              <a:ext cx="2412" cy="96114"/>
            </a:xfrm>
            <a:custGeom>
              <a:avLst/>
              <a:gdLst>
                <a:gd name="connsiteX0" fmla="*/ 2412 w 2412"/>
                <a:gd name="connsiteY0" fmla="*/ 0 h 96114"/>
                <a:gd name="connsiteX1" fmla="*/ 1143 w 2412"/>
                <a:gd name="connsiteY1" fmla="*/ 0 h 96114"/>
                <a:gd name="connsiteX2" fmla="*/ 0 w 2412"/>
                <a:gd name="connsiteY2" fmla="*/ 0 h 96114"/>
                <a:gd name="connsiteX3" fmla="*/ 0 w 2412"/>
                <a:gd name="connsiteY3" fmla="*/ 96114 h 96114"/>
                <a:gd name="connsiteX4" fmla="*/ 2412 w 2412"/>
                <a:gd name="connsiteY4" fmla="*/ 96114 h 96114"/>
                <a:gd name="connsiteX5" fmla="*/ 2412 w 2412"/>
                <a:gd name="connsiteY5" fmla="*/ 0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6114">
                  <a:moveTo>
                    <a:pt x="2412" y="0"/>
                  </a:moveTo>
                  <a:lnTo>
                    <a:pt x="1143" y="0"/>
                  </a:lnTo>
                  <a:lnTo>
                    <a:pt x="0" y="0"/>
                  </a:lnTo>
                  <a:lnTo>
                    <a:pt x="0" y="96114"/>
                  </a:lnTo>
                  <a:lnTo>
                    <a:pt x="2412" y="96114"/>
                  </a:lnTo>
                  <a:lnTo>
                    <a:pt x="2412" y="0"/>
                  </a:lnTo>
                  <a:close/>
                </a:path>
              </a:pathLst>
            </a:custGeom>
            <a:solidFill>
              <a:srgbClr val="000000"/>
            </a:solidFill>
            <a:ln w="12690" cap="flat">
              <a:no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2F2CC467-1DF0-43A8-9C74-6CE823D4F7D3}"/>
                </a:ext>
              </a:extLst>
            </p:cNvPr>
            <p:cNvSpPr/>
            <p:nvPr/>
          </p:nvSpPr>
          <p:spPr>
            <a:xfrm>
              <a:off x="1372893" y="6407177"/>
              <a:ext cx="2539" cy="142"/>
            </a:xfrm>
            <a:custGeom>
              <a:avLst/>
              <a:gdLst>
                <a:gd name="connsiteX0" fmla="*/ 0 w 2539"/>
                <a:gd name="connsiteY0" fmla="*/ 0 h 142"/>
                <a:gd name="connsiteX1" fmla="*/ 0 w 2539"/>
                <a:gd name="connsiteY1" fmla="*/ 0 h 142"/>
                <a:gd name="connsiteX2" fmla="*/ 1524 w 2539"/>
                <a:gd name="connsiteY2" fmla="*/ 0 h 142"/>
                <a:gd name="connsiteX3" fmla="*/ 2539 w 2539"/>
                <a:gd name="connsiteY3" fmla="*/ 0 h 142"/>
                <a:gd name="connsiteX4" fmla="*/ 0 w 2539"/>
                <a:gd name="connsiteY4" fmla="*/ 0 h 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42">
                  <a:moveTo>
                    <a:pt x="0" y="0"/>
                  </a:moveTo>
                  <a:lnTo>
                    <a:pt x="0" y="0"/>
                  </a:lnTo>
                  <a:lnTo>
                    <a:pt x="1524" y="0"/>
                  </a:lnTo>
                  <a:lnTo>
                    <a:pt x="2539" y="0"/>
                  </a:lnTo>
                  <a:cubicBezTo>
                    <a:pt x="1701" y="190"/>
                    <a:pt x="838" y="190"/>
                    <a:pt x="0" y="0"/>
                  </a:cubicBezTo>
                  <a:close/>
                </a:path>
              </a:pathLst>
            </a:custGeom>
            <a:solidFill>
              <a:srgbClr val="000000"/>
            </a:solidFill>
            <a:ln w="12690"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1F275752-D538-46C7-9E92-FB51CB61AE30}"/>
                </a:ext>
              </a:extLst>
            </p:cNvPr>
            <p:cNvSpPr/>
            <p:nvPr/>
          </p:nvSpPr>
          <p:spPr>
            <a:xfrm>
              <a:off x="1379749" y="6400828"/>
              <a:ext cx="47" cy="1523"/>
            </a:xfrm>
            <a:custGeom>
              <a:avLst/>
              <a:gdLst>
                <a:gd name="connsiteX0" fmla="*/ 0 w 47"/>
                <a:gd name="connsiteY0" fmla="*/ 0 h 1523"/>
                <a:gd name="connsiteX1" fmla="*/ 0 w 47"/>
                <a:gd name="connsiteY1" fmla="*/ 0 h 1523"/>
                <a:gd name="connsiteX2" fmla="*/ 0 w 47"/>
                <a:gd name="connsiteY2" fmla="*/ 1524 h 1523"/>
                <a:gd name="connsiteX3" fmla="*/ 0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0" y="0"/>
                  </a:moveTo>
                  <a:lnTo>
                    <a:pt x="0" y="0"/>
                  </a:lnTo>
                  <a:cubicBezTo>
                    <a:pt x="64" y="508"/>
                    <a:pt x="64" y="1016"/>
                    <a:pt x="0" y="1524"/>
                  </a:cubicBezTo>
                  <a:cubicBezTo>
                    <a:pt x="51" y="1016"/>
                    <a:pt x="51" y="508"/>
                    <a:pt x="0" y="0"/>
                  </a:cubicBezTo>
                  <a:close/>
                </a:path>
              </a:pathLst>
            </a:custGeom>
            <a:solidFill>
              <a:srgbClr val="000000"/>
            </a:solidFill>
            <a:ln w="12690"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2DF2E9E3-873A-4259-A634-2282F263945D}"/>
                </a:ext>
              </a:extLst>
            </p:cNvPr>
            <p:cNvSpPr/>
            <p:nvPr/>
          </p:nvSpPr>
          <p:spPr>
            <a:xfrm>
              <a:off x="1367687" y="6393464"/>
              <a:ext cx="6729" cy="12696"/>
            </a:xfrm>
            <a:custGeom>
              <a:avLst/>
              <a:gdLst>
                <a:gd name="connsiteX0" fmla="*/ 5206 w 6729"/>
                <a:gd name="connsiteY0" fmla="*/ 0 h 12696"/>
                <a:gd name="connsiteX1" fmla="*/ 6729 w 6729"/>
                <a:gd name="connsiteY1" fmla="*/ 0 h 12696"/>
                <a:gd name="connsiteX2" fmla="*/ 5713 w 6729"/>
                <a:gd name="connsiteY2" fmla="*/ 0 h 12696"/>
                <a:gd name="connsiteX3" fmla="*/ 1778 w 6729"/>
                <a:gd name="connsiteY3" fmla="*/ 0 h 12696"/>
                <a:gd name="connsiteX4" fmla="*/ 1778 w 6729"/>
                <a:gd name="connsiteY4" fmla="*/ 0 h 12696"/>
                <a:gd name="connsiteX5" fmla="*/ 0 w 6729"/>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2696">
                  <a:moveTo>
                    <a:pt x="5206" y="0"/>
                  </a:moveTo>
                  <a:lnTo>
                    <a:pt x="6729" y="0"/>
                  </a:lnTo>
                  <a:lnTo>
                    <a:pt x="5713" y="0"/>
                  </a:lnTo>
                  <a:lnTo>
                    <a:pt x="1778" y="0"/>
                  </a:lnTo>
                  <a:lnTo>
                    <a:pt x="1778" y="0"/>
                  </a:lnTo>
                  <a:lnTo>
                    <a:pt x="0" y="0"/>
                  </a:lnTo>
                  <a:close/>
                </a:path>
              </a:pathLst>
            </a:custGeom>
            <a:solidFill>
              <a:srgbClr val="000000"/>
            </a:solidFill>
            <a:ln w="12690"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783357DF-5A36-4105-8367-D61F999BAF4D}"/>
                </a:ext>
              </a:extLst>
            </p:cNvPr>
            <p:cNvSpPr/>
            <p:nvPr/>
          </p:nvSpPr>
          <p:spPr>
            <a:xfrm>
              <a:off x="1301411" y="6394267"/>
              <a:ext cx="77154" cy="12544"/>
            </a:xfrm>
            <a:custGeom>
              <a:avLst/>
              <a:gdLst>
                <a:gd name="connsiteX0" fmla="*/ 74784 w 77154"/>
                <a:gd name="connsiteY0" fmla="*/ 11894 h 12544"/>
                <a:gd name="connsiteX1" fmla="*/ 76180 w 77154"/>
                <a:gd name="connsiteY1" fmla="*/ 11005 h 12544"/>
                <a:gd name="connsiteX2" fmla="*/ 76180 w 77154"/>
                <a:gd name="connsiteY2" fmla="*/ 10116 h 12544"/>
                <a:gd name="connsiteX3" fmla="*/ 77069 w 77154"/>
                <a:gd name="connsiteY3" fmla="*/ 8846 h 12544"/>
                <a:gd name="connsiteX4" fmla="*/ 77069 w 77154"/>
                <a:gd name="connsiteY4" fmla="*/ 7831 h 12544"/>
                <a:gd name="connsiteX5" fmla="*/ 77069 w 77154"/>
                <a:gd name="connsiteY5" fmla="*/ 6307 h 12544"/>
                <a:gd name="connsiteX6" fmla="*/ 77069 w 77154"/>
                <a:gd name="connsiteY6" fmla="*/ 6307 h 12544"/>
                <a:gd name="connsiteX7" fmla="*/ 77069 w 77154"/>
                <a:gd name="connsiteY7" fmla="*/ 5164 h 12544"/>
                <a:gd name="connsiteX8" fmla="*/ 77069 w 77154"/>
                <a:gd name="connsiteY8" fmla="*/ 3895 h 12544"/>
                <a:gd name="connsiteX9" fmla="*/ 77069 w 77154"/>
                <a:gd name="connsiteY9" fmla="*/ 2752 h 12544"/>
                <a:gd name="connsiteX10" fmla="*/ 76307 w 77154"/>
                <a:gd name="connsiteY10" fmla="*/ 1609 h 12544"/>
                <a:gd name="connsiteX11" fmla="*/ 75291 w 77154"/>
                <a:gd name="connsiteY11" fmla="*/ 848 h 12544"/>
                <a:gd name="connsiteX12" fmla="*/ 74276 w 77154"/>
                <a:gd name="connsiteY12" fmla="*/ 86 h 12544"/>
                <a:gd name="connsiteX13" fmla="*/ 72879 w 77154"/>
                <a:gd name="connsiteY13" fmla="*/ 86 h 12544"/>
                <a:gd name="connsiteX14" fmla="*/ 71355 w 77154"/>
                <a:gd name="connsiteY14" fmla="*/ 86 h 12544"/>
                <a:gd name="connsiteX15" fmla="*/ 0 w 77154"/>
                <a:gd name="connsiteY15" fmla="*/ 86 h 12544"/>
                <a:gd name="connsiteX16" fmla="*/ 1651 w 77154"/>
                <a:gd name="connsiteY16" fmla="*/ 86 h 12544"/>
                <a:gd name="connsiteX17" fmla="*/ 1651 w 77154"/>
                <a:gd name="connsiteY17" fmla="*/ 86 h 12544"/>
                <a:gd name="connsiteX18" fmla="*/ 2793 w 77154"/>
                <a:gd name="connsiteY18" fmla="*/ 86 h 12544"/>
                <a:gd name="connsiteX19" fmla="*/ 4063 w 77154"/>
                <a:gd name="connsiteY19" fmla="*/ 86 h 12544"/>
                <a:gd name="connsiteX20" fmla="*/ 5206 w 77154"/>
                <a:gd name="connsiteY20" fmla="*/ 86 h 12544"/>
                <a:gd name="connsiteX21" fmla="*/ 6221 w 77154"/>
                <a:gd name="connsiteY21" fmla="*/ 974 h 12544"/>
                <a:gd name="connsiteX22" fmla="*/ 6221 w 77154"/>
                <a:gd name="connsiteY22" fmla="*/ 1990 h 12544"/>
                <a:gd name="connsiteX23" fmla="*/ 6221 w 77154"/>
                <a:gd name="connsiteY23" fmla="*/ 3133 h 12544"/>
                <a:gd name="connsiteX24" fmla="*/ 6221 w 77154"/>
                <a:gd name="connsiteY24" fmla="*/ 4530 h 12544"/>
                <a:gd name="connsiteX25" fmla="*/ 6221 w 77154"/>
                <a:gd name="connsiteY25" fmla="*/ 5545 h 12544"/>
                <a:gd name="connsiteX26" fmla="*/ 6221 w 77154"/>
                <a:gd name="connsiteY26" fmla="*/ 12401 h 12544"/>
                <a:gd name="connsiteX27" fmla="*/ 69705 w 77154"/>
                <a:gd name="connsiteY27" fmla="*/ 12401 h 12544"/>
                <a:gd name="connsiteX28" fmla="*/ 72244 w 77154"/>
                <a:gd name="connsiteY28" fmla="*/ 12401 h 1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154" h="12544">
                  <a:moveTo>
                    <a:pt x="74784" y="11894"/>
                  </a:moveTo>
                  <a:cubicBezTo>
                    <a:pt x="75291" y="11678"/>
                    <a:pt x="75761" y="11373"/>
                    <a:pt x="76180" y="11005"/>
                  </a:cubicBezTo>
                  <a:cubicBezTo>
                    <a:pt x="76244" y="10713"/>
                    <a:pt x="76244" y="10408"/>
                    <a:pt x="76180" y="10116"/>
                  </a:cubicBezTo>
                  <a:cubicBezTo>
                    <a:pt x="76548" y="9748"/>
                    <a:pt x="76853" y="9316"/>
                    <a:pt x="77069" y="8846"/>
                  </a:cubicBezTo>
                  <a:cubicBezTo>
                    <a:pt x="77145" y="8516"/>
                    <a:pt x="77145" y="8161"/>
                    <a:pt x="77069" y="7831"/>
                  </a:cubicBezTo>
                  <a:cubicBezTo>
                    <a:pt x="77132" y="7323"/>
                    <a:pt x="77132" y="6815"/>
                    <a:pt x="77069" y="6307"/>
                  </a:cubicBezTo>
                  <a:lnTo>
                    <a:pt x="77069" y="6307"/>
                  </a:lnTo>
                  <a:cubicBezTo>
                    <a:pt x="77132" y="5926"/>
                    <a:pt x="77132" y="5545"/>
                    <a:pt x="77069" y="5164"/>
                  </a:cubicBezTo>
                  <a:cubicBezTo>
                    <a:pt x="77183" y="4745"/>
                    <a:pt x="77183" y="4314"/>
                    <a:pt x="77069" y="3895"/>
                  </a:cubicBezTo>
                  <a:cubicBezTo>
                    <a:pt x="77132" y="3514"/>
                    <a:pt x="77132" y="3133"/>
                    <a:pt x="77069" y="2752"/>
                  </a:cubicBezTo>
                  <a:cubicBezTo>
                    <a:pt x="76866" y="2346"/>
                    <a:pt x="76599" y="1965"/>
                    <a:pt x="76307" y="1609"/>
                  </a:cubicBezTo>
                  <a:lnTo>
                    <a:pt x="75291" y="848"/>
                  </a:lnTo>
                  <a:lnTo>
                    <a:pt x="74276" y="86"/>
                  </a:lnTo>
                  <a:lnTo>
                    <a:pt x="72879" y="86"/>
                  </a:lnTo>
                  <a:lnTo>
                    <a:pt x="71355" y="86"/>
                  </a:lnTo>
                  <a:lnTo>
                    <a:pt x="0" y="86"/>
                  </a:lnTo>
                  <a:cubicBezTo>
                    <a:pt x="0" y="86"/>
                    <a:pt x="1143" y="86"/>
                    <a:pt x="1651" y="86"/>
                  </a:cubicBezTo>
                  <a:lnTo>
                    <a:pt x="1651" y="86"/>
                  </a:lnTo>
                  <a:cubicBezTo>
                    <a:pt x="2032" y="35"/>
                    <a:pt x="2412" y="35"/>
                    <a:pt x="2793" y="86"/>
                  </a:cubicBezTo>
                  <a:cubicBezTo>
                    <a:pt x="3212" y="-29"/>
                    <a:pt x="3644" y="-29"/>
                    <a:pt x="4063" y="86"/>
                  </a:cubicBezTo>
                  <a:lnTo>
                    <a:pt x="5206" y="86"/>
                  </a:lnTo>
                  <a:lnTo>
                    <a:pt x="6221" y="974"/>
                  </a:lnTo>
                  <a:cubicBezTo>
                    <a:pt x="6285" y="1305"/>
                    <a:pt x="6285" y="1660"/>
                    <a:pt x="6221" y="1990"/>
                  </a:cubicBezTo>
                  <a:cubicBezTo>
                    <a:pt x="6259" y="2371"/>
                    <a:pt x="6259" y="2752"/>
                    <a:pt x="6221" y="3133"/>
                  </a:cubicBezTo>
                  <a:cubicBezTo>
                    <a:pt x="6272" y="3603"/>
                    <a:pt x="6272" y="4060"/>
                    <a:pt x="6221" y="4530"/>
                  </a:cubicBezTo>
                  <a:cubicBezTo>
                    <a:pt x="6221" y="4530"/>
                    <a:pt x="6221" y="5164"/>
                    <a:pt x="6221" y="5545"/>
                  </a:cubicBezTo>
                  <a:lnTo>
                    <a:pt x="6221" y="12401"/>
                  </a:lnTo>
                  <a:lnTo>
                    <a:pt x="69705" y="12401"/>
                  </a:lnTo>
                  <a:cubicBezTo>
                    <a:pt x="70543" y="12592"/>
                    <a:pt x="71406" y="12592"/>
                    <a:pt x="72244" y="12401"/>
                  </a:cubicBezTo>
                  <a:close/>
                </a:path>
              </a:pathLst>
            </a:custGeom>
            <a:solidFill>
              <a:srgbClr val="000000"/>
            </a:solidFill>
            <a:ln w="12690"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53D98F9B-AB1E-4C9B-8ADF-897D7184F016}"/>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12994DC2-B39B-4351-9ADB-6588EB935D4D}"/>
                </a:ext>
              </a:extLst>
            </p:cNvPr>
            <p:cNvSpPr/>
            <p:nvPr/>
          </p:nvSpPr>
          <p:spPr>
            <a:xfrm>
              <a:off x="1296840" y="6399240"/>
              <a:ext cx="13077" cy="465908"/>
            </a:xfrm>
            <a:custGeom>
              <a:avLst/>
              <a:gdLst>
                <a:gd name="connsiteX0" fmla="*/ 13078 w 13077"/>
                <a:gd name="connsiteY0" fmla="*/ 465274 h 465908"/>
                <a:gd name="connsiteX1" fmla="*/ 13078 w 13077"/>
                <a:gd name="connsiteY1" fmla="*/ 1081 h 465908"/>
                <a:gd name="connsiteX2" fmla="*/ 13078 w 13077"/>
                <a:gd name="connsiteY2" fmla="*/ 65 h 465908"/>
                <a:gd name="connsiteX3" fmla="*/ 13078 w 13077"/>
                <a:gd name="connsiteY3" fmla="*/ 1715 h 465908"/>
                <a:gd name="connsiteX4" fmla="*/ 6221 w 13077"/>
                <a:gd name="connsiteY4" fmla="*/ 8064 h 465908"/>
                <a:gd name="connsiteX5" fmla="*/ 5079 w 13077"/>
                <a:gd name="connsiteY5" fmla="*/ 8064 h 465908"/>
                <a:gd name="connsiteX6" fmla="*/ 3555 w 13077"/>
                <a:gd name="connsiteY6" fmla="*/ 8064 h 465908"/>
                <a:gd name="connsiteX7" fmla="*/ 2412 w 13077"/>
                <a:gd name="connsiteY7" fmla="*/ 8064 h 465908"/>
                <a:gd name="connsiteX8" fmla="*/ 2412 w 13077"/>
                <a:gd name="connsiteY8" fmla="*/ 8064 h 465908"/>
                <a:gd name="connsiteX9" fmla="*/ 0 w 13077"/>
                <a:gd name="connsiteY9" fmla="*/ 8064 h 465908"/>
                <a:gd name="connsiteX10" fmla="*/ 0 w 13077"/>
                <a:gd name="connsiteY10" fmla="*/ 465909 h 46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77" h="465908">
                  <a:moveTo>
                    <a:pt x="13078" y="465274"/>
                  </a:moveTo>
                  <a:lnTo>
                    <a:pt x="13078" y="1081"/>
                  </a:lnTo>
                  <a:cubicBezTo>
                    <a:pt x="13078" y="1081"/>
                    <a:pt x="13078" y="446"/>
                    <a:pt x="13078" y="65"/>
                  </a:cubicBezTo>
                  <a:cubicBezTo>
                    <a:pt x="13078" y="-316"/>
                    <a:pt x="13078" y="1081"/>
                    <a:pt x="13078" y="1715"/>
                  </a:cubicBezTo>
                  <a:cubicBezTo>
                    <a:pt x="12811" y="5309"/>
                    <a:pt x="9815" y="8077"/>
                    <a:pt x="6221" y="8064"/>
                  </a:cubicBezTo>
                  <a:lnTo>
                    <a:pt x="5079" y="8064"/>
                  </a:lnTo>
                  <a:cubicBezTo>
                    <a:pt x="4571" y="8178"/>
                    <a:pt x="4063" y="8178"/>
                    <a:pt x="3555" y="8064"/>
                  </a:cubicBezTo>
                  <a:lnTo>
                    <a:pt x="2412" y="8064"/>
                  </a:lnTo>
                  <a:lnTo>
                    <a:pt x="2412" y="8064"/>
                  </a:lnTo>
                  <a:lnTo>
                    <a:pt x="0" y="8064"/>
                  </a:lnTo>
                  <a:lnTo>
                    <a:pt x="0" y="465909"/>
                  </a:lnTo>
                </a:path>
              </a:pathLst>
            </a:custGeom>
            <a:solidFill>
              <a:srgbClr val="000000"/>
            </a:solidFill>
            <a:ln w="12690"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CE4B39DA-E588-4A1E-9209-88A7C1BE3E27}"/>
                </a:ext>
              </a:extLst>
            </p:cNvPr>
            <p:cNvSpPr/>
            <p:nvPr/>
          </p:nvSpPr>
          <p:spPr>
            <a:xfrm>
              <a:off x="259012" y="6398797"/>
              <a:ext cx="432068" cy="2666"/>
            </a:xfrm>
            <a:custGeom>
              <a:avLst/>
              <a:gdLst>
                <a:gd name="connsiteX0" fmla="*/ 0 w 432068"/>
                <a:gd name="connsiteY0" fmla="*/ 1524 h 2666"/>
                <a:gd name="connsiteX1" fmla="*/ 0 w 432068"/>
                <a:gd name="connsiteY1" fmla="*/ 2666 h 2666"/>
                <a:gd name="connsiteX2" fmla="*/ 432068 w 432068"/>
                <a:gd name="connsiteY2" fmla="*/ 2666 h 2666"/>
                <a:gd name="connsiteX3" fmla="*/ 432068 w 432068"/>
                <a:gd name="connsiteY3" fmla="*/ 1143 h 2666"/>
                <a:gd name="connsiteX4" fmla="*/ 432068 w 432068"/>
                <a:gd name="connsiteY4" fmla="*/ 0 h 2666"/>
                <a:gd name="connsiteX5" fmla="*/ 381 w 432068"/>
                <a:gd name="connsiteY5" fmla="*/ 0 h 2666"/>
                <a:gd name="connsiteX6" fmla="*/ 381 w 432068"/>
                <a:gd name="connsiteY6" fmla="*/ 1143 h 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68" h="2666">
                  <a:moveTo>
                    <a:pt x="0" y="1524"/>
                  </a:moveTo>
                  <a:cubicBezTo>
                    <a:pt x="60" y="1904"/>
                    <a:pt x="60" y="2285"/>
                    <a:pt x="0" y="2666"/>
                  </a:cubicBezTo>
                  <a:lnTo>
                    <a:pt x="432068" y="2666"/>
                  </a:lnTo>
                  <a:cubicBezTo>
                    <a:pt x="432008" y="2158"/>
                    <a:pt x="432008" y="1651"/>
                    <a:pt x="432068" y="1143"/>
                  </a:cubicBezTo>
                  <a:lnTo>
                    <a:pt x="432068" y="0"/>
                  </a:lnTo>
                  <a:lnTo>
                    <a:pt x="381" y="0"/>
                  </a:lnTo>
                  <a:lnTo>
                    <a:pt x="381" y="1143"/>
                  </a:lnTo>
                  <a:close/>
                </a:path>
              </a:pathLst>
            </a:custGeom>
            <a:solidFill>
              <a:srgbClr val="000000"/>
            </a:solidFill>
            <a:ln w="12690" cap="flat">
              <a:no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779FB8D8-7195-41BC-9355-BB99A1F866BE}"/>
                </a:ext>
              </a:extLst>
            </p:cNvPr>
            <p:cNvSpPr/>
            <p:nvPr/>
          </p:nvSpPr>
          <p:spPr>
            <a:xfrm>
              <a:off x="245046" y="6398797"/>
              <a:ext cx="13331" cy="465716"/>
            </a:xfrm>
            <a:custGeom>
              <a:avLst/>
              <a:gdLst>
                <a:gd name="connsiteX0" fmla="*/ 13332 w 13331"/>
                <a:gd name="connsiteY0" fmla="*/ 465717 h 465716"/>
                <a:gd name="connsiteX1" fmla="*/ 13332 w 13331"/>
                <a:gd name="connsiteY1" fmla="*/ 0 h 465716"/>
                <a:gd name="connsiteX2" fmla="*/ 13332 w 13331"/>
                <a:gd name="connsiteY2" fmla="*/ 762 h 465716"/>
                <a:gd name="connsiteX3" fmla="*/ 12570 w 13331"/>
                <a:gd name="connsiteY3" fmla="*/ 1778 h 465716"/>
                <a:gd name="connsiteX4" fmla="*/ 11554 w 13331"/>
                <a:gd name="connsiteY4" fmla="*/ 2666 h 465716"/>
                <a:gd name="connsiteX5" fmla="*/ 10411 w 13331"/>
                <a:gd name="connsiteY5" fmla="*/ 3428 h 465716"/>
                <a:gd name="connsiteX6" fmla="*/ 9142 w 13331"/>
                <a:gd name="connsiteY6" fmla="*/ 3428 h 465716"/>
                <a:gd name="connsiteX7" fmla="*/ 7999 w 13331"/>
                <a:gd name="connsiteY7" fmla="*/ 3428 h 465716"/>
                <a:gd name="connsiteX8" fmla="*/ 6983 w 13331"/>
                <a:gd name="connsiteY8" fmla="*/ 3428 h 465716"/>
                <a:gd name="connsiteX9" fmla="*/ 5206 w 13331"/>
                <a:gd name="connsiteY9" fmla="*/ 3428 h 465716"/>
                <a:gd name="connsiteX10" fmla="*/ 0 w 13331"/>
                <a:gd name="connsiteY10" fmla="*/ 3428 h 465716"/>
                <a:gd name="connsiteX11" fmla="*/ 0 w 13331"/>
                <a:gd name="connsiteY11" fmla="*/ 465209 h 465716"/>
                <a:gd name="connsiteX12" fmla="*/ 0 w 13331"/>
                <a:gd name="connsiteY12" fmla="*/ 465209 h 4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1" h="465716">
                  <a:moveTo>
                    <a:pt x="13332" y="465717"/>
                  </a:moveTo>
                  <a:lnTo>
                    <a:pt x="13332" y="0"/>
                  </a:lnTo>
                  <a:lnTo>
                    <a:pt x="13332" y="762"/>
                  </a:lnTo>
                  <a:lnTo>
                    <a:pt x="12570" y="1778"/>
                  </a:lnTo>
                  <a:cubicBezTo>
                    <a:pt x="12293" y="2133"/>
                    <a:pt x="11948" y="2438"/>
                    <a:pt x="11554" y="2666"/>
                  </a:cubicBezTo>
                  <a:lnTo>
                    <a:pt x="10411" y="3428"/>
                  </a:lnTo>
                  <a:lnTo>
                    <a:pt x="9142" y="3428"/>
                  </a:lnTo>
                  <a:lnTo>
                    <a:pt x="7999" y="3428"/>
                  </a:lnTo>
                  <a:lnTo>
                    <a:pt x="6983" y="3428"/>
                  </a:lnTo>
                  <a:lnTo>
                    <a:pt x="5206" y="3428"/>
                  </a:lnTo>
                  <a:lnTo>
                    <a:pt x="0" y="3428"/>
                  </a:lnTo>
                  <a:lnTo>
                    <a:pt x="0" y="465209"/>
                  </a:lnTo>
                  <a:lnTo>
                    <a:pt x="0" y="465209"/>
                  </a:lnTo>
                </a:path>
              </a:pathLst>
            </a:custGeom>
            <a:solidFill>
              <a:srgbClr val="000000"/>
            </a:solidFill>
            <a:ln w="12690"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287AC22B-B71D-4037-873A-87AA0D59A922}"/>
                </a:ext>
              </a:extLst>
            </p:cNvPr>
            <p:cNvSpPr/>
            <p:nvPr/>
          </p:nvSpPr>
          <p:spPr>
            <a:xfrm>
              <a:off x="1294681" y="6393534"/>
              <a:ext cx="6729" cy="2088"/>
            </a:xfrm>
            <a:custGeom>
              <a:avLst/>
              <a:gdLst>
                <a:gd name="connsiteX0" fmla="*/ 6729 w 6729"/>
                <a:gd name="connsiteY0" fmla="*/ 57 h 2088"/>
                <a:gd name="connsiteX1" fmla="*/ 5079 w 6729"/>
                <a:gd name="connsiteY1" fmla="*/ 57 h 2088"/>
                <a:gd name="connsiteX2" fmla="*/ 5079 w 6729"/>
                <a:gd name="connsiteY2" fmla="*/ 57 h 2088"/>
                <a:gd name="connsiteX3" fmla="*/ 0 w 6729"/>
                <a:gd name="connsiteY3" fmla="*/ 57 h 2088"/>
                <a:gd name="connsiteX4" fmla="*/ 0 w 6729"/>
                <a:gd name="connsiteY4" fmla="*/ 57 h 2088"/>
                <a:gd name="connsiteX5" fmla="*/ 4571 w 6729"/>
                <a:gd name="connsiteY5" fmla="*/ 2089 h 2088"/>
                <a:gd name="connsiteX6" fmla="*/ 6729 w 6729"/>
                <a:gd name="connsiteY6" fmla="*/ 57 h 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 h="2088">
                  <a:moveTo>
                    <a:pt x="6729" y="57"/>
                  </a:moveTo>
                  <a:cubicBezTo>
                    <a:pt x="6183" y="-19"/>
                    <a:pt x="5625" y="-19"/>
                    <a:pt x="5079" y="57"/>
                  </a:cubicBezTo>
                  <a:lnTo>
                    <a:pt x="5079" y="57"/>
                  </a:lnTo>
                  <a:lnTo>
                    <a:pt x="0" y="57"/>
                  </a:lnTo>
                  <a:lnTo>
                    <a:pt x="0" y="57"/>
                  </a:lnTo>
                  <a:cubicBezTo>
                    <a:pt x="1714" y="171"/>
                    <a:pt x="3339" y="895"/>
                    <a:pt x="4571" y="2089"/>
                  </a:cubicBezTo>
                  <a:cubicBezTo>
                    <a:pt x="5117" y="1251"/>
                    <a:pt x="5866" y="552"/>
                    <a:pt x="6729" y="57"/>
                  </a:cubicBezTo>
                  <a:close/>
                </a:path>
              </a:pathLst>
            </a:custGeom>
            <a:solidFill>
              <a:srgbClr val="000000"/>
            </a:solidFill>
            <a:ln w="12690"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8EAE7639-7CE4-4F7B-A326-0E1E1EDDE9E9}"/>
                </a:ext>
              </a:extLst>
            </p:cNvPr>
            <p:cNvSpPr/>
            <p:nvPr/>
          </p:nvSpPr>
          <p:spPr>
            <a:xfrm>
              <a:off x="1293920" y="6405018"/>
              <a:ext cx="5840" cy="1523"/>
            </a:xfrm>
            <a:custGeom>
              <a:avLst/>
              <a:gdLst>
                <a:gd name="connsiteX0" fmla="*/ 0 w 5840"/>
                <a:gd name="connsiteY0" fmla="*/ 1524 h 1523"/>
                <a:gd name="connsiteX1" fmla="*/ 2285 w 5840"/>
                <a:gd name="connsiteY1" fmla="*/ 1524 h 1523"/>
                <a:gd name="connsiteX2" fmla="*/ 4698 w 5840"/>
                <a:gd name="connsiteY2" fmla="*/ 1524 h 1523"/>
                <a:gd name="connsiteX3" fmla="*/ 4698 w 5840"/>
                <a:gd name="connsiteY3" fmla="*/ 1524 h 1523"/>
                <a:gd name="connsiteX4" fmla="*/ 5840 w 5840"/>
                <a:gd name="connsiteY4" fmla="*/ 1524 h 1523"/>
                <a:gd name="connsiteX5" fmla="*/ 3174 w 5840"/>
                <a:gd name="connsiteY5" fmla="*/ 0 h 1523"/>
                <a:gd name="connsiteX6" fmla="*/ 0 w 5840"/>
                <a:gd name="connsiteY6" fmla="*/ 1524 h 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0" h="1523">
                  <a:moveTo>
                    <a:pt x="0" y="1524"/>
                  </a:moveTo>
                  <a:lnTo>
                    <a:pt x="2285" y="1524"/>
                  </a:lnTo>
                  <a:lnTo>
                    <a:pt x="4698" y="1524"/>
                  </a:lnTo>
                  <a:lnTo>
                    <a:pt x="4698" y="1524"/>
                  </a:lnTo>
                  <a:lnTo>
                    <a:pt x="5840" y="1524"/>
                  </a:lnTo>
                  <a:cubicBezTo>
                    <a:pt x="4825" y="1270"/>
                    <a:pt x="3911" y="736"/>
                    <a:pt x="3174" y="0"/>
                  </a:cubicBezTo>
                  <a:cubicBezTo>
                    <a:pt x="2260" y="774"/>
                    <a:pt x="1168" y="1295"/>
                    <a:pt x="0" y="1524"/>
                  </a:cubicBezTo>
                  <a:close/>
                </a:path>
              </a:pathLst>
            </a:custGeom>
            <a:solidFill>
              <a:srgbClr val="000000"/>
            </a:solidFill>
            <a:ln w="12690"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5837CD7B-5D1A-4B11-A41F-A92E89819F10}"/>
                </a:ext>
              </a:extLst>
            </p:cNvPr>
            <p:cNvSpPr/>
            <p:nvPr/>
          </p:nvSpPr>
          <p:spPr>
            <a:xfrm>
              <a:off x="1298871" y="6394775"/>
              <a:ext cx="12236" cy="13249"/>
            </a:xfrm>
            <a:custGeom>
              <a:avLst/>
              <a:gdLst>
                <a:gd name="connsiteX0" fmla="*/ 9903 w 12236"/>
                <a:gd name="connsiteY0" fmla="*/ 1990 h 13249"/>
                <a:gd name="connsiteX1" fmla="*/ 9903 w 12236"/>
                <a:gd name="connsiteY1" fmla="*/ 974 h 13249"/>
                <a:gd name="connsiteX2" fmla="*/ 8888 w 12236"/>
                <a:gd name="connsiteY2" fmla="*/ 86 h 13249"/>
                <a:gd name="connsiteX3" fmla="*/ 7745 w 12236"/>
                <a:gd name="connsiteY3" fmla="*/ 86 h 13249"/>
                <a:gd name="connsiteX4" fmla="*/ 6475 w 12236"/>
                <a:gd name="connsiteY4" fmla="*/ 86 h 13249"/>
                <a:gd name="connsiteX5" fmla="*/ 5333 w 12236"/>
                <a:gd name="connsiteY5" fmla="*/ 86 h 13249"/>
                <a:gd name="connsiteX6" fmla="*/ 5333 w 12236"/>
                <a:gd name="connsiteY6" fmla="*/ 86 h 13249"/>
                <a:gd name="connsiteX7" fmla="*/ 3682 w 12236"/>
                <a:gd name="connsiteY7" fmla="*/ 86 h 13249"/>
                <a:gd name="connsiteX8" fmla="*/ 3682 w 12236"/>
                <a:gd name="connsiteY8" fmla="*/ 86 h 13249"/>
                <a:gd name="connsiteX9" fmla="*/ 1016 w 12236"/>
                <a:gd name="connsiteY9" fmla="*/ 1228 h 13249"/>
                <a:gd name="connsiteX10" fmla="*/ 3047 w 12236"/>
                <a:gd name="connsiteY10" fmla="*/ 6053 h 13249"/>
                <a:gd name="connsiteX11" fmla="*/ 0 w 12236"/>
                <a:gd name="connsiteY11" fmla="*/ 11640 h 13249"/>
                <a:gd name="connsiteX12" fmla="*/ 2666 w 12236"/>
                <a:gd name="connsiteY12" fmla="*/ 13163 h 13249"/>
                <a:gd name="connsiteX13" fmla="*/ 4190 w 12236"/>
                <a:gd name="connsiteY13" fmla="*/ 13163 h 13249"/>
                <a:gd name="connsiteX14" fmla="*/ 5333 w 12236"/>
                <a:gd name="connsiteY14" fmla="*/ 13163 h 13249"/>
                <a:gd name="connsiteX15" fmla="*/ 12189 w 12236"/>
                <a:gd name="connsiteY15" fmla="*/ 6815 h 13249"/>
                <a:gd name="connsiteX16" fmla="*/ 12189 w 12236"/>
                <a:gd name="connsiteY16" fmla="*/ 5164 h 13249"/>
                <a:gd name="connsiteX17" fmla="*/ 12189 w 12236"/>
                <a:gd name="connsiteY17" fmla="*/ 3768 h 13249"/>
                <a:gd name="connsiteX18" fmla="*/ 9903 w 12236"/>
                <a:gd name="connsiteY18" fmla="*/ 1990 h 1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6" h="13249">
                  <a:moveTo>
                    <a:pt x="9903" y="1990"/>
                  </a:moveTo>
                  <a:cubicBezTo>
                    <a:pt x="9967" y="1660"/>
                    <a:pt x="9967" y="1305"/>
                    <a:pt x="9903" y="974"/>
                  </a:cubicBezTo>
                  <a:lnTo>
                    <a:pt x="8888" y="86"/>
                  </a:lnTo>
                  <a:lnTo>
                    <a:pt x="7745" y="86"/>
                  </a:lnTo>
                  <a:cubicBezTo>
                    <a:pt x="7326" y="-29"/>
                    <a:pt x="6894" y="-29"/>
                    <a:pt x="6475" y="86"/>
                  </a:cubicBezTo>
                  <a:cubicBezTo>
                    <a:pt x="6094" y="35"/>
                    <a:pt x="5713" y="35"/>
                    <a:pt x="5333" y="86"/>
                  </a:cubicBezTo>
                  <a:lnTo>
                    <a:pt x="5333" y="86"/>
                  </a:lnTo>
                  <a:cubicBezTo>
                    <a:pt x="5333" y="86"/>
                    <a:pt x="4317" y="86"/>
                    <a:pt x="3682" y="86"/>
                  </a:cubicBezTo>
                  <a:lnTo>
                    <a:pt x="3682" y="86"/>
                  </a:lnTo>
                  <a:cubicBezTo>
                    <a:pt x="2717" y="251"/>
                    <a:pt x="1803" y="644"/>
                    <a:pt x="1016" y="1228"/>
                  </a:cubicBezTo>
                  <a:cubicBezTo>
                    <a:pt x="2311" y="2498"/>
                    <a:pt x="3047" y="4238"/>
                    <a:pt x="3047" y="6053"/>
                  </a:cubicBezTo>
                  <a:cubicBezTo>
                    <a:pt x="3009" y="8301"/>
                    <a:pt x="1866" y="10395"/>
                    <a:pt x="0" y="11640"/>
                  </a:cubicBezTo>
                  <a:cubicBezTo>
                    <a:pt x="736" y="12376"/>
                    <a:pt x="1651" y="12909"/>
                    <a:pt x="2666" y="13163"/>
                  </a:cubicBezTo>
                  <a:cubicBezTo>
                    <a:pt x="3174" y="13278"/>
                    <a:pt x="3682" y="13278"/>
                    <a:pt x="4190" y="13163"/>
                  </a:cubicBezTo>
                  <a:lnTo>
                    <a:pt x="5333" y="13163"/>
                  </a:lnTo>
                  <a:cubicBezTo>
                    <a:pt x="8926" y="13176"/>
                    <a:pt x="11922" y="10408"/>
                    <a:pt x="12189" y="6815"/>
                  </a:cubicBezTo>
                  <a:cubicBezTo>
                    <a:pt x="12189" y="6815"/>
                    <a:pt x="12189" y="5672"/>
                    <a:pt x="12189" y="5164"/>
                  </a:cubicBezTo>
                  <a:cubicBezTo>
                    <a:pt x="12252" y="4695"/>
                    <a:pt x="12252" y="4238"/>
                    <a:pt x="12189" y="3768"/>
                  </a:cubicBezTo>
                  <a:cubicBezTo>
                    <a:pt x="11605" y="2968"/>
                    <a:pt x="10818" y="2358"/>
                    <a:pt x="9903" y="1990"/>
                  </a:cubicBezTo>
                  <a:close/>
                </a:path>
              </a:pathLst>
            </a:custGeom>
            <a:solidFill>
              <a:srgbClr val="000000"/>
            </a:solidFill>
            <a:ln w="12690"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2F9CD7DF-4630-4237-8ABE-280B49A7422E}"/>
                </a:ext>
              </a:extLst>
            </p:cNvPr>
            <p:cNvSpPr/>
            <p:nvPr/>
          </p:nvSpPr>
          <p:spPr>
            <a:xfrm>
              <a:off x="258758" y="6401463"/>
              <a:ext cx="44" cy="1269"/>
            </a:xfrm>
            <a:custGeom>
              <a:avLst/>
              <a:gdLst>
                <a:gd name="connsiteX0" fmla="*/ 0 w 44"/>
                <a:gd name="connsiteY0" fmla="*/ 0 h 1269"/>
                <a:gd name="connsiteX1" fmla="*/ 0 w 44"/>
                <a:gd name="connsiteY1" fmla="*/ 1270 h 1269"/>
                <a:gd name="connsiteX2" fmla="*/ 0 w 44"/>
                <a:gd name="connsiteY2" fmla="*/ 127 h 1269"/>
              </a:gdLst>
              <a:ahLst/>
              <a:cxnLst>
                <a:cxn ang="0">
                  <a:pos x="connsiteX0" y="connsiteY0"/>
                </a:cxn>
                <a:cxn ang="0">
                  <a:pos x="connsiteX1" y="connsiteY1"/>
                </a:cxn>
                <a:cxn ang="0">
                  <a:pos x="connsiteX2" y="connsiteY2"/>
                </a:cxn>
              </a:cxnLst>
              <a:rect l="l" t="t" r="r" b="b"/>
              <a:pathLst>
                <a:path w="44" h="1269">
                  <a:moveTo>
                    <a:pt x="0" y="0"/>
                  </a:moveTo>
                  <a:cubicBezTo>
                    <a:pt x="60" y="419"/>
                    <a:pt x="60" y="851"/>
                    <a:pt x="0" y="1270"/>
                  </a:cubicBezTo>
                  <a:cubicBezTo>
                    <a:pt x="0" y="1270"/>
                    <a:pt x="0" y="508"/>
                    <a:pt x="0" y="127"/>
                  </a:cubicBezTo>
                  <a:close/>
                </a:path>
              </a:pathLst>
            </a:custGeom>
            <a:solidFill>
              <a:srgbClr val="000000"/>
            </a:solidFill>
            <a:ln w="12690"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74043FCD-F06C-4A67-A3E4-95718C80C283}"/>
                </a:ext>
              </a:extLst>
            </p:cNvPr>
            <p:cNvSpPr/>
            <p:nvPr/>
          </p:nvSpPr>
          <p:spPr>
            <a:xfrm>
              <a:off x="249743" y="6407303"/>
              <a:ext cx="3935" cy="47"/>
            </a:xfrm>
            <a:custGeom>
              <a:avLst/>
              <a:gdLst>
                <a:gd name="connsiteX0" fmla="*/ 2158 w 3935"/>
                <a:gd name="connsiteY0" fmla="*/ 0 h 47"/>
                <a:gd name="connsiteX1" fmla="*/ 2793 w 3935"/>
                <a:gd name="connsiteY1" fmla="*/ 0 h 47"/>
                <a:gd name="connsiteX2" fmla="*/ 3936 w 3935"/>
                <a:gd name="connsiteY2" fmla="*/ 0 h 47"/>
                <a:gd name="connsiteX3" fmla="*/ 2412 w 3935"/>
                <a:gd name="connsiteY3" fmla="*/ 0 h 47"/>
                <a:gd name="connsiteX4" fmla="*/ 1016 w 3935"/>
                <a:gd name="connsiteY4" fmla="*/ 0 h 47"/>
                <a:gd name="connsiteX5" fmla="*/ 0 w 3935"/>
                <a:gd name="connsiteY5" fmla="*/ 0 h 47"/>
                <a:gd name="connsiteX6" fmla="*/ 1778 w 3935"/>
                <a:gd name="connsiteY6" fmla="*/ 0 h 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5" h="47">
                  <a:moveTo>
                    <a:pt x="2158" y="0"/>
                  </a:moveTo>
                  <a:lnTo>
                    <a:pt x="2793" y="0"/>
                  </a:lnTo>
                  <a:lnTo>
                    <a:pt x="3936" y="0"/>
                  </a:lnTo>
                  <a:lnTo>
                    <a:pt x="2412" y="0"/>
                  </a:lnTo>
                  <a:lnTo>
                    <a:pt x="1016" y="0"/>
                  </a:lnTo>
                  <a:lnTo>
                    <a:pt x="0" y="0"/>
                  </a:lnTo>
                  <a:cubicBezTo>
                    <a:pt x="590" y="64"/>
                    <a:pt x="1187" y="64"/>
                    <a:pt x="1778" y="0"/>
                  </a:cubicBezTo>
                  <a:close/>
                </a:path>
              </a:pathLst>
            </a:custGeom>
            <a:solidFill>
              <a:srgbClr val="000000"/>
            </a:solidFill>
            <a:ln w="12690" cap="flat">
              <a:no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AC6EB95D-B343-49F9-B17E-B6048CA28F10}"/>
                </a:ext>
              </a:extLst>
            </p:cNvPr>
            <p:cNvSpPr/>
            <p:nvPr/>
          </p:nvSpPr>
          <p:spPr>
            <a:xfrm>
              <a:off x="2005950" y="6463550"/>
              <a:ext cx="13712" cy="400963"/>
            </a:xfrm>
            <a:custGeom>
              <a:avLst/>
              <a:gdLst>
                <a:gd name="connsiteX0" fmla="*/ 6856 w 13712"/>
                <a:gd name="connsiteY0" fmla="*/ 6856 h 400963"/>
                <a:gd name="connsiteX1" fmla="*/ 0 w 13712"/>
                <a:gd name="connsiteY1" fmla="*/ 0 h 400963"/>
                <a:gd name="connsiteX2" fmla="*/ 0 w 13712"/>
                <a:gd name="connsiteY2" fmla="*/ 400963 h 400963"/>
                <a:gd name="connsiteX3" fmla="*/ 13712 w 13712"/>
                <a:gd name="connsiteY3" fmla="*/ 400963 h 400963"/>
                <a:gd name="connsiteX4" fmla="*/ 13712 w 13712"/>
                <a:gd name="connsiteY4" fmla="*/ 7364 h 400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 h="400963">
                  <a:moveTo>
                    <a:pt x="6856" y="6856"/>
                  </a:moveTo>
                  <a:cubicBezTo>
                    <a:pt x="3072" y="6856"/>
                    <a:pt x="0" y="3783"/>
                    <a:pt x="0" y="0"/>
                  </a:cubicBezTo>
                  <a:lnTo>
                    <a:pt x="0" y="400963"/>
                  </a:lnTo>
                  <a:lnTo>
                    <a:pt x="13712" y="400963"/>
                  </a:lnTo>
                  <a:lnTo>
                    <a:pt x="13712" y="7364"/>
                  </a:lnTo>
                  <a:close/>
                </a:path>
              </a:pathLst>
            </a:custGeom>
            <a:solidFill>
              <a:srgbClr val="000000"/>
            </a:solidFill>
            <a:ln w="12690" cap="flat">
              <a:no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1A6DD663-0119-48D4-B3C4-2A5A6816A90C}"/>
                </a:ext>
              </a:extLst>
            </p:cNvPr>
            <p:cNvSpPr/>
            <p:nvPr/>
          </p:nvSpPr>
          <p:spPr>
            <a:xfrm>
              <a:off x="2005950" y="6460884"/>
              <a:ext cx="346365" cy="13585"/>
            </a:xfrm>
            <a:custGeom>
              <a:avLst/>
              <a:gdLst>
                <a:gd name="connsiteX0" fmla="*/ 339509 w 346365"/>
                <a:gd name="connsiteY0" fmla="*/ 6856 h 13585"/>
                <a:gd name="connsiteX1" fmla="*/ 346366 w 346365"/>
                <a:gd name="connsiteY1" fmla="*/ 0 h 13585"/>
                <a:gd name="connsiteX2" fmla="*/ 6856 w 346365"/>
                <a:gd name="connsiteY2" fmla="*/ 0 h 13585"/>
                <a:gd name="connsiteX3" fmla="*/ 5713 w 346365"/>
                <a:gd name="connsiteY3" fmla="*/ 0 h 13585"/>
                <a:gd name="connsiteX4" fmla="*/ 0 w 346365"/>
                <a:gd name="connsiteY4" fmla="*/ 6602 h 13585"/>
                <a:gd name="connsiteX5" fmla="*/ 6856 w 346365"/>
                <a:gd name="connsiteY5" fmla="*/ 13586 h 13585"/>
                <a:gd name="connsiteX6" fmla="*/ 346366 w 346365"/>
                <a:gd name="connsiteY6" fmla="*/ 13586 h 13585"/>
                <a:gd name="connsiteX7" fmla="*/ 339509 w 346365"/>
                <a:gd name="connsiteY7" fmla="*/ 6856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365" h="13585">
                  <a:moveTo>
                    <a:pt x="339509" y="6856"/>
                  </a:moveTo>
                  <a:cubicBezTo>
                    <a:pt x="339509" y="3073"/>
                    <a:pt x="342582" y="0"/>
                    <a:pt x="346366" y="0"/>
                  </a:cubicBezTo>
                  <a:lnTo>
                    <a:pt x="6856" y="0"/>
                  </a:lnTo>
                  <a:lnTo>
                    <a:pt x="5713" y="0"/>
                  </a:lnTo>
                  <a:cubicBezTo>
                    <a:pt x="2450" y="495"/>
                    <a:pt x="25" y="3301"/>
                    <a:pt x="0" y="6602"/>
                  </a:cubicBezTo>
                  <a:cubicBezTo>
                    <a:pt x="0" y="10411"/>
                    <a:pt x="3047" y="13522"/>
                    <a:pt x="6856" y="13586"/>
                  </a:cubicBezTo>
                  <a:lnTo>
                    <a:pt x="346366" y="13586"/>
                  </a:lnTo>
                  <a:cubicBezTo>
                    <a:pt x="342658" y="13522"/>
                    <a:pt x="339649" y="10564"/>
                    <a:pt x="339509" y="6856"/>
                  </a:cubicBezTo>
                  <a:close/>
                </a:path>
              </a:pathLst>
            </a:custGeom>
            <a:solidFill>
              <a:srgbClr val="000000"/>
            </a:solidFill>
            <a:ln w="12690" cap="flat">
              <a:no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7D356E66-5BFA-40BB-8CB6-CDBDF22AF03D}"/>
                </a:ext>
              </a:extLst>
            </p:cNvPr>
            <p:cNvSpPr/>
            <p:nvPr/>
          </p:nvSpPr>
          <p:spPr>
            <a:xfrm>
              <a:off x="2345459" y="6460884"/>
              <a:ext cx="39613" cy="13839"/>
            </a:xfrm>
            <a:custGeom>
              <a:avLst/>
              <a:gdLst>
                <a:gd name="connsiteX0" fmla="*/ 0 w 39613"/>
                <a:gd name="connsiteY0" fmla="*/ 6856 h 13839"/>
                <a:gd name="connsiteX1" fmla="*/ 6856 w 39613"/>
                <a:gd name="connsiteY1" fmla="*/ 13839 h 13839"/>
                <a:gd name="connsiteX2" fmla="*/ 39614 w 39613"/>
                <a:gd name="connsiteY2" fmla="*/ 13839 h 13839"/>
                <a:gd name="connsiteX3" fmla="*/ 39614 w 39613"/>
                <a:gd name="connsiteY3" fmla="*/ 0 h 13839"/>
                <a:gd name="connsiteX4" fmla="*/ 6856 w 39613"/>
                <a:gd name="connsiteY4" fmla="*/ 0 h 13839"/>
                <a:gd name="connsiteX5" fmla="*/ 0 w 39613"/>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3" h="13839">
                  <a:moveTo>
                    <a:pt x="0" y="6856"/>
                  </a:moveTo>
                  <a:cubicBezTo>
                    <a:pt x="0" y="10665"/>
                    <a:pt x="3047" y="13776"/>
                    <a:pt x="6856" y="13839"/>
                  </a:cubicBezTo>
                  <a:lnTo>
                    <a:pt x="39614" y="13839"/>
                  </a:lnTo>
                  <a:lnTo>
                    <a:pt x="39614" y="0"/>
                  </a:lnTo>
                  <a:lnTo>
                    <a:pt x="6856" y="0"/>
                  </a:lnTo>
                  <a:cubicBezTo>
                    <a:pt x="3073" y="0"/>
                    <a:pt x="0" y="3073"/>
                    <a:pt x="0" y="6856"/>
                  </a:cubicBezTo>
                  <a:close/>
                </a:path>
              </a:pathLst>
            </a:custGeom>
            <a:solidFill>
              <a:srgbClr val="000000"/>
            </a:solidFill>
            <a:ln w="12690" cap="flat">
              <a:no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D12411FF-1EE0-461E-BEF6-B8F4E264060D}"/>
                </a:ext>
              </a:extLst>
            </p:cNvPr>
            <p:cNvSpPr/>
            <p:nvPr/>
          </p:nvSpPr>
          <p:spPr>
            <a:xfrm>
              <a:off x="2385073" y="6465962"/>
              <a:ext cx="12696" cy="1777"/>
            </a:xfrm>
            <a:custGeom>
              <a:avLst/>
              <a:gdLst>
                <a:gd name="connsiteX0" fmla="*/ 0 w 12696"/>
                <a:gd name="connsiteY0" fmla="*/ 1778 h 1777"/>
                <a:gd name="connsiteX1" fmla="*/ 0 w 12696"/>
                <a:gd name="connsiteY1" fmla="*/ 889 h 1777"/>
                <a:gd name="connsiteX2" fmla="*/ 0 w 12696"/>
                <a:gd name="connsiteY2" fmla="*/ 0 h 1777"/>
              </a:gdLst>
              <a:ahLst/>
              <a:cxnLst>
                <a:cxn ang="0">
                  <a:pos x="connsiteX0" y="connsiteY0"/>
                </a:cxn>
                <a:cxn ang="0">
                  <a:pos x="connsiteX1" y="connsiteY1"/>
                </a:cxn>
                <a:cxn ang="0">
                  <a:pos x="connsiteX2" y="connsiteY2"/>
                </a:cxn>
              </a:cxnLst>
              <a:rect l="l" t="t" r="r" b="b"/>
              <a:pathLst>
                <a:path w="12696" h="1777">
                  <a:moveTo>
                    <a:pt x="0" y="1778"/>
                  </a:moveTo>
                  <a:cubicBezTo>
                    <a:pt x="0" y="1778"/>
                    <a:pt x="0" y="1778"/>
                    <a:pt x="0" y="889"/>
                  </a:cubicBezTo>
                  <a:cubicBezTo>
                    <a:pt x="0" y="0"/>
                    <a:pt x="0" y="254"/>
                    <a:pt x="0" y="0"/>
                  </a:cubicBezTo>
                  <a:close/>
                </a:path>
              </a:pathLst>
            </a:custGeom>
            <a:solidFill>
              <a:srgbClr val="000000"/>
            </a:solidFill>
            <a:ln w="12690"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DE9B2136-E47F-40D1-9865-4E5F094139A5}"/>
                </a:ext>
              </a:extLst>
            </p:cNvPr>
            <p:cNvSpPr/>
            <p:nvPr/>
          </p:nvSpPr>
          <p:spPr>
            <a:xfrm>
              <a:off x="681836" y="5792019"/>
              <a:ext cx="322853" cy="13839"/>
            </a:xfrm>
            <a:custGeom>
              <a:avLst/>
              <a:gdLst>
                <a:gd name="connsiteX0" fmla="*/ 4928 w 322853"/>
                <a:gd name="connsiteY0" fmla="*/ 889 h 13839"/>
                <a:gd name="connsiteX1" fmla="*/ 2389 w 322853"/>
                <a:gd name="connsiteY1" fmla="*/ 2285 h 13839"/>
                <a:gd name="connsiteX2" fmla="*/ 1587 w 322853"/>
                <a:gd name="connsiteY2" fmla="*/ 11769 h 13839"/>
                <a:gd name="connsiteX3" fmla="*/ 2389 w 322853"/>
                <a:gd name="connsiteY3" fmla="*/ 12570 h 13839"/>
                <a:gd name="connsiteX4" fmla="*/ 4928 w 322853"/>
                <a:gd name="connsiteY4" fmla="*/ 13840 h 13839"/>
                <a:gd name="connsiteX5" fmla="*/ 5690 w 322853"/>
                <a:gd name="connsiteY5" fmla="*/ 13840 h 13839"/>
                <a:gd name="connsiteX6" fmla="*/ 6959 w 322853"/>
                <a:gd name="connsiteY6" fmla="*/ 13840 h 13839"/>
                <a:gd name="connsiteX7" fmla="*/ 322853 w 322853"/>
                <a:gd name="connsiteY7" fmla="*/ 13840 h 13839"/>
                <a:gd name="connsiteX8" fmla="*/ 315997 w 322853"/>
                <a:gd name="connsiteY8" fmla="*/ 6856 h 13839"/>
                <a:gd name="connsiteX9" fmla="*/ 322853 w 322853"/>
                <a:gd name="connsiteY9" fmla="*/ 0 h 13839"/>
                <a:gd name="connsiteX10" fmla="*/ 6959 w 322853"/>
                <a:gd name="connsiteY10" fmla="*/ 0 h 13839"/>
                <a:gd name="connsiteX11" fmla="*/ 4928 w 322853"/>
                <a:gd name="connsiteY11" fmla="*/ 88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853" h="13839">
                  <a:moveTo>
                    <a:pt x="4928" y="889"/>
                  </a:moveTo>
                  <a:cubicBezTo>
                    <a:pt x="3995" y="1174"/>
                    <a:pt x="3130" y="1651"/>
                    <a:pt x="2389" y="2285"/>
                  </a:cubicBezTo>
                  <a:cubicBezTo>
                    <a:pt x="-452" y="4683"/>
                    <a:pt x="-810" y="8928"/>
                    <a:pt x="1587" y="11769"/>
                  </a:cubicBezTo>
                  <a:cubicBezTo>
                    <a:pt x="1831" y="12058"/>
                    <a:pt x="2099" y="12326"/>
                    <a:pt x="2389" y="12570"/>
                  </a:cubicBezTo>
                  <a:cubicBezTo>
                    <a:pt x="3138" y="13165"/>
                    <a:pt x="4002" y="13598"/>
                    <a:pt x="4928" y="13840"/>
                  </a:cubicBezTo>
                  <a:lnTo>
                    <a:pt x="5690" y="13840"/>
                  </a:lnTo>
                  <a:lnTo>
                    <a:pt x="6959" y="13840"/>
                  </a:lnTo>
                  <a:lnTo>
                    <a:pt x="322853" y="13840"/>
                  </a:lnTo>
                  <a:cubicBezTo>
                    <a:pt x="319047" y="13770"/>
                    <a:pt x="315997" y="10664"/>
                    <a:pt x="315997" y="6856"/>
                  </a:cubicBezTo>
                  <a:cubicBezTo>
                    <a:pt x="315997" y="3070"/>
                    <a:pt x="319067" y="0"/>
                    <a:pt x="322853" y="0"/>
                  </a:cubicBezTo>
                  <a:lnTo>
                    <a:pt x="6959" y="0"/>
                  </a:lnTo>
                  <a:cubicBezTo>
                    <a:pt x="6251" y="217"/>
                    <a:pt x="5569" y="516"/>
                    <a:pt x="4928" y="889"/>
                  </a:cubicBezTo>
                  <a:close/>
                </a:path>
              </a:pathLst>
            </a:custGeom>
            <a:solidFill>
              <a:srgbClr val="000000"/>
            </a:solidFill>
            <a:ln w="12690" cap="flat">
              <a:no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EC052F27-3BFE-45C5-ADCC-290424272B55}"/>
                </a:ext>
              </a:extLst>
            </p:cNvPr>
            <p:cNvSpPr/>
            <p:nvPr/>
          </p:nvSpPr>
          <p:spPr>
            <a:xfrm>
              <a:off x="3522316" y="6462026"/>
              <a:ext cx="82020" cy="13839"/>
            </a:xfrm>
            <a:custGeom>
              <a:avLst/>
              <a:gdLst>
                <a:gd name="connsiteX0" fmla="*/ 82021 w 82020"/>
                <a:gd name="connsiteY0" fmla="*/ 6856 h 13839"/>
                <a:gd name="connsiteX1" fmla="*/ 75291 w 82020"/>
                <a:gd name="connsiteY1" fmla="*/ 0 h 13839"/>
                <a:gd name="connsiteX2" fmla="*/ 0 w 82020"/>
                <a:gd name="connsiteY2" fmla="*/ 0 h 13839"/>
                <a:gd name="connsiteX3" fmla="*/ 6983 w 82020"/>
                <a:gd name="connsiteY3" fmla="*/ 6983 h 13839"/>
                <a:gd name="connsiteX4" fmla="*/ 127 w 82020"/>
                <a:gd name="connsiteY4" fmla="*/ 13840 h 13839"/>
                <a:gd name="connsiteX5" fmla="*/ 0 w 82020"/>
                <a:gd name="connsiteY5" fmla="*/ 13840 h 13839"/>
                <a:gd name="connsiteX6" fmla="*/ 75164 w 82020"/>
                <a:gd name="connsiteY6" fmla="*/ 13840 h 13839"/>
                <a:gd name="connsiteX7" fmla="*/ 82021 w 82020"/>
                <a:gd name="connsiteY7" fmla="*/ 6983 h 13839"/>
                <a:gd name="connsiteX8" fmla="*/ 82021 w 82020"/>
                <a:gd name="connsiteY8"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020" h="13839">
                  <a:moveTo>
                    <a:pt x="82021" y="6856"/>
                  </a:moveTo>
                  <a:cubicBezTo>
                    <a:pt x="82021" y="3123"/>
                    <a:pt x="79024" y="64"/>
                    <a:pt x="75291" y="0"/>
                  </a:cubicBezTo>
                  <a:lnTo>
                    <a:pt x="0" y="0"/>
                  </a:lnTo>
                  <a:cubicBezTo>
                    <a:pt x="3860" y="0"/>
                    <a:pt x="6983" y="3123"/>
                    <a:pt x="6983" y="6983"/>
                  </a:cubicBezTo>
                  <a:cubicBezTo>
                    <a:pt x="6983" y="10767"/>
                    <a:pt x="3910" y="13840"/>
                    <a:pt x="127" y="13840"/>
                  </a:cubicBezTo>
                  <a:cubicBezTo>
                    <a:pt x="89" y="13840"/>
                    <a:pt x="38" y="13840"/>
                    <a:pt x="0" y="13840"/>
                  </a:cubicBezTo>
                  <a:lnTo>
                    <a:pt x="75164" y="13840"/>
                  </a:lnTo>
                  <a:cubicBezTo>
                    <a:pt x="78948" y="13840"/>
                    <a:pt x="82021" y="10767"/>
                    <a:pt x="82021" y="6983"/>
                  </a:cubicBezTo>
                  <a:cubicBezTo>
                    <a:pt x="82021" y="6945"/>
                    <a:pt x="82021" y="6894"/>
                    <a:pt x="82021" y="6856"/>
                  </a:cubicBezTo>
                  <a:close/>
                </a:path>
              </a:pathLst>
            </a:custGeom>
            <a:solidFill>
              <a:srgbClr val="000000"/>
            </a:solidFill>
            <a:ln w="12690"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2ADAC35E-EA37-4DE8-8D2F-B5DE784B4C5D}"/>
                </a:ext>
              </a:extLst>
            </p:cNvPr>
            <p:cNvSpPr/>
            <p:nvPr/>
          </p:nvSpPr>
          <p:spPr>
            <a:xfrm>
              <a:off x="3374780" y="6461900"/>
              <a:ext cx="154899" cy="13840"/>
            </a:xfrm>
            <a:custGeom>
              <a:avLst/>
              <a:gdLst>
                <a:gd name="connsiteX0" fmla="*/ 154900 w 154899"/>
                <a:gd name="connsiteY0" fmla="*/ 6983 h 13840"/>
                <a:gd name="connsiteX1" fmla="*/ 147917 w 154899"/>
                <a:gd name="connsiteY1" fmla="*/ 0 h 13840"/>
                <a:gd name="connsiteX2" fmla="*/ 6983 w 154899"/>
                <a:gd name="connsiteY2" fmla="*/ 0 h 13840"/>
                <a:gd name="connsiteX3" fmla="*/ 0 w 154899"/>
                <a:gd name="connsiteY3" fmla="*/ 6983 h 13840"/>
                <a:gd name="connsiteX4" fmla="*/ 6983 w 154899"/>
                <a:gd name="connsiteY4" fmla="*/ 13839 h 13840"/>
                <a:gd name="connsiteX5" fmla="*/ 147917 w 154899"/>
                <a:gd name="connsiteY5" fmla="*/ 13839 h 13840"/>
                <a:gd name="connsiteX6" fmla="*/ 154900 w 154899"/>
                <a:gd name="connsiteY6" fmla="*/ 7110 h 13840"/>
                <a:gd name="connsiteX7" fmla="*/ 154900 w 154899"/>
                <a:gd name="connsiteY7" fmla="*/ 6983 h 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99" h="13840">
                  <a:moveTo>
                    <a:pt x="154900" y="6983"/>
                  </a:moveTo>
                  <a:cubicBezTo>
                    <a:pt x="154900" y="3123"/>
                    <a:pt x="151776" y="0"/>
                    <a:pt x="147917" y="0"/>
                  </a:cubicBezTo>
                  <a:lnTo>
                    <a:pt x="6983" y="0"/>
                  </a:lnTo>
                  <a:cubicBezTo>
                    <a:pt x="3123" y="0"/>
                    <a:pt x="0" y="3123"/>
                    <a:pt x="0" y="6983"/>
                  </a:cubicBezTo>
                  <a:cubicBezTo>
                    <a:pt x="64" y="10792"/>
                    <a:pt x="3174" y="13839"/>
                    <a:pt x="6983" y="13839"/>
                  </a:cubicBezTo>
                  <a:lnTo>
                    <a:pt x="147917" y="13839"/>
                  </a:lnTo>
                  <a:cubicBezTo>
                    <a:pt x="151700" y="13916"/>
                    <a:pt x="154823" y="10894"/>
                    <a:pt x="154900" y="7110"/>
                  </a:cubicBezTo>
                  <a:cubicBezTo>
                    <a:pt x="154900" y="7072"/>
                    <a:pt x="154900" y="7021"/>
                    <a:pt x="154900" y="6983"/>
                  </a:cubicBezTo>
                  <a:close/>
                </a:path>
              </a:pathLst>
            </a:custGeom>
            <a:solidFill>
              <a:srgbClr val="000000"/>
            </a:solidFill>
            <a:ln w="12690" cap="flat">
              <a:no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7AD81F86-6E39-4A5D-A756-E3C655D7E16E}"/>
                </a:ext>
              </a:extLst>
            </p:cNvPr>
            <p:cNvSpPr/>
            <p:nvPr/>
          </p:nvSpPr>
          <p:spPr>
            <a:xfrm>
              <a:off x="640548" y="5604615"/>
              <a:ext cx="13840" cy="189435"/>
            </a:xfrm>
            <a:custGeom>
              <a:avLst/>
              <a:gdLst>
                <a:gd name="connsiteX0" fmla="*/ 6983 w 13840"/>
                <a:gd name="connsiteY0" fmla="*/ 189436 h 189435"/>
                <a:gd name="connsiteX1" fmla="*/ 13841 w 13840"/>
                <a:gd name="connsiteY1" fmla="*/ 182581 h 189435"/>
                <a:gd name="connsiteX2" fmla="*/ 13839 w 13840"/>
                <a:gd name="connsiteY2" fmla="*/ 182452 h 189435"/>
                <a:gd name="connsiteX3" fmla="*/ 13839 w 13840"/>
                <a:gd name="connsiteY3" fmla="*/ 0 h 189435"/>
                <a:gd name="connsiteX4" fmla="*/ 6983 w 13840"/>
                <a:gd name="connsiteY4" fmla="*/ 6983 h 189435"/>
                <a:gd name="connsiteX5" fmla="*/ 0 w 13840"/>
                <a:gd name="connsiteY5" fmla="*/ 0 h 189435"/>
                <a:gd name="connsiteX6" fmla="*/ 0 w 13840"/>
                <a:gd name="connsiteY6" fmla="*/ 182452 h 189435"/>
                <a:gd name="connsiteX7" fmla="*/ 6983 w 13840"/>
                <a:gd name="connsiteY7" fmla="*/ 189436 h 18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0" h="189435">
                  <a:moveTo>
                    <a:pt x="6983" y="189436"/>
                  </a:moveTo>
                  <a:cubicBezTo>
                    <a:pt x="10769" y="189437"/>
                    <a:pt x="13839" y="186367"/>
                    <a:pt x="13841" y="182581"/>
                  </a:cubicBezTo>
                  <a:cubicBezTo>
                    <a:pt x="13841" y="182537"/>
                    <a:pt x="13841" y="182496"/>
                    <a:pt x="13839" y="182452"/>
                  </a:cubicBezTo>
                  <a:lnTo>
                    <a:pt x="13839" y="0"/>
                  </a:lnTo>
                  <a:cubicBezTo>
                    <a:pt x="13841" y="3808"/>
                    <a:pt x="10790" y="6913"/>
                    <a:pt x="6983" y="6983"/>
                  </a:cubicBezTo>
                  <a:cubicBezTo>
                    <a:pt x="3126" y="6983"/>
                    <a:pt x="0" y="3857"/>
                    <a:pt x="0" y="0"/>
                  </a:cubicBezTo>
                  <a:lnTo>
                    <a:pt x="0" y="182452"/>
                  </a:lnTo>
                  <a:cubicBezTo>
                    <a:pt x="0" y="186310"/>
                    <a:pt x="3126" y="189436"/>
                    <a:pt x="6983" y="189436"/>
                  </a:cubicBezTo>
                  <a:close/>
                </a:path>
              </a:pathLst>
            </a:custGeom>
            <a:solidFill>
              <a:srgbClr val="000000"/>
            </a:solidFill>
            <a:ln w="12690" cap="flat">
              <a:no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1FA61969-1352-4BA8-AC06-33E6741EF803}"/>
                </a:ext>
              </a:extLst>
            </p:cNvPr>
            <p:cNvSpPr/>
            <p:nvPr/>
          </p:nvSpPr>
          <p:spPr>
            <a:xfrm>
              <a:off x="640548" y="5581253"/>
              <a:ext cx="13839" cy="30345"/>
            </a:xfrm>
            <a:custGeom>
              <a:avLst/>
              <a:gdLst>
                <a:gd name="connsiteX0" fmla="*/ 6983 w 13839"/>
                <a:gd name="connsiteY0" fmla="*/ 30345 h 30345"/>
                <a:gd name="connsiteX1" fmla="*/ 13839 w 13839"/>
                <a:gd name="connsiteY1" fmla="*/ 23362 h 30345"/>
                <a:gd name="connsiteX2" fmla="*/ 13839 w 13839"/>
                <a:gd name="connsiteY2" fmla="*/ 6856 h 30345"/>
                <a:gd name="connsiteX3" fmla="*/ 6983 w 13839"/>
                <a:gd name="connsiteY3" fmla="*/ 0 h 30345"/>
                <a:gd name="connsiteX4" fmla="*/ 0 w 13839"/>
                <a:gd name="connsiteY4" fmla="*/ 6856 h 30345"/>
                <a:gd name="connsiteX5" fmla="*/ 0 w 13839"/>
                <a:gd name="connsiteY5" fmla="*/ 23362 h 30345"/>
                <a:gd name="connsiteX6" fmla="*/ 6983 w 13839"/>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0345">
                  <a:moveTo>
                    <a:pt x="6983" y="30345"/>
                  </a:moveTo>
                  <a:cubicBezTo>
                    <a:pt x="10790" y="30275"/>
                    <a:pt x="13841" y="27170"/>
                    <a:pt x="13839" y="23362"/>
                  </a:cubicBezTo>
                  <a:lnTo>
                    <a:pt x="13839" y="6856"/>
                  </a:lnTo>
                  <a:cubicBezTo>
                    <a:pt x="13839" y="3070"/>
                    <a:pt x="10769" y="0"/>
                    <a:pt x="6983" y="0"/>
                  </a:cubicBezTo>
                  <a:cubicBezTo>
                    <a:pt x="3175" y="0"/>
                    <a:pt x="70" y="3050"/>
                    <a:pt x="0" y="6856"/>
                  </a:cubicBezTo>
                  <a:lnTo>
                    <a:pt x="0" y="23362"/>
                  </a:lnTo>
                  <a:cubicBezTo>
                    <a:pt x="0" y="27219"/>
                    <a:pt x="3126" y="30345"/>
                    <a:pt x="6983" y="30345"/>
                  </a:cubicBezTo>
                  <a:close/>
                </a:path>
              </a:pathLst>
            </a:custGeom>
            <a:solidFill>
              <a:srgbClr val="000000"/>
            </a:solidFill>
            <a:ln w="12690" cap="flat">
              <a:no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8A214A3B-1DB5-4692-A468-AC44AC07CB73}"/>
                </a:ext>
              </a:extLst>
            </p:cNvPr>
            <p:cNvSpPr/>
            <p:nvPr/>
          </p:nvSpPr>
          <p:spPr>
            <a:xfrm>
              <a:off x="1009668" y="5759134"/>
              <a:ext cx="183439" cy="13839"/>
            </a:xfrm>
            <a:custGeom>
              <a:avLst/>
              <a:gdLst>
                <a:gd name="connsiteX0" fmla="*/ 4797 w 183439"/>
                <a:gd name="connsiteY0" fmla="*/ 762 h 13839"/>
                <a:gd name="connsiteX1" fmla="*/ 3400 w 183439"/>
                <a:gd name="connsiteY1" fmla="*/ 762 h 13839"/>
                <a:gd name="connsiteX2" fmla="*/ 2257 w 183439"/>
                <a:gd name="connsiteY2" fmla="*/ 762 h 13839"/>
                <a:gd name="connsiteX3" fmla="*/ 1115 w 183439"/>
                <a:gd name="connsiteY3" fmla="*/ 1524 h 13839"/>
                <a:gd name="connsiteX4" fmla="*/ 99 w 183439"/>
                <a:gd name="connsiteY4" fmla="*/ 2285 h 13839"/>
                <a:gd name="connsiteX5" fmla="*/ 99 w 183439"/>
                <a:gd name="connsiteY5" fmla="*/ 3301 h 13839"/>
                <a:gd name="connsiteX6" fmla="*/ 99 w 183439"/>
                <a:gd name="connsiteY6" fmla="*/ 4571 h 13839"/>
                <a:gd name="connsiteX7" fmla="*/ 99 w 183439"/>
                <a:gd name="connsiteY7" fmla="*/ 6983 h 13839"/>
                <a:gd name="connsiteX8" fmla="*/ 6955 w 183439"/>
                <a:gd name="connsiteY8" fmla="*/ 13839 h 13839"/>
                <a:gd name="connsiteX9" fmla="*/ 183439 w 183439"/>
                <a:gd name="connsiteY9" fmla="*/ 13839 h 13839"/>
                <a:gd name="connsiteX10" fmla="*/ 176583 w 183439"/>
                <a:gd name="connsiteY10" fmla="*/ 6983 h 13839"/>
                <a:gd name="connsiteX11" fmla="*/ 183439 w 183439"/>
                <a:gd name="connsiteY11" fmla="*/ 0 h 13839"/>
                <a:gd name="connsiteX12" fmla="*/ 4797 w 183439"/>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439" h="13839">
                  <a:moveTo>
                    <a:pt x="4797" y="762"/>
                  </a:moveTo>
                  <a:lnTo>
                    <a:pt x="3400" y="762"/>
                  </a:lnTo>
                  <a:lnTo>
                    <a:pt x="2257" y="762"/>
                  </a:lnTo>
                  <a:cubicBezTo>
                    <a:pt x="1849" y="971"/>
                    <a:pt x="1465" y="1226"/>
                    <a:pt x="1115" y="1524"/>
                  </a:cubicBezTo>
                  <a:lnTo>
                    <a:pt x="99" y="2285"/>
                  </a:lnTo>
                  <a:cubicBezTo>
                    <a:pt x="123" y="2623"/>
                    <a:pt x="123" y="2963"/>
                    <a:pt x="99" y="3301"/>
                  </a:cubicBezTo>
                  <a:cubicBezTo>
                    <a:pt x="76" y="3724"/>
                    <a:pt x="76" y="4148"/>
                    <a:pt x="99" y="4571"/>
                  </a:cubicBezTo>
                  <a:cubicBezTo>
                    <a:pt x="-33" y="5369"/>
                    <a:pt x="-33" y="6185"/>
                    <a:pt x="99" y="6983"/>
                  </a:cubicBezTo>
                  <a:cubicBezTo>
                    <a:pt x="99" y="10769"/>
                    <a:pt x="3169" y="13839"/>
                    <a:pt x="6955" y="13839"/>
                  </a:cubicBezTo>
                  <a:lnTo>
                    <a:pt x="183439" y="13839"/>
                  </a:lnTo>
                  <a:cubicBezTo>
                    <a:pt x="179653" y="13839"/>
                    <a:pt x="176583" y="10769"/>
                    <a:pt x="176583" y="6983"/>
                  </a:cubicBezTo>
                  <a:cubicBezTo>
                    <a:pt x="176583" y="3175"/>
                    <a:pt x="179633" y="70"/>
                    <a:pt x="183439" y="0"/>
                  </a:cubicBezTo>
                  <a:lnTo>
                    <a:pt x="4797" y="0"/>
                  </a:lnTo>
                  <a:close/>
                </a:path>
              </a:pathLst>
            </a:custGeom>
            <a:solidFill>
              <a:srgbClr val="000000"/>
            </a:solidFill>
            <a:ln w="12690" cap="flat">
              <a:no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85C764E4-AA7E-46AC-B13B-B11AEBE99394}"/>
                </a:ext>
              </a:extLst>
            </p:cNvPr>
            <p:cNvSpPr/>
            <p:nvPr/>
          </p:nvSpPr>
          <p:spPr>
            <a:xfrm>
              <a:off x="1184474" y="5759769"/>
              <a:ext cx="24758" cy="13839"/>
            </a:xfrm>
            <a:custGeom>
              <a:avLst/>
              <a:gdLst>
                <a:gd name="connsiteX0" fmla="*/ 0 w 24758"/>
                <a:gd name="connsiteY0" fmla="*/ 6983 h 13839"/>
                <a:gd name="connsiteX1" fmla="*/ 6856 w 24758"/>
                <a:gd name="connsiteY1" fmla="*/ 13840 h 13839"/>
                <a:gd name="connsiteX2" fmla="*/ 17775 w 24758"/>
                <a:gd name="connsiteY2" fmla="*/ 13840 h 13839"/>
                <a:gd name="connsiteX3" fmla="*/ 17775 w 24758"/>
                <a:gd name="connsiteY3" fmla="*/ 6983 h 13839"/>
                <a:gd name="connsiteX4" fmla="*/ 24759 w 24758"/>
                <a:gd name="connsiteY4" fmla="*/ 0 h 13839"/>
                <a:gd name="connsiteX5" fmla="*/ 6856 w 24758"/>
                <a:gd name="connsiteY5" fmla="*/ 0 h 13839"/>
                <a:gd name="connsiteX6" fmla="*/ 0 w 247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58" h="13839">
                  <a:moveTo>
                    <a:pt x="0" y="6983"/>
                  </a:moveTo>
                  <a:cubicBezTo>
                    <a:pt x="0" y="10769"/>
                    <a:pt x="3070" y="13840"/>
                    <a:pt x="6856" y="13840"/>
                  </a:cubicBezTo>
                  <a:lnTo>
                    <a:pt x="17775" y="13840"/>
                  </a:lnTo>
                  <a:lnTo>
                    <a:pt x="17775" y="6983"/>
                  </a:lnTo>
                  <a:cubicBezTo>
                    <a:pt x="17775" y="3126"/>
                    <a:pt x="20901" y="0"/>
                    <a:pt x="24759" y="0"/>
                  </a:cubicBezTo>
                  <a:lnTo>
                    <a:pt x="6856" y="0"/>
                  </a:lnTo>
                  <a:cubicBezTo>
                    <a:pt x="3050" y="70"/>
                    <a:pt x="0" y="3175"/>
                    <a:pt x="0" y="6983"/>
                  </a:cubicBezTo>
                  <a:close/>
                </a:path>
              </a:pathLst>
            </a:custGeom>
            <a:solidFill>
              <a:srgbClr val="000000"/>
            </a:solidFill>
            <a:ln w="12690" cap="flat">
              <a:no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9F3F4CE2-1E36-4713-B056-17338FAD9A35}"/>
                </a:ext>
              </a:extLst>
            </p:cNvPr>
            <p:cNvSpPr/>
            <p:nvPr/>
          </p:nvSpPr>
          <p:spPr>
            <a:xfrm>
              <a:off x="1530824" y="6756464"/>
              <a:ext cx="46231" cy="30726"/>
            </a:xfrm>
            <a:custGeom>
              <a:avLst/>
              <a:gdLst>
                <a:gd name="connsiteX0" fmla="*/ 6872 w 46231"/>
                <a:gd name="connsiteY0" fmla="*/ 8126 h 30726"/>
                <a:gd name="connsiteX1" fmla="*/ 5717 w 46231"/>
                <a:gd name="connsiteY1" fmla="*/ 6996 h 30726"/>
                <a:gd name="connsiteX2" fmla="*/ 5729 w 46231"/>
                <a:gd name="connsiteY2" fmla="*/ 6856 h 30726"/>
                <a:gd name="connsiteX3" fmla="*/ 5729 w 46231"/>
                <a:gd name="connsiteY3" fmla="*/ 254 h 30726"/>
                <a:gd name="connsiteX4" fmla="*/ 905 w 46231"/>
                <a:gd name="connsiteY4" fmla="*/ 3428 h 30726"/>
                <a:gd name="connsiteX5" fmla="*/ 143 w 46231"/>
                <a:gd name="connsiteY5" fmla="*/ 5713 h 30726"/>
                <a:gd name="connsiteX6" fmla="*/ 143 w 46231"/>
                <a:gd name="connsiteY6" fmla="*/ 8126 h 30726"/>
                <a:gd name="connsiteX7" fmla="*/ 3317 w 46231"/>
                <a:gd name="connsiteY7" fmla="*/ 12824 h 30726"/>
                <a:gd name="connsiteX8" fmla="*/ 26298 w 46231"/>
                <a:gd name="connsiteY8" fmla="*/ 25520 h 30726"/>
                <a:gd name="connsiteX9" fmla="*/ 30488 w 46231"/>
                <a:gd name="connsiteY9" fmla="*/ 27933 h 30726"/>
                <a:gd name="connsiteX10" fmla="*/ 35186 w 46231"/>
                <a:gd name="connsiteY10" fmla="*/ 30726 h 30726"/>
                <a:gd name="connsiteX11" fmla="*/ 35186 w 46231"/>
                <a:gd name="connsiteY11" fmla="*/ 26790 h 30726"/>
                <a:gd name="connsiteX12" fmla="*/ 42169 w 46231"/>
                <a:gd name="connsiteY12" fmla="*/ 19807 h 30726"/>
                <a:gd name="connsiteX13" fmla="*/ 46232 w 46231"/>
                <a:gd name="connsiteY13" fmla="*/ 21331 h 30726"/>
                <a:gd name="connsiteX14" fmla="*/ 46232 w 46231"/>
                <a:gd name="connsiteY14" fmla="*/ 21331 h 30726"/>
                <a:gd name="connsiteX15" fmla="*/ 10935 w 46231"/>
                <a:gd name="connsiteY15" fmla="*/ 762 h 30726"/>
                <a:gd name="connsiteX16" fmla="*/ 8650 w 46231"/>
                <a:gd name="connsiteY16" fmla="*/ 0 h 30726"/>
                <a:gd name="connsiteX17" fmla="*/ 8650 w 46231"/>
                <a:gd name="connsiteY17" fmla="*/ 6729 h 30726"/>
                <a:gd name="connsiteX18" fmla="*/ 8218 w 46231"/>
                <a:gd name="connsiteY18" fmla="*/ 8291 h 30726"/>
                <a:gd name="connsiteX19" fmla="*/ 6872 w 46231"/>
                <a:gd name="connsiteY19" fmla="*/ 8126 h 3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31" h="30726">
                  <a:moveTo>
                    <a:pt x="6872" y="8126"/>
                  </a:moveTo>
                  <a:cubicBezTo>
                    <a:pt x="6237" y="8126"/>
                    <a:pt x="5729" y="7618"/>
                    <a:pt x="5717" y="6996"/>
                  </a:cubicBezTo>
                  <a:cubicBezTo>
                    <a:pt x="5717" y="6945"/>
                    <a:pt x="5729" y="6907"/>
                    <a:pt x="5729" y="6856"/>
                  </a:cubicBezTo>
                  <a:lnTo>
                    <a:pt x="5729" y="254"/>
                  </a:lnTo>
                  <a:cubicBezTo>
                    <a:pt x="3736" y="546"/>
                    <a:pt x="1971" y="1714"/>
                    <a:pt x="905" y="3428"/>
                  </a:cubicBezTo>
                  <a:cubicBezTo>
                    <a:pt x="600" y="4165"/>
                    <a:pt x="333" y="4939"/>
                    <a:pt x="143" y="5713"/>
                  </a:cubicBezTo>
                  <a:cubicBezTo>
                    <a:pt x="-48" y="6501"/>
                    <a:pt x="-48" y="7339"/>
                    <a:pt x="143" y="8126"/>
                  </a:cubicBezTo>
                  <a:cubicBezTo>
                    <a:pt x="422" y="10094"/>
                    <a:pt x="1590" y="11833"/>
                    <a:pt x="3317" y="12824"/>
                  </a:cubicBezTo>
                  <a:lnTo>
                    <a:pt x="26298" y="25520"/>
                  </a:lnTo>
                  <a:lnTo>
                    <a:pt x="30488" y="27933"/>
                  </a:lnTo>
                  <a:lnTo>
                    <a:pt x="35186" y="30726"/>
                  </a:lnTo>
                  <a:lnTo>
                    <a:pt x="35186" y="26790"/>
                  </a:lnTo>
                  <a:cubicBezTo>
                    <a:pt x="35186" y="22930"/>
                    <a:pt x="38309" y="19807"/>
                    <a:pt x="42169" y="19807"/>
                  </a:cubicBezTo>
                  <a:cubicBezTo>
                    <a:pt x="43654" y="19858"/>
                    <a:pt x="45089" y="20391"/>
                    <a:pt x="46232" y="21331"/>
                  </a:cubicBezTo>
                  <a:lnTo>
                    <a:pt x="46232" y="21331"/>
                  </a:lnTo>
                  <a:lnTo>
                    <a:pt x="10935" y="762"/>
                  </a:lnTo>
                  <a:cubicBezTo>
                    <a:pt x="10211" y="394"/>
                    <a:pt x="9450" y="140"/>
                    <a:pt x="8650" y="0"/>
                  </a:cubicBezTo>
                  <a:lnTo>
                    <a:pt x="8650" y="6729"/>
                  </a:lnTo>
                  <a:cubicBezTo>
                    <a:pt x="8967" y="7275"/>
                    <a:pt x="8777" y="7974"/>
                    <a:pt x="8218" y="8291"/>
                  </a:cubicBezTo>
                  <a:cubicBezTo>
                    <a:pt x="7786" y="8532"/>
                    <a:pt x="7240" y="8469"/>
                    <a:pt x="6872" y="8126"/>
                  </a:cubicBezTo>
                  <a:close/>
                </a:path>
              </a:pathLst>
            </a:custGeom>
            <a:solidFill>
              <a:srgbClr val="000000"/>
            </a:solidFill>
            <a:ln w="12690" cap="flat">
              <a:no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95EBEBAE-9440-4751-B9FD-2C9788CEF594}"/>
                </a:ext>
              </a:extLst>
            </p:cNvPr>
            <p:cNvSpPr/>
            <p:nvPr/>
          </p:nvSpPr>
          <p:spPr>
            <a:xfrm>
              <a:off x="1567025" y="6776906"/>
              <a:ext cx="13839" cy="87607"/>
            </a:xfrm>
            <a:custGeom>
              <a:avLst/>
              <a:gdLst>
                <a:gd name="connsiteX0" fmla="*/ 12824 w 13839"/>
                <a:gd name="connsiteY0" fmla="*/ 6094 h 87607"/>
                <a:gd name="connsiteX1" fmla="*/ 12824 w 13839"/>
                <a:gd name="connsiteY1" fmla="*/ 4698 h 87607"/>
                <a:gd name="connsiteX2" fmla="*/ 12824 w 13839"/>
                <a:gd name="connsiteY2" fmla="*/ 3555 h 87607"/>
                <a:gd name="connsiteX3" fmla="*/ 12062 w 13839"/>
                <a:gd name="connsiteY3" fmla="*/ 2539 h 87607"/>
                <a:gd name="connsiteX4" fmla="*/ 11046 w 13839"/>
                <a:gd name="connsiteY4" fmla="*/ 1524 h 87607"/>
                <a:gd name="connsiteX5" fmla="*/ 6983 w 13839"/>
                <a:gd name="connsiteY5" fmla="*/ 0 h 87607"/>
                <a:gd name="connsiteX6" fmla="*/ 0 w 13839"/>
                <a:gd name="connsiteY6" fmla="*/ 6983 h 87607"/>
                <a:gd name="connsiteX7" fmla="*/ 0 w 13839"/>
                <a:gd name="connsiteY7" fmla="*/ 87608 h 87607"/>
                <a:gd name="connsiteX8" fmla="*/ 13839 w 13839"/>
                <a:gd name="connsiteY8" fmla="*/ 87608 h 87607"/>
                <a:gd name="connsiteX9" fmla="*/ 13839 w 13839"/>
                <a:gd name="connsiteY9" fmla="*/ 6983 h 87607"/>
                <a:gd name="connsiteX10" fmla="*/ 12824 w 13839"/>
                <a:gd name="connsiteY10" fmla="*/ 6094 h 87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87607">
                  <a:moveTo>
                    <a:pt x="12824" y="6094"/>
                  </a:moveTo>
                  <a:cubicBezTo>
                    <a:pt x="12824" y="6094"/>
                    <a:pt x="12824" y="5206"/>
                    <a:pt x="12824" y="4698"/>
                  </a:cubicBezTo>
                  <a:lnTo>
                    <a:pt x="12824" y="3555"/>
                  </a:lnTo>
                  <a:cubicBezTo>
                    <a:pt x="12646" y="3162"/>
                    <a:pt x="12379" y="2819"/>
                    <a:pt x="12062" y="2539"/>
                  </a:cubicBezTo>
                  <a:cubicBezTo>
                    <a:pt x="11795" y="2146"/>
                    <a:pt x="11452" y="1790"/>
                    <a:pt x="11046" y="1524"/>
                  </a:cubicBezTo>
                  <a:cubicBezTo>
                    <a:pt x="9903" y="584"/>
                    <a:pt x="8469" y="51"/>
                    <a:pt x="6983" y="0"/>
                  </a:cubicBezTo>
                  <a:cubicBezTo>
                    <a:pt x="3123" y="0"/>
                    <a:pt x="0" y="3123"/>
                    <a:pt x="0" y="6983"/>
                  </a:cubicBezTo>
                  <a:lnTo>
                    <a:pt x="0" y="87608"/>
                  </a:lnTo>
                  <a:lnTo>
                    <a:pt x="13839" y="87608"/>
                  </a:lnTo>
                  <a:lnTo>
                    <a:pt x="13839" y="6983"/>
                  </a:lnTo>
                  <a:cubicBezTo>
                    <a:pt x="13839" y="6983"/>
                    <a:pt x="12824" y="6348"/>
                    <a:pt x="12824" y="6094"/>
                  </a:cubicBezTo>
                  <a:close/>
                </a:path>
              </a:pathLst>
            </a:custGeom>
            <a:solidFill>
              <a:srgbClr val="000000"/>
            </a:solidFill>
            <a:ln w="12690" cap="flat">
              <a:no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0B0F09F5-4806-49D8-A7A8-B78F015188BF}"/>
                </a:ext>
              </a:extLst>
            </p:cNvPr>
            <p:cNvSpPr/>
            <p:nvPr/>
          </p:nvSpPr>
          <p:spPr>
            <a:xfrm>
              <a:off x="1202249" y="5759769"/>
              <a:ext cx="13839" cy="54976"/>
            </a:xfrm>
            <a:custGeom>
              <a:avLst/>
              <a:gdLst>
                <a:gd name="connsiteX0" fmla="*/ 0 w 13839"/>
                <a:gd name="connsiteY0" fmla="*/ 6983 h 54976"/>
                <a:gd name="connsiteX1" fmla="*/ 0 w 13839"/>
                <a:gd name="connsiteY1" fmla="*/ 54977 h 54976"/>
                <a:gd name="connsiteX2" fmla="*/ 6983 w 13839"/>
                <a:gd name="connsiteY2" fmla="*/ 47994 h 54976"/>
                <a:gd name="connsiteX3" fmla="*/ 13839 w 13839"/>
                <a:gd name="connsiteY3" fmla="*/ 54977 h 54976"/>
                <a:gd name="connsiteX4" fmla="*/ 13839 w 13839"/>
                <a:gd name="connsiteY4" fmla="*/ 6983 h 54976"/>
                <a:gd name="connsiteX5" fmla="*/ 6983 w 13839"/>
                <a:gd name="connsiteY5" fmla="*/ 0 h 54976"/>
                <a:gd name="connsiteX6" fmla="*/ 0 w 13839"/>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54976">
                  <a:moveTo>
                    <a:pt x="0" y="6983"/>
                  </a:moveTo>
                  <a:lnTo>
                    <a:pt x="0" y="54977"/>
                  </a:lnTo>
                  <a:cubicBezTo>
                    <a:pt x="0" y="51120"/>
                    <a:pt x="3126" y="47994"/>
                    <a:pt x="6983" y="47994"/>
                  </a:cubicBezTo>
                  <a:cubicBezTo>
                    <a:pt x="10790" y="48064"/>
                    <a:pt x="13841" y="51169"/>
                    <a:pt x="13839" y="54977"/>
                  </a:cubicBezTo>
                  <a:lnTo>
                    <a:pt x="13839" y="6983"/>
                  </a:lnTo>
                  <a:cubicBezTo>
                    <a:pt x="13839" y="3175"/>
                    <a:pt x="10790" y="70"/>
                    <a:pt x="6983" y="0"/>
                  </a:cubicBezTo>
                  <a:cubicBezTo>
                    <a:pt x="3126" y="0"/>
                    <a:pt x="0" y="3126"/>
                    <a:pt x="0" y="6983"/>
                  </a:cubicBezTo>
                  <a:close/>
                </a:path>
              </a:pathLst>
            </a:custGeom>
            <a:solidFill>
              <a:srgbClr val="000000"/>
            </a:solidFill>
            <a:ln w="12690" cap="flat">
              <a:no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2A89C0E6-716B-4402-98B2-6CF7975AF6E2}"/>
                </a:ext>
              </a:extLst>
            </p:cNvPr>
            <p:cNvSpPr/>
            <p:nvPr/>
          </p:nvSpPr>
          <p:spPr>
            <a:xfrm>
              <a:off x="1202249" y="5807763"/>
              <a:ext cx="13839" cy="584939"/>
            </a:xfrm>
            <a:custGeom>
              <a:avLst/>
              <a:gdLst>
                <a:gd name="connsiteX0" fmla="*/ 6983 w 13839"/>
                <a:gd name="connsiteY0" fmla="*/ 584939 h 584939"/>
                <a:gd name="connsiteX1" fmla="*/ 13839 w 13839"/>
                <a:gd name="connsiteY1" fmla="*/ 584939 h 584939"/>
                <a:gd name="connsiteX2" fmla="*/ 13839 w 13839"/>
                <a:gd name="connsiteY2" fmla="*/ 6983 h 584939"/>
                <a:gd name="connsiteX3" fmla="*/ 6983 w 13839"/>
                <a:gd name="connsiteY3" fmla="*/ 0 h 584939"/>
                <a:gd name="connsiteX4" fmla="*/ 0 w 13839"/>
                <a:gd name="connsiteY4" fmla="*/ 6983 h 584939"/>
                <a:gd name="connsiteX5" fmla="*/ 0 w 13839"/>
                <a:gd name="connsiteY5" fmla="*/ 584939 h 58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584939">
                  <a:moveTo>
                    <a:pt x="6983" y="584939"/>
                  </a:moveTo>
                  <a:lnTo>
                    <a:pt x="13839" y="584939"/>
                  </a:lnTo>
                  <a:lnTo>
                    <a:pt x="13839" y="6983"/>
                  </a:lnTo>
                  <a:cubicBezTo>
                    <a:pt x="13839" y="3176"/>
                    <a:pt x="10790" y="70"/>
                    <a:pt x="6983" y="0"/>
                  </a:cubicBezTo>
                  <a:cubicBezTo>
                    <a:pt x="3126" y="0"/>
                    <a:pt x="0" y="3126"/>
                    <a:pt x="0" y="6983"/>
                  </a:cubicBezTo>
                  <a:lnTo>
                    <a:pt x="0" y="584939"/>
                  </a:lnTo>
                  <a:close/>
                </a:path>
              </a:pathLst>
            </a:custGeom>
            <a:solidFill>
              <a:srgbClr val="000000"/>
            </a:solidFill>
            <a:ln w="12690" cap="flat">
              <a:no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4D9ABB98-2AF0-4A35-BEF5-3AB90BE34D9B}"/>
                </a:ext>
              </a:extLst>
            </p:cNvPr>
            <p:cNvSpPr/>
            <p:nvPr/>
          </p:nvSpPr>
          <p:spPr>
            <a:xfrm>
              <a:off x="0" y="6392940"/>
              <a:ext cx="2793" cy="142"/>
            </a:xfrm>
            <a:custGeom>
              <a:avLst/>
              <a:gdLst>
                <a:gd name="connsiteX0" fmla="*/ 0 w 2793"/>
                <a:gd name="connsiteY0" fmla="*/ 143 h 142"/>
                <a:gd name="connsiteX1" fmla="*/ 0 w 2793"/>
                <a:gd name="connsiteY1" fmla="*/ 143 h 142"/>
                <a:gd name="connsiteX2" fmla="*/ 2793 w 2793"/>
                <a:gd name="connsiteY2" fmla="*/ 143 h 142"/>
              </a:gdLst>
              <a:ahLst/>
              <a:cxnLst>
                <a:cxn ang="0">
                  <a:pos x="connsiteX0" y="connsiteY0"/>
                </a:cxn>
                <a:cxn ang="0">
                  <a:pos x="connsiteX1" y="connsiteY1"/>
                </a:cxn>
                <a:cxn ang="0">
                  <a:pos x="connsiteX2" y="connsiteY2"/>
                </a:cxn>
              </a:cxnLst>
              <a:rect l="l" t="t" r="r" b="b"/>
              <a:pathLst>
                <a:path w="2793" h="142">
                  <a:moveTo>
                    <a:pt x="0" y="143"/>
                  </a:moveTo>
                  <a:lnTo>
                    <a:pt x="0" y="143"/>
                  </a:lnTo>
                  <a:cubicBezTo>
                    <a:pt x="921" y="-48"/>
                    <a:pt x="1872" y="-48"/>
                    <a:pt x="2793" y="143"/>
                  </a:cubicBezTo>
                  <a:close/>
                </a:path>
              </a:pathLst>
            </a:custGeom>
            <a:solidFill>
              <a:srgbClr val="000000"/>
            </a:solidFill>
            <a:ln w="12690" cap="flat">
              <a:no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594CD9B5-5382-41FF-8394-9F75629E3D77}"/>
                </a:ext>
              </a:extLst>
            </p:cNvPr>
            <p:cNvSpPr/>
            <p:nvPr/>
          </p:nvSpPr>
          <p:spPr>
            <a:xfrm>
              <a:off x="0" y="6406923"/>
              <a:ext cx="2793" cy="142"/>
            </a:xfrm>
            <a:custGeom>
              <a:avLst/>
              <a:gdLst>
                <a:gd name="connsiteX0" fmla="*/ 2793 w 2793"/>
                <a:gd name="connsiteY0" fmla="*/ 0 h 142"/>
                <a:gd name="connsiteX1" fmla="*/ 0 w 2793"/>
                <a:gd name="connsiteY1" fmla="*/ 0 h 142"/>
                <a:gd name="connsiteX2" fmla="*/ 0 w 2793"/>
                <a:gd name="connsiteY2" fmla="*/ 0 h 142"/>
                <a:gd name="connsiteX3" fmla="*/ 2793 w 2793"/>
                <a:gd name="connsiteY3" fmla="*/ 0 h 142"/>
              </a:gdLst>
              <a:ahLst/>
              <a:cxnLst>
                <a:cxn ang="0">
                  <a:pos x="connsiteX0" y="connsiteY0"/>
                </a:cxn>
                <a:cxn ang="0">
                  <a:pos x="connsiteX1" y="connsiteY1"/>
                </a:cxn>
                <a:cxn ang="0">
                  <a:pos x="connsiteX2" y="connsiteY2"/>
                </a:cxn>
                <a:cxn ang="0">
                  <a:pos x="connsiteX3" y="connsiteY3"/>
                </a:cxn>
              </a:cxnLst>
              <a:rect l="l" t="t" r="r" b="b"/>
              <a:pathLst>
                <a:path w="2793" h="142">
                  <a:moveTo>
                    <a:pt x="2793" y="0"/>
                  </a:moveTo>
                  <a:cubicBezTo>
                    <a:pt x="1872" y="190"/>
                    <a:pt x="921" y="190"/>
                    <a:pt x="0" y="0"/>
                  </a:cubicBezTo>
                  <a:lnTo>
                    <a:pt x="0" y="0"/>
                  </a:lnTo>
                  <a:lnTo>
                    <a:pt x="2793" y="0"/>
                  </a:lnTo>
                  <a:close/>
                </a:path>
              </a:pathLst>
            </a:custGeom>
            <a:solidFill>
              <a:srgbClr val="000000"/>
            </a:solidFill>
            <a:ln w="12690"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743FE7F9-1777-427E-A3AB-5D9431FEEF02}"/>
                </a:ext>
              </a:extLst>
            </p:cNvPr>
            <p:cNvSpPr/>
            <p:nvPr/>
          </p:nvSpPr>
          <p:spPr>
            <a:xfrm>
              <a:off x="0" y="6392940"/>
              <a:ext cx="250759" cy="13982"/>
            </a:xfrm>
            <a:custGeom>
              <a:avLst/>
              <a:gdLst>
                <a:gd name="connsiteX0" fmla="*/ 3936 w 250759"/>
                <a:gd name="connsiteY0" fmla="*/ 13982 h 13982"/>
                <a:gd name="connsiteX1" fmla="*/ 250760 w 250759"/>
                <a:gd name="connsiteY1" fmla="*/ 13982 h 13982"/>
                <a:gd name="connsiteX2" fmla="*/ 245173 w 250759"/>
                <a:gd name="connsiteY2" fmla="*/ 7380 h 13982"/>
                <a:gd name="connsiteX3" fmla="*/ 245173 w 250759"/>
                <a:gd name="connsiteY3" fmla="*/ 143 h 13982"/>
                <a:gd name="connsiteX4" fmla="*/ 2793 w 250759"/>
                <a:gd name="connsiteY4" fmla="*/ 143 h 13982"/>
                <a:gd name="connsiteX5" fmla="*/ 0 w 250759"/>
                <a:gd name="connsiteY5" fmla="*/ 143 h 13982"/>
                <a:gd name="connsiteX6" fmla="*/ 0 w 250759"/>
                <a:gd name="connsiteY6" fmla="*/ 12840 h 13982"/>
                <a:gd name="connsiteX7" fmla="*/ 2793 w 250759"/>
                <a:gd name="connsiteY7" fmla="*/ 12840 h 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759" h="13982">
                  <a:moveTo>
                    <a:pt x="3936" y="13982"/>
                  </a:moveTo>
                  <a:lnTo>
                    <a:pt x="250760" y="13982"/>
                  </a:lnTo>
                  <a:cubicBezTo>
                    <a:pt x="247542" y="13424"/>
                    <a:pt x="245187" y="10643"/>
                    <a:pt x="245173" y="7380"/>
                  </a:cubicBezTo>
                  <a:lnTo>
                    <a:pt x="245173" y="143"/>
                  </a:lnTo>
                  <a:lnTo>
                    <a:pt x="2793" y="143"/>
                  </a:lnTo>
                  <a:cubicBezTo>
                    <a:pt x="1872" y="-48"/>
                    <a:pt x="921" y="-48"/>
                    <a:pt x="0" y="143"/>
                  </a:cubicBezTo>
                  <a:lnTo>
                    <a:pt x="0" y="12840"/>
                  </a:lnTo>
                  <a:cubicBezTo>
                    <a:pt x="921" y="13030"/>
                    <a:pt x="1872" y="13030"/>
                    <a:pt x="2793" y="12840"/>
                  </a:cubicBezTo>
                  <a:close/>
                </a:path>
              </a:pathLst>
            </a:custGeom>
            <a:solidFill>
              <a:srgbClr val="000000"/>
            </a:solidFill>
            <a:ln w="12690" cap="flat">
              <a:no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A3ECC868-B4B9-43B4-830B-E331FCC37D0E}"/>
                </a:ext>
              </a:extLst>
            </p:cNvPr>
            <p:cNvSpPr/>
            <p:nvPr/>
          </p:nvSpPr>
          <p:spPr>
            <a:xfrm>
              <a:off x="0" y="4954033"/>
              <a:ext cx="162898" cy="13712"/>
            </a:xfrm>
            <a:custGeom>
              <a:avLst/>
              <a:gdLst>
                <a:gd name="connsiteX0" fmla="*/ 155915 w 162898"/>
                <a:gd name="connsiteY0" fmla="*/ 6856 h 13712"/>
                <a:gd name="connsiteX1" fmla="*/ 162899 w 162898"/>
                <a:gd name="connsiteY1" fmla="*/ 0 h 13712"/>
                <a:gd name="connsiteX2" fmla="*/ 0 w 162898"/>
                <a:gd name="connsiteY2" fmla="*/ 0 h 13712"/>
                <a:gd name="connsiteX3" fmla="*/ 0 w 162898"/>
                <a:gd name="connsiteY3" fmla="*/ 13712 h 13712"/>
                <a:gd name="connsiteX4" fmla="*/ 162899 w 162898"/>
                <a:gd name="connsiteY4" fmla="*/ 13712 h 13712"/>
                <a:gd name="connsiteX5" fmla="*/ 155915 w 162898"/>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8" h="13712">
                  <a:moveTo>
                    <a:pt x="155915" y="6856"/>
                  </a:moveTo>
                  <a:cubicBezTo>
                    <a:pt x="155985" y="3050"/>
                    <a:pt x="159091" y="0"/>
                    <a:pt x="162899" y="0"/>
                  </a:cubicBezTo>
                  <a:lnTo>
                    <a:pt x="0" y="0"/>
                  </a:lnTo>
                  <a:lnTo>
                    <a:pt x="0" y="13712"/>
                  </a:lnTo>
                  <a:lnTo>
                    <a:pt x="162899" y="13712"/>
                  </a:lnTo>
                  <a:cubicBezTo>
                    <a:pt x="159091" y="13712"/>
                    <a:pt x="155985" y="10663"/>
                    <a:pt x="155915" y="6856"/>
                  </a:cubicBezTo>
                  <a:close/>
                </a:path>
              </a:pathLst>
            </a:custGeom>
            <a:solidFill>
              <a:srgbClr val="000000"/>
            </a:solidFill>
            <a:ln w="12690" cap="flat">
              <a:no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FA2AE2E1-3EA0-408B-9AF0-01AF88EF2E73}"/>
                </a:ext>
              </a:extLst>
            </p:cNvPr>
            <p:cNvSpPr/>
            <p:nvPr/>
          </p:nvSpPr>
          <p:spPr>
            <a:xfrm>
              <a:off x="156042" y="4954659"/>
              <a:ext cx="107289" cy="13848"/>
            </a:xfrm>
            <a:custGeom>
              <a:avLst/>
              <a:gdLst>
                <a:gd name="connsiteX0" fmla="*/ 100304 w 107289"/>
                <a:gd name="connsiteY0" fmla="*/ 13087 h 13848"/>
                <a:gd name="connsiteX1" fmla="*/ 101574 w 107289"/>
                <a:gd name="connsiteY1" fmla="*/ 13087 h 13848"/>
                <a:gd name="connsiteX2" fmla="*/ 107229 w 107289"/>
                <a:gd name="connsiteY2" fmla="*/ 5658 h 13848"/>
                <a:gd name="connsiteX3" fmla="*/ 105129 w 107289"/>
                <a:gd name="connsiteY3" fmla="*/ 1660 h 13848"/>
                <a:gd name="connsiteX4" fmla="*/ 103986 w 107289"/>
                <a:gd name="connsiteY4" fmla="*/ 898 h 13848"/>
                <a:gd name="connsiteX5" fmla="*/ 102970 w 107289"/>
                <a:gd name="connsiteY5" fmla="*/ 136 h 13848"/>
                <a:gd name="connsiteX6" fmla="*/ 100304 w 107289"/>
                <a:gd name="connsiteY6" fmla="*/ 136 h 13848"/>
                <a:gd name="connsiteX7" fmla="*/ 6856 w 107289"/>
                <a:gd name="connsiteY7" fmla="*/ 136 h 13848"/>
                <a:gd name="connsiteX8" fmla="*/ 0 w 107289"/>
                <a:gd name="connsiteY8" fmla="*/ 6992 h 13848"/>
                <a:gd name="connsiteX9" fmla="*/ 6856 w 107289"/>
                <a:gd name="connsiteY9" fmla="*/ 13849 h 13848"/>
                <a:gd name="connsiteX10" fmla="*/ 100304 w 107289"/>
                <a:gd name="connsiteY10" fmla="*/ 13849 h 1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289" h="13848">
                  <a:moveTo>
                    <a:pt x="100304" y="13087"/>
                  </a:moveTo>
                  <a:lnTo>
                    <a:pt x="101574" y="13087"/>
                  </a:lnTo>
                  <a:cubicBezTo>
                    <a:pt x="105187" y="12597"/>
                    <a:pt x="107719" y="9270"/>
                    <a:pt x="107229" y="5658"/>
                  </a:cubicBezTo>
                  <a:cubicBezTo>
                    <a:pt x="107020" y="4119"/>
                    <a:pt x="106276" y="2703"/>
                    <a:pt x="105129" y="1660"/>
                  </a:cubicBezTo>
                  <a:cubicBezTo>
                    <a:pt x="105129" y="1660"/>
                    <a:pt x="104367" y="1660"/>
                    <a:pt x="103986" y="898"/>
                  </a:cubicBezTo>
                  <a:cubicBezTo>
                    <a:pt x="103704" y="575"/>
                    <a:pt x="103359" y="316"/>
                    <a:pt x="102970" y="136"/>
                  </a:cubicBezTo>
                  <a:cubicBezTo>
                    <a:pt x="102090" y="-45"/>
                    <a:pt x="101184" y="-45"/>
                    <a:pt x="100304" y="136"/>
                  </a:cubicBezTo>
                  <a:lnTo>
                    <a:pt x="6856" y="136"/>
                  </a:lnTo>
                  <a:cubicBezTo>
                    <a:pt x="3070" y="136"/>
                    <a:pt x="0" y="3206"/>
                    <a:pt x="0" y="6992"/>
                  </a:cubicBezTo>
                  <a:cubicBezTo>
                    <a:pt x="0" y="10779"/>
                    <a:pt x="3070" y="13849"/>
                    <a:pt x="6856" y="13849"/>
                  </a:cubicBezTo>
                  <a:lnTo>
                    <a:pt x="100304" y="13849"/>
                  </a:lnTo>
                  <a:close/>
                </a:path>
              </a:pathLst>
            </a:custGeom>
            <a:solidFill>
              <a:srgbClr val="000000"/>
            </a:solidFill>
            <a:ln w="12690"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9DBE1BD2-5357-47C1-B0F0-B3FEA9128D5C}"/>
                </a:ext>
              </a:extLst>
            </p:cNvPr>
            <p:cNvSpPr/>
            <p:nvPr/>
          </p:nvSpPr>
          <p:spPr>
            <a:xfrm>
              <a:off x="282501" y="6075283"/>
              <a:ext cx="133061" cy="4316"/>
            </a:xfrm>
            <a:custGeom>
              <a:avLst/>
              <a:gdLst>
                <a:gd name="connsiteX0" fmla="*/ 133061 w 133061"/>
                <a:gd name="connsiteY0" fmla="*/ 0 h 4316"/>
                <a:gd name="connsiteX1" fmla="*/ 0 w 133061"/>
                <a:gd name="connsiteY1" fmla="*/ 0 h 4316"/>
                <a:gd name="connsiteX2" fmla="*/ 0 w 133061"/>
                <a:gd name="connsiteY2" fmla="*/ 4317 h 4316"/>
                <a:gd name="connsiteX3" fmla="*/ 126967 w 133061"/>
                <a:gd name="connsiteY3" fmla="*/ 4317 h 4316"/>
                <a:gd name="connsiteX4" fmla="*/ 133061 w 133061"/>
                <a:gd name="connsiteY4" fmla="*/ 0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61" h="4316">
                  <a:moveTo>
                    <a:pt x="133061" y="0"/>
                  </a:moveTo>
                  <a:lnTo>
                    <a:pt x="0" y="0"/>
                  </a:lnTo>
                  <a:lnTo>
                    <a:pt x="0" y="4317"/>
                  </a:lnTo>
                  <a:lnTo>
                    <a:pt x="126967" y="4317"/>
                  </a:lnTo>
                  <a:cubicBezTo>
                    <a:pt x="127994" y="1816"/>
                    <a:pt x="130366" y="140"/>
                    <a:pt x="133061" y="0"/>
                  </a:cubicBezTo>
                  <a:close/>
                </a:path>
              </a:pathLst>
            </a:custGeom>
            <a:solidFill>
              <a:srgbClr val="000000"/>
            </a:solidFill>
            <a:ln w="12690" cap="flat">
              <a:no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379BB91A-62BC-4F01-A2D8-27D761AA331D}"/>
                </a:ext>
              </a:extLst>
            </p:cNvPr>
            <p:cNvSpPr/>
            <p:nvPr/>
          </p:nvSpPr>
          <p:spPr>
            <a:xfrm>
              <a:off x="475237" y="6069570"/>
              <a:ext cx="13077" cy="10538"/>
            </a:xfrm>
            <a:custGeom>
              <a:avLst/>
              <a:gdLst>
                <a:gd name="connsiteX0" fmla="*/ 12824 w 13077"/>
                <a:gd name="connsiteY0" fmla="*/ 6094 h 10538"/>
                <a:gd name="connsiteX1" fmla="*/ 12824 w 13077"/>
                <a:gd name="connsiteY1" fmla="*/ 4698 h 10538"/>
                <a:gd name="connsiteX2" fmla="*/ 12824 w 13077"/>
                <a:gd name="connsiteY2" fmla="*/ 3936 h 10538"/>
                <a:gd name="connsiteX3" fmla="*/ 12824 w 13077"/>
                <a:gd name="connsiteY3" fmla="*/ 3936 h 10538"/>
                <a:gd name="connsiteX4" fmla="*/ 12189 w 13077"/>
                <a:gd name="connsiteY4" fmla="*/ 2920 h 10538"/>
                <a:gd name="connsiteX5" fmla="*/ 11300 w 13077"/>
                <a:gd name="connsiteY5" fmla="*/ 1905 h 10538"/>
                <a:gd name="connsiteX6" fmla="*/ 6729 w 13077"/>
                <a:gd name="connsiteY6" fmla="*/ 0 h 10538"/>
                <a:gd name="connsiteX7" fmla="*/ 2285 w 13077"/>
                <a:gd name="connsiteY7" fmla="*/ 1778 h 10538"/>
                <a:gd name="connsiteX8" fmla="*/ 762 w 13077"/>
                <a:gd name="connsiteY8" fmla="*/ 3682 h 10538"/>
                <a:gd name="connsiteX9" fmla="*/ 0 w 13077"/>
                <a:gd name="connsiteY9" fmla="*/ 6221 h 10538"/>
                <a:gd name="connsiteX10" fmla="*/ 6729 w 13077"/>
                <a:gd name="connsiteY10" fmla="*/ 6221 h 10538"/>
                <a:gd name="connsiteX11" fmla="*/ 13078 w 13077"/>
                <a:gd name="connsiteY11" fmla="*/ 10538 h 10538"/>
                <a:gd name="connsiteX12" fmla="*/ 13078 w 13077"/>
                <a:gd name="connsiteY12" fmla="*/ 10538 h 10538"/>
                <a:gd name="connsiteX13" fmla="*/ 13078 w 13077"/>
                <a:gd name="connsiteY13" fmla="*/ 6602 h 1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7" h="10538">
                  <a:moveTo>
                    <a:pt x="12824" y="6094"/>
                  </a:moveTo>
                  <a:lnTo>
                    <a:pt x="12824" y="4698"/>
                  </a:lnTo>
                  <a:cubicBezTo>
                    <a:pt x="12883" y="4444"/>
                    <a:pt x="12883" y="4190"/>
                    <a:pt x="12824" y="3936"/>
                  </a:cubicBezTo>
                  <a:lnTo>
                    <a:pt x="12824" y="3936"/>
                  </a:lnTo>
                  <a:lnTo>
                    <a:pt x="12189" y="2920"/>
                  </a:lnTo>
                  <a:cubicBezTo>
                    <a:pt x="11963" y="2527"/>
                    <a:pt x="11661" y="2184"/>
                    <a:pt x="11300" y="1905"/>
                  </a:cubicBezTo>
                  <a:cubicBezTo>
                    <a:pt x="10074" y="711"/>
                    <a:pt x="8439" y="25"/>
                    <a:pt x="6729" y="0"/>
                  </a:cubicBezTo>
                  <a:cubicBezTo>
                    <a:pt x="5080" y="25"/>
                    <a:pt x="3499" y="660"/>
                    <a:pt x="2285" y="1778"/>
                  </a:cubicBezTo>
                  <a:cubicBezTo>
                    <a:pt x="1673" y="2323"/>
                    <a:pt x="1158" y="2971"/>
                    <a:pt x="762" y="3682"/>
                  </a:cubicBezTo>
                  <a:cubicBezTo>
                    <a:pt x="321" y="4457"/>
                    <a:pt x="61" y="5333"/>
                    <a:pt x="0" y="6221"/>
                  </a:cubicBezTo>
                  <a:lnTo>
                    <a:pt x="6729" y="6221"/>
                  </a:lnTo>
                  <a:cubicBezTo>
                    <a:pt x="9539" y="6196"/>
                    <a:pt x="12071" y="7910"/>
                    <a:pt x="13078" y="10538"/>
                  </a:cubicBezTo>
                  <a:lnTo>
                    <a:pt x="13078" y="10538"/>
                  </a:lnTo>
                  <a:lnTo>
                    <a:pt x="13078" y="6602"/>
                  </a:lnTo>
                  <a:close/>
                </a:path>
              </a:pathLst>
            </a:custGeom>
            <a:solidFill>
              <a:srgbClr val="000000"/>
            </a:solidFill>
            <a:ln w="12690" cap="flat">
              <a:no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D728A28C-E502-48FF-8B81-79389BE14AD1}"/>
                </a:ext>
              </a:extLst>
            </p:cNvPr>
            <p:cNvSpPr/>
            <p:nvPr/>
          </p:nvSpPr>
          <p:spPr>
            <a:xfrm>
              <a:off x="269931" y="5740597"/>
              <a:ext cx="145631" cy="13712"/>
            </a:xfrm>
            <a:custGeom>
              <a:avLst/>
              <a:gdLst>
                <a:gd name="connsiteX0" fmla="*/ 0 w 145631"/>
                <a:gd name="connsiteY0" fmla="*/ 13712 h 13712"/>
                <a:gd name="connsiteX1" fmla="*/ 145631 w 145631"/>
                <a:gd name="connsiteY1" fmla="*/ 13712 h 13712"/>
                <a:gd name="connsiteX2" fmla="*/ 138775 w 145631"/>
                <a:gd name="connsiteY2" fmla="*/ 6856 h 13712"/>
                <a:gd name="connsiteX3" fmla="*/ 145631 w 145631"/>
                <a:gd name="connsiteY3" fmla="*/ 0 h 13712"/>
                <a:gd name="connsiteX4" fmla="*/ 0 w 145631"/>
                <a:gd name="connsiteY4" fmla="*/ 0 h 13712"/>
                <a:gd name="connsiteX5" fmla="*/ 0 w 145631"/>
                <a:gd name="connsiteY5" fmla="*/ 13712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1" h="13712">
                  <a:moveTo>
                    <a:pt x="0" y="13712"/>
                  </a:moveTo>
                  <a:lnTo>
                    <a:pt x="145631" y="13712"/>
                  </a:lnTo>
                  <a:cubicBezTo>
                    <a:pt x="141845" y="13712"/>
                    <a:pt x="138775" y="10642"/>
                    <a:pt x="138775" y="6856"/>
                  </a:cubicBezTo>
                  <a:cubicBezTo>
                    <a:pt x="138775" y="3070"/>
                    <a:pt x="141845" y="0"/>
                    <a:pt x="145631" y="0"/>
                  </a:cubicBezTo>
                  <a:lnTo>
                    <a:pt x="0" y="0"/>
                  </a:lnTo>
                  <a:lnTo>
                    <a:pt x="0" y="13712"/>
                  </a:lnTo>
                  <a:close/>
                </a:path>
              </a:pathLst>
            </a:custGeom>
            <a:solidFill>
              <a:srgbClr val="000000"/>
            </a:solidFill>
            <a:ln w="12690" cap="flat">
              <a:no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6D24B15A-FAEB-4A5D-9FD5-18DCB7A37805}"/>
                </a:ext>
              </a:extLst>
            </p:cNvPr>
            <p:cNvSpPr/>
            <p:nvPr/>
          </p:nvSpPr>
          <p:spPr>
            <a:xfrm>
              <a:off x="1530792" y="6464693"/>
              <a:ext cx="13887" cy="7871"/>
            </a:xfrm>
            <a:custGeom>
              <a:avLst/>
              <a:gdLst>
                <a:gd name="connsiteX0" fmla="*/ 13887 w 13887"/>
                <a:gd name="connsiteY0" fmla="*/ 635 h 7871"/>
                <a:gd name="connsiteX1" fmla="*/ 13887 w 13887"/>
                <a:gd name="connsiteY1" fmla="*/ 0 h 7871"/>
                <a:gd name="connsiteX2" fmla="*/ 6904 w 13887"/>
                <a:gd name="connsiteY2" fmla="*/ 6983 h 7871"/>
                <a:gd name="connsiteX3" fmla="*/ 48 w 13887"/>
                <a:gd name="connsiteY3" fmla="*/ 0 h 7871"/>
                <a:gd name="connsiteX4" fmla="*/ 48 w 13887"/>
                <a:gd name="connsiteY4" fmla="*/ 1270 h 7871"/>
                <a:gd name="connsiteX5" fmla="*/ 48 w 13887"/>
                <a:gd name="connsiteY5" fmla="*/ 2412 h 7871"/>
                <a:gd name="connsiteX6" fmla="*/ 5507 w 13887"/>
                <a:gd name="connsiteY6" fmla="*/ 7872 h 7871"/>
                <a:gd name="connsiteX7" fmla="*/ 6650 w 13887"/>
                <a:gd name="connsiteY7" fmla="*/ 7872 h 7871"/>
                <a:gd name="connsiteX8" fmla="*/ 7920 w 13887"/>
                <a:gd name="connsiteY8" fmla="*/ 7872 h 7871"/>
                <a:gd name="connsiteX9" fmla="*/ 12109 w 13887"/>
                <a:gd name="connsiteY9" fmla="*/ 5333 h 7871"/>
                <a:gd name="connsiteX10" fmla="*/ 13633 w 13887"/>
                <a:gd name="connsiteY10" fmla="*/ 1270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87" h="7871">
                  <a:moveTo>
                    <a:pt x="13887" y="635"/>
                  </a:moveTo>
                  <a:lnTo>
                    <a:pt x="13887" y="0"/>
                  </a:lnTo>
                  <a:cubicBezTo>
                    <a:pt x="13887" y="3860"/>
                    <a:pt x="10764" y="6983"/>
                    <a:pt x="6904" y="6983"/>
                  </a:cubicBezTo>
                  <a:cubicBezTo>
                    <a:pt x="3095" y="6920"/>
                    <a:pt x="48" y="3809"/>
                    <a:pt x="48" y="0"/>
                  </a:cubicBezTo>
                  <a:lnTo>
                    <a:pt x="48" y="1270"/>
                  </a:lnTo>
                  <a:cubicBezTo>
                    <a:pt x="-16" y="1651"/>
                    <a:pt x="-16" y="2032"/>
                    <a:pt x="48" y="2412"/>
                  </a:cubicBezTo>
                  <a:cubicBezTo>
                    <a:pt x="543" y="5193"/>
                    <a:pt x="2727" y="7377"/>
                    <a:pt x="5507" y="7872"/>
                  </a:cubicBezTo>
                  <a:lnTo>
                    <a:pt x="6650" y="7872"/>
                  </a:lnTo>
                  <a:lnTo>
                    <a:pt x="7920" y="7872"/>
                  </a:lnTo>
                  <a:cubicBezTo>
                    <a:pt x="9608" y="7644"/>
                    <a:pt x="11132" y="6729"/>
                    <a:pt x="12109" y="5333"/>
                  </a:cubicBezTo>
                  <a:cubicBezTo>
                    <a:pt x="13049" y="4190"/>
                    <a:pt x="13582" y="2755"/>
                    <a:pt x="13633" y="1270"/>
                  </a:cubicBezTo>
                  <a:close/>
                </a:path>
              </a:pathLst>
            </a:custGeom>
            <a:solidFill>
              <a:srgbClr val="000000"/>
            </a:solidFill>
            <a:ln w="12690" cap="flat">
              <a:no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C3E82914-7F8D-4042-A82C-CB02A65A1BA5}"/>
                </a:ext>
              </a:extLst>
            </p:cNvPr>
            <p:cNvSpPr/>
            <p:nvPr/>
          </p:nvSpPr>
          <p:spPr>
            <a:xfrm>
              <a:off x="3305329" y="5900068"/>
              <a:ext cx="13760" cy="11046"/>
            </a:xfrm>
            <a:custGeom>
              <a:avLst/>
              <a:gdLst>
                <a:gd name="connsiteX0" fmla="*/ 0 w 13760"/>
                <a:gd name="connsiteY0" fmla="*/ 9142 h 11046"/>
                <a:gd name="connsiteX1" fmla="*/ 0 w 13760"/>
                <a:gd name="connsiteY1" fmla="*/ 11046 h 11046"/>
                <a:gd name="connsiteX2" fmla="*/ 6856 w 13760"/>
                <a:gd name="connsiteY2" fmla="*/ 4190 h 11046"/>
                <a:gd name="connsiteX3" fmla="*/ 13713 w 13760"/>
                <a:gd name="connsiteY3" fmla="*/ 11046 h 11046"/>
                <a:gd name="connsiteX4" fmla="*/ 13713 w 13760"/>
                <a:gd name="connsiteY4" fmla="*/ 6602 h 11046"/>
                <a:gd name="connsiteX5" fmla="*/ 13713 w 13760"/>
                <a:gd name="connsiteY5" fmla="*/ 5460 h 11046"/>
                <a:gd name="connsiteX6" fmla="*/ 8380 w 13760"/>
                <a:gd name="connsiteY6" fmla="*/ 0 h 11046"/>
                <a:gd name="connsiteX7" fmla="*/ 7111 w 13760"/>
                <a:gd name="connsiteY7" fmla="*/ 0 h 11046"/>
                <a:gd name="connsiteX8" fmla="*/ 5841 w 13760"/>
                <a:gd name="connsiteY8" fmla="*/ 0 h 11046"/>
                <a:gd name="connsiteX9" fmla="*/ 254 w 13760"/>
                <a:gd name="connsiteY9" fmla="*/ 6602 h 11046"/>
                <a:gd name="connsiteX10" fmla="*/ 254 w 13760"/>
                <a:gd name="connsiteY10" fmla="*/ 6602 h 1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60" h="11046">
                  <a:moveTo>
                    <a:pt x="0" y="9142"/>
                  </a:moveTo>
                  <a:lnTo>
                    <a:pt x="0" y="11046"/>
                  </a:lnTo>
                  <a:cubicBezTo>
                    <a:pt x="0" y="7260"/>
                    <a:pt x="3073" y="4190"/>
                    <a:pt x="6856" y="4190"/>
                  </a:cubicBezTo>
                  <a:cubicBezTo>
                    <a:pt x="10640" y="4190"/>
                    <a:pt x="13713" y="7260"/>
                    <a:pt x="13713" y="11046"/>
                  </a:cubicBezTo>
                  <a:lnTo>
                    <a:pt x="13713" y="6602"/>
                  </a:lnTo>
                  <a:cubicBezTo>
                    <a:pt x="13776" y="6224"/>
                    <a:pt x="13776" y="5838"/>
                    <a:pt x="13713" y="5460"/>
                  </a:cubicBezTo>
                  <a:cubicBezTo>
                    <a:pt x="13268" y="2693"/>
                    <a:pt x="11135" y="504"/>
                    <a:pt x="8380" y="0"/>
                  </a:cubicBezTo>
                  <a:lnTo>
                    <a:pt x="7111" y="0"/>
                  </a:lnTo>
                  <a:lnTo>
                    <a:pt x="5841" y="0"/>
                  </a:lnTo>
                  <a:cubicBezTo>
                    <a:pt x="2628" y="555"/>
                    <a:pt x="267" y="3338"/>
                    <a:pt x="254" y="6602"/>
                  </a:cubicBezTo>
                  <a:lnTo>
                    <a:pt x="254" y="6602"/>
                  </a:lnTo>
                  <a:close/>
                </a:path>
              </a:pathLst>
            </a:custGeom>
            <a:solidFill>
              <a:srgbClr val="000000"/>
            </a:solidFill>
            <a:ln w="12690" cap="flat">
              <a:no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7EE7002F-7F40-4794-B2D8-6E51DBC6DAE2}"/>
                </a:ext>
              </a:extLst>
            </p:cNvPr>
            <p:cNvSpPr/>
            <p:nvPr/>
          </p:nvSpPr>
          <p:spPr>
            <a:xfrm>
              <a:off x="3304695" y="5904258"/>
              <a:ext cx="13759" cy="568306"/>
            </a:xfrm>
            <a:custGeom>
              <a:avLst/>
              <a:gdLst>
                <a:gd name="connsiteX0" fmla="*/ 10919 w 13759"/>
                <a:gd name="connsiteY0" fmla="*/ 567545 h 568306"/>
                <a:gd name="connsiteX1" fmla="*/ 12316 w 13759"/>
                <a:gd name="connsiteY1" fmla="*/ 566656 h 568306"/>
                <a:gd name="connsiteX2" fmla="*/ 12950 w 13759"/>
                <a:gd name="connsiteY2" fmla="*/ 565767 h 568306"/>
                <a:gd name="connsiteX3" fmla="*/ 13712 w 13759"/>
                <a:gd name="connsiteY3" fmla="*/ 564497 h 568306"/>
                <a:gd name="connsiteX4" fmla="*/ 13712 w 13759"/>
                <a:gd name="connsiteY4" fmla="*/ 563355 h 568306"/>
                <a:gd name="connsiteX5" fmla="*/ 13712 w 13759"/>
                <a:gd name="connsiteY5" fmla="*/ 561831 h 568306"/>
                <a:gd name="connsiteX6" fmla="*/ 13712 w 13759"/>
                <a:gd name="connsiteY6" fmla="*/ 561831 h 568306"/>
                <a:gd name="connsiteX7" fmla="*/ 13712 w 13759"/>
                <a:gd name="connsiteY7" fmla="*/ 6856 h 568306"/>
                <a:gd name="connsiteX8" fmla="*/ 6856 w 13759"/>
                <a:gd name="connsiteY8" fmla="*/ 0 h 568306"/>
                <a:gd name="connsiteX9" fmla="*/ 0 w 13759"/>
                <a:gd name="connsiteY9" fmla="*/ 6856 h 568306"/>
                <a:gd name="connsiteX10" fmla="*/ 0 w 13759"/>
                <a:gd name="connsiteY10" fmla="*/ 561704 h 568306"/>
                <a:gd name="connsiteX11" fmla="*/ 5587 w 13759"/>
                <a:gd name="connsiteY11" fmla="*/ 568307 h 568306"/>
                <a:gd name="connsiteX12" fmla="*/ 5587 w 13759"/>
                <a:gd name="connsiteY12" fmla="*/ 561704 h 568306"/>
                <a:gd name="connsiteX13" fmla="*/ 6856 w 13759"/>
                <a:gd name="connsiteY13" fmla="*/ 560435 h 568306"/>
                <a:gd name="connsiteX14" fmla="*/ 8126 w 13759"/>
                <a:gd name="connsiteY14" fmla="*/ 561704 h 568306"/>
                <a:gd name="connsiteX15" fmla="*/ 8126 w 13759"/>
                <a:gd name="connsiteY15" fmla="*/ 568307 h 568306"/>
                <a:gd name="connsiteX16" fmla="*/ 9523 w 13759"/>
                <a:gd name="connsiteY16" fmla="*/ 568307 h 56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59" h="568306">
                  <a:moveTo>
                    <a:pt x="10919" y="567545"/>
                  </a:moveTo>
                  <a:cubicBezTo>
                    <a:pt x="11427" y="567329"/>
                    <a:pt x="11897" y="567024"/>
                    <a:pt x="12316" y="566656"/>
                  </a:cubicBezTo>
                  <a:lnTo>
                    <a:pt x="12950" y="565767"/>
                  </a:lnTo>
                  <a:cubicBezTo>
                    <a:pt x="13255" y="565374"/>
                    <a:pt x="13509" y="564942"/>
                    <a:pt x="13712" y="564497"/>
                  </a:cubicBezTo>
                  <a:cubicBezTo>
                    <a:pt x="13763" y="564117"/>
                    <a:pt x="13763" y="563736"/>
                    <a:pt x="13712" y="563355"/>
                  </a:cubicBezTo>
                  <a:cubicBezTo>
                    <a:pt x="13776" y="562847"/>
                    <a:pt x="13776" y="562339"/>
                    <a:pt x="13712" y="561831"/>
                  </a:cubicBezTo>
                  <a:lnTo>
                    <a:pt x="13712" y="561831"/>
                  </a:lnTo>
                  <a:lnTo>
                    <a:pt x="13712" y="6856"/>
                  </a:lnTo>
                  <a:cubicBezTo>
                    <a:pt x="13712" y="3070"/>
                    <a:pt x="10640" y="0"/>
                    <a:pt x="6856" y="0"/>
                  </a:cubicBezTo>
                  <a:cubicBezTo>
                    <a:pt x="3073" y="0"/>
                    <a:pt x="0" y="3070"/>
                    <a:pt x="0" y="6856"/>
                  </a:cubicBezTo>
                  <a:lnTo>
                    <a:pt x="0" y="561704"/>
                  </a:lnTo>
                  <a:cubicBezTo>
                    <a:pt x="13" y="564967"/>
                    <a:pt x="2374" y="567748"/>
                    <a:pt x="5587" y="568307"/>
                  </a:cubicBezTo>
                  <a:lnTo>
                    <a:pt x="5587" y="561704"/>
                  </a:lnTo>
                  <a:cubicBezTo>
                    <a:pt x="5587" y="561006"/>
                    <a:pt x="6158" y="560435"/>
                    <a:pt x="6856" y="560435"/>
                  </a:cubicBezTo>
                  <a:cubicBezTo>
                    <a:pt x="7555" y="560435"/>
                    <a:pt x="8126" y="561006"/>
                    <a:pt x="8126" y="561704"/>
                  </a:cubicBezTo>
                  <a:lnTo>
                    <a:pt x="8126" y="568307"/>
                  </a:lnTo>
                  <a:lnTo>
                    <a:pt x="9523" y="568307"/>
                  </a:lnTo>
                  <a:close/>
                </a:path>
              </a:pathLst>
            </a:custGeom>
            <a:solidFill>
              <a:srgbClr val="000000"/>
            </a:solidFill>
            <a:ln w="12690"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6A111187-7462-4471-8D0C-90B452AD0DD3}"/>
                </a:ext>
              </a:extLst>
            </p:cNvPr>
            <p:cNvSpPr/>
            <p:nvPr/>
          </p:nvSpPr>
          <p:spPr>
            <a:xfrm>
              <a:off x="2398913" y="6456186"/>
              <a:ext cx="174325" cy="13839"/>
            </a:xfrm>
            <a:custGeom>
              <a:avLst/>
              <a:gdLst>
                <a:gd name="connsiteX0" fmla="*/ 0 w 174325"/>
                <a:gd name="connsiteY0" fmla="*/ 7872 h 13839"/>
                <a:gd name="connsiteX1" fmla="*/ 0 w 174325"/>
                <a:gd name="connsiteY1" fmla="*/ 9776 h 13839"/>
                <a:gd name="connsiteX2" fmla="*/ 0 w 174325"/>
                <a:gd name="connsiteY2" fmla="*/ 10665 h 13839"/>
                <a:gd name="connsiteX3" fmla="*/ 0 w 174325"/>
                <a:gd name="connsiteY3" fmla="*/ 11554 h 13839"/>
                <a:gd name="connsiteX4" fmla="*/ 0 w 174325"/>
                <a:gd name="connsiteY4" fmla="*/ 13839 h 13839"/>
                <a:gd name="connsiteX5" fmla="*/ 174326 w 174325"/>
                <a:gd name="connsiteY5" fmla="*/ 13839 h 13839"/>
                <a:gd name="connsiteX6" fmla="*/ 167469 w 174325"/>
                <a:gd name="connsiteY6" fmla="*/ 6983 h 13839"/>
                <a:gd name="connsiteX7" fmla="*/ 174326 w 174325"/>
                <a:gd name="connsiteY7" fmla="*/ 0 h 13839"/>
                <a:gd name="connsiteX8" fmla="*/ 0 w 174325"/>
                <a:gd name="connsiteY8" fmla="*/ 0 h 13839"/>
                <a:gd name="connsiteX9" fmla="*/ 0 w 174325"/>
                <a:gd name="connsiteY9" fmla="*/ 7872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325" h="13839">
                  <a:moveTo>
                    <a:pt x="0" y="7872"/>
                  </a:moveTo>
                  <a:lnTo>
                    <a:pt x="0" y="9776"/>
                  </a:lnTo>
                  <a:cubicBezTo>
                    <a:pt x="0" y="9776"/>
                    <a:pt x="0" y="10411"/>
                    <a:pt x="0" y="10665"/>
                  </a:cubicBezTo>
                  <a:cubicBezTo>
                    <a:pt x="0" y="10919"/>
                    <a:pt x="0" y="10665"/>
                    <a:pt x="0" y="11554"/>
                  </a:cubicBezTo>
                  <a:lnTo>
                    <a:pt x="0" y="13839"/>
                  </a:lnTo>
                  <a:lnTo>
                    <a:pt x="174326" y="13839"/>
                  </a:lnTo>
                  <a:cubicBezTo>
                    <a:pt x="170542" y="13839"/>
                    <a:pt x="167469" y="10767"/>
                    <a:pt x="167469" y="6983"/>
                  </a:cubicBezTo>
                  <a:cubicBezTo>
                    <a:pt x="167469" y="3174"/>
                    <a:pt x="170516" y="63"/>
                    <a:pt x="174326" y="0"/>
                  </a:cubicBezTo>
                  <a:lnTo>
                    <a:pt x="0" y="0"/>
                  </a:lnTo>
                  <a:lnTo>
                    <a:pt x="0" y="7872"/>
                  </a:lnTo>
                  <a:close/>
                </a:path>
              </a:pathLst>
            </a:custGeom>
            <a:solidFill>
              <a:srgbClr val="000000"/>
            </a:solidFill>
            <a:ln w="12690"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A2AE654F-5351-485B-8B5C-D30E83DE6392}"/>
                </a:ext>
              </a:extLst>
            </p:cNvPr>
            <p:cNvSpPr/>
            <p:nvPr/>
          </p:nvSpPr>
          <p:spPr>
            <a:xfrm>
              <a:off x="2566636" y="6457075"/>
              <a:ext cx="13426" cy="13839"/>
            </a:xfrm>
            <a:custGeom>
              <a:avLst/>
              <a:gdLst>
                <a:gd name="connsiteX0" fmla="*/ 12570 w 13426"/>
                <a:gd name="connsiteY0" fmla="*/ 10031 h 13839"/>
                <a:gd name="connsiteX1" fmla="*/ 13332 w 13426"/>
                <a:gd name="connsiteY1" fmla="*/ 8888 h 13839"/>
                <a:gd name="connsiteX2" fmla="*/ 13332 w 13426"/>
                <a:gd name="connsiteY2" fmla="*/ 6729 h 13839"/>
                <a:gd name="connsiteX3" fmla="*/ 13332 w 13426"/>
                <a:gd name="connsiteY3" fmla="*/ 6729 h 13839"/>
                <a:gd name="connsiteX4" fmla="*/ 13332 w 13426"/>
                <a:gd name="connsiteY4" fmla="*/ 4825 h 13839"/>
                <a:gd name="connsiteX5" fmla="*/ 6856 w 13426"/>
                <a:gd name="connsiteY5" fmla="*/ 0 h 13839"/>
                <a:gd name="connsiteX6" fmla="*/ 6856 w 13426"/>
                <a:gd name="connsiteY6" fmla="*/ 0 h 13839"/>
                <a:gd name="connsiteX7" fmla="*/ 0 w 13426"/>
                <a:gd name="connsiteY7" fmla="*/ 6983 h 13839"/>
                <a:gd name="connsiteX8" fmla="*/ 6856 w 13426"/>
                <a:gd name="connsiteY8" fmla="*/ 13839 h 13839"/>
                <a:gd name="connsiteX9" fmla="*/ 6856 w 13426"/>
                <a:gd name="connsiteY9" fmla="*/ 13839 h 13839"/>
                <a:gd name="connsiteX10" fmla="*/ 12570 w 13426"/>
                <a:gd name="connsiteY10" fmla="*/ 10031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26" h="13839">
                  <a:moveTo>
                    <a:pt x="12570" y="10031"/>
                  </a:moveTo>
                  <a:lnTo>
                    <a:pt x="13332" y="8888"/>
                  </a:lnTo>
                  <a:cubicBezTo>
                    <a:pt x="13459" y="8177"/>
                    <a:pt x="13459" y="7440"/>
                    <a:pt x="13332" y="6729"/>
                  </a:cubicBezTo>
                  <a:lnTo>
                    <a:pt x="13332" y="6729"/>
                  </a:lnTo>
                  <a:cubicBezTo>
                    <a:pt x="13332" y="5967"/>
                    <a:pt x="13332" y="5333"/>
                    <a:pt x="13332" y="4825"/>
                  </a:cubicBezTo>
                  <a:cubicBezTo>
                    <a:pt x="12418" y="2006"/>
                    <a:pt x="9815" y="76"/>
                    <a:pt x="6856" y="0"/>
                  </a:cubicBezTo>
                  <a:lnTo>
                    <a:pt x="6856" y="0"/>
                  </a:lnTo>
                  <a:cubicBezTo>
                    <a:pt x="3047" y="64"/>
                    <a:pt x="0" y="3174"/>
                    <a:pt x="0" y="6983"/>
                  </a:cubicBezTo>
                  <a:cubicBezTo>
                    <a:pt x="0" y="10767"/>
                    <a:pt x="3073" y="13839"/>
                    <a:pt x="6856" y="13839"/>
                  </a:cubicBezTo>
                  <a:lnTo>
                    <a:pt x="6856" y="13839"/>
                  </a:lnTo>
                  <a:cubicBezTo>
                    <a:pt x="9319" y="13738"/>
                    <a:pt x="11529" y="12265"/>
                    <a:pt x="12570" y="10031"/>
                  </a:cubicBezTo>
                  <a:close/>
                </a:path>
              </a:pathLst>
            </a:custGeom>
            <a:solidFill>
              <a:srgbClr val="000000"/>
            </a:solidFill>
            <a:ln w="12690"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0E97D154-6F27-42B9-9D95-3AF36E7FFC0D}"/>
                </a:ext>
              </a:extLst>
            </p:cNvPr>
            <p:cNvSpPr/>
            <p:nvPr/>
          </p:nvSpPr>
          <p:spPr>
            <a:xfrm>
              <a:off x="3284888" y="5813005"/>
              <a:ext cx="10335" cy="7962"/>
            </a:xfrm>
            <a:custGeom>
              <a:avLst/>
              <a:gdLst>
                <a:gd name="connsiteX0" fmla="*/ 10284 w 10335"/>
                <a:gd name="connsiteY0" fmla="*/ 7962 h 7962"/>
                <a:gd name="connsiteX1" fmla="*/ 10284 w 10335"/>
                <a:gd name="connsiteY1" fmla="*/ 6947 h 7962"/>
                <a:gd name="connsiteX2" fmla="*/ 3301 w 10335"/>
                <a:gd name="connsiteY2" fmla="*/ 91 h 7962"/>
                <a:gd name="connsiteX3" fmla="*/ 1270 w 10335"/>
                <a:gd name="connsiteY3" fmla="*/ 91 h 7962"/>
                <a:gd name="connsiteX4" fmla="*/ 0 w 10335"/>
                <a:gd name="connsiteY4" fmla="*/ 91 h 7962"/>
                <a:gd name="connsiteX5" fmla="*/ 0 w 10335"/>
                <a:gd name="connsiteY5" fmla="*/ 91 h 7962"/>
                <a:gd name="connsiteX6" fmla="*/ 1270 w 10335"/>
                <a:gd name="connsiteY6" fmla="*/ 91 h 7962"/>
                <a:gd name="connsiteX7" fmla="*/ 3428 w 10335"/>
                <a:gd name="connsiteY7" fmla="*/ 91 h 7962"/>
                <a:gd name="connsiteX8" fmla="*/ 10335 w 10335"/>
                <a:gd name="connsiteY8" fmla="*/ 7144 h 7962"/>
                <a:gd name="connsiteX9" fmla="*/ 10284 w 10335"/>
                <a:gd name="connsiteY9" fmla="*/ 7962 h 7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35" h="7962">
                  <a:moveTo>
                    <a:pt x="10284" y="7962"/>
                  </a:moveTo>
                  <a:lnTo>
                    <a:pt x="10284" y="6947"/>
                  </a:lnTo>
                  <a:cubicBezTo>
                    <a:pt x="10221" y="3140"/>
                    <a:pt x="7110" y="91"/>
                    <a:pt x="3301" y="91"/>
                  </a:cubicBezTo>
                  <a:lnTo>
                    <a:pt x="1270" y="91"/>
                  </a:lnTo>
                  <a:lnTo>
                    <a:pt x="0" y="91"/>
                  </a:lnTo>
                  <a:lnTo>
                    <a:pt x="0" y="91"/>
                  </a:lnTo>
                  <a:lnTo>
                    <a:pt x="1270" y="91"/>
                  </a:lnTo>
                  <a:cubicBezTo>
                    <a:pt x="1981" y="-30"/>
                    <a:pt x="2717" y="-30"/>
                    <a:pt x="3428" y="91"/>
                  </a:cubicBezTo>
                  <a:cubicBezTo>
                    <a:pt x="7288" y="130"/>
                    <a:pt x="10386" y="3288"/>
                    <a:pt x="10335" y="7144"/>
                  </a:cubicBezTo>
                  <a:cubicBezTo>
                    <a:pt x="10335" y="7418"/>
                    <a:pt x="10322" y="7691"/>
                    <a:pt x="10284" y="7962"/>
                  </a:cubicBezTo>
                  <a:close/>
                </a:path>
              </a:pathLst>
            </a:custGeom>
            <a:solidFill>
              <a:srgbClr val="000000"/>
            </a:solidFill>
            <a:ln w="12690" cap="flat">
              <a:no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5CA895B1-0E0A-4E3E-92CD-2C18EC33744E}"/>
                </a:ext>
              </a:extLst>
            </p:cNvPr>
            <p:cNvSpPr/>
            <p:nvPr/>
          </p:nvSpPr>
          <p:spPr>
            <a:xfrm>
              <a:off x="3286284" y="5814656"/>
              <a:ext cx="7929" cy="103441"/>
            </a:xfrm>
            <a:custGeom>
              <a:avLst/>
              <a:gdLst>
                <a:gd name="connsiteX0" fmla="*/ 3174 w 7929"/>
                <a:gd name="connsiteY0" fmla="*/ 103061 h 103441"/>
                <a:gd name="connsiteX1" fmla="*/ 3936 w 7929"/>
                <a:gd name="connsiteY1" fmla="*/ 103061 h 103441"/>
                <a:gd name="connsiteX2" fmla="*/ 5206 w 7929"/>
                <a:gd name="connsiteY2" fmla="*/ 103061 h 103441"/>
                <a:gd name="connsiteX3" fmla="*/ 6222 w 7929"/>
                <a:gd name="connsiteY3" fmla="*/ 102299 h 103441"/>
                <a:gd name="connsiteX4" fmla="*/ 7237 w 7929"/>
                <a:gd name="connsiteY4" fmla="*/ 101411 h 103441"/>
                <a:gd name="connsiteX5" fmla="*/ 7872 w 7929"/>
                <a:gd name="connsiteY5" fmla="*/ 100395 h 103441"/>
                <a:gd name="connsiteX6" fmla="*/ 7872 w 7929"/>
                <a:gd name="connsiteY6" fmla="*/ 99125 h 103441"/>
                <a:gd name="connsiteX7" fmla="*/ 7872 w 7929"/>
                <a:gd name="connsiteY7" fmla="*/ 98236 h 103441"/>
                <a:gd name="connsiteX8" fmla="*/ 7872 w 7929"/>
                <a:gd name="connsiteY8" fmla="*/ 97094 h 103441"/>
                <a:gd name="connsiteX9" fmla="*/ 7872 w 7929"/>
                <a:gd name="connsiteY9" fmla="*/ 97094 h 103441"/>
                <a:gd name="connsiteX10" fmla="*/ 7872 w 7929"/>
                <a:gd name="connsiteY10" fmla="*/ 6947 h 103441"/>
                <a:gd name="connsiteX11" fmla="*/ 2159 w 7929"/>
                <a:gd name="connsiteY11" fmla="*/ 90 h 103441"/>
                <a:gd name="connsiteX12" fmla="*/ 0 w 7929"/>
                <a:gd name="connsiteY12" fmla="*/ 90 h 103441"/>
                <a:gd name="connsiteX13" fmla="*/ 4825 w 7929"/>
                <a:gd name="connsiteY13" fmla="*/ 6566 h 103441"/>
                <a:gd name="connsiteX14" fmla="*/ 4825 w 7929"/>
                <a:gd name="connsiteY14" fmla="*/ 97475 h 103441"/>
                <a:gd name="connsiteX15" fmla="*/ 1270 w 7929"/>
                <a:gd name="connsiteY15" fmla="*/ 103442 h 103441"/>
                <a:gd name="connsiteX16" fmla="*/ 2159 w 7929"/>
                <a:gd name="connsiteY16" fmla="*/ 103442 h 10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29" h="103441">
                  <a:moveTo>
                    <a:pt x="3174" y="103061"/>
                  </a:moveTo>
                  <a:lnTo>
                    <a:pt x="3936" y="103061"/>
                  </a:lnTo>
                  <a:lnTo>
                    <a:pt x="5206" y="103061"/>
                  </a:lnTo>
                  <a:cubicBezTo>
                    <a:pt x="5599" y="102881"/>
                    <a:pt x="5942" y="102622"/>
                    <a:pt x="6222" y="102299"/>
                  </a:cubicBezTo>
                  <a:lnTo>
                    <a:pt x="7237" y="101411"/>
                  </a:lnTo>
                  <a:cubicBezTo>
                    <a:pt x="7491" y="101102"/>
                    <a:pt x="7707" y="100760"/>
                    <a:pt x="7872" y="100395"/>
                  </a:cubicBezTo>
                  <a:cubicBezTo>
                    <a:pt x="7948" y="99974"/>
                    <a:pt x="7948" y="99545"/>
                    <a:pt x="7872" y="99125"/>
                  </a:cubicBezTo>
                  <a:cubicBezTo>
                    <a:pt x="7885" y="98829"/>
                    <a:pt x="7885" y="98532"/>
                    <a:pt x="7872" y="98236"/>
                  </a:cubicBezTo>
                  <a:cubicBezTo>
                    <a:pt x="7872" y="98236"/>
                    <a:pt x="7872" y="97475"/>
                    <a:pt x="7872" y="97094"/>
                  </a:cubicBezTo>
                  <a:lnTo>
                    <a:pt x="7872" y="97094"/>
                  </a:lnTo>
                  <a:lnTo>
                    <a:pt x="7872" y="6947"/>
                  </a:lnTo>
                  <a:cubicBezTo>
                    <a:pt x="7872" y="3583"/>
                    <a:pt x="5460" y="702"/>
                    <a:pt x="2159" y="90"/>
                  </a:cubicBezTo>
                  <a:cubicBezTo>
                    <a:pt x="1448" y="-30"/>
                    <a:pt x="711" y="-30"/>
                    <a:pt x="0" y="90"/>
                  </a:cubicBezTo>
                  <a:cubicBezTo>
                    <a:pt x="2844" y="973"/>
                    <a:pt x="4787" y="3588"/>
                    <a:pt x="4825" y="6566"/>
                  </a:cubicBezTo>
                  <a:lnTo>
                    <a:pt x="4825" y="97475"/>
                  </a:lnTo>
                  <a:cubicBezTo>
                    <a:pt x="4761" y="99947"/>
                    <a:pt x="3416" y="102207"/>
                    <a:pt x="1270" y="103442"/>
                  </a:cubicBezTo>
                  <a:lnTo>
                    <a:pt x="2159" y="103442"/>
                  </a:lnTo>
                  <a:close/>
                </a:path>
              </a:pathLst>
            </a:custGeom>
            <a:solidFill>
              <a:srgbClr val="000000"/>
            </a:solidFill>
            <a:ln w="12690" cap="flat">
              <a:no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A26AB41A-98A3-492B-9851-4FB3F3C3ABD1}"/>
                </a:ext>
              </a:extLst>
            </p:cNvPr>
            <p:cNvSpPr/>
            <p:nvPr/>
          </p:nvSpPr>
          <p:spPr>
            <a:xfrm>
              <a:off x="3262034" y="5907633"/>
              <a:ext cx="13839" cy="555536"/>
            </a:xfrm>
            <a:custGeom>
              <a:avLst/>
              <a:gdLst>
                <a:gd name="connsiteX0" fmla="*/ 0 w 13839"/>
                <a:gd name="connsiteY0" fmla="*/ 555536 h 555536"/>
                <a:gd name="connsiteX1" fmla="*/ 6983 w 13839"/>
                <a:gd name="connsiteY1" fmla="*/ 548553 h 555536"/>
                <a:gd name="connsiteX2" fmla="*/ 13839 w 13839"/>
                <a:gd name="connsiteY2" fmla="*/ 555536 h 555536"/>
                <a:gd name="connsiteX3" fmla="*/ 13839 w 13839"/>
                <a:gd name="connsiteY3" fmla="*/ 7037 h 555536"/>
                <a:gd name="connsiteX4" fmla="*/ 6983 w 13839"/>
                <a:gd name="connsiteY4" fmla="*/ 53 h 555536"/>
                <a:gd name="connsiteX5" fmla="*/ 4952 w 13839"/>
                <a:gd name="connsiteY5" fmla="*/ 53 h 555536"/>
                <a:gd name="connsiteX6" fmla="*/ 3682 w 13839"/>
                <a:gd name="connsiteY6" fmla="*/ 53 h 555536"/>
                <a:gd name="connsiteX7" fmla="*/ 2666 w 13839"/>
                <a:gd name="connsiteY7" fmla="*/ 815 h 555536"/>
                <a:gd name="connsiteX8" fmla="*/ 1777 w 13839"/>
                <a:gd name="connsiteY8" fmla="*/ 1704 h 555536"/>
                <a:gd name="connsiteX9" fmla="*/ 1016 w 13839"/>
                <a:gd name="connsiteY9" fmla="*/ 2847 h 555536"/>
                <a:gd name="connsiteX10" fmla="*/ 1016 w 13839"/>
                <a:gd name="connsiteY10" fmla="*/ 3989 h 555536"/>
                <a:gd name="connsiteX11" fmla="*/ 1016 w 13839"/>
                <a:gd name="connsiteY11" fmla="*/ 5386 h 555536"/>
                <a:gd name="connsiteX12" fmla="*/ 1016 w 13839"/>
                <a:gd name="connsiteY12" fmla="*/ 6148 h 555536"/>
                <a:gd name="connsiteX13" fmla="*/ 1016 w 13839"/>
                <a:gd name="connsiteY13" fmla="*/ 554647 h 55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555536">
                  <a:moveTo>
                    <a:pt x="0" y="555536"/>
                  </a:moveTo>
                  <a:cubicBezTo>
                    <a:pt x="0" y="551676"/>
                    <a:pt x="3123" y="548553"/>
                    <a:pt x="6983" y="548553"/>
                  </a:cubicBezTo>
                  <a:cubicBezTo>
                    <a:pt x="10792" y="548616"/>
                    <a:pt x="13839" y="551727"/>
                    <a:pt x="13839" y="555536"/>
                  </a:cubicBezTo>
                  <a:lnTo>
                    <a:pt x="13839" y="7037"/>
                  </a:lnTo>
                  <a:cubicBezTo>
                    <a:pt x="13839" y="3229"/>
                    <a:pt x="10792" y="123"/>
                    <a:pt x="6983" y="53"/>
                  </a:cubicBezTo>
                  <a:cubicBezTo>
                    <a:pt x="6310" y="-18"/>
                    <a:pt x="5625" y="-18"/>
                    <a:pt x="4952" y="53"/>
                  </a:cubicBezTo>
                  <a:lnTo>
                    <a:pt x="3682" y="53"/>
                  </a:lnTo>
                  <a:lnTo>
                    <a:pt x="2666" y="815"/>
                  </a:lnTo>
                  <a:lnTo>
                    <a:pt x="1777" y="1704"/>
                  </a:lnTo>
                  <a:cubicBezTo>
                    <a:pt x="1434" y="2021"/>
                    <a:pt x="1181" y="2412"/>
                    <a:pt x="1016" y="2847"/>
                  </a:cubicBezTo>
                  <a:cubicBezTo>
                    <a:pt x="965" y="3226"/>
                    <a:pt x="965" y="3610"/>
                    <a:pt x="1016" y="3989"/>
                  </a:cubicBezTo>
                  <a:cubicBezTo>
                    <a:pt x="952" y="4453"/>
                    <a:pt x="952" y="4923"/>
                    <a:pt x="1016" y="5386"/>
                  </a:cubicBezTo>
                  <a:cubicBezTo>
                    <a:pt x="965" y="5637"/>
                    <a:pt x="965" y="5896"/>
                    <a:pt x="1016" y="6148"/>
                  </a:cubicBezTo>
                  <a:lnTo>
                    <a:pt x="1016" y="554647"/>
                  </a:lnTo>
                  <a:close/>
                </a:path>
              </a:pathLst>
            </a:custGeom>
            <a:solidFill>
              <a:srgbClr val="000000"/>
            </a:solidFill>
            <a:ln w="12690" cap="flat">
              <a:no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AF2703B9-A227-412F-8218-E3CE6269A231}"/>
                </a:ext>
              </a:extLst>
            </p:cNvPr>
            <p:cNvSpPr/>
            <p:nvPr/>
          </p:nvSpPr>
          <p:spPr>
            <a:xfrm>
              <a:off x="3261907" y="6456313"/>
              <a:ext cx="13887" cy="14940"/>
            </a:xfrm>
            <a:custGeom>
              <a:avLst/>
              <a:gdLst>
                <a:gd name="connsiteX0" fmla="*/ 13839 w 13887"/>
                <a:gd name="connsiteY0" fmla="*/ 9649 h 14940"/>
                <a:gd name="connsiteX1" fmla="*/ 13839 w 13887"/>
                <a:gd name="connsiteY1" fmla="*/ 9649 h 14940"/>
                <a:gd name="connsiteX2" fmla="*/ 13839 w 13887"/>
                <a:gd name="connsiteY2" fmla="*/ 8126 h 14940"/>
                <a:gd name="connsiteX3" fmla="*/ 13839 w 13887"/>
                <a:gd name="connsiteY3" fmla="*/ 6983 h 14940"/>
                <a:gd name="connsiteX4" fmla="*/ 13839 w 13887"/>
                <a:gd name="connsiteY4" fmla="*/ 6983 h 14940"/>
                <a:gd name="connsiteX5" fmla="*/ 6983 w 13887"/>
                <a:gd name="connsiteY5" fmla="*/ 0 h 14940"/>
                <a:gd name="connsiteX6" fmla="*/ 0 w 13887"/>
                <a:gd name="connsiteY6" fmla="*/ 6983 h 14940"/>
                <a:gd name="connsiteX7" fmla="*/ 0 w 13887"/>
                <a:gd name="connsiteY7" fmla="*/ 7872 h 14940"/>
                <a:gd name="connsiteX8" fmla="*/ 6983 w 13887"/>
                <a:gd name="connsiteY8" fmla="*/ 14855 h 14940"/>
                <a:gd name="connsiteX9" fmla="*/ 9650 w 13887"/>
                <a:gd name="connsiteY9" fmla="*/ 14855 h 14940"/>
                <a:gd name="connsiteX10" fmla="*/ 10411 w 13887"/>
                <a:gd name="connsiteY10" fmla="*/ 14855 h 14940"/>
                <a:gd name="connsiteX11" fmla="*/ 11808 w 13887"/>
                <a:gd name="connsiteY11" fmla="*/ 13839 h 14940"/>
                <a:gd name="connsiteX12" fmla="*/ 11808 w 13887"/>
                <a:gd name="connsiteY12" fmla="*/ 12951 h 14940"/>
                <a:gd name="connsiteX13" fmla="*/ 12570 w 13887"/>
                <a:gd name="connsiteY13" fmla="*/ 11681 h 14940"/>
                <a:gd name="connsiteX14" fmla="*/ 13839 w 13887"/>
                <a:gd name="connsiteY14" fmla="*/ 9649 h 1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87" h="14940">
                  <a:moveTo>
                    <a:pt x="13839" y="9649"/>
                  </a:moveTo>
                  <a:lnTo>
                    <a:pt x="13839" y="9649"/>
                  </a:lnTo>
                  <a:cubicBezTo>
                    <a:pt x="13903" y="9142"/>
                    <a:pt x="13903" y="8634"/>
                    <a:pt x="13839" y="8126"/>
                  </a:cubicBezTo>
                  <a:lnTo>
                    <a:pt x="13839" y="6983"/>
                  </a:lnTo>
                  <a:lnTo>
                    <a:pt x="13839" y="6983"/>
                  </a:lnTo>
                  <a:cubicBezTo>
                    <a:pt x="13839" y="3174"/>
                    <a:pt x="10792" y="64"/>
                    <a:pt x="6983" y="0"/>
                  </a:cubicBezTo>
                  <a:cubicBezTo>
                    <a:pt x="3123" y="0"/>
                    <a:pt x="0" y="3123"/>
                    <a:pt x="0" y="6983"/>
                  </a:cubicBezTo>
                  <a:lnTo>
                    <a:pt x="0" y="7872"/>
                  </a:lnTo>
                  <a:cubicBezTo>
                    <a:pt x="0" y="11732"/>
                    <a:pt x="3123" y="14855"/>
                    <a:pt x="6983" y="14855"/>
                  </a:cubicBezTo>
                  <a:cubicBezTo>
                    <a:pt x="7872" y="14969"/>
                    <a:pt x="8761" y="14969"/>
                    <a:pt x="9650" y="14855"/>
                  </a:cubicBezTo>
                  <a:lnTo>
                    <a:pt x="10411" y="14855"/>
                  </a:lnTo>
                  <a:lnTo>
                    <a:pt x="11808" y="13839"/>
                  </a:lnTo>
                  <a:lnTo>
                    <a:pt x="11808" y="12951"/>
                  </a:lnTo>
                  <a:cubicBezTo>
                    <a:pt x="12138" y="12570"/>
                    <a:pt x="12392" y="12151"/>
                    <a:pt x="12570" y="11681"/>
                  </a:cubicBezTo>
                  <a:cubicBezTo>
                    <a:pt x="12570" y="11681"/>
                    <a:pt x="13839" y="9903"/>
                    <a:pt x="13839" y="9649"/>
                  </a:cubicBezTo>
                  <a:close/>
                </a:path>
              </a:pathLst>
            </a:custGeom>
            <a:solidFill>
              <a:srgbClr val="000000"/>
            </a:solidFill>
            <a:ln w="12690" cap="flat">
              <a:no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A6C5A6AC-68DE-47CA-BA47-74A8FD2A2ECB}"/>
                </a:ext>
              </a:extLst>
            </p:cNvPr>
            <p:cNvSpPr/>
            <p:nvPr/>
          </p:nvSpPr>
          <p:spPr>
            <a:xfrm>
              <a:off x="244284" y="6401082"/>
              <a:ext cx="13884" cy="6856"/>
            </a:xfrm>
            <a:custGeom>
              <a:avLst/>
              <a:gdLst>
                <a:gd name="connsiteX0" fmla="*/ 9649 w 13884"/>
                <a:gd name="connsiteY0" fmla="*/ 5841 h 6856"/>
                <a:gd name="connsiteX1" fmla="*/ 10919 w 13884"/>
                <a:gd name="connsiteY1" fmla="*/ 5841 h 6856"/>
                <a:gd name="connsiteX2" fmla="*/ 12062 w 13884"/>
                <a:gd name="connsiteY2" fmla="*/ 5079 h 6856"/>
                <a:gd name="connsiteX3" fmla="*/ 13078 w 13884"/>
                <a:gd name="connsiteY3" fmla="*/ 4317 h 6856"/>
                <a:gd name="connsiteX4" fmla="*/ 13839 w 13884"/>
                <a:gd name="connsiteY4" fmla="*/ 3174 h 6856"/>
                <a:gd name="connsiteX5" fmla="*/ 13839 w 13884"/>
                <a:gd name="connsiteY5" fmla="*/ 2412 h 6856"/>
                <a:gd name="connsiteX6" fmla="*/ 13839 w 13884"/>
                <a:gd name="connsiteY6" fmla="*/ 2412 h 6856"/>
                <a:gd name="connsiteX7" fmla="*/ 13839 w 13884"/>
                <a:gd name="connsiteY7" fmla="*/ 1143 h 6856"/>
                <a:gd name="connsiteX8" fmla="*/ 13839 w 13884"/>
                <a:gd name="connsiteY8" fmla="*/ 0 h 6856"/>
                <a:gd name="connsiteX9" fmla="*/ 13839 w 13884"/>
                <a:gd name="connsiteY9" fmla="*/ 0 h 6856"/>
                <a:gd name="connsiteX10" fmla="*/ 6983 w 13884"/>
                <a:gd name="connsiteY10" fmla="*/ 6856 h 6856"/>
                <a:gd name="connsiteX11" fmla="*/ 0 w 13884"/>
                <a:gd name="connsiteY11" fmla="*/ 0 h 6856"/>
                <a:gd name="connsiteX12" fmla="*/ 0 w 13884"/>
                <a:gd name="connsiteY12" fmla="*/ 0 h 6856"/>
                <a:gd name="connsiteX13" fmla="*/ 5587 w 13884"/>
                <a:gd name="connsiteY13" fmla="*/ 6602 h 6856"/>
                <a:gd name="connsiteX14" fmla="*/ 6983 w 13884"/>
                <a:gd name="connsiteY14" fmla="*/ 6602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84" h="6856">
                  <a:moveTo>
                    <a:pt x="9649" y="5841"/>
                  </a:moveTo>
                  <a:cubicBezTo>
                    <a:pt x="10070" y="5917"/>
                    <a:pt x="10499" y="5917"/>
                    <a:pt x="10919" y="5841"/>
                  </a:cubicBezTo>
                  <a:cubicBezTo>
                    <a:pt x="10919" y="5841"/>
                    <a:pt x="11681" y="5841"/>
                    <a:pt x="12062" y="5079"/>
                  </a:cubicBezTo>
                  <a:lnTo>
                    <a:pt x="13078" y="4317"/>
                  </a:lnTo>
                  <a:lnTo>
                    <a:pt x="13839" y="3174"/>
                  </a:lnTo>
                  <a:lnTo>
                    <a:pt x="13839" y="2412"/>
                  </a:lnTo>
                  <a:lnTo>
                    <a:pt x="13839" y="2412"/>
                  </a:lnTo>
                  <a:cubicBezTo>
                    <a:pt x="13899" y="1994"/>
                    <a:pt x="13899" y="1562"/>
                    <a:pt x="13839" y="1143"/>
                  </a:cubicBezTo>
                  <a:cubicBezTo>
                    <a:pt x="13899" y="762"/>
                    <a:pt x="13899" y="381"/>
                    <a:pt x="13839" y="0"/>
                  </a:cubicBezTo>
                  <a:lnTo>
                    <a:pt x="13839" y="0"/>
                  </a:lnTo>
                  <a:cubicBezTo>
                    <a:pt x="13839" y="3784"/>
                    <a:pt x="10769" y="6856"/>
                    <a:pt x="6983" y="6856"/>
                  </a:cubicBezTo>
                  <a:cubicBezTo>
                    <a:pt x="3175" y="6856"/>
                    <a:pt x="70" y="3809"/>
                    <a:pt x="0" y="0"/>
                  </a:cubicBezTo>
                  <a:lnTo>
                    <a:pt x="0" y="0"/>
                  </a:lnTo>
                  <a:cubicBezTo>
                    <a:pt x="14" y="3263"/>
                    <a:pt x="2369" y="6044"/>
                    <a:pt x="5587" y="6602"/>
                  </a:cubicBezTo>
                  <a:lnTo>
                    <a:pt x="6983" y="6602"/>
                  </a:lnTo>
                  <a:close/>
                </a:path>
              </a:pathLst>
            </a:custGeom>
            <a:solidFill>
              <a:srgbClr val="000000"/>
            </a:solidFill>
            <a:ln w="12690" cap="flat">
              <a:no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374C719C-85B0-46BC-AD6A-C139A8A45EB6}"/>
                </a:ext>
              </a:extLst>
            </p:cNvPr>
            <p:cNvSpPr/>
            <p:nvPr/>
          </p:nvSpPr>
          <p:spPr>
            <a:xfrm>
              <a:off x="256727" y="4969777"/>
              <a:ext cx="13236" cy="777676"/>
            </a:xfrm>
            <a:custGeom>
              <a:avLst/>
              <a:gdLst>
                <a:gd name="connsiteX0" fmla="*/ 6221 w 13236"/>
                <a:gd name="connsiteY0" fmla="*/ 770820 h 777676"/>
                <a:gd name="connsiteX1" fmla="*/ 13205 w 13236"/>
                <a:gd name="connsiteY1" fmla="*/ 777676 h 777676"/>
                <a:gd name="connsiteX2" fmla="*/ 13205 w 13236"/>
                <a:gd name="connsiteY2" fmla="*/ 6983 h 777676"/>
                <a:gd name="connsiteX3" fmla="*/ 13205 w 13236"/>
                <a:gd name="connsiteY3" fmla="*/ 6983 h 777676"/>
                <a:gd name="connsiteX4" fmla="*/ 13205 w 13236"/>
                <a:gd name="connsiteY4" fmla="*/ 5587 h 777676"/>
                <a:gd name="connsiteX5" fmla="*/ 13205 w 13236"/>
                <a:gd name="connsiteY5" fmla="*/ 4190 h 777676"/>
                <a:gd name="connsiteX6" fmla="*/ 13205 w 13236"/>
                <a:gd name="connsiteY6" fmla="*/ 4190 h 777676"/>
                <a:gd name="connsiteX7" fmla="*/ 6856 w 13236"/>
                <a:gd name="connsiteY7" fmla="*/ 0 h 777676"/>
                <a:gd name="connsiteX8" fmla="*/ 1524 w 13236"/>
                <a:gd name="connsiteY8" fmla="*/ 2921 h 777676"/>
                <a:gd name="connsiteX9" fmla="*/ 0 w 13236"/>
                <a:gd name="connsiteY9" fmla="*/ 6983 h 777676"/>
                <a:gd name="connsiteX10" fmla="*/ 0 w 13236"/>
                <a:gd name="connsiteY10" fmla="*/ 777676 h 777676"/>
                <a:gd name="connsiteX11" fmla="*/ 6221 w 13236"/>
                <a:gd name="connsiteY11" fmla="*/ 770820 h 77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36" h="777676">
                  <a:moveTo>
                    <a:pt x="6221" y="770820"/>
                  </a:moveTo>
                  <a:cubicBezTo>
                    <a:pt x="10029" y="770820"/>
                    <a:pt x="13135" y="773870"/>
                    <a:pt x="13205" y="777676"/>
                  </a:cubicBezTo>
                  <a:lnTo>
                    <a:pt x="13205" y="6983"/>
                  </a:lnTo>
                  <a:lnTo>
                    <a:pt x="13205" y="6983"/>
                  </a:lnTo>
                  <a:cubicBezTo>
                    <a:pt x="13205" y="6983"/>
                    <a:pt x="13205" y="6095"/>
                    <a:pt x="13205" y="5587"/>
                  </a:cubicBezTo>
                  <a:cubicBezTo>
                    <a:pt x="13247" y="5122"/>
                    <a:pt x="13247" y="4655"/>
                    <a:pt x="13205" y="4190"/>
                  </a:cubicBezTo>
                  <a:lnTo>
                    <a:pt x="13205" y="4190"/>
                  </a:lnTo>
                  <a:cubicBezTo>
                    <a:pt x="12128" y="1641"/>
                    <a:pt x="9624" y="-12"/>
                    <a:pt x="6856" y="0"/>
                  </a:cubicBezTo>
                  <a:cubicBezTo>
                    <a:pt x="4692" y="-20"/>
                    <a:pt x="2673" y="1086"/>
                    <a:pt x="1524" y="2921"/>
                  </a:cubicBezTo>
                  <a:cubicBezTo>
                    <a:pt x="555" y="4054"/>
                    <a:pt x="15" y="5492"/>
                    <a:pt x="0" y="6983"/>
                  </a:cubicBezTo>
                  <a:lnTo>
                    <a:pt x="0" y="777676"/>
                  </a:lnTo>
                  <a:cubicBezTo>
                    <a:pt x="-15" y="774124"/>
                    <a:pt x="2684" y="771149"/>
                    <a:pt x="6221" y="770820"/>
                  </a:cubicBezTo>
                  <a:close/>
                </a:path>
              </a:pathLst>
            </a:custGeom>
            <a:solidFill>
              <a:srgbClr val="000000"/>
            </a:solidFill>
            <a:ln w="12690" cap="flat">
              <a:noFill/>
              <a:prstDash val="solid"/>
              <a:miter/>
            </a:ln>
          </p:spPr>
          <p:txBody>
            <a:bodyPr rtlCol="0" anchor="ctr"/>
            <a:lstStyle/>
            <a:p>
              <a:endParaRPr lang="en-US"/>
            </a:p>
          </p:txBody>
        </p:sp>
        <p:sp>
          <p:nvSpPr>
            <p:cNvPr id="702" name="Freeform: Shape 701">
              <a:extLst>
                <a:ext uri="{FF2B5EF4-FFF2-40B4-BE49-F238E27FC236}">
                  <a16:creationId xmlns:a16="http://schemas.microsoft.com/office/drawing/2014/main" id="{C5E6256C-A4BA-41D0-9669-706E322848E7}"/>
                </a:ext>
              </a:extLst>
            </p:cNvPr>
            <p:cNvSpPr/>
            <p:nvPr/>
          </p:nvSpPr>
          <p:spPr>
            <a:xfrm>
              <a:off x="256092" y="5740597"/>
              <a:ext cx="13839" cy="242888"/>
            </a:xfrm>
            <a:custGeom>
              <a:avLst/>
              <a:gdLst>
                <a:gd name="connsiteX0" fmla="*/ 2539 w 13839"/>
                <a:gd name="connsiteY0" fmla="*/ 241619 h 242888"/>
                <a:gd name="connsiteX1" fmla="*/ 5714 w 13839"/>
                <a:gd name="connsiteY1" fmla="*/ 242889 h 242888"/>
                <a:gd name="connsiteX2" fmla="*/ 6856 w 13839"/>
                <a:gd name="connsiteY2" fmla="*/ 242889 h 242888"/>
                <a:gd name="connsiteX3" fmla="*/ 8126 w 13839"/>
                <a:gd name="connsiteY3" fmla="*/ 242889 h 242888"/>
                <a:gd name="connsiteX4" fmla="*/ 13839 w 13839"/>
                <a:gd name="connsiteY4" fmla="*/ 236286 h 242888"/>
                <a:gd name="connsiteX5" fmla="*/ 13839 w 13839"/>
                <a:gd name="connsiteY5" fmla="*/ 6856 h 242888"/>
                <a:gd name="connsiteX6" fmla="*/ 6856 w 13839"/>
                <a:gd name="connsiteY6" fmla="*/ 0 h 242888"/>
                <a:gd name="connsiteX7" fmla="*/ 0 w 13839"/>
                <a:gd name="connsiteY7" fmla="*/ 6856 h 242888"/>
                <a:gd name="connsiteX8" fmla="*/ 0 w 13839"/>
                <a:gd name="connsiteY8" fmla="*/ 236286 h 242888"/>
                <a:gd name="connsiteX9" fmla="*/ 1524 w 13839"/>
                <a:gd name="connsiteY9" fmla="*/ 240349 h 242888"/>
                <a:gd name="connsiteX10" fmla="*/ 1524 w 13839"/>
                <a:gd name="connsiteY10" fmla="*/ 240349 h 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242888">
                  <a:moveTo>
                    <a:pt x="2539" y="241619"/>
                  </a:moveTo>
                  <a:cubicBezTo>
                    <a:pt x="3465" y="242319"/>
                    <a:pt x="4561" y="242758"/>
                    <a:pt x="5714" y="242889"/>
                  </a:cubicBezTo>
                  <a:lnTo>
                    <a:pt x="6856" y="242889"/>
                  </a:lnTo>
                  <a:lnTo>
                    <a:pt x="8126" y="242889"/>
                  </a:lnTo>
                  <a:cubicBezTo>
                    <a:pt x="11394" y="242390"/>
                    <a:pt x="13815" y="239591"/>
                    <a:pt x="13839" y="236286"/>
                  </a:cubicBezTo>
                  <a:lnTo>
                    <a:pt x="13839" y="6856"/>
                  </a:lnTo>
                  <a:cubicBezTo>
                    <a:pt x="13770" y="3050"/>
                    <a:pt x="10664" y="0"/>
                    <a:pt x="6856" y="0"/>
                  </a:cubicBezTo>
                  <a:cubicBezTo>
                    <a:pt x="3070" y="0"/>
                    <a:pt x="0" y="3070"/>
                    <a:pt x="0" y="6856"/>
                  </a:cubicBezTo>
                  <a:lnTo>
                    <a:pt x="0" y="236286"/>
                  </a:lnTo>
                  <a:cubicBezTo>
                    <a:pt x="46" y="237772"/>
                    <a:pt x="581" y="239200"/>
                    <a:pt x="1524" y="240349"/>
                  </a:cubicBezTo>
                  <a:lnTo>
                    <a:pt x="1524" y="240349"/>
                  </a:lnTo>
                  <a:close/>
                </a:path>
              </a:pathLst>
            </a:custGeom>
            <a:solidFill>
              <a:srgbClr val="000000"/>
            </a:solidFill>
            <a:ln w="12690"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93587A5C-5FE0-47E8-9BFB-04DB856FC288}"/>
                </a:ext>
              </a:extLst>
            </p:cNvPr>
            <p:cNvSpPr/>
            <p:nvPr/>
          </p:nvSpPr>
          <p:spPr>
            <a:xfrm>
              <a:off x="692477" y="6084171"/>
              <a:ext cx="12876" cy="315006"/>
            </a:xfrm>
            <a:custGeom>
              <a:avLst/>
              <a:gdLst>
                <a:gd name="connsiteX0" fmla="*/ 5840 w 12876"/>
                <a:gd name="connsiteY0" fmla="*/ 308531 h 315006"/>
                <a:gd name="connsiteX1" fmla="*/ 12824 w 12876"/>
                <a:gd name="connsiteY1" fmla="*/ 308531 h 315006"/>
                <a:gd name="connsiteX2" fmla="*/ 12824 w 12876"/>
                <a:gd name="connsiteY2" fmla="*/ 3809 h 315006"/>
                <a:gd name="connsiteX3" fmla="*/ 12824 w 12876"/>
                <a:gd name="connsiteY3" fmla="*/ 3809 h 315006"/>
                <a:gd name="connsiteX4" fmla="*/ 12824 w 12876"/>
                <a:gd name="connsiteY4" fmla="*/ 2412 h 315006"/>
                <a:gd name="connsiteX5" fmla="*/ 12824 w 12876"/>
                <a:gd name="connsiteY5" fmla="*/ 1016 h 315006"/>
                <a:gd name="connsiteX6" fmla="*/ 12824 w 12876"/>
                <a:gd name="connsiteY6" fmla="*/ 0 h 315006"/>
                <a:gd name="connsiteX7" fmla="*/ 12824 w 12876"/>
                <a:gd name="connsiteY7" fmla="*/ 2031 h 315006"/>
                <a:gd name="connsiteX8" fmla="*/ 5840 w 12876"/>
                <a:gd name="connsiteY8" fmla="*/ 8888 h 315006"/>
                <a:gd name="connsiteX9" fmla="*/ 0 w 12876"/>
                <a:gd name="connsiteY9" fmla="*/ 8888 h 315006"/>
                <a:gd name="connsiteX10" fmla="*/ 0 w 12876"/>
                <a:gd name="connsiteY10" fmla="*/ 315006 h 315006"/>
                <a:gd name="connsiteX11" fmla="*/ 5840 w 12876"/>
                <a:gd name="connsiteY11" fmla="*/ 308531 h 31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76" h="315006">
                  <a:moveTo>
                    <a:pt x="5840" y="308531"/>
                  </a:moveTo>
                  <a:lnTo>
                    <a:pt x="12824" y="308531"/>
                  </a:lnTo>
                  <a:lnTo>
                    <a:pt x="12824" y="3809"/>
                  </a:lnTo>
                  <a:lnTo>
                    <a:pt x="12824" y="3809"/>
                  </a:lnTo>
                  <a:cubicBezTo>
                    <a:pt x="12883" y="3339"/>
                    <a:pt x="12883" y="2882"/>
                    <a:pt x="12824" y="2412"/>
                  </a:cubicBezTo>
                  <a:cubicBezTo>
                    <a:pt x="12881" y="1943"/>
                    <a:pt x="12881" y="1485"/>
                    <a:pt x="12824" y="1016"/>
                  </a:cubicBezTo>
                  <a:cubicBezTo>
                    <a:pt x="12863" y="673"/>
                    <a:pt x="12863" y="343"/>
                    <a:pt x="12824" y="0"/>
                  </a:cubicBezTo>
                  <a:cubicBezTo>
                    <a:pt x="12895" y="673"/>
                    <a:pt x="12895" y="1359"/>
                    <a:pt x="12824" y="2031"/>
                  </a:cubicBezTo>
                  <a:cubicBezTo>
                    <a:pt x="12754" y="5840"/>
                    <a:pt x="9648" y="8888"/>
                    <a:pt x="5840" y="8888"/>
                  </a:cubicBezTo>
                  <a:lnTo>
                    <a:pt x="0" y="8888"/>
                  </a:lnTo>
                  <a:lnTo>
                    <a:pt x="0" y="315006"/>
                  </a:lnTo>
                  <a:cubicBezTo>
                    <a:pt x="146" y="311731"/>
                    <a:pt x="2595" y="309014"/>
                    <a:pt x="5840" y="308531"/>
                  </a:cubicBezTo>
                  <a:close/>
                </a:path>
              </a:pathLst>
            </a:custGeom>
            <a:solidFill>
              <a:srgbClr val="000000"/>
            </a:solidFill>
            <a:ln w="12690" cap="flat">
              <a:no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5DBE7DFE-0BE4-4DA0-888F-42AD3E39F3E6}"/>
                </a:ext>
              </a:extLst>
            </p:cNvPr>
            <p:cNvSpPr/>
            <p:nvPr/>
          </p:nvSpPr>
          <p:spPr>
            <a:xfrm>
              <a:off x="691461" y="6402479"/>
              <a:ext cx="8506" cy="4452"/>
            </a:xfrm>
            <a:custGeom>
              <a:avLst/>
              <a:gdLst>
                <a:gd name="connsiteX0" fmla="*/ 0 w 8506"/>
                <a:gd name="connsiteY0" fmla="*/ 0 h 4452"/>
                <a:gd name="connsiteX1" fmla="*/ 6221 w 8506"/>
                <a:gd name="connsiteY1" fmla="*/ 4444 h 4452"/>
                <a:gd name="connsiteX2" fmla="*/ 8507 w 8506"/>
                <a:gd name="connsiteY2" fmla="*/ 4444 h 4452"/>
                <a:gd name="connsiteX3" fmla="*/ 6856 w 8506"/>
                <a:gd name="connsiteY3" fmla="*/ 4444 h 4452"/>
                <a:gd name="connsiteX4" fmla="*/ 0 w 8506"/>
                <a:gd name="connsiteY4" fmla="*/ 0 h 4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6" h="4452">
                  <a:moveTo>
                    <a:pt x="0" y="0"/>
                  </a:moveTo>
                  <a:cubicBezTo>
                    <a:pt x="950" y="2628"/>
                    <a:pt x="3426" y="4393"/>
                    <a:pt x="6221" y="4444"/>
                  </a:cubicBezTo>
                  <a:lnTo>
                    <a:pt x="8507" y="4444"/>
                  </a:lnTo>
                  <a:lnTo>
                    <a:pt x="6856" y="4444"/>
                  </a:lnTo>
                  <a:cubicBezTo>
                    <a:pt x="3852" y="4596"/>
                    <a:pt x="1089" y="2806"/>
                    <a:pt x="0" y="0"/>
                  </a:cubicBezTo>
                  <a:close/>
                </a:path>
              </a:pathLst>
            </a:custGeom>
            <a:solidFill>
              <a:srgbClr val="000000"/>
            </a:solidFill>
            <a:ln w="12690" cap="flat">
              <a:no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FF6167B6-3B34-4471-88F6-EE3FABCB9247}"/>
                </a:ext>
              </a:extLst>
            </p:cNvPr>
            <p:cNvSpPr/>
            <p:nvPr/>
          </p:nvSpPr>
          <p:spPr>
            <a:xfrm>
              <a:off x="690781" y="6399558"/>
              <a:ext cx="45" cy="1523"/>
            </a:xfrm>
            <a:custGeom>
              <a:avLst/>
              <a:gdLst>
                <a:gd name="connsiteX0" fmla="*/ 46 w 45"/>
                <a:gd name="connsiteY0" fmla="*/ 0 h 1523"/>
                <a:gd name="connsiteX1" fmla="*/ 46 w 45"/>
                <a:gd name="connsiteY1" fmla="*/ 0 h 1523"/>
                <a:gd name="connsiteX2" fmla="*/ 46 w 45"/>
                <a:gd name="connsiteY2" fmla="*/ 1524 h 1523"/>
                <a:gd name="connsiteX3" fmla="*/ 46 w 45"/>
                <a:gd name="connsiteY3" fmla="*/ 1524 h 1523"/>
                <a:gd name="connsiteX4" fmla="*/ 46 w 45"/>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 h="1523">
                  <a:moveTo>
                    <a:pt x="46" y="0"/>
                  </a:moveTo>
                  <a:lnTo>
                    <a:pt x="46" y="0"/>
                  </a:lnTo>
                  <a:cubicBezTo>
                    <a:pt x="-15" y="508"/>
                    <a:pt x="-15" y="1016"/>
                    <a:pt x="46" y="1524"/>
                  </a:cubicBezTo>
                  <a:lnTo>
                    <a:pt x="46" y="1524"/>
                  </a:lnTo>
                  <a:cubicBezTo>
                    <a:pt x="-8" y="1016"/>
                    <a:pt x="-8" y="508"/>
                    <a:pt x="46" y="0"/>
                  </a:cubicBezTo>
                  <a:close/>
                </a:path>
              </a:pathLst>
            </a:custGeom>
            <a:solidFill>
              <a:srgbClr val="000000"/>
            </a:solidFill>
            <a:ln w="12690" cap="flat">
              <a:no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0034BA86-EF20-49E2-9603-A78285822658}"/>
                </a:ext>
              </a:extLst>
            </p:cNvPr>
            <p:cNvSpPr/>
            <p:nvPr/>
          </p:nvSpPr>
          <p:spPr>
            <a:xfrm>
              <a:off x="2385016" y="6464693"/>
              <a:ext cx="104" cy="2158"/>
            </a:xfrm>
            <a:custGeom>
              <a:avLst/>
              <a:gdLst>
                <a:gd name="connsiteX0" fmla="*/ 57 w 104"/>
                <a:gd name="connsiteY0" fmla="*/ 1270 h 2158"/>
                <a:gd name="connsiteX1" fmla="*/ 57 w 104"/>
                <a:gd name="connsiteY1" fmla="*/ 2158 h 2158"/>
                <a:gd name="connsiteX2" fmla="*/ 57 w 104"/>
                <a:gd name="connsiteY2" fmla="*/ 1524 h 2158"/>
                <a:gd name="connsiteX3" fmla="*/ 57 w 104"/>
                <a:gd name="connsiteY3" fmla="*/ 0 h 2158"/>
              </a:gdLst>
              <a:ahLst/>
              <a:cxnLst>
                <a:cxn ang="0">
                  <a:pos x="connsiteX0" y="connsiteY0"/>
                </a:cxn>
                <a:cxn ang="0">
                  <a:pos x="connsiteX1" y="connsiteY1"/>
                </a:cxn>
                <a:cxn ang="0">
                  <a:pos x="connsiteX2" y="connsiteY2"/>
                </a:cxn>
                <a:cxn ang="0">
                  <a:pos x="connsiteX3" y="connsiteY3"/>
                </a:cxn>
              </a:cxnLst>
              <a:rect l="l" t="t" r="r" b="b"/>
              <a:pathLst>
                <a:path w="104" h="2158">
                  <a:moveTo>
                    <a:pt x="57" y="1270"/>
                  </a:moveTo>
                  <a:cubicBezTo>
                    <a:pt x="57" y="1270"/>
                    <a:pt x="57" y="1904"/>
                    <a:pt x="57" y="2158"/>
                  </a:cubicBezTo>
                  <a:cubicBezTo>
                    <a:pt x="121" y="1955"/>
                    <a:pt x="121" y="1727"/>
                    <a:pt x="57" y="1524"/>
                  </a:cubicBezTo>
                  <a:cubicBezTo>
                    <a:pt x="-19" y="1016"/>
                    <a:pt x="-19" y="508"/>
                    <a:pt x="57" y="0"/>
                  </a:cubicBezTo>
                  <a:close/>
                </a:path>
              </a:pathLst>
            </a:custGeom>
            <a:solidFill>
              <a:srgbClr val="000000"/>
            </a:solidFill>
            <a:ln w="12690" cap="flat">
              <a:no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325BF17D-4E11-4225-9397-0EBC73C4A899}"/>
                </a:ext>
              </a:extLst>
            </p:cNvPr>
            <p:cNvSpPr/>
            <p:nvPr/>
          </p:nvSpPr>
          <p:spPr>
            <a:xfrm>
              <a:off x="2398659" y="6464693"/>
              <a:ext cx="57" cy="2158"/>
            </a:xfrm>
            <a:custGeom>
              <a:avLst/>
              <a:gdLst>
                <a:gd name="connsiteX0" fmla="*/ 0 w 57"/>
                <a:gd name="connsiteY0" fmla="*/ 2158 h 2158"/>
                <a:gd name="connsiteX1" fmla="*/ 0 w 57"/>
                <a:gd name="connsiteY1" fmla="*/ 1270 h 2158"/>
                <a:gd name="connsiteX2" fmla="*/ 0 w 57"/>
                <a:gd name="connsiteY2" fmla="*/ 0 h 2158"/>
                <a:gd name="connsiteX3" fmla="*/ 0 w 57"/>
                <a:gd name="connsiteY3" fmla="*/ 1524 h 2158"/>
                <a:gd name="connsiteX4" fmla="*/ 0 w 57"/>
                <a:gd name="connsiteY4" fmla="*/ 2158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 h="2158">
                  <a:moveTo>
                    <a:pt x="0" y="2158"/>
                  </a:moveTo>
                  <a:cubicBezTo>
                    <a:pt x="0" y="2158"/>
                    <a:pt x="0" y="1524"/>
                    <a:pt x="0" y="1270"/>
                  </a:cubicBezTo>
                  <a:lnTo>
                    <a:pt x="0" y="0"/>
                  </a:lnTo>
                  <a:cubicBezTo>
                    <a:pt x="76" y="508"/>
                    <a:pt x="76" y="1016"/>
                    <a:pt x="0" y="1524"/>
                  </a:cubicBezTo>
                  <a:cubicBezTo>
                    <a:pt x="64" y="1727"/>
                    <a:pt x="64" y="1955"/>
                    <a:pt x="0" y="2158"/>
                  </a:cubicBezTo>
                  <a:close/>
                </a:path>
              </a:pathLst>
            </a:custGeom>
            <a:solidFill>
              <a:srgbClr val="000000"/>
            </a:solidFill>
            <a:ln w="12690" cap="flat">
              <a:noFill/>
              <a:prstDash val="solid"/>
              <a:miter/>
            </a:ln>
          </p:spPr>
          <p:txBody>
            <a:bodyPr rtlCol="0" anchor="ctr"/>
            <a:lstStyle/>
            <a:p>
              <a:endParaRPr lang="en-US"/>
            </a:p>
          </p:txBody>
        </p:sp>
        <p:sp>
          <p:nvSpPr>
            <p:cNvPr id="708" name="Freeform: Shape 707">
              <a:extLst>
                <a:ext uri="{FF2B5EF4-FFF2-40B4-BE49-F238E27FC236}">
                  <a16:creationId xmlns:a16="http://schemas.microsoft.com/office/drawing/2014/main" id="{0022008C-38E8-4140-ADF0-1B394553D80C}"/>
                </a:ext>
              </a:extLst>
            </p:cNvPr>
            <p:cNvSpPr/>
            <p:nvPr/>
          </p:nvSpPr>
          <p:spPr>
            <a:xfrm>
              <a:off x="3651188" y="6460630"/>
              <a:ext cx="13839" cy="404518"/>
            </a:xfrm>
            <a:custGeom>
              <a:avLst/>
              <a:gdLst>
                <a:gd name="connsiteX0" fmla="*/ 13331 w 13839"/>
                <a:gd name="connsiteY0" fmla="*/ 5079 h 404518"/>
                <a:gd name="connsiteX1" fmla="*/ 13331 w 13839"/>
                <a:gd name="connsiteY1" fmla="*/ 3809 h 404518"/>
                <a:gd name="connsiteX2" fmla="*/ 12570 w 13839"/>
                <a:gd name="connsiteY2" fmla="*/ 2666 h 404518"/>
                <a:gd name="connsiteX3" fmla="*/ 11808 w 13839"/>
                <a:gd name="connsiteY3" fmla="*/ 1524 h 404518"/>
                <a:gd name="connsiteX4" fmla="*/ 10792 w 13839"/>
                <a:gd name="connsiteY4" fmla="*/ 762 h 404518"/>
                <a:gd name="connsiteX5" fmla="*/ 9649 w 13839"/>
                <a:gd name="connsiteY5" fmla="*/ 0 h 404518"/>
                <a:gd name="connsiteX6" fmla="*/ 8380 w 13839"/>
                <a:gd name="connsiteY6" fmla="*/ 0 h 404518"/>
                <a:gd name="connsiteX7" fmla="*/ 6856 w 13839"/>
                <a:gd name="connsiteY7" fmla="*/ 0 h 404518"/>
                <a:gd name="connsiteX8" fmla="*/ 0 w 13839"/>
                <a:gd name="connsiteY8" fmla="*/ 6983 h 404518"/>
                <a:gd name="connsiteX9" fmla="*/ 0 w 13839"/>
                <a:gd name="connsiteY9" fmla="*/ 404519 h 404518"/>
                <a:gd name="connsiteX10" fmla="*/ 13839 w 13839"/>
                <a:gd name="connsiteY10" fmla="*/ 404519 h 404518"/>
                <a:gd name="connsiteX11" fmla="*/ 13839 w 13839"/>
                <a:gd name="connsiteY11" fmla="*/ 6348 h 404518"/>
                <a:gd name="connsiteX12" fmla="*/ 13331 w 13839"/>
                <a:gd name="connsiteY12" fmla="*/ 5079 h 40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404518">
                  <a:moveTo>
                    <a:pt x="13331" y="5079"/>
                  </a:moveTo>
                  <a:cubicBezTo>
                    <a:pt x="13331" y="5079"/>
                    <a:pt x="13331" y="4190"/>
                    <a:pt x="13331" y="3809"/>
                  </a:cubicBezTo>
                  <a:lnTo>
                    <a:pt x="12570" y="2666"/>
                  </a:lnTo>
                  <a:cubicBezTo>
                    <a:pt x="12367" y="2260"/>
                    <a:pt x="12100" y="1879"/>
                    <a:pt x="11808" y="1524"/>
                  </a:cubicBezTo>
                  <a:lnTo>
                    <a:pt x="10792" y="762"/>
                  </a:lnTo>
                  <a:lnTo>
                    <a:pt x="9649" y="0"/>
                  </a:lnTo>
                  <a:lnTo>
                    <a:pt x="8380" y="0"/>
                  </a:lnTo>
                  <a:lnTo>
                    <a:pt x="6856" y="0"/>
                  </a:lnTo>
                  <a:cubicBezTo>
                    <a:pt x="3047" y="64"/>
                    <a:pt x="0" y="3174"/>
                    <a:pt x="0" y="6983"/>
                  </a:cubicBezTo>
                  <a:lnTo>
                    <a:pt x="0" y="404519"/>
                  </a:lnTo>
                  <a:lnTo>
                    <a:pt x="13839" y="404519"/>
                  </a:lnTo>
                  <a:lnTo>
                    <a:pt x="13839" y="6348"/>
                  </a:lnTo>
                  <a:cubicBezTo>
                    <a:pt x="13839" y="6348"/>
                    <a:pt x="13331" y="5587"/>
                    <a:pt x="13331" y="5079"/>
                  </a:cubicBezTo>
                  <a:close/>
                </a:path>
              </a:pathLst>
            </a:custGeom>
            <a:solidFill>
              <a:srgbClr val="000000"/>
            </a:solidFill>
            <a:ln w="12690" cap="flat">
              <a:no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B01A6820-A35D-4256-A4CF-371D152E0BAA}"/>
                </a:ext>
              </a:extLst>
            </p:cNvPr>
            <p:cNvSpPr/>
            <p:nvPr/>
          </p:nvSpPr>
          <p:spPr>
            <a:xfrm>
              <a:off x="998214" y="5792527"/>
              <a:ext cx="6856" cy="13839"/>
            </a:xfrm>
            <a:custGeom>
              <a:avLst/>
              <a:gdLst>
                <a:gd name="connsiteX0" fmla="*/ 0 w 6856"/>
                <a:gd name="connsiteY0" fmla="*/ 6856 h 13839"/>
                <a:gd name="connsiteX1" fmla="*/ 6856 w 6856"/>
                <a:gd name="connsiteY1" fmla="*/ 0 h 13839"/>
                <a:gd name="connsiteX2" fmla="*/ 6856 w 6856"/>
                <a:gd name="connsiteY2" fmla="*/ 0 h 13839"/>
                <a:gd name="connsiteX3" fmla="*/ 0 w 6856"/>
                <a:gd name="connsiteY3" fmla="*/ 6856 h 13839"/>
                <a:gd name="connsiteX4" fmla="*/ 6856 w 6856"/>
                <a:gd name="connsiteY4" fmla="*/ 13839 h 13839"/>
                <a:gd name="connsiteX5" fmla="*/ 6856 w 6856"/>
                <a:gd name="connsiteY5" fmla="*/ 13839 h 13839"/>
                <a:gd name="connsiteX6" fmla="*/ 0 w 685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6" h="13839">
                  <a:moveTo>
                    <a:pt x="0" y="6856"/>
                  </a:moveTo>
                  <a:cubicBezTo>
                    <a:pt x="0" y="3070"/>
                    <a:pt x="3070" y="0"/>
                    <a:pt x="6856" y="0"/>
                  </a:cubicBezTo>
                  <a:lnTo>
                    <a:pt x="6856" y="0"/>
                  </a:lnTo>
                  <a:cubicBezTo>
                    <a:pt x="3070" y="0"/>
                    <a:pt x="0" y="3070"/>
                    <a:pt x="0" y="6856"/>
                  </a:cubicBezTo>
                  <a:cubicBezTo>
                    <a:pt x="0" y="10664"/>
                    <a:pt x="3050" y="13770"/>
                    <a:pt x="6856" y="13839"/>
                  </a:cubicBezTo>
                  <a:lnTo>
                    <a:pt x="6856" y="13839"/>
                  </a:lnTo>
                  <a:cubicBezTo>
                    <a:pt x="3050" y="13770"/>
                    <a:pt x="0" y="10664"/>
                    <a:pt x="0" y="6856"/>
                  </a:cubicBezTo>
                  <a:close/>
                </a:path>
              </a:pathLst>
            </a:custGeom>
            <a:solidFill>
              <a:srgbClr val="000000"/>
            </a:solidFill>
            <a:ln w="12690" cap="flat">
              <a:noFill/>
              <a:prstDash val="solid"/>
              <a:miter/>
            </a:ln>
          </p:spPr>
          <p:txBody>
            <a:bodyPr rtlCol="0" anchor="ctr"/>
            <a:lstStyle/>
            <a:p>
              <a:endParaRPr lang="en-US"/>
            </a:p>
          </p:txBody>
        </p:sp>
        <p:sp>
          <p:nvSpPr>
            <p:cNvPr id="710" name="Freeform: Shape 709">
              <a:extLst>
                <a:ext uri="{FF2B5EF4-FFF2-40B4-BE49-F238E27FC236}">
                  <a16:creationId xmlns:a16="http://schemas.microsoft.com/office/drawing/2014/main" id="{384CF9AB-88FD-4315-94E5-8F6847910A51}"/>
                </a:ext>
              </a:extLst>
            </p:cNvPr>
            <p:cNvSpPr/>
            <p:nvPr/>
          </p:nvSpPr>
          <p:spPr>
            <a:xfrm>
              <a:off x="268662" y="6076045"/>
              <a:ext cx="1269" cy="3555"/>
            </a:xfrm>
            <a:custGeom>
              <a:avLst/>
              <a:gdLst>
                <a:gd name="connsiteX0" fmla="*/ 0 w 1269"/>
                <a:gd name="connsiteY0" fmla="*/ 3555 h 3555"/>
                <a:gd name="connsiteX1" fmla="*/ 1270 w 1269"/>
                <a:gd name="connsiteY1" fmla="*/ 3555 h 3555"/>
                <a:gd name="connsiteX2" fmla="*/ 0 w 1269"/>
                <a:gd name="connsiteY2" fmla="*/ 0 h 3555"/>
              </a:gdLst>
              <a:ahLst/>
              <a:cxnLst>
                <a:cxn ang="0">
                  <a:pos x="connsiteX0" y="connsiteY0"/>
                </a:cxn>
                <a:cxn ang="0">
                  <a:pos x="connsiteX1" y="connsiteY1"/>
                </a:cxn>
                <a:cxn ang="0">
                  <a:pos x="connsiteX2" y="connsiteY2"/>
                </a:cxn>
              </a:cxnLst>
              <a:rect l="l" t="t" r="r" b="b"/>
              <a:pathLst>
                <a:path w="1269" h="3555">
                  <a:moveTo>
                    <a:pt x="0" y="3555"/>
                  </a:moveTo>
                  <a:lnTo>
                    <a:pt x="1270" y="3555"/>
                  </a:lnTo>
                  <a:cubicBezTo>
                    <a:pt x="456" y="2552"/>
                    <a:pt x="8" y="1295"/>
                    <a:pt x="0" y="0"/>
                  </a:cubicBezTo>
                  <a:close/>
                </a:path>
              </a:pathLst>
            </a:custGeom>
            <a:solidFill>
              <a:srgbClr val="000000"/>
            </a:solidFill>
            <a:ln w="12690" cap="flat">
              <a:noFill/>
              <a:prstDash val="solid"/>
              <a:miter/>
            </a:ln>
          </p:spPr>
          <p:txBody>
            <a:bodyPr rtlCol="0" anchor="ctr"/>
            <a:lstStyle/>
            <a:p>
              <a:endParaRPr lang="en-US"/>
            </a:p>
          </p:txBody>
        </p:sp>
        <p:sp>
          <p:nvSpPr>
            <p:cNvPr id="711" name="Freeform: Shape 710">
              <a:extLst>
                <a:ext uri="{FF2B5EF4-FFF2-40B4-BE49-F238E27FC236}">
                  <a16:creationId xmlns:a16="http://schemas.microsoft.com/office/drawing/2014/main" id="{9566E6A8-916F-415F-8E6E-CB5D77A80480}"/>
                </a:ext>
              </a:extLst>
            </p:cNvPr>
            <p:cNvSpPr/>
            <p:nvPr/>
          </p:nvSpPr>
          <p:spPr>
            <a:xfrm>
              <a:off x="281358" y="6076045"/>
              <a:ext cx="1142" cy="3555"/>
            </a:xfrm>
            <a:custGeom>
              <a:avLst/>
              <a:gdLst>
                <a:gd name="connsiteX0" fmla="*/ 0 w 1142"/>
                <a:gd name="connsiteY0" fmla="*/ 3555 h 3555"/>
                <a:gd name="connsiteX1" fmla="*/ 1143 w 1142"/>
                <a:gd name="connsiteY1" fmla="*/ 3555 h 3555"/>
                <a:gd name="connsiteX2" fmla="*/ 1143 w 1142"/>
                <a:gd name="connsiteY2" fmla="*/ 0 h 3555"/>
                <a:gd name="connsiteX3" fmla="*/ 0 w 1142"/>
                <a:gd name="connsiteY3" fmla="*/ 3555 h 3555"/>
              </a:gdLst>
              <a:ahLst/>
              <a:cxnLst>
                <a:cxn ang="0">
                  <a:pos x="connsiteX0" y="connsiteY0"/>
                </a:cxn>
                <a:cxn ang="0">
                  <a:pos x="connsiteX1" y="connsiteY1"/>
                </a:cxn>
                <a:cxn ang="0">
                  <a:pos x="connsiteX2" y="connsiteY2"/>
                </a:cxn>
                <a:cxn ang="0">
                  <a:pos x="connsiteX3" y="connsiteY3"/>
                </a:cxn>
              </a:cxnLst>
              <a:rect l="l" t="t" r="r" b="b"/>
              <a:pathLst>
                <a:path w="1142" h="3555">
                  <a:moveTo>
                    <a:pt x="0" y="3555"/>
                  </a:moveTo>
                  <a:lnTo>
                    <a:pt x="1143" y="3555"/>
                  </a:lnTo>
                  <a:lnTo>
                    <a:pt x="1143" y="0"/>
                  </a:lnTo>
                  <a:cubicBezTo>
                    <a:pt x="1112" y="1270"/>
                    <a:pt x="715" y="2501"/>
                    <a:pt x="0" y="3555"/>
                  </a:cubicBezTo>
                  <a:close/>
                </a:path>
              </a:pathLst>
            </a:custGeom>
            <a:solidFill>
              <a:srgbClr val="000000"/>
            </a:solidFill>
            <a:ln w="12690" cap="flat">
              <a:no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15C02FDC-C39D-462F-9F9C-92FFC7477B8F}"/>
                </a:ext>
              </a:extLst>
            </p:cNvPr>
            <p:cNvSpPr/>
            <p:nvPr/>
          </p:nvSpPr>
          <p:spPr>
            <a:xfrm>
              <a:off x="409087" y="6075283"/>
              <a:ext cx="13585" cy="4317"/>
            </a:xfrm>
            <a:custGeom>
              <a:avLst/>
              <a:gdLst>
                <a:gd name="connsiteX0" fmla="*/ 13585 w 13585"/>
                <a:gd name="connsiteY0" fmla="*/ 1 h 4317"/>
                <a:gd name="connsiteX1" fmla="*/ 6475 w 13585"/>
                <a:gd name="connsiteY1" fmla="*/ 1 h 4317"/>
                <a:gd name="connsiteX2" fmla="*/ 0 w 13585"/>
                <a:gd name="connsiteY2" fmla="*/ 4318 h 4317"/>
                <a:gd name="connsiteX3" fmla="*/ 7110 w 13585"/>
                <a:gd name="connsiteY3" fmla="*/ 4318 h 4317"/>
                <a:gd name="connsiteX4" fmla="*/ 13585 w 13585"/>
                <a:gd name="connsiteY4" fmla="*/ 1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5" h="4317">
                  <a:moveTo>
                    <a:pt x="13585" y="1"/>
                  </a:moveTo>
                  <a:lnTo>
                    <a:pt x="6475" y="1"/>
                  </a:lnTo>
                  <a:cubicBezTo>
                    <a:pt x="3641" y="-12"/>
                    <a:pt x="1082" y="1702"/>
                    <a:pt x="0" y="4318"/>
                  </a:cubicBezTo>
                  <a:lnTo>
                    <a:pt x="7110" y="4318"/>
                  </a:lnTo>
                  <a:cubicBezTo>
                    <a:pt x="8164" y="1677"/>
                    <a:pt x="10740" y="-37"/>
                    <a:pt x="13585" y="1"/>
                  </a:cubicBezTo>
                  <a:close/>
                </a:path>
              </a:pathLst>
            </a:custGeom>
            <a:solidFill>
              <a:srgbClr val="000000"/>
            </a:solidFill>
            <a:ln w="12690" cap="flat">
              <a:no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62368683-DDBF-4EEA-801A-D5AD4212DAF1}"/>
                </a:ext>
              </a:extLst>
            </p:cNvPr>
            <p:cNvSpPr/>
            <p:nvPr/>
          </p:nvSpPr>
          <p:spPr>
            <a:xfrm>
              <a:off x="416197" y="6075283"/>
              <a:ext cx="71355" cy="4317"/>
            </a:xfrm>
            <a:custGeom>
              <a:avLst/>
              <a:gdLst>
                <a:gd name="connsiteX0" fmla="*/ 65007 w 71355"/>
                <a:gd name="connsiteY0" fmla="*/ 1 h 4317"/>
                <a:gd name="connsiteX1" fmla="*/ 6475 w 71355"/>
                <a:gd name="connsiteY1" fmla="*/ 1 h 4317"/>
                <a:gd name="connsiteX2" fmla="*/ 0 w 71355"/>
                <a:gd name="connsiteY2" fmla="*/ 4318 h 4317"/>
                <a:gd name="connsiteX3" fmla="*/ 71355 w 71355"/>
                <a:gd name="connsiteY3" fmla="*/ 4318 h 4317"/>
                <a:gd name="connsiteX4" fmla="*/ 65007 w 71355"/>
                <a:gd name="connsiteY4" fmla="*/ 1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317">
                  <a:moveTo>
                    <a:pt x="65007" y="1"/>
                  </a:moveTo>
                  <a:lnTo>
                    <a:pt x="6475" y="1"/>
                  </a:lnTo>
                  <a:cubicBezTo>
                    <a:pt x="3630" y="-37"/>
                    <a:pt x="1054" y="1677"/>
                    <a:pt x="0" y="4318"/>
                  </a:cubicBezTo>
                  <a:lnTo>
                    <a:pt x="71355" y="4318"/>
                  </a:lnTo>
                  <a:cubicBezTo>
                    <a:pt x="70349" y="1689"/>
                    <a:pt x="67817" y="-25"/>
                    <a:pt x="65007" y="1"/>
                  </a:cubicBezTo>
                  <a:close/>
                </a:path>
              </a:pathLst>
            </a:custGeom>
            <a:solidFill>
              <a:srgbClr val="000000"/>
            </a:solidFill>
            <a:ln w="12690" cap="flat">
              <a:noFill/>
              <a:prstDash val="solid"/>
              <a:miter/>
            </a:ln>
          </p:spPr>
          <p:txBody>
            <a:bodyPr rtlCol="0" anchor="ctr"/>
            <a:lstStyle/>
            <a:p>
              <a:endParaRPr lang="en-US"/>
            </a:p>
          </p:txBody>
        </p:sp>
        <p:sp>
          <p:nvSpPr>
            <p:cNvPr id="714" name="Freeform: Shape 713">
              <a:extLst>
                <a:ext uri="{FF2B5EF4-FFF2-40B4-BE49-F238E27FC236}">
                  <a16:creationId xmlns:a16="http://schemas.microsoft.com/office/drawing/2014/main" id="{C4C5E128-66AC-4192-86AD-E6581E3318A8}"/>
                </a:ext>
              </a:extLst>
            </p:cNvPr>
            <p:cNvSpPr/>
            <p:nvPr/>
          </p:nvSpPr>
          <p:spPr>
            <a:xfrm>
              <a:off x="408579" y="5740597"/>
              <a:ext cx="14093" cy="13712"/>
            </a:xfrm>
            <a:custGeom>
              <a:avLst/>
              <a:gdLst>
                <a:gd name="connsiteX0" fmla="*/ 0 w 14093"/>
                <a:gd name="connsiteY0" fmla="*/ 6856 h 13712"/>
                <a:gd name="connsiteX1" fmla="*/ 6983 w 14093"/>
                <a:gd name="connsiteY1" fmla="*/ 13712 h 13712"/>
                <a:gd name="connsiteX2" fmla="*/ 14093 w 14093"/>
                <a:gd name="connsiteY2" fmla="*/ 13712 h 13712"/>
                <a:gd name="connsiteX3" fmla="*/ 7237 w 14093"/>
                <a:gd name="connsiteY3" fmla="*/ 6856 h 13712"/>
                <a:gd name="connsiteX4" fmla="*/ 14093 w 14093"/>
                <a:gd name="connsiteY4" fmla="*/ 0 h 13712"/>
                <a:gd name="connsiteX5" fmla="*/ 6983 w 14093"/>
                <a:gd name="connsiteY5" fmla="*/ 0 h 13712"/>
                <a:gd name="connsiteX6" fmla="*/ 0 w 14093"/>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3" h="13712">
                  <a:moveTo>
                    <a:pt x="0" y="6856"/>
                  </a:moveTo>
                  <a:cubicBezTo>
                    <a:pt x="70" y="10663"/>
                    <a:pt x="3175" y="13712"/>
                    <a:pt x="6983" y="13712"/>
                  </a:cubicBezTo>
                  <a:lnTo>
                    <a:pt x="14093" y="13712"/>
                  </a:lnTo>
                  <a:cubicBezTo>
                    <a:pt x="10307" y="13712"/>
                    <a:pt x="7237" y="10642"/>
                    <a:pt x="7237" y="6856"/>
                  </a:cubicBezTo>
                  <a:cubicBezTo>
                    <a:pt x="7237" y="3070"/>
                    <a:pt x="10307" y="0"/>
                    <a:pt x="14093" y="0"/>
                  </a:cubicBezTo>
                  <a:lnTo>
                    <a:pt x="6983" y="0"/>
                  </a:lnTo>
                  <a:cubicBezTo>
                    <a:pt x="3175" y="0"/>
                    <a:pt x="70" y="3050"/>
                    <a:pt x="0" y="6856"/>
                  </a:cubicBezTo>
                  <a:close/>
                </a:path>
              </a:pathLst>
            </a:custGeom>
            <a:solidFill>
              <a:srgbClr val="000000"/>
            </a:solidFill>
            <a:ln w="12690" cap="flat">
              <a:noFill/>
              <a:prstDash val="solid"/>
              <a:miter/>
            </a:ln>
          </p:spPr>
          <p:txBody>
            <a:bodyPr rtlCol="0" anchor="ctr"/>
            <a:lstStyle/>
            <a:p>
              <a:endParaRPr lang="en-US"/>
            </a:p>
          </p:txBody>
        </p:sp>
        <p:sp>
          <p:nvSpPr>
            <p:cNvPr id="715" name="Freeform: Shape 714">
              <a:extLst>
                <a:ext uri="{FF2B5EF4-FFF2-40B4-BE49-F238E27FC236}">
                  <a16:creationId xmlns:a16="http://schemas.microsoft.com/office/drawing/2014/main" id="{7CA81BC2-12D1-48F4-B51E-CAC4E49F23C7}"/>
                </a:ext>
              </a:extLst>
            </p:cNvPr>
            <p:cNvSpPr/>
            <p:nvPr/>
          </p:nvSpPr>
          <p:spPr>
            <a:xfrm>
              <a:off x="415689" y="5741485"/>
              <a:ext cx="48374" cy="12824"/>
            </a:xfrm>
            <a:custGeom>
              <a:avLst/>
              <a:gdLst>
                <a:gd name="connsiteX0" fmla="*/ 0 w 48374"/>
                <a:gd name="connsiteY0" fmla="*/ 5968 h 12824"/>
                <a:gd name="connsiteX1" fmla="*/ 6983 w 48374"/>
                <a:gd name="connsiteY1" fmla="*/ 12824 h 12824"/>
                <a:gd name="connsiteX2" fmla="*/ 41391 w 48374"/>
                <a:gd name="connsiteY2" fmla="*/ 12824 h 12824"/>
                <a:gd name="connsiteX3" fmla="*/ 48374 w 48374"/>
                <a:gd name="connsiteY3" fmla="*/ 5968 h 12824"/>
                <a:gd name="connsiteX4" fmla="*/ 46724 w 48374"/>
                <a:gd name="connsiteY4" fmla="*/ 1778 h 12824"/>
                <a:gd name="connsiteX5" fmla="*/ 45835 w 48374"/>
                <a:gd name="connsiteY5" fmla="*/ 762 h 12824"/>
                <a:gd name="connsiteX6" fmla="*/ 44692 w 48374"/>
                <a:gd name="connsiteY6" fmla="*/ 0 h 12824"/>
                <a:gd name="connsiteX7" fmla="*/ 43550 w 48374"/>
                <a:gd name="connsiteY7" fmla="*/ 0 h 12824"/>
                <a:gd name="connsiteX8" fmla="*/ 42153 w 48374"/>
                <a:gd name="connsiteY8" fmla="*/ 0 h 12824"/>
                <a:gd name="connsiteX9" fmla="*/ 6983 w 48374"/>
                <a:gd name="connsiteY9" fmla="*/ 0 h 12824"/>
                <a:gd name="connsiteX10" fmla="*/ 0 w 48374"/>
                <a:gd name="connsiteY10" fmla="*/ 5968 h 1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74" h="12824">
                  <a:moveTo>
                    <a:pt x="0" y="5968"/>
                  </a:moveTo>
                  <a:cubicBezTo>
                    <a:pt x="70" y="9774"/>
                    <a:pt x="3175" y="12824"/>
                    <a:pt x="6983" y="12824"/>
                  </a:cubicBezTo>
                  <a:lnTo>
                    <a:pt x="41391" y="12824"/>
                  </a:lnTo>
                  <a:cubicBezTo>
                    <a:pt x="45199" y="12824"/>
                    <a:pt x="48305" y="9774"/>
                    <a:pt x="48374" y="5968"/>
                  </a:cubicBezTo>
                  <a:cubicBezTo>
                    <a:pt x="48367" y="4414"/>
                    <a:pt x="47778" y="2919"/>
                    <a:pt x="46724" y="1778"/>
                  </a:cubicBezTo>
                  <a:cubicBezTo>
                    <a:pt x="46498" y="1384"/>
                    <a:pt x="46196" y="1039"/>
                    <a:pt x="45835" y="762"/>
                  </a:cubicBezTo>
                  <a:lnTo>
                    <a:pt x="44692" y="0"/>
                  </a:lnTo>
                  <a:lnTo>
                    <a:pt x="43550" y="0"/>
                  </a:lnTo>
                  <a:lnTo>
                    <a:pt x="42153" y="0"/>
                  </a:lnTo>
                  <a:lnTo>
                    <a:pt x="6983" y="0"/>
                  </a:lnTo>
                  <a:cubicBezTo>
                    <a:pt x="3490" y="-37"/>
                    <a:pt x="508" y="2512"/>
                    <a:pt x="0" y="5968"/>
                  </a:cubicBezTo>
                  <a:close/>
                </a:path>
              </a:pathLst>
            </a:custGeom>
            <a:solidFill>
              <a:srgbClr val="000000"/>
            </a:solidFill>
            <a:ln w="12690" cap="flat">
              <a:noFill/>
              <a:prstDash val="solid"/>
              <a:miter/>
            </a:ln>
          </p:spPr>
          <p:txBody>
            <a:bodyPr rtlCol="0" anchor="ctr"/>
            <a:lstStyle/>
            <a:p>
              <a:endParaRPr lang="en-US"/>
            </a:p>
          </p:txBody>
        </p:sp>
        <p:sp>
          <p:nvSpPr>
            <p:cNvPr id="716" name="Freeform: Shape 715">
              <a:extLst>
                <a:ext uri="{FF2B5EF4-FFF2-40B4-BE49-F238E27FC236}">
                  <a16:creationId xmlns:a16="http://schemas.microsoft.com/office/drawing/2014/main" id="{4A282CBD-1D91-4C18-BF96-2276DBDBAA0C}"/>
                </a:ext>
              </a:extLst>
            </p:cNvPr>
            <p:cNvSpPr/>
            <p:nvPr/>
          </p:nvSpPr>
          <p:spPr>
            <a:xfrm>
              <a:off x="1530840" y="6464058"/>
              <a:ext cx="13839" cy="7618"/>
            </a:xfrm>
            <a:custGeom>
              <a:avLst/>
              <a:gdLst>
                <a:gd name="connsiteX0" fmla="*/ 6856 w 13839"/>
                <a:gd name="connsiteY0" fmla="*/ 7618 h 7618"/>
                <a:gd name="connsiteX1" fmla="*/ 13839 w 13839"/>
                <a:gd name="connsiteY1" fmla="*/ 635 h 7618"/>
                <a:gd name="connsiteX2" fmla="*/ 13839 w 13839"/>
                <a:gd name="connsiteY2" fmla="*/ 0 h 7618"/>
                <a:gd name="connsiteX3" fmla="*/ 6856 w 13839"/>
                <a:gd name="connsiteY3" fmla="*/ 6983 h 7618"/>
                <a:gd name="connsiteX4" fmla="*/ 0 w 13839"/>
                <a:gd name="connsiteY4" fmla="*/ 0 h 7618"/>
                <a:gd name="connsiteX5" fmla="*/ 0 w 13839"/>
                <a:gd name="connsiteY5" fmla="*/ 635 h 7618"/>
                <a:gd name="connsiteX6" fmla="*/ 0 w 13839"/>
                <a:gd name="connsiteY6" fmla="*/ 635 h 7618"/>
                <a:gd name="connsiteX7" fmla="*/ 6856 w 13839"/>
                <a:gd name="connsiteY7" fmla="*/ 7618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7618">
                  <a:moveTo>
                    <a:pt x="6856" y="7618"/>
                  </a:moveTo>
                  <a:cubicBezTo>
                    <a:pt x="10716" y="7618"/>
                    <a:pt x="13839" y="4495"/>
                    <a:pt x="13839" y="635"/>
                  </a:cubicBezTo>
                  <a:lnTo>
                    <a:pt x="13839" y="0"/>
                  </a:lnTo>
                  <a:cubicBezTo>
                    <a:pt x="13839" y="3860"/>
                    <a:pt x="10716" y="6983"/>
                    <a:pt x="6856" y="6983"/>
                  </a:cubicBezTo>
                  <a:cubicBezTo>
                    <a:pt x="3047" y="6920"/>
                    <a:pt x="0" y="3809"/>
                    <a:pt x="0" y="0"/>
                  </a:cubicBezTo>
                  <a:lnTo>
                    <a:pt x="0" y="635"/>
                  </a:lnTo>
                  <a:lnTo>
                    <a:pt x="0" y="635"/>
                  </a:lnTo>
                  <a:cubicBezTo>
                    <a:pt x="0" y="4444"/>
                    <a:pt x="3047" y="7555"/>
                    <a:pt x="6856" y="7618"/>
                  </a:cubicBezTo>
                  <a:close/>
                </a:path>
              </a:pathLst>
            </a:custGeom>
            <a:solidFill>
              <a:srgbClr val="000000"/>
            </a:solidFill>
            <a:ln w="12690" cap="flat">
              <a:no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39A296B3-24B7-47CD-ACE0-9E77A1B190D3}"/>
                </a:ext>
              </a:extLst>
            </p:cNvPr>
            <p:cNvSpPr/>
            <p:nvPr/>
          </p:nvSpPr>
          <p:spPr>
            <a:xfrm>
              <a:off x="245173" y="6202378"/>
              <a:ext cx="13839" cy="204544"/>
            </a:xfrm>
            <a:custGeom>
              <a:avLst/>
              <a:gdLst>
                <a:gd name="connsiteX0" fmla="*/ 6983 w 13839"/>
                <a:gd name="connsiteY0" fmla="*/ 204545 h 204544"/>
                <a:gd name="connsiteX1" fmla="*/ 13839 w 13839"/>
                <a:gd name="connsiteY1" fmla="*/ 197689 h 204544"/>
                <a:gd name="connsiteX2" fmla="*/ 13839 w 13839"/>
                <a:gd name="connsiteY2" fmla="*/ 0 h 204544"/>
                <a:gd name="connsiteX3" fmla="*/ 6983 w 13839"/>
                <a:gd name="connsiteY3" fmla="*/ 6856 h 204544"/>
                <a:gd name="connsiteX4" fmla="*/ 0 w 13839"/>
                <a:gd name="connsiteY4" fmla="*/ 0 h 204544"/>
                <a:gd name="connsiteX5" fmla="*/ 0 w 13839"/>
                <a:gd name="connsiteY5" fmla="*/ 0 h 204544"/>
                <a:gd name="connsiteX6" fmla="*/ 0 w 13839"/>
                <a:gd name="connsiteY6" fmla="*/ 197689 h 204544"/>
                <a:gd name="connsiteX7" fmla="*/ 6983 w 13839"/>
                <a:gd name="connsiteY7"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04544">
                  <a:moveTo>
                    <a:pt x="6983" y="204545"/>
                  </a:moveTo>
                  <a:cubicBezTo>
                    <a:pt x="10769" y="204545"/>
                    <a:pt x="13839" y="201472"/>
                    <a:pt x="13839" y="197689"/>
                  </a:cubicBezTo>
                  <a:lnTo>
                    <a:pt x="13839" y="0"/>
                  </a:lnTo>
                  <a:cubicBezTo>
                    <a:pt x="13839" y="3784"/>
                    <a:pt x="10769" y="6856"/>
                    <a:pt x="6983" y="6856"/>
                  </a:cubicBezTo>
                  <a:cubicBezTo>
                    <a:pt x="3175" y="6856"/>
                    <a:pt x="70" y="3809"/>
                    <a:pt x="0" y="0"/>
                  </a:cubicBezTo>
                  <a:lnTo>
                    <a:pt x="0" y="0"/>
                  </a:lnTo>
                  <a:lnTo>
                    <a:pt x="0" y="197689"/>
                  </a:lnTo>
                  <a:cubicBezTo>
                    <a:pt x="70" y="201497"/>
                    <a:pt x="3175" y="204545"/>
                    <a:pt x="6983" y="204545"/>
                  </a:cubicBezTo>
                  <a:close/>
                </a:path>
              </a:pathLst>
            </a:custGeom>
            <a:solidFill>
              <a:srgbClr val="000000"/>
            </a:solidFill>
            <a:ln w="12690" cap="flat">
              <a:noFill/>
              <a:prstDash val="solid"/>
              <a:miter/>
            </a:ln>
          </p:spPr>
          <p:txBody>
            <a:bodyPr rtlCol="0" anchor="ctr"/>
            <a:lstStyle/>
            <a:p>
              <a:endParaRPr lang="en-US"/>
            </a:p>
          </p:txBody>
        </p:sp>
        <p:sp>
          <p:nvSpPr>
            <p:cNvPr id="718" name="Freeform: Shape 717">
              <a:extLst>
                <a:ext uri="{FF2B5EF4-FFF2-40B4-BE49-F238E27FC236}">
                  <a16:creationId xmlns:a16="http://schemas.microsoft.com/office/drawing/2014/main" id="{5184B8CE-7FFD-48B2-BB79-D7B7A0600773}"/>
                </a:ext>
              </a:extLst>
            </p:cNvPr>
            <p:cNvSpPr/>
            <p:nvPr/>
          </p:nvSpPr>
          <p:spPr>
            <a:xfrm>
              <a:off x="245427" y="6194417"/>
              <a:ext cx="13585" cy="14817"/>
            </a:xfrm>
            <a:custGeom>
              <a:avLst/>
              <a:gdLst>
                <a:gd name="connsiteX0" fmla="*/ 6729 w 13585"/>
                <a:gd name="connsiteY0" fmla="*/ 14817 h 14817"/>
                <a:gd name="connsiteX1" fmla="*/ 13585 w 13585"/>
                <a:gd name="connsiteY1" fmla="*/ 7961 h 14817"/>
                <a:gd name="connsiteX2" fmla="*/ 13585 w 13585"/>
                <a:gd name="connsiteY2" fmla="*/ 6818 h 14817"/>
                <a:gd name="connsiteX3" fmla="*/ 6686 w 13585"/>
                <a:gd name="connsiteY3" fmla="*/ 0 h 14817"/>
                <a:gd name="connsiteX4" fmla="*/ 0 w 13585"/>
                <a:gd name="connsiteY4" fmla="*/ 5548 h 14817"/>
                <a:gd name="connsiteX5" fmla="*/ 0 w 13585"/>
                <a:gd name="connsiteY5" fmla="*/ 6818 h 14817"/>
                <a:gd name="connsiteX6" fmla="*/ 0 w 13585"/>
                <a:gd name="connsiteY6" fmla="*/ 7961 h 14817"/>
                <a:gd name="connsiteX7" fmla="*/ 6729 w 13585"/>
                <a:gd name="connsiteY7" fmla="*/ 14817 h 1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85" h="14817">
                  <a:moveTo>
                    <a:pt x="6729" y="14817"/>
                  </a:moveTo>
                  <a:cubicBezTo>
                    <a:pt x="10515" y="14817"/>
                    <a:pt x="13585" y="11745"/>
                    <a:pt x="13585" y="7961"/>
                  </a:cubicBezTo>
                  <a:lnTo>
                    <a:pt x="13585" y="6818"/>
                  </a:lnTo>
                  <a:cubicBezTo>
                    <a:pt x="13561" y="3035"/>
                    <a:pt x="10473" y="-13"/>
                    <a:pt x="6686" y="0"/>
                  </a:cubicBezTo>
                  <a:cubicBezTo>
                    <a:pt x="3422" y="25"/>
                    <a:pt x="625" y="2349"/>
                    <a:pt x="0" y="5548"/>
                  </a:cubicBezTo>
                  <a:cubicBezTo>
                    <a:pt x="0" y="5548"/>
                    <a:pt x="0" y="6310"/>
                    <a:pt x="0" y="6818"/>
                  </a:cubicBezTo>
                  <a:lnTo>
                    <a:pt x="0" y="7961"/>
                  </a:lnTo>
                  <a:cubicBezTo>
                    <a:pt x="65" y="11668"/>
                    <a:pt x="3021" y="14677"/>
                    <a:pt x="6729" y="14817"/>
                  </a:cubicBezTo>
                  <a:close/>
                </a:path>
              </a:pathLst>
            </a:custGeom>
            <a:solidFill>
              <a:srgbClr val="000000"/>
            </a:solidFill>
            <a:ln w="12690" cap="flat">
              <a:noFill/>
              <a:prstDash val="solid"/>
              <a:miter/>
            </a:ln>
          </p:spPr>
          <p:txBody>
            <a:bodyPr rtlCol="0" anchor="ctr"/>
            <a:lstStyle/>
            <a:p>
              <a:endParaRPr lang="en-US"/>
            </a:p>
          </p:txBody>
        </p:sp>
        <p:sp>
          <p:nvSpPr>
            <p:cNvPr id="719" name="Freeform: Shape 718">
              <a:extLst>
                <a:ext uri="{FF2B5EF4-FFF2-40B4-BE49-F238E27FC236}">
                  <a16:creationId xmlns:a16="http://schemas.microsoft.com/office/drawing/2014/main" id="{5DAAEED4-7CA2-462D-986E-FCBACA596180}"/>
                </a:ext>
              </a:extLst>
            </p:cNvPr>
            <p:cNvSpPr/>
            <p:nvPr/>
          </p:nvSpPr>
          <p:spPr>
            <a:xfrm>
              <a:off x="691362" y="6392702"/>
              <a:ext cx="319674" cy="13839"/>
            </a:xfrm>
            <a:custGeom>
              <a:avLst/>
              <a:gdLst>
                <a:gd name="connsiteX0" fmla="*/ 99 w 319674"/>
                <a:gd name="connsiteY0" fmla="*/ 9776 h 13839"/>
                <a:gd name="connsiteX1" fmla="*/ 6320 w 319674"/>
                <a:gd name="connsiteY1" fmla="*/ 13840 h 13839"/>
                <a:gd name="connsiteX2" fmla="*/ 319675 w 319674"/>
                <a:gd name="connsiteY2" fmla="*/ 13840 h 13839"/>
                <a:gd name="connsiteX3" fmla="*/ 312819 w 319674"/>
                <a:gd name="connsiteY3" fmla="*/ 6856 h 13839"/>
                <a:gd name="connsiteX4" fmla="*/ 319675 w 319674"/>
                <a:gd name="connsiteY4" fmla="*/ 0 h 13839"/>
                <a:gd name="connsiteX5" fmla="*/ 6955 w 319674"/>
                <a:gd name="connsiteY5" fmla="*/ 0 h 13839"/>
                <a:gd name="connsiteX6" fmla="*/ 99 w 319674"/>
                <a:gd name="connsiteY6" fmla="*/ 6856 h 13839"/>
                <a:gd name="connsiteX7" fmla="*/ 99 w 319674"/>
                <a:gd name="connsiteY7" fmla="*/ 9269 h 13839"/>
                <a:gd name="connsiteX8" fmla="*/ 99 w 319674"/>
                <a:gd name="connsiteY8" fmla="*/ 977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674" h="13839">
                  <a:moveTo>
                    <a:pt x="99" y="9776"/>
                  </a:moveTo>
                  <a:cubicBezTo>
                    <a:pt x="1220" y="12214"/>
                    <a:pt x="3639" y="13789"/>
                    <a:pt x="6320" y="13840"/>
                  </a:cubicBezTo>
                  <a:lnTo>
                    <a:pt x="319675" y="13840"/>
                  </a:lnTo>
                  <a:cubicBezTo>
                    <a:pt x="315868" y="13776"/>
                    <a:pt x="312819" y="10665"/>
                    <a:pt x="312819" y="6856"/>
                  </a:cubicBezTo>
                  <a:cubicBezTo>
                    <a:pt x="312819" y="3073"/>
                    <a:pt x="315889" y="0"/>
                    <a:pt x="319675" y="0"/>
                  </a:cubicBezTo>
                  <a:lnTo>
                    <a:pt x="6955" y="0"/>
                  </a:lnTo>
                  <a:cubicBezTo>
                    <a:pt x="3169" y="0"/>
                    <a:pt x="99" y="3073"/>
                    <a:pt x="99" y="6856"/>
                  </a:cubicBezTo>
                  <a:cubicBezTo>
                    <a:pt x="-33" y="7656"/>
                    <a:pt x="-33" y="8469"/>
                    <a:pt x="99" y="9269"/>
                  </a:cubicBezTo>
                  <a:cubicBezTo>
                    <a:pt x="99" y="9269"/>
                    <a:pt x="99" y="9650"/>
                    <a:pt x="99" y="9776"/>
                  </a:cubicBezTo>
                  <a:close/>
                </a:path>
              </a:pathLst>
            </a:custGeom>
            <a:solidFill>
              <a:srgbClr val="000000"/>
            </a:solidFill>
            <a:ln w="12690" cap="flat">
              <a:noFill/>
              <a:prstDash val="solid"/>
              <a:miter/>
            </a:ln>
          </p:spPr>
          <p:txBody>
            <a:bodyPr rtlCol="0" anchor="ctr"/>
            <a:lstStyle/>
            <a:p>
              <a:endParaRPr lang="en-US"/>
            </a:p>
          </p:txBody>
        </p:sp>
        <p:sp>
          <p:nvSpPr>
            <p:cNvPr id="720" name="Freeform: Shape 719">
              <a:extLst>
                <a:ext uri="{FF2B5EF4-FFF2-40B4-BE49-F238E27FC236}">
                  <a16:creationId xmlns:a16="http://schemas.microsoft.com/office/drawing/2014/main" id="{7AD947E4-2F6A-489D-BEAD-148577A7C535}"/>
                </a:ext>
              </a:extLst>
            </p:cNvPr>
            <p:cNvSpPr/>
            <p:nvPr/>
          </p:nvSpPr>
          <p:spPr>
            <a:xfrm>
              <a:off x="1004181" y="6392702"/>
              <a:ext cx="10665" cy="13839"/>
            </a:xfrm>
            <a:custGeom>
              <a:avLst/>
              <a:gdLst>
                <a:gd name="connsiteX0" fmla="*/ 3809 w 10665"/>
                <a:gd name="connsiteY0" fmla="*/ 6856 h 13839"/>
                <a:gd name="connsiteX1" fmla="*/ 10665 w 10665"/>
                <a:gd name="connsiteY1" fmla="*/ 0 h 13839"/>
                <a:gd name="connsiteX2" fmla="*/ 6856 w 10665"/>
                <a:gd name="connsiteY2" fmla="*/ 0 h 13839"/>
                <a:gd name="connsiteX3" fmla="*/ 0 w 10665"/>
                <a:gd name="connsiteY3" fmla="*/ 6856 h 13839"/>
                <a:gd name="connsiteX4" fmla="*/ 6856 w 10665"/>
                <a:gd name="connsiteY4" fmla="*/ 13840 h 13839"/>
                <a:gd name="connsiteX5" fmla="*/ 10665 w 10665"/>
                <a:gd name="connsiteY5" fmla="*/ 13840 h 13839"/>
                <a:gd name="connsiteX6" fmla="*/ 3809 w 1066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13839">
                  <a:moveTo>
                    <a:pt x="3809" y="6856"/>
                  </a:moveTo>
                  <a:cubicBezTo>
                    <a:pt x="3809" y="3073"/>
                    <a:pt x="6879" y="0"/>
                    <a:pt x="10665" y="0"/>
                  </a:cubicBezTo>
                  <a:lnTo>
                    <a:pt x="6856" y="0"/>
                  </a:lnTo>
                  <a:cubicBezTo>
                    <a:pt x="3070" y="0"/>
                    <a:pt x="0" y="3073"/>
                    <a:pt x="0" y="6856"/>
                  </a:cubicBezTo>
                  <a:cubicBezTo>
                    <a:pt x="0" y="10665"/>
                    <a:pt x="3050" y="13776"/>
                    <a:pt x="6856" y="13840"/>
                  </a:cubicBezTo>
                  <a:lnTo>
                    <a:pt x="10665" y="13840"/>
                  </a:lnTo>
                  <a:cubicBezTo>
                    <a:pt x="6859" y="13776"/>
                    <a:pt x="3809" y="10665"/>
                    <a:pt x="3809" y="6856"/>
                  </a:cubicBezTo>
                  <a:close/>
                </a:path>
              </a:pathLst>
            </a:custGeom>
            <a:solidFill>
              <a:srgbClr val="000000"/>
            </a:solidFill>
            <a:ln w="12690" cap="flat">
              <a:noFill/>
              <a:prstDash val="solid"/>
              <a:miter/>
            </a:ln>
          </p:spPr>
          <p:txBody>
            <a:bodyPr rtlCol="0" anchor="ctr"/>
            <a:lstStyle/>
            <a:p>
              <a:endParaRPr lang="en-US"/>
            </a:p>
          </p:txBody>
        </p:sp>
        <p:sp>
          <p:nvSpPr>
            <p:cNvPr id="721" name="Freeform: Shape 720">
              <a:extLst>
                <a:ext uri="{FF2B5EF4-FFF2-40B4-BE49-F238E27FC236}">
                  <a16:creationId xmlns:a16="http://schemas.microsoft.com/office/drawing/2014/main" id="{2A2724D6-288A-4FC0-AA2E-47E8846BFE2A}"/>
                </a:ext>
              </a:extLst>
            </p:cNvPr>
            <p:cNvSpPr/>
            <p:nvPr/>
          </p:nvSpPr>
          <p:spPr>
            <a:xfrm>
              <a:off x="1007990" y="6392702"/>
              <a:ext cx="201242" cy="13839"/>
            </a:xfrm>
            <a:custGeom>
              <a:avLst/>
              <a:gdLst>
                <a:gd name="connsiteX0" fmla="*/ 0 w 201242"/>
                <a:gd name="connsiteY0" fmla="*/ 6856 h 13839"/>
                <a:gd name="connsiteX1" fmla="*/ 6856 w 201242"/>
                <a:gd name="connsiteY1" fmla="*/ 13840 h 13839"/>
                <a:gd name="connsiteX2" fmla="*/ 201243 w 201242"/>
                <a:gd name="connsiteY2" fmla="*/ 13840 h 13839"/>
                <a:gd name="connsiteX3" fmla="*/ 194259 w 201242"/>
                <a:gd name="connsiteY3" fmla="*/ 6856 h 13839"/>
                <a:gd name="connsiteX4" fmla="*/ 201243 w 201242"/>
                <a:gd name="connsiteY4" fmla="*/ 0 h 13839"/>
                <a:gd name="connsiteX5" fmla="*/ 6856 w 201242"/>
                <a:gd name="connsiteY5" fmla="*/ 0 h 13839"/>
                <a:gd name="connsiteX6" fmla="*/ 0 w 201242"/>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42" h="13839">
                  <a:moveTo>
                    <a:pt x="0" y="6856"/>
                  </a:moveTo>
                  <a:cubicBezTo>
                    <a:pt x="0" y="10665"/>
                    <a:pt x="3050" y="13776"/>
                    <a:pt x="6856" y="13840"/>
                  </a:cubicBezTo>
                  <a:lnTo>
                    <a:pt x="201243" y="13840"/>
                  </a:lnTo>
                  <a:cubicBezTo>
                    <a:pt x="197385" y="13840"/>
                    <a:pt x="194259" y="10716"/>
                    <a:pt x="194259" y="6856"/>
                  </a:cubicBezTo>
                  <a:cubicBezTo>
                    <a:pt x="194328" y="3047"/>
                    <a:pt x="197435" y="0"/>
                    <a:pt x="201243" y="0"/>
                  </a:cubicBezTo>
                  <a:lnTo>
                    <a:pt x="6856" y="0"/>
                  </a:lnTo>
                  <a:cubicBezTo>
                    <a:pt x="3070" y="0"/>
                    <a:pt x="0" y="3073"/>
                    <a:pt x="0" y="6856"/>
                  </a:cubicBezTo>
                  <a:close/>
                </a:path>
              </a:pathLst>
            </a:custGeom>
            <a:solidFill>
              <a:srgbClr val="000000"/>
            </a:solidFill>
            <a:ln w="12690" cap="flat">
              <a:noFill/>
              <a:prstDash val="solid"/>
              <a:miter/>
            </a:ln>
          </p:spPr>
          <p:txBody>
            <a:bodyPr rtlCol="0" anchor="ctr"/>
            <a:lstStyle/>
            <a:p>
              <a:endParaRPr lang="en-US"/>
            </a:p>
          </p:txBody>
        </p:sp>
        <p:sp>
          <p:nvSpPr>
            <p:cNvPr id="722" name="Freeform: Shape 721">
              <a:extLst>
                <a:ext uri="{FF2B5EF4-FFF2-40B4-BE49-F238E27FC236}">
                  <a16:creationId xmlns:a16="http://schemas.microsoft.com/office/drawing/2014/main" id="{C0711034-2387-40E7-84E3-61DC097E6BAD}"/>
                </a:ext>
              </a:extLst>
            </p:cNvPr>
            <p:cNvSpPr/>
            <p:nvPr/>
          </p:nvSpPr>
          <p:spPr>
            <a:xfrm>
              <a:off x="1202249" y="6392702"/>
              <a:ext cx="98526" cy="13839"/>
            </a:xfrm>
            <a:custGeom>
              <a:avLst/>
              <a:gdLst>
                <a:gd name="connsiteX0" fmla="*/ 0 w 98526"/>
                <a:gd name="connsiteY0" fmla="*/ 6856 h 13839"/>
                <a:gd name="connsiteX1" fmla="*/ 6983 w 98526"/>
                <a:gd name="connsiteY1" fmla="*/ 13840 h 13839"/>
                <a:gd name="connsiteX2" fmla="*/ 91670 w 98526"/>
                <a:gd name="connsiteY2" fmla="*/ 13840 h 13839"/>
                <a:gd name="connsiteX3" fmla="*/ 95479 w 98526"/>
                <a:gd name="connsiteY3" fmla="*/ 12443 h 13839"/>
                <a:gd name="connsiteX4" fmla="*/ 98526 w 98526"/>
                <a:gd name="connsiteY4" fmla="*/ 6856 h 13839"/>
                <a:gd name="connsiteX5" fmla="*/ 96495 w 98526"/>
                <a:gd name="connsiteY5" fmla="*/ 2032 h 13839"/>
                <a:gd name="connsiteX6" fmla="*/ 91924 w 98526"/>
                <a:gd name="connsiteY6" fmla="*/ 0 h 13839"/>
                <a:gd name="connsiteX7" fmla="*/ 6983 w 98526"/>
                <a:gd name="connsiteY7" fmla="*/ 0 h 13839"/>
                <a:gd name="connsiteX8" fmla="*/ 0 w 98526"/>
                <a:gd name="connsiteY8"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6" h="13839">
                  <a:moveTo>
                    <a:pt x="0" y="6856"/>
                  </a:moveTo>
                  <a:cubicBezTo>
                    <a:pt x="0" y="10716"/>
                    <a:pt x="3126" y="13840"/>
                    <a:pt x="6983" y="13840"/>
                  </a:cubicBezTo>
                  <a:lnTo>
                    <a:pt x="91670" y="13840"/>
                  </a:lnTo>
                  <a:cubicBezTo>
                    <a:pt x="93054" y="13763"/>
                    <a:pt x="94375" y="13281"/>
                    <a:pt x="95479" y="12443"/>
                  </a:cubicBezTo>
                  <a:cubicBezTo>
                    <a:pt x="97346" y="11198"/>
                    <a:pt x="98488" y="9104"/>
                    <a:pt x="98526" y="6856"/>
                  </a:cubicBezTo>
                  <a:cubicBezTo>
                    <a:pt x="98526" y="5041"/>
                    <a:pt x="97790" y="3301"/>
                    <a:pt x="96495" y="2032"/>
                  </a:cubicBezTo>
                  <a:cubicBezTo>
                    <a:pt x="95263" y="838"/>
                    <a:pt x="93638" y="114"/>
                    <a:pt x="91924" y="0"/>
                  </a:cubicBezTo>
                  <a:lnTo>
                    <a:pt x="6983" y="0"/>
                  </a:lnTo>
                  <a:cubicBezTo>
                    <a:pt x="3175" y="0"/>
                    <a:pt x="68" y="3047"/>
                    <a:pt x="0" y="6856"/>
                  </a:cubicBezTo>
                  <a:close/>
                </a:path>
              </a:pathLst>
            </a:custGeom>
            <a:solidFill>
              <a:srgbClr val="000000"/>
            </a:solidFill>
            <a:ln w="12690" cap="flat">
              <a:noFill/>
              <a:prstDash val="solid"/>
              <a:miter/>
            </a:ln>
          </p:spPr>
          <p:txBody>
            <a:bodyPr rtlCol="0" anchor="ctr"/>
            <a:lstStyle/>
            <a:p>
              <a:endParaRPr lang="en-US"/>
            </a:p>
          </p:txBody>
        </p:sp>
        <p:sp>
          <p:nvSpPr>
            <p:cNvPr id="723" name="Freeform: Shape 722">
              <a:extLst>
                <a:ext uri="{FF2B5EF4-FFF2-40B4-BE49-F238E27FC236}">
                  <a16:creationId xmlns:a16="http://schemas.microsoft.com/office/drawing/2014/main" id="{0BBAD57D-1C24-4905-966A-F6D91198AE2C}"/>
                </a:ext>
              </a:extLst>
            </p:cNvPr>
            <p:cNvSpPr/>
            <p:nvPr/>
          </p:nvSpPr>
          <p:spPr>
            <a:xfrm>
              <a:off x="2385016" y="6464312"/>
              <a:ext cx="57" cy="1904"/>
            </a:xfrm>
            <a:custGeom>
              <a:avLst/>
              <a:gdLst>
                <a:gd name="connsiteX0" fmla="*/ 57 w 57"/>
                <a:gd name="connsiteY0" fmla="*/ 381 h 1904"/>
                <a:gd name="connsiteX1" fmla="*/ 57 w 57"/>
                <a:gd name="connsiteY1" fmla="*/ 1904 h 1904"/>
                <a:gd name="connsiteX2" fmla="*/ 57 w 57"/>
                <a:gd name="connsiteY2" fmla="*/ 1904 h 1904"/>
                <a:gd name="connsiteX3" fmla="*/ 57 w 57"/>
                <a:gd name="connsiteY3" fmla="*/ 0 h 1904"/>
              </a:gdLst>
              <a:ahLst/>
              <a:cxnLst>
                <a:cxn ang="0">
                  <a:pos x="connsiteX0" y="connsiteY0"/>
                </a:cxn>
                <a:cxn ang="0">
                  <a:pos x="connsiteX1" y="connsiteY1"/>
                </a:cxn>
                <a:cxn ang="0">
                  <a:pos x="connsiteX2" y="connsiteY2"/>
                </a:cxn>
                <a:cxn ang="0">
                  <a:pos x="connsiteX3" y="connsiteY3"/>
                </a:cxn>
              </a:cxnLst>
              <a:rect l="l" t="t" r="r" b="b"/>
              <a:pathLst>
                <a:path w="57" h="1904">
                  <a:moveTo>
                    <a:pt x="57" y="381"/>
                  </a:moveTo>
                  <a:cubicBezTo>
                    <a:pt x="-19" y="889"/>
                    <a:pt x="-19" y="1397"/>
                    <a:pt x="57" y="1904"/>
                  </a:cubicBezTo>
                  <a:cubicBezTo>
                    <a:pt x="57" y="1904"/>
                    <a:pt x="57" y="1904"/>
                    <a:pt x="57" y="1904"/>
                  </a:cubicBezTo>
                  <a:cubicBezTo>
                    <a:pt x="-19" y="1270"/>
                    <a:pt x="-19" y="635"/>
                    <a:pt x="57" y="0"/>
                  </a:cubicBezTo>
                  <a:close/>
                </a:path>
              </a:pathLst>
            </a:custGeom>
            <a:solidFill>
              <a:srgbClr val="000000"/>
            </a:solidFill>
            <a:ln w="12690" cap="flat">
              <a:no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0E572A9F-56BF-4C2D-920D-22F2227EEF5B}"/>
                </a:ext>
              </a:extLst>
            </p:cNvPr>
            <p:cNvSpPr/>
            <p:nvPr/>
          </p:nvSpPr>
          <p:spPr>
            <a:xfrm>
              <a:off x="2398532" y="6464058"/>
              <a:ext cx="57" cy="2158"/>
            </a:xfrm>
            <a:custGeom>
              <a:avLst/>
              <a:gdLst>
                <a:gd name="connsiteX0" fmla="*/ 0 w 57"/>
                <a:gd name="connsiteY0" fmla="*/ 2158 h 2158"/>
                <a:gd name="connsiteX1" fmla="*/ 0 w 57"/>
                <a:gd name="connsiteY1" fmla="*/ 635 h 2158"/>
                <a:gd name="connsiteX2" fmla="*/ 0 w 57"/>
                <a:gd name="connsiteY2" fmla="*/ 0 h 2158"/>
                <a:gd name="connsiteX3" fmla="*/ 0 w 57"/>
                <a:gd name="connsiteY3" fmla="*/ 1904 h 2158"/>
              </a:gdLst>
              <a:ahLst/>
              <a:cxnLst>
                <a:cxn ang="0">
                  <a:pos x="connsiteX0" y="connsiteY0"/>
                </a:cxn>
                <a:cxn ang="0">
                  <a:pos x="connsiteX1" y="connsiteY1"/>
                </a:cxn>
                <a:cxn ang="0">
                  <a:pos x="connsiteX2" y="connsiteY2"/>
                </a:cxn>
                <a:cxn ang="0">
                  <a:pos x="connsiteX3" y="connsiteY3"/>
                </a:cxn>
              </a:cxnLst>
              <a:rect l="l" t="t" r="r" b="b"/>
              <a:pathLst>
                <a:path w="57" h="2158">
                  <a:moveTo>
                    <a:pt x="0" y="2158"/>
                  </a:moveTo>
                  <a:cubicBezTo>
                    <a:pt x="76" y="1651"/>
                    <a:pt x="76" y="1143"/>
                    <a:pt x="0" y="635"/>
                  </a:cubicBezTo>
                  <a:lnTo>
                    <a:pt x="0" y="0"/>
                  </a:lnTo>
                  <a:cubicBezTo>
                    <a:pt x="76" y="635"/>
                    <a:pt x="76" y="1270"/>
                    <a:pt x="0" y="1904"/>
                  </a:cubicBezTo>
                  <a:close/>
                </a:path>
              </a:pathLst>
            </a:custGeom>
            <a:solidFill>
              <a:srgbClr val="000000"/>
            </a:solidFill>
            <a:ln w="12690" cap="flat">
              <a:no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8F49AF42-CB51-4EA0-8588-163F6E05C69D}"/>
                </a:ext>
              </a:extLst>
            </p:cNvPr>
            <p:cNvSpPr/>
            <p:nvPr/>
          </p:nvSpPr>
          <p:spPr>
            <a:xfrm>
              <a:off x="1975986" y="6461646"/>
              <a:ext cx="13712" cy="402867"/>
            </a:xfrm>
            <a:custGeom>
              <a:avLst/>
              <a:gdLst>
                <a:gd name="connsiteX0" fmla="*/ 6856 w 13712"/>
                <a:gd name="connsiteY0" fmla="*/ 6983 h 402867"/>
                <a:gd name="connsiteX1" fmla="*/ 0 w 13712"/>
                <a:gd name="connsiteY1" fmla="*/ 0 h 402867"/>
                <a:gd name="connsiteX2" fmla="*/ 0 w 13712"/>
                <a:gd name="connsiteY2" fmla="*/ 402868 h 402867"/>
                <a:gd name="connsiteX3" fmla="*/ 13712 w 13712"/>
                <a:gd name="connsiteY3" fmla="*/ 402868 h 402867"/>
                <a:gd name="connsiteX4" fmla="*/ 13712 w 13712"/>
                <a:gd name="connsiteY4" fmla="*/ 635 h 402867"/>
                <a:gd name="connsiteX5" fmla="*/ 6856 w 13712"/>
                <a:gd name="connsiteY5" fmla="*/ 6983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402867">
                  <a:moveTo>
                    <a:pt x="6856" y="6983"/>
                  </a:moveTo>
                  <a:cubicBezTo>
                    <a:pt x="3047" y="6920"/>
                    <a:pt x="0" y="3809"/>
                    <a:pt x="0" y="0"/>
                  </a:cubicBezTo>
                  <a:lnTo>
                    <a:pt x="0" y="402868"/>
                  </a:lnTo>
                  <a:lnTo>
                    <a:pt x="13712" y="402868"/>
                  </a:lnTo>
                  <a:lnTo>
                    <a:pt x="13712" y="635"/>
                  </a:lnTo>
                  <a:cubicBezTo>
                    <a:pt x="13382" y="4190"/>
                    <a:pt x="10424" y="6932"/>
                    <a:pt x="6856" y="6983"/>
                  </a:cubicBezTo>
                  <a:close/>
                </a:path>
              </a:pathLst>
            </a:custGeom>
            <a:solidFill>
              <a:srgbClr val="000000"/>
            </a:solidFill>
            <a:ln w="12690" cap="flat">
              <a:noFill/>
              <a:prstDash val="solid"/>
              <a:miter/>
            </a:ln>
          </p:spPr>
          <p:txBody>
            <a:bodyPr rtlCol="0" anchor="ctr"/>
            <a:lstStyle/>
            <a:p>
              <a:endParaRPr lang="en-US"/>
            </a:p>
          </p:txBody>
        </p:sp>
        <p:sp>
          <p:nvSpPr>
            <p:cNvPr id="726" name="Freeform: Shape 725">
              <a:extLst>
                <a:ext uri="{FF2B5EF4-FFF2-40B4-BE49-F238E27FC236}">
                  <a16:creationId xmlns:a16="http://schemas.microsoft.com/office/drawing/2014/main" id="{1B88ABC7-488B-451A-A97E-A54985EB69ED}"/>
                </a:ext>
              </a:extLst>
            </p:cNvPr>
            <p:cNvSpPr/>
            <p:nvPr/>
          </p:nvSpPr>
          <p:spPr>
            <a:xfrm>
              <a:off x="1427616" y="6783889"/>
              <a:ext cx="13839" cy="80624"/>
            </a:xfrm>
            <a:custGeom>
              <a:avLst/>
              <a:gdLst>
                <a:gd name="connsiteX0" fmla="*/ 13839 w 13839"/>
                <a:gd name="connsiteY0" fmla="*/ 0 h 80624"/>
                <a:gd name="connsiteX1" fmla="*/ 6856 w 13839"/>
                <a:gd name="connsiteY1" fmla="*/ 6856 h 80624"/>
                <a:gd name="connsiteX2" fmla="*/ 0 w 13839"/>
                <a:gd name="connsiteY2" fmla="*/ 0 h 80624"/>
                <a:gd name="connsiteX3" fmla="*/ 0 w 13839"/>
                <a:gd name="connsiteY3" fmla="*/ 80624 h 80624"/>
                <a:gd name="connsiteX4" fmla="*/ 13839 w 13839"/>
                <a:gd name="connsiteY4" fmla="*/ 80624 h 80624"/>
                <a:gd name="connsiteX5" fmla="*/ 13839 w 13839"/>
                <a:gd name="connsiteY5" fmla="*/ 0 h 8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80624">
                  <a:moveTo>
                    <a:pt x="13839" y="0"/>
                  </a:moveTo>
                  <a:cubicBezTo>
                    <a:pt x="13776" y="3809"/>
                    <a:pt x="10665" y="6856"/>
                    <a:pt x="6856" y="6856"/>
                  </a:cubicBezTo>
                  <a:cubicBezTo>
                    <a:pt x="3073" y="6856"/>
                    <a:pt x="0" y="3784"/>
                    <a:pt x="0" y="0"/>
                  </a:cubicBezTo>
                  <a:lnTo>
                    <a:pt x="0" y="80624"/>
                  </a:lnTo>
                  <a:lnTo>
                    <a:pt x="13839" y="80624"/>
                  </a:lnTo>
                  <a:lnTo>
                    <a:pt x="13839" y="0"/>
                  </a:lnTo>
                  <a:close/>
                </a:path>
              </a:pathLst>
            </a:custGeom>
            <a:solidFill>
              <a:srgbClr val="000000"/>
            </a:solidFill>
            <a:ln w="12690" cap="flat">
              <a:noFill/>
              <a:prstDash val="solid"/>
              <a:miter/>
            </a:ln>
          </p:spPr>
          <p:txBody>
            <a:bodyPr rtlCol="0" anchor="ctr"/>
            <a:lstStyle/>
            <a:p>
              <a:endParaRPr lang="en-US"/>
            </a:p>
          </p:txBody>
        </p:sp>
        <p:sp>
          <p:nvSpPr>
            <p:cNvPr id="727" name="Freeform: Shape 726">
              <a:extLst>
                <a:ext uri="{FF2B5EF4-FFF2-40B4-BE49-F238E27FC236}">
                  <a16:creationId xmlns:a16="http://schemas.microsoft.com/office/drawing/2014/main" id="{3D1C8059-F1C4-466B-8640-8B5EE2197F8A}"/>
                </a:ext>
              </a:extLst>
            </p:cNvPr>
            <p:cNvSpPr/>
            <p:nvPr/>
          </p:nvSpPr>
          <p:spPr>
            <a:xfrm>
              <a:off x="998214" y="5792527"/>
              <a:ext cx="8125" cy="13839"/>
            </a:xfrm>
            <a:custGeom>
              <a:avLst/>
              <a:gdLst>
                <a:gd name="connsiteX0" fmla="*/ 1270 w 8125"/>
                <a:gd name="connsiteY0" fmla="*/ 6856 h 13839"/>
                <a:gd name="connsiteX1" fmla="*/ 8126 w 8125"/>
                <a:gd name="connsiteY1" fmla="*/ 0 h 13839"/>
                <a:gd name="connsiteX2" fmla="*/ 6856 w 8125"/>
                <a:gd name="connsiteY2" fmla="*/ 0 h 13839"/>
                <a:gd name="connsiteX3" fmla="*/ 0 w 8125"/>
                <a:gd name="connsiteY3" fmla="*/ 6856 h 13839"/>
                <a:gd name="connsiteX4" fmla="*/ 6856 w 8125"/>
                <a:gd name="connsiteY4" fmla="*/ 13839 h 13839"/>
                <a:gd name="connsiteX5" fmla="*/ 8126 w 8125"/>
                <a:gd name="connsiteY5" fmla="*/ 13839 h 13839"/>
                <a:gd name="connsiteX6" fmla="*/ 1270 w 812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5" h="13839">
                  <a:moveTo>
                    <a:pt x="1270" y="6856"/>
                  </a:moveTo>
                  <a:cubicBezTo>
                    <a:pt x="1270" y="3070"/>
                    <a:pt x="4340" y="0"/>
                    <a:pt x="8126" y="0"/>
                  </a:cubicBezTo>
                  <a:lnTo>
                    <a:pt x="6856" y="0"/>
                  </a:lnTo>
                  <a:cubicBezTo>
                    <a:pt x="3070" y="0"/>
                    <a:pt x="0" y="3070"/>
                    <a:pt x="0" y="6856"/>
                  </a:cubicBezTo>
                  <a:cubicBezTo>
                    <a:pt x="0" y="10664"/>
                    <a:pt x="3050" y="13770"/>
                    <a:pt x="6856" y="13839"/>
                  </a:cubicBezTo>
                  <a:lnTo>
                    <a:pt x="8126" y="13839"/>
                  </a:lnTo>
                  <a:cubicBezTo>
                    <a:pt x="4319" y="13770"/>
                    <a:pt x="1270" y="10664"/>
                    <a:pt x="1270" y="6856"/>
                  </a:cubicBezTo>
                  <a:close/>
                </a:path>
              </a:pathLst>
            </a:custGeom>
            <a:solidFill>
              <a:srgbClr val="000000"/>
            </a:solidFill>
            <a:ln w="12690" cap="flat">
              <a:noFill/>
              <a:prstDash val="solid"/>
              <a:miter/>
            </a:ln>
          </p:spPr>
          <p:txBody>
            <a:bodyPr rtlCol="0" anchor="ctr"/>
            <a:lstStyle/>
            <a:p>
              <a:endParaRPr lang="en-US"/>
            </a:p>
          </p:txBody>
        </p:sp>
        <p:sp>
          <p:nvSpPr>
            <p:cNvPr id="728" name="Freeform: Shape 727">
              <a:extLst>
                <a:ext uri="{FF2B5EF4-FFF2-40B4-BE49-F238E27FC236}">
                  <a16:creationId xmlns:a16="http://schemas.microsoft.com/office/drawing/2014/main" id="{1BD2C96D-8E39-4734-9802-86B47B074974}"/>
                </a:ext>
              </a:extLst>
            </p:cNvPr>
            <p:cNvSpPr/>
            <p:nvPr/>
          </p:nvSpPr>
          <p:spPr>
            <a:xfrm>
              <a:off x="999483" y="5793289"/>
              <a:ext cx="18537" cy="13839"/>
            </a:xfrm>
            <a:custGeom>
              <a:avLst/>
              <a:gdLst>
                <a:gd name="connsiteX0" fmla="*/ 12824 w 18537"/>
                <a:gd name="connsiteY0" fmla="*/ 12824 h 13839"/>
                <a:gd name="connsiteX1" fmla="*/ 14220 w 18537"/>
                <a:gd name="connsiteY1" fmla="*/ 12824 h 13839"/>
                <a:gd name="connsiteX2" fmla="*/ 16633 w 18537"/>
                <a:gd name="connsiteY2" fmla="*/ 11046 h 13839"/>
                <a:gd name="connsiteX3" fmla="*/ 18537 w 18537"/>
                <a:gd name="connsiteY3" fmla="*/ 6348 h 13839"/>
                <a:gd name="connsiteX4" fmla="*/ 16633 w 18537"/>
                <a:gd name="connsiteY4" fmla="*/ 1778 h 13839"/>
                <a:gd name="connsiteX5" fmla="*/ 14220 w 18537"/>
                <a:gd name="connsiteY5" fmla="*/ 0 h 13839"/>
                <a:gd name="connsiteX6" fmla="*/ 12824 w 18537"/>
                <a:gd name="connsiteY6" fmla="*/ 0 h 13839"/>
                <a:gd name="connsiteX7" fmla="*/ 11554 w 18537"/>
                <a:gd name="connsiteY7" fmla="*/ 0 h 13839"/>
                <a:gd name="connsiteX8" fmla="*/ 6856 w 18537"/>
                <a:gd name="connsiteY8" fmla="*/ 0 h 13839"/>
                <a:gd name="connsiteX9" fmla="*/ 0 w 18537"/>
                <a:gd name="connsiteY9" fmla="*/ 6856 h 13839"/>
                <a:gd name="connsiteX10" fmla="*/ 6856 w 18537"/>
                <a:gd name="connsiteY10" fmla="*/ 13840 h 13839"/>
                <a:gd name="connsiteX11" fmla="*/ 11554 w 18537"/>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37" h="13839">
                  <a:moveTo>
                    <a:pt x="12824" y="12824"/>
                  </a:moveTo>
                  <a:lnTo>
                    <a:pt x="14220" y="12824"/>
                  </a:lnTo>
                  <a:cubicBezTo>
                    <a:pt x="15150" y="12424"/>
                    <a:pt x="15975" y="11816"/>
                    <a:pt x="16633" y="11046"/>
                  </a:cubicBezTo>
                  <a:cubicBezTo>
                    <a:pt x="17844" y="9782"/>
                    <a:pt x="18526" y="8101"/>
                    <a:pt x="18537" y="6348"/>
                  </a:cubicBezTo>
                  <a:cubicBezTo>
                    <a:pt x="18533" y="4633"/>
                    <a:pt x="17848" y="2989"/>
                    <a:pt x="16633" y="1778"/>
                  </a:cubicBezTo>
                  <a:cubicBezTo>
                    <a:pt x="15975" y="1008"/>
                    <a:pt x="15150" y="400"/>
                    <a:pt x="14220" y="0"/>
                  </a:cubicBezTo>
                  <a:lnTo>
                    <a:pt x="12824" y="0"/>
                  </a:lnTo>
                  <a:lnTo>
                    <a:pt x="11554" y="0"/>
                  </a:lnTo>
                  <a:lnTo>
                    <a:pt x="6856" y="0"/>
                  </a:lnTo>
                  <a:cubicBezTo>
                    <a:pt x="3070" y="0"/>
                    <a:pt x="0" y="3070"/>
                    <a:pt x="0" y="6856"/>
                  </a:cubicBezTo>
                  <a:cubicBezTo>
                    <a:pt x="0" y="10664"/>
                    <a:pt x="3050" y="13770"/>
                    <a:pt x="6856" y="13840"/>
                  </a:cubicBezTo>
                  <a:lnTo>
                    <a:pt x="11554" y="13840"/>
                  </a:lnTo>
                  <a:close/>
                </a:path>
              </a:pathLst>
            </a:custGeom>
            <a:solidFill>
              <a:srgbClr val="000000"/>
            </a:solidFill>
            <a:ln w="12690" cap="flat">
              <a:no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3297F40B-CA1D-4705-A6AA-0BA6B9300E66}"/>
                </a:ext>
              </a:extLst>
            </p:cNvPr>
            <p:cNvSpPr/>
            <p:nvPr/>
          </p:nvSpPr>
          <p:spPr>
            <a:xfrm>
              <a:off x="268656" y="5978153"/>
              <a:ext cx="13898" cy="77831"/>
            </a:xfrm>
            <a:custGeom>
              <a:avLst/>
              <a:gdLst>
                <a:gd name="connsiteX0" fmla="*/ 5 w 13898"/>
                <a:gd name="connsiteY0" fmla="*/ 7237 h 77831"/>
                <a:gd name="connsiteX1" fmla="*/ 5 w 13898"/>
                <a:gd name="connsiteY1" fmla="*/ 77831 h 77831"/>
                <a:gd name="connsiteX2" fmla="*/ 6989 w 13898"/>
                <a:gd name="connsiteY2" fmla="*/ 70848 h 77831"/>
                <a:gd name="connsiteX3" fmla="*/ 13845 w 13898"/>
                <a:gd name="connsiteY3" fmla="*/ 77831 h 77831"/>
                <a:gd name="connsiteX4" fmla="*/ 13845 w 13898"/>
                <a:gd name="connsiteY4" fmla="*/ 7237 h 77831"/>
                <a:gd name="connsiteX5" fmla="*/ 13845 w 13898"/>
                <a:gd name="connsiteY5" fmla="*/ 5840 h 77831"/>
                <a:gd name="connsiteX6" fmla="*/ 13845 w 13898"/>
                <a:gd name="connsiteY6" fmla="*/ 4571 h 77831"/>
                <a:gd name="connsiteX7" fmla="*/ 13083 w 13898"/>
                <a:gd name="connsiteY7" fmla="*/ 3555 h 77831"/>
                <a:gd name="connsiteX8" fmla="*/ 10671 w 13898"/>
                <a:gd name="connsiteY8" fmla="*/ 1651 h 77831"/>
                <a:gd name="connsiteX9" fmla="*/ 6481 w 13898"/>
                <a:gd name="connsiteY9" fmla="*/ 0 h 77831"/>
                <a:gd name="connsiteX10" fmla="*/ 5 w 13898"/>
                <a:gd name="connsiteY10" fmla="*/ 7237 h 7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8" h="77831">
                  <a:moveTo>
                    <a:pt x="5" y="7237"/>
                  </a:moveTo>
                  <a:lnTo>
                    <a:pt x="5" y="77831"/>
                  </a:lnTo>
                  <a:cubicBezTo>
                    <a:pt x="5" y="73971"/>
                    <a:pt x="3131" y="70848"/>
                    <a:pt x="6989" y="70848"/>
                  </a:cubicBezTo>
                  <a:cubicBezTo>
                    <a:pt x="10795" y="70911"/>
                    <a:pt x="13845" y="74022"/>
                    <a:pt x="13845" y="77831"/>
                  </a:cubicBezTo>
                  <a:lnTo>
                    <a:pt x="13845" y="7237"/>
                  </a:lnTo>
                  <a:cubicBezTo>
                    <a:pt x="13916" y="6774"/>
                    <a:pt x="13916" y="6304"/>
                    <a:pt x="13845" y="5840"/>
                  </a:cubicBezTo>
                  <a:cubicBezTo>
                    <a:pt x="13916" y="5420"/>
                    <a:pt x="13916" y="4991"/>
                    <a:pt x="13845" y="4571"/>
                  </a:cubicBezTo>
                  <a:lnTo>
                    <a:pt x="13083" y="3555"/>
                  </a:lnTo>
                  <a:cubicBezTo>
                    <a:pt x="12416" y="2763"/>
                    <a:pt x="11596" y="2115"/>
                    <a:pt x="10671" y="1651"/>
                  </a:cubicBezTo>
                  <a:cubicBezTo>
                    <a:pt x="9500" y="644"/>
                    <a:pt x="8023" y="62"/>
                    <a:pt x="6481" y="0"/>
                  </a:cubicBezTo>
                  <a:cubicBezTo>
                    <a:pt x="2724" y="272"/>
                    <a:pt x="-142" y="3473"/>
                    <a:pt x="5" y="7237"/>
                  </a:cubicBezTo>
                  <a:close/>
                </a:path>
              </a:pathLst>
            </a:custGeom>
            <a:solidFill>
              <a:srgbClr val="000000"/>
            </a:solidFill>
            <a:ln w="12690" cap="flat">
              <a:noFill/>
              <a:prstDash val="solid"/>
              <a:miter/>
            </a:ln>
          </p:spPr>
          <p:txBody>
            <a:bodyPr rtlCol="0" anchor="ctr"/>
            <a:lstStyle/>
            <a:p>
              <a:endParaRPr lang="en-US"/>
            </a:p>
          </p:txBody>
        </p:sp>
        <p:sp>
          <p:nvSpPr>
            <p:cNvPr id="730" name="Freeform: Shape 729">
              <a:extLst>
                <a:ext uri="{FF2B5EF4-FFF2-40B4-BE49-F238E27FC236}">
                  <a16:creationId xmlns:a16="http://schemas.microsoft.com/office/drawing/2014/main" id="{9DC5C4CD-877D-4E07-9CED-69F1AC021CC9}"/>
                </a:ext>
              </a:extLst>
            </p:cNvPr>
            <p:cNvSpPr/>
            <p:nvPr/>
          </p:nvSpPr>
          <p:spPr>
            <a:xfrm>
              <a:off x="2651069" y="6461646"/>
              <a:ext cx="13839" cy="402867"/>
            </a:xfrm>
            <a:custGeom>
              <a:avLst/>
              <a:gdLst>
                <a:gd name="connsiteX0" fmla="*/ 6856 w 13839"/>
                <a:gd name="connsiteY0" fmla="*/ 6983 h 402867"/>
                <a:gd name="connsiteX1" fmla="*/ 0 w 13839"/>
                <a:gd name="connsiteY1" fmla="*/ 0 h 402867"/>
                <a:gd name="connsiteX2" fmla="*/ 0 w 13839"/>
                <a:gd name="connsiteY2" fmla="*/ 402868 h 402867"/>
                <a:gd name="connsiteX3" fmla="*/ 13839 w 13839"/>
                <a:gd name="connsiteY3" fmla="*/ 402868 h 402867"/>
                <a:gd name="connsiteX4" fmla="*/ 13839 w 13839"/>
                <a:gd name="connsiteY4" fmla="*/ 635 h 402867"/>
                <a:gd name="connsiteX5" fmla="*/ 6856 w 13839"/>
                <a:gd name="connsiteY5" fmla="*/ 6983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402867">
                  <a:moveTo>
                    <a:pt x="6856" y="6983"/>
                  </a:moveTo>
                  <a:cubicBezTo>
                    <a:pt x="3047" y="6920"/>
                    <a:pt x="0" y="3809"/>
                    <a:pt x="0" y="0"/>
                  </a:cubicBezTo>
                  <a:lnTo>
                    <a:pt x="0" y="402868"/>
                  </a:lnTo>
                  <a:lnTo>
                    <a:pt x="13839" y="402868"/>
                  </a:lnTo>
                  <a:lnTo>
                    <a:pt x="13839" y="635"/>
                  </a:lnTo>
                  <a:cubicBezTo>
                    <a:pt x="13509" y="4241"/>
                    <a:pt x="10475" y="6996"/>
                    <a:pt x="6856" y="6983"/>
                  </a:cubicBezTo>
                  <a:close/>
                </a:path>
              </a:pathLst>
            </a:custGeom>
            <a:solidFill>
              <a:srgbClr val="000000"/>
            </a:solidFill>
            <a:ln w="12690" cap="flat">
              <a:no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118F8244-8E76-4BB2-90C6-782488B1FB86}"/>
                </a:ext>
              </a:extLst>
            </p:cNvPr>
            <p:cNvSpPr/>
            <p:nvPr/>
          </p:nvSpPr>
          <p:spPr>
            <a:xfrm>
              <a:off x="1530840" y="6463169"/>
              <a:ext cx="13839" cy="7871"/>
            </a:xfrm>
            <a:custGeom>
              <a:avLst/>
              <a:gdLst>
                <a:gd name="connsiteX0" fmla="*/ 6856 w 13839"/>
                <a:gd name="connsiteY0" fmla="*/ 7872 h 7871"/>
                <a:gd name="connsiteX1" fmla="*/ 13839 w 13839"/>
                <a:gd name="connsiteY1" fmla="*/ 889 h 7871"/>
                <a:gd name="connsiteX2" fmla="*/ 13839 w 13839"/>
                <a:gd name="connsiteY2" fmla="*/ 0 h 7871"/>
                <a:gd name="connsiteX3" fmla="*/ 6856 w 13839"/>
                <a:gd name="connsiteY3" fmla="*/ 6856 h 7871"/>
                <a:gd name="connsiteX4" fmla="*/ 0 w 13839"/>
                <a:gd name="connsiteY4" fmla="*/ 0 h 7871"/>
                <a:gd name="connsiteX5" fmla="*/ 0 w 13839"/>
                <a:gd name="connsiteY5" fmla="*/ 889 h 7871"/>
                <a:gd name="connsiteX6" fmla="*/ 6856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856" y="7872"/>
                  </a:moveTo>
                  <a:cubicBezTo>
                    <a:pt x="10716" y="7872"/>
                    <a:pt x="13839" y="4748"/>
                    <a:pt x="13839" y="889"/>
                  </a:cubicBezTo>
                  <a:lnTo>
                    <a:pt x="13839" y="0"/>
                  </a:lnTo>
                  <a:cubicBezTo>
                    <a:pt x="13776" y="3809"/>
                    <a:pt x="10665" y="6856"/>
                    <a:pt x="6856" y="6856"/>
                  </a:cubicBezTo>
                  <a:cubicBezTo>
                    <a:pt x="3073"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endParaRPr lang="en-US"/>
            </a:p>
          </p:txBody>
        </p:sp>
        <p:sp>
          <p:nvSpPr>
            <p:cNvPr id="732" name="Freeform: Shape 731">
              <a:extLst>
                <a:ext uri="{FF2B5EF4-FFF2-40B4-BE49-F238E27FC236}">
                  <a16:creationId xmlns:a16="http://schemas.microsoft.com/office/drawing/2014/main" id="{50587095-7D0C-428B-A626-CC1882163EF6}"/>
                </a:ext>
              </a:extLst>
            </p:cNvPr>
            <p:cNvSpPr/>
            <p:nvPr/>
          </p:nvSpPr>
          <p:spPr>
            <a:xfrm>
              <a:off x="0" y="6079600"/>
              <a:ext cx="256346" cy="14474"/>
            </a:xfrm>
            <a:custGeom>
              <a:avLst/>
              <a:gdLst>
                <a:gd name="connsiteX0" fmla="*/ 249490 w 256346"/>
                <a:gd name="connsiteY0" fmla="*/ 6983 h 14474"/>
                <a:gd name="connsiteX1" fmla="*/ 256346 w 256346"/>
                <a:gd name="connsiteY1" fmla="*/ 0 h 14474"/>
                <a:gd name="connsiteX2" fmla="*/ 0 w 256346"/>
                <a:gd name="connsiteY2" fmla="*/ 0 h 14474"/>
                <a:gd name="connsiteX3" fmla="*/ 0 w 256346"/>
                <a:gd name="connsiteY3" fmla="*/ 14474 h 14474"/>
                <a:gd name="connsiteX4" fmla="*/ 256346 w 256346"/>
                <a:gd name="connsiteY4" fmla="*/ 14474 h 14474"/>
                <a:gd name="connsiteX5" fmla="*/ 249461 w 256346"/>
                <a:gd name="connsiteY5" fmla="*/ 7643 h 14474"/>
                <a:gd name="connsiteX6" fmla="*/ 249490 w 256346"/>
                <a:gd name="connsiteY6" fmla="*/ 6983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346" h="14474">
                  <a:moveTo>
                    <a:pt x="249490" y="6983"/>
                  </a:moveTo>
                  <a:cubicBezTo>
                    <a:pt x="249490" y="3174"/>
                    <a:pt x="252540" y="63"/>
                    <a:pt x="256346" y="0"/>
                  </a:cubicBezTo>
                  <a:lnTo>
                    <a:pt x="0" y="0"/>
                  </a:lnTo>
                  <a:lnTo>
                    <a:pt x="0" y="14474"/>
                  </a:lnTo>
                  <a:lnTo>
                    <a:pt x="256346" y="14474"/>
                  </a:lnTo>
                  <a:cubicBezTo>
                    <a:pt x="252560" y="14487"/>
                    <a:pt x="249477" y="11440"/>
                    <a:pt x="249461" y="7643"/>
                  </a:cubicBezTo>
                  <a:cubicBezTo>
                    <a:pt x="249460" y="7428"/>
                    <a:pt x="249470" y="7199"/>
                    <a:pt x="249490" y="6983"/>
                  </a:cubicBezTo>
                  <a:close/>
                </a:path>
              </a:pathLst>
            </a:custGeom>
            <a:solidFill>
              <a:srgbClr val="000000"/>
            </a:solidFill>
            <a:ln w="12690" cap="flat">
              <a:no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5258E783-1718-4A77-84DE-0F7FB00ECB10}"/>
                </a:ext>
              </a:extLst>
            </p:cNvPr>
            <p:cNvSpPr/>
            <p:nvPr/>
          </p:nvSpPr>
          <p:spPr>
            <a:xfrm>
              <a:off x="415562" y="6092932"/>
              <a:ext cx="7110" cy="1142"/>
            </a:xfrm>
            <a:custGeom>
              <a:avLst/>
              <a:gdLst>
                <a:gd name="connsiteX0" fmla="*/ 0 w 7110"/>
                <a:gd name="connsiteY0" fmla="*/ 1143 h 1142"/>
                <a:gd name="connsiteX1" fmla="*/ 7110 w 7110"/>
                <a:gd name="connsiteY1" fmla="*/ 1143 h 1142"/>
                <a:gd name="connsiteX2" fmla="*/ 3555 w 7110"/>
                <a:gd name="connsiteY2" fmla="*/ 0 h 1142"/>
                <a:gd name="connsiteX3" fmla="*/ 0 w 7110"/>
                <a:gd name="connsiteY3" fmla="*/ 1143 h 1142"/>
              </a:gdLst>
              <a:ahLst/>
              <a:cxnLst>
                <a:cxn ang="0">
                  <a:pos x="connsiteX0" y="connsiteY0"/>
                </a:cxn>
                <a:cxn ang="0">
                  <a:pos x="connsiteX1" y="connsiteY1"/>
                </a:cxn>
                <a:cxn ang="0">
                  <a:pos x="connsiteX2" y="connsiteY2"/>
                </a:cxn>
                <a:cxn ang="0">
                  <a:pos x="connsiteX3" y="connsiteY3"/>
                </a:cxn>
              </a:cxnLst>
              <a:rect l="l" t="t" r="r" b="b"/>
              <a:pathLst>
                <a:path w="7110" h="1142">
                  <a:moveTo>
                    <a:pt x="0" y="1143"/>
                  </a:moveTo>
                  <a:lnTo>
                    <a:pt x="7110" y="1143"/>
                  </a:lnTo>
                  <a:cubicBezTo>
                    <a:pt x="5840" y="1117"/>
                    <a:pt x="4605" y="711"/>
                    <a:pt x="3555" y="0"/>
                  </a:cubicBezTo>
                  <a:cubicBezTo>
                    <a:pt x="2489" y="686"/>
                    <a:pt x="1263" y="1079"/>
                    <a:pt x="0" y="1143"/>
                  </a:cubicBezTo>
                  <a:close/>
                </a:path>
              </a:pathLst>
            </a:custGeom>
            <a:solidFill>
              <a:srgbClr val="000000"/>
            </a:solidFill>
            <a:ln w="12690" cap="flat">
              <a:noFill/>
              <a:prstDash val="solid"/>
              <a:miter/>
            </a:ln>
          </p:spPr>
          <p:txBody>
            <a:bodyPr rtlCol="0" anchor="ctr"/>
            <a:lstStyle/>
            <a:p>
              <a:endParaRPr lang="en-US"/>
            </a:p>
          </p:txBody>
        </p:sp>
        <p:sp>
          <p:nvSpPr>
            <p:cNvPr id="734" name="Freeform: Shape 733">
              <a:extLst>
                <a:ext uri="{FF2B5EF4-FFF2-40B4-BE49-F238E27FC236}">
                  <a16:creationId xmlns:a16="http://schemas.microsoft.com/office/drawing/2014/main" id="{9D295DB9-AA0D-49B0-9752-7FEF285B497B}"/>
                </a:ext>
              </a:extLst>
            </p:cNvPr>
            <p:cNvSpPr/>
            <p:nvPr/>
          </p:nvSpPr>
          <p:spPr>
            <a:xfrm>
              <a:off x="415435" y="6079600"/>
              <a:ext cx="7110" cy="1777"/>
            </a:xfrm>
            <a:custGeom>
              <a:avLst/>
              <a:gdLst>
                <a:gd name="connsiteX0" fmla="*/ 127 w 7110"/>
                <a:gd name="connsiteY0" fmla="*/ 0 h 1777"/>
                <a:gd name="connsiteX1" fmla="*/ 3555 w 7110"/>
                <a:gd name="connsiteY1" fmla="*/ 1778 h 1777"/>
                <a:gd name="connsiteX2" fmla="*/ 7110 w 7110"/>
                <a:gd name="connsiteY2" fmla="*/ 635 h 1777"/>
                <a:gd name="connsiteX3" fmla="*/ 0 w 7110"/>
                <a:gd name="connsiteY3" fmla="*/ 635 h 1777"/>
              </a:gdLst>
              <a:ahLst/>
              <a:cxnLst>
                <a:cxn ang="0">
                  <a:pos x="connsiteX0" y="connsiteY0"/>
                </a:cxn>
                <a:cxn ang="0">
                  <a:pos x="connsiteX1" y="connsiteY1"/>
                </a:cxn>
                <a:cxn ang="0">
                  <a:pos x="connsiteX2" y="connsiteY2"/>
                </a:cxn>
                <a:cxn ang="0">
                  <a:pos x="connsiteX3" y="connsiteY3"/>
                </a:cxn>
              </a:cxnLst>
              <a:rect l="l" t="t" r="r" b="b"/>
              <a:pathLst>
                <a:path w="7110" h="1777">
                  <a:moveTo>
                    <a:pt x="127" y="0"/>
                  </a:moveTo>
                  <a:cubicBezTo>
                    <a:pt x="1407" y="279"/>
                    <a:pt x="2591" y="889"/>
                    <a:pt x="3555" y="1778"/>
                  </a:cubicBezTo>
                  <a:cubicBezTo>
                    <a:pt x="4605" y="1067"/>
                    <a:pt x="5840" y="660"/>
                    <a:pt x="7110" y="635"/>
                  </a:cubicBezTo>
                  <a:lnTo>
                    <a:pt x="0" y="635"/>
                  </a:lnTo>
                  <a:close/>
                </a:path>
              </a:pathLst>
            </a:custGeom>
            <a:solidFill>
              <a:srgbClr val="000000"/>
            </a:solidFill>
            <a:ln w="12690" cap="flat">
              <a:no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98D1B270-838F-4DF9-A830-895C15B0E2C4}"/>
                </a:ext>
              </a:extLst>
            </p:cNvPr>
            <p:cNvSpPr/>
            <p:nvPr/>
          </p:nvSpPr>
          <p:spPr>
            <a:xfrm>
              <a:off x="247458" y="6884701"/>
              <a:ext cx="12696" cy="4697"/>
            </a:xfrm>
            <a:custGeom>
              <a:avLst/>
              <a:gdLst>
                <a:gd name="connsiteX0" fmla="*/ 6475 w 12696"/>
                <a:gd name="connsiteY0" fmla="*/ 0 h 4697"/>
                <a:gd name="connsiteX1" fmla="*/ 0 w 12696"/>
                <a:gd name="connsiteY1" fmla="*/ 4698 h 4697"/>
                <a:gd name="connsiteX2" fmla="*/ 12697 w 12696"/>
                <a:gd name="connsiteY2" fmla="*/ 4698 h 4697"/>
                <a:gd name="connsiteX3" fmla="*/ 6475 w 12696"/>
                <a:gd name="connsiteY3" fmla="*/ 0 h 4697"/>
              </a:gdLst>
              <a:ahLst/>
              <a:cxnLst>
                <a:cxn ang="0">
                  <a:pos x="connsiteX0" y="connsiteY0"/>
                </a:cxn>
                <a:cxn ang="0">
                  <a:pos x="connsiteX1" y="connsiteY1"/>
                </a:cxn>
                <a:cxn ang="0">
                  <a:pos x="connsiteX2" y="connsiteY2"/>
                </a:cxn>
                <a:cxn ang="0">
                  <a:pos x="connsiteX3" y="connsiteY3"/>
                </a:cxn>
              </a:cxnLst>
              <a:rect l="l" t="t" r="r" b="b"/>
              <a:pathLst>
                <a:path w="12696" h="4697">
                  <a:moveTo>
                    <a:pt x="6475" y="0"/>
                  </a:moveTo>
                  <a:cubicBezTo>
                    <a:pt x="3520" y="-25"/>
                    <a:pt x="893" y="1879"/>
                    <a:pt x="0" y="4698"/>
                  </a:cubicBezTo>
                  <a:lnTo>
                    <a:pt x="12697" y="4698"/>
                  </a:lnTo>
                  <a:cubicBezTo>
                    <a:pt x="11802" y="1994"/>
                    <a:pt x="9324" y="115"/>
                    <a:pt x="6475" y="0"/>
                  </a:cubicBezTo>
                  <a:close/>
                </a:path>
              </a:pathLst>
            </a:custGeom>
            <a:solidFill>
              <a:srgbClr val="000000"/>
            </a:solidFill>
            <a:ln w="12690" cap="flat">
              <a:no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D5A1EA57-D423-4877-BC3C-9187473EDA85}"/>
                </a:ext>
              </a:extLst>
            </p:cNvPr>
            <p:cNvSpPr/>
            <p:nvPr/>
          </p:nvSpPr>
          <p:spPr>
            <a:xfrm>
              <a:off x="2385835" y="6462026"/>
              <a:ext cx="13839" cy="402486"/>
            </a:xfrm>
            <a:custGeom>
              <a:avLst/>
              <a:gdLst>
                <a:gd name="connsiteX0" fmla="*/ 13078 w 13839"/>
                <a:gd name="connsiteY0" fmla="*/ 1524 h 402486"/>
                <a:gd name="connsiteX1" fmla="*/ 13078 w 13839"/>
                <a:gd name="connsiteY1" fmla="*/ 635 h 402486"/>
                <a:gd name="connsiteX2" fmla="*/ 13078 w 13839"/>
                <a:gd name="connsiteY2" fmla="*/ 0 h 402486"/>
                <a:gd name="connsiteX3" fmla="*/ 13078 w 13839"/>
                <a:gd name="connsiteY3" fmla="*/ 0 h 402486"/>
                <a:gd name="connsiteX4" fmla="*/ 6475 w 13839"/>
                <a:gd name="connsiteY4" fmla="*/ 5079 h 402486"/>
                <a:gd name="connsiteX5" fmla="*/ 0 w 13839"/>
                <a:gd name="connsiteY5" fmla="*/ 0 h 402486"/>
                <a:gd name="connsiteX6" fmla="*/ 0 w 13839"/>
                <a:gd name="connsiteY6" fmla="*/ 0 h 402486"/>
                <a:gd name="connsiteX7" fmla="*/ 0 w 13839"/>
                <a:gd name="connsiteY7" fmla="*/ 635 h 402486"/>
                <a:gd name="connsiteX8" fmla="*/ 0 w 13839"/>
                <a:gd name="connsiteY8" fmla="*/ 1524 h 402486"/>
                <a:gd name="connsiteX9" fmla="*/ 0 w 13839"/>
                <a:gd name="connsiteY9" fmla="*/ 402487 h 402486"/>
                <a:gd name="connsiteX10" fmla="*/ 13839 w 13839"/>
                <a:gd name="connsiteY10" fmla="*/ 402487 h 402486"/>
                <a:gd name="connsiteX11" fmla="*/ 13839 w 13839"/>
                <a:gd name="connsiteY11" fmla="*/ 1524 h 40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402486">
                  <a:moveTo>
                    <a:pt x="13078" y="1524"/>
                  </a:moveTo>
                  <a:cubicBezTo>
                    <a:pt x="13078" y="1524"/>
                    <a:pt x="13078" y="1524"/>
                    <a:pt x="13078" y="635"/>
                  </a:cubicBezTo>
                  <a:cubicBezTo>
                    <a:pt x="13154" y="432"/>
                    <a:pt x="13154" y="203"/>
                    <a:pt x="13078" y="0"/>
                  </a:cubicBezTo>
                  <a:lnTo>
                    <a:pt x="13078" y="0"/>
                  </a:lnTo>
                  <a:cubicBezTo>
                    <a:pt x="12239" y="2958"/>
                    <a:pt x="9560" y="5028"/>
                    <a:pt x="6475" y="5079"/>
                  </a:cubicBezTo>
                  <a:cubicBezTo>
                    <a:pt x="3415" y="5053"/>
                    <a:pt x="749" y="2971"/>
                    <a:pt x="0" y="0"/>
                  </a:cubicBezTo>
                  <a:lnTo>
                    <a:pt x="0" y="0"/>
                  </a:lnTo>
                  <a:cubicBezTo>
                    <a:pt x="51" y="203"/>
                    <a:pt x="51" y="432"/>
                    <a:pt x="0" y="635"/>
                  </a:cubicBezTo>
                  <a:cubicBezTo>
                    <a:pt x="0" y="635"/>
                    <a:pt x="0" y="635"/>
                    <a:pt x="0" y="1524"/>
                  </a:cubicBezTo>
                  <a:lnTo>
                    <a:pt x="0" y="402487"/>
                  </a:lnTo>
                  <a:lnTo>
                    <a:pt x="13839" y="402487"/>
                  </a:lnTo>
                  <a:lnTo>
                    <a:pt x="13839" y="1524"/>
                  </a:lnTo>
                  <a:close/>
                </a:path>
              </a:pathLst>
            </a:custGeom>
            <a:solidFill>
              <a:srgbClr val="000000"/>
            </a:solidFill>
            <a:ln w="12690" cap="flat">
              <a:noFill/>
              <a:prstDash val="solid"/>
              <a:miter/>
            </a:ln>
          </p:spPr>
          <p:txBody>
            <a:bodyPr rtlCol="0" anchor="ctr"/>
            <a:lstStyle/>
            <a:p>
              <a:endParaRPr lang="en-US"/>
            </a:p>
          </p:txBody>
        </p:sp>
        <p:sp>
          <p:nvSpPr>
            <p:cNvPr id="737" name="Freeform: Shape 736">
              <a:extLst>
                <a:ext uri="{FF2B5EF4-FFF2-40B4-BE49-F238E27FC236}">
                  <a16:creationId xmlns:a16="http://schemas.microsoft.com/office/drawing/2014/main" id="{FC699F03-61BE-459F-9073-5AD96AB6D33D}"/>
                </a:ext>
              </a:extLst>
            </p:cNvPr>
            <p:cNvSpPr/>
            <p:nvPr/>
          </p:nvSpPr>
          <p:spPr>
            <a:xfrm>
              <a:off x="2384692" y="6463169"/>
              <a:ext cx="13896" cy="7871"/>
            </a:xfrm>
            <a:custGeom>
              <a:avLst/>
              <a:gdLst>
                <a:gd name="connsiteX0" fmla="*/ 762 w 13896"/>
                <a:gd name="connsiteY0" fmla="*/ 2793 h 7871"/>
                <a:gd name="connsiteX1" fmla="*/ 7237 w 13896"/>
                <a:gd name="connsiteY1" fmla="*/ 7872 h 7871"/>
                <a:gd name="connsiteX2" fmla="*/ 13839 w 13896"/>
                <a:gd name="connsiteY2" fmla="*/ 2793 h 7871"/>
                <a:gd name="connsiteX3" fmla="*/ 13839 w 13896"/>
                <a:gd name="connsiteY3" fmla="*/ 889 h 7871"/>
                <a:gd name="connsiteX4" fmla="*/ 13839 w 13896"/>
                <a:gd name="connsiteY4" fmla="*/ 0 h 7871"/>
                <a:gd name="connsiteX5" fmla="*/ 6856 w 13896"/>
                <a:gd name="connsiteY5" fmla="*/ 6856 h 7871"/>
                <a:gd name="connsiteX6" fmla="*/ 0 w 13896"/>
                <a:gd name="connsiteY6" fmla="*/ 0 h 7871"/>
                <a:gd name="connsiteX7" fmla="*/ 0 w 13896"/>
                <a:gd name="connsiteY7" fmla="*/ 889 h 7871"/>
                <a:gd name="connsiteX8" fmla="*/ 762 w 13896"/>
                <a:gd name="connsiteY8" fmla="*/ 2793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96" h="7871">
                  <a:moveTo>
                    <a:pt x="762" y="2793"/>
                  </a:moveTo>
                  <a:cubicBezTo>
                    <a:pt x="1511" y="5764"/>
                    <a:pt x="4177" y="7847"/>
                    <a:pt x="7237" y="7872"/>
                  </a:cubicBezTo>
                  <a:cubicBezTo>
                    <a:pt x="10322" y="7821"/>
                    <a:pt x="13001" y="5751"/>
                    <a:pt x="13839" y="2793"/>
                  </a:cubicBezTo>
                  <a:cubicBezTo>
                    <a:pt x="13915" y="2158"/>
                    <a:pt x="13915" y="1524"/>
                    <a:pt x="13839" y="889"/>
                  </a:cubicBezTo>
                  <a:lnTo>
                    <a:pt x="13839" y="0"/>
                  </a:lnTo>
                  <a:cubicBezTo>
                    <a:pt x="13776" y="3809"/>
                    <a:pt x="10665" y="6856"/>
                    <a:pt x="6856" y="6856"/>
                  </a:cubicBezTo>
                  <a:cubicBezTo>
                    <a:pt x="3072" y="6856"/>
                    <a:pt x="0" y="3783"/>
                    <a:pt x="0" y="0"/>
                  </a:cubicBezTo>
                  <a:lnTo>
                    <a:pt x="0" y="889"/>
                  </a:lnTo>
                  <a:cubicBezTo>
                    <a:pt x="178" y="1549"/>
                    <a:pt x="432" y="2196"/>
                    <a:pt x="762" y="2793"/>
                  </a:cubicBezTo>
                  <a:close/>
                </a:path>
              </a:pathLst>
            </a:custGeom>
            <a:solidFill>
              <a:srgbClr val="000000"/>
            </a:solidFill>
            <a:ln w="12690" cap="flat">
              <a:noFill/>
              <a:prstDash val="solid"/>
              <a:miter/>
            </a:ln>
          </p:spPr>
          <p:txBody>
            <a:bodyPr rtlCol="0" anchor="ctr"/>
            <a:lstStyle/>
            <a:p>
              <a:endParaRPr lang="en-US"/>
            </a:p>
          </p:txBody>
        </p:sp>
        <p:sp>
          <p:nvSpPr>
            <p:cNvPr id="738" name="Freeform: Shape 737">
              <a:extLst>
                <a:ext uri="{FF2B5EF4-FFF2-40B4-BE49-F238E27FC236}">
                  <a16:creationId xmlns:a16="http://schemas.microsoft.com/office/drawing/2014/main" id="{31DB0B2A-9516-489C-B749-309214604DF5}"/>
                </a:ext>
              </a:extLst>
            </p:cNvPr>
            <p:cNvSpPr/>
            <p:nvPr/>
          </p:nvSpPr>
          <p:spPr>
            <a:xfrm>
              <a:off x="2385270" y="6379972"/>
              <a:ext cx="13953" cy="89546"/>
            </a:xfrm>
            <a:custGeom>
              <a:avLst/>
              <a:gdLst>
                <a:gd name="connsiteX0" fmla="*/ 57 w 13953"/>
                <a:gd name="connsiteY0" fmla="*/ 5240 h 89546"/>
                <a:gd name="connsiteX1" fmla="*/ 57 w 13953"/>
                <a:gd name="connsiteY1" fmla="*/ 6509 h 89546"/>
                <a:gd name="connsiteX2" fmla="*/ 57 w 13953"/>
                <a:gd name="connsiteY2" fmla="*/ 82690 h 89546"/>
                <a:gd name="connsiteX3" fmla="*/ 6913 w 13953"/>
                <a:gd name="connsiteY3" fmla="*/ 89546 h 89546"/>
                <a:gd name="connsiteX4" fmla="*/ 13897 w 13953"/>
                <a:gd name="connsiteY4" fmla="*/ 82690 h 89546"/>
                <a:gd name="connsiteX5" fmla="*/ 13897 w 13953"/>
                <a:gd name="connsiteY5" fmla="*/ 6509 h 89546"/>
                <a:gd name="connsiteX6" fmla="*/ 13897 w 13953"/>
                <a:gd name="connsiteY6" fmla="*/ 5240 h 89546"/>
                <a:gd name="connsiteX7" fmla="*/ 13897 w 13953"/>
                <a:gd name="connsiteY7" fmla="*/ 3843 h 89546"/>
                <a:gd name="connsiteX8" fmla="*/ 13897 w 13953"/>
                <a:gd name="connsiteY8" fmla="*/ 2700 h 89546"/>
                <a:gd name="connsiteX9" fmla="*/ 13135 w 13953"/>
                <a:gd name="connsiteY9" fmla="*/ 1684 h 89546"/>
                <a:gd name="connsiteX10" fmla="*/ 11992 w 13953"/>
                <a:gd name="connsiteY10" fmla="*/ 923 h 89546"/>
                <a:gd name="connsiteX11" fmla="*/ 10976 w 13953"/>
                <a:gd name="connsiteY11" fmla="*/ 161 h 89546"/>
                <a:gd name="connsiteX12" fmla="*/ 9707 w 13953"/>
                <a:gd name="connsiteY12" fmla="*/ 161 h 89546"/>
                <a:gd name="connsiteX13" fmla="*/ 8183 w 13953"/>
                <a:gd name="connsiteY13" fmla="*/ 161 h 89546"/>
                <a:gd name="connsiteX14" fmla="*/ 57 w 13953"/>
                <a:gd name="connsiteY14" fmla="*/ 5240 h 8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53" h="89546">
                  <a:moveTo>
                    <a:pt x="57" y="5240"/>
                  </a:moveTo>
                  <a:cubicBezTo>
                    <a:pt x="-19" y="5659"/>
                    <a:pt x="-19" y="6090"/>
                    <a:pt x="57" y="6509"/>
                  </a:cubicBezTo>
                  <a:lnTo>
                    <a:pt x="57" y="82690"/>
                  </a:lnTo>
                  <a:cubicBezTo>
                    <a:pt x="57" y="86473"/>
                    <a:pt x="3130" y="89546"/>
                    <a:pt x="6913" y="89546"/>
                  </a:cubicBezTo>
                  <a:cubicBezTo>
                    <a:pt x="10722" y="89546"/>
                    <a:pt x="13833" y="86499"/>
                    <a:pt x="13897" y="82690"/>
                  </a:cubicBezTo>
                  <a:lnTo>
                    <a:pt x="13897" y="6509"/>
                  </a:lnTo>
                  <a:cubicBezTo>
                    <a:pt x="13897" y="6509"/>
                    <a:pt x="13897" y="5620"/>
                    <a:pt x="13897" y="5240"/>
                  </a:cubicBezTo>
                  <a:cubicBezTo>
                    <a:pt x="13973" y="4782"/>
                    <a:pt x="13973" y="4300"/>
                    <a:pt x="13897" y="3843"/>
                  </a:cubicBezTo>
                  <a:cubicBezTo>
                    <a:pt x="13935" y="3462"/>
                    <a:pt x="13935" y="3081"/>
                    <a:pt x="13897" y="2700"/>
                  </a:cubicBezTo>
                  <a:lnTo>
                    <a:pt x="13135" y="1684"/>
                  </a:lnTo>
                  <a:cubicBezTo>
                    <a:pt x="13135" y="1684"/>
                    <a:pt x="12373" y="1684"/>
                    <a:pt x="11992" y="923"/>
                  </a:cubicBezTo>
                  <a:cubicBezTo>
                    <a:pt x="11713" y="605"/>
                    <a:pt x="11370" y="339"/>
                    <a:pt x="10976" y="161"/>
                  </a:cubicBezTo>
                  <a:cubicBezTo>
                    <a:pt x="10557" y="47"/>
                    <a:pt x="10126" y="47"/>
                    <a:pt x="9707" y="161"/>
                  </a:cubicBezTo>
                  <a:cubicBezTo>
                    <a:pt x="9199" y="97"/>
                    <a:pt x="8691" y="97"/>
                    <a:pt x="8183" y="161"/>
                  </a:cubicBezTo>
                  <a:cubicBezTo>
                    <a:pt x="4539" y="-639"/>
                    <a:pt x="933" y="1621"/>
                    <a:pt x="57" y="5240"/>
                  </a:cubicBezTo>
                  <a:close/>
                </a:path>
              </a:pathLst>
            </a:custGeom>
            <a:solidFill>
              <a:srgbClr val="000000"/>
            </a:solidFill>
            <a:ln w="12690" cap="flat">
              <a:no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F83E73BE-2BC0-4161-A7B8-D70C8BA5B596}"/>
                </a:ext>
              </a:extLst>
            </p:cNvPr>
            <p:cNvSpPr/>
            <p:nvPr/>
          </p:nvSpPr>
          <p:spPr>
            <a:xfrm>
              <a:off x="1975986" y="6464693"/>
              <a:ext cx="13839" cy="8125"/>
            </a:xfrm>
            <a:custGeom>
              <a:avLst/>
              <a:gdLst>
                <a:gd name="connsiteX0" fmla="*/ 6856 w 13839"/>
                <a:gd name="connsiteY0" fmla="*/ 6983 h 8125"/>
                <a:gd name="connsiteX1" fmla="*/ 0 w 13839"/>
                <a:gd name="connsiteY1" fmla="*/ 0 h 8125"/>
                <a:gd name="connsiteX2" fmla="*/ 0 w 13839"/>
                <a:gd name="connsiteY2" fmla="*/ 1270 h 8125"/>
                <a:gd name="connsiteX3" fmla="*/ 6856 w 13839"/>
                <a:gd name="connsiteY3" fmla="*/ 8126 h 8125"/>
                <a:gd name="connsiteX4" fmla="*/ 13839 w 13839"/>
                <a:gd name="connsiteY4" fmla="*/ 1270 h 8125"/>
                <a:gd name="connsiteX5" fmla="*/ 13839 w 13839"/>
                <a:gd name="connsiteY5" fmla="*/ 0 h 8125"/>
                <a:gd name="connsiteX6" fmla="*/ 6856 w 13839"/>
                <a:gd name="connsiteY6" fmla="*/ 6983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125">
                  <a:moveTo>
                    <a:pt x="6856" y="6983"/>
                  </a:moveTo>
                  <a:cubicBezTo>
                    <a:pt x="3047" y="6920"/>
                    <a:pt x="0" y="3809"/>
                    <a:pt x="0" y="0"/>
                  </a:cubicBezTo>
                  <a:lnTo>
                    <a:pt x="0" y="1270"/>
                  </a:lnTo>
                  <a:cubicBezTo>
                    <a:pt x="0" y="5053"/>
                    <a:pt x="3072" y="8126"/>
                    <a:pt x="6856" y="8126"/>
                  </a:cubicBezTo>
                  <a:cubicBezTo>
                    <a:pt x="10665" y="8126"/>
                    <a:pt x="13776" y="5079"/>
                    <a:pt x="13839" y="1270"/>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BDDD4B1A-5D57-42F4-99B4-EA2AA66B5FBF}"/>
                </a:ext>
              </a:extLst>
            </p:cNvPr>
            <p:cNvSpPr/>
            <p:nvPr/>
          </p:nvSpPr>
          <p:spPr>
            <a:xfrm>
              <a:off x="3180902" y="6462280"/>
              <a:ext cx="13712" cy="402867"/>
            </a:xfrm>
            <a:custGeom>
              <a:avLst/>
              <a:gdLst>
                <a:gd name="connsiteX0" fmla="*/ 13712 w 13712"/>
                <a:gd name="connsiteY0" fmla="*/ 0 h 402867"/>
                <a:gd name="connsiteX1" fmla="*/ 6856 w 13712"/>
                <a:gd name="connsiteY1" fmla="*/ 6856 h 402867"/>
                <a:gd name="connsiteX2" fmla="*/ 0 w 13712"/>
                <a:gd name="connsiteY2" fmla="*/ 0 h 402867"/>
                <a:gd name="connsiteX3" fmla="*/ 0 w 13712"/>
                <a:gd name="connsiteY3" fmla="*/ 402868 h 402867"/>
                <a:gd name="connsiteX4" fmla="*/ 13712 w 13712"/>
                <a:gd name="connsiteY4" fmla="*/ 402868 h 402867"/>
                <a:gd name="connsiteX5" fmla="*/ 13712 w 13712"/>
                <a:gd name="connsiteY5" fmla="*/ 0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402867">
                  <a:moveTo>
                    <a:pt x="13712" y="0"/>
                  </a:moveTo>
                  <a:cubicBezTo>
                    <a:pt x="13712" y="3784"/>
                    <a:pt x="10640" y="6856"/>
                    <a:pt x="6856" y="6856"/>
                  </a:cubicBezTo>
                  <a:cubicBezTo>
                    <a:pt x="3073" y="6856"/>
                    <a:pt x="0" y="3784"/>
                    <a:pt x="0" y="0"/>
                  </a:cubicBezTo>
                  <a:lnTo>
                    <a:pt x="0" y="402868"/>
                  </a:lnTo>
                  <a:lnTo>
                    <a:pt x="13712" y="402868"/>
                  </a:lnTo>
                  <a:lnTo>
                    <a:pt x="13712" y="0"/>
                  </a:lnTo>
                  <a:close/>
                </a:path>
              </a:pathLst>
            </a:custGeom>
            <a:solidFill>
              <a:srgbClr val="000000"/>
            </a:solidFill>
            <a:ln w="12690" cap="flat">
              <a:noFill/>
              <a:prstDash val="solid"/>
              <a:miter/>
            </a:ln>
          </p:spPr>
          <p:txBody>
            <a:bodyPr rtlCol="0" anchor="ctr"/>
            <a:lstStyle/>
            <a:p>
              <a:endParaRPr lang="en-US"/>
            </a:p>
          </p:txBody>
        </p:sp>
        <p:sp>
          <p:nvSpPr>
            <p:cNvPr id="741" name="Freeform: Shape 740">
              <a:extLst>
                <a:ext uri="{FF2B5EF4-FFF2-40B4-BE49-F238E27FC236}">
                  <a16:creationId xmlns:a16="http://schemas.microsoft.com/office/drawing/2014/main" id="{F19459C9-A9C8-400D-874D-5A58D8357FB8}"/>
                </a:ext>
              </a:extLst>
            </p:cNvPr>
            <p:cNvSpPr/>
            <p:nvPr/>
          </p:nvSpPr>
          <p:spPr>
            <a:xfrm>
              <a:off x="1427616" y="6767637"/>
              <a:ext cx="13839" cy="27425"/>
            </a:xfrm>
            <a:custGeom>
              <a:avLst/>
              <a:gdLst>
                <a:gd name="connsiteX0" fmla="*/ 13839 w 13839"/>
                <a:gd name="connsiteY0" fmla="*/ 1270 h 27425"/>
                <a:gd name="connsiteX1" fmla="*/ 13839 w 13839"/>
                <a:gd name="connsiteY1" fmla="*/ 0 h 27425"/>
                <a:gd name="connsiteX2" fmla="*/ 6856 w 13839"/>
                <a:gd name="connsiteY2" fmla="*/ 6856 h 27425"/>
                <a:gd name="connsiteX3" fmla="*/ 0 w 13839"/>
                <a:gd name="connsiteY3" fmla="*/ 0 h 27425"/>
                <a:gd name="connsiteX4" fmla="*/ 0 w 13839"/>
                <a:gd name="connsiteY4" fmla="*/ 20442 h 27425"/>
                <a:gd name="connsiteX5" fmla="*/ 6856 w 13839"/>
                <a:gd name="connsiteY5" fmla="*/ 27425 h 27425"/>
                <a:gd name="connsiteX6" fmla="*/ 13839 w 13839"/>
                <a:gd name="connsiteY6" fmla="*/ 20442 h 27425"/>
                <a:gd name="connsiteX7" fmla="*/ 13839 w 13839"/>
                <a:gd name="connsiteY7" fmla="*/ 1270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7425">
                  <a:moveTo>
                    <a:pt x="13839" y="1270"/>
                  </a:moveTo>
                  <a:lnTo>
                    <a:pt x="13839" y="0"/>
                  </a:lnTo>
                  <a:cubicBezTo>
                    <a:pt x="13776" y="3809"/>
                    <a:pt x="10665" y="6856"/>
                    <a:pt x="6856" y="6856"/>
                  </a:cubicBezTo>
                  <a:cubicBezTo>
                    <a:pt x="3073" y="6856"/>
                    <a:pt x="0" y="3784"/>
                    <a:pt x="0" y="0"/>
                  </a:cubicBezTo>
                  <a:lnTo>
                    <a:pt x="0" y="20442"/>
                  </a:lnTo>
                  <a:cubicBezTo>
                    <a:pt x="0" y="24251"/>
                    <a:pt x="3047" y="27361"/>
                    <a:pt x="6856" y="27425"/>
                  </a:cubicBezTo>
                  <a:cubicBezTo>
                    <a:pt x="10716" y="27425"/>
                    <a:pt x="13839" y="24302"/>
                    <a:pt x="13839" y="20442"/>
                  </a:cubicBezTo>
                  <a:lnTo>
                    <a:pt x="13839" y="1270"/>
                  </a:lnTo>
                  <a:close/>
                </a:path>
              </a:pathLst>
            </a:custGeom>
            <a:solidFill>
              <a:srgbClr val="000000"/>
            </a:solidFill>
            <a:ln w="12690" cap="flat">
              <a:noFill/>
              <a:prstDash val="solid"/>
              <a:miter/>
            </a:ln>
          </p:spPr>
          <p:txBody>
            <a:bodyPr rtlCol="0" anchor="ctr"/>
            <a:lstStyle/>
            <a:p>
              <a:endParaRPr lang="en-US"/>
            </a:p>
          </p:txBody>
        </p:sp>
        <p:sp>
          <p:nvSpPr>
            <p:cNvPr id="742" name="Freeform: Shape 741">
              <a:extLst>
                <a:ext uri="{FF2B5EF4-FFF2-40B4-BE49-F238E27FC236}">
                  <a16:creationId xmlns:a16="http://schemas.microsoft.com/office/drawing/2014/main" id="{33ABF697-208F-4941-BCAC-64BAB96BA7D0}"/>
                </a:ext>
              </a:extLst>
            </p:cNvPr>
            <p:cNvSpPr/>
            <p:nvPr/>
          </p:nvSpPr>
          <p:spPr>
            <a:xfrm>
              <a:off x="279327" y="6074014"/>
              <a:ext cx="3174" cy="5586"/>
            </a:xfrm>
            <a:custGeom>
              <a:avLst/>
              <a:gdLst>
                <a:gd name="connsiteX0" fmla="*/ 3174 w 3174"/>
                <a:gd name="connsiteY0" fmla="*/ 1270 h 5586"/>
                <a:gd name="connsiteX1" fmla="*/ 3174 w 3174"/>
                <a:gd name="connsiteY1" fmla="*/ 0 h 5586"/>
                <a:gd name="connsiteX2" fmla="*/ 0 w 3174"/>
                <a:gd name="connsiteY2" fmla="*/ 5587 h 5586"/>
                <a:gd name="connsiteX3" fmla="*/ 2031 w 3174"/>
                <a:gd name="connsiteY3" fmla="*/ 5587 h 5586"/>
                <a:gd name="connsiteX4" fmla="*/ 3174 w 3174"/>
                <a:gd name="connsiteY4" fmla="*/ 2032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5586">
                  <a:moveTo>
                    <a:pt x="3174" y="1270"/>
                  </a:moveTo>
                  <a:lnTo>
                    <a:pt x="3174" y="0"/>
                  </a:lnTo>
                  <a:cubicBezTo>
                    <a:pt x="3179" y="2298"/>
                    <a:pt x="1973" y="4418"/>
                    <a:pt x="0" y="5587"/>
                  </a:cubicBezTo>
                  <a:lnTo>
                    <a:pt x="2031" y="5587"/>
                  </a:lnTo>
                  <a:cubicBezTo>
                    <a:pt x="2746" y="4533"/>
                    <a:pt x="3144" y="3301"/>
                    <a:pt x="3174" y="2032"/>
                  </a:cubicBezTo>
                  <a:close/>
                </a:path>
              </a:pathLst>
            </a:custGeom>
            <a:solidFill>
              <a:srgbClr val="000000"/>
            </a:solidFill>
            <a:ln w="12690" cap="flat">
              <a:noFill/>
              <a:prstDash val="solid"/>
              <a:miter/>
            </a:ln>
          </p:spPr>
          <p:txBody>
            <a:bodyPr rtlCol="0" anchor="ctr"/>
            <a:lstStyle/>
            <a:p>
              <a:endParaRPr lang="en-US"/>
            </a:p>
          </p:txBody>
        </p:sp>
        <p:sp>
          <p:nvSpPr>
            <p:cNvPr id="743" name="Freeform: Shape 742">
              <a:extLst>
                <a:ext uri="{FF2B5EF4-FFF2-40B4-BE49-F238E27FC236}">
                  <a16:creationId xmlns:a16="http://schemas.microsoft.com/office/drawing/2014/main" id="{C825EFB3-7BC4-4086-B2E5-9BD164520044}"/>
                </a:ext>
              </a:extLst>
            </p:cNvPr>
            <p:cNvSpPr/>
            <p:nvPr/>
          </p:nvSpPr>
          <p:spPr>
            <a:xfrm>
              <a:off x="268662" y="6074014"/>
              <a:ext cx="3301" cy="5586"/>
            </a:xfrm>
            <a:custGeom>
              <a:avLst/>
              <a:gdLst>
                <a:gd name="connsiteX0" fmla="*/ 0 w 3301"/>
                <a:gd name="connsiteY0" fmla="*/ 2032 h 5586"/>
                <a:gd name="connsiteX1" fmla="*/ 1270 w 3301"/>
                <a:gd name="connsiteY1" fmla="*/ 5587 h 5586"/>
                <a:gd name="connsiteX2" fmla="*/ 3301 w 3301"/>
                <a:gd name="connsiteY2" fmla="*/ 5587 h 5586"/>
                <a:gd name="connsiteX3" fmla="*/ 0 w 3301"/>
                <a:gd name="connsiteY3" fmla="*/ 0 h 5586"/>
              </a:gdLst>
              <a:ahLst/>
              <a:cxnLst>
                <a:cxn ang="0">
                  <a:pos x="connsiteX0" y="connsiteY0"/>
                </a:cxn>
                <a:cxn ang="0">
                  <a:pos x="connsiteX1" y="connsiteY1"/>
                </a:cxn>
                <a:cxn ang="0">
                  <a:pos x="connsiteX2" y="connsiteY2"/>
                </a:cxn>
                <a:cxn ang="0">
                  <a:pos x="connsiteX3" y="connsiteY3"/>
                </a:cxn>
              </a:cxnLst>
              <a:rect l="l" t="t" r="r" b="b"/>
              <a:pathLst>
                <a:path w="3301" h="5586">
                  <a:moveTo>
                    <a:pt x="0" y="2032"/>
                  </a:moveTo>
                  <a:cubicBezTo>
                    <a:pt x="8" y="3327"/>
                    <a:pt x="456" y="4584"/>
                    <a:pt x="1270" y="5587"/>
                  </a:cubicBezTo>
                  <a:lnTo>
                    <a:pt x="3301" y="5587"/>
                  </a:lnTo>
                  <a:cubicBezTo>
                    <a:pt x="1299" y="4431"/>
                    <a:pt x="46" y="2311"/>
                    <a:pt x="0" y="0"/>
                  </a:cubicBezTo>
                  <a:close/>
                </a:path>
              </a:pathLst>
            </a:custGeom>
            <a:solidFill>
              <a:srgbClr val="000000"/>
            </a:solidFill>
            <a:ln w="12690" cap="flat">
              <a:noFill/>
              <a:prstDash val="solid"/>
              <a:miter/>
            </a:ln>
          </p:spPr>
          <p:txBody>
            <a:bodyPr rtlCol="0" anchor="ctr"/>
            <a:lstStyle/>
            <a:p>
              <a:endParaRPr lang="en-US"/>
            </a:p>
          </p:txBody>
        </p:sp>
        <p:sp>
          <p:nvSpPr>
            <p:cNvPr id="744" name="Freeform: Shape 743">
              <a:extLst>
                <a:ext uri="{FF2B5EF4-FFF2-40B4-BE49-F238E27FC236}">
                  <a16:creationId xmlns:a16="http://schemas.microsoft.com/office/drawing/2014/main" id="{710DEBE5-6D52-4AE0-874F-89CCCC9EE955}"/>
                </a:ext>
              </a:extLst>
            </p:cNvPr>
            <p:cNvSpPr/>
            <p:nvPr/>
          </p:nvSpPr>
          <p:spPr>
            <a:xfrm>
              <a:off x="268662" y="6049001"/>
              <a:ext cx="13839" cy="30218"/>
            </a:xfrm>
            <a:custGeom>
              <a:avLst/>
              <a:gdLst>
                <a:gd name="connsiteX0" fmla="*/ 13839 w 13839"/>
                <a:gd name="connsiteY0" fmla="*/ 18029 h 30218"/>
                <a:gd name="connsiteX1" fmla="*/ 13839 w 13839"/>
                <a:gd name="connsiteY1" fmla="*/ 6983 h 30218"/>
                <a:gd name="connsiteX2" fmla="*/ 6983 w 13839"/>
                <a:gd name="connsiteY2" fmla="*/ 0 h 30218"/>
                <a:gd name="connsiteX3" fmla="*/ 0 w 13839"/>
                <a:gd name="connsiteY3" fmla="*/ 6983 h 30218"/>
                <a:gd name="connsiteX4" fmla="*/ 0 w 13839"/>
                <a:gd name="connsiteY4" fmla="*/ 24632 h 30218"/>
                <a:gd name="connsiteX5" fmla="*/ 3301 w 13839"/>
                <a:gd name="connsiteY5" fmla="*/ 30218 h 30218"/>
                <a:gd name="connsiteX6" fmla="*/ 10665 w 13839"/>
                <a:gd name="connsiteY6" fmla="*/ 30218 h 30218"/>
                <a:gd name="connsiteX7" fmla="*/ 13839 w 13839"/>
                <a:gd name="connsiteY7" fmla="*/ 24632 h 3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30218">
                  <a:moveTo>
                    <a:pt x="13839" y="18029"/>
                  </a:moveTo>
                  <a:lnTo>
                    <a:pt x="13839" y="6983"/>
                  </a:lnTo>
                  <a:cubicBezTo>
                    <a:pt x="13839" y="3174"/>
                    <a:pt x="10790" y="64"/>
                    <a:pt x="6983" y="0"/>
                  </a:cubicBezTo>
                  <a:cubicBezTo>
                    <a:pt x="3126" y="0"/>
                    <a:pt x="0" y="3123"/>
                    <a:pt x="0" y="6983"/>
                  </a:cubicBezTo>
                  <a:lnTo>
                    <a:pt x="0" y="24632"/>
                  </a:lnTo>
                  <a:cubicBezTo>
                    <a:pt x="46" y="26943"/>
                    <a:pt x="1299" y="29063"/>
                    <a:pt x="3301" y="30218"/>
                  </a:cubicBezTo>
                  <a:lnTo>
                    <a:pt x="10665" y="30218"/>
                  </a:lnTo>
                  <a:cubicBezTo>
                    <a:pt x="12638" y="29050"/>
                    <a:pt x="13844" y="26930"/>
                    <a:pt x="13839" y="24632"/>
                  </a:cubicBezTo>
                  <a:close/>
                </a:path>
              </a:pathLst>
            </a:custGeom>
            <a:solidFill>
              <a:srgbClr val="000000"/>
            </a:solidFill>
            <a:ln w="12690" cap="flat">
              <a:noFill/>
              <a:prstDash val="solid"/>
              <a:miter/>
            </a:ln>
          </p:spPr>
          <p:txBody>
            <a:bodyPr rtlCol="0" anchor="ctr"/>
            <a:lstStyle/>
            <a:p>
              <a:endParaRPr lang="en-US"/>
            </a:p>
          </p:txBody>
        </p:sp>
        <p:sp>
          <p:nvSpPr>
            <p:cNvPr id="745" name="Freeform: Shape 744">
              <a:extLst>
                <a:ext uri="{FF2B5EF4-FFF2-40B4-BE49-F238E27FC236}">
                  <a16:creationId xmlns:a16="http://schemas.microsoft.com/office/drawing/2014/main" id="{A2E444B5-AFCA-47C9-B781-36013FED35E4}"/>
                </a:ext>
              </a:extLst>
            </p:cNvPr>
            <p:cNvSpPr/>
            <p:nvPr/>
          </p:nvSpPr>
          <p:spPr>
            <a:xfrm>
              <a:off x="2651069" y="6427872"/>
              <a:ext cx="13839" cy="44946"/>
            </a:xfrm>
            <a:custGeom>
              <a:avLst/>
              <a:gdLst>
                <a:gd name="connsiteX0" fmla="*/ 0 w 13839"/>
                <a:gd name="connsiteY0" fmla="*/ 38090 h 44946"/>
                <a:gd name="connsiteX1" fmla="*/ 6856 w 13839"/>
                <a:gd name="connsiteY1" fmla="*/ 44947 h 44946"/>
                <a:gd name="connsiteX2" fmla="*/ 13839 w 13839"/>
                <a:gd name="connsiteY2" fmla="*/ 38090 h 44946"/>
                <a:gd name="connsiteX3" fmla="*/ 13839 w 13839"/>
                <a:gd name="connsiteY3" fmla="*/ 0 h 44946"/>
                <a:gd name="connsiteX4" fmla="*/ 6856 w 13839"/>
                <a:gd name="connsiteY4" fmla="*/ 6856 h 44946"/>
                <a:gd name="connsiteX5" fmla="*/ 2412 w 13839"/>
                <a:gd name="connsiteY5" fmla="*/ 5079 h 44946"/>
                <a:gd name="connsiteX6" fmla="*/ 0 w 13839"/>
                <a:gd name="connsiteY6" fmla="*/ 5079 h 44946"/>
                <a:gd name="connsiteX7" fmla="*/ 0 w 13839"/>
                <a:gd name="connsiteY7" fmla="*/ 37709 h 4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4946">
                  <a:moveTo>
                    <a:pt x="0" y="38090"/>
                  </a:moveTo>
                  <a:cubicBezTo>
                    <a:pt x="0" y="41874"/>
                    <a:pt x="3073" y="44947"/>
                    <a:pt x="6856" y="44947"/>
                  </a:cubicBezTo>
                  <a:cubicBezTo>
                    <a:pt x="10665" y="44947"/>
                    <a:pt x="13776" y="41899"/>
                    <a:pt x="13839" y="38090"/>
                  </a:cubicBezTo>
                  <a:lnTo>
                    <a:pt x="13839" y="0"/>
                  </a:lnTo>
                  <a:cubicBezTo>
                    <a:pt x="13776" y="3809"/>
                    <a:pt x="10665" y="6856"/>
                    <a:pt x="6856" y="6856"/>
                  </a:cubicBezTo>
                  <a:cubicBezTo>
                    <a:pt x="5206" y="6831"/>
                    <a:pt x="3631" y="6196"/>
                    <a:pt x="2412" y="5079"/>
                  </a:cubicBezTo>
                  <a:lnTo>
                    <a:pt x="0" y="5079"/>
                  </a:lnTo>
                  <a:lnTo>
                    <a:pt x="0" y="37709"/>
                  </a:lnTo>
                  <a:close/>
                </a:path>
              </a:pathLst>
            </a:custGeom>
            <a:solidFill>
              <a:srgbClr val="000000"/>
            </a:solidFill>
            <a:ln w="12690" cap="flat">
              <a:noFill/>
              <a:prstDash val="solid"/>
              <a:miter/>
            </a:ln>
          </p:spPr>
          <p:txBody>
            <a:bodyPr rtlCol="0" anchor="ctr"/>
            <a:lstStyle/>
            <a:p>
              <a:endParaRPr lang="en-US"/>
            </a:p>
          </p:txBody>
        </p:sp>
        <p:sp>
          <p:nvSpPr>
            <p:cNvPr id="746" name="Freeform: Shape 745">
              <a:extLst>
                <a:ext uri="{FF2B5EF4-FFF2-40B4-BE49-F238E27FC236}">
                  <a16:creationId xmlns:a16="http://schemas.microsoft.com/office/drawing/2014/main" id="{69439113-9C3F-469B-86E6-53F1FAD3BC19}"/>
                </a:ext>
              </a:extLst>
            </p:cNvPr>
            <p:cNvSpPr/>
            <p:nvPr/>
          </p:nvSpPr>
          <p:spPr>
            <a:xfrm>
              <a:off x="275772" y="6080235"/>
              <a:ext cx="143218" cy="13839"/>
            </a:xfrm>
            <a:custGeom>
              <a:avLst/>
              <a:gdLst>
                <a:gd name="connsiteX0" fmla="*/ 139918 w 143218"/>
                <a:gd name="connsiteY0" fmla="*/ 6348 h 13839"/>
                <a:gd name="connsiteX1" fmla="*/ 143219 w 143218"/>
                <a:gd name="connsiteY1" fmla="*/ 1143 h 13839"/>
                <a:gd name="connsiteX2" fmla="*/ 139664 w 143218"/>
                <a:gd name="connsiteY2" fmla="*/ 0 h 13839"/>
                <a:gd name="connsiteX3" fmla="*/ 0 w 143218"/>
                <a:gd name="connsiteY3" fmla="*/ 0 h 13839"/>
                <a:gd name="connsiteX4" fmla="*/ 6856 w 143218"/>
                <a:gd name="connsiteY4" fmla="*/ 6983 h 13839"/>
                <a:gd name="connsiteX5" fmla="*/ 0 w 143218"/>
                <a:gd name="connsiteY5" fmla="*/ 13839 h 13839"/>
                <a:gd name="connsiteX6" fmla="*/ 139664 w 143218"/>
                <a:gd name="connsiteY6" fmla="*/ 13839 h 13839"/>
                <a:gd name="connsiteX7" fmla="*/ 143219 w 143218"/>
                <a:gd name="connsiteY7" fmla="*/ 12697 h 13839"/>
                <a:gd name="connsiteX8" fmla="*/ 139918 w 143218"/>
                <a:gd name="connsiteY8" fmla="*/ 6348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18" h="13839">
                  <a:moveTo>
                    <a:pt x="139918" y="6348"/>
                  </a:moveTo>
                  <a:cubicBezTo>
                    <a:pt x="140132" y="4190"/>
                    <a:pt x="141356" y="2260"/>
                    <a:pt x="143219" y="1143"/>
                  </a:cubicBezTo>
                  <a:cubicBezTo>
                    <a:pt x="142152" y="457"/>
                    <a:pt x="140927" y="63"/>
                    <a:pt x="139664" y="0"/>
                  </a:cubicBezTo>
                  <a:lnTo>
                    <a:pt x="0" y="0"/>
                  </a:lnTo>
                  <a:cubicBezTo>
                    <a:pt x="3806" y="63"/>
                    <a:pt x="6856" y="3174"/>
                    <a:pt x="6856" y="6983"/>
                  </a:cubicBezTo>
                  <a:cubicBezTo>
                    <a:pt x="6856" y="10767"/>
                    <a:pt x="3786" y="13839"/>
                    <a:pt x="0" y="13839"/>
                  </a:cubicBezTo>
                  <a:lnTo>
                    <a:pt x="139664" y="13839"/>
                  </a:lnTo>
                  <a:cubicBezTo>
                    <a:pt x="140927" y="13776"/>
                    <a:pt x="142152" y="13382"/>
                    <a:pt x="143219" y="12697"/>
                  </a:cubicBezTo>
                  <a:cubicBezTo>
                    <a:pt x="140968" y="11414"/>
                    <a:pt x="139676" y="8926"/>
                    <a:pt x="139918" y="6348"/>
                  </a:cubicBezTo>
                  <a:close/>
                </a:path>
              </a:pathLst>
            </a:custGeom>
            <a:solidFill>
              <a:srgbClr val="000000"/>
            </a:solidFill>
            <a:ln w="12690" cap="flat">
              <a:no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5E9E1152-4B02-42E2-A6DC-854F8014AF33}"/>
                </a:ext>
              </a:extLst>
            </p:cNvPr>
            <p:cNvSpPr/>
            <p:nvPr/>
          </p:nvSpPr>
          <p:spPr>
            <a:xfrm>
              <a:off x="1975986" y="6464058"/>
              <a:ext cx="13839" cy="7618"/>
            </a:xfrm>
            <a:custGeom>
              <a:avLst/>
              <a:gdLst>
                <a:gd name="connsiteX0" fmla="*/ 6856 w 13839"/>
                <a:gd name="connsiteY0" fmla="*/ 6983 h 7618"/>
                <a:gd name="connsiteX1" fmla="*/ 0 w 13839"/>
                <a:gd name="connsiteY1" fmla="*/ 0 h 7618"/>
                <a:gd name="connsiteX2" fmla="*/ 0 w 13839"/>
                <a:gd name="connsiteY2" fmla="*/ 635 h 7618"/>
                <a:gd name="connsiteX3" fmla="*/ 6856 w 13839"/>
                <a:gd name="connsiteY3" fmla="*/ 7618 h 7618"/>
                <a:gd name="connsiteX4" fmla="*/ 13839 w 13839"/>
                <a:gd name="connsiteY4" fmla="*/ 635 h 7618"/>
                <a:gd name="connsiteX5" fmla="*/ 13839 w 13839"/>
                <a:gd name="connsiteY5" fmla="*/ 0 h 7618"/>
                <a:gd name="connsiteX6" fmla="*/ 6856 w 13839"/>
                <a:gd name="connsiteY6" fmla="*/ 6983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618">
                  <a:moveTo>
                    <a:pt x="6856" y="6983"/>
                  </a:moveTo>
                  <a:cubicBezTo>
                    <a:pt x="3047" y="6920"/>
                    <a:pt x="0" y="3809"/>
                    <a:pt x="0" y="0"/>
                  </a:cubicBezTo>
                  <a:lnTo>
                    <a:pt x="0" y="635"/>
                  </a:lnTo>
                  <a:cubicBezTo>
                    <a:pt x="0" y="4444"/>
                    <a:pt x="3047" y="7555"/>
                    <a:pt x="6856" y="7618"/>
                  </a:cubicBezTo>
                  <a:cubicBezTo>
                    <a:pt x="10716" y="7618"/>
                    <a:pt x="13839" y="4495"/>
                    <a:pt x="13839" y="635"/>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79939479-AF3E-404F-8191-3115837BEED6}"/>
                </a:ext>
              </a:extLst>
            </p:cNvPr>
            <p:cNvSpPr/>
            <p:nvPr/>
          </p:nvSpPr>
          <p:spPr>
            <a:xfrm>
              <a:off x="3180902" y="6464693"/>
              <a:ext cx="13712" cy="8125"/>
            </a:xfrm>
            <a:custGeom>
              <a:avLst/>
              <a:gdLst>
                <a:gd name="connsiteX0" fmla="*/ 13712 w 13712"/>
                <a:gd name="connsiteY0" fmla="*/ 0 h 8125"/>
                <a:gd name="connsiteX1" fmla="*/ 6856 w 13712"/>
                <a:gd name="connsiteY1" fmla="*/ 6856 h 8125"/>
                <a:gd name="connsiteX2" fmla="*/ 0 w 13712"/>
                <a:gd name="connsiteY2" fmla="*/ 0 h 8125"/>
                <a:gd name="connsiteX3" fmla="*/ 0 w 13712"/>
                <a:gd name="connsiteY3" fmla="*/ 1270 h 8125"/>
                <a:gd name="connsiteX4" fmla="*/ 6856 w 13712"/>
                <a:gd name="connsiteY4" fmla="*/ 8126 h 8125"/>
                <a:gd name="connsiteX5" fmla="*/ 13712 w 13712"/>
                <a:gd name="connsiteY5" fmla="*/ 1270 h 8125"/>
                <a:gd name="connsiteX6" fmla="*/ 13712 w 13712"/>
                <a:gd name="connsiteY6"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8125">
                  <a:moveTo>
                    <a:pt x="13712" y="0"/>
                  </a:moveTo>
                  <a:cubicBezTo>
                    <a:pt x="13712" y="3784"/>
                    <a:pt x="10640" y="6856"/>
                    <a:pt x="6856" y="6856"/>
                  </a:cubicBezTo>
                  <a:cubicBezTo>
                    <a:pt x="3073" y="6856"/>
                    <a:pt x="0" y="3784"/>
                    <a:pt x="0" y="0"/>
                  </a:cubicBezTo>
                  <a:lnTo>
                    <a:pt x="0" y="1270"/>
                  </a:lnTo>
                  <a:cubicBezTo>
                    <a:pt x="0" y="5053"/>
                    <a:pt x="3073" y="8126"/>
                    <a:pt x="6856" y="8126"/>
                  </a:cubicBezTo>
                  <a:cubicBezTo>
                    <a:pt x="10640" y="8126"/>
                    <a:pt x="13712" y="5053"/>
                    <a:pt x="13712" y="1270"/>
                  </a:cubicBezTo>
                  <a:lnTo>
                    <a:pt x="13712" y="0"/>
                  </a:lnTo>
                  <a:close/>
                </a:path>
              </a:pathLst>
            </a:custGeom>
            <a:solidFill>
              <a:srgbClr val="000000"/>
            </a:solidFill>
            <a:ln w="12690" cap="flat">
              <a:noFill/>
              <a:prstDash val="solid"/>
              <a:miter/>
            </a:ln>
          </p:spPr>
          <p:txBody>
            <a:bodyPr rtlCol="0" anchor="ctr"/>
            <a:lstStyle/>
            <a:p>
              <a:endParaRPr lang="en-US"/>
            </a:p>
          </p:txBody>
        </p:sp>
        <p:sp>
          <p:nvSpPr>
            <p:cNvPr id="749" name="Freeform: Shape 748">
              <a:extLst>
                <a:ext uri="{FF2B5EF4-FFF2-40B4-BE49-F238E27FC236}">
                  <a16:creationId xmlns:a16="http://schemas.microsoft.com/office/drawing/2014/main" id="{8804F685-92F5-4CC1-AF92-E947BF51FA02}"/>
                </a:ext>
              </a:extLst>
            </p:cNvPr>
            <p:cNvSpPr/>
            <p:nvPr/>
          </p:nvSpPr>
          <p:spPr>
            <a:xfrm>
              <a:off x="1427870" y="6393083"/>
              <a:ext cx="13839" cy="72879"/>
            </a:xfrm>
            <a:custGeom>
              <a:avLst/>
              <a:gdLst>
                <a:gd name="connsiteX0" fmla="*/ 6856 w 13839"/>
                <a:gd name="connsiteY0" fmla="*/ 65896 h 72879"/>
                <a:gd name="connsiteX1" fmla="*/ 13839 w 13839"/>
                <a:gd name="connsiteY1" fmla="*/ 72879 h 72879"/>
                <a:gd name="connsiteX2" fmla="*/ 13839 w 13839"/>
                <a:gd name="connsiteY2" fmla="*/ 6983 h 72879"/>
                <a:gd name="connsiteX3" fmla="*/ 6856 w 13839"/>
                <a:gd name="connsiteY3" fmla="*/ 0 h 72879"/>
                <a:gd name="connsiteX4" fmla="*/ 0 w 13839"/>
                <a:gd name="connsiteY4" fmla="*/ 6983 h 72879"/>
                <a:gd name="connsiteX5" fmla="*/ 0 w 13839"/>
                <a:gd name="connsiteY5" fmla="*/ 72879 h 72879"/>
                <a:gd name="connsiteX6" fmla="*/ 6856 w 13839"/>
                <a:gd name="connsiteY6" fmla="*/ 65896 h 7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2879">
                  <a:moveTo>
                    <a:pt x="6856" y="65896"/>
                  </a:moveTo>
                  <a:cubicBezTo>
                    <a:pt x="10716" y="65896"/>
                    <a:pt x="13839" y="69019"/>
                    <a:pt x="13839" y="72879"/>
                  </a:cubicBezTo>
                  <a:lnTo>
                    <a:pt x="13839" y="6983"/>
                  </a:lnTo>
                  <a:cubicBezTo>
                    <a:pt x="13839" y="3123"/>
                    <a:pt x="10716" y="0"/>
                    <a:pt x="6856" y="0"/>
                  </a:cubicBezTo>
                  <a:cubicBezTo>
                    <a:pt x="3047" y="63"/>
                    <a:pt x="0" y="3174"/>
                    <a:pt x="0" y="6983"/>
                  </a:cubicBezTo>
                  <a:lnTo>
                    <a:pt x="0" y="72879"/>
                  </a:lnTo>
                  <a:cubicBezTo>
                    <a:pt x="0" y="69070"/>
                    <a:pt x="3047" y="65960"/>
                    <a:pt x="6856" y="65896"/>
                  </a:cubicBezTo>
                  <a:close/>
                </a:path>
              </a:pathLst>
            </a:custGeom>
            <a:solidFill>
              <a:srgbClr val="000000"/>
            </a:solidFill>
            <a:ln w="12690" cap="flat">
              <a:noFill/>
              <a:prstDash val="solid"/>
              <a:miter/>
            </a:ln>
          </p:spPr>
          <p:txBody>
            <a:bodyPr rtlCol="0" anchor="ctr"/>
            <a:lstStyle/>
            <a:p>
              <a:endParaRPr lang="en-US"/>
            </a:p>
          </p:txBody>
        </p:sp>
        <p:sp>
          <p:nvSpPr>
            <p:cNvPr id="750" name="Freeform: Shape 749">
              <a:extLst>
                <a:ext uri="{FF2B5EF4-FFF2-40B4-BE49-F238E27FC236}">
                  <a16:creationId xmlns:a16="http://schemas.microsoft.com/office/drawing/2014/main" id="{C440B9EF-B0EE-465E-A43E-BDF8ADEDDA7B}"/>
                </a:ext>
              </a:extLst>
            </p:cNvPr>
            <p:cNvSpPr/>
            <p:nvPr/>
          </p:nvSpPr>
          <p:spPr>
            <a:xfrm>
              <a:off x="1427870" y="6458979"/>
              <a:ext cx="13839" cy="315514"/>
            </a:xfrm>
            <a:custGeom>
              <a:avLst/>
              <a:gdLst>
                <a:gd name="connsiteX0" fmla="*/ 6856 w 13839"/>
                <a:gd name="connsiteY0" fmla="*/ 315514 h 315514"/>
                <a:gd name="connsiteX1" fmla="*/ 13839 w 13839"/>
                <a:gd name="connsiteY1" fmla="*/ 308658 h 315514"/>
                <a:gd name="connsiteX2" fmla="*/ 13839 w 13839"/>
                <a:gd name="connsiteY2" fmla="*/ 6983 h 315514"/>
                <a:gd name="connsiteX3" fmla="*/ 6856 w 13839"/>
                <a:gd name="connsiteY3" fmla="*/ 0 h 315514"/>
                <a:gd name="connsiteX4" fmla="*/ 0 w 13839"/>
                <a:gd name="connsiteY4" fmla="*/ 6983 h 315514"/>
                <a:gd name="connsiteX5" fmla="*/ 0 w 13839"/>
                <a:gd name="connsiteY5" fmla="*/ 308658 h 315514"/>
                <a:gd name="connsiteX6" fmla="*/ 6856 w 13839"/>
                <a:gd name="connsiteY6" fmla="*/ 315514 h 3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15514">
                  <a:moveTo>
                    <a:pt x="6856" y="315514"/>
                  </a:moveTo>
                  <a:cubicBezTo>
                    <a:pt x="10665" y="315514"/>
                    <a:pt x="13776" y="312467"/>
                    <a:pt x="13839" y="308658"/>
                  </a:cubicBezTo>
                  <a:lnTo>
                    <a:pt x="13839" y="6983"/>
                  </a:lnTo>
                  <a:cubicBezTo>
                    <a:pt x="13839" y="3123"/>
                    <a:pt x="10716" y="0"/>
                    <a:pt x="6856" y="0"/>
                  </a:cubicBezTo>
                  <a:cubicBezTo>
                    <a:pt x="3047" y="63"/>
                    <a:pt x="0" y="3174"/>
                    <a:pt x="0" y="6983"/>
                  </a:cubicBezTo>
                  <a:lnTo>
                    <a:pt x="0" y="308658"/>
                  </a:lnTo>
                  <a:cubicBezTo>
                    <a:pt x="0" y="312442"/>
                    <a:pt x="3073" y="315514"/>
                    <a:pt x="6856" y="315514"/>
                  </a:cubicBezTo>
                  <a:close/>
                </a:path>
              </a:pathLst>
            </a:custGeom>
            <a:solidFill>
              <a:srgbClr val="000000"/>
            </a:solidFill>
            <a:ln w="12690" cap="flat">
              <a:noFill/>
              <a:prstDash val="solid"/>
              <a:miter/>
            </a:ln>
          </p:spPr>
          <p:txBody>
            <a:bodyPr rtlCol="0" anchor="ctr"/>
            <a:lstStyle/>
            <a:p>
              <a:endParaRPr lang="en-US"/>
            </a:p>
          </p:txBody>
        </p:sp>
        <p:sp>
          <p:nvSpPr>
            <p:cNvPr id="751" name="Freeform: Shape 750">
              <a:extLst>
                <a:ext uri="{FF2B5EF4-FFF2-40B4-BE49-F238E27FC236}">
                  <a16:creationId xmlns:a16="http://schemas.microsoft.com/office/drawing/2014/main" id="{731725EA-6AC5-4326-BB53-F0C6FF732FA6}"/>
                </a:ext>
              </a:extLst>
            </p:cNvPr>
            <p:cNvSpPr/>
            <p:nvPr/>
          </p:nvSpPr>
          <p:spPr>
            <a:xfrm>
              <a:off x="2653608" y="6426475"/>
              <a:ext cx="11300" cy="8633"/>
            </a:xfrm>
            <a:custGeom>
              <a:avLst/>
              <a:gdLst>
                <a:gd name="connsiteX0" fmla="*/ 11300 w 11300"/>
                <a:gd name="connsiteY0" fmla="*/ 1778 h 8633"/>
                <a:gd name="connsiteX1" fmla="*/ 11300 w 11300"/>
                <a:gd name="connsiteY1" fmla="*/ 0 h 8633"/>
                <a:gd name="connsiteX2" fmla="*/ 4317 w 11300"/>
                <a:gd name="connsiteY2" fmla="*/ 6856 h 8633"/>
                <a:gd name="connsiteX3" fmla="*/ 0 w 11300"/>
                <a:gd name="connsiteY3" fmla="*/ 6856 h 8633"/>
                <a:gd name="connsiteX4" fmla="*/ 4444 w 11300"/>
                <a:gd name="connsiteY4" fmla="*/ 8634 h 8633"/>
                <a:gd name="connsiteX5" fmla="*/ 11300 w 11300"/>
                <a:gd name="connsiteY5" fmla="*/ 1778 h 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 h="8633">
                  <a:moveTo>
                    <a:pt x="11300" y="1778"/>
                  </a:moveTo>
                  <a:lnTo>
                    <a:pt x="11300" y="0"/>
                  </a:lnTo>
                  <a:cubicBezTo>
                    <a:pt x="11237" y="3809"/>
                    <a:pt x="8126" y="6856"/>
                    <a:pt x="4317" y="6856"/>
                  </a:cubicBezTo>
                  <a:lnTo>
                    <a:pt x="0" y="6856"/>
                  </a:lnTo>
                  <a:cubicBezTo>
                    <a:pt x="1219" y="7974"/>
                    <a:pt x="2793" y="8609"/>
                    <a:pt x="4444" y="8634"/>
                  </a:cubicBezTo>
                  <a:cubicBezTo>
                    <a:pt x="8202" y="8570"/>
                    <a:pt x="11237" y="5536"/>
                    <a:pt x="11300" y="1778"/>
                  </a:cubicBezTo>
                  <a:close/>
                </a:path>
              </a:pathLst>
            </a:custGeom>
            <a:solidFill>
              <a:srgbClr val="000000"/>
            </a:solidFill>
            <a:ln w="12690" cap="flat">
              <a:no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268646CC-BC80-4F64-A013-3CCD2EFBEE2D}"/>
                </a:ext>
              </a:extLst>
            </p:cNvPr>
            <p:cNvSpPr/>
            <p:nvPr/>
          </p:nvSpPr>
          <p:spPr>
            <a:xfrm>
              <a:off x="2651910" y="5864165"/>
              <a:ext cx="13083" cy="562310"/>
            </a:xfrm>
            <a:custGeom>
              <a:avLst/>
              <a:gdLst>
                <a:gd name="connsiteX0" fmla="*/ 12998 w 13083"/>
                <a:gd name="connsiteY0" fmla="*/ 562310 h 562310"/>
                <a:gd name="connsiteX1" fmla="*/ 12998 w 13083"/>
                <a:gd name="connsiteY1" fmla="*/ 7081 h 562310"/>
                <a:gd name="connsiteX2" fmla="*/ 6015 w 13083"/>
                <a:gd name="connsiteY2" fmla="*/ 98 h 562310"/>
                <a:gd name="connsiteX3" fmla="*/ 3857 w 13083"/>
                <a:gd name="connsiteY3" fmla="*/ 98 h 562310"/>
                <a:gd name="connsiteX4" fmla="*/ 2587 w 13083"/>
                <a:gd name="connsiteY4" fmla="*/ 98 h 562310"/>
                <a:gd name="connsiteX5" fmla="*/ 1698 w 13083"/>
                <a:gd name="connsiteY5" fmla="*/ 1368 h 562310"/>
                <a:gd name="connsiteX6" fmla="*/ 809 w 13083"/>
                <a:gd name="connsiteY6" fmla="*/ 2383 h 562310"/>
                <a:gd name="connsiteX7" fmla="*/ 48 w 13083"/>
                <a:gd name="connsiteY7" fmla="*/ 3526 h 562310"/>
                <a:gd name="connsiteX8" fmla="*/ 48 w 13083"/>
                <a:gd name="connsiteY8" fmla="*/ 4669 h 562310"/>
                <a:gd name="connsiteX9" fmla="*/ 48 w 13083"/>
                <a:gd name="connsiteY9" fmla="*/ 6066 h 562310"/>
                <a:gd name="connsiteX10" fmla="*/ 48 w 13083"/>
                <a:gd name="connsiteY10" fmla="*/ 6066 h 562310"/>
                <a:gd name="connsiteX11" fmla="*/ 48 w 13083"/>
                <a:gd name="connsiteY11" fmla="*/ 554311 h 562310"/>
                <a:gd name="connsiteX12" fmla="*/ 6904 w 13083"/>
                <a:gd name="connsiteY12" fmla="*/ 554311 h 562310"/>
                <a:gd name="connsiteX13" fmla="*/ 13036 w 13083"/>
                <a:gd name="connsiteY13" fmla="*/ 562056 h 562310"/>
                <a:gd name="connsiteX14" fmla="*/ 12998 w 13083"/>
                <a:gd name="connsiteY14" fmla="*/ 562310 h 56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83" h="562310">
                  <a:moveTo>
                    <a:pt x="12998" y="562310"/>
                  </a:moveTo>
                  <a:lnTo>
                    <a:pt x="12998" y="7081"/>
                  </a:lnTo>
                  <a:cubicBezTo>
                    <a:pt x="12998" y="3224"/>
                    <a:pt x="9875" y="98"/>
                    <a:pt x="6015" y="98"/>
                  </a:cubicBezTo>
                  <a:cubicBezTo>
                    <a:pt x="5304" y="-33"/>
                    <a:pt x="4568" y="-33"/>
                    <a:pt x="3857" y="98"/>
                  </a:cubicBezTo>
                  <a:lnTo>
                    <a:pt x="2587" y="98"/>
                  </a:lnTo>
                  <a:lnTo>
                    <a:pt x="1698" y="1368"/>
                  </a:lnTo>
                  <a:lnTo>
                    <a:pt x="809" y="2383"/>
                  </a:lnTo>
                  <a:cubicBezTo>
                    <a:pt x="530" y="2744"/>
                    <a:pt x="276" y="3126"/>
                    <a:pt x="48" y="3526"/>
                  </a:cubicBezTo>
                  <a:lnTo>
                    <a:pt x="48" y="4669"/>
                  </a:lnTo>
                  <a:cubicBezTo>
                    <a:pt x="-16" y="5132"/>
                    <a:pt x="-16" y="5602"/>
                    <a:pt x="48" y="6066"/>
                  </a:cubicBezTo>
                  <a:cubicBezTo>
                    <a:pt x="48" y="6066"/>
                    <a:pt x="48" y="6066"/>
                    <a:pt x="48" y="6066"/>
                  </a:cubicBezTo>
                  <a:lnTo>
                    <a:pt x="48" y="554311"/>
                  </a:lnTo>
                  <a:lnTo>
                    <a:pt x="6904" y="554311"/>
                  </a:lnTo>
                  <a:cubicBezTo>
                    <a:pt x="10738" y="554756"/>
                    <a:pt x="13481" y="558222"/>
                    <a:pt x="13036" y="562056"/>
                  </a:cubicBezTo>
                  <a:cubicBezTo>
                    <a:pt x="13024" y="562145"/>
                    <a:pt x="13011" y="562221"/>
                    <a:pt x="12998" y="562310"/>
                  </a:cubicBezTo>
                  <a:close/>
                </a:path>
              </a:pathLst>
            </a:custGeom>
            <a:solidFill>
              <a:srgbClr val="000000"/>
            </a:solidFill>
            <a:ln w="12690" cap="flat">
              <a:no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D10BB8F4-D4B1-4AA9-A4EA-B40F31BD3D1B}"/>
                </a:ext>
              </a:extLst>
            </p:cNvPr>
            <p:cNvSpPr/>
            <p:nvPr/>
          </p:nvSpPr>
          <p:spPr>
            <a:xfrm>
              <a:off x="249490" y="6079600"/>
              <a:ext cx="13458" cy="13839"/>
            </a:xfrm>
            <a:custGeom>
              <a:avLst/>
              <a:gdLst>
                <a:gd name="connsiteX0" fmla="*/ 6602 w 13458"/>
                <a:gd name="connsiteY0" fmla="*/ 6983 h 13839"/>
                <a:gd name="connsiteX1" fmla="*/ 13458 w 13458"/>
                <a:gd name="connsiteY1" fmla="*/ 0 h 13839"/>
                <a:gd name="connsiteX2" fmla="*/ 6856 w 13458"/>
                <a:gd name="connsiteY2" fmla="*/ 0 h 13839"/>
                <a:gd name="connsiteX3" fmla="*/ 0 w 13458"/>
                <a:gd name="connsiteY3" fmla="*/ 6983 h 13839"/>
                <a:gd name="connsiteX4" fmla="*/ 6856 w 13458"/>
                <a:gd name="connsiteY4" fmla="*/ 13839 h 13839"/>
                <a:gd name="connsiteX5" fmla="*/ 13458 w 13458"/>
                <a:gd name="connsiteY5" fmla="*/ 13839 h 13839"/>
                <a:gd name="connsiteX6" fmla="*/ 6602 w 134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8" h="13839">
                  <a:moveTo>
                    <a:pt x="6602" y="6983"/>
                  </a:moveTo>
                  <a:cubicBezTo>
                    <a:pt x="6602" y="3174"/>
                    <a:pt x="9652" y="63"/>
                    <a:pt x="13458" y="0"/>
                  </a:cubicBezTo>
                  <a:lnTo>
                    <a:pt x="6856" y="0"/>
                  </a:lnTo>
                  <a:cubicBezTo>
                    <a:pt x="3050" y="63"/>
                    <a:pt x="0" y="3174"/>
                    <a:pt x="0" y="6983"/>
                  </a:cubicBezTo>
                  <a:cubicBezTo>
                    <a:pt x="0" y="10767"/>
                    <a:pt x="3070" y="13839"/>
                    <a:pt x="6856" y="13839"/>
                  </a:cubicBezTo>
                  <a:lnTo>
                    <a:pt x="13458" y="13839"/>
                  </a:lnTo>
                  <a:cubicBezTo>
                    <a:pt x="9672" y="13839"/>
                    <a:pt x="6602" y="10767"/>
                    <a:pt x="6602" y="6983"/>
                  </a:cubicBezTo>
                  <a:close/>
                </a:path>
              </a:pathLst>
            </a:custGeom>
            <a:solidFill>
              <a:srgbClr val="000000"/>
            </a:solidFill>
            <a:ln w="12690" cap="flat">
              <a:no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FCEBB4A2-47EB-441F-B402-8EC846FFD329}"/>
                </a:ext>
              </a:extLst>
            </p:cNvPr>
            <p:cNvSpPr/>
            <p:nvPr/>
          </p:nvSpPr>
          <p:spPr>
            <a:xfrm>
              <a:off x="256092" y="6079600"/>
              <a:ext cx="26409" cy="13839"/>
            </a:xfrm>
            <a:custGeom>
              <a:avLst/>
              <a:gdLst>
                <a:gd name="connsiteX0" fmla="*/ 26409 w 26409"/>
                <a:gd name="connsiteY0" fmla="*/ 6983 h 13839"/>
                <a:gd name="connsiteX1" fmla="*/ 19553 w 26409"/>
                <a:gd name="connsiteY1" fmla="*/ 0 h 13839"/>
                <a:gd name="connsiteX2" fmla="*/ 6856 w 26409"/>
                <a:gd name="connsiteY2" fmla="*/ 0 h 13839"/>
                <a:gd name="connsiteX3" fmla="*/ 0 w 26409"/>
                <a:gd name="connsiteY3" fmla="*/ 6983 h 13839"/>
                <a:gd name="connsiteX4" fmla="*/ 6856 w 26409"/>
                <a:gd name="connsiteY4" fmla="*/ 13839 h 13839"/>
                <a:gd name="connsiteX5" fmla="*/ 19553 w 26409"/>
                <a:gd name="connsiteY5" fmla="*/ 13839 h 13839"/>
                <a:gd name="connsiteX6" fmla="*/ 26409 w 2640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9" h="13839">
                  <a:moveTo>
                    <a:pt x="26409" y="6983"/>
                  </a:moveTo>
                  <a:cubicBezTo>
                    <a:pt x="26409" y="3174"/>
                    <a:pt x="23359" y="63"/>
                    <a:pt x="19553" y="0"/>
                  </a:cubicBezTo>
                  <a:lnTo>
                    <a:pt x="6856" y="0"/>
                  </a:lnTo>
                  <a:cubicBezTo>
                    <a:pt x="3050" y="63"/>
                    <a:pt x="-1" y="3174"/>
                    <a:pt x="0" y="6983"/>
                  </a:cubicBezTo>
                  <a:cubicBezTo>
                    <a:pt x="0" y="10767"/>
                    <a:pt x="3070" y="13839"/>
                    <a:pt x="6856" y="13839"/>
                  </a:cubicBezTo>
                  <a:lnTo>
                    <a:pt x="19553" y="13839"/>
                  </a:lnTo>
                  <a:cubicBezTo>
                    <a:pt x="23339" y="13839"/>
                    <a:pt x="26409" y="10767"/>
                    <a:pt x="26409" y="6983"/>
                  </a:cubicBezTo>
                  <a:close/>
                </a:path>
              </a:pathLst>
            </a:custGeom>
            <a:solidFill>
              <a:srgbClr val="000000"/>
            </a:solidFill>
            <a:ln w="12690" cap="flat">
              <a:noFill/>
              <a:prstDash val="solid"/>
              <a:miter/>
            </a:ln>
          </p:spPr>
          <p:txBody>
            <a:bodyPr rtlCol="0" anchor="ctr"/>
            <a:lstStyle/>
            <a:p>
              <a:endParaRPr lang="en-US"/>
            </a:p>
          </p:txBody>
        </p:sp>
        <p:sp>
          <p:nvSpPr>
            <p:cNvPr id="755" name="Freeform: Shape 754">
              <a:extLst>
                <a:ext uri="{FF2B5EF4-FFF2-40B4-BE49-F238E27FC236}">
                  <a16:creationId xmlns:a16="http://schemas.microsoft.com/office/drawing/2014/main" id="{9DC7E1C7-9D32-4B24-8F75-9D949D0395F2}"/>
                </a:ext>
              </a:extLst>
            </p:cNvPr>
            <p:cNvSpPr/>
            <p:nvPr/>
          </p:nvSpPr>
          <p:spPr>
            <a:xfrm>
              <a:off x="415562" y="6079600"/>
              <a:ext cx="65641" cy="14474"/>
            </a:xfrm>
            <a:custGeom>
              <a:avLst/>
              <a:gdLst>
                <a:gd name="connsiteX0" fmla="*/ 58659 w 65641"/>
                <a:gd name="connsiteY0" fmla="*/ 6983 h 14474"/>
                <a:gd name="connsiteX1" fmla="*/ 65642 w 65641"/>
                <a:gd name="connsiteY1" fmla="*/ 0 h 14474"/>
                <a:gd name="connsiteX2" fmla="*/ 7110 w 65641"/>
                <a:gd name="connsiteY2" fmla="*/ 0 h 14474"/>
                <a:gd name="connsiteX3" fmla="*/ 3428 w 65641"/>
                <a:gd name="connsiteY3" fmla="*/ 1778 h 14474"/>
                <a:gd name="connsiteX4" fmla="*/ 0 w 65641"/>
                <a:gd name="connsiteY4" fmla="*/ 7618 h 14474"/>
                <a:gd name="connsiteX5" fmla="*/ 6983 w 65641"/>
                <a:gd name="connsiteY5" fmla="*/ 14474 h 14474"/>
                <a:gd name="connsiteX6" fmla="*/ 65642 w 65641"/>
                <a:gd name="connsiteY6" fmla="*/ 14474 h 14474"/>
                <a:gd name="connsiteX7" fmla="*/ 58640 w 65641"/>
                <a:gd name="connsiteY7" fmla="*/ 7504 h 14474"/>
                <a:gd name="connsiteX8" fmla="*/ 58659 w 65641"/>
                <a:gd name="connsiteY8" fmla="*/ 6983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41" h="14474">
                  <a:moveTo>
                    <a:pt x="58659" y="6983"/>
                  </a:moveTo>
                  <a:cubicBezTo>
                    <a:pt x="58659" y="3123"/>
                    <a:pt x="61785" y="0"/>
                    <a:pt x="65642" y="0"/>
                  </a:cubicBezTo>
                  <a:lnTo>
                    <a:pt x="7110" y="0"/>
                  </a:lnTo>
                  <a:cubicBezTo>
                    <a:pt x="5726" y="190"/>
                    <a:pt x="4436" y="813"/>
                    <a:pt x="3428" y="1778"/>
                  </a:cubicBezTo>
                  <a:cubicBezTo>
                    <a:pt x="1337" y="2984"/>
                    <a:pt x="34" y="5206"/>
                    <a:pt x="0" y="7618"/>
                  </a:cubicBezTo>
                  <a:cubicBezTo>
                    <a:pt x="253" y="11338"/>
                    <a:pt x="3254" y="14284"/>
                    <a:pt x="6983" y="14474"/>
                  </a:cubicBezTo>
                  <a:lnTo>
                    <a:pt x="65642" y="14474"/>
                  </a:lnTo>
                  <a:cubicBezTo>
                    <a:pt x="61785" y="14487"/>
                    <a:pt x="58650" y="11364"/>
                    <a:pt x="58640" y="7504"/>
                  </a:cubicBezTo>
                  <a:cubicBezTo>
                    <a:pt x="58640" y="7339"/>
                    <a:pt x="58646" y="7161"/>
                    <a:pt x="58659" y="6983"/>
                  </a:cubicBezTo>
                  <a:close/>
                </a:path>
              </a:pathLst>
            </a:custGeom>
            <a:solidFill>
              <a:srgbClr val="000000"/>
            </a:solidFill>
            <a:ln w="12690" cap="flat">
              <a:noFill/>
              <a:prstDash val="solid"/>
              <a:miter/>
            </a:ln>
          </p:spPr>
          <p:txBody>
            <a:bodyPr rtlCol="0" anchor="ctr"/>
            <a:lstStyle/>
            <a:p>
              <a:endParaRPr lang="en-US"/>
            </a:p>
          </p:txBody>
        </p:sp>
        <p:sp>
          <p:nvSpPr>
            <p:cNvPr id="756" name="Freeform: Shape 755">
              <a:extLst>
                <a:ext uri="{FF2B5EF4-FFF2-40B4-BE49-F238E27FC236}">
                  <a16:creationId xmlns:a16="http://schemas.microsoft.com/office/drawing/2014/main" id="{66DBA720-6E45-462D-9849-46AD857481E0}"/>
                </a:ext>
              </a:extLst>
            </p:cNvPr>
            <p:cNvSpPr/>
            <p:nvPr/>
          </p:nvSpPr>
          <p:spPr>
            <a:xfrm>
              <a:off x="474856" y="6079600"/>
              <a:ext cx="14601" cy="13839"/>
            </a:xfrm>
            <a:custGeom>
              <a:avLst/>
              <a:gdLst>
                <a:gd name="connsiteX0" fmla="*/ 7618 w 14601"/>
                <a:gd name="connsiteY0" fmla="*/ 6983 h 13839"/>
                <a:gd name="connsiteX1" fmla="*/ 14601 w 14601"/>
                <a:gd name="connsiteY1" fmla="*/ 0 h 13839"/>
                <a:gd name="connsiteX2" fmla="*/ 6983 w 14601"/>
                <a:gd name="connsiteY2" fmla="*/ 0 h 13839"/>
                <a:gd name="connsiteX3" fmla="*/ 0 w 14601"/>
                <a:gd name="connsiteY3" fmla="*/ 6983 h 13839"/>
                <a:gd name="connsiteX4" fmla="*/ 6983 w 14601"/>
                <a:gd name="connsiteY4" fmla="*/ 13839 h 13839"/>
                <a:gd name="connsiteX5" fmla="*/ 14601 w 14601"/>
                <a:gd name="connsiteY5" fmla="*/ 13839 h 13839"/>
                <a:gd name="connsiteX6" fmla="*/ 7618 w 14601"/>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1" h="13839">
                  <a:moveTo>
                    <a:pt x="7618" y="6983"/>
                  </a:moveTo>
                  <a:cubicBezTo>
                    <a:pt x="7618" y="3123"/>
                    <a:pt x="10744" y="0"/>
                    <a:pt x="14601" y="0"/>
                  </a:cubicBezTo>
                  <a:lnTo>
                    <a:pt x="6983" y="0"/>
                  </a:lnTo>
                  <a:cubicBezTo>
                    <a:pt x="3126" y="0"/>
                    <a:pt x="0" y="3123"/>
                    <a:pt x="0" y="6983"/>
                  </a:cubicBezTo>
                  <a:cubicBezTo>
                    <a:pt x="70" y="10792"/>
                    <a:pt x="3175" y="13839"/>
                    <a:pt x="6983" y="13839"/>
                  </a:cubicBezTo>
                  <a:lnTo>
                    <a:pt x="14601" y="13839"/>
                  </a:lnTo>
                  <a:cubicBezTo>
                    <a:pt x="10793" y="13839"/>
                    <a:pt x="7688" y="10792"/>
                    <a:pt x="7618" y="6983"/>
                  </a:cubicBezTo>
                  <a:close/>
                </a:path>
              </a:pathLst>
            </a:custGeom>
            <a:solidFill>
              <a:srgbClr val="000000"/>
            </a:solidFill>
            <a:ln w="12690" cap="flat">
              <a:noFill/>
              <a:prstDash val="solid"/>
              <a:miter/>
            </a:ln>
          </p:spPr>
          <p:txBody>
            <a:bodyPr rtlCol="0" anchor="ctr"/>
            <a:lstStyle/>
            <a:p>
              <a:endParaRPr lang="en-US"/>
            </a:p>
          </p:txBody>
        </p:sp>
        <p:sp>
          <p:nvSpPr>
            <p:cNvPr id="757" name="Freeform: Shape 756">
              <a:extLst>
                <a:ext uri="{FF2B5EF4-FFF2-40B4-BE49-F238E27FC236}">
                  <a16:creationId xmlns:a16="http://schemas.microsoft.com/office/drawing/2014/main" id="{C678FDB5-8008-4248-AB64-4DE2554D25CE}"/>
                </a:ext>
              </a:extLst>
            </p:cNvPr>
            <p:cNvSpPr/>
            <p:nvPr/>
          </p:nvSpPr>
          <p:spPr>
            <a:xfrm>
              <a:off x="481839" y="6079600"/>
              <a:ext cx="165691" cy="13869"/>
            </a:xfrm>
            <a:custGeom>
              <a:avLst/>
              <a:gdLst>
                <a:gd name="connsiteX0" fmla="*/ 158074 w 165691"/>
                <a:gd name="connsiteY0" fmla="*/ 6983 h 13869"/>
                <a:gd name="connsiteX1" fmla="*/ 165057 w 165691"/>
                <a:gd name="connsiteY1" fmla="*/ 0 h 13869"/>
                <a:gd name="connsiteX2" fmla="*/ 6983 w 165691"/>
                <a:gd name="connsiteY2" fmla="*/ 0 h 13869"/>
                <a:gd name="connsiteX3" fmla="*/ 0 w 165691"/>
                <a:gd name="connsiteY3" fmla="*/ 6983 h 13869"/>
                <a:gd name="connsiteX4" fmla="*/ 6983 w 165691"/>
                <a:gd name="connsiteY4" fmla="*/ 13839 h 13869"/>
                <a:gd name="connsiteX5" fmla="*/ 165692 w 165691"/>
                <a:gd name="connsiteY5" fmla="*/ 13839 h 13869"/>
                <a:gd name="connsiteX6" fmla="*/ 158102 w 165691"/>
                <a:gd name="connsiteY6" fmla="*/ 7517 h 13869"/>
                <a:gd name="connsiteX7" fmla="*/ 158074 w 165691"/>
                <a:gd name="connsiteY7" fmla="*/ 6983 h 1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691" h="13869">
                  <a:moveTo>
                    <a:pt x="158074" y="6983"/>
                  </a:moveTo>
                  <a:cubicBezTo>
                    <a:pt x="158074" y="3123"/>
                    <a:pt x="161200" y="0"/>
                    <a:pt x="165057" y="0"/>
                  </a:cubicBezTo>
                  <a:lnTo>
                    <a:pt x="6983" y="0"/>
                  </a:lnTo>
                  <a:cubicBezTo>
                    <a:pt x="3126" y="0"/>
                    <a:pt x="0" y="3123"/>
                    <a:pt x="0" y="6983"/>
                  </a:cubicBezTo>
                  <a:cubicBezTo>
                    <a:pt x="70" y="10792"/>
                    <a:pt x="3175" y="13839"/>
                    <a:pt x="6983" y="13839"/>
                  </a:cubicBezTo>
                  <a:lnTo>
                    <a:pt x="165692" y="13839"/>
                  </a:lnTo>
                  <a:cubicBezTo>
                    <a:pt x="161851" y="14195"/>
                    <a:pt x="158453" y="11364"/>
                    <a:pt x="158102" y="7517"/>
                  </a:cubicBezTo>
                  <a:cubicBezTo>
                    <a:pt x="158085" y="7339"/>
                    <a:pt x="158076" y="7161"/>
                    <a:pt x="158074" y="6983"/>
                  </a:cubicBezTo>
                  <a:close/>
                </a:path>
              </a:pathLst>
            </a:custGeom>
            <a:solidFill>
              <a:srgbClr val="000000"/>
            </a:solidFill>
            <a:ln w="12690" cap="flat">
              <a:noFill/>
              <a:prstDash val="solid"/>
              <a:miter/>
            </a:ln>
          </p:spPr>
          <p:txBody>
            <a:bodyPr rtlCol="0" anchor="ctr"/>
            <a:lstStyle/>
            <a:p>
              <a:endParaRPr lang="en-US"/>
            </a:p>
          </p:txBody>
        </p:sp>
        <p:sp>
          <p:nvSpPr>
            <p:cNvPr id="758" name="Freeform: Shape 757">
              <a:extLst>
                <a:ext uri="{FF2B5EF4-FFF2-40B4-BE49-F238E27FC236}">
                  <a16:creationId xmlns:a16="http://schemas.microsoft.com/office/drawing/2014/main" id="{714E5816-E9DA-48F9-9D30-EEC38311D7B6}"/>
                </a:ext>
              </a:extLst>
            </p:cNvPr>
            <p:cNvSpPr/>
            <p:nvPr/>
          </p:nvSpPr>
          <p:spPr>
            <a:xfrm>
              <a:off x="1975986" y="6463169"/>
              <a:ext cx="13839" cy="7871"/>
            </a:xfrm>
            <a:custGeom>
              <a:avLst/>
              <a:gdLst>
                <a:gd name="connsiteX0" fmla="*/ 6856 w 13839"/>
                <a:gd name="connsiteY0" fmla="*/ 7872 h 7871"/>
                <a:gd name="connsiteX1" fmla="*/ 13839 w 13839"/>
                <a:gd name="connsiteY1" fmla="*/ 889 h 7871"/>
                <a:gd name="connsiteX2" fmla="*/ 13839 w 13839"/>
                <a:gd name="connsiteY2" fmla="*/ 0 h 7871"/>
                <a:gd name="connsiteX3" fmla="*/ 6856 w 13839"/>
                <a:gd name="connsiteY3" fmla="*/ 6856 h 7871"/>
                <a:gd name="connsiteX4" fmla="*/ 0 w 13839"/>
                <a:gd name="connsiteY4" fmla="*/ 0 h 7871"/>
                <a:gd name="connsiteX5" fmla="*/ 0 w 13839"/>
                <a:gd name="connsiteY5" fmla="*/ 889 h 7871"/>
                <a:gd name="connsiteX6" fmla="*/ 6856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856" y="7872"/>
                  </a:moveTo>
                  <a:cubicBezTo>
                    <a:pt x="10716" y="7872"/>
                    <a:pt x="13839" y="4748"/>
                    <a:pt x="13839" y="889"/>
                  </a:cubicBezTo>
                  <a:lnTo>
                    <a:pt x="13839" y="0"/>
                  </a:lnTo>
                  <a:cubicBezTo>
                    <a:pt x="13776" y="3809"/>
                    <a:pt x="10665" y="6856"/>
                    <a:pt x="6856" y="6856"/>
                  </a:cubicBezTo>
                  <a:cubicBezTo>
                    <a:pt x="3072"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endParaRPr lang="en-US"/>
            </a:p>
          </p:txBody>
        </p:sp>
        <p:sp>
          <p:nvSpPr>
            <p:cNvPr id="759" name="Freeform: Shape 758">
              <a:extLst>
                <a:ext uri="{FF2B5EF4-FFF2-40B4-BE49-F238E27FC236}">
                  <a16:creationId xmlns:a16="http://schemas.microsoft.com/office/drawing/2014/main" id="{E1978D1A-23AF-4E46-9CEB-1606EC2FA42E}"/>
                </a:ext>
              </a:extLst>
            </p:cNvPr>
            <p:cNvSpPr/>
            <p:nvPr/>
          </p:nvSpPr>
          <p:spPr>
            <a:xfrm>
              <a:off x="1975986" y="6379117"/>
              <a:ext cx="13839" cy="90908"/>
            </a:xfrm>
            <a:custGeom>
              <a:avLst/>
              <a:gdLst>
                <a:gd name="connsiteX0" fmla="*/ 0 w 13839"/>
                <a:gd name="connsiteY0" fmla="*/ 84053 h 90908"/>
                <a:gd name="connsiteX1" fmla="*/ 6856 w 13839"/>
                <a:gd name="connsiteY1" fmla="*/ 90909 h 90908"/>
                <a:gd name="connsiteX2" fmla="*/ 13839 w 13839"/>
                <a:gd name="connsiteY2" fmla="*/ 84053 h 90908"/>
                <a:gd name="connsiteX3" fmla="*/ 13839 w 13839"/>
                <a:gd name="connsiteY3" fmla="*/ 6983 h 90908"/>
                <a:gd name="connsiteX4" fmla="*/ 13839 w 13839"/>
                <a:gd name="connsiteY4" fmla="*/ 5841 h 90908"/>
                <a:gd name="connsiteX5" fmla="*/ 7110 w 13839"/>
                <a:gd name="connsiteY5" fmla="*/ 0 h 90908"/>
                <a:gd name="connsiteX6" fmla="*/ 254 w 13839"/>
                <a:gd name="connsiteY6" fmla="*/ 6983 h 90908"/>
                <a:gd name="connsiteX7" fmla="*/ 254 w 13839"/>
                <a:gd name="connsiteY7" fmla="*/ 84306 h 9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90908">
                  <a:moveTo>
                    <a:pt x="0" y="84053"/>
                  </a:moveTo>
                  <a:cubicBezTo>
                    <a:pt x="0" y="87836"/>
                    <a:pt x="3072" y="90909"/>
                    <a:pt x="6856" y="90909"/>
                  </a:cubicBezTo>
                  <a:cubicBezTo>
                    <a:pt x="10665" y="90909"/>
                    <a:pt x="13776" y="87861"/>
                    <a:pt x="13839" y="84053"/>
                  </a:cubicBezTo>
                  <a:lnTo>
                    <a:pt x="13839" y="6983"/>
                  </a:lnTo>
                  <a:cubicBezTo>
                    <a:pt x="13839" y="6983"/>
                    <a:pt x="13839" y="6221"/>
                    <a:pt x="13839" y="5841"/>
                  </a:cubicBezTo>
                  <a:cubicBezTo>
                    <a:pt x="13344" y="2501"/>
                    <a:pt x="10487" y="25"/>
                    <a:pt x="7110" y="0"/>
                  </a:cubicBezTo>
                  <a:cubicBezTo>
                    <a:pt x="3301" y="64"/>
                    <a:pt x="254" y="3174"/>
                    <a:pt x="254" y="6983"/>
                  </a:cubicBezTo>
                  <a:lnTo>
                    <a:pt x="254" y="84306"/>
                  </a:lnTo>
                  <a:close/>
                </a:path>
              </a:pathLst>
            </a:custGeom>
            <a:solidFill>
              <a:srgbClr val="000000"/>
            </a:solidFill>
            <a:ln w="12690" cap="flat">
              <a:noFill/>
              <a:prstDash val="solid"/>
              <a:miter/>
            </a:ln>
          </p:spPr>
          <p:txBody>
            <a:bodyPr rtlCol="0" anchor="ctr"/>
            <a:lstStyle/>
            <a:p>
              <a:endParaRPr lang="en-US"/>
            </a:p>
          </p:txBody>
        </p:sp>
        <p:sp>
          <p:nvSpPr>
            <p:cNvPr id="760" name="Freeform: Shape 759">
              <a:extLst>
                <a:ext uri="{FF2B5EF4-FFF2-40B4-BE49-F238E27FC236}">
                  <a16:creationId xmlns:a16="http://schemas.microsoft.com/office/drawing/2014/main" id="{594D75B4-BE87-449E-A7BA-D15EE835F754}"/>
                </a:ext>
              </a:extLst>
            </p:cNvPr>
            <p:cNvSpPr/>
            <p:nvPr/>
          </p:nvSpPr>
          <p:spPr>
            <a:xfrm>
              <a:off x="3180902" y="6464058"/>
              <a:ext cx="13712" cy="7618"/>
            </a:xfrm>
            <a:custGeom>
              <a:avLst/>
              <a:gdLst>
                <a:gd name="connsiteX0" fmla="*/ 6856 w 13712"/>
                <a:gd name="connsiteY0" fmla="*/ 7618 h 7618"/>
                <a:gd name="connsiteX1" fmla="*/ 13712 w 13712"/>
                <a:gd name="connsiteY1" fmla="*/ 635 h 7618"/>
                <a:gd name="connsiteX2" fmla="*/ 13712 w 13712"/>
                <a:gd name="connsiteY2" fmla="*/ 0 h 7618"/>
                <a:gd name="connsiteX3" fmla="*/ 6856 w 13712"/>
                <a:gd name="connsiteY3" fmla="*/ 6856 h 7618"/>
                <a:gd name="connsiteX4" fmla="*/ 0 w 13712"/>
                <a:gd name="connsiteY4" fmla="*/ 0 h 7618"/>
                <a:gd name="connsiteX5" fmla="*/ 0 w 13712"/>
                <a:gd name="connsiteY5" fmla="*/ 635 h 7618"/>
                <a:gd name="connsiteX6" fmla="*/ 6856 w 13712"/>
                <a:gd name="connsiteY6" fmla="*/ 7618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618">
                  <a:moveTo>
                    <a:pt x="6856" y="7618"/>
                  </a:moveTo>
                  <a:cubicBezTo>
                    <a:pt x="10665" y="7555"/>
                    <a:pt x="13712" y="4444"/>
                    <a:pt x="13712" y="635"/>
                  </a:cubicBezTo>
                  <a:lnTo>
                    <a:pt x="13712" y="0"/>
                  </a:lnTo>
                  <a:cubicBezTo>
                    <a:pt x="13712" y="3784"/>
                    <a:pt x="10640" y="6856"/>
                    <a:pt x="6856" y="6856"/>
                  </a:cubicBezTo>
                  <a:cubicBezTo>
                    <a:pt x="3073" y="6856"/>
                    <a:pt x="0" y="3784"/>
                    <a:pt x="0" y="0"/>
                  </a:cubicBezTo>
                  <a:lnTo>
                    <a:pt x="0" y="635"/>
                  </a:lnTo>
                  <a:cubicBezTo>
                    <a:pt x="0" y="4444"/>
                    <a:pt x="3047" y="7555"/>
                    <a:pt x="6856" y="7618"/>
                  </a:cubicBezTo>
                  <a:close/>
                </a:path>
              </a:pathLst>
            </a:custGeom>
            <a:solidFill>
              <a:srgbClr val="000000"/>
            </a:solidFill>
            <a:ln w="12690" cap="flat">
              <a:no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3E50EA06-3FD3-42A2-B7C6-ABF8215A58BF}"/>
                </a:ext>
              </a:extLst>
            </p:cNvPr>
            <p:cNvSpPr/>
            <p:nvPr/>
          </p:nvSpPr>
          <p:spPr>
            <a:xfrm>
              <a:off x="640529" y="6079600"/>
              <a:ext cx="45092" cy="14476"/>
            </a:xfrm>
            <a:custGeom>
              <a:avLst/>
              <a:gdLst>
                <a:gd name="connsiteX0" fmla="*/ 38109 w 45092"/>
                <a:gd name="connsiteY0" fmla="*/ 6983 h 14476"/>
                <a:gd name="connsiteX1" fmla="*/ 44965 w 45092"/>
                <a:gd name="connsiteY1" fmla="*/ 0 h 14476"/>
                <a:gd name="connsiteX2" fmla="*/ 7002 w 45092"/>
                <a:gd name="connsiteY2" fmla="*/ 0 h 14476"/>
                <a:gd name="connsiteX3" fmla="*/ 19 w 45092"/>
                <a:gd name="connsiteY3" fmla="*/ 6983 h 14476"/>
                <a:gd name="connsiteX4" fmla="*/ 6475 w 45092"/>
                <a:gd name="connsiteY4" fmla="*/ 14462 h 14476"/>
                <a:gd name="connsiteX5" fmla="*/ 7002 w 45092"/>
                <a:gd name="connsiteY5" fmla="*/ 14474 h 14476"/>
                <a:gd name="connsiteX6" fmla="*/ 45092 w 45092"/>
                <a:gd name="connsiteY6" fmla="*/ 14474 h 14476"/>
                <a:gd name="connsiteX7" fmla="*/ 38081 w 45092"/>
                <a:gd name="connsiteY7" fmla="*/ 7770 h 14476"/>
                <a:gd name="connsiteX8" fmla="*/ 38109 w 45092"/>
                <a:gd name="connsiteY8" fmla="*/ 6983 h 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92" h="14476">
                  <a:moveTo>
                    <a:pt x="38109" y="6983"/>
                  </a:moveTo>
                  <a:cubicBezTo>
                    <a:pt x="38109" y="3174"/>
                    <a:pt x="41159" y="63"/>
                    <a:pt x="44965" y="0"/>
                  </a:cubicBezTo>
                  <a:lnTo>
                    <a:pt x="7002" y="0"/>
                  </a:lnTo>
                  <a:cubicBezTo>
                    <a:pt x="3145" y="0"/>
                    <a:pt x="19" y="3123"/>
                    <a:pt x="19" y="6983"/>
                  </a:cubicBezTo>
                  <a:cubicBezTo>
                    <a:pt x="-262" y="10830"/>
                    <a:pt x="2629" y="14170"/>
                    <a:pt x="6475" y="14462"/>
                  </a:cubicBezTo>
                  <a:cubicBezTo>
                    <a:pt x="6650" y="14474"/>
                    <a:pt x="6827" y="14474"/>
                    <a:pt x="7002" y="14474"/>
                  </a:cubicBezTo>
                  <a:lnTo>
                    <a:pt x="45092" y="14474"/>
                  </a:lnTo>
                  <a:cubicBezTo>
                    <a:pt x="41306" y="14563"/>
                    <a:pt x="38167" y="11567"/>
                    <a:pt x="38081" y="7770"/>
                  </a:cubicBezTo>
                  <a:cubicBezTo>
                    <a:pt x="38075" y="7517"/>
                    <a:pt x="38085" y="7250"/>
                    <a:pt x="38109" y="6983"/>
                  </a:cubicBezTo>
                  <a:close/>
                </a:path>
              </a:pathLst>
            </a:custGeom>
            <a:solidFill>
              <a:srgbClr val="000000"/>
            </a:solidFill>
            <a:ln w="12690" cap="flat">
              <a:noFill/>
              <a:prstDash val="solid"/>
              <a:miter/>
            </a:ln>
          </p:spPr>
          <p:txBody>
            <a:bodyPr rtlCol="0" anchor="ctr"/>
            <a:lstStyle/>
            <a:p>
              <a:endParaRPr lang="en-US"/>
            </a:p>
          </p:txBody>
        </p:sp>
        <p:sp>
          <p:nvSpPr>
            <p:cNvPr id="762" name="Freeform: Shape 761">
              <a:extLst>
                <a:ext uri="{FF2B5EF4-FFF2-40B4-BE49-F238E27FC236}">
                  <a16:creationId xmlns:a16="http://schemas.microsoft.com/office/drawing/2014/main" id="{5B49C000-DBCF-49FE-B6EC-721BC8CBE289}"/>
                </a:ext>
              </a:extLst>
            </p:cNvPr>
            <p:cNvSpPr/>
            <p:nvPr/>
          </p:nvSpPr>
          <p:spPr>
            <a:xfrm>
              <a:off x="3180902" y="6463169"/>
              <a:ext cx="13712" cy="7871"/>
            </a:xfrm>
            <a:custGeom>
              <a:avLst/>
              <a:gdLst>
                <a:gd name="connsiteX0" fmla="*/ 6856 w 13712"/>
                <a:gd name="connsiteY0" fmla="*/ 7872 h 7871"/>
                <a:gd name="connsiteX1" fmla="*/ 13712 w 13712"/>
                <a:gd name="connsiteY1" fmla="*/ 889 h 7871"/>
                <a:gd name="connsiteX2" fmla="*/ 13712 w 13712"/>
                <a:gd name="connsiteY2" fmla="*/ 0 h 7871"/>
                <a:gd name="connsiteX3" fmla="*/ 6856 w 13712"/>
                <a:gd name="connsiteY3" fmla="*/ 6856 h 7871"/>
                <a:gd name="connsiteX4" fmla="*/ 0 w 13712"/>
                <a:gd name="connsiteY4" fmla="*/ 0 h 7871"/>
                <a:gd name="connsiteX5" fmla="*/ 0 w 13712"/>
                <a:gd name="connsiteY5" fmla="*/ 889 h 7871"/>
                <a:gd name="connsiteX6" fmla="*/ 6856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6" y="7872"/>
                  </a:moveTo>
                  <a:cubicBezTo>
                    <a:pt x="10665" y="7808"/>
                    <a:pt x="13712" y="4698"/>
                    <a:pt x="13712" y="889"/>
                  </a:cubicBezTo>
                  <a:lnTo>
                    <a:pt x="13712" y="0"/>
                  </a:lnTo>
                  <a:cubicBezTo>
                    <a:pt x="13712" y="3783"/>
                    <a:pt x="10640" y="6856"/>
                    <a:pt x="6856" y="6856"/>
                  </a:cubicBezTo>
                  <a:cubicBezTo>
                    <a:pt x="3073"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endParaRPr lang="en-US"/>
            </a:p>
          </p:txBody>
        </p:sp>
        <p:sp>
          <p:nvSpPr>
            <p:cNvPr id="763" name="Freeform: Shape 762">
              <a:extLst>
                <a:ext uri="{FF2B5EF4-FFF2-40B4-BE49-F238E27FC236}">
                  <a16:creationId xmlns:a16="http://schemas.microsoft.com/office/drawing/2014/main" id="{4530DBA1-5846-4E4E-98E1-6577B965486C}"/>
                </a:ext>
              </a:extLst>
            </p:cNvPr>
            <p:cNvSpPr/>
            <p:nvPr/>
          </p:nvSpPr>
          <p:spPr>
            <a:xfrm>
              <a:off x="3180902" y="5848139"/>
              <a:ext cx="13712" cy="621886"/>
            </a:xfrm>
            <a:custGeom>
              <a:avLst/>
              <a:gdLst>
                <a:gd name="connsiteX0" fmla="*/ 0 w 13712"/>
                <a:gd name="connsiteY0" fmla="*/ 6856 h 621886"/>
                <a:gd name="connsiteX1" fmla="*/ 0 w 13712"/>
                <a:gd name="connsiteY1" fmla="*/ 615031 h 621886"/>
                <a:gd name="connsiteX2" fmla="*/ 6856 w 13712"/>
                <a:gd name="connsiteY2" fmla="*/ 621887 h 621886"/>
                <a:gd name="connsiteX3" fmla="*/ 13712 w 13712"/>
                <a:gd name="connsiteY3" fmla="*/ 615031 h 621886"/>
                <a:gd name="connsiteX4" fmla="*/ 13712 w 13712"/>
                <a:gd name="connsiteY4" fmla="*/ 6856 h 621886"/>
                <a:gd name="connsiteX5" fmla="*/ 6856 w 13712"/>
                <a:gd name="connsiteY5" fmla="*/ 0 h 621886"/>
                <a:gd name="connsiteX6" fmla="*/ 0 w 13712"/>
                <a:gd name="connsiteY6" fmla="*/ 6856 h 6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21886">
                  <a:moveTo>
                    <a:pt x="0" y="6856"/>
                  </a:moveTo>
                  <a:lnTo>
                    <a:pt x="0" y="615031"/>
                  </a:lnTo>
                  <a:cubicBezTo>
                    <a:pt x="0" y="618814"/>
                    <a:pt x="3073" y="621887"/>
                    <a:pt x="6856" y="621887"/>
                  </a:cubicBezTo>
                  <a:cubicBezTo>
                    <a:pt x="10640" y="621887"/>
                    <a:pt x="13712" y="618814"/>
                    <a:pt x="13712" y="615031"/>
                  </a:cubicBezTo>
                  <a:lnTo>
                    <a:pt x="13712" y="6856"/>
                  </a:lnTo>
                  <a:cubicBezTo>
                    <a:pt x="13712" y="3070"/>
                    <a:pt x="10640" y="0"/>
                    <a:pt x="6856" y="0"/>
                  </a:cubicBez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764" name="Freeform: Shape 763">
              <a:extLst>
                <a:ext uri="{FF2B5EF4-FFF2-40B4-BE49-F238E27FC236}">
                  <a16:creationId xmlns:a16="http://schemas.microsoft.com/office/drawing/2014/main" id="{A7E31749-B36A-44A9-B6CE-E38789F59B20}"/>
                </a:ext>
              </a:extLst>
            </p:cNvPr>
            <p:cNvSpPr/>
            <p:nvPr/>
          </p:nvSpPr>
          <p:spPr>
            <a:xfrm>
              <a:off x="678735" y="6079600"/>
              <a:ext cx="10187" cy="14475"/>
            </a:xfrm>
            <a:custGeom>
              <a:avLst/>
              <a:gdLst>
                <a:gd name="connsiteX0" fmla="*/ 3077 w 10187"/>
                <a:gd name="connsiteY0" fmla="*/ 6983 h 14475"/>
                <a:gd name="connsiteX1" fmla="*/ 10060 w 10187"/>
                <a:gd name="connsiteY1" fmla="*/ 0 h 14475"/>
                <a:gd name="connsiteX2" fmla="*/ 6886 w 10187"/>
                <a:gd name="connsiteY2" fmla="*/ 0 h 14475"/>
                <a:gd name="connsiteX3" fmla="*/ 30 w 10187"/>
                <a:gd name="connsiteY3" fmla="*/ 6983 h 14475"/>
                <a:gd name="connsiteX4" fmla="*/ 6222 w 10187"/>
                <a:gd name="connsiteY4" fmla="*/ 14449 h 14475"/>
                <a:gd name="connsiteX5" fmla="*/ 6886 w 10187"/>
                <a:gd name="connsiteY5" fmla="*/ 14474 h 14475"/>
                <a:gd name="connsiteX6" fmla="*/ 10187 w 10187"/>
                <a:gd name="connsiteY6" fmla="*/ 14474 h 14475"/>
                <a:gd name="connsiteX7" fmla="*/ 3061 w 10187"/>
                <a:gd name="connsiteY7" fmla="*/ 7643 h 14475"/>
                <a:gd name="connsiteX8" fmla="*/ 3077 w 10187"/>
                <a:gd name="connsiteY8" fmla="*/ 6983 h 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7" h="14475">
                  <a:moveTo>
                    <a:pt x="3077" y="6983"/>
                  </a:moveTo>
                  <a:cubicBezTo>
                    <a:pt x="3077" y="3123"/>
                    <a:pt x="6203" y="0"/>
                    <a:pt x="10060" y="0"/>
                  </a:cubicBezTo>
                  <a:lnTo>
                    <a:pt x="6886" y="0"/>
                  </a:lnTo>
                  <a:cubicBezTo>
                    <a:pt x="3080" y="63"/>
                    <a:pt x="29" y="3174"/>
                    <a:pt x="30" y="6983"/>
                  </a:cubicBezTo>
                  <a:cubicBezTo>
                    <a:pt x="-321" y="10754"/>
                    <a:pt x="2451" y="14093"/>
                    <a:pt x="6222" y="14449"/>
                  </a:cubicBezTo>
                  <a:cubicBezTo>
                    <a:pt x="6443" y="14462"/>
                    <a:pt x="6664" y="14474"/>
                    <a:pt x="6886" y="14474"/>
                  </a:cubicBezTo>
                  <a:lnTo>
                    <a:pt x="10187" y="14474"/>
                  </a:lnTo>
                  <a:cubicBezTo>
                    <a:pt x="6331" y="14550"/>
                    <a:pt x="3141" y="11491"/>
                    <a:pt x="3061" y="7643"/>
                  </a:cubicBezTo>
                  <a:cubicBezTo>
                    <a:pt x="3056" y="7415"/>
                    <a:pt x="3061" y="7199"/>
                    <a:pt x="3077" y="6983"/>
                  </a:cubicBezTo>
                  <a:close/>
                </a:path>
              </a:pathLst>
            </a:custGeom>
            <a:solidFill>
              <a:srgbClr val="000000"/>
            </a:solidFill>
            <a:ln w="12690" cap="flat">
              <a:noFill/>
              <a:prstDash val="solid"/>
              <a:miter/>
            </a:ln>
          </p:spPr>
          <p:txBody>
            <a:bodyPr rtlCol="0" anchor="ctr"/>
            <a:lstStyle/>
            <a:p>
              <a:endParaRPr lang="en-US"/>
            </a:p>
          </p:txBody>
        </p:sp>
        <p:sp>
          <p:nvSpPr>
            <p:cNvPr id="765" name="Freeform: Shape 764">
              <a:extLst>
                <a:ext uri="{FF2B5EF4-FFF2-40B4-BE49-F238E27FC236}">
                  <a16:creationId xmlns:a16="http://schemas.microsoft.com/office/drawing/2014/main" id="{AE42EAC5-07D6-4CE8-967A-7EAEB1219595}"/>
                </a:ext>
              </a:extLst>
            </p:cNvPr>
            <p:cNvSpPr/>
            <p:nvPr/>
          </p:nvSpPr>
          <p:spPr>
            <a:xfrm>
              <a:off x="682193" y="6080695"/>
              <a:ext cx="21532" cy="13887"/>
            </a:xfrm>
            <a:custGeom>
              <a:avLst/>
              <a:gdLst>
                <a:gd name="connsiteX0" fmla="*/ 21457 w 21532"/>
                <a:gd name="connsiteY0" fmla="*/ 5888 h 13887"/>
                <a:gd name="connsiteX1" fmla="*/ 21457 w 21532"/>
                <a:gd name="connsiteY1" fmla="*/ 3857 h 13887"/>
                <a:gd name="connsiteX2" fmla="*/ 20442 w 21532"/>
                <a:gd name="connsiteY2" fmla="*/ 1952 h 13887"/>
                <a:gd name="connsiteX3" fmla="*/ 19553 w 21532"/>
                <a:gd name="connsiteY3" fmla="*/ 809 h 13887"/>
                <a:gd name="connsiteX4" fmla="*/ 18410 w 21532"/>
                <a:gd name="connsiteY4" fmla="*/ 48 h 13887"/>
                <a:gd name="connsiteX5" fmla="*/ 17268 w 21532"/>
                <a:gd name="connsiteY5" fmla="*/ 48 h 13887"/>
                <a:gd name="connsiteX6" fmla="*/ 15871 w 21532"/>
                <a:gd name="connsiteY6" fmla="*/ 48 h 13887"/>
                <a:gd name="connsiteX7" fmla="*/ 14855 w 21532"/>
                <a:gd name="connsiteY7" fmla="*/ 48 h 13887"/>
                <a:gd name="connsiteX8" fmla="*/ 6983 w 21532"/>
                <a:gd name="connsiteY8" fmla="*/ 48 h 13887"/>
                <a:gd name="connsiteX9" fmla="*/ 0 w 21532"/>
                <a:gd name="connsiteY9" fmla="*/ 7031 h 13887"/>
                <a:gd name="connsiteX10" fmla="*/ 6983 w 21532"/>
                <a:gd name="connsiteY10" fmla="*/ 13887 h 13887"/>
                <a:gd name="connsiteX11" fmla="*/ 14855 w 21532"/>
                <a:gd name="connsiteY11" fmla="*/ 13887 h 13887"/>
                <a:gd name="connsiteX12" fmla="*/ 21526 w 21532"/>
                <a:gd name="connsiteY12" fmla="*/ 6599 h 13887"/>
                <a:gd name="connsiteX13" fmla="*/ 21457 w 21532"/>
                <a:gd name="connsiteY13" fmla="*/ 5888 h 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32" h="13887">
                  <a:moveTo>
                    <a:pt x="21457" y="5888"/>
                  </a:moveTo>
                  <a:cubicBezTo>
                    <a:pt x="21528" y="5215"/>
                    <a:pt x="21528" y="4530"/>
                    <a:pt x="21457" y="3857"/>
                  </a:cubicBezTo>
                  <a:cubicBezTo>
                    <a:pt x="21169" y="3196"/>
                    <a:pt x="20829" y="2562"/>
                    <a:pt x="20442" y="1952"/>
                  </a:cubicBezTo>
                  <a:lnTo>
                    <a:pt x="19553" y="809"/>
                  </a:lnTo>
                  <a:lnTo>
                    <a:pt x="18410" y="48"/>
                  </a:lnTo>
                  <a:cubicBezTo>
                    <a:pt x="18032" y="-16"/>
                    <a:pt x="17646" y="-16"/>
                    <a:pt x="17268" y="48"/>
                  </a:cubicBezTo>
                  <a:lnTo>
                    <a:pt x="15871" y="48"/>
                  </a:lnTo>
                  <a:lnTo>
                    <a:pt x="14855" y="48"/>
                  </a:lnTo>
                  <a:lnTo>
                    <a:pt x="6983" y="48"/>
                  </a:lnTo>
                  <a:cubicBezTo>
                    <a:pt x="3126" y="48"/>
                    <a:pt x="0" y="3171"/>
                    <a:pt x="0" y="7031"/>
                  </a:cubicBezTo>
                  <a:cubicBezTo>
                    <a:pt x="70" y="10840"/>
                    <a:pt x="3175" y="13887"/>
                    <a:pt x="6983" y="13887"/>
                  </a:cubicBezTo>
                  <a:lnTo>
                    <a:pt x="14855" y="13887"/>
                  </a:lnTo>
                  <a:cubicBezTo>
                    <a:pt x="18709" y="13722"/>
                    <a:pt x="21695" y="10459"/>
                    <a:pt x="21526" y="6599"/>
                  </a:cubicBezTo>
                  <a:cubicBezTo>
                    <a:pt x="21516" y="6371"/>
                    <a:pt x="21493" y="6129"/>
                    <a:pt x="21457" y="5888"/>
                  </a:cubicBezTo>
                  <a:close/>
                </a:path>
              </a:pathLst>
            </a:custGeom>
            <a:solidFill>
              <a:srgbClr val="000000"/>
            </a:solidFill>
            <a:ln w="12690" cap="flat">
              <a:noFill/>
              <a:prstDash val="solid"/>
              <a:miter/>
            </a:ln>
          </p:spPr>
          <p:txBody>
            <a:bodyPr rtlCol="0" anchor="ctr"/>
            <a:lstStyle/>
            <a:p>
              <a:endParaRPr lang="en-US"/>
            </a:p>
          </p:txBody>
        </p:sp>
        <p:sp>
          <p:nvSpPr>
            <p:cNvPr id="766" name="Freeform: Shape 765">
              <a:extLst>
                <a:ext uri="{FF2B5EF4-FFF2-40B4-BE49-F238E27FC236}">
                  <a16:creationId xmlns:a16="http://schemas.microsoft.com/office/drawing/2014/main" id="{7EF296C8-DADC-4240-B695-9DD94108EEAA}"/>
                </a:ext>
              </a:extLst>
            </p:cNvPr>
            <p:cNvSpPr/>
            <p:nvPr/>
          </p:nvSpPr>
          <p:spPr>
            <a:xfrm>
              <a:off x="2566382" y="6419492"/>
              <a:ext cx="98526" cy="13839"/>
            </a:xfrm>
            <a:custGeom>
              <a:avLst/>
              <a:gdLst>
                <a:gd name="connsiteX0" fmla="*/ 6856 w 98526"/>
                <a:gd name="connsiteY0" fmla="*/ 13839 h 13839"/>
                <a:gd name="connsiteX1" fmla="*/ 91543 w 98526"/>
                <a:gd name="connsiteY1" fmla="*/ 13839 h 13839"/>
                <a:gd name="connsiteX2" fmla="*/ 98526 w 98526"/>
                <a:gd name="connsiteY2" fmla="*/ 6983 h 13839"/>
                <a:gd name="connsiteX3" fmla="*/ 91543 w 98526"/>
                <a:gd name="connsiteY3" fmla="*/ 0 h 13839"/>
                <a:gd name="connsiteX4" fmla="*/ 6856 w 98526"/>
                <a:gd name="connsiteY4" fmla="*/ 0 h 13839"/>
                <a:gd name="connsiteX5" fmla="*/ 0 w 98526"/>
                <a:gd name="connsiteY5" fmla="*/ 6983 h 13839"/>
                <a:gd name="connsiteX6" fmla="*/ 6856 w 98526"/>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26" h="13839">
                  <a:moveTo>
                    <a:pt x="6856" y="13839"/>
                  </a:moveTo>
                  <a:lnTo>
                    <a:pt x="91543" y="13839"/>
                  </a:lnTo>
                  <a:cubicBezTo>
                    <a:pt x="95352" y="13839"/>
                    <a:pt x="98463" y="10792"/>
                    <a:pt x="98526" y="6983"/>
                  </a:cubicBezTo>
                  <a:cubicBezTo>
                    <a:pt x="98526" y="3123"/>
                    <a:pt x="95403" y="0"/>
                    <a:pt x="91543" y="0"/>
                  </a:cubicBezTo>
                  <a:lnTo>
                    <a:pt x="6856" y="0"/>
                  </a:lnTo>
                  <a:cubicBezTo>
                    <a:pt x="3047" y="63"/>
                    <a:pt x="0" y="3174"/>
                    <a:pt x="0" y="6983"/>
                  </a:cubicBezTo>
                  <a:cubicBezTo>
                    <a:pt x="0" y="10767"/>
                    <a:pt x="3072" y="13839"/>
                    <a:pt x="6856" y="13839"/>
                  </a:cubicBezTo>
                  <a:close/>
                </a:path>
              </a:pathLst>
            </a:custGeom>
            <a:solidFill>
              <a:srgbClr val="000000"/>
            </a:solidFill>
            <a:ln w="12690" cap="flat">
              <a:no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DC09E115-0CFA-4410-B92B-6FE6E4D2F280}"/>
                </a:ext>
              </a:extLst>
            </p:cNvPr>
            <p:cNvSpPr/>
            <p:nvPr/>
          </p:nvSpPr>
          <p:spPr>
            <a:xfrm>
              <a:off x="3311424" y="6461129"/>
              <a:ext cx="2412" cy="403891"/>
            </a:xfrm>
            <a:custGeom>
              <a:avLst/>
              <a:gdLst>
                <a:gd name="connsiteX0" fmla="*/ 2412 w 2412"/>
                <a:gd name="connsiteY0" fmla="*/ 7245 h 403891"/>
                <a:gd name="connsiteX1" fmla="*/ 2412 w 2412"/>
                <a:gd name="connsiteY1" fmla="*/ 7245 h 403891"/>
                <a:gd name="connsiteX2" fmla="*/ 2412 w 2412"/>
                <a:gd name="connsiteY2" fmla="*/ 1151 h 403891"/>
                <a:gd name="connsiteX3" fmla="*/ 1270 w 2412"/>
                <a:gd name="connsiteY3" fmla="*/ 8 h 403891"/>
                <a:gd name="connsiteX4" fmla="*/ 13 w 2412"/>
                <a:gd name="connsiteY4" fmla="*/ 1011 h 403891"/>
                <a:gd name="connsiteX5" fmla="*/ 0 w 2412"/>
                <a:gd name="connsiteY5" fmla="*/ 1151 h 403891"/>
                <a:gd name="connsiteX6" fmla="*/ 0 w 2412"/>
                <a:gd name="connsiteY6" fmla="*/ 7880 h 403891"/>
                <a:gd name="connsiteX7" fmla="*/ 0 w 2412"/>
                <a:gd name="connsiteY7" fmla="*/ 7880 h 403891"/>
                <a:gd name="connsiteX8" fmla="*/ 0 w 2412"/>
                <a:gd name="connsiteY8" fmla="*/ 403892 h 403891"/>
                <a:gd name="connsiteX9" fmla="*/ 2412 w 2412"/>
                <a:gd name="connsiteY9" fmla="*/ 403892 h 403891"/>
                <a:gd name="connsiteX10" fmla="*/ 2412 w 2412"/>
                <a:gd name="connsiteY10" fmla="*/ 7753 h 4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403891">
                  <a:moveTo>
                    <a:pt x="2412" y="7245"/>
                  </a:moveTo>
                  <a:lnTo>
                    <a:pt x="2412" y="7245"/>
                  </a:lnTo>
                  <a:lnTo>
                    <a:pt x="2412" y="1151"/>
                  </a:lnTo>
                  <a:cubicBezTo>
                    <a:pt x="2412" y="516"/>
                    <a:pt x="1904" y="8"/>
                    <a:pt x="1270" y="8"/>
                  </a:cubicBezTo>
                  <a:cubicBezTo>
                    <a:pt x="647" y="-68"/>
                    <a:pt x="76" y="389"/>
                    <a:pt x="13" y="1011"/>
                  </a:cubicBezTo>
                  <a:cubicBezTo>
                    <a:pt x="0" y="1062"/>
                    <a:pt x="0" y="1100"/>
                    <a:pt x="0" y="1151"/>
                  </a:cubicBezTo>
                  <a:lnTo>
                    <a:pt x="0" y="7880"/>
                  </a:lnTo>
                  <a:lnTo>
                    <a:pt x="0" y="7880"/>
                  </a:lnTo>
                  <a:lnTo>
                    <a:pt x="0" y="403892"/>
                  </a:lnTo>
                  <a:lnTo>
                    <a:pt x="2412" y="403892"/>
                  </a:lnTo>
                  <a:lnTo>
                    <a:pt x="2412" y="7753"/>
                  </a:lnTo>
                  <a:close/>
                </a:path>
              </a:pathLst>
            </a:custGeom>
            <a:solidFill>
              <a:srgbClr val="000000"/>
            </a:solidFill>
            <a:ln w="12690" cap="flat">
              <a:no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AA0399CA-1A20-402E-BB02-D8C0BD3F76EB}"/>
                </a:ext>
              </a:extLst>
            </p:cNvPr>
            <p:cNvSpPr/>
            <p:nvPr/>
          </p:nvSpPr>
          <p:spPr>
            <a:xfrm>
              <a:off x="1530840" y="5807763"/>
              <a:ext cx="13839" cy="662262"/>
            </a:xfrm>
            <a:custGeom>
              <a:avLst/>
              <a:gdLst>
                <a:gd name="connsiteX0" fmla="*/ 0 w 13839"/>
                <a:gd name="connsiteY0" fmla="*/ 6983 h 662262"/>
                <a:gd name="connsiteX1" fmla="*/ 0 w 13839"/>
                <a:gd name="connsiteY1" fmla="*/ 655406 h 662262"/>
                <a:gd name="connsiteX2" fmla="*/ 6856 w 13839"/>
                <a:gd name="connsiteY2" fmla="*/ 662263 h 662262"/>
                <a:gd name="connsiteX3" fmla="*/ 13839 w 13839"/>
                <a:gd name="connsiteY3" fmla="*/ 655406 h 662262"/>
                <a:gd name="connsiteX4" fmla="*/ 13839 w 13839"/>
                <a:gd name="connsiteY4" fmla="*/ 6983 h 662262"/>
                <a:gd name="connsiteX5" fmla="*/ 6856 w 13839"/>
                <a:gd name="connsiteY5" fmla="*/ 0 h 662262"/>
                <a:gd name="connsiteX6" fmla="*/ 0 w 13839"/>
                <a:gd name="connsiteY6" fmla="*/ 6983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62262">
                  <a:moveTo>
                    <a:pt x="0" y="6983"/>
                  </a:moveTo>
                  <a:lnTo>
                    <a:pt x="0" y="655406"/>
                  </a:lnTo>
                  <a:cubicBezTo>
                    <a:pt x="0" y="659190"/>
                    <a:pt x="3073" y="662263"/>
                    <a:pt x="6856" y="662263"/>
                  </a:cubicBezTo>
                  <a:cubicBezTo>
                    <a:pt x="10665" y="662263"/>
                    <a:pt x="13776" y="659215"/>
                    <a:pt x="13839" y="655406"/>
                  </a:cubicBezTo>
                  <a:lnTo>
                    <a:pt x="13839" y="6983"/>
                  </a:lnTo>
                  <a:cubicBezTo>
                    <a:pt x="13839"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endParaRPr lang="en-US"/>
            </a:p>
          </p:txBody>
        </p:sp>
        <p:sp>
          <p:nvSpPr>
            <p:cNvPr id="769" name="Freeform: Shape 768">
              <a:extLst>
                <a:ext uri="{FF2B5EF4-FFF2-40B4-BE49-F238E27FC236}">
                  <a16:creationId xmlns:a16="http://schemas.microsoft.com/office/drawing/2014/main" id="{AD48A40E-ABD2-4DA7-A25A-F2B285250047}"/>
                </a:ext>
              </a:extLst>
            </p:cNvPr>
            <p:cNvSpPr/>
            <p:nvPr/>
          </p:nvSpPr>
          <p:spPr>
            <a:xfrm>
              <a:off x="3276207" y="5814401"/>
              <a:ext cx="12998" cy="102569"/>
            </a:xfrm>
            <a:custGeom>
              <a:avLst/>
              <a:gdLst>
                <a:gd name="connsiteX0" fmla="*/ 809 w 12998"/>
                <a:gd name="connsiteY0" fmla="*/ 89223 h 102569"/>
                <a:gd name="connsiteX1" fmla="*/ 809 w 12998"/>
                <a:gd name="connsiteY1" fmla="*/ 97095 h 102569"/>
                <a:gd name="connsiteX2" fmla="*/ 809 w 12998"/>
                <a:gd name="connsiteY2" fmla="*/ 97095 h 102569"/>
                <a:gd name="connsiteX3" fmla="*/ 809 w 12998"/>
                <a:gd name="connsiteY3" fmla="*/ 98491 h 102569"/>
                <a:gd name="connsiteX4" fmla="*/ 809 w 12998"/>
                <a:gd name="connsiteY4" fmla="*/ 99507 h 102569"/>
                <a:gd name="connsiteX5" fmla="*/ 1698 w 12998"/>
                <a:gd name="connsiteY5" fmla="*/ 100777 h 102569"/>
                <a:gd name="connsiteX6" fmla="*/ 1698 w 12998"/>
                <a:gd name="connsiteY6" fmla="*/ 101538 h 102569"/>
                <a:gd name="connsiteX7" fmla="*/ 3095 w 12998"/>
                <a:gd name="connsiteY7" fmla="*/ 102427 h 102569"/>
                <a:gd name="connsiteX8" fmla="*/ 3857 w 12998"/>
                <a:gd name="connsiteY8" fmla="*/ 102427 h 102569"/>
                <a:gd name="connsiteX9" fmla="*/ 6269 w 12998"/>
                <a:gd name="connsiteY9" fmla="*/ 102427 h 102569"/>
                <a:gd name="connsiteX10" fmla="*/ 6269 w 12998"/>
                <a:gd name="connsiteY10" fmla="*/ 102427 h 102569"/>
                <a:gd name="connsiteX11" fmla="*/ 9443 w 12998"/>
                <a:gd name="connsiteY11" fmla="*/ 101665 h 102569"/>
                <a:gd name="connsiteX12" fmla="*/ 9443 w 12998"/>
                <a:gd name="connsiteY12" fmla="*/ 101665 h 102569"/>
                <a:gd name="connsiteX13" fmla="*/ 12998 w 12998"/>
                <a:gd name="connsiteY13" fmla="*/ 95698 h 102569"/>
                <a:gd name="connsiteX14" fmla="*/ 12998 w 12998"/>
                <a:gd name="connsiteY14" fmla="*/ 6567 h 102569"/>
                <a:gd name="connsiteX15" fmla="*/ 8173 w 12998"/>
                <a:gd name="connsiteY15" fmla="*/ 91 h 102569"/>
                <a:gd name="connsiteX16" fmla="*/ 6904 w 12998"/>
                <a:gd name="connsiteY16" fmla="*/ 91 h 102569"/>
                <a:gd name="connsiteX17" fmla="*/ 6015 w 12998"/>
                <a:gd name="connsiteY17" fmla="*/ 91 h 102569"/>
                <a:gd name="connsiteX18" fmla="*/ 3984 w 12998"/>
                <a:gd name="connsiteY18" fmla="*/ 91 h 102569"/>
                <a:gd name="connsiteX19" fmla="*/ 2714 w 12998"/>
                <a:gd name="connsiteY19" fmla="*/ 91 h 102569"/>
                <a:gd name="connsiteX20" fmla="*/ 1698 w 12998"/>
                <a:gd name="connsiteY20" fmla="*/ 853 h 102569"/>
                <a:gd name="connsiteX21" fmla="*/ 809 w 12998"/>
                <a:gd name="connsiteY21" fmla="*/ 1742 h 102569"/>
                <a:gd name="connsiteX22" fmla="*/ 48 w 12998"/>
                <a:gd name="connsiteY22" fmla="*/ 2885 h 102569"/>
                <a:gd name="connsiteX23" fmla="*/ 48 w 12998"/>
                <a:gd name="connsiteY23" fmla="*/ 4027 h 102569"/>
                <a:gd name="connsiteX24" fmla="*/ 48 w 12998"/>
                <a:gd name="connsiteY24" fmla="*/ 5424 h 102569"/>
                <a:gd name="connsiteX25" fmla="*/ 48 w 12998"/>
                <a:gd name="connsiteY25" fmla="*/ 5424 h 102569"/>
                <a:gd name="connsiteX26" fmla="*/ 48 w 12998"/>
                <a:gd name="connsiteY26" fmla="*/ 89223 h 10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998" h="102569">
                  <a:moveTo>
                    <a:pt x="809" y="89223"/>
                  </a:moveTo>
                  <a:lnTo>
                    <a:pt x="809" y="97095"/>
                  </a:lnTo>
                  <a:cubicBezTo>
                    <a:pt x="809" y="97095"/>
                    <a:pt x="809" y="97095"/>
                    <a:pt x="809" y="97095"/>
                  </a:cubicBezTo>
                  <a:cubicBezTo>
                    <a:pt x="733" y="97558"/>
                    <a:pt x="733" y="98029"/>
                    <a:pt x="809" y="98491"/>
                  </a:cubicBezTo>
                  <a:lnTo>
                    <a:pt x="809" y="99507"/>
                  </a:lnTo>
                  <a:cubicBezTo>
                    <a:pt x="1025" y="99978"/>
                    <a:pt x="1330" y="100407"/>
                    <a:pt x="1698" y="100777"/>
                  </a:cubicBezTo>
                  <a:lnTo>
                    <a:pt x="1698" y="101538"/>
                  </a:lnTo>
                  <a:cubicBezTo>
                    <a:pt x="2117" y="101908"/>
                    <a:pt x="2587" y="102208"/>
                    <a:pt x="3095" y="102427"/>
                  </a:cubicBezTo>
                  <a:cubicBezTo>
                    <a:pt x="3095" y="102427"/>
                    <a:pt x="3095" y="102427"/>
                    <a:pt x="3857" y="102427"/>
                  </a:cubicBezTo>
                  <a:cubicBezTo>
                    <a:pt x="4644" y="102616"/>
                    <a:pt x="5482" y="102616"/>
                    <a:pt x="6269" y="102427"/>
                  </a:cubicBezTo>
                  <a:lnTo>
                    <a:pt x="6269" y="102427"/>
                  </a:lnTo>
                  <a:cubicBezTo>
                    <a:pt x="7374" y="102432"/>
                    <a:pt x="8465" y="102171"/>
                    <a:pt x="9443" y="101665"/>
                  </a:cubicBezTo>
                  <a:lnTo>
                    <a:pt x="9443" y="101665"/>
                  </a:lnTo>
                  <a:cubicBezTo>
                    <a:pt x="11589" y="100430"/>
                    <a:pt x="12935" y="98170"/>
                    <a:pt x="12998" y="95698"/>
                  </a:cubicBezTo>
                  <a:lnTo>
                    <a:pt x="12998" y="6567"/>
                  </a:lnTo>
                  <a:cubicBezTo>
                    <a:pt x="12960" y="3589"/>
                    <a:pt x="11017" y="974"/>
                    <a:pt x="8173" y="91"/>
                  </a:cubicBezTo>
                  <a:lnTo>
                    <a:pt x="6904" y="91"/>
                  </a:lnTo>
                  <a:lnTo>
                    <a:pt x="6015" y="91"/>
                  </a:lnTo>
                  <a:cubicBezTo>
                    <a:pt x="5342" y="-30"/>
                    <a:pt x="4657" y="-30"/>
                    <a:pt x="3984" y="91"/>
                  </a:cubicBezTo>
                  <a:lnTo>
                    <a:pt x="2714" y="91"/>
                  </a:lnTo>
                  <a:lnTo>
                    <a:pt x="1698" y="853"/>
                  </a:lnTo>
                  <a:cubicBezTo>
                    <a:pt x="1368" y="1116"/>
                    <a:pt x="1076" y="1414"/>
                    <a:pt x="809" y="1742"/>
                  </a:cubicBezTo>
                  <a:lnTo>
                    <a:pt x="48" y="2885"/>
                  </a:lnTo>
                  <a:cubicBezTo>
                    <a:pt x="-3" y="3264"/>
                    <a:pt x="-3" y="3648"/>
                    <a:pt x="48" y="4027"/>
                  </a:cubicBezTo>
                  <a:cubicBezTo>
                    <a:pt x="-16" y="4491"/>
                    <a:pt x="-16" y="4961"/>
                    <a:pt x="48" y="5424"/>
                  </a:cubicBezTo>
                  <a:cubicBezTo>
                    <a:pt x="48" y="5424"/>
                    <a:pt x="48" y="5424"/>
                    <a:pt x="48" y="5424"/>
                  </a:cubicBezTo>
                  <a:lnTo>
                    <a:pt x="48" y="89223"/>
                  </a:lnTo>
                  <a:close/>
                </a:path>
              </a:pathLst>
            </a:custGeom>
            <a:solidFill>
              <a:srgbClr val="000000"/>
            </a:solidFill>
            <a:ln w="12690" cap="flat">
              <a:noFill/>
              <a:prstDash val="solid"/>
              <a:miter/>
            </a:ln>
          </p:spPr>
          <p:txBody>
            <a:bodyPr rtlCol="0" anchor="ctr"/>
            <a:lstStyle/>
            <a:p>
              <a:endParaRPr lang="en-US"/>
            </a:p>
          </p:txBody>
        </p:sp>
        <p:sp>
          <p:nvSpPr>
            <p:cNvPr id="770" name="Freeform: Shape 769">
              <a:extLst>
                <a:ext uri="{FF2B5EF4-FFF2-40B4-BE49-F238E27FC236}">
                  <a16:creationId xmlns:a16="http://schemas.microsoft.com/office/drawing/2014/main" id="{EB23B82D-BBAF-4E16-8E1A-5120F5E95E7F}"/>
                </a:ext>
              </a:extLst>
            </p:cNvPr>
            <p:cNvSpPr/>
            <p:nvPr/>
          </p:nvSpPr>
          <p:spPr>
            <a:xfrm>
              <a:off x="8610008" y="6443616"/>
              <a:ext cx="809032" cy="420897"/>
            </a:xfrm>
            <a:custGeom>
              <a:avLst/>
              <a:gdLst>
                <a:gd name="connsiteX0" fmla="*/ 806113 w 809032"/>
                <a:gd name="connsiteY0" fmla="*/ 4063 h 420897"/>
                <a:gd name="connsiteX1" fmla="*/ 801923 w 809032"/>
                <a:gd name="connsiteY1" fmla="*/ 2539 h 420897"/>
                <a:gd name="connsiteX2" fmla="*/ 659339 w 809032"/>
                <a:gd name="connsiteY2" fmla="*/ 2539 h 420897"/>
                <a:gd name="connsiteX3" fmla="*/ 654641 w 809032"/>
                <a:gd name="connsiteY3" fmla="*/ 4317 h 420897"/>
                <a:gd name="connsiteX4" fmla="*/ 648293 w 809032"/>
                <a:gd name="connsiteY4" fmla="*/ 0 h 420897"/>
                <a:gd name="connsiteX5" fmla="*/ 271328 w 809032"/>
                <a:gd name="connsiteY5" fmla="*/ 0 h 420897"/>
                <a:gd name="connsiteX6" fmla="*/ 264726 w 809032"/>
                <a:gd name="connsiteY6" fmla="*/ 5206 h 420897"/>
                <a:gd name="connsiteX7" fmla="*/ 258250 w 809032"/>
                <a:gd name="connsiteY7" fmla="*/ 0 h 420897"/>
                <a:gd name="connsiteX8" fmla="*/ 119349 w 809032"/>
                <a:gd name="connsiteY8" fmla="*/ 0 h 420897"/>
                <a:gd name="connsiteX9" fmla="*/ 113254 w 809032"/>
                <a:gd name="connsiteY9" fmla="*/ 3809 h 420897"/>
                <a:gd name="connsiteX10" fmla="*/ 109573 w 809032"/>
                <a:gd name="connsiteY10" fmla="*/ 2539 h 420897"/>
                <a:gd name="connsiteX11" fmla="*/ 10030 w 809032"/>
                <a:gd name="connsiteY11" fmla="*/ 2539 h 420897"/>
                <a:gd name="connsiteX12" fmla="*/ 4444 w 809032"/>
                <a:gd name="connsiteY12" fmla="*/ 5587 h 420897"/>
                <a:gd name="connsiteX13" fmla="*/ 0 w 809032"/>
                <a:gd name="connsiteY13" fmla="*/ 3809 h 420897"/>
                <a:gd name="connsiteX14" fmla="*/ 0 w 809032"/>
                <a:gd name="connsiteY14" fmla="*/ 420897 h 420897"/>
                <a:gd name="connsiteX15" fmla="*/ 809033 w 809032"/>
                <a:gd name="connsiteY15" fmla="*/ 420897 h 420897"/>
                <a:gd name="connsiteX16" fmla="*/ 809033 w 809032"/>
                <a:gd name="connsiteY16" fmla="*/ 3301 h 420897"/>
                <a:gd name="connsiteX17" fmla="*/ 806113 w 809032"/>
                <a:gd name="connsiteY17" fmla="*/ 4063 h 42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032" h="420897">
                  <a:moveTo>
                    <a:pt x="806113" y="4063"/>
                  </a:moveTo>
                  <a:cubicBezTo>
                    <a:pt x="804589" y="4025"/>
                    <a:pt x="803116" y="3492"/>
                    <a:pt x="801923" y="2539"/>
                  </a:cubicBezTo>
                  <a:lnTo>
                    <a:pt x="659339" y="2539"/>
                  </a:lnTo>
                  <a:cubicBezTo>
                    <a:pt x="658044" y="3695"/>
                    <a:pt x="656368" y="4330"/>
                    <a:pt x="654641" y="4317"/>
                  </a:cubicBezTo>
                  <a:cubicBezTo>
                    <a:pt x="651835" y="4342"/>
                    <a:pt x="649296" y="2628"/>
                    <a:pt x="648293" y="0"/>
                  </a:cubicBezTo>
                  <a:lnTo>
                    <a:pt x="271328" y="0"/>
                  </a:lnTo>
                  <a:cubicBezTo>
                    <a:pt x="270541" y="3009"/>
                    <a:pt x="267836" y="5142"/>
                    <a:pt x="264726" y="5206"/>
                  </a:cubicBezTo>
                  <a:cubicBezTo>
                    <a:pt x="261628" y="5168"/>
                    <a:pt x="258949" y="3022"/>
                    <a:pt x="258250" y="0"/>
                  </a:cubicBezTo>
                  <a:lnTo>
                    <a:pt x="119349" y="0"/>
                  </a:lnTo>
                  <a:cubicBezTo>
                    <a:pt x="118181" y="2298"/>
                    <a:pt x="115832" y="3758"/>
                    <a:pt x="113254" y="3809"/>
                  </a:cubicBezTo>
                  <a:cubicBezTo>
                    <a:pt x="111934" y="3733"/>
                    <a:pt x="110664" y="3301"/>
                    <a:pt x="109573" y="2539"/>
                  </a:cubicBezTo>
                  <a:lnTo>
                    <a:pt x="10030" y="2539"/>
                  </a:lnTo>
                  <a:cubicBezTo>
                    <a:pt x="8786" y="4406"/>
                    <a:pt x="6691" y="5548"/>
                    <a:pt x="4444" y="5587"/>
                  </a:cubicBezTo>
                  <a:cubicBezTo>
                    <a:pt x="2806" y="5510"/>
                    <a:pt x="1231" y="4888"/>
                    <a:pt x="0" y="3809"/>
                  </a:cubicBezTo>
                  <a:lnTo>
                    <a:pt x="0" y="420897"/>
                  </a:lnTo>
                  <a:lnTo>
                    <a:pt x="809033" y="420897"/>
                  </a:lnTo>
                  <a:lnTo>
                    <a:pt x="809033" y="3301"/>
                  </a:lnTo>
                  <a:cubicBezTo>
                    <a:pt x="808145" y="3822"/>
                    <a:pt x="807141" y="4076"/>
                    <a:pt x="806113" y="4063"/>
                  </a:cubicBezTo>
                  <a:close/>
                </a:path>
              </a:pathLst>
            </a:custGeom>
            <a:solidFill>
              <a:schemeClr val="tx2"/>
            </a:solidFill>
            <a:ln w="12690" cap="flat">
              <a:no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FACC0742-21CB-4806-BCF0-E24DCB4DC7AB}"/>
                </a:ext>
              </a:extLst>
            </p:cNvPr>
            <p:cNvSpPr/>
            <p:nvPr/>
          </p:nvSpPr>
          <p:spPr>
            <a:xfrm>
              <a:off x="8538271" y="5898291"/>
              <a:ext cx="69324" cy="966222"/>
            </a:xfrm>
            <a:custGeom>
              <a:avLst/>
              <a:gdLst>
                <a:gd name="connsiteX0" fmla="*/ 69324 w 69324"/>
                <a:gd name="connsiteY0" fmla="*/ 545833 h 966222"/>
                <a:gd name="connsiteX1" fmla="*/ 69324 w 69324"/>
                <a:gd name="connsiteY1" fmla="*/ 16760 h 966222"/>
                <a:gd name="connsiteX2" fmla="*/ 0 w 69324"/>
                <a:gd name="connsiteY2" fmla="*/ 0 h 966222"/>
                <a:gd name="connsiteX3" fmla="*/ 0 w 69324"/>
                <a:gd name="connsiteY3" fmla="*/ 966223 h 966222"/>
                <a:gd name="connsiteX4" fmla="*/ 69324 w 69324"/>
                <a:gd name="connsiteY4" fmla="*/ 966223 h 966222"/>
                <a:gd name="connsiteX5" fmla="*/ 69324 w 69324"/>
                <a:gd name="connsiteY5" fmla="*/ 545960 h 96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24" h="966222">
                  <a:moveTo>
                    <a:pt x="69324" y="545833"/>
                  </a:moveTo>
                  <a:lnTo>
                    <a:pt x="69324" y="16760"/>
                  </a:lnTo>
                  <a:lnTo>
                    <a:pt x="0" y="0"/>
                  </a:lnTo>
                  <a:lnTo>
                    <a:pt x="0" y="966223"/>
                  </a:lnTo>
                  <a:lnTo>
                    <a:pt x="69324" y="966223"/>
                  </a:lnTo>
                  <a:lnTo>
                    <a:pt x="69324" y="545960"/>
                  </a:lnTo>
                  <a:close/>
                </a:path>
              </a:pathLst>
            </a:custGeom>
            <a:solidFill>
              <a:schemeClr val="accent2"/>
            </a:solidFill>
            <a:ln w="12690" cap="flat">
              <a:noFill/>
              <a:prstDash val="solid"/>
              <a:miter/>
            </a:ln>
          </p:spPr>
          <p:txBody>
            <a:bodyPr rtlCol="0" anchor="ctr"/>
            <a:lstStyle/>
            <a:p>
              <a:endParaRPr lang="en-US"/>
            </a:p>
          </p:txBody>
        </p:sp>
        <p:sp>
          <p:nvSpPr>
            <p:cNvPr id="772" name="Freeform: Shape 771">
              <a:extLst>
                <a:ext uri="{FF2B5EF4-FFF2-40B4-BE49-F238E27FC236}">
                  <a16:creationId xmlns:a16="http://schemas.microsoft.com/office/drawing/2014/main" id="{BFF465E3-D043-41ED-B360-F69B66D6B448}"/>
                </a:ext>
              </a:extLst>
            </p:cNvPr>
            <p:cNvSpPr/>
            <p:nvPr/>
          </p:nvSpPr>
          <p:spPr>
            <a:xfrm>
              <a:off x="8237868" y="5897783"/>
              <a:ext cx="297991" cy="966730"/>
            </a:xfrm>
            <a:custGeom>
              <a:avLst/>
              <a:gdLst>
                <a:gd name="connsiteX0" fmla="*/ 0 w 297991"/>
                <a:gd name="connsiteY0" fmla="*/ 0 h 966730"/>
                <a:gd name="connsiteX1" fmla="*/ 297991 w 297991"/>
                <a:gd name="connsiteY1" fmla="*/ 0 h 966730"/>
                <a:gd name="connsiteX2" fmla="*/ 297991 w 297991"/>
                <a:gd name="connsiteY2" fmla="*/ 966731 h 966730"/>
                <a:gd name="connsiteX3" fmla="*/ 0 w 297991"/>
                <a:gd name="connsiteY3" fmla="*/ 966731 h 966730"/>
              </a:gdLst>
              <a:ahLst/>
              <a:cxnLst>
                <a:cxn ang="0">
                  <a:pos x="connsiteX0" y="connsiteY0"/>
                </a:cxn>
                <a:cxn ang="0">
                  <a:pos x="connsiteX1" y="connsiteY1"/>
                </a:cxn>
                <a:cxn ang="0">
                  <a:pos x="connsiteX2" y="connsiteY2"/>
                </a:cxn>
                <a:cxn ang="0">
                  <a:pos x="connsiteX3" y="connsiteY3"/>
                </a:cxn>
              </a:cxnLst>
              <a:rect l="l" t="t" r="r" b="b"/>
              <a:pathLst>
                <a:path w="297991" h="966730">
                  <a:moveTo>
                    <a:pt x="0" y="0"/>
                  </a:moveTo>
                  <a:lnTo>
                    <a:pt x="297991" y="0"/>
                  </a:lnTo>
                  <a:lnTo>
                    <a:pt x="297991" y="966731"/>
                  </a:lnTo>
                  <a:lnTo>
                    <a:pt x="0" y="966731"/>
                  </a:lnTo>
                  <a:close/>
                </a:path>
              </a:pathLst>
            </a:custGeom>
            <a:solidFill>
              <a:schemeClr val="accent4"/>
            </a:solidFill>
            <a:ln w="12690" cap="flat">
              <a:noFill/>
              <a:prstDash val="solid"/>
              <a:miter/>
            </a:ln>
          </p:spPr>
          <p:txBody>
            <a:bodyPr rtlCol="0" anchor="ctr"/>
            <a:lstStyle/>
            <a:p>
              <a:endParaRPr lang="en-US"/>
            </a:p>
          </p:txBody>
        </p:sp>
        <p:sp>
          <p:nvSpPr>
            <p:cNvPr id="773" name="Freeform: Shape 772">
              <a:extLst>
                <a:ext uri="{FF2B5EF4-FFF2-40B4-BE49-F238E27FC236}">
                  <a16:creationId xmlns:a16="http://schemas.microsoft.com/office/drawing/2014/main" id="{9775A619-3313-4132-BE2A-E64E8253BD42}"/>
                </a:ext>
              </a:extLst>
            </p:cNvPr>
            <p:cNvSpPr/>
            <p:nvPr/>
          </p:nvSpPr>
          <p:spPr>
            <a:xfrm>
              <a:off x="11779991" y="6429777"/>
              <a:ext cx="21838" cy="434736"/>
            </a:xfrm>
            <a:custGeom>
              <a:avLst/>
              <a:gdLst>
                <a:gd name="connsiteX0" fmla="*/ 21839 w 21838"/>
                <a:gd name="connsiteY0" fmla="*/ 67801 h 434736"/>
                <a:gd name="connsiteX1" fmla="*/ 21839 w 21838"/>
                <a:gd name="connsiteY1" fmla="*/ 0 h 434736"/>
                <a:gd name="connsiteX2" fmla="*/ 0 w 21838"/>
                <a:gd name="connsiteY2" fmla="*/ 0 h 434736"/>
                <a:gd name="connsiteX3" fmla="*/ 0 w 21838"/>
                <a:gd name="connsiteY3" fmla="*/ 434737 h 434736"/>
                <a:gd name="connsiteX4" fmla="*/ 16125 w 21838"/>
                <a:gd name="connsiteY4" fmla="*/ 434737 h 434736"/>
                <a:gd name="connsiteX5" fmla="*/ 16125 w 21838"/>
                <a:gd name="connsiteY5" fmla="*/ 74403 h 434736"/>
                <a:gd name="connsiteX6" fmla="*/ 21839 w 21838"/>
                <a:gd name="connsiteY6" fmla="*/ 67801 h 43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8" h="434736">
                  <a:moveTo>
                    <a:pt x="21839" y="67801"/>
                  </a:moveTo>
                  <a:lnTo>
                    <a:pt x="21839" y="0"/>
                  </a:lnTo>
                  <a:lnTo>
                    <a:pt x="0" y="0"/>
                  </a:lnTo>
                  <a:lnTo>
                    <a:pt x="0" y="434737"/>
                  </a:lnTo>
                  <a:lnTo>
                    <a:pt x="16125" y="434737"/>
                  </a:lnTo>
                  <a:lnTo>
                    <a:pt x="16125" y="74403"/>
                  </a:lnTo>
                  <a:cubicBezTo>
                    <a:pt x="16201" y="71114"/>
                    <a:pt x="18601" y="68347"/>
                    <a:pt x="21839" y="67801"/>
                  </a:cubicBezTo>
                  <a:close/>
                </a:path>
              </a:pathLst>
            </a:custGeom>
            <a:solidFill>
              <a:srgbClr val="E8E7E3"/>
            </a:solidFill>
            <a:ln w="12690" cap="flat">
              <a:noFill/>
              <a:prstDash val="solid"/>
              <a:miter/>
            </a:ln>
          </p:spPr>
          <p:txBody>
            <a:bodyPr rtlCol="0" anchor="ctr"/>
            <a:lstStyle/>
            <a:p>
              <a:endParaRPr lang="en-US"/>
            </a:p>
          </p:txBody>
        </p:sp>
        <p:sp>
          <p:nvSpPr>
            <p:cNvPr id="774" name="Freeform: Shape 773">
              <a:extLst>
                <a:ext uri="{FF2B5EF4-FFF2-40B4-BE49-F238E27FC236}">
                  <a16:creationId xmlns:a16="http://schemas.microsoft.com/office/drawing/2014/main" id="{A619DE1B-1540-4392-BA51-AD8F5EAAB132}"/>
                </a:ext>
              </a:extLst>
            </p:cNvPr>
            <p:cNvSpPr/>
            <p:nvPr/>
          </p:nvSpPr>
          <p:spPr>
            <a:xfrm>
              <a:off x="11804242" y="6429777"/>
              <a:ext cx="370996" cy="68181"/>
            </a:xfrm>
            <a:custGeom>
              <a:avLst/>
              <a:gdLst>
                <a:gd name="connsiteX0" fmla="*/ 0 w 370996"/>
                <a:gd name="connsiteY0" fmla="*/ 0 h 68181"/>
                <a:gd name="connsiteX1" fmla="*/ 0 w 370996"/>
                <a:gd name="connsiteY1" fmla="*/ 68181 h 68181"/>
                <a:gd name="connsiteX2" fmla="*/ 338366 w 370996"/>
                <a:gd name="connsiteY2" fmla="*/ 68181 h 68181"/>
                <a:gd name="connsiteX3" fmla="*/ 370997 w 370996"/>
                <a:gd name="connsiteY3" fmla="*/ 68181 h 68181"/>
                <a:gd name="connsiteX4" fmla="*/ 370997 w 370996"/>
                <a:gd name="connsiteY4" fmla="*/ 508 h 68181"/>
                <a:gd name="connsiteX5" fmla="*/ 338239 w 370996"/>
                <a:gd name="connsiteY5" fmla="*/ 0 h 68181"/>
                <a:gd name="connsiteX6" fmla="*/ 0 w 370996"/>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6" h="68181">
                  <a:moveTo>
                    <a:pt x="0" y="0"/>
                  </a:moveTo>
                  <a:lnTo>
                    <a:pt x="0" y="68181"/>
                  </a:lnTo>
                  <a:lnTo>
                    <a:pt x="338366" y="68181"/>
                  </a:lnTo>
                  <a:lnTo>
                    <a:pt x="370997" y="68181"/>
                  </a:lnTo>
                  <a:lnTo>
                    <a:pt x="370997" y="508"/>
                  </a:lnTo>
                  <a:lnTo>
                    <a:pt x="338239" y="0"/>
                  </a:lnTo>
                  <a:lnTo>
                    <a:pt x="0" y="0"/>
                  </a:lnTo>
                  <a:close/>
                </a:path>
              </a:pathLst>
            </a:custGeom>
            <a:solidFill>
              <a:schemeClr val="bg1">
                <a:lumMod val="95000"/>
              </a:schemeClr>
            </a:solidFill>
            <a:ln w="12690" cap="flat">
              <a:noFill/>
              <a:prstDash val="solid"/>
              <a:miter/>
            </a:ln>
          </p:spPr>
          <p:txBody>
            <a:bodyPr rtlCol="0" anchor="ctr"/>
            <a:lstStyle/>
            <a:p>
              <a:endParaRPr lang="en-US"/>
            </a:p>
          </p:txBody>
        </p:sp>
        <p:sp>
          <p:nvSpPr>
            <p:cNvPr id="775" name="Freeform: Shape 774">
              <a:extLst>
                <a:ext uri="{FF2B5EF4-FFF2-40B4-BE49-F238E27FC236}">
                  <a16:creationId xmlns:a16="http://schemas.microsoft.com/office/drawing/2014/main" id="{FF3318F2-2F10-4B94-9DCC-BCB88DE0EFE0}"/>
                </a:ext>
              </a:extLst>
            </p:cNvPr>
            <p:cNvSpPr/>
            <p:nvPr/>
          </p:nvSpPr>
          <p:spPr>
            <a:xfrm>
              <a:off x="10444045" y="5632040"/>
              <a:ext cx="28059" cy="190959"/>
            </a:xfrm>
            <a:custGeom>
              <a:avLst/>
              <a:gdLst>
                <a:gd name="connsiteX0" fmla="*/ 28059 w 28059"/>
                <a:gd name="connsiteY0" fmla="*/ 190959 h 190959"/>
                <a:gd name="connsiteX1" fmla="*/ 28059 w 28059"/>
                <a:gd name="connsiteY1" fmla="*/ 10411 h 190959"/>
                <a:gd name="connsiteX2" fmla="*/ 26028 w 28059"/>
                <a:gd name="connsiteY2" fmla="*/ 0 h 190959"/>
                <a:gd name="connsiteX3" fmla="*/ 0 w 28059"/>
                <a:gd name="connsiteY3" fmla="*/ 0 h 190959"/>
                <a:gd name="connsiteX4" fmla="*/ 0 w 28059"/>
                <a:gd name="connsiteY4" fmla="*/ 9776 h 190959"/>
                <a:gd name="connsiteX5" fmla="*/ 0 w 28059"/>
                <a:gd name="connsiteY5" fmla="*/ 190959 h 190959"/>
                <a:gd name="connsiteX6" fmla="*/ 28059 w 28059"/>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59" h="190959">
                  <a:moveTo>
                    <a:pt x="28059" y="190959"/>
                  </a:moveTo>
                  <a:lnTo>
                    <a:pt x="28059" y="10411"/>
                  </a:lnTo>
                  <a:lnTo>
                    <a:pt x="26028" y="0"/>
                  </a:lnTo>
                  <a:lnTo>
                    <a:pt x="0" y="0"/>
                  </a:lnTo>
                  <a:lnTo>
                    <a:pt x="0" y="9776"/>
                  </a:lnTo>
                  <a:lnTo>
                    <a:pt x="0" y="190959"/>
                  </a:lnTo>
                  <a:lnTo>
                    <a:pt x="28059" y="190959"/>
                  </a:lnTo>
                  <a:close/>
                </a:path>
              </a:pathLst>
            </a:custGeom>
            <a:solidFill>
              <a:srgbClr val="F9C996"/>
            </a:solidFill>
            <a:ln w="12690" cap="flat">
              <a:noFill/>
              <a:prstDash val="solid"/>
              <a:miter/>
            </a:ln>
          </p:spPr>
          <p:txBody>
            <a:bodyPr rtlCol="0" anchor="ctr"/>
            <a:lstStyle/>
            <a:p>
              <a:endParaRPr lang="en-US"/>
            </a:p>
          </p:txBody>
        </p:sp>
        <p:sp>
          <p:nvSpPr>
            <p:cNvPr id="776" name="Freeform: Shape 775">
              <a:extLst>
                <a:ext uri="{FF2B5EF4-FFF2-40B4-BE49-F238E27FC236}">
                  <a16:creationId xmlns:a16="http://schemas.microsoft.com/office/drawing/2014/main" id="{973C454A-E223-4BFF-8AD2-7CB0AD893612}"/>
                </a:ext>
              </a:extLst>
            </p:cNvPr>
            <p:cNvSpPr/>
            <p:nvPr/>
          </p:nvSpPr>
          <p:spPr>
            <a:xfrm>
              <a:off x="9960047" y="4824400"/>
              <a:ext cx="244030" cy="953272"/>
            </a:xfrm>
            <a:custGeom>
              <a:avLst/>
              <a:gdLst>
                <a:gd name="connsiteX0" fmla="*/ 86592 w 244030"/>
                <a:gd name="connsiteY0" fmla="*/ 166708 h 953272"/>
                <a:gd name="connsiteX1" fmla="*/ 89130 w 244030"/>
                <a:gd name="connsiteY1" fmla="*/ 166708 h 953272"/>
                <a:gd name="connsiteX2" fmla="*/ 90273 w 244030"/>
                <a:gd name="connsiteY2" fmla="*/ 167470 h 953272"/>
                <a:gd name="connsiteX3" fmla="*/ 91416 w 244030"/>
                <a:gd name="connsiteY3" fmla="*/ 168232 h 953272"/>
                <a:gd name="connsiteX4" fmla="*/ 92940 w 244030"/>
                <a:gd name="connsiteY4" fmla="*/ 170390 h 953272"/>
                <a:gd name="connsiteX5" fmla="*/ 92940 w 244030"/>
                <a:gd name="connsiteY5" fmla="*/ 170390 h 953272"/>
                <a:gd name="connsiteX6" fmla="*/ 99542 w 244030"/>
                <a:gd name="connsiteY6" fmla="*/ 186388 h 953272"/>
                <a:gd name="connsiteX7" fmla="*/ 99542 w 244030"/>
                <a:gd name="connsiteY7" fmla="*/ 186388 h 953272"/>
                <a:gd name="connsiteX8" fmla="*/ 99542 w 244030"/>
                <a:gd name="connsiteY8" fmla="*/ 187658 h 953272"/>
                <a:gd name="connsiteX9" fmla="*/ 99542 w 244030"/>
                <a:gd name="connsiteY9" fmla="*/ 189055 h 953272"/>
                <a:gd name="connsiteX10" fmla="*/ 99542 w 244030"/>
                <a:gd name="connsiteY10" fmla="*/ 189055 h 953272"/>
                <a:gd name="connsiteX11" fmla="*/ 99542 w 244030"/>
                <a:gd name="connsiteY11" fmla="*/ 953272 h 953272"/>
                <a:gd name="connsiteX12" fmla="*/ 244030 w 244030"/>
                <a:gd name="connsiteY12" fmla="*/ 953272 h 953272"/>
                <a:gd name="connsiteX13" fmla="*/ 244030 w 244030"/>
                <a:gd name="connsiteY13" fmla="*/ 15363 h 953272"/>
                <a:gd name="connsiteX14" fmla="*/ 240348 w 244030"/>
                <a:gd name="connsiteY14" fmla="*/ 0 h 953272"/>
                <a:gd name="connsiteX15" fmla="*/ 0 w 244030"/>
                <a:gd name="connsiteY15" fmla="*/ 0 h 953272"/>
                <a:gd name="connsiteX16" fmla="*/ 0 w 244030"/>
                <a:gd name="connsiteY16" fmla="*/ 166708 h 953272"/>
                <a:gd name="connsiteX17" fmla="*/ 86592 w 244030"/>
                <a:gd name="connsiteY17" fmla="*/ 166708 h 95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4030" h="953272">
                  <a:moveTo>
                    <a:pt x="86592" y="166708"/>
                  </a:moveTo>
                  <a:cubicBezTo>
                    <a:pt x="87429" y="166518"/>
                    <a:pt x="88293" y="166518"/>
                    <a:pt x="89130" y="166708"/>
                  </a:cubicBezTo>
                  <a:lnTo>
                    <a:pt x="90273" y="167470"/>
                  </a:lnTo>
                  <a:lnTo>
                    <a:pt x="91416" y="168232"/>
                  </a:lnTo>
                  <a:cubicBezTo>
                    <a:pt x="92038" y="168867"/>
                    <a:pt x="92546" y="169594"/>
                    <a:pt x="92940" y="170390"/>
                  </a:cubicBezTo>
                  <a:lnTo>
                    <a:pt x="92940" y="170390"/>
                  </a:lnTo>
                  <a:lnTo>
                    <a:pt x="99542" y="186388"/>
                  </a:lnTo>
                  <a:lnTo>
                    <a:pt x="99542" y="186388"/>
                  </a:lnTo>
                  <a:cubicBezTo>
                    <a:pt x="99542" y="186388"/>
                    <a:pt x="99542" y="187277"/>
                    <a:pt x="99542" y="187658"/>
                  </a:cubicBezTo>
                  <a:cubicBezTo>
                    <a:pt x="99605" y="188121"/>
                    <a:pt x="99605" y="188591"/>
                    <a:pt x="99542" y="189055"/>
                  </a:cubicBezTo>
                  <a:lnTo>
                    <a:pt x="99542" y="189055"/>
                  </a:lnTo>
                  <a:lnTo>
                    <a:pt x="99542" y="953272"/>
                  </a:lnTo>
                  <a:lnTo>
                    <a:pt x="244030" y="953272"/>
                  </a:lnTo>
                  <a:lnTo>
                    <a:pt x="244030" y="15363"/>
                  </a:lnTo>
                  <a:lnTo>
                    <a:pt x="240348" y="0"/>
                  </a:lnTo>
                  <a:lnTo>
                    <a:pt x="0" y="0"/>
                  </a:lnTo>
                  <a:lnTo>
                    <a:pt x="0" y="166708"/>
                  </a:lnTo>
                  <a:lnTo>
                    <a:pt x="86592" y="166708"/>
                  </a:lnTo>
                  <a:close/>
                </a:path>
              </a:pathLst>
            </a:custGeom>
            <a:solidFill>
              <a:srgbClr val="22B0AE"/>
            </a:solidFill>
            <a:ln w="12690" cap="flat">
              <a:solidFill>
                <a:schemeClr val="accent1"/>
              </a:solidFill>
              <a:prstDash val="solid"/>
              <a:miter/>
            </a:ln>
          </p:spPr>
          <p:txBody>
            <a:bodyPr rtlCol="0" anchor="ctr"/>
            <a:lstStyle/>
            <a:p>
              <a:endParaRPr lang="en-US"/>
            </a:p>
          </p:txBody>
        </p:sp>
        <p:sp>
          <p:nvSpPr>
            <p:cNvPr id="777" name="Freeform: Shape 776">
              <a:extLst>
                <a:ext uri="{FF2B5EF4-FFF2-40B4-BE49-F238E27FC236}">
                  <a16:creationId xmlns:a16="http://schemas.microsoft.com/office/drawing/2014/main" id="{4B709880-F170-49F0-A5CC-E9A72ACFA73D}"/>
                </a:ext>
              </a:extLst>
            </p:cNvPr>
            <p:cNvSpPr/>
            <p:nvPr/>
          </p:nvSpPr>
          <p:spPr>
            <a:xfrm>
              <a:off x="8730245" y="5742502"/>
              <a:ext cx="137632" cy="700987"/>
            </a:xfrm>
            <a:custGeom>
              <a:avLst/>
              <a:gdLst>
                <a:gd name="connsiteX0" fmla="*/ 0 w 137632"/>
                <a:gd name="connsiteY0" fmla="*/ 700988 h 700987"/>
                <a:gd name="connsiteX1" fmla="*/ 0 w 137632"/>
                <a:gd name="connsiteY1" fmla="*/ 700988 h 700987"/>
                <a:gd name="connsiteX2" fmla="*/ 137632 w 137632"/>
                <a:gd name="connsiteY2" fmla="*/ 700988 h 700987"/>
                <a:gd name="connsiteX3" fmla="*/ 137632 w 137632"/>
                <a:gd name="connsiteY3" fmla="*/ 0 h 700987"/>
                <a:gd name="connsiteX4" fmla="*/ 0 w 137632"/>
                <a:gd name="connsiteY4" fmla="*/ 0 h 700987"/>
                <a:gd name="connsiteX5" fmla="*/ 0 w 137632"/>
                <a:gd name="connsiteY5" fmla="*/ 695147 h 700987"/>
                <a:gd name="connsiteX6" fmla="*/ 0 w 137632"/>
                <a:gd name="connsiteY6" fmla="*/ 696290 h 700987"/>
                <a:gd name="connsiteX7" fmla="*/ 0 w 137632"/>
                <a:gd name="connsiteY7" fmla="*/ 700988 h 70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632" h="700987">
                  <a:moveTo>
                    <a:pt x="0" y="700988"/>
                  </a:moveTo>
                  <a:lnTo>
                    <a:pt x="0" y="700988"/>
                  </a:lnTo>
                  <a:lnTo>
                    <a:pt x="137632" y="700988"/>
                  </a:lnTo>
                  <a:lnTo>
                    <a:pt x="137632" y="0"/>
                  </a:lnTo>
                  <a:lnTo>
                    <a:pt x="0" y="0"/>
                  </a:lnTo>
                  <a:lnTo>
                    <a:pt x="0" y="695147"/>
                  </a:lnTo>
                  <a:lnTo>
                    <a:pt x="0" y="696290"/>
                  </a:lnTo>
                  <a:lnTo>
                    <a:pt x="0" y="700988"/>
                  </a:lnTo>
                  <a:close/>
                </a:path>
              </a:pathLst>
            </a:custGeom>
            <a:solidFill>
              <a:schemeClr val="accent4"/>
            </a:solidFill>
            <a:ln w="12690" cap="flat">
              <a:noFill/>
              <a:prstDash val="solid"/>
              <a:miter/>
            </a:ln>
          </p:spPr>
          <p:txBody>
            <a:bodyPr rtlCol="0" anchor="ctr"/>
            <a:lstStyle/>
            <a:p>
              <a:endParaRPr lang="en-US"/>
            </a:p>
          </p:txBody>
        </p:sp>
        <p:sp>
          <p:nvSpPr>
            <p:cNvPr id="778" name="Freeform: Shape 777">
              <a:extLst>
                <a:ext uri="{FF2B5EF4-FFF2-40B4-BE49-F238E27FC236}">
                  <a16:creationId xmlns:a16="http://schemas.microsoft.com/office/drawing/2014/main" id="{C7DBE31E-9083-4851-AF7F-6E85FEEDDF2F}"/>
                </a:ext>
              </a:extLst>
            </p:cNvPr>
            <p:cNvSpPr/>
            <p:nvPr/>
          </p:nvSpPr>
          <p:spPr>
            <a:xfrm>
              <a:off x="9241161" y="5454539"/>
              <a:ext cx="16505" cy="990346"/>
            </a:xfrm>
            <a:custGeom>
              <a:avLst/>
              <a:gdLst>
                <a:gd name="connsiteX0" fmla="*/ 16506 w 16505"/>
                <a:gd name="connsiteY0" fmla="*/ 989839 h 990346"/>
                <a:gd name="connsiteX1" fmla="*/ 16506 w 16505"/>
                <a:gd name="connsiteY1" fmla="*/ 988950 h 990346"/>
                <a:gd name="connsiteX2" fmla="*/ 16506 w 16505"/>
                <a:gd name="connsiteY2" fmla="*/ 155789 h 990346"/>
                <a:gd name="connsiteX3" fmla="*/ 16506 w 16505"/>
                <a:gd name="connsiteY3" fmla="*/ 11427 h 990346"/>
                <a:gd name="connsiteX4" fmla="*/ 0 w 16505"/>
                <a:gd name="connsiteY4" fmla="*/ 0 h 990346"/>
                <a:gd name="connsiteX5" fmla="*/ 0 w 16505"/>
                <a:gd name="connsiteY5" fmla="*/ 990347 h 990346"/>
                <a:gd name="connsiteX6" fmla="*/ 16506 w 16505"/>
                <a:gd name="connsiteY6" fmla="*/ 989839 h 9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5" h="990346">
                  <a:moveTo>
                    <a:pt x="16506" y="989839"/>
                  </a:moveTo>
                  <a:lnTo>
                    <a:pt x="16506" y="988950"/>
                  </a:lnTo>
                  <a:lnTo>
                    <a:pt x="16506" y="155789"/>
                  </a:lnTo>
                  <a:lnTo>
                    <a:pt x="16506" y="11427"/>
                  </a:lnTo>
                  <a:lnTo>
                    <a:pt x="0" y="0"/>
                  </a:lnTo>
                  <a:lnTo>
                    <a:pt x="0" y="990347"/>
                  </a:lnTo>
                  <a:lnTo>
                    <a:pt x="16506" y="989839"/>
                  </a:lnTo>
                  <a:close/>
                </a:path>
              </a:pathLst>
            </a:custGeom>
            <a:solidFill>
              <a:schemeClr val="accent5"/>
            </a:solidFill>
            <a:ln w="12690" cap="flat">
              <a:noFill/>
              <a:prstDash val="solid"/>
              <a:miter/>
            </a:ln>
          </p:spPr>
          <p:txBody>
            <a:bodyPr rtlCol="0" anchor="ctr"/>
            <a:lstStyle/>
            <a:p>
              <a:endParaRPr lang="en-US"/>
            </a:p>
          </p:txBody>
        </p:sp>
        <p:sp>
          <p:nvSpPr>
            <p:cNvPr id="779" name="Freeform: Shape 778">
              <a:extLst>
                <a:ext uri="{FF2B5EF4-FFF2-40B4-BE49-F238E27FC236}">
                  <a16:creationId xmlns:a16="http://schemas.microsoft.com/office/drawing/2014/main" id="{086181A1-6A19-465A-9285-9C462BC83245}"/>
                </a:ext>
              </a:extLst>
            </p:cNvPr>
            <p:cNvSpPr/>
            <p:nvPr/>
          </p:nvSpPr>
          <p:spPr>
            <a:xfrm>
              <a:off x="8881717" y="5452254"/>
              <a:ext cx="356903" cy="992632"/>
            </a:xfrm>
            <a:custGeom>
              <a:avLst/>
              <a:gdLst>
                <a:gd name="connsiteX0" fmla="*/ 0 w 356903"/>
                <a:gd name="connsiteY0" fmla="*/ 992632 h 992632"/>
                <a:gd name="connsiteX1" fmla="*/ 356904 w 356903"/>
                <a:gd name="connsiteY1" fmla="*/ 992632 h 992632"/>
                <a:gd name="connsiteX2" fmla="*/ 356904 w 356903"/>
                <a:gd name="connsiteY2" fmla="*/ 635 h 992632"/>
                <a:gd name="connsiteX3" fmla="*/ 356015 w 356903"/>
                <a:gd name="connsiteY3" fmla="*/ 0 h 992632"/>
                <a:gd name="connsiteX4" fmla="*/ 0 w 356903"/>
                <a:gd name="connsiteY4" fmla="*/ 0 h 992632"/>
                <a:gd name="connsiteX5" fmla="*/ 0 w 356903"/>
                <a:gd name="connsiteY5" fmla="*/ 283265 h 992632"/>
                <a:gd name="connsiteX6" fmla="*/ 0 w 356903"/>
                <a:gd name="connsiteY6" fmla="*/ 992505 h 992632"/>
                <a:gd name="connsiteX7" fmla="*/ 0 w 356903"/>
                <a:gd name="connsiteY7" fmla="*/ 992632 h 9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903" h="992632">
                  <a:moveTo>
                    <a:pt x="0" y="992632"/>
                  </a:moveTo>
                  <a:lnTo>
                    <a:pt x="356904" y="992632"/>
                  </a:lnTo>
                  <a:lnTo>
                    <a:pt x="356904" y="635"/>
                  </a:lnTo>
                  <a:lnTo>
                    <a:pt x="356015" y="0"/>
                  </a:lnTo>
                  <a:lnTo>
                    <a:pt x="0" y="0"/>
                  </a:lnTo>
                  <a:lnTo>
                    <a:pt x="0" y="283265"/>
                  </a:lnTo>
                  <a:lnTo>
                    <a:pt x="0" y="992505"/>
                  </a:lnTo>
                  <a:lnTo>
                    <a:pt x="0" y="992632"/>
                  </a:lnTo>
                  <a:close/>
                </a:path>
              </a:pathLst>
            </a:custGeom>
            <a:solidFill>
              <a:schemeClr val="accent1"/>
            </a:solidFill>
            <a:ln w="12690" cap="flat">
              <a:noFill/>
              <a:prstDash val="solid"/>
              <a:miter/>
            </a:ln>
          </p:spPr>
          <p:txBody>
            <a:bodyPr rtlCol="0" anchor="ctr"/>
            <a:lstStyle/>
            <a:p>
              <a:endParaRPr lang="en-US"/>
            </a:p>
          </p:txBody>
        </p:sp>
        <p:sp>
          <p:nvSpPr>
            <p:cNvPr id="780" name="Freeform: Shape 779">
              <a:extLst>
                <a:ext uri="{FF2B5EF4-FFF2-40B4-BE49-F238E27FC236}">
                  <a16:creationId xmlns:a16="http://schemas.microsoft.com/office/drawing/2014/main" id="{3BAE1404-AF60-40F0-B2AB-BEF649A4DAA8}"/>
                </a:ext>
              </a:extLst>
            </p:cNvPr>
            <p:cNvSpPr/>
            <p:nvPr/>
          </p:nvSpPr>
          <p:spPr>
            <a:xfrm>
              <a:off x="9285091" y="5618962"/>
              <a:ext cx="13966" cy="817543"/>
            </a:xfrm>
            <a:custGeom>
              <a:avLst/>
              <a:gdLst>
                <a:gd name="connsiteX0" fmla="*/ 13967 w 13966"/>
                <a:gd name="connsiteY0" fmla="*/ 817544 h 817543"/>
                <a:gd name="connsiteX1" fmla="*/ 13967 w 13966"/>
                <a:gd name="connsiteY1" fmla="*/ 8253 h 817543"/>
                <a:gd name="connsiteX2" fmla="*/ 0 w 13966"/>
                <a:gd name="connsiteY2" fmla="*/ 0 h 817543"/>
                <a:gd name="connsiteX3" fmla="*/ 0 w 13966"/>
                <a:gd name="connsiteY3" fmla="*/ 817544 h 817543"/>
                <a:gd name="connsiteX4" fmla="*/ 13967 w 13966"/>
                <a:gd name="connsiteY4" fmla="*/ 817544 h 81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6" h="817543">
                  <a:moveTo>
                    <a:pt x="13967" y="817544"/>
                  </a:moveTo>
                  <a:lnTo>
                    <a:pt x="13967" y="8253"/>
                  </a:lnTo>
                  <a:lnTo>
                    <a:pt x="0" y="0"/>
                  </a:lnTo>
                  <a:lnTo>
                    <a:pt x="0" y="817544"/>
                  </a:lnTo>
                  <a:lnTo>
                    <a:pt x="13967" y="817544"/>
                  </a:lnTo>
                  <a:close/>
                </a:path>
              </a:pathLst>
            </a:custGeom>
            <a:solidFill>
              <a:srgbClr val="F9C996"/>
            </a:solidFill>
            <a:ln w="12690" cap="flat">
              <a:noFill/>
              <a:prstDash val="solid"/>
              <a:miter/>
            </a:ln>
          </p:spPr>
          <p:txBody>
            <a:bodyPr rtlCol="0" anchor="ctr"/>
            <a:lstStyle/>
            <a:p>
              <a:endParaRPr lang="en-US"/>
            </a:p>
          </p:txBody>
        </p:sp>
        <p:sp>
          <p:nvSpPr>
            <p:cNvPr id="781" name="Freeform: Shape 780">
              <a:extLst>
                <a:ext uri="{FF2B5EF4-FFF2-40B4-BE49-F238E27FC236}">
                  <a16:creationId xmlns:a16="http://schemas.microsoft.com/office/drawing/2014/main" id="{A4CCDCB4-1665-44FD-B31E-092F66871071}"/>
                </a:ext>
              </a:extLst>
            </p:cNvPr>
            <p:cNvSpPr/>
            <p:nvPr/>
          </p:nvSpPr>
          <p:spPr>
            <a:xfrm>
              <a:off x="9271505" y="5617185"/>
              <a:ext cx="11173" cy="819321"/>
            </a:xfrm>
            <a:custGeom>
              <a:avLst/>
              <a:gdLst>
                <a:gd name="connsiteX0" fmla="*/ 11173 w 11173"/>
                <a:gd name="connsiteY0" fmla="*/ 819321 h 819321"/>
                <a:gd name="connsiteX1" fmla="*/ 11173 w 11173"/>
                <a:gd name="connsiteY1" fmla="*/ 381 h 819321"/>
                <a:gd name="connsiteX2" fmla="*/ 10538 w 11173"/>
                <a:gd name="connsiteY2" fmla="*/ 0 h 819321"/>
                <a:gd name="connsiteX3" fmla="*/ 0 w 11173"/>
                <a:gd name="connsiteY3" fmla="*/ 0 h 819321"/>
                <a:gd name="connsiteX4" fmla="*/ 0 w 11173"/>
                <a:gd name="connsiteY4" fmla="*/ 819321 h 819321"/>
                <a:gd name="connsiteX5" fmla="*/ 11173 w 11173"/>
                <a:gd name="connsiteY5" fmla="*/ 819321 h 8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3" h="819321">
                  <a:moveTo>
                    <a:pt x="11173" y="819321"/>
                  </a:moveTo>
                  <a:lnTo>
                    <a:pt x="11173" y="381"/>
                  </a:lnTo>
                  <a:lnTo>
                    <a:pt x="10538" y="0"/>
                  </a:lnTo>
                  <a:lnTo>
                    <a:pt x="0" y="0"/>
                  </a:lnTo>
                  <a:lnTo>
                    <a:pt x="0" y="819321"/>
                  </a:lnTo>
                  <a:lnTo>
                    <a:pt x="11173" y="819321"/>
                  </a:lnTo>
                  <a:close/>
                </a:path>
              </a:pathLst>
            </a:custGeom>
            <a:solidFill>
              <a:srgbClr val="F9C996"/>
            </a:solidFill>
            <a:ln w="12690" cap="flat">
              <a:noFill/>
              <a:prstDash val="solid"/>
              <a:miter/>
            </a:ln>
          </p:spPr>
          <p:txBody>
            <a:bodyPr rtlCol="0" anchor="ctr"/>
            <a:lstStyle/>
            <a:p>
              <a:endParaRPr lang="en-US"/>
            </a:p>
          </p:txBody>
        </p:sp>
        <p:sp>
          <p:nvSpPr>
            <p:cNvPr id="782" name="Freeform: Shape 781">
              <a:extLst>
                <a:ext uri="{FF2B5EF4-FFF2-40B4-BE49-F238E27FC236}">
                  <a16:creationId xmlns:a16="http://schemas.microsoft.com/office/drawing/2014/main" id="{014D2918-7F40-4BFE-8719-240829B82A3E}"/>
                </a:ext>
              </a:extLst>
            </p:cNvPr>
            <p:cNvSpPr/>
            <p:nvPr/>
          </p:nvSpPr>
          <p:spPr>
            <a:xfrm>
              <a:off x="9432880" y="6438284"/>
              <a:ext cx="343572" cy="426229"/>
            </a:xfrm>
            <a:custGeom>
              <a:avLst/>
              <a:gdLst>
                <a:gd name="connsiteX0" fmla="*/ 32758 w 343572"/>
                <a:gd name="connsiteY0" fmla="*/ 0 h 426229"/>
                <a:gd name="connsiteX1" fmla="*/ 25393 w 343572"/>
                <a:gd name="connsiteY1" fmla="*/ 0 h 426229"/>
                <a:gd name="connsiteX2" fmla="*/ 0 w 343572"/>
                <a:gd name="connsiteY2" fmla="*/ 889 h 426229"/>
                <a:gd name="connsiteX3" fmla="*/ 0 w 343572"/>
                <a:gd name="connsiteY3" fmla="*/ 2412 h 426229"/>
                <a:gd name="connsiteX4" fmla="*/ 0 w 343572"/>
                <a:gd name="connsiteY4" fmla="*/ 4190 h 426229"/>
                <a:gd name="connsiteX5" fmla="*/ 0 w 343572"/>
                <a:gd name="connsiteY5" fmla="*/ 426230 h 426229"/>
                <a:gd name="connsiteX6" fmla="*/ 343572 w 343572"/>
                <a:gd name="connsiteY6" fmla="*/ 426230 h 426229"/>
                <a:gd name="connsiteX7" fmla="*/ 343572 w 343572"/>
                <a:gd name="connsiteY7" fmla="*/ 0 h 426229"/>
                <a:gd name="connsiteX8" fmla="*/ 32758 w 343572"/>
                <a:gd name="connsiteY8" fmla="*/ 0 h 42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572" h="426229">
                  <a:moveTo>
                    <a:pt x="32758" y="0"/>
                  </a:moveTo>
                  <a:lnTo>
                    <a:pt x="25393" y="0"/>
                  </a:lnTo>
                  <a:lnTo>
                    <a:pt x="0" y="889"/>
                  </a:lnTo>
                  <a:lnTo>
                    <a:pt x="0" y="2412"/>
                  </a:lnTo>
                  <a:lnTo>
                    <a:pt x="0" y="4190"/>
                  </a:lnTo>
                  <a:lnTo>
                    <a:pt x="0" y="426230"/>
                  </a:lnTo>
                  <a:lnTo>
                    <a:pt x="343572" y="426230"/>
                  </a:lnTo>
                  <a:lnTo>
                    <a:pt x="343572" y="0"/>
                  </a:lnTo>
                  <a:lnTo>
                    <a:pt x="32758" y="0"/>
                  </a:lnTo>
                  <a:close/>
                </a:path>
              </a:pathLst>
            </a:custGeom>
            <a:solidFill>
              <a:schemeClr val="bg1">
                <a:lumMod val="95000"/>
              </a:schemeClr>
            </a:solidFill>
            <a:ln w="12690" cap="flat">
              <a:noFill/>
              <a:prstDash val="solid"/>
              <a:miter/>
            </a:ln>
          </p:spPr>
          <p:txBody>
            <a:bodyPr rtlCol="0" anchor="ctr"/>
            <a:lstStyle/>
            <a:p>
              <a:endParaRPr lang="en-US"/>
            </a:p>
          </p:txBody>
        </p:sp>
        <p:sp>
          <p:nvSpPr>
            <p:cNvPr id="783" name="Freeform: Shape 782">
              <a:extLst>
                <a:ext uri="{FF2B5EF4-FFF2-40B4-BE49-F238E27FC236}">
                  <a16:creationId xmlns:a16="http://schemas.microsoft.com/office/drawing/2014/main" id="{A59E9B23-AE2B-4B7B-9F7E-DA2B9D37E093}"/>
                </a:ext>
              </a:extLst>
            </p:cNvPr>
            <p:cNvSpPr/>
            <p:nvPr/>
          </p:nvSpPr>
          <p:spPr>
            <a:xfrm>
              <a:off x="9422977" y="5618327"/>
              <a:ext cx="353476" cy="159344"/>
            </a:xfrm>
            <a:custGeom>
              <a:avLst/>
              <a:gdLst>
                <a:gd name="connsiteX0" fmla="*/ 353476 w 353476"/>
                <a:gd name="connsiteY0" fmla="*/ 0 h 159344"/>
                <a:gd name="connsiteX1" fmla="*/ 292151 w 353476"/>
                <a:gd name="connsiteY1" fmla="*/ 0 h 159344"/>
                <a:gd name="connsiteX2" fmla="*/ 253426 w 353476"/>
                <a:gd name="connsiteY2" fmla="*/ 0 h 159344"/>
                <a:gd name="connsiteX3" fmla="*/ 137125 w 353476"/>
                <a:gd name="connsiteY3" fmla="*/ 0 h 159344"/>
                <a:gd name="connsiteX4" fmla="*/ 91798 w 353476"/>
                <a:gd name="connsiteY4" fmla="*/ 0 h 159344"/>
                <a:gd name="connsiteX5" fmla="*/ 0 w 353476"/>
                <a:gd name="connsiteY5" fmla="*/ 0 h 159344"/>
                <a:gd name="connsiteX6" fmla="*/ 0 w 353476"/>
                <a:gd name="connsiteY6" fmla="*/ 159344 h 159344"/>
                <a:gd name="connsiteX7" fmla="*/ 353476 w 353476"/>
                <a:gd name="connsiteY7" fmla="*/ 159344 h 159344"/>
                <a:gd name="connsiteX8" fmla="*/ 353476 w 353476"/>
                <a:gd name="connsiteY8" fmla="*/ 0 h 15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476" h="159344">
                  <a:moveTo>
                    <a:pt x="353476" y="0"/>
                  </a:moveTo>
                  <a:lnTo>
                    <a:pt x="292151" y="0"/>
                  </a:lnTo>
                  <a:lnTo>
                    <a:pt x="253426" y="0"/>
                  </a:lnTo>
                  <a:lnTo>
                    <a:pt x="137125" y="0"/>
                  </a:lnTo>
                  <a:lnTo>
                    <a:pt x="91798" y="0"/>
                  </a:lnTo>
                  <a:lnTo>
                    <a:pt x="0" y="0"/>
                  </a:lnTo>
                  <a:lnTo>
                    <a:pt x="0" y="159344"/>
                  </a:lnTo>
                  <a:lnTo>
                    <a:pt x="353476" y="159344"/>
                  </a:lnTo>
                  <a:lnTo>
                    <a:pt x="353476" y="0"/>
                  </a:lnTo>
                  <a:close/>
                </a:path>
              </a:pathLst>
            </a:custGeom>
            <a:solidFill>
              <a:schemeClr val="accent3"/>
            </a:solidFill>
            <a:ln w="12690" cap="flat">
              <a:noFill/>
              <a:prstDash val="solid"/>
              <a:miter/>
            </a:ln>
          </p:spPr>
          <p:txBody>
            <a:bodyPr rtlCol="0" anchor="ctr"/>
            <a:lstStyle/>
            <a:p>
              <a:endParaRPr lang="en-US"/>
            </a:p>
          </p:txBody>
        </p:sp>
        <p:sp>
          <p:nvSpPr>
            <p:cNvPr id="784" name="Freeform: Shape 783">
              <a:extLst>
                <a:ext uri="{FF2B5EF4-FFF2-40B4-BE49-F238E27FC236}">
                  <a16:creationId xmlns:a16="http://schemas.microsoft.com/office/drawing/2014/main" id="{3B82F57C-7EA5-4AC5-A298-1EECB88372E9}"/>
                </a:ext>
              </a:extLst>
            </p:cNvPr>
            <p:cNvSpPr/>
            <p:nvPr/>
          </p:nvSpPr>
          <p:spPr>
            <a:xfrm>
              <a:off x="9422723" y="6094075"/>
              <a:ext cx="36312" cy="336463"/>
            </a:xfrm>
            <a:custGeom>
              <a:avLst/>
              <a:gdLst>
                <a:gd name="connsiteX0" fmla="*/ 1904 w 36312"/>
                <a:gd name="connsiteY0" fmla="*/ 335956 h 336463"/>
                <a:gd name="connsiteX1" fmla="*/ 3047 w 36312"/>
                <a:gd name="connsiteY1" fmla="*/ 335956 h 336463"/>
                <a:gd name="connsiteX2" fmla="*/ 35296 w 36312"/>
                <a:gd name="connsiteY2" fmla="*/ 334940 h 336463"/>
                <a:gd name="connsiteX3" fmla="*/ 36312 w 36312"/>
                <a:gd name="connsiteY3" fmla="*/ 334940 h 336463"/>
                <a:gd name="connsiteX4" fmla="*/ 36312 w 36312"/>
                <a:gd name="connsiteY4" fmla="*/ 0 h 336463"/>
                <a:gd name="connsiteX5" fmla="*/ 0 w 36312"/>
                <a:gd name="connsiteY5" fmla="*/ 0 h 336463"/>
                <a:gd name="connsiteX6" fmla="*/ 762 w 36312"/>
                <a:gd name="connsiteY6" fmla="*/ 2920 h 336463"/>
                <a:gd name="connsiteX7" fmla="*/ 762 w 36312"/>
                <a:gd name="connsiteY7" fmla="*/ 336464 h 336463"/>
                <a:gd name="connsiteX8" fmla="*/ 762 w 36312"/>
                <a:gd name="connsiteY8" fmla="*/ 336464 h 336463"/>
                <a:gd name="connsiteX9" fmla="*/ 1904 w 36312"/>
                <a:gd name="connsiteY9" fmla="*/ 335956 h 3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12" h="336463">
                  <a:moveTo>
                    <a:pt x="1904" y="335956"/>
                  </a:moveTo>
                  <a:lnTo>
                    <a:pt x="3047" y="335956"/>
                  </a:lnTo>
                  <a:lnTo>
                    <a:pt x="35296" y="334940"/>
                  </a:lnTo>
                  <a:lnTo>
                    <a:pt x="36312" y="334940"/>
                  </a:lnTo>
                  <a:lnTo>
                    <a:pt x="36312" y="0"/>
                  </a:lnTo>
                  <a:lnTo>
                    <a:pt x="0" y="0"/>
                  </a:lnTo>
                  <a:cubicBezTo>
                    <a:pt x="444" y="914"/>
                    <a:pt x="711" y="1905"/>
                    <a:pt x="762" y="2920"/>
                  </a:cubicBezTo>
                  <a:lnTo>
                    <a:pt x="762" y="336464"/>
                  </a:lnTo>
                  <a:lnTo>
                    <a:pt x="762" y="336464"/>
                  </a:lnTo>
                  <a:cubicBezTo>
                    <a:pt x="1117" y="336235"/>
                    <a:pt x="1498" y="336070"/>
                    <a:pt x="1904" y="335956"/>
                  </a:cubicBezTo>
                  <a:close/>
                </a:path>
              </a:pathLst>
            </a:custGeom>
            <a:solidFill>
              <a:schemeClr val="accent3"/>
            </a:solidFill>
            <a:ln w="12690" cap="flat">
              <a:noFill/>
              <a:prstDash val="solid"/>
              <a:miter/>
            </a:ln>
          </p:spPr>
          <p:txBody>
            <a:bodyPr rtlCol="0" anchor="ctr"/>
            <a:lstStyle/>
            <a:p>
              <a:endParaRPr lang="en-US"/>
            </a:p>
          </p:txBody>
        </p:sp>
        <p:sp>
          <p:nvSpPr>
            <p:cNvPr id="785" name="Freeform: Shape 784">
              <a:extLst>
                <a:ext uri="{FF2B5EF4-FFF2-40B4-BE49-F238E27FC236}">
                  <a16:creationId xmlns:a16="http://schemas.microsoft.com/office/drawing/2014/main" id="{EB903DDB-1CE3-44CE-8A3A-2699AC07AD7C}"/>
                </a:ext>
              </a:extLst>
            </p:cNvPr>
            <p:cNvSpPr/>
            <p:nvPr/>
          </p:nvSpPr>
          <p:spPr>
            <a:xfrm>
              <a:off x="9400250" y="6094075"/>
              <a:ext cx="9142" cy="2285"/>
            </a:xfrm>
            <a:custGeom>
              <a:avLst/>
              <a:gdLst>
                <a:gd name="connsiteX0" fmla="*/ 0 w 9142"/>
                <a:gd name="connsiteY0" fmla="*/ 0 h 2285"/>
                <a:gd name="connsiteX1" fmla="*/ 9142 w 9142"/>
                <a:gd name="connsiteY1" fmla="*/ 2285 h 2285"/>
                <a:gd name="connsiteX2" fmla="*/ 9142 w 9142"/>
                <a:gd name="connsiteY2" fmla="*/ 0 h 2285"/>
              </a:gdLst>
              <a:ahLst/>
              <a:cxnLst>
                <a:cxn ang="0">
                  <a:pos x="connsiteX0" y="connsiteY0"/>
                </a:cxn>
                <a:cxn ang="0">
                  <a:pos x="connsiteX1" y="connsiteY1"/>
                </a:cxn>
                <a:cxn ang="0">
                  <a:pos x="connsiteX2" y="connsiteY2"/>
                </a:cxn>
              </a:cxnLst>
              <a:rect l="l" t="t" r="r" b="b"/>
              <a:pathLst>
                <a:path w="9142" h="2285">
                  <a:moveTo>
                    <a:pt x="0" y="0"/>
                  </a:moveTo>
                  <a:lnTo>
                    <a:pt x="9142" y="2285"/>
                  </a:lnTo>
                  <a:cubicBezTo>
                    <a:pt x="9027" y="1524"/>
                    <a:pt x="9027" y="762"/>
                    <a:pt x="9142" y="0"/>
                  </a:cubicBezTo>
                  <a:close/>
                </a:path>
              </a:pathLst>
            </a:custGeom>
            <a:solidFill>
              <a:srgbClr val="F39896"/>
            </a:solidFill>
            <a:ln w="12690" cap="flat">
              <a:noFill/>
              <a:prstDash val="solid"/>
              <a:miter/>
            </a:ln>
          </p:spPr>
          <p:txBody>
            <a:bodyPr rtlCol="0" anchor="ctr"/>
            <a:lstStyle/>
            <a:p>
              <a:endParaRPr lang="en-US"/>
            </a:p>
          </p:txBody>
        </p:sp>
        <p:sp>
          <p:nvSpPr>
            <p:cNvPr id="786" name="Freeform: Shape 785">
              <a:extLst>
                <a:ext uri="{FF2B5EF4-FFF2-40B4-BE49-F238E27FC236}">
                  <a16:creationId xmlns:a16="http://schemas.microsoft.com/office/drawing/2014/main" id="{BFA9B5B5-041A-40A1-84A9-9A1E549EA4FE}"/>
                </a:ext>
              </a:extLst>
            </p:cNvPr>
            <p:cNvSpPr/>
            <p:nvPr/>
          </p:nvSpPr>
          <p:spPr>
            <a:xfrm>
              <a:off x="10476929" y="5843187"/>
              <a:ext cx="888" cy="273742"/>
            </a:xfrm>
            <a:custGeom>
              <a:avLst/>
              <a:gdLst>
                <a:gd name="connsiteX0" fmla="*/ 889 w 888"/>
                <a:gd name="connsiteY0" fmla="*/ 273615 h 273742"/>
                <a:gd name="connsiteX1" fmla="*/ 889 w 888"/>
                <a:gd name="connsiteY1" fmla="*/ 0 h 273742"/>
                <a:gd name="connsiteX2" fmla="*/ 0 w 888"/>
                <a:gd name="connsiteY2" fmla="*/ 0 h 273742"/>
                <a:gd name="connsiteX3" fmla="*/ 0 w 888"/>
                <a:gd name="connsiteY3" fmla="*/ 273742 h 273742"/>
              </a:gdLst>
              <a:ahLst/>
              <a:cxnLst>
                <a:cxn ang="0">
                  <a:pos x="connsiteX0" y="connsiteY0"/>
                </a:cxn>
                <a:cxn ang="0">
                  <a:pos x="connsiteX1" y="connsiteY1"/>
                </a:cxn>
                <a:cxn ang="0">
                  <a:pos x="connsiteX2" y="connsiteY2"/>
                </a:cxn>
                <a:cxn ang="0">
                  <a:pos x="connsiteX3" y="connsiteY3"/>
                </a:cxn>
              </a:cxnLst>
              <a:rect l="l" t="t" r="r" b="b"/>
              <a:pathLst>
                <a:path w="888" h="273742">
                  <a:moveTo>
                    <a:pt x="889" y="273615"/>
                  </a:moveTo>
                  <a:lnTo>
                    <a:pt x="889" y="0"/>
                  </a:lnTo>
                  <a:lnTo>
                    <a:pt x="0" y="0"/>
                  </a:lnTo>
                  <a:lnTo>
                    <a:pt x="0" y="273742"/>
                  </a:lnTo>
                  <a:close/>
                </a:path>
              </a:pathLst>
            </a:custGeom>
            <a:solidFill>
              <a:srgbClr val="F4F5F3"/>
            </a:solidFill>
            <a:ln w="12690" cap="flat">
              <a:noFill/>
              <a:prstDash val="solid"/>
              <a:miter/>
            </a:ln>
          </p:spPr>
          <p:txBody>
            <a:bodyPr rtlCol="0" anchor="ctr"/>
            <a:lstStyle/>
            <a:p>
              <a:endParaRPr lang="en-US"/>
            </a:p>
          </p:txBody>
        </p:sp>
        <p:sp>
          <p:nvSpPr>
            <p:cNvPr id="787" name="Freeform: Shape 786">
              <a:extLst>
                <a:ext uri="{FF2B5EF4-FFF2-40B4-BE49-F238E27FC236}">
                  <a16:creationId xmlns:a16="http://schemas.microsoft.com/office/drawing/2014/main" id="{63714D59-5B8E-4825-BFD6-D0A39E236D1C}"/>
                </a:ext>
              </a:extLst>
            </p:cNvPr>
            <p:cNvSpPr/>
            <p:nvPr/>
          </p:nvSpPr>
          <p:spPr>
            <a:xfrm>
              <a:off x="10480230" y="5843441"/>
              <a:ext cx="317671" cy="586081"/>
            </a:xfrm>
            <a:custGeom>
              <a:avLst/>
              <a:gdLst>
                <a:gd name="connsiteX0" fmla="*/ 7237 w 317671"/>
                <a:gd name="connsiteY0" fmla="*/ 273361 h 586081"/>
                <a:gd name="connsiteX1" fmla="*/ 7237 w 317671"/>
                <a:gd name="connsiteY1" fmla="*/ 273361 h 586081"/>
                <a:gd name="connsiteX2" fmla="*/ 8761 w 317671"/>
                <a:gd name="connsiteY2" fmla="*/ 273361 h 586081"/>
                <a:gd name="connsiteX3" fmla="*/ 9904 w 317671"/>
                <a:gd name="connsiteY3" fmla="*/ 273996 h 586081"/>
                <a:gd name="connsiteX4" fmla="*/ 10919 w 317671"/>
                <a:gd name="connsiteY4" fmla="*/ 274758 h 586081"/>
                <a:gd name="connsiteX5" fmla="*/ 11935 w 317671"/>
                <a:gd name="connsiteY5" fmla="*/ 275900 h 586081"/>
                <a:gd name="connsiteX6" fmla="*/ 11935 w 317671"/>
                <a:gd name="connsiteY6" fmla="*/ 276662 h 586081"/>
                <a:gd name="connsiteX7" fmla="*/ 12951 w 317671"/>
                <a:gd name="connsiteY7" fmla="*/ 278694 h 586081"/>
                <a:gd name="connsiteX8" fmla="*/ 12951 w 317671"/>
                <a:gd name="connsiteY8" fmla="*/ 278694 h 586081"/>
                <a:gd name="connsiteX9" fmla="*/ 12951 w 317671"/>
                <a:gd name="connsiteY9" fmla="*/ 279963 h 586081"/>
                <a:gd name="connsiteX10" fmla="*/ 12951 w 317671"/>
                <a:gd name="connsiteY10" fmla="*/ 281360 h 586081"/>
                <a:gd name="connsiteX11" fmla="*/ 12951 w 317671"/>
                <a:gd name="connsiteY11" fmla="*/ 586082 h 586081"/>
                <a:gd name="connsiteX12" fmla="*/ 317672 w 317671"/>
                <a:gd name="connsiteY12" fmla="*/ 586082 h 586081"/>
                <a:gd name="connsiteX13" fmla="*/ 317672 w 317671"/>
                <a:gd name="connsiteY13" fmla="*/ 0 h 586081"/>
                <a:gd name="connsiteX14" fmla="*/ 0 w 317671"/>
                <a:gd name="connsiteY14" fmla="*/ 0 h 586081"/>
                <a:gd name="connsiteX15" fmla="*/ 0 w 317671"/>
                <a:gd name="connsiteY15" fmla="*/ 273361 h 58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671" h="586081">
                  <a:moveTo>
                    <a:pt x="7237" y="273361"/>
                  </a:moveTo>
                  <a:lnTo>
                    <a:pt x="7237" y="273361"/>
                  </a:lnTo>
                  <a:lnTo>
                    <a:pt x="8761" y="273361"/>
                  </a:lnTo>
                  <a:lnTo>
                    <a:pt x="9904" y="273996"/>
                  </a:lnTo>
                  <a:lnTo>
                    <a:pt x="10919" y="274758"/>
                  </a:lnTo>
                  <a:lnTo>
                    <a:pt x="11935" y="275900"/>
                  </a:lnTo>
                  <a:lnTo>
                    <a:pt x="11935" y="276662"/>
                  </a:lnTo>
                  <a:lnTo>
                    <a:pt x="12951" y="278694"/>
                  </a:lnTo>
                  <a:cubicBezTo>
                    <a:pt x="12951" y="278694"/>
                    <a:pt x="12951" y="278694"/>
                    <a:pt x="12951" y="278694"/>
                  </a:cubicBezTo>
                  <a:lnTo>
                    <a:pt x="12951" y="279963"/>
                  </a:lnTo>
                  <a:cubicBezTo>
                    <a:pt x="13014" y="280433"/>
                    <a:pt x="13014" y="280890"/>
                    <a:pt x="12951" y="281360"/>
                  </a:cubicBezTo>
                  <a:lnTo>
                    <a:pt x="12951" y="586082"/>
                  </a:lnTo>
                  <a:lnTo>
                    <a:pt x="317672" y="586082"/>
                  </a:lnTo>
                  <a:lnTo>
                    <a:pt x="317672" y="0"/>
                  </a:lnTo>
                  <a:lnTo>
                    <a:pt x="0" y="0"/>
                  </a:lnTo>
                  <a:lnTo>
                    <a:pt x="0" y="273361"/>
                  </a:lnTo>
                  <a:close/>
                </a:path>
              </a:pathLst>
            </a:custGeom>
            <a:solidFill>
              <a:schemeClr val="accent3"/>
            </a:solidFill>
            <a:ln w="12690" cap="flat">
              <a:noFill/>
              <a:prstDash val="solid"/>
              <a:miter/>
            </a:ln>
          </p:spPr>
          <p:txBody>
            <a:bodyPr rtlCol="0" anchor="ctr"/>
            <a:lstStyle/>
            <a:p>
              <a:endParaRPr lang="en-US"/>
            </a:p>
          </p:txBody>
        </p:sp>
        <p:sp>
          <p:nvSpPr>
            <p:cNvPr id="788" name="Freeform: Shape 787">
              <a:extLst>
                <a:ext uri="{FF2B5EF4-FFF2-40B4-BE49-F238E27FC236}">
                  <a16:creationId xmlns:a16="http://schemas.microsoft.com/office/drawing/2014/main" id="{F8BAA421-3737-4176-8928-3312985E6196}"/>
                </a:ext>
              </a:extLst>
            </p:cNvPr>
            <p:cNvSpPr/>
            <p:nvPr/>
          </p:nvSpPr>
          <p:spPr>
            <a:xfrm>
              <a:off x="10802092" y="5670638"/>
              <a:ext cx="172547" cy="127983"/>
            </a:xfrm>
            <a:custGeom>
              <a:avLst/>
              <a:gdLst>
                <a:gd name="connsiteX0" fmla="*/ 126 w 172547"/>
                <a:gd name="connsiteY0" fmla="*/ 126968 h 127983"/>
                <a:gd name="connsiteX1" fmla="*/ 1269 w 172547"/>
                <a:gd name="connsiteY1" fmla="*/ 126968 h 127983"/>
                <a:gd name="connsiteX2" fmla="*/ 2666 w 172547"/>
                <a:gd name="connsiteY2" fmla="*/ 126968 h 127983"/>
                <a:gd name="connsiteX3" fmla="*/ 172548 w 172547"/>
                <a:gd name="connsiteY3" fmla="*/ 126968 h 127983"/>
                <a:gd name="connsiteX4" fmla="*/ 172548 w 172547"/>
                <a:gd name="connsiteY4" fmla="*/ 0 h 127983"/>
                <a:gd name="connsiteX5" fmla="*/ 0 w 172547"/>
                <a:gd name="connsiteY5" fmla="*/ 0 h 127983"/>
                <a:gd name="connsiteX6" fmla="*/ 0 w 172547"/>
                <a:gd name="connsiteY6" fmla="*/ 1016 h 127983"/>
                <a:gd name="connsiteX7" fmla="*/ 0 w 172547"/>
                <a:gd name="connsiteY7" fmla="*/ 127983 h 1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547" h="127983">
                  <a:moveTo>
                    <a:pt x="126" y="126968"/>
                  </a:moveTo>
                  <a:lnTo>
                    <a:pt x="1269" y="126968"/>
                  </a:lnTo>
                  <a:lnTo>
                    <a:pt x="2666" y="126968"/>
                  </a:lnTo>
                  <a:lnTo>
                    <a:pt x="172548" y="126968"/>
                  </a:lnTo>
                  <a:lnTo>
                    <a:pt x="172548" y="0"/>
                  </a:lnTo>
                  <a:lnTo>
                    <a:pt x="0" y="0"/>
                  </a:lnTo>
                  <a:lnTo>
                    <a:pt x="0" y="1016"/>
                  </a:lnTo>
                  <a:lnTo>
                    <a:pt x="0" y="127983"/>
                  </a:lnTo>
                  <a:close/>
                </a:path>
              </a:pathLst>
            </a:custGeom>
            <a:solidFill>
              <a:schemeClr val="accent5"/>
            </a:solidFill>
            <a:ln w="12690" cap="flat">
              <a:noFill/>
              <a:prstDash val="solid"/>
              <a:miter/>
            </a:ln>
          </p:spPr>
          <p:txBody>
            <a:bodyPr rtlCol="0" anchor="ctr"/>
            <a:lstStyle/>
            <a:p>
              <a:endParaRPr lang="en-US"/>
            </a:p>
          </p:txBody>
        </p:sp>
        <p:sp>
          <p:nvSpPr>
            <p:cNvPr id="789" name="Freeform: Shape 788">
              <a:extLst>
                <a:ext uri="{FF2B5EF4-FFF2-40B4-BE49-F238E27FC236}">
                  <a16:creationId xmlns:a16="http://schemas.microsoft.com/office/drawing/2014/main" id="{29A8C751-1292-4EC4-9893-F9FAF7AA5BA5}"/>
                </a:ext>
              </a:extLst>
            </p:cNvPr>
            <p:cNvSpPr/>
            <p:nvPr/>
          </p:nvSpPr>
          <p:spPr>
            <a:xfrm>
              <a:off x="10281146" y="5648673"/>
              <a:ext cx="149947" cy="467113"/>
            </a:xfrm>
            <a:custGeom>
              <a:avLst/>
              <a:gdLst>
                <a:gd name="connsiteX0" fmla="*/ 3809 w 149947"/>
                <a:gd name="connsiteY0" fmla="*/ 191467 h 467113"/>
                <a:gd name="connsiteX1" fmla="*/ 3047 w 149947"/>
                <a:gd name="connsiteY1" fmla="*/ 192483 h 467113"/>
                <a:gd name="connsiteX2" fmla="*/ 2031 w 149947"/>
                <a:gd name="connsiteY2" fmla="*/ 193499 h 467113"/>
                <a:gd name="connsiteX3" fmla="*/ 2031 w 149947"/>
                <a:gd name="connsiteY3" fmla="*/ 193499 h 467113"/>
                <a:gd name="connsiteX4" fmla="*/ 2031 w 149947"/>
                <a:gd name="connsiteY4" fmla="*/ 193499 h 467113"/>
                <a:gd name="connsiteX5" fmla="*/ 0 w 149947"/>
                <a:gd name="connsiteY5" fmla="*/ 193499 h 467113"/>
                <a:gd name="connsiteX6" fmla="*/ 0 w 149947"/>
                <a:gd name="connsiteY6" fmla="*/ 467114 h 467113"/>
                <a:gd name="connsiteX7" fmla="*/ 149948 w 149947"/>
                <a:gd name="connsiteY7" fmla="*/ 467114 h 467113"/>
                <a:gd name="connsiteX8" fmla="*/ 149948 w 149947"/>
                <a:gd name="connsiteY8" fmla="*/ 0 h 467113"/>
                <a:gd name="connsiteX9" fmla="*/ 4825 w 149947"/>
                <a:gd name="connsiteY9" fmla="*/ 0 h 467113"/>
                <a:gd name="connsiteX10" fmla="*/ 4825 w 149947"/>
                <a:gd name="connsiteY10" fmla="*/ 187912 h 467113"/>
                <a:gd name="connsiteX11" fmla="*/ 4825 w 149947"/>
                <a:gd name="connsiteY11" fmla="*/ 187912 h 467113"/>
                <a:gd name="connsiteX12" fmla="*/ 4825 w 149947"/>
                <a:gd name="connsiteY12" fmla="*/ 189309 h 467113"/>
                <a:gd name="connsiteX13" fmla="*/ 3809 w 149947"/>
                <a:gd name="connsiteY13" fmla="*/ 191467 h 4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947" h="467113">
                  <a:moveTo>
                    <a:pt x="3809" y="191467"/>
                  </a:moveTo>
                  <a:cubicBezTo>
                    <a:pt x="3644" y="191862"/>
                    <a:pt x="3377" y="192211"/>
                    <a:pt x="3047" y="192483"/>
                  </a:cubicBezTo>
                  <a:cubicBezTo>
                    <a:pt x="2743" y="192852"/>
                    <a:pt x="2400" y="193193"/>
                    <a:pt x="2031" y="193499"/>
                  </a:cubicBezTo>
                  <a:cubicBezTo>
                    <a:pt x="2031" y="193499"/>
                    <a:pt x="2031" y="193499"/>
                    <a:pt x="2031" y="193499"/>
                  </a:cubicBezTo>
                  <a:lnTo>
                    <a:pt x="2031" y="193499"/>
                  </a:lnTo>
                  <a:lnTo>
                    <a:pt x="0" y="193499"/>
                  </a:lnTo>
                  <a:lnTo>
                    <a:pt x="0" y="467114"/>
                  </a:lnTo>
                  <a:lnTo>
                    <a:pt x="149948" y="467114"/>
                  </a:lnTo>
                  <a:lnTo>
                    <a:pt x="149948" y="0"/>
                  </a:lnTo>
                  <a:lnTo>
                    <a:pt x="4825" y="0"/>
                  </a:lnTo>
                  <a:lnTo>
                    <a:pt x="4825" y="187912"/>
                  </a:lnTo>
                  <a:cubicBezTo>
                    <a:pt x="4825" y="187912"/>
                    <a:pt x="4825" y="187912"/>
                    <a:pt x="4825" y="187912"/>
                  </a:cubicBezTo>
                  <a:cubicBezTo>
                    <a:pt x="4901" y="188374"/>
                    <a:pt x="4901" y="188846"/>
                    <a:pt x="4825" y="189309"/>
                  </a:cubicBezTo>
                  <a:cubicBezTo>
                    <a:pt x="4723" y="190119"/>
                    <a:pt x="4368" y="190875"/>
                    <a:pt x="3809" y="191467"/>
                  </a:cubicBezTo>
                  <a:close/>
                </a:path>
              </a:pathLst>
            </a:custGeom>
            <a:solidFill>
              <a:schemeClr val="accent1"/>
            </a:solidFill>
            <a:ln w="12690" cap="flat">
              <a:noFill/>
              <a:prstDash val="solid"/>
              <a:miter/>
            </a:ln>
          </p:spPr>
          <p:txBody>
            <a:bodyPr rtlCol="0" anchor="ctr"/>
            <a:lstStyle/>
            <a:p>
              <a:endParaRPr lang="en-US"/>
            </a:p>
          </p:txBody>
        </p:sp>
        <p:sp>
          <p:nvSpPr>
            <p:cNvPr id="790" name="Freeform: Shape 789">
              <a:extLst>
                <a:ext uri="{FF2B5EF4-FFF2-40B4-BE49-F238E27FC236}">
                  <a16:creationId xmlns:a16="http://schemas.microsoft.com/office/drawing/2014/main" id="{12295A7C-1668-4033-B5B3-F10FC597568B}"/>
                </a:ext>
              </a:extLst>
            </p:cNvPr>
            <p:cNvSpPr/>
            <p:nvPr/>
          </p:nvSpPr>
          <p:spPr>
            <a:xfrm>
              <a:off x="9526201" y="5584300"/>
              <a:ext cx="143219" cy="20187"/>
            </a:xfrm>
            <a:custGeom>
              <a:avLst/>
              <a:gdLst>
                <a:gd name="connsiteX0" fmla="*/ 33901 w 143219"/>
                <a:gd name="connsiteY0" fmla="*/ 20188 h 20187"/>
                <a:gd name="connsiteX1" fmla="*/ 143219 w 143219"/>
                <a:gd name="connsiteY1" fmla="*/ 20188 h 20187"/>
                <a:gd name="connsiteX2" fmla="*/ 143219 w 143219"/>
                <a:gd name="connsiteY2" fmla="*/ 0 h 20187"/>
                <a:gd name="connsiteX3" fmla="*/ 0 w 143219"/>
                <a:gd name="connsiteY3" fmla="*/ 0 h 20187"/>
                <a:gd name="connsiteX4" fmla="*/ 27425 w 143219"/>
                <a:gd name="connsiteY4" fmla="*/ 20188 h 20187"/>
                <a:gd name="connsiteX5" fmla="*/ 33901 w 143219"/>
                <a:gd name="connsiteY5" fmla="*/ 20188 h 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19" h="20187">
                  <a:moveTo>
                    <a:pt x="33901" y="20188"/>
                  </a:moveTo>
                  <a:lnTo>
                    <a:pt x="143219" y="20188"/>
                  </a:lnTo>
                  <a:lnTo>
                    <a:pt x="143219" y="0"/>
                  </a:lnTo>
                  <a:lnTo>
                    <a:pt x="0" y="0"/>
                  </a:lnTo>
                  <a:lnTo>
                    <a:pt x="27425" y="20188"/>
                  </a:lnTo>
                  <a:lnTo>
                    <a:pt x="33901" y="20188"/>
                  </a:lnTo>
                  <a:close/>
                </a:path>
              </a:pathLst>
            </a:custGeom>
            <a:solidFill>
              <a:srgbClr val="F9C996"/>
            </a:solidFill>
            <a:ln w="12690" cap="flat">
              <a:noFill/>
              <a:prstDash val="solid"/>
              <a:miter/>
            </a:ln>
          </p:spPr>
          <p:txBody>
            <a:bodyPr rtlCol="0" anchor="ctr"/>
            <a:lstStyle/>
            <a:p>
              <a:endParaRPr lang="en-US"/>
            </a:p>
          </p:txBody>
        </p:sp>
        <p:sp>
          <p:nvSpPr>
            <p:cNvPr id="791" name="Freeform: Shape 790">
              <a:extLst>
                <a:ext uri="{FF2B5EF4-FFF2-40B4-BE49-F238E27FC236}">
                  <a16:creationId xmlns:a16="http://schemas.microsoft.com/office/drawing/2014/main" id="{4B7E48D5-718B-43A5-9564-F8C77E341CB7}"/>
                </a:ext>
              </a:extLst>
            </p:cNvPr>
            <p:cNvSpPr/>
            <p:nvPr/>
          </p:nvSpPr>
          <p:spPr>
            <a:xfrm>
              <a:off x="9521757" y="5584300"/>
              <a:ext cx="27678" cy="20187"/>
            </a:xfrm>
            <a:custGeom>
              <a:avLst/>
              <a:gdLst>
                <a:gd name="connsiteX0" fmla="*/ 380 w 27678"/>
                <a:gd name="connsiteY0" fmla="*/ 0 h 20187"/>
                <a:gd name="connsiteX1" fmla="*/ 0 w 27678"/>
                <a:gd name="connsiteY1" fmla="*/ 0 h 20187"/>
                <a:gd name="connsiteX2" fmla="*/ 0 w 27678"/>
                <a:gd name="connsiteY2" fmla="*/ 20188 h 20187"/>
                <a:gd name="connsiteX3" fmla="*/ 27679 w 27678"/>
                <a:gd name="connsiteY3" fmla="*/ 20188 h 20187"/>
                <a:gd name="connsiteX4" fmla="*/ 380 w 27678"/>
                <a:gd name="connsiteY4" fmla="*/ 0 h 2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78" h="20187">
                  <a:moveTo>
                    <a:pt x="380" y="0"/>
                  </a:moveTo>
                  <a:lnTo>
                    <a:pt x="0" y="0"/>
                  </a:lnTo>
                  <a:lnTo>
                    <a:pt x="0" y="20188"/>
                  </a:lnTo>
                  <a:lnTo>
                    <a:pt x="27679" y="20188"/>
                  </a:lnTo>
                  <a:lnTo>
                    <a:pt x="380" y="0"/>
                  </a:lnTo>
                  <a:close/>
                </a:path>
              </a:pathLst>
            </a:custGeom>
            <a:solidFill>
              <a:srgbClr val="F39896"/>
            </a:solidFill>
            <a:ln w="12690" cap="flat">
              <a:noFill/>
              <a:prstDash val="solid"/>
              <a:miter/>
            </a:ln>
          </p:spPr>
          <p:txBody>
            <a:bodyPr rtlCol="0" anchor="ctr"/>
            <a:lstStyle/>
            <a:p>
              <a:endParaRPr lang="en-US"/>
            </a:p>
          </p:txBody>
        </p:sp>
        <p:sp>
          <p:nvSpPr>
            <p:cNvPr id="792" name="Freeform: Shape 791">
              <a:extLst>
                <a:ext uri="{FF2B5EF4-FFF2-40B4-BE49-F238E27FC236}">
                  <a16:creationId xmlns:a16="http://schemas.microsoft.com/office/drawing/2014/main" id="{C0B6861C-5603-436E-95B7-59A31B397D2A}"/>
                </a:ext>
              </a:extLst>
            </p:cNvPr>
            <p:cNvSpPr/>
            <p:nvPr/>
          </p:nvSpPr>
          <p:spPr>
            <a:xfrm>
              <a:off x="9683259" y="5592553"/>
              <a:ext cx="13839" cy="11934"/>
            </a:xfrm>
            <a:custGeom>
              <a:avLst/>
              <a:gdLst>
                <a:gd name="connsiteX0" fmla="*/ 0 w 13839"/>
                <a:gd name="connsiteY0" fmla="*/ 0 h 11934"/>
                <a:gd name="connsiteX1" fmla="*/ 0 w 13839"/>
                <a:gd name="connsiteY1" fmla="*/ 11935 h 11934"/>
                <a:gd name="connsiteX2" fmla="*/ 13840 w 13839"/>
                <a:gd name="connsiteY2" fmla="*/ 11935 h 11934"/>
                <a:gd name="connsiteX3" fmla="*/ 0 w 13839"/>
                <a:gd name="connsiteY3" fmla="*/ 0 h 11934"/>
              </a:gdLst>
              <a:ahLst/>
              <a:cxnLst>
                <a:cxn ang="0">
                  <a:pos x="connsiteX0" y="connsiteY0"/>
                </a:cxn>
                <a:cxn ang="0">
                  <a:pos x="connsiteX1" y="connsiteY1"/>
                </a:cxn>
                <a:cxn ang="0">
                  <a:pos x="connsiteX2" y="connsiteY2"/>
                </a:cxn>
                <a:cxn ang="0">
                  <a:pos x="connsiteX3" y="connsiteY3"/>
                </a:cxn>
              </a:cxnLst>
              <a:rect l="l" t="t" r="r" b="b"/>
              <a:pathLst>
                <a:path w="13839" h="11934">
                  <a:moveTo>
                    <a:pt x="0" y="0"/>
                  </a:moveTo>
                  <a:lnTo>
                    <a:pt x="0" y="11935"/>
                  </a:lnTo>
                  <a:lnTo>
                    <a:pt x="13840" y="11935"/>
                  </a:lnTo>
                  <a:lnTo>
                    <a:pt x="0" y="0"/>
                  </a:lnTo>
                  <a:close/>
                </a:path>
              </a:pathLst>
            </a:custGeom>
            <a:solidFill>
              <a:srgbClr val="9FD1D0"/>
            </a:solidFill>
            <a:ln w="12690" cap="flat">
              <a:noFill/>
              <a:prstDash val="solid"/>
              <a:miter/>
            </a:ln>
          </p:spPr>
          <p:txBody>
            <a:bodyPr rtlCol="0" anchor="ctr"/>
            <a:lstStyle/>
            <a:p>
              <a:endParaRPr lang="en-US"/>
            </a:p>
          </p:txBody>
        </p:sp>
        <p:sp>
          <p:nvSpPr>
            <p:cNvPr id="793" name="Freeform: Shape 792">
              <a:extLst>
                <a:ext uri="{FF2B5EF4-FFF2-40B4-BE49-F238E27FC236}">
                  <a16:creationId xmlns:a16="http://schemas.microsoft.com/office/drawing/2014/main" id="{968B8D51-9607-4CB0-AC5D-408F30A423D2}"/>
                </a:ext>
              </a:extLst>
            </p:cNvPr>
            <p:cNvSpPr/>
            <p:nvPr/>
          </p:nvSpPr>
          <p:spPr>
            <a:xfrm>
              <a:off x="12143878" y="6511798"/>
              <a:ext cx="31487" cy="352715"/>
            </a:xfrm>
            <a:custGeom>
              <a:avLst/>
              <a:gdLst>
                <a:gd name="connsiteX0" fmla="*/ 0 w 31487"/>
                <a:gd name="connsiteY0" fmla="*/ 0 h 352715"/>
                <a:gd name="connsiteX1" fmla="*/ 31488 w 31487"/>
                <a:gd name="connsiteY1" fmla="*/ 0 h 352715"/>
                <a:gd name="connsiteX2" fmla="*/ 31488 w 31487"/>
                <a:gd name="connsiteY2" fmla="*/ 352716 h 352715"/>
                <a:gd name="connsiteX3" fmla="*/ 0 w 31487"/>
                <a:gd name="connsiteY3" fmla="*/ 352716 h 352715"/>
              </a:gdLst>
              <a:ahLst/>
              <a:cxnLst>
                <a:cxn ang="0">
                  <a:pos x="connsiteX0" y="connsiteY0"/>
                </a:cxn>
                <a:cxn ang="0">
                  <a:pos x="connsiteX1" y="connsiteY1"/>
                </a:cxn>
                <a:cxn ang="0">
                  <a:pos x="connsiteX2" y="connsiteY2"/>
                </a:cxn>
                <a:cxn ang="0">
                  <a:pos x="connsiteX3" y="connsiteY3"/>
                </a:cxn>
              </a:cxnLst>
              <a:rect l="l" t="t" r="r" b="b"/>
              <a:pathLst>
                <a:path w="31487" h="352715">
                  <a:moveTo>
                    <a:pt x="0" y="0"/>
                  </a:moveTo>
                  <a:lnTo>
                    <a:pt x="31488" y="0"/>
                  </a:lnTo>
                  <a:lnTo>
                    <a:pt x="31488" y="352716"/>
                  </a:lnTo>
                  <a:lnTo>
                    <a:pt x="0" y="352716"/>
                  </a:lnTo>
                  <a:close/>
                </a:path>
              </a:pathLst>
            </a:custGeom>
            <a:solidFill>
              <a:srgbClr val="0A4054"/>
            </a:solidFill>
            <a:ln w="12690" cap="flat">
              <a:noFill/>
              <a:prstDash val="solid"/>
              <a:miter/>
            </a:ln>
          </p:spPr>
          <p:txBody>
            <a:bodyPr rtlCol="0" anchor="ctr"/>
            <a:lstStyle/>
            <a:p>
              <a:endParaRPr lang="en-US"/>
            </a:p>
          </p:txBody>
        </p:sp>
        <p:sp>
          <p:nvSpPr>
            <p:cNvPr id="794" name="Freeform: Shape 793">
              <a:extLst>
                <a:ext uri="{FF2B5EF4-FFF2-40B4-BE49-F238E27FC236}">
                  <a16:creationId xmlns:a16="http://schemas.microsoft.com/office/drawing/2014/main" id="{50911A17-B666-4658-8CE6-83F2F000B4FE}"/>
                </a:ext>
              </a:extLst>
            </p:cNvPr>
            <p:cNvSpPr/>
            <p:nvPr/>
          </p:nvSpPr>
          <p:spPr>
            <a:xfrm>
              <a:off x="11809955" y="6511798"/>
              <a:ext cx="331383" cy="352715"/>
            </a:xfrm>
            <a:custGeom>
              <a:avLst/>
              <a:gdLst>
                <a:gd name="connsiteX0" fmla="*/ 0 w 331383"/>
                <a:gd name="connsiteY0" fmla="*/ 0 h 352715"/>
                <a:gd name="connsiteX1" fmla="*/ 331383 w 331383"/>
                <a:gd name="connsiteY1" fmla="*/ 0 h 352715"/>
                <a:gd name="connsiteX2" fmla="*/ 331383 w 331383"/>
                <a:gd name="connsiteY2" fmla="*/ 352716 h 352715"/>
                <a:gd name="connsiteX3" fmla="*/ 0 w 331383"/>
                <a:gd name="connsiteY3" fmla="*/ 352716 h 352715"/>
              </a:gdLst>
              <a:ahLst/>
              <a:cxnLst>
                <a:cxn ang="0">
                  <a:pos x="connsiteX0" y="connsiteY0"/>
                </a:cxn>
                <a:cxn ang="0">
                  <a:pos x="connsiteX1" y="connsiteY1"/>
                </a:cxn>
                <a:cxn ang="0">
                  <a:pos x="connsiteX2" y="connsiteY2"/>
                </a:cxn>
                <a:cxn ang="0">
                  <a:pos x="connsiteX3" y="connsiteY3"/>
                </a:cxn>
              </a:cxnLst>
              <a:rect l="l" t="t" r="r" b="b"/>
              <a:pathLst>
                <a:path w="331383" h="352715">
                  <a:moveTo>
                    <a:pt x="0" y="0"/>
                  </a:moveTo>
                  <a:lnTo>
                    <a:pt x="331383" y="0"/>
                  </a:lnTo>
                  <a:lnTo>
                    <a:pt x="331383" y="352716"/>
                  </a:lnTo>
                  <a:lnTo>
                    <a:pt x="0" y="352716"/>
                  </a:lnTo>
                  <a:close/>
                </a:path>
              </a:pathLst>
            </a:custGeom>
            <a:solidFill>
              <a:schemeClr val="bg1">
                <a:lumMod val="95000"/>
              </a:schemeClr>
            </a:solidFill>
            <a:ln w="12690" cap="flat">
              <a:noFill/>
              <a:prstDash val="solid"/>
              <a:miter/>
            </a:ln>
          </p:spPr>
          <p:txBody>
            <a:bodyPr rtlCol="0" anchor="ctr"/>
            <a:lstStyle/>
            <a:p>
              <a:endParaRPr lang="en-US"/>
            </a:p>
          </p:txBody>
        </p:sp>
        <p:sp>
          <p:nvSpPr>
            <p:cNvPr id="795" name="Freeform: Shape 794">
              <a:extLst>
                <a:ext uri="{FF2B5EF4-FFF2-40B4-BE49-F238E27FC236}">
                  <a16:creationId xmlns:a16="http://schemas.microsoft.com/office/drawing/2014/main" id="{928F0E4A-A37B-42E2-BFCB-029A8AF501F6}"/>
                </a:ext>
              </a:extLst>
            </p:cNvPr>
            <p:cNvSpPr/>
            <p:nvPr/>
          </p:nvSpPr>
          <p:spPr>
            <a:xfrm>
              <a:off x="11099702" y="6439807"/>
              <a:ext cx="118206" cy="424452"/>
            </a:xfrm>
            <a:custGeom>
              <a:avLst/>
              <a:gdLst>
                <a:gd name="connsiteX0" fmla="*/ 118207 w 118206"/>
                <a:gd name="connsiteY0" fmla="*/ 360715 h 424452"/>
                <a:gd name="connsiteX1" fmla="*/ 118207 w 118206"/>
                <a:gd name="connsiteY1" fmla="*/ 0 h 424452"/>
                <a:gd name="connsiteX2" fmla="*/ 64881 w 118206"/>
                <a:gd name="connsiteY2" fmla="*/ 0 h 424452"/>
                <a:gd name="connsiteX3" fmla="*/ 63483 w 118206"/>
                <a:gd name="connsiteY3" fmla="*/ 0 h 424452"/>
                <a:gd name="connsiteX4" fmla="*/ 0 w 118206"/>
                <a:gd name="connsiteY4" fmla="*/ 0 h 424452"/>
                <a:gd name="connsiteX5" fmla="*/ 0 w 118206"/>
                <a:gd name="connsiteY5" fmla="*/ 424453 h 424452"/>
                <a:gd name="connsiteX6" fmla="*/ 117699 w 118206"/>
                <a:gd name="connsiteY6" fmla="*/ 424453 h 424452"/>
                <a:gd name="connsiteX7" fmla="*/ 117699 w 118206"/>
                <a:gd name="connsiteY7" fmla="*/ 360969 h 42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24452">
                  <a:moveTo>
                    <a:pt x="118207" y="360715"/>
                  </a:moveTo>
                  <a:lnTo>
                    <a:pt x="118207" y="0"/>
                  </a:lnTo>
                  <a:lnTo>
                    <a:pt x="64881" y="0"/>
                  </a:lnTo>
                  <a:lnTo>
                    <a:pt x="63483" y="0"/>
                  </a:lnTo>
                  <a:lnTo>
                    <a:pt x="0" y="0"/>
                  </a:lnTo>
                  <a:lnTo>
                    <a:pt x="0" y="424453"/>
                  </a:lnTo>
                  <a:lnTo>
                    <a:pt x="117699" y="424453"/>
                  </a:lnTo>
                  <a:lnTo>
                    <a:pt x="117699" y="360969"/>
                  </a:lnTo>
                  <a:close/>
                </a:path>
              </a:pathLst>
            </a:custGeom>
            <a:solidFill>
              <a:srgbClr val="22B0AE"/>
            </a:solidFill>
            <a:ln w="12690" cap="flat">
              <a:noFill/>
              <a:prstDash val="solid"/>
              <a:miter/>
            </a:ln>
          </p:spPr>
          <p:txBody>
            <a:bodyPr rtlCol="0" anchor="ctr"/>
            <a:lstStyle/>
            <a:p>
              <a:endParaRPr lang="en-US"/>
            </a:p>
          </p:txBody>
        </p:sp>
        <p:sp>
          <p:nvSpPr>
            <p:cNvPr id="796" name="Freeform: Shape 795">
              <a:extLst>
                <a:ext uri="{FF2B5EF4-FFF2-40B4-BE49-F238E27FC236}">
                  <a16:creationId xmlns:a16="http://schemas.microsoft.com/office/drawing/2014/main" id="{429D4D6E-2469-4009-B2B3-CB79E8EDF4A3}"/>
                </a:ext>
              </a:extLst>
            </p:cNvPr>
            <p:cNvSpPr/>
            <p:nvPr/>
          </p:nvSpPr>
          <p:spPr>
            <a:xfrm>
              <a:off x="11006381" y="5858677"/>
              <a:ext cx="313608" cy="642582"/>
            </a:xfrm>
            <a:custGeom>
              <a:avLst/>
              <a:gdLst>
                <a:gd name="connsiteX0" fmla="*/ 77831 w 313608"/>
                <a:gd name="connsiteY0" fmla="*/ 571100 h 642582"/>
                <a:gd name="connsiteX1" fmla="*/ 77831 w 313608"/>
                <a:gd name="connsiteY1" fmla="*/ 571100 h 642582"/>
                <a:gd name="connsiteX2" fmla="*/ 82783 w 313608"/>
                <a:gd name="connsiteY2" fmla="*/ 571100 h 642582"/>
                <a:gd name="connsiteX3" fmla="*/ 217876 w 313608"/>
                <a:gd name="connsiteY3" fmla="*/ 571100 h 642582"/>
                <a:gd name="connsiteX4" fmla="*/ 224732 w 313608"/>
                <a:gd name="connsiteY4" fmla="*/ 577956 h 642582"/>
                <a:gd name="connsiteX5" fmla="*/ 224732 w 313608"/>
                <a:gd name="connsiteY5" fmla="*/ 642583 h 642582"/>
                <a:gd name="connsiteX6" fmla="*/ 313608 w 313608"/>
                <a:gd name="connsiteY6" fmla="*/ 642583 h 642582"/>
                <a:gd name="connsiteX7" fmla="*/ 313608 w 313608"/>
                <a:gd name="connsiteY7" fmla="*/ 0 h 642582"/>
                <a:gd name="connsiteX8" fmla="*/ 0 w 313608"/>
                <a:gd name="connsiteY8" fmla="*/ 0 h 642582"/>
                <a:gd name="connsiteX9" fmla="*/ 0 w 313608"/>
                <a:gd name="connsiteY9" fmla="*/ 571354 h 64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608" h="642582">
                  <a:moveTo>
                    <a:pt x="77831" y="571100"/>
                  </a:moveTo>
                  <a:lnTo>
                    <a:pt x="77831" y="571100"/>
                  </a:lnTo>
                  <a:lnTo>
                    <a:pt x="82783" y="571100"/>
                  </a:lnTo>
                  <a:lnTo>
                    <a:pt x="217876" y="571100"/>
                  </a:lnTo>
                  <a:cubicBezTo>
                    <a:pt x="221659" y="571100"/>
                    <a:pt x="224732" y="574173"/>
                    <a:pt x="224732" y="577956"/>
                  </a:cubicBezTo>
                  <a:lnTo>
                    <a:pt x="224732" y="642583"/>
                  </a:lnTo>
                  <a:lnTo>
                    <a:pt x="313608" y="642583"/>
                  </a:lnTo>
                  <a:lnTo>
                    <a:pt x="313608" y="0"/>
                  </a:lnTo>
                  <a:lnTo>
                    <a:pt x="0" y="0"/>
                  </a:lnTo>
                  <a:lnTo>
                    <a:pt x="0" y="571354"/>
                  </a:lnTo>
                  <a:close/>
                </a:path>
              </a:pathLst>
            </a:custGeom>
            <a:solidFill>
              <a:schemeClr val="accent2"/>
            </a:solidFill>
            <a:ln w="12690" cap="flat">
              <a:noFill/>
              <a:prstDash val="solid"/>
              <a:miter/>
            </a:ln>
          </p:spPr>
          <p:txBody>
            <a:bodyPr rtlCol="0" anchor="ctr"/>
            <a:lstStyle/>
            <a:p>
              <a:endParaRPr lang="en-US"/>
            </a:p>
          </p:txBody>
        </p:sp>
        <p:sp>
          <p:nvSpPr>
            <p:cNvPr id="797" name="Freeform: Shape 796">
              <a:extLst>
                <a:ext uri="{FF2B5EF4-FFF2-40B4-BE49-F238E27FC236}">
                  <a16:creationId xmlns:a16="http://schemas.microsoft.com/office/drawing/2014/main" id="{81301B1A-E97B-416B-A1DD-E309B4C132CC}"/>
                </a:ext>
              </a:extLst>
            </p:cNvPr>
            <p:cNvSpPr/>
            <p:nvPr/>
          </p:nvSpPr>
          <p:spPr>
            <a:xfrm>
              <a:off x="11326719" y="6507100"/>
              <a:ext cx="439559" cy="357413"/>
            </a:xfrm>
            <a:custGeom>
              <a:avLst/>
              <a:gdLst>
                <a:gd name="connsiteX0" fmla="*/ 6730 w 439559"/>
                <a:gd name="connsiteY0" fmla="*/ 0 h 357413"/>
                <a:gd name="connsiteX1" fmla="*/ 2539 w 439559"/>
                <a:gd name="connsiteY1" fmla="*/ 2539 h 357413"/>
                <a:gd name="connsiteX2" fmla="*/ 0 w 439559"/>
                <a:gd name="connsiteY2" fmla="*/ 290883 h 357413"/>
                <a:gd name="connsiteX3" fmla="*/ 2539 w 439559"/>
                <a:gd name="connsiteY3" fmla="*/ 295580 h 357413"/>
                <a:gd name="connsiteX4" fmla="*/ 39487 w 439559"/>
                <a:gd name="connsiteY4" fmla="*/ 311832 h 357413"/>
                <a:gd name="connsiteX5" fmla="*/ 42153 w 439559"/>
                <a:gd name="connsiteY5" fmla="*/ 316022 h 357413"/>
                <a:gd name="connsiteX6" fmla="*/ 43550 w 439559"/>
                <a:gd name="connsiteY6" fmla="*/ 357413 h 357413"/>
                <a:gd name="connsiteX7" fmla="*/ 439559 w 439559"/>
                <a:gd name="connsiteY7" fmla="*/ 357413 h 357413"/>
                <a:gd name="connsiteX8" fmla="*/ 439559 w 439559"/>
                <a:gd name="connsiteY8" fmla="*/ 0 h 35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559" h="357413">
                  <a:moveTo>
                    <a:pt x="6730" y="0"/>
                  </a:moveTo>
                  <a:cubicBezTo>
                    <a:pt x="5727" y="1371"/>
                    <a:pt x="4216" y="2286"/>
                    <a:pt x="2539" y="2539"/>
                  </a:cubicBezTo>
                  <a:lnTo>
                    <a:pt x="0" y="290883"/>
                  </a:lnTo>
                  <a:cubicBezTo>
                    <a:pt x="762" y="290883"/>
                    <a:pt x="1778" y="295073"/>
                    <a:pt x="2539" y="295580"/>
                  </a:cubicBezTo>
                  <a:lnTo>
                    <a:pt x="39487" y="311832"/>
                  </a:lnTo>
                  <a:cubicBezTo>
                    <a:pt x="40465" y="313165"/>
                    <a:pt x="41353" y="314575"/>
                    <a:pt x="42153" y="316022"/>
                  </a:cubicBezTo>
                  <a:lnTo>
                    <a:pt x="43550" y="357413"/>
                  </a:lnTo>
                  <a:lnTo>
                    <a:pt x="439559" y="357413"/>
                  </a:lnTo>
                  <a:lnTo>
                    <a:pt x="439559" y="0"/>
                  </a:lnTo>
                  <a:close/>
                </a:path>
              </a:pathLst>
            </a:custGeom>
            <a:solidFill>
              <a:schemeClr val="accent2"/>
            </a:solidFill>
            <a:ln w="12690" cap="flat">
              <a:noFill/>
              <a:prstDash val="solid"/>
              <a:miter/>
            </a:ln>
          </p:spPr>
          <p:txBody>
            <a:bodyPr rtlCol="0" anchor="ctr"/>
            <a:lstStyle/>
            <a:p>
              <a:endParaRPr lang="en-US"/>
            </a:p>
          </p:txBody>
        </p:sp>
        <p:sp>
          <p:nvSpPr>
            <p:cNvPr id="798" name="Freeform: Shape 797">
              <a:extLst>
                <a:ext uri="{FF2B5EF4-FFF2-40B4-BE49-F238E27FC236}">
                  <a16:creationId xmlns:a16="http://schemas.microsoft.com/office/drawing/2014/main" id="{E08F69EA-8A83-4D9D-8C3D-93850D4028F4}"/>
                </a:ext>
              </a:extLst>
            </p:cNvPr>
            <p:cNvSpPr/>
            <p:nvPr/>
          </p:nvSpPr>
          <p:spPr>
            <a:xfrm>
              <a:off x="11231621" y="6504307"/>
              <a:ext cx="95098" cy="299262"/>
            </a:xfrm>
            <a:custGeom>
              <a:avLst/>
              <a:gdLst>
                <a:gd name="connsiteX0" fmla="*/ 0 w 95098"/>
                <a:gd name="connsiteY0" fmla="*/ 299263 h 299262"/>
                <a:gd name="connsiteX1" fmla="*/ 89639 w 95098"/>
                <a:gd name="connsiteY1" fmla="*/ 299263 h 299262"/>
                <a:gd name="connsiteX2" fmla="*/ 90400 w 95098"/>
                <a:gd name="connsiteY2" fmla="*/ 296977 h 299262"/>
                <a:gd name="connsiteX3" fmla="*/ 95098 w 95098"/>
                <a:gd name="connsiteY3" fmla="*/ 293676 h 299262"/>
                <a:gd name="connsiteX4" fmla="*/ 95098 w 95098"/>
                <a:gd name="connsiteY4" fmla="*/ 5333 h 299262"/>
                <a:gd name="connsiteX5" fmla="*/ 89766 w 95098"/>
                <a:gd name="connsiteY5" fmla="*/ 0 h 299262"/>
                <a:gd name="connsiteX6" fmla="*/ 0 w 95098"/>
                <a:gd name="connsiteY6" fmla="*/ 0 h 29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98" h="299262">
                  <a:moveTo>
                    <a:pt x="0" y="299263"/>
                  </a:moveTo>
                  <a:lnTo>
                    <a:pt x="89639" y="299263"/>
                  </a:lnTo>
                  <a:cubicBezTo>
                    <a:pt x="89740" y="298463"/>
                    <a:pt x="89994" y="297675"/>
                    <a:pt x="90400" y="296977"/>
                  </a:cubicBezTo>
                  <a:cubicBezTo>
                    <a:pt x="91416" y="295250"/>
                    <a:pt x="93131" y="294057"/>
                    <a:pt x="95098" y="293676"/>
                  </a:cubicBezTo>
                  <a:lnTo>
                    <a:pt x="95098" y="5333"/>
                  </a:lnTo>
                  <a:cubicBezTo>
                    <a:pt x="92356" y="4876"/>
                    <a:pt x="90223" y="2730"/>
                    <a:pt x="89766" y="0"/>
                  </a:cubicBezTo>
                  <a:lnTo>
                    <a:pt x="0" y="0"/>
                  </a:lnTo>
                  <a:close/>
                </a:path>
              </a:pathLst>
            </a:custGeom>
            <a:solidFill>
              <a:schemeClr val="tx2"/>
            </a:solidFill>
            <a:ln w="12690" cap="flat">
              <a:noFill/>
              <a:prstDash val="solid"/>
              <a:miter/>
            </a:ln>
          </p:spPr>
          <p:txBody>
            <a:bodyPr rtlCol="0" anchor="ctr"/>
            <a:lstStyle/>
            <a:p>
              <a:endParaRPr lang="en-US"/>
            </a:p>
          </p:txBody>
        </p:sp>
        <p:sp>
          <p:nvSpPr>
            <p:cNvPr id="799" name="Freeform: Shape 798">
              <a:extLst>
                <a:ext uri="{FF2B5EF4-FFF2-40B4-BE49-F238E27FC236}">
                  <a16:creationId xmlns:a16="http://schemas.microsoft.com/office/drawing/2014/main" id="{99835C59-7319-4AB6-A2FC-95338F6734A9}"/>
                </a:ext>
              </a:extLst>
            </p:cNvPr>
            <p:cNvSpPr/>
            <p:nvPr/>
          </p:nvSpPr>
          <p:spPr>
            <a:xfrm>
              <a:off x="9790292" y="6439807"/>
              <a:ext cx="1523" cy="424706"/>
            </a:xfrm>
            <a:custGeom>
              <a:avLst/>
              <a:gdLst>
                <a:gd name="connsiteX0" fmla="*/ 0 w 1523"/>
                <a:gd name="connsiteY0" fmla="*/ 0 h 424706"/>
                <a:gd name="connsiteX1" fmla="*/ 1524 w 1523"/>
                <a:gd name="connsiteY1" fmla="*/ 0 h 424706"/>
                <a:gd name="connsiteX2" fmla="*/ 1524 w 1523"/>
                <a:gd name="connsiteY2" fmla="*/ 424706 h 424706"/>
                <a:gd name="connsiteX3" fmla="*/ 0 w 1523"/>
                <a:gd name="connsiteY3" fmla="*/ 424706 h 424706"/>
              </a:gdLst>
              <a:ahLst/>
              <a:cxnLst>
                <a:cxn ang="0">
                  <a:pos x="connsiteX0" y="connsiteY0"/>
                </a:cxn>
                <a:cxn ang="0">
                  <a:pos x="connsiteX1" y="connsiteY1"/>
                </a:cxn>
                <a:cxn ang="0">
                  <a:pos x="connsiteX2" y="connsiteY2"/>
                </a:cxn>
                <a:cxn ang="0">
                  <a:pos x="connsiteX3" y="connsiteY3"/>
                </a:cxn>
              </a:cxnLst>
              <a:rect l="l" t="t" r="r" b="b"/>
              <a:pathLst>
                <a:path w="1523" h="424706">
                  <a:moveTo>
                    <a:pt x="0" y="0"/>
                  </a:moveTo>
                  <a:lnTo>
                    <a:pt x="1524" y="0"/>
                  </a:lnTo>
                  <a:lnTo>
                    <a:pt x="1524" y="424706"/>
                  </a:lnTo>
                  <a:lnTo>
                    <a:pt x="0" y="424706"/>
                  </a:lnTo>
                  <a:close/>
                </a:path>
              </a:pathLst>
            </a:custGeom>
            <a:solidFill>
              <a:srgbClr val="F9C996"/>
            </a:solidFill>
            <a:ln w="12690" cap="flat">
              <a:noFill/>
              <a:prstDash val="solid"/>
              <a:miter/>
            </a:ln>
          </p:spPr>
          <p:txBody>
            <a:bodyPr rtlCol="0" anchor="ctr"/>
            <a:lstStyle/>
            <a:p>
              <a:endParaRPr lang="en-US"/>
            </a:p>
          </p:txBody>
        </p:sp>
        <p:sp>
          <p:nvSpPr>
            <p:cNvPr id="800" name="Freeform: Shape 799">
              <a:extLst>
                <a:ext uri="{FF2B5EF4-FFF2-40B4-BE49-F238E27FC236}">
                  <a16:creationId xmlns:a16="http://schemas.microsoft.com/office/drawing/2014/main" id="{F389A4D5-73F9-4E82-A496-6620C1BD877E}"/>
                </a:ext>
              </a:extLst>
            </p:cNvPr>
            <p:cNvSpPr/>
            <p:nvPr/>
          </p:nvSpPr>
          <p:spPr>
            <a:xfrm>
              <a:off x="9794228" y="6443997"/>
              <a:ext cx="240602" cy="420389"/>
            </a:xfrm>
            <a:custGeom>
              <a:avLst/>
              <a:gdLst>
                <a:gd name="connsiteX0" fmla="*/ 0 w 240602"/>
                <a:gd name="connsiteY0" fmla="*/ 0 h 420389"/>
                <a:gd name="connsiteX1" fmla="*/ 240603 w 240602"/>
                <a:gd name="connsiteY1" fmla="*/ 0 h 420389"/>
                <a:gd name="connsiteX2" fmla="*/ 240603 w 240602"/>
                <a:gd name="connsiteY2" fmla="*/ 420389 h 420389"/>
                <a:gd name="connsiteX3" fmla="*/ 0 w 240602"/>
                <a:gd name="connsiteY3" fmla="*/ 420389 h 420389"/>
              </a:gdLst>
              <a:ahLst/>
              <a:cxnLst>
                <a:cxn ang="0">
                  <a:pos x="connsiteX0" y="connsiteY0"/>
                </a:cxn>
                <a:cxn ang="0">
                  <a:pos x="connsiteX1" y="connsiteY1"/>
                </a:cxn>
                <a:cxn ang="0">
                  <a:pos x="connsiteX2" y="connsiteY2"/>
                </a:cxn>
                <a:cxn ang="0">
                  <a:pos x="connsiteX3" y="connsiteY3"/>
                </a:cxn>
              </a:cxnLst>
              <a:rect l="l" t="t" r="r" b="b"/>
              <a:pathLst>
                <a:path w="240602" h="420389">
                  <a:moveTo>
                    <a:pt x="0" y="0"/>
                  </a:moveTo>
                  <a:lnTo>
                    <a:pt x="240603" y="0"/>
                  </a:lnTo>
                  <a:lnTo>
                    <a:pt x="240603" y="420389"/>
                  </a:lnTo>
                  <a:lnTo>
                    <a:pt x="0" y="420389"/>
                  </a:lnTo>
                  <a:close/>
                </a:path>
              </a:pathLst>
            </a:custGeom>
            <a:solidFill>
              <a:schemeClr val="tx2"/>
            </a:solidFill>
            <a:ln w="12690" cap="flat">
              <a:noFill/>
              <a:prstDash val="solid"/>
              <a:miter/>
            </a:ln>
          </p:spPr>
          <p:txBody>
            <a:bodyPr rtlCol="0" anchor="ctr"/>
            <a:lstStyle/>
            <a:p>
              <a:endParaRPr lang="en-US"/>
            </a:p>
          </p:txBody>
        </p:sp>
        <p:sp>
          <p:nvSpPr>
            <p:cNvPr id="801" name="Freeform: Shape 800">
              <a:extLst>
                <a:ext uri="{FF2B5EF4-FFF2-40B4-BE49-F238E27FC236}">
                  <a16:creationId xmlns:a16="http://schemas.microsoft.com/office/drawing/2014/main" id="{BB7E17C9-BA67-4E57-A4E8-0B060B453448}"/>
                </a:ext>
              </a:extLst>
            </p:cNvPr>
            <p:cNvSpPr/>
            <p:nvPr/>
          </p:nvSpPr>
          <p:spPr>
            <a:xfrm>
              <a:off x="10444045" y="5825411"/>
              <a:ext cx="30725" cy="292025"/>
            </a:xfrm>
            <a:custGeom>
              <a:avLst/>
              <a:gdLst>
                <a:gd name="connsiteX0" fmla="*/ 0 w 30725"/>
                <a:gd name="connsiteY0" fmla="*/ 0 h 292025"/>
                <a:gd name="connsiteX1" fmla="*/ 0 w 30725"/>
                <a:gd name="connsiteY1" fmla="*/ 292025 h 292025"/>
                <a:gd name="connsiteX2" fmla="*/ 30726 w 30725"/>
                <a:gd name="connsiteY2" fmla="*/ 292025 h 292025"/>
                <a:gd name="connsiteX3" fmla="*/ 30726 w 30725"/>
                <a:gd name="connsiteY3" fmla="*/ 16252 h 292025"/>
                <a:gd name="connsiteX4" fmla="*/ 28313 w 30725"/>
                <a:gd name="connsiteY4" fmla="*/ 11173 h 292025"/>
                <a:gd name="connsiteX5" fmla="*/ 28313 w 30725"/>
                <a:gd name="connsiteY5" fmla="*/ 0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25" h="292025">
                  <a:moveTo>
                    <a:pt x="0" y="0"/>
                  </a:moveTo>
                  <a:lnTo>
                    <a:pt x="0" y="292025"/>
                  </a:lnTo>
                  <a:lnTo>
                    <a:pt x="30726" y="292025"/>
                  </a:lnTo>
                  <a:lnTo>
                    <a:pt x="30726" y="16252"/>
                  </a:lnTo>
                  <a:cubicBezTo>
                    <a:pt x="29240" y="14972"/>
                    <a:pt x="28377" y="13130"/>
                    <a:pt x="28313" y="11173"/>
                  </a:cubicBezTo>
                  <a:lnTo>
                    <a:pt x="28313" y="0"/>
                  </a:lnTo>
                  <a:close/>
                </a:path>
              </a:pathLst>
            </a:custGeom>
            <a:solidFill>
              <a:schemeClr val="accent2"/>
            </a:solidFill>
            <a:ln w="12690" cap="flat">
              <a:noFill/>
              <a:prstDash val="solid"/>
              <a:miter/>
            </a:ln>
          </p:spPr>
          <p:txBody>
            <a:bodyPr rtlCol="0" anchor="ctr"/>
            <a:lstStyle/>
            <a:p>
              <a:endParaRPr lang="en-US"/>
            </a:p>
          </p:txBody>
        </p:sp>
        <p:sp>
          <p:nvSpPr>
            <p:cNvPr id="802" name="Freeform: Shape 801">
              <a:extLst>
                <a:ext uri="{FF2B5EF4-FFF2-40B4-BE49-F238E27FC236}">
                  <a16:creationId xmlns:a16="http://schemas.microsoft.com/office/drawing/2014/main" id="{8886933B-E79F-4ADC-9C0D-52F4EDC83BFE}"/>
                </a:ext>
              </a:extLst>
            </p:cNvPr>
            <p:cNvSpPr/>
            <p:nvPr/>
          </p:nvSpPr>
          <p:spPr>
            <a:xfrm>
              <a:off x="10802473" y="5842933"/>
              <a:ext cx="1396" cy="586843"/>
            </a:xfrm>
            <a:custGeom>
              <a:avLst/>
              <a:gdLst>
                <a:gd name="connsiteX0" fmla="*/ 0 w 1396"/>
                <a:gd name="connsiteY0" fmla="*/ 254 h 586843"/>
                <a:gd name="connsiteX1" fmla="*/ 0 w 1396"/>
                <a:gd name="connsiteY1" fmla="*/ 586844 h 586843"/>
                <a:gd name="connsiteX2" fmla="*/ 1396 w 1396"/>
                <a:gd name="connsiteY2" fmla="*/ 586844 h 586843"/>
                <a:gd name="connsiteX3" fmla="*/ 1396 w 1396"/>
                <a:gd name="connsiteY3" fmla="*/ 0 h 586843"/>
              </a:gdLst>
              <a:ahLst/>
              <a:cxnLst>
                <a:cxn ang="0">
                  <a:pos x="connsiteX0" y="connsiteY0"/>
                </a:cxn>
                <a:cxn ang="0">
                  <a:pos x="connsiteX1" y="connsiteY1"/>
                </a:cxn>
                <a:cxn ang="0">
                  <a:pos x="connsiteX2" y="connsiteY2"/>
                </a:cxn>
                <a:cxn ang="0">
                  <a:pos x="connsiteX3" y="connsiteY3"/>
                </a:cxn>
              </a:cxnLst>
              <a:rect l="l" t="t" r="r" b="b"/>
              <a:pathLst>
                <a:path w="1396" h="586843">
                  <a:moveTo>
                    <a:pt x="0" y="254"/>
                  </a:moveTo>
                  <a:lnTo>
                    <a:pt x="0" y="586844"/>
                  </a:lnTo>
                  <a:lnTo>
                    <a:pt x="1396" y="586844"/>
                  </a:lnTo>
                  <a:lnTo>
                    <a:pt x="1396" y="0"/>
                  </a:lnTo>
                  <a:close/>
                </a:path>
              </a:pathLst>
            </a:custGeom>
            <a:solidFill>
              <a:srgbClr val="F9AA19"/>
            </a:solidFill>
            <a:ln w="12690" cap="flat">
              <a:noFill/>
              <a:prstDash val="solid"/>
              <a:miter/>
            </a:ln>
          </p:spPr>
          <p:txBody>
            <a:bodyPr rtlCol="0" anchor="ctr"/>
            <a:lstStyle/>
            <a:p>
              <a:endParaRPr lang="en-US"/>
            </a:p>
          </p:txBody>
        </p:sp>
        <p:sp>
          <p:nvSpPr>
            <p:cNvPr id="803" name="Freeform: Shape 802">
              <a:extLst>
                <a:ext uri="{FF2B5EF4-FFF2-40B4-BE49-F238E27FC236}">
                  <a16:creationId xmlns:a16="http://schemas.microsoft.com/office/drawing/2014/main" id="{A64770C1-1DA1-4BFF-986B-A0E657E7289D}"/>
                </a:ext>
              </a:extLst>
            </p:cNvPr>
            <p:cNvSpPr/>
            <p:nvPr/>
          </p:nvSpPr>
          <p:spPr>
            <a:xfrm>
              <a:off x="10806409" y="5810683"/>
              <a:ext cx="186133" cy="619093"/>
            </a:xfrm>
            <a:custGeom>
              <a:avLst/>
              <a:gdLst>
                <a:gd name="connsiteX0" fmla="*/ 1524 w 186133"/>
                <a:gd name="connsiteY0" fmla="*/ 7872 h 619093"/>
                <a:gd name="connsiteX1" fmla="*/ 1524 w 186133"/>
                <a:gd name="connsiteY1" fmla="*/ 7872 h 619093"/>
                <a:gd name="connsiteX2" fmla="*/ 0 w 186133"/>
                <a:gd name="connsiteY2" fmla="*/ 13078 h 619093"/>
                <a:gd name="connsiteX3" fmla="*/ 0 w 186133"/>
                <a:gd name="connsiteY3" fmla="*/ 21204 h 619093"/>
                <a:gd name="connsiteX4" fmla="*/ 1778 w 186133"/>
                <a:gd name="connsiteY4" fmla="*/ 25901 h 619093"/>
                <a:gd name="connsiteX5" fmla="*/ 0 w 186133"/>
                <a:gd name="connsiteY5" fmla="*/ 30472 h 619093"/>
                <a:gd name="connsiteX6" fmla="*/ 0 w 186133"/>
                <a:gd name="connsiteY6" fmla="*/ 619094 h 619093"/>
                <a:gd name="connsiteX7" fmla="*/ 186134 w 186133"/>
                <a:gd name="connsiteY7" fmla="*/ 619094 h 619093"/>
                <a:gd name="connsiteX8" fmla="*/ 186134 w 186133"/>
                <a:gd name="connsiteY8" fmla="*/ 0 h 619093"/>
                <a:gd name="connsiteX9" fmla="*/ 3809 w 186133"/>
                <a:gd name="connsiteY9"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133" h="619093">
                  <a:moveTo>
                    <a:pt x="1524" y="7872"/>
                  </a:moveTo>
                  <a:lnTo>
                    <a:pt x="1524" y="7872"/>
                  </a:lnTo>
                  <a:lnTo>
                    <a:pt x="0" y="13078"/>
                  </a:lnTo>
                  <a:lnTo>
                    <a:pt x="0" y="21204"/>
                  </a:lnTo>
                  <a:cubicBezTo>
                    <a:pt x="1130" y="22513"/>
                    <a:pt x="1752" y="24176"/>
                    <a:pt x="1778" y="25901"/>
                  </a:cubicBezTo>
                  <a:cubicBezTo>
                    <a:pt x="1752" y="27590"/>
                    <a:pt x="1130" y="29214"/>
                    <a:pt x="0" y="30472"/>
                  </a:cubicBezTo>
                  <a:lnTo>
                    <a:pt x="0" y="619094"/>
                  </a:lnTo>
                  <a:lnTo>
                    <a:pt x="186134" y="619094"/>
                  </a:lnTo>
                  <a:lnTo>
                    <a:pt x="186134" y="0"/>
                  </a:lnTo>
                  <a:lnTo>
                    <a:pt x="3809" y="0"/>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804" name="Freeform: Shape 803">
              <a:extLst>
                <a:ext uri="{FF2B5EF4-FFF2-40B4-BE49-F238E27FC236}">
                  <a16:creationId xmlns:a16="http://schemas.microsoft.com/office/drawing/2014/main" id="{2932949B-0D78-4B10-A0C1-D140DA664E8B}"/>
                </a:ext>
              </a:extLst>
            </p:cNvPr>
            <p:cNvSpPr/>
            <p:nvPr/>
          </p:nvSpPr>
          <p:spPr>
            <a:xfrm>
              <a:off x="11231621" y="6805982"/>
              <a:ext cx="115793" cy="18029"/>
            </a:xfrm>
            <a:custGeom>
              <a:avLst/>
              <a:gdLst>
                <a:gd name="connsiteX0" fmla="*/ 0 w 115793"/>
                <a:gd name="connsiteY0" fmla="*/ 18029 h 18029"/>
                <a:gd name="connsiteX1" fmla="*/ 115794 w 115793"/>
                <a:gd name="connsiteY1" fmla="*/ 18029 h 18029"/>
                <a:gd name="connsiteX2" fmla="*/ 92940 w 115793"/>
                <a:gd name="connsiteY2" fmla="*/ 4698 h 18029"/>
                <a:gd name="connsiteX3" fmla="*/ 89639 w 115793"/>
                <a:gd name="connsiteY3" fmla="*/ 0 h 18029"/>
                <a:gd name="connsiteX4" fmla="*/ 0 w 115793"/>
                <a:gd name="connsiteY4" fmla="*/ 0 h 1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93" h="18029">
                  <a:moveTo>
                    <a:pt x="0" y="18029"/>
                  </a:moveTo>
                  <a:lnTo>
                    <a:pt x="115794" y="18029"/>
                  </a:lnTo>
                  <a:lnTo>
                    <a:pt x="92940" y="4698"/>
                  </a:lnTo>
                  <a:cubicBezTo>
                    <a:pt x="91175" y="3720"/>
                    <a:pt x="89969" y="1993"/>
                    <a:pt x="89639" y="0"/>
                  </a:cubicBezTo>
                  <a:lnTo>
                    <a:pt x="0" y="0"/>
                  </a:lnTo>
                  <a:close/>
                </a:path>
              </a:pathLst>
            </a:custGeom>
            <a:solidFill>
              <a:srgbClr val="088A8F"/>
            </a:solidFill>
            <a:ln w="12690" cap="flat">
              <a:noFill/>
              <a:prstDash val="solid"/>
              <a:miter/>
            </a:ln>
          </p:spPr>
          <p:txBody>
            <a:bodyPr rtlCol="0" anchor="ctr"/>
            <a:lstStyle/>
            <a:p>
              <a:endParaRPr lang="en-US"/>
            </a:p>
          </p:txBody>
        </p:sp>
        <p:sp>
          <p:nvSpPr>
            <p:cNvPr id="805" name="Freeform: Shape 804">
              <a:extLst>
                <a:ext uri="{FF2B5EF4-FFF2-40B4-BE49-F238E27FC236}">
                  <a16:creationId xmlns:a16="http://schemas.microsoft.com/office/drawing/2014/main" id="{C0796E71-F46E-475C-840C-A79600CC4C7F}"/>
                </a:ext>
              </a:extLst>
            </p:cNvPr>
            <p:cNvSpPr/>
            <p:nvPr/>
          </p:nvSpPr>
          <p:spPr>
            <a:xfrm>
              <a:off x="11231621" y="6822233"/>
              <a:ext cx="124808" cy="42280"/>
            </a:xfrm>
            <a:custGeom>
              <a:avLst/>
              <a:gdLst>
                <a:gd name="connsiteX0" fmla="*/ 120111 w 124808"/>
                <a:gd name="connsiteY0" fmla="*/ 0 h 42280"/>
                <a:gd name="connsiteX1" fmla="*/ 0 w 124808"/>
                <a:gd name="connsiteY1" fmla="*/ 0 h 42280"/>
                <a:gd name="connsiteX2" fmla="*/ 0 w 124808"/>
                <a:gd name="connsiteY2" fmla="*/ 42280 h 42280"/>
                <a:gd name="connsiteX3" fmla="*/ 124809 w 124808"/>
                <a:gd name="connsiteY3" fmla="*/ 42280 h 42280"/>
                <a:gd name="connsiteX4" fmla="*/ 124809 w 124808"/>
                <a:gd name="connsiteY4" fmla="*/ 2666 h 42280"/>
                <a:gd name="connsiteX5" fmla="*/ 120111 w 124808"/>
                <a:gd name="connsiteY5" fmla="*/ 0 h 4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8" h="42280">
                  <a:moveTo>
                    <a:pt x="120111" y="0"/>
                  </a:moveTo>
                  <a:lnTo>
                    <a:pt x="0" y="0"/>
                  </a:lnTo>
                  <a:lnTo>
                    <a:pt x="0" y="42280"/>
                  </a:lnTo>
                  <a:lnTo>
                    <a:pt x="124809" y="42280"/>
                  </a:lnTo>
                  <a:lnTo>
                    <a:pt x="124809" y="2666"/>
                  </a:lnTo>
                  <a:lnTo>
                    <a:pt x="120111" y="0"/>
                  </a:lnTo>
                  <a:close/>
                </a:path>
              </a:pathLst>
            </a:custGeom>
            <a:solidFill>
              <a:srgbClr val="F26544"/>
            </a:solidFill>
            <a:ln w="12690" cap="flat">
              <a:noFill/>
              <a:prstDash val="solid"/>
              <a:miter/>
            </a:ln>
          </p:spPr>
          <p:txBody>
            <a:bodyPr rtlCol="0" anchor="ctr"/>
            <a:lstStyle/>
            <a:p>
              <a:endParaRPr lang="en-US"/>
            </a:p>
          </p:txBody>
        </p:sp>
        <p:sp>
          <p:nvSpPr>
            <p:cNvPr id="806" name="Freeform: Shape 805">
              <a:extLst>
                <a:ext uri="{FF2B5EF4-FFF2-40B4-BE49-F238E27FC236}">
                  <a16:creationId xmlns:a16="http://schemas.microsoft.com/office/drawing/2014/main" id="{B6F222F8-DABC-4C7C-916E-7F13907CDE1A}"/>
                </a:ext>
              </a:extLst>
            </p:cNvPr>
            <p:cNvSpPr/>
            <p:nvPr/>
          </p:nvSpPr>
          <p:spPr>
            <a:xfrm>
              <a:off x="10273020" y="5840647"/>
              <a:ext cx="4317" cy="269298"/>
            </a:xfrm>
            <a:custGeom>
              <a:avLst/>
              <a:gdLst>
                <a:gd name="connsiteX0" fmla="*/ 127 w 4317"/>
                <a:gd name="connsiteY0" fmla="*/ 265108 h 269298"/>
                <a:gd name="connsiteX1" fmla="*/ 2667 w 4317"/>
                <a:gd name="connsiteY1" fmla="*/ 267140 h 269298"/>
                <a:gd name="connsiteX2" fmla="*/ 2667 w 4317"/>
                <a:gd name="connsiteY2" fmla="*/ 267140 h 269298"/>
                <a:gd name="connsiteX3" fmla="*/ 3555 w 4317"/>
                <a:gd name="connsiteY3" fmla="*/ 268282 h 269298"/>
                <a:gd name="connsiteX4" fmla="*/ 4317 w 4317"/>
                <a:gd name="connsiteY4" fmla="*/ 269298 h 269298"/>
                <a:gd name="connsiteX5" fmla="*/ 4317 w 4317"/>
                <a:gd name="connsiteY5" fmla="*/ 269298 h 269298"/>
                <a:gd name="connsiteX6" fmla="*/ 4317 w 4317"/>
                <a:gd name="connsiteY6" fmla="*/ 2539 h 269298"/>
                <a:gd name="connsiteX7" fmla="*/ 2539 w 4317"/>
                <a:gd name="connsiteY7" fmla="*/ 2539 h 269298"/>
                <a:gd name="connsiteX8" fmla="*/ 1778 w 4317"/>
                <a:gd name="connsiteY8" fmla="*/ 2539 h 269298"/>
                <a:gd name="connsiteX9" fmla="*/ 0 w 4317"/>
                <a:gd name="connsiteY9" fmla="*/ 889 h 269298"/>
                <a:gd name="connsiteX10" fmla="*/ 0 w 4317"/>
                <a:gd name="connsiteY10" fmla="*/ 889 h 269298"/>
                <a:gd name="connsiteX11" fmla="*/ 0 w 4317"/>
                <a:gd name="connsiteY11" fmla="*/ 0 h 269298"/>
                <a:gd name="connsiteX12" fmla="*/ 0 w 4317"/>
                <a:gd name="connsiteY12" fmla="*/ 266632 h 269298"/>
                <a:gd name="connsiteX13" fmla="*/ 127 w 4317"/>
                <a:gd name="connsiteY13" fmla="*/ 265108 h 26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17" h="269298">
                  <a:moveTo>
                    <a:pt x="127" y="265108"/>
                  </a:moveTo>
                  <a:lnTo>
                    <a:pt x="2667" y="267140"/>
                  </a:lnTo>
                  <a:lnTo>
                    <a:pt x="2667" y="267140"/>
                  </a:lnTo>
                  <a:cubicBezTo>
                    <a:pt x="3060" y="267432"/>
                    <a:pt x="3365" y="267825"/>
                    <a:pt x="3555" y="268282"/>
                  </a:cubicBezTo>
                  <a:cubicBezTo>
                    <a:pt x="3872" y="268562"/>
                    <a:pt x="4139" y="268905"/>
                    <a:pt x="4317" y="269298"/>
                  </a:cubicBezTo>
                  <a:lnTo>
                    <a:pt x="4317" y="269298"/>
                  </a:lnTo>
                  <a:lnTo>
                    <a:pt x="4317" y="2539"/>
                  </a:lnTo>
                  <a:lnTo>
                    <a:pt x="2539" y="2539"/>
                  </a:lnTo>
                  <a:lnTo>
                    <a:pt x="1778" y="2539"/>
                  </a:lnTo>
                  <a:cubicBezTo>
                    <a:pt x="1092" y="2092"/>
                    <a:pt x="495" y="1535"/>
                    <a:pt x="0" y="889"/>
                  </a:cubicBezTo>
                  <a:cubicBezTo>
                    <a:pt x="0" y="889"/>
                    <a:pt x="0" y="889"/>
                    <a:pt x="0" y="889"/>
                  </a:cubicBezTo>
                  <a:lnTo>
                    <a:pt x="0" y="0"/>
                  </a:lnTo>
                  <a:lnTo>
                    <a:pt x="0" y="266632"/>
                  </a:lnTo>
                  <a:cubicBezTo>
                    <a:pt x="0" y="266632"/>
                    <a:pt x="0" y="264854"/>
                    <a:pt x="127" y="265108"/>
                  </a:cubicBezTo>
                  <a:close/>
                </a:path>
              </a:pathLst>
            </a:custGeom>
            <a:solidFill>
              <a:srgbClr val="F9C996"/>
            </a:solidFill>
            <a:ln w="12690" cap="flat">
              <a:noFill/>
              <a:prstDash val="solid"/>
              <a:miter/>
            </a:ln>
          </p:spPr>
          <p:txBody>
            <a:bodyPr rtlCol="0" anchor="ctr"/>
            <a:lstStyle/>
            <a:p>
              <a:endParaRPr lang="en-US"/>
            </a:p>
          </p:txBody>
        </p:sp>
        <p:sp>
          <p:nvSpPr>
            <p:cNvPr id="807" name="Freeform: Shape 806">
              <a:extLst>
                <a:ext uri="{FF2B5EF4-FFF2-40B4-BE49-F238E27FC236}">
                  <a16:creationId xmlns:a16="http://schemas.microsoft.com/office/drawing/2014/main" id="{A4EFD2BC-FC04-4904-A445-8CCF922D0C9C}"/>
                </a:ext>
              </a:extLst>
            </p:cNvPr>
            <p:cNvSpPr/>
            <p:nvPr/>
          </p:nvSpPr>
          <p:spPr>
            <a:xfrm>
              <a:off x="10270100" y="5835188"/>
              <a:ext cx="127" cy="269171"/>
            </a:xfrm>
            <a:custGeom>
              <a:avLst/>
              <a:gdLst>
                <a:gd name="connsiteX0" fmla="*/ 127 w 127"/>
                <a:gd name="connsiteY0" fmla="*/ 269171 h 269171"/>
                <a:gd name="connsiteX1" fmla="*/ 127 w 127"/>
                <a:gd name="connsiteY1" fmla="*/ 127 h 269171"/>
                <a:gd name="connsiteX2" fmla="*/ 0 w 127"/>
                <a:gd name="connsiteY2" fmla="*/ 0 h 269171"/>
                <a:gd name="connsiteX3" fmla="*/ 0 w 127"/>
                <a:gd name="connsiteY3" fmla="*/ 269171 h 269171"/>
                <a:gd name="connsiteX4" fmla="*/ 127 w 127"/>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 h="269171">
                  <a:moveTo>
                    <a:pt x="127" y="269171"/>
                  </a:moveTo>
                  <a:lnTo>
                    <a:pt x="127" y="127"/>
                  </a:lnTo>
                  <a:lnTo>
                    <a:pt x="0" y="0"/>
                  </a:lnTo>
                  <a:lnTo>
                    <a:pt x="0" y="269171"/>
                  </a:lnTo>
                  <a:lnTo>
                    <a:pt x="127" y="269171"/>
                  </a:lnTo>
                  <a:close/>
                </a:path>
              </a:pathLst>
            </a:custGeom>
            <a:solidFill>
              <a:srgbClr val="F9AA19"/>
            </a:solidFill>
            <a:ln w="12690" cap="flat">
              <a:noFill/>
              <a:prstDash val="solid"/>
              <a:miter/>
            </a:ln>
          </p:spPr>
          <p:txBody>
            <a:bodyPr rtlCol="0" anchor="ctr"/>
            <a:lstStyle/>
            <a:p>
              <a:endParaRPr lang="en-US"/>
            </a:p>
          </p:txBody>
        </p:sp>
        <p:sp>
          <p:nvSpPr>
            <p:cNvPr id="808" name="Freeform: Shape 807">
              <a:extLst>
                <a:ext uri="{FF2B5EF4-FFF2-40B4-BE49-F238E27FC236}">
                  <a16:creationId xmlns:a16="http://schemas.microsoft.com/office/drawing/2014/main" id="{EF0ABC50-6307-4BE6-9BF9-4E2B200B66B3}"/>
                </a:ext>
              </a:extLst>
            </p:cNvPr>
            <p:cNvSpPr/>
            <p:nvPr/>
          </p:nvSpPr>
          <p:spPr>
            <a:xfrm>
              <a:off x="9372698" y="5791511"/>
              <a:ext cx="403754" cy="300659"/>
            </a:xfrm>
            <a:custGeom>
              <a:avLst/>
              <a:gdLst>
                <a:gd name="connsiteX0" fmla="*/ 43422 w 403754"/>
                <a:gd name="connsiteY0" fmla="*/ 299136 h 300659"/>
                <a:gd name="connsiteX1" fmla="*/ 47613 w 403754"/>
                <a:gd name="connsiteY1" fmla="*/ 300659 h 300659"/>
                <a:gd name="connsiteX2" fmla="*/ 85703 w 403754"/>
                <a:gd name="connsiteY2" fmla="*/ 300659 h 300659"/>
                <a:gd name="connsiteX3" fmla="*/ 85703 w 403754"/>
                <a:gd name="connsiteY3" fmla="*/ 190705 h 300659"/>
                <a:gd name="connsiteX4" fmla="*/ 92686 w 403754"/>
                <a:gd name="connsiteY4" fmla="*/ 183849 h 300659"/>
                <a:gd name="connsiteX5" fmla="*/ 403755 w 403754"/>
                <a:gd name="connsiteY5" fmla="*/ 183849 h 300659"/>
                <a:gd name="connsiteX6" fmla="*/ 403755 w 403754"/>
                <a:gd name="connsiteY6" fmla="*/ 0 h 300659"/>
                <a:gd name="connsiteX7" fmla="*/ 0 w 403754"/>
                <a:gd name="connsiteY7" fmla="*/ 0 h 300659"/>
                <a:gd name="connsiteX8" fmla="*/ 0 w 403754"/>
                <a:gd name="connsiteY8" fmla="*/ 296469 h 300659"/>
                <a:gd name="connsiteX9" fmla="*/ 17394 w 403754"/>
                <a:gd name="connsiteY9" fmla="*/ 300659 h 300659"/>
                <a:gd name="connsiteX10" fmla="*/ 39232 w 403754"/>
                <a:gd name="connsiteY10" fmla="*/ 300659 h 300659"/>
                <a:gd name="connsiteX11" fmla="*/ 43422 w 403754"/>
                <a:gd name="connsiteY11" fmla="*/ 299136 h 30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754" h="300659">
                  <a:moveTo>
                    <a:pt x="43422" y="299136"/>
                  </a:moveTo>
                  <a:cubicBezTo>
                    <a:pt x="44946" y="299148"/>
                    <a:pt x="46432" y="299694"/>
                    <a:pt x="47613" y="300659"/>
                  </a:cubicBezTo>
                  <a:lnTo>
                    <a:pt x="85703" y="300659"/>
                  </a:lnTo>
                  <a:lnTo>
                    <a:pt x="85703" y="190705"/>
                  </a:lnTo>
                  <a:cubicBezTo>
                    <a:pt x="85766" y="186899"/>
                    <a:pt x="88877" y="183849"/>
                    <a:pt x="92686" y="183849"/>
                  </a:cubicBezTo>
                  <a:lnTo>
                    <a:pt x="403755" y="183849"/>
                  </a:lnTo>
                  <a:lnTo>
                    <a:pt x="403755" y="0"/>
                  </a:lnTo>
                  <a:lnTo>
                    <a:pt x="0" y="0"/>
                  </a:lnTo>
                  <a:lnTo>
                    <a:pt x="0" y="296469"/>
                  </a:lnTo>
                  <a:lnTo>
                    <a:pt x="17394" y="300659"/>
                  </a:lnTo>
                  <a:lnTo>
                    <a:pt x="39232" y="300659"/>
                  </a:lnTo>
                  <a:cubicBezTo>
                    <a:pt x="40413" y="299694"/>
                    <a:pt x="41899" y="299148"/>
                    <a:pt x="43422" y="299136"/>
                  </a:cubicBezTo>
                  <a:close/>
                </a:path>
              </a:pathLst>
            </a:custGeom>
            <a:solidFill>
              <a:schemeClr val="accent1"/>
            </a:solidFill>
            <a:ln w="12690" cap="flat">
              <a:noFill/>
              <a:prstDash val="solid"/>
              <a:miter/>
            </a:ln>
          </p:spPr>
          <p:txBody>
            <a:bodyPr rtlCol="0" anchor="ctr"/>
            <a:lstStyle/>
            <a:p>
              <a:endParaRPr lang="en-US"/>
            </a:p>
          </p:txBody>
        </p:sp>
        <p:sp>
          <p:nvSpPr>
            <p:cNvPr id="809" name="Freeform: Shape 808">
              <a:extLst>
                <a:ext uri="{FF2B5EF4-FFF2-40B4-BE49-F238E27FC236}">
                  <a16:creationId xmlns:a16="http://schemas.microsoft.com/office/drawing/2014/main" id="{F96A01BE-8289-4959-9ABD-8CBFF097926F}"/>
                </a:ext>
              </a:extLst>
            </p:cNvPr>
            <p:cNvSpPr/>
            <p:nvPr/>
          </p:nvSpPr>
          <p:spPr>
            <a:xfrm>
              <a:off x="9472494" y="5989073"/>
              <a:ext cx="305355" cy="439688"/>
            </a:xfrm>
            <a:custGeom>
              <a:avLst/>
              <a:gdLst>
                <a:gd name="connsiteX0" fmla="*/ 303959 w 305355"/>
                <a:gd name="connsiteY0" fmla="*/ 255966 h 439688"/>
                <a:gd name="connsiteX1" fmla="*/ 303324 w 305355"/>
                <a:gd name="connsiteY1" fmla="*/ 255966 h 439688"/>
                <a:gd name="connsiteX2" fmla="*/ 301928 w 305355"/>
                <a:gd name="connsiteY2" fmla="*/ 255966 h 439688"/>
                <a:gd name="connsiteX3" fmla="*/ 300912 w 305355"/>
                <a:gd name="connsiteY3" fmla="*/ 255205 h 439688"/>
                <a:gd name="connsiteX4" fmla="*/ 300023 w 305355"/>
                <a:gd name="connsiteY4" fmla="*/ 254316 h 439688"/>
                <a:gd name="connsiteX5" fmla="*/ 299261 w 305355"/>
                <a:gd name="connsiteY5" fmla="*/ 253173 h 439688"/>
                <a:gd name="connsiteX6" fmla="*/ 299261 w 305355"/>
                <a:gd name="connsiteY6" fmla="*/ 252031 h 439688"/>
                <a:gd name="connsiteX7" fmla="*/ 299261 w 305355"/>
                <a:gd name="connsiteY7" fmla="*/ 250634 h 439688"/>
                <a:gd name="connsiteX8" fmla="*/ 299261 w 305355"/>
                <a:gd name="connsiteY8" fmla="*/ 250634 h 439688"/>
                <a:gd name="connsiteX9" fmla="*/ 299261 w 305355"/>
                <a:gd name="connsiteY9" fmla="*/ 136363 h 439688"/>
                <a:gd name="connsiteX10" fmla="*/ 305355 w 305355"/>
                <a:gd name="connsiteY10" fmla="*/ 129634 h 439688"/>
                <a:gd name="connsiteX11" fmla="*/ 305355 w 305355"/>
                <a:gd name="connsiteY11" fmla="*/ 0 h 439688"/>
                <a:gd name="connsiteX12" fmla="*/ 0 w 305355"/>
                <a:gd name="connsiteY12" fmla="*/ 0 h 439688"/>
                <a:gd name="connsiteX13" fmla="*/ 0 w 305355"/>
                <a:gd name="connsiteY13" fmla="*/ 439688 h 439688"/>
                <a:gd name="connsiteX14" fmla="*/ 303959 w 305355"/>
                <a:gd name="connsiteY14" fmla="*/ 439688 h 439688"/>
                <a:gd name="connsiteX15" fmla="*/ 303959 w 305355"/>
                <a:gd name="connsiteY15" fmla="*/ 256093 h 43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355" h="439688">
                  <a:moveTo>
                    <a:pt x="303959" y="255966"/>
                  </a:moveTo>
                  <a:lnTo>
                    <a:pt x="303324" y="255966"/>
                  </a:lnTo>
                  <a:lnTo>
                    <a:pt x="301928" y="255966"/>
                  </a:lnTo>
                  <a:lnTo>
                    <a:pt x="300912" y="255205"/>
                  </a:lnTo>
                  <a:cubicBezTo>
                    <a:pt x="300556" y="254976"/>
                    <a:pt x="300252" y="254671"/>
                    <a:pt x="300023" y="254316"/>
                  </a:cubicBezTo>
                  <a:cubicBezTo>
                    <a:pt x="299731" y="253960"/>
                    <a:pt x="299464" y="253580"/>
                    <a:pt x="299261" y="253173"/>
                  </a:cubicBezTo>
                  <a:cubicBezTo>
                    <a:pt x="299210" y="252792"/>
                    <a:pt x="299210" y="252411"/>
                    <a:pt x="299261" y="252031"/>
                  </a:cubicBezTo>
                  <a:cubicBezTo>
                    <a:pt x="299185" y="251573"/>
                    <a:pt x="299185" y="251091"/>
                    <a:pt x="299261" y="250634"/>
                  </a:cubicBezTo>
                  <a:cubicBezTo>
                    <a:pt x="299261" y="250634"/>
                    <a:pt x="299261" y="250634"/>
                    <a:pt x="299261" y="250634"/>
                  </a:cubicBezTo>
                  <a:lnTo>
                    <a:pt x="299261" y="136363"/>
                  </a:lnTo>
                  <a:cubicBezTo>
                    <a:pt x="299249" y="132884"/>
                    <a:pt x="301889" y="129964"/>
                    <a:pt x="305355" y="129634"/>
                  </a:cubicBezTo>
                  <a:lnTo>
                    <a:pt x="305355" y="0"/>
                  </a:lnTo>
                  <a:lnTo>
                    <a:pt x="0" y="0"/>
                  </a:lnTo>
                  <a:lnTo>
                    <a:pt x="0" y="439688"/>
                  </a:lnTo>
                  <a:lnTo>
                    <a:pt x="303959" y="439688"/>
                  </a:lnTo>
                  <a:lnTo>
                    <a:pt x="303959" y="256093"/>
                  </a:lnTo>
                  <a:close/>
                </a:path>
              </a:pathLst>
            </a:custGeom>
            <a:solidFill>
              <a:schemeClr val="accent3"/>
            </a:solidFill>
            <a:ln w="12690" cap="flat">
              <a:noFill/>
              <a:prstDash val="solid"/>
              <a:miter/>
            </a:ln>
          </p:spPr>
          <p:txBody>
            <a:bodyPr rtlCol="0" anchor="ctr"/>
            <a:lstStyle/>
            <a:p>
              <a:endParaRPr lang="en-US"/>
            </a:p>
          </p:txBody>
        </p:sp>
        <p:sp>
          <p:nvSpPr>
            <p:cNvPr id="810" name="Freeform: Shape 809">
              <a:extLst>
                <a:ext uri="{FF2B5EF4-FFF2-40B4-BE49-F238E27FC236}">
                  <a16:creationId xmlns:a16="http://schemas.microsoft.com/office/drawing/2014/main" id="{F3CD1DF7-D61C-422D-AA25-4EDBFC945B5B}"/>
                </a:ext>
              </a:extLst>
            </p:cNvPr>
            <p:cNvSpPr/>
            <p:nvPr/>
          </p:nvSpPr>
          <p:spPr>
            <a:xfrm>
              <a:off x="10248008" y="5799637"/>
              <a:ext cx="19679" cy="304595"/>
            </a:xfrm>
            <a:custGeom>
              <a:avLst/>
              <a:gdLst>
                <a:gd name="connsiteX0" fmla="*/ 14220 w 19679"/>
                <a:gd name="connsiteY0" fmla="*/ 304595 h 304595"/>
                <a:gd name="connsiteX1" fmla="*/ 19680 w 19679"/>
                <a:gd name="connsiteY1" fmla="*/ 304595 h 304595"/>
                <a:gd name="connsiteX2" fmla="*/ 19680 w 19679"/>
                <a:gd name="connsiteY2" fmla="*/ 31615 h 304595"/>
                <a:gd name="connsiteX3" fmla="*/ 17521 w 19679"/>
                <a:gd name="connsiteY3" fmla="*/ 28187 h 304595"/>
                <a:gd name="connsiteX4" fmla="*/ 17521 w 19679"/>
                <a:gd name="connsiteY4" fmla="*/ 28187 h 304595"/>
                <a:gd name="connsiteX5" fmla="*/ 14982 w 19679"/>
                <a:gd name="connsiteY5" fmla="*/ 24124 h 304595"/>
                <a:gd name="connsiteX6" fmla="*/ 14982 w 19679"/>
                <a:gd name="connsiteY6" fmla="*/ 24124 h 304595"/>
                <a:gd name="connsiteX7" fmla="*/ 0 w 19679"/>
                <a:gd name="connsiteY7" fmla="*/ 0 h 304595"/>
                <a:gd name="connsiteX8" fmla="*/ 0 w 19679"/>
                <a:gd name="connsiteY8" fmla="*/ 293168 h 304595"/>
                <a:gd name="connsiteX9" fmla="*/ 14220 w 19679"/>
                <a:gd name="connsiteY9" fmla="*/ 304595 h 30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9" h="304595">
                  <a:moveTo>
                    <a:pt x="14220" y="304595"/>
                  </a:moveTo>
                  <a:lnTo>
                    <a:pt x="19680" y="304595"/>
                  </a:lnTo>
                  <a:lnTo>
                    <a:pt x="19680" y="31615"/>
                  </a:lnTo>
                  <a:lnTo>
                    <a:pt x="17521" y="28187"/>
                  </a:lnTo>
                  <a:lnTo>
                    <a:pt x="17521" y="28187"/>
                  </a:lnTo>
                  <a:lnTo>
                    <a:pt x="14982" y="24124"/>
                  </a:lnTo>
                  <a:lnTo>
                    <a:pt x="14982" y="24124"/>
                  </a:lnTo>
                  <a:lnTo>
                    <a:pt x="0" y="0"/>
                  </a:lnTo>
                  <a:lnTo>
                    <a:pt x="0" y="293168"/>
                  </a:lnTo>
                  <a:lnTo>
                    <a:pt x="14220" y="304595"/>
                  </a:lnTo>
                  <a:close/>
                </a:path>
              </a:pathLst>
            </a:custGeom>
            <a:solidFill>
              <a:srgbClr val="F2494C"/>
            </a:solidFill>
            <a:ln w="12690" cap="flat">
              <a:noFill/>
              <a:prstDash val="solid"/>
              <a:miter/>
            </a:ln>
          </p:spPr>
          <p:txBody>
            <a:bodyPr rtlCol="0" anchor="ctr"/>
            <a:lstStyle/>
            <a:p>
              <a:endParaRPr lang="en-US"/>
            </a:p>
          </p:txBody>
        </p:sp>
        <p:sp>
          <p:nvSpPr>
            <p:cNvPr id="811" name="Freeform: Shape 810">
              <a:extLst>
                <a:ext uri="{FF2B5EF4-FFF2-40B4-BE49-F238E27FC236}">
                  <a16:creationId xmlns:a16="http://schemas.microsoft.com/office/drawing/2014/main" id="{0934A952-D4DC-4D0D-850C-5E4406A7B8D4}"/>
                </a:ext>
              </a:extLst>
            </p:cNvPr>
            <p:cNvSpPr/>
            <p:nvPr/>
          </p:nvSpPr>
          <p:spPr>
            <a:xfrm>
              <a:off x="10060097" y="5791511"/>
              <a:ext cx="186133" cy="299643"/>
            </a:xfrm>
            <a:custGeom>
              <a:avLst/>
              <a:gdLst>
                <a:gd name="connsiteX0" fmla="*/ 0 w 186133"/>
                <a:gd name="connsiteY0" fmla="*/ 0 h 299643"/>
                <a:gd name="connsiteX1" fmla="*/ 0 w 186133"/>
                <a:gd name="connsiteY1" fmla="*/ 218765 h 299643"/>
                <a:gd name="connsiteX2" fmla="*/ 9523 w 186133"/>
                <a:gd name="connsiteY2" fmla="*/ 225240 h 299643"/>
                <a:gd name="connsiteX3" fmla="*/ 9523 w 186133"/>
                <a:gd name="connsiteY3" fmla="*/ 225240 h 299643"/>
                <a:gd name="connsiteX4" fmla="*/ 10538 w 186133"/>
                <a:gd name="connsiteY4" fmla="*/ 226256 h 299643"/>
                <a:gd name="connsiteX5" fmla="*/ 11299 w 186133"/>
                <a:gd name="connsiteY5" fmla="*/ 227399 h 299643"/>
                <a:gd name="connsiteX6" fmla="*/ 11299 w 186133"/>
                <a:gd name="connsiteY6" fmla="*/ 228542 h 299643"/>
                <a:gd name="connsiteX7" fmla="*/ 11299 w 186133"/>
                <a:gd name="connsiteY7" fmla="*/ 229938 h 299643"/>
                <a:gd name="connsiteX8" fmla="*/ 11299 w 186133"/>
                <a:gd name="connsiteY8" fmla="*/ 229938 h 299643"/>
                <a:gd name="connsiteX9" fmla="*/ 11299 w 186133"/>
                <a:gd name="connsiteY9" fmla="*/ 299643 h 299643"/>
                <a:gd name="connsiteX10" fmla="*/ 186133 w 186133"/>
                <a:gd name="connsiteY10" fmla="*/ 299643 h 299643"/>
                <a:gd name="connsiteX11" fmla="*/ 186133 w 186133"/>
                <a:gd name="connsiteY11" fmla="*/ 4190 h 299643"/>
                <a:gd name="connsiteX12" fmla="*/ 183594 w 186133"/>
                <a:gd name="connsiteY12" fmla="*/ 0 h 299643"/>
                <a:gd name="connsiteX13" fmla="*/ 0 w 186133"/>
                <a:gd name="connsiteY13" fmla="*/ 0 h 29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133" h="299643">
                  <a:moveTo>
                    <a:pt x="0" y="0"/>
                  </a:moveTo>
                  <a:lnTo>
                    <a:pt x="0" y="218765"/>
                  </a:lnTo>
                  <a:lnTo>
                    <a:pt x="9523" y="225240"/>
                  </a:lnTo>
                  <a:lnTo>
                    <a:pt x="9523" y="225240"/>
                  </a:lnTo>
                  <a:cubicBezTo>
                    <a:pt x="9891" y="225546"/>
                    <a:pt x="10233" y="225887"/>
                    <a:pt x="10538" y="226256"/>
                  </a:cubicBezTo>
                  <a:lnTo>
                    <a:pt x="11299" y="227399"/>
                  </a:lnTo>
                  <a:lnTo>
                    <a:pt x="11299" y="228542"/>
                  </a:lnTo>
                  <a:lnTo>
                    <a:pt x="11299" y="229938"/>
                  </a:lnTo>
                  <a:cubicBezTo>
                    <a:pt x="11299" y="229938"/>
                    <a:pt x="11299" y="229938"/>
                    <a:pt x="11299" y="229938"/>
                  </a:cubicBezTo>
                  <a:lnTo>
                    <a:pt x="11299" y="299643"/>
                  </a:lnTo>
                  <a:lnTo>
                    <a:pt x="186133" y="299643"/>
                  </a:lnTo>
                  <a:lnTo>
                    <a:pt x="186133" y="4190"/>
                  </a:lnTo>
                  <a:lnTo>
                    <a:pt x="183594" y="0"/>
                  </a:lnTo>
                  <a:lnTo>
                    <a:pt x="0" y="0"/>
                  </a:lnTo>
                  <a:close/>
                </a:path>
              </a:pathLst>
            </a:custGeom>
            <a:solidFill>
              <a:schemeClr val="accent5"/>
            </a:solidFill>
            <a:ln w="12690" cap="flat">
              <a:noFill/>
              <a:prstDash val="solid"/>
              <a:miter/>
            </a:ln>
          </p:spPr>
          <p:txBody>
            <a:bodyPr rtlCol="0" anchor="ctr"/>
            <a:lstStyle/>
            <a:p>
              <a:endParaRPr lang="en-US"/>
            </a:p>
          </p:txBody>
        </p:sp>
        <p:sp>
          <p:nvSpPr>
            <p:cNvPr id="812" name="Freeform: Shape 811">
              <a:extLst>
                <a:ext uri="{FF2B5EF4-FFF2-40B4-BE49-F238E27FC236}">
                  <a16:creationId xmlns:a16="http://schemas.microsoft.com/office/drawing/2014/main" id="{550E7BDA-23D4-429D-9803-815D6FBD4335}"/>
                </a:ext>
              </a:extLst>
            </p:cNvPr>
            <p:cNvSpPr/>
            <p:nvPr/>
          </p:nvSpPr>
          <p:spPr>
            <a:xfrm>
              <a:off x="10072794" y="6094583"/>
              <a:ext cx="185498" cy="9649"/>
            </a:xfrm>
            <a:custGeom>
              <a:avLst/>
              <a:gdLst>
                <a:gd name="connsiteX0" fmla="*/ 185499 w 185498"/>
                <a:gd name="connsiteY0" fmla="*/ 9650 h 9649"/>
                <a:gd name="connsiteX1" fmla="*/ 173564 w 185498"/>
                <a:gd name="connsiteY1" fmla="*/ 0 h 9649"/>
                <a:gd name="connsiteX2" fmla="*/ 0 w 185498"/>
                <a:gd name="connsiteY2" fmla="*/ 0 h 9649"/>
                <a:gd name="connsiteX3" fmla="*/ 0 w 185498"/>
                <a:gd name="connsiteY3" fmla="*/ 9650 h 9649"/>
                <a:gd name="connsiteX4" fmla="*/ 185499 w 185498"/>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98" h="9649">
                  <a:moveTo>
                    <a:pt x="185499" y="9650"/>
                  </a:moveTo>
                  <a:lnTo>
                    <a:pt x="173564" y="0"/>
                  </a:lnTo>
                  <a:lnTo>
                    <a:pt x="0" y="0"/>
                  </a:lnTo>
                  <a:lnTo>
                    <a:pt x="0" y="9650"/>
                  </a:lnTo>
                  <a:lnTo>
                    <a:pt x="185499" y="9650"/>
                  </a:lnTo>
                  <a:close/>
                </a:path>
              </a:pathLst>
            </a:custGeom>
            <a:solidFill>
              <a:srgbClr val="F2494C"/>
            </a:solidFill>
            <a:ln w="12690" cap="flat">
              <a:noFill/>
              <a:prstDash val="solid"/>
              <a:miter/>
            </a:ln>
          </p:spPr>
          <p:txBody>
            <a:bodyPr rtlCol="0" anchor="ctr"/>
            <a:lstStyle/>
            <a:p>
              <a:endParaRPr lang="en-US"/>
            </a:p>
          </p:txBody>
        </p:sp>
        <p:sp>
          <p:nvSpPr>
            <p:cNvPr id="813" name="Freeform: Shape 812">
              <a:extLst>
                <a:ext uri="{FF2B5EF4-FFF2-40B4-BE49-F238E27FC236}">
                  <a16:creationId xmlns:a16="http://schemas.microsoft.com/office/drawing/2014/main" id="{3E6E2D00-9D1D-4F7C-BEED-2BFAACC71521}"/>
                </a:ext>
              </a:extLst>
            </p:cNvPr>
            <p:cNvSpPr/>
            <p:nvPr/>
          </p:nvSpPr>
          <p:spPr>
            <a:xfrm>
              <a:off x="10054384" y="6023100"/>
              <a:ext cx="4570" cy="93701"/>
            </a:xfrm>
            <a:custGeom>
              <a:avLst/>
              <a:gdLst>
                <a:gd name="connsiteX0" fmla="*/ 4571 w 4570"/>
                <a:gd name="connsiteY0" fmla="*/ 93702 h 93701"/>
                <a:gd name="connsiteX1" fmla="*/ 4571 w 4570"/>
                <a:gd name="connsiteY1" fmla="*/ 90020 h 93701"/>
                <a:gd name="connsiteX2" fmla="*/ 4571 w 4570"/>
                <a:gd name="connsiteY2" fmla="*/ 87988 h 93701"/>
                <a:gd name="connsiteX3" fmla="*/ 4571 w 4570"/>
                <a:gd name="connsiteY3" fmla="*/ 70340 h 93701"/>
                <a:gd name="connsiteX4" fmla="*/ 4571 w 4570"/>
                <a:gd name="connsiteY4" fmla="*/ 3047 h 93701"/>
                <a:gd name="connsiteX5" fmla="*/ 0 w 4570"/>
                <a:gd name="connsiteY5" fmla="*/ 0 h 93701"/>
                <a:gd name="connsiteX6" fmla="*/ 0 w 4570"/>
                <a:gd name="connsiteY6" fmla="*/ 93702 h 93701"/>
                <a:gd name="connsiteX7" fmla="*/ 4571 w 4570"/>
                <a:gd name="connsiteY7" fmla="*/ 93702 h 9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0" h="93701">
                  <a:moveTo>
                    <a:pt x="4571" y="93702"/>
                  </a:moveTo>
                  <a:lnTo>
                    <a:pt x="4571" y="90020"/>
                  </a:lnTo>
                  <a:lnTo>
                    <a:pt x="4571" y="87988"/>
                  </a:lnTo>
                  <a:lnTo>
                    <a:pt x="4571" y="70340"/>
                  </a:lnTo>
                  <a:lnTo>
                    <a:pt x="4571" y="3047"/>
                  </a:lnTo>
                  <a:lnTo>
                    <a:pt x="0" y="0"/>
                  </a:lnTo>
                  <a:lnTo>
                    <a:pt x="0" y="93702"/>
                  </a:lnTo>
                  <a:lnTo>
                    <a:pt x="4571" y="93702"/>
                  </a:lnTo>
                  <a:close/>
                </a:path>
              </a:pathLst>
            </a:custGeom>
            <a:solidFill>
              <a:srgbClr val="9FD1D0"/>
            </a:solidFill>
            <a:ln w="12690" cap="flat">
              <a:noFill/>
              <a:prstDash val="solid"/>
              <a:miter/>
            </a:ln>
          </p:spPr>
          <p:txBody>
            <a:bodyPr rtlCol="0" anchor="ctr"/>
            <a:lstStyle/>
            <a:p>
              <a:endParaRPr lang="en-US"/>
            </a:p>
          </p:txBody>
        </p:sp>
        <p:sp>
          <p:nvSpPr>
            <p:cNvPr id="814" name="Freeform: Shape 813">
              <a:extLst>
                <a:ext uri="{FF2B5EF4-FFF2-40B4-BE49-F238E27FC236}">
                  <a16:creationId xmlns:a16="http://schemas.microsoft.com/office/drawing/2014/main" id="{97E09095-836B-4C6C-A835-AE29DE052A62}"/>
                </a:ext>
              </a:extLst>
            </p:cNvPr>
            <p:cNvSpPr/>
            <p:nvPr/>
          </p:nvSpPr>
          <p:spPr>
            <a:xfrm>
              <a:off x="9784071" y="6130514"/>
              <a:ext cx="695271" cy="306372"/>
            </a:xfrm>
            <a:custGeom>
              <a:avLst/>
              <a:gdLst>
                <a:gd name="connsiteX0" fmla="*/ 694891 w 695271"/>
                <a:gd name="connsiteY0" fmla="*/ 0 h 306372"/>
                <a:gd name="connsiteX1" fmla="*/ 0 w 695271"/>
                <a:gd name="connsiteY1" fmla="*/ 0 h 306372"/>
                <a:gd name="connsiteX2" fmla="*/ 0 w 695271"/>
                <a:gd name="connsiteY2" fmla="*/ 101574 h 306372"/>
                <a:gd name="connsiteX3" fmla="*/ 0 w 695271"/>
                <a:gd name="connsiteY3" fmla="*/ 101574 h 306372"/>
                <a:gd name="connsiteX4" fmla="*/ 762 w 695271"/>
                <a:gd name="connsiteY4" fmla="*/ 101574 h 306372"/>
                <a:gd name="connsiteX5" fmla="*/ 2032 w 695271"/>
                <a:gd name="connsiteY5" fmla="*/ 101574 h 306372"/>
                <a:gd name="connsiteX6" fmla="*/ 3048 w 695271"/>
                <a:gd name="connsiteY6" fmla="*/ 101574 h 306372"/>
                <a:gd name="connsiteX7" fmla="*/ 4063 w 695271"/>
                <a:gd name="connsiteY7" fmla="*/ 102590 h 306372"/>
                <a:gd name="connsiteX8" fmla="*/ 4063 w 695271"/>
                <a:gd name="connsiteY8" fmla="*/ 103605 h 306372"/>
                <a:gd name="connsiteX9" fmla="*/ 4063 w 695271"/>
                <a:gd name="connsiteY9" fmla="*/ 104494 h 306372"/>
                <a:gd name="connsiteX10" fmla="*/ 249998 w 695271"/>
                <a:gd name="connsiteY10" fmla="*/ 104494 h 306372"/>
                <a:gd name="connsiteX11" fmla="*/ 256600 w 695271"/>
                <a:gd name="connsiteY11" fmla="*/ 98781 h 306372"/>
                <a:gd name="connsiteX12" fmla="*/ 263583 w 695271"/>
                <a:gd name="connsiteY12" fmla="*/ 105764 h 306372"/>
                <a:gd name="connsiteX13" fmla="*/ 263583 w 695271"/>
                <a:gd name="connsiteY13" fmla="*/ 306373 h 306372"/>
                <a:gd name="connsiteX14" fmla="*/ 695271 w 695271"/>
                <a:gd name="connsiteY14" fmla="*/ 306373 h 306372"/>
                <a:gd name="connsiteX15" fmla="*/ 695271 w 695271"/>
                <a:gd name="connsiteY15" fmla="*/ 0 h 30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271" h="306372">
                  <a:moveTo>
                    <a:pt x="694891" y="0"/>
                  </a:moveTo>
                  <a:lnTo>
                    <a:pt x="0" y="0"/>
                  </a:lnTo>
                  <a:lnTo>
                    <a:pt x="0" y="101574"/>
                  </a:lnTo>
                  <a:lnTo>
                    <a:pt x="0" y="101574"/>
                  </a:lnTo>
                  <a:lnTo>
                    <a:pt x="762" y="101574"/>
                  </a:lnTo>
                  <a:lnTo>
                    <a:pt x="2032" y="101574"/>
                  </a:lnTo>
                  <a:lnTo>
                    <a:pt x="3048" y="101574"/>
                  </a:lnTo>
                  <a:lnTo>
                    <a:pt x="4063" y="102590"/>
                  </a:lnTo>
                  <a:cubicBezTo>
                    <a:pt x="4127" y="102920"/>
                    <a:pt x="4127" y="103275"/>
                    <a:pt x="4063" y="103605"/>
                  </a:cubicBezTo>
                  <a:cubicBezTo>
                    <a:pt x="4101" y="103898"/>
                    <a:pt x="4101" y="104202"/>
                    <a:pt x="4063" y="104494"/>
                  </a:cubicBezTo>
                  <a:lnTo>
                    <a:pt x="249998" y="104494"/>
                  </a:lnTo>
                  <a:cubicBezTo>
                    <a:pt x="250544" y="101257"/>
                    <a:pt x="253312" y="98857"/>
                    <a:pt x="256600" y="98781"/>
                  </a:cubicBezTo>
                  <a:cubicBezTo>
                    <a:pt x="260460" y="98781"/>
                    <a:pt x="263583" y="101904"/>
                    <a:pt x="263583" y="105764"/>
                  </a:cubicBezTo>
                  <a:lnTo>
                    <a:pt x="263583" y="306373"/>
                  </a:lnTo>
                  <a:lnTo>
                    <a:pt x="695271" y="306373"/>
                  </a:lnTo>
                  <a:lnTo>
                    <a:pt x="695271" y="0"/>
                  </a:lnTo>
                  <a:close/>
                </a:path>
              </a:pathLst>
            </a:custGeom>
            <a:solidFill>
              <a:schemeClr val="accent1">
                <a:lumMod val="75000"/>
              </a:schemeClr>
            </a:solidFill>
            <a:ln w="12690" cap="flat">
              <a:noFill/>
              <a:prstDash val="solid"/>
              <a:miter/>
            </a:ln>
          </p:spPr>
          <p:txBody>
            <a:bodyPr rtlCol="0" anchor="ctr"/>
            <a:lstStyle/>
            <a:p>
              <a:endParaRPr lang="en-US"/>
            </a:p>
          </p:txBody>
        </p:sp>
        <p:sp>
          <p:nvSpPr>
            <p:cNvPr id="815" name="Freeform: Shape 814">
              <a:extLst>
                <a:ext uri="{FF2B5EF4-FFF2-40B4-BE49-F238E27FC236}">
                  <a16:creationId xmlns:a16="http://schemas.microsoft.com/office/drawing/2014/main" id="{1BE2ABD8-D5B2-4DE2-BDD6-88C4B5EB3FC8}"/>
                </a:ext>
              </a:extLst>
            </p:cNvPr>
            <p:cNvSpPr/>
            <p:nvPr/>
          </p:nvSpPr>
          <p:spPr>
            <a:xfrm>
              <a:off x="9790293" y="6240722"/>
              <a:ext cx="245173" cy="189562"/>
            </a:xfrm>
            <a:custGeom>
              <a:avLst/>
              <a:gdLst>
                <a:gd name="connsiteX0" fmla="*/ 0 w 245173"/>
                <a:gd name="connsiteY0" fmla="*/ 0 h 189562"/>
                <a:gd name="connsiteX1" fmla="*/ 0 w 245173"/>
                <a:gd name="connsiteY1" fmla="*/ 189562 h 189562"/>
                <a:gd name="connsiteX2" fmla="*/ 2666 w 245173"/>
                <a:gd name="connsiteY2" fmla="*/ 189562 h 189562"/>
                <a:gd name="connsiteX3" fmla="*/ 245173 w 245173"/>
                <a:gd name="connsiteY3" fmla="*/ 189562 h 189562"/>
                <a:gd name="connsiteX4" fmla="*/ 245173 w 245173"/>
                <a:gd name="connsiteY4" fmla="*/ 0 h 189562"/>
                <a:gd name="connsiteX5" fmla="*/ 0 w 245173"/>
                <a:gd name="connsiteY5" fmla="*/ 0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0" y="0"/>
                  </a:moveTo>
                  <a:lnTo>
                    <a:pt x="0" y="189562"/>
                  </a:lnTo>
                  <a:lnTo>
                    <a:pt x="2666" y="189562"/>
                  </a:lnTo>
                  <a:lnTo>
                    <a:pt x="245173" y="189562"/>
                  </a:lnTo>
                  <a:lnTo>
                    <a:pt x="245173" y="0"/>
                  </a:lnTo>
                  <a:lnTo>
                    <a:pt x="0" y="0"/>
                  </a:lnTo>
                  <a:close/>
                </a:path>
              </a:pathLst>
            </a:custGeom>
            <a:solidFill>
              <a:schemeClr val="tx2"/>
            </a:solidFill>
            <a:ln w="12690" cap="flat">
              <a:noFill/>
              <a:prstDash val="solid"/>
              <a:miter/>
            </a:ln>
          </p:spPr>
          <p:txBody>
            <a:bodyPr rtlCol="0" anchor="ctr"/>
            <a:lstStyle/>
            <a:p>
              <a:endParaRPr lang="en-US"/>
            </a:p>
          </p:txBody>
        </p:sp>
        <p:sp>
          <p:nvSpPr>
            <p:cNvPr id="816" name="Freeform: Shape 815">
              <a:extLst>
                <a:ext uri="{FF2B5EF4-FFF2-40B4-BE49-F238E27FC236}">
                  <a16:creationId xmlns:a16="http://schemas.microsoft.com/office/drawing/2014/main" id="{C65E3CF2-FF3B-45BF-A3A3-DCE8DD656567}"/>
                </a:ext>
              </a:extLst>
            </p:cNvPr>
            <p:cNvSpPr/>
            <p:nvPr/>
          </p:nvSpPr>
          <p:spPr>
            <a:xfrm>
              <a:off x="10048416" y="6018656"/>
              <a:ext cx="4190" cy="98653"/>
            </a:xfrm>
            <a:custGeom>
              <a:avLst/>
              <a:gdLst>
                <a:gd name="connsiteX0" fmla="*/ 3555 w 4190"/>
                <a:gd name="connsiteY0" fmla="*/ 2793 h 98653"/>
                <a:gd name="connsiteX1" fmla="*/ 1016 w 4190"/>
                <a:gd name="connsiteY1" fmla="*/ 1016 h 98653"/>
                <a:gd name="connsiteX2" fmla="*/ 1016 w 4190"/>
                <a:gd name="connsiteY2" fmla="*/ 1016 h 98653"/>
                <a:gd name="connsiteX3" fmla="*/ 0 w 4190"/>
                <a:gd name="connsiteY3" fmla="*/ 0 h 98653"/>
                <a:gd name="connsiteX4" fmla="*/ 0 w 4190"/>
                <a:gd name="connsiteY4" fmla="*/ 0 h 98653"/>
                <a:gd name="connsiteX5" fmla="*/ 0 w 4190"/>
                <a:gd name="connsiteY5" fmla="*/ 98654 h 98653"/>
                <a:gd name="connsiteX6" fmla="*/ 4190 w 4190"/>
                <a:gd name="connsiteY6" fmla="*/ 98654 h 9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 h="98653">
                  <a:moveTo>
                    <a:pt x="3555" y="2793"/>
                  </a:moveTo>
                  <a:lnTo>
                    <a:pt x="1016" y="1016"/>
                  </a:lnTo>
                  <a:lnTo>
                    <a:pt x="1016" y="1016"/>
                  </a:lnTo>
                  <a:lnTo>
                    <a:pt x="0" y="0"/>
                  </a:lnTo>
                  <a:lnTo>
                    <a:pt x="0" y="0"/>
                  </a:lnTo>
                  <a:lnTo>
                    <a:pt x="0" y="98654"/>
                  </a:lnTo>
                  <a:lnTo>
                    <a:pt x="4190" y="98654"/>
                  </a:lnTo>
                  <a:close/>
                </a:path>
              </a:pathLst>
            </a:custGeom>
            <a:solidFill>
              <a:srgbClr val="66B2B0"/>
            </a:solidFill>
            <a:ln w="12690" cap="flat">
              <a:noFill/>
              <a:prstDash val="solid"/>
              <a:miter/>
            </a:ln>
          </p:spPr>
          <p:txBody>
            <a:bodyPr rtlCol="0" anchor="ctr"/>
            <a:lstStyle/>
            <a:p>
              <a:endParaRPr lang="en-US"/>
            </a:p>
          </p:txBody>
        </p:sp>
        <p:sp>
          <p:nvSpPr>
            <p:cNvPr id="817" name="Freeform: Shape 816">
              <a:extLst>
                <a:ext uri="{FF2B5EF4-FFF2-40B4-BE49-F238E27FC236}">
                  <a16:creationId xmlns:a16="http://schemas.microsoft.com/office/drawing/2014/main" id="{E2E98BB5-A1BC-401A-8197-F20D69FA78CC}"/>
                </a:ext>
              </a:extLst>
            </p:cNvPr>
            <p:cNvSpPr/>
            <p:nvPr/>
          </p:nvSpPr>
          <p:spPr>
            <a:xfrm>
              <a:off x="9790293" y="5004947"/>
              <a:ext cx="255076" cy="1111854"/>
            </a:xfrm>
            <a:custGeom>
              <a:avLst/>
              <a:gdLst>
                <a:gd name="connsiteX0" fmla="*/ 0 w 255076"/>
                <a:gd name="connsiteY0" fmla="*/ 977269 h 1111854"/>
                <a:gd name="connsiteX1" fmla="*/ 0 w 255076"/>
                <a:gd name="connsiteY1" fmla="*/ 1111855 h 1111854"/>
                <a:gd name="connsiteX2" fmla="*/ 255076 w 255076"/>
                <a:gd name="connsiteY2" fmla="*/ 1111855 h 1111854"/>
                <a:gd name="connsiteX3" fmla="*/ 255076 w 255076"/>
                <a:gd name="connsiteY3" fmla="*/ 8126 h 1111854"/>
                <a:gd name="connsiteX4" fmla="*/ 251648 w 255076"/>
                <a:gd name="connsiteY4" fmla="*/ 0 h 1111854"/>
                <a:gd name="connsiteX5" fmla="*/ 162771 w 255076"/>
                <a:gd name="connsiteY5" fmla="*/ 0 h 1111854"/>
                <a:gd name="connsiteX6" fmla="*/ 0 w 255076"/>
                <a:gd name="connsiteY6" fmla="*/ 0 h 1111854"/>
                <a:gd name="connsiteX7" fmla="*/ 0 w 255076"/>
                <a:gd name="connsiteY7" fmla="*/ 606524 h 1111854"/>
                <a:gd name="connsiteX8" fmla="*/ 0 w 255076"/>
                <a:gd name="connsiteY8" fmla="*/ 779581 h 1111854"/>
                <a:gd name="connsiteX9" fmla="*/ 0 w 255076"/>
                <a:gd name="connsiteY9" fmla="*/ 977269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0" y="977269"/>
                  </a:moveTo>
                  <a:lnTo>
                    <a:pt x="0" y="1111855"/>
                  </a:lnTo>
                  <a:lnTo>
                    <a:pt x="255076" y="1111855"/>
                  </a:lnTo>
                  <a:lnTo>
                    <a:pt x="255076" y="8126"/>
                  </a:lnTo>
                  <a:lnTo>
                    <a:pt x="251648" y="0"/>
                  </a:lnTo>
                  <a:lnTo>
                    <a:pt x="162771" y="0"/>
                  </a:lnTo>
                  <a:lnTo>
                    <a:pt x="0" y="0"/>
                  </a:lnTo>
                  <a:lnTo>
                    <a:pt x="0" y="606524"/>
                  </a:lnTo>
                  <a:lnTo>
                    <a:pt x="0" y="779581"/>
                  </a:lnTo>
                  <a:lnTo>
                    <a:pt x="0" y="977269"/>
                  </a:lnTo>
                  <a:close/>
                </a:path>
              </a:pathLst>
            </a:custGeom>
            <a:solidFill>
              <a:schemeClr val="accent3"/>
            </a:solidFill>
            <a:ln w="12690" cap="flat">
              <a:noFill/>
              <a:prstDash val="solid"/>
              <a:miter/>
            </a:ln>
          </p:spPr>
          <p:txBody>
            <a:bodyPr rtlCol="0" anchor="ctr"/>
            <a:lstStyle/>
            <a:p>
              <a:endParaRPr lang="en-US"/>
            </a:p>
          </p:txBody>
        </p:sp>
        <p:sp>
          <p:nvSpPr>
            <p:cNvPr id="818" name="Freeform: Shape 817">
              <a:extLst>
                <a:ext uri="{FF2B5EF4-FFF2-40B4-BE49-F238E27FC236}">
                  <a16:creationId xmlns:a16="http://schemas.microsoft.com/office/drawing/2014/main" id="{3D93F9BA-9DF5-4F4B-9ACC-88C00205C3CF}"/>
                </a:ext>
              </a:extLst>
            </p:cNvPr>
            <p:cNvSpPr/>
            <p:nvPr/>
          </p:nvSpPr>
          <p:spPr>
            <a:xfrm>
              <a:off x="10050066" y="6434855"/>
              <a:ext cx="1037701" cy="430039"/>
            </a:xfrm>
            <a:custGeom>
              <a:avLst/>
              <a:gdLst>
                <a:gd name="connsiteX0" fmla="*/ 1034146 w 1037701"/>
                <a:gd name="connsiteY0" fmla="*/ 4444 h 430039"/>
                <a:gd name="connsiteX1" fmla="*/ 440068 w 1037701"/>
                <a:gd name="connsiteY1" fmla="*/ 4444 h 430039"/>
                <a:gd name="connsiteX2" fmla="*/ 437909 w 1037701"/>
                <a:gd name="connsiteY2" fmla="*/ 4444 h 430039"/>
                <a:gd name="connsiteX3" fmla="*/ 431688 w 1037701"/>
                <a:gd name="connsiteY3" fmla="*/ 0 h 430039"/>
                <a:gd name="connsiteX4" fmla="*/ 431688 w 1037701"/>
                <a:gd name="connsiteY4" fmla="*/ 0 h 430039"/>
                <a:gd name="connsiteX5" fmla="*/ 431688 w 1037701"/>
                <a:gd name="connsiteY5" fmla="*/ 0 h 430039"/>
                <a:gd name="connsiteX6" fmla="*/ 0 w 1037701"/>
                <a:gd name="connsiteY6" fmla="*/ 0 h 430039"/>
                <a:gd name="connsiteX7" fmla="*/ 0 w 1037701"/>
                <a:gd name="connsiteY7" fmla="*/ 1143 h 430039"/>
                <a:gd name="connsiteX8" fmla="*/ 0 w 1037701"/>
                <a:gd name="connsiteY8" fmla="*/ 430039 h 430039"/>
                <a:gd name="connsiteX9" fmla="*/ 1037701 w 1037701"/>
                <a:gd name="connsiteY9" fmla="*/ 430039 h 430039"/>
                <a:gd name="connsiteX10" fmla="*/ 1037701 w 1037701"/>
                <a:gd name="connsiteY10" fmla="*/ 4698 h 43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7701" h="430039">
                  <a:moveTo>
                    <a:pt x="1034146" y="4444"/>
                  </a:moveTo>
                  <a:lnTo>
                    <a:pt x="440068" y="4444"/>
                  </a:lnTo>
                  <a:cubicBezTo>
                    <a:pt x="439356" y="4571"/>
                    <a:pt x="438620" y="4571"/>
                    <a:pt x="437909" y="4444"/>
                  </a:cubicBezTo>
                  <a:cubicBezTo>
                    <a:pt x="435116" y="4393"/>
                    <a:pt x="432640" y="2628"/>
                    <a:pt x="431688" y="0"/>
                  </a:cubicBezTo>
                  <a:cubicBezTo>
                    <a:pt x="431688" y="0"/>
                    <a:pt x="431688" y="0"/>
                    <a:pt x="431688" y="0"/>
                  </a:cubicBezTo>
                  <a:lnTo>
                    <a:pt x="431688" y="0"/>
                  </a:lnTo>
                  <a:lnTo>
                    <a:pt x="0" y="0"/>
                  </a:lnTo>
                  <a:cubicBezTo>
                    <a:pt x="0" y="0"/>
                    <a:pt x="0" y="762"/>
                    <a:pt x="0" y="1143"/>
                  </a:cubicBezTo>
                  <a:lnTo>
                    <a:pt x="0" y="430039"/>
                  </a:lnTo>
                  <a:lnTo>
                    <a:pt x="1037701" y="430039"/>
                  </a:lnTo>
                  <a:lnTo>
                    <a:pt x="1037701" y="4698"/>
                  </a:lnTo>
                  <a:close/>
                </a:path>
              </a:pathLst>
            </a:custGeom>
            <a:solidFill>
              <a:schemeClr val="accent1"/>
            </a:solidFill>
            <a:ln w="12690" cap="flat">
              <a:noFill/>
              <a:prstDash val="solid"/>
              <a:miter/>
            </a:ln>
          </p:spPr>
          <p:txBody>
            <a:bodyPr rtlCol="0" anchor="ctr"/>
            <a:lstStyle/>
            <a:p>
              <a:endParaRPr lang="en-US"/>
            </a:p>
          </p:txBody>
        </p:sp>
        <p:sp>
          <p:nvSpPr>
            <p:cNvPr id="819" name="Freeform: Shape 818">
              <a:extLst>
                <a:ext uri="{FF2B5EF4-FFF2-40B4-BE49-F238E27FC236}">
                  <a16:creationId xmlns:a16="http://schemas.microsoft.com/office/drawing/2014/main" id="{9F7CDE57-91E7-4C5D-BD43-C0BB6F74AB2B}"/>
                </a:ext>
              </a:extLst>
            </p:cNvPr>
            <p:cNvSpPr/>
            <p:nvPr/>
          </p:nvSpPr>
          <p:spPr>
            <a:xfrm>
              <a:off x="9791816" y="6439807"/>
              <a:ext cx="2412" cy="424706"/>
            </a:xfrm>
            <a:custGeom>
              <a:avLst/>
              <a:gdLst>
                <a:gd name="connsiteX0" fmla="*/ 1142 w 2412"/>
                <a:gd name="connsiteY0" fmla="*/ 0 h 424706"/>
                <a:gd name="connsiteX1" fmla="*/ 0 w 2412"/>
                <a:gd name="connsiteY1" fmla="*/ 0 h 424706"/>
                <a:gd name="connsiteX2" fmla="*/ 0 w 2412"/>
                <a:gd name="connsiteY2" fmla="*/ 424706 h 424706"/>
                <a:gd name="connsiteX3" fmla="*/ 2412 w 2412"/>
                <a:gd name="connsiteY3" fmla="*/ 424706 h 424706"/>
                <a:gd name="connsiteX4" fmla="*/ 2412 w 2412"/>
                <a:gd name="connsiteY4" fmla="*/ 0 h 424706"/>
                <a:gd name="connsiteX5" fmla="*/ 1142 w 2412"/>
                <a:gd name="connsiteY5" fmla="*/ 0 h 42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424706">
                  <a:moveTo>
                    <a:pt x="1142" y="0"/>
                  </a:moveTo>
                  <a:lnTo>
                    <a:pt x="0" y="0"/>
                  </a:lnTo>
                  <a:lnTo>
                    <a:pt x="0" y="424706"/>
                  </a:lnTo>
                  <a:lnTo>
                    <a:pt x="2412" y="424706"/>
                  </a:lnTo>
                  <a:lnTo>
                    <a:pt x="2412" y="0"/>
                  </a:lnTo>
                  <a:lnTo>
                    <a:pt x="1142" y="0"/>
                  </a:lnTo>
                  <a:close/>
                </a:path>
              </a:pathLst>
            </a:custGeom>
            <a:solidFill>
              <a:srgbClr val="000000"/>
            </a:solidFill>
            <a:ln w="12690" cap="flat">
              <a:noFill/>
              <a:prstDash val="solid"/>
              <a:miter/>
            </a:ln>
          </p:spPr>
          <p:txBody>
            <a:bodyPr rtlCol="0" anchor="ctr"/>
            <a:lstStyle/>
            <a:p>
              <a:endParaRPr lang="en-US"/>
            </a:p>
          </p:txBody>
        </p:sp>
        <p:sp>
          <p:nvSpPr>
            <p:cNvPr id="820" name="Freeform: Shape 819">
              <a:extLst>
                <a:ext uri="{FF2B5EF4-FFF2-40B4-BE49-F238E27FC236}">
                  <a16:creationId xmlns:a16="http://schemas.microsoft.com/office/drawing/2014/main" id="{777577F3-5823-487F-890C-F048B9287CF3}"/>
                </a:ext>
              </a:extLst>
            </p:cNvPr>
            <p:cNvSpPr/>
            <p:nvPr/>
          </p:nvSpPr>
          <p:spPr>
            <a:xfrm>
              <a:off x="8607595" y="6442474"/>
              <a:ext cx="2412" cy="422039"/>
            </a:xfrm>
            <a:custGeom>
              <a:avLst/>
              <a:gdLst>
                <a:gd name="connsiteX0" fmla="*/ 0 w 2412"/>
                <a:gd name="connsiteY0" fmla="*/ 0 h 422039"/>
                <a:gd name="connsiteX1" fmla="*/ 0 w 2412"/>
                <a:gd name="connsiteY1" fmla="*/ 422040 h 422039"/>
                <a:gd name="connsiteX2" fmla="*/ 2412 w 2412"/>
                <a:gd name="connsiteY2" fmla="*/ 422040 h 422039"/>
                <a:gd name="connsiteX3" fmla="*/ 2412 w 2412"/>
                <a:gd name="connsiteY3" fmla="*/ 4952 h 422039"/>
                <a:gd name="connsiteX4" fmla="*/ 0 w 2412"/>
                <a:gd name="connsiteY4" fmla="*/ 0 h 42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422039">
                  <a:moveTo>
                    <a:pt x="0" y="0"/>
                  </a:moveTo>
                  <a:lnTo>
                    <a:pt x="0" y="422040"/>
                  </a:lnTo>
                  <a:lnTo>
                    <a:pt x="2412" y="422040"/>
                  </a:lnTo>
                  <a:lnTo>
                    <a:pt x="2412" y="4952"/>
                  </a:lnTo>
                  <a:cubicBezTo>
                    <a:pt x="914" y="3746"/>
                    <a:pt x="26" y="1930"/>
                    <a:pt x="0" y="0"/>
                  </a:cubicBezTo>
                  <a:close/>
                </a:path>
              </a:pathLst>
            </a:custGeom>
            <a:solidFill>
              <a:srgbClr val="000000"/>
            </a:solidFill>
            <a:ln w="12690" cap="flat">
              <a:noFill/>
              <a:prstDash val="solid"/>
              <a:miter/>
            </a:ln>
          </p:spPr>
          <p:txBody>
            <a:bodyPr rtlCol="0" anchor="ctr"/>
            <a:lstStyle/>
            <a:p>
              <a:endParaRPr lang="en-US"/>
            </a:p>
          </p:txBody>
        </p:sp>
        <p:sp>
          <p:nvSpPr>
            <p:cNvPr id="821" name="Freeform: Shape 820">
              <a:extLst>
                <a:ext uri="{FF2B5EF4-FFF2-40B4-BE49-F238E27FC236}">
                  <a16:creationId xmlns:a16="http://schemas.microsoft.com/office/drawing/2014/main" id="{F30BE779-815B-4E0C-A07E-1E351A6D8572}"/>
                </a:ext>
              </a:extLst>
            </p:cNvPr>
            <p:cNvSpPr/>
            <p:nvPr/>
          </p:nvSpPr>
          <p:spPr>
            <a:xfrm>
              <a:off x="8620038" y="6447933"/>
              <a:ext cx="99542" cy="2412"/>
            </a:xfrm>
            <a:custGeom>
              <a:avLst/>
              <a:gdLst>
                <a:gd name="connsiteX0" fmla="*/ 1016 w 99542"/>
                <a:gd name="connsiteY0" fmla="*/ 0 h 2412"/>
                <a:gd name="connsiteX1" fmla="*/ 0 w 99542"/>
                <a:gd name="connsiteY1" fmla="*/ 2412 h 2412"/>
                <a:gd name="connsiteX2" fmla="*/ 99542 w 99542"/>
                <a:gd name="connsiteY2" fmla="*/ 2412 h 2412"/>
                <a:gd name="connsiteX3" fmla="*/ 97257 w 99542"/>
                <a:gd name="connsiteY3" fmla="*/ 0 h 2412"/>
              </a:gdLst>
              <a:ahLst/>
              <a:cxnLst>
                <a:cxn ang="0">
                  <a:pos x="connsiteX0" y="connsiteY0"/>
                </a:cxn>
                <a:cxn ang="0">
                  <a:pos x="connsiteX1" y="connsiteY1"/>
                </a:cxn>
                <a:cxn ang="0">
                  <a:pos x="connsiteX2" y="connsiteY2"/>
                </a:cxn>
                <a:cxn ang="0">
                  <a:pos x="connsiteX3" y="connsiteY3"/>
                </a:cxn>
              </a:cxnLst>
              <a:rect l="l" t="t" r="r" b="b"/>
              <a:pathLst>
                <a:path w="99542" h="2412">
                  <a:moveTo>
                    <a:pt x="1016" y="0"/>
                  </a:moveTo>
                  <a:cubicBezTo>
                    <a:pt x="863" y="876"/>
                    <a:pt x="521" y="1701"/>
                    <a:pt x="0" y="2412"/>
                  </a:cubicBezTo>
                  <a:lnTo>
                    <a:pt x="99542" y="2412"/>
                  </a:lnTo>
                  <a:cubicBezTo>
                    <a:pt x="98564" y="1841"/>
                    <a:pt x="97777" y="1003"/>
                    <a:pt x="97257" y="0"/>
                  </a:cubicBezTo>
                  <a:close/>
                </a:path>
              </a:pathLst>
            </a:custGeom>
            <a:solidFill>
              <a:srgbClr val="000000"/>
            </a:solidFill>
            <a:ln w="12690" cap="flat">
              <a:noFill/>
              <a:prstDash val="solid"/>
              <a:miter/>
            </a:ln>
          </p:spPr>
          <p:txBody>
            <a:bodyPr rtlCol="0" anchor="ctr"/>
            <a:lstStyle/>
            <a:p>
              <a:endParaRPr lang="en-US"/>
            </a:p>
          </p:txBody>
        </p:sp>
        <p:sp>
          <p:nvSpPr>
            <p:cNvPr id="822" name="Freeform: Shape 821">
              <a:extLst>
                <a:ext uri="{FF2B5EF4-FFF2-40B4-BE49-F238E27FC236}">
                  <a16:creationId xmlns:a16="http://schemas.microsoft.com/office/drawing/2014/main" id="{6EEA496C-6E0A-48DF-AAB5-139ED445F138}"/>
                </a:ext>
              </a:extLst>
            </p:cNvPr>
            <p:cNvSpPr/>
            <p:nvPr/>
          </p:nvSpPr>
          <p:spPr>
            <a:xfrm>
              <a:off x="8621435" y="6445394"/>
              <a:ext cx="95098" cy="12696"/>
            </a:xfrm>
            <a:custGeom>
              <a:avLst/>
              <a:gdLst>
                <a:gd name="connsiteX0" fmla="*/ 95098 w 95098"/>
                <a:gd name="connsiteY0" fmla="*/ 0 h 12696"/>
                <a:gd name="connsiteX1" fmla="*/ 95098 w 95098"/>
                <a:gd name="connsiteY1" fmla="*/ 0 h 12696"/>
                <a:gd name="connsiteX2" fmla="*/ 95098 w 95098"/>
                <a:gd name="connsiteY2" fmla="*/ 0 h 12696"/>
                <a:gd name="connsiteX3" fmla="*/ 10157 w 95098"/>
                <a:gd name="connsiteY3" fmla="*/ 0 h 12696"/>
                <a:gd name="connsiteX4" fmla="*/ 0 w 95098"/>
                <a:gd name="connsiteY4" fmla="*/ 0 h 12696"/>
                <a:gd name="connsiteX5" fmla="*/ 0 w 95098"/>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098" h="12696">
                  <a:moveTo>
                    <a:pt x="95098" y="0"/>
                  </a:moveTo>
                  <a:cubicBezTo>
                    <a:pt x="95098" y="0"/>
                    <a:pt x="95098" y="0"/>
                    <a:pt x="95098" y="0"/>
                  </a:cubicBezTo>
                  <a:lnTo>
                    <a:pt x="95098" y="0"/>
                  </a:lnTo>
                  <a:lnTo>
                    <a:pt x="10157"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823" name="Freeform: Shape 822">
              <a:extLst>
                <a:ext uri="{FF2B5EF4-FFF2-40B4-BE49-F238E27FC236}">
                  <a16:creationId xmlns:a16="http://schemas.microsoft.com/office/drawing/2014/main" id="{31EA4A37-D131-4EB5-9105-FFE2C3AB33C2}"/>
                </a:ext>
              </a:extLst>
            </p:cNvPr>
            <p:cNvSpPr/>
            <p:nvPr/>
          </p:nvSpPr>
          <p:spPr>
            <a:xfrm>
              <a:off x="9465638" y="5975360"/>
              <a:ext cx="310814" cy="13712"/>
            </a:xfrm>
            <a:custGeom>
              <a:avLst/>
              <a:gdLst>
                <a:gd name="connsiteX0" fmla="*/ 6856 w 310814"/>
                <a:gd name="connsiteY0" fmla="*/ 6856 h 13712"/>
                <a:gd name="connsiteX1" fmla="*/ 6856 w 310814"/>
                <a:gd name="connsiteY1" fmla="*/ 13713 h 13712"/>
                <a:gd name="connsiteX2" fmla="*/ 310815 w 310814"/>
                <a:gd name="connsiteY2" fmla="*/ 13713 h 13712"/>
                <a:gd name="connsiteX3" fmla="*/ 310815 w 310814"/>
                <a:gd name="connsiteY3" fmla="*/ 0 h 13712"/>
                <a:gd name="connsiteX4" fmla="*/ 0 w 310814"/>
                <a:gd name="connsiteY4" fmla="*/ 0 h 13712"/>
                <a:gd name="connsiteX5" fmla="*/ 6856 w 310814"/>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14" h="13712">
                  <a:moveTo>
                    <a:pt x="6856" y="6856"/>
                  </a:moveTo>
                  <a:lnTo>
                    <a:pt x="6856" y="13713"/>
                  </a:lnTo>
                  <a:lnTo>
                    <a:pt x="310815" y="13713"/>
                  </a:lnTo>
                  <a:lnTo>
                    <a:pt x="310815" y="0"/>
                  </a:lnTo>
                  <a:lnTo>
                    <a:pt x="0" y="0"/>
                  </a:lnTo>
                  <a:cubicBezTo>
                    <a:pt x="3783" y="0"/>
                    <a:pt x="6856" y="3070"/>
                    <a:pt x="6856" y="6856"/>
                  </a:cubicBezTo>
                  <a:close/>
                </a:path>
              </a:pathLst>
            </a:custGeom>
            <a:solidFill>
              <a:srgbClr val="000000"/>
            </a:solidFill>
            <a:ln w="12690" cap="flat">
              <a:noFill/>
              <a:prstDash val="solid"/>
              <a:miter/>
            </a:ln>
          </p:spPr>
          <p:txBody>
            <a:bodyPr rtlCol="0" anchor="ctr"/>
            <a:lstStyle/>
            <a:p>
              <a:endParaRPr lang="en-US"/>
            </a:p>
          </p:txBody>
        </p:sp>
        <p:sp>
          <p:nvSpPr>
            <p:cNvPr id="824" name="Freeform: Shape 823">
              <a:extLst>
                <a:ext uri="{FF2B5EF4-FFF2-40B4-BE49-F238E27FC236}">
                  <a16:creationId xmlns:a16="http://schemas.microsoft.com/office/drawing/2014/main" id="{48179DB3-F7B0-48FC-AB33-2E3AA1E75947}"/>
                </a:ext>
              </a:extLst>
            </p:cNvPr>
            <p:cNvSpPr/>
            <p:nvPr/>
          </p:nvSpPr>
          <p:spPr>
            <a:xfrm>
              <a:off x="8535859" y="5893593"/>
              <a:ext cx="2412" cy="970920"/>
            </a:xfrm>
            <a:custGeom>
              <a:avLst/>
              <a:gdLst>
                <a:gd name="connsiteX0" fmla="*/ 381 w 2412"/>
                <a:gd name="connsiteY0" fmla="*/ 0 h 970920"/>
                <a:gd name="connsiteX1" fmla="*/ 0 w 2412"/>
                <a:gd name="connsiteY1" fmla="*/ 0 h 970920"/>
                <a:gd name="connsiteX2" fmla="*/ 0 w 2412"/>
                <a:gd name="connsiteY2" fmla="*/ 970921 h 970920"/>
                <a:gd name="connsiteX3" fmla="*/ 2412 w 2412"/>
                <a:gd name="connsiteY3" fmla="*/ 970921 h 970920"/>
                <a:gd name="connsiteX4" fmla="*/ 2412 w 2412"/>
                <a:gd name="connsiteY4" fmla="*/ 508 h 970920"/>
                <a:gd name="connsiteX5" fmla="*/ 381 w 2412"/>
                <a:gd name="connsiteY5" fmla="*/ 0 h 9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70920">
                  <a:moveTo>
                    <a:pt x="381" y="0"/>
                  </a:moveTo>
                  <a:lnTo>
                    <a:pt x="0" y="0"/>
                  </a:lnTo>
                  <a:lnTo>
                    <a:pt x="0" y="970921"/>
                  </a:lnTo>
                  <a:lnTo>
                    <a:pt x="2412" y="970921"/>
                  </a:lnTo>
                  <a:lnTo>
                    <a:pt x="2412" y="508"/>
                  </a:lnTo>
                  <a:lnTo>
                    <a:pt x="381" y="0"/>
                  </a:lnTo>
                  <a:close/>
                </a:path>
              </a:pathLst>
            </a:custGeom>
            <a:solidFill>
              <a:srgbClr val="000000"/>
            </a:solidFill>
            <a:ln w="12690" cap="flat">
              <a:noFill/>
              <a:prstDash val="solid"/>
              <a:miter/>
            </a:ln>
          </p:spPr>
          <p:txBody>
            <a:bodyPr rtlCol="0" anchor="ctr"/>
            <a:lstStyle/>
            <a:p>
              <a:endParaRPr lang="en-US"/>
            </a:p>
          </p:txBody>
        </p:sp>
        <p:sp>
          <p:nvSpPr>
            <p:cNvPr id="825" name="Freeform: Shape 824">
              <a:extLst>
                <a:ext uri="{FF2B5EF4-FFF2-40B4-BE49-F238E27FC236}">
                  <a16:creationId xmlns:a16="http://schemas.microsoft.com/office/drawing/2014/main" id="{717D1D32-DB15-4A2D-9125-28E3CE490F6C}"/>
                </a:ext>
              </a:extLst>
            </p:cNvPr>
            <p:cNvSpPr/>
            <p:nvPr/>
          </p:nvSpPr>
          <p:spPr>
            <a:xfrm>
              <a:off x="8881463" y="6446283"/>
              <a:ext cx="376964" cy="1142"/>
            </a:xfrm>
            <a:custGeom>
              <a:avLst/>
              <a:gdLst>
                <a:gd name="connsiteX0" fmla="*/ 358427 w 376964"/>
                <a:gd name="connsiteY0" fmla="*/ 1143 h 1142"/>
                <a:gd name="connsiteX1" fmla="*/ 0 w 376964"/>
                <a:gd name="connsiteY1" fmla="*/ 1143 h 1142"/>
                <a:gd name="connsiteX2" fmla="*/ 0 w 376964"/>
                <a:gd name="connsiteY2" fmla="*/ 1143 h 1142"/>
                <a:gd name="connsiteX3" fmla="*/ 376965 w 376964"/>
                <a:gd name="connsiteY3" fmla="*/ 1143 h 1142"/>
                <a:gd name="connsiteX4" fmla="*/ 376965 w 376964"/>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64" h="1142">
                  <a:moveTo>
                    <a:pt x="358427" y="1143"/>
                  </a:moveTo>
                  <a:lnTo>
                    <a:pt x="0" y="1143"/>
                  </a:lnTo>
                  <a:lnTo>
                    <a:pt x="0" y="1143"/>
                  </a:lnTo>
                  <a:lnTo>
                    <a:pt x="376965" y="1143"/>
                  </a:lnTo>
                  <a:cubicBezTo>
                    <a:pt x="376850" y="774"/>
                    <a:pt x="376850" y="368"/>
                    <a:pt x="376965" y="0"/>
                  </a:cubicBezTo>
                  <a:close/>
                </a:path>
              </a:pathLst>
            </a:custGeom>
            <a:solidFill>
              <a:srgbClr val="000000"/>
            </a:solidFill>
            <a:ln w="12690" cap="flat">
              <a:noFill/>
              <a:prstDash val="solid"/>
              <a:miter/>
            </a:ln>
          </p:spPr>
          <p:txBody>
            <a:bodyPr rtlCol="0" anchor="ctr"/>
            <a:lstStyle/>
            <a:p>
              <a:endParaRPr lang="en-US"/>
            </a:p>
          </p:txBody>
        </p:sp>
        <p:sp>
          <p:nvSpPr>
            <p:cNvPr id="826" name="Freeform: Shape 825">
              <a:extLst>
                <a:ext uri="{FF2B5EF4-FFF2-40B4-BE49-F238E27FC236}">
                  <a16:creationId xmlns:a16="http://schemas.microsoft.com/office/drawing/2014/main" id="{403D4546-0FC7-4C74-B48D-E3F1ECCDA2B2}"/>
                </a:ext>
              </a:extLst>
            </p:cNvPr>
            <p:cNvSpPr/>
            <p:nvPr/>
          </p:nvSpPr>
          <p:spPr>
            <a:xfrm>
              <a:off x="8729357" y="6445902"/>
              <a:ext cx="138901" cy="2031"/>
            </a:xfrm>
            <a:custGeom>
              <a:avLst/>
              <a:gdLst>
                <a:gd name="connsiteX0" fmla="*/ 138521 w 138901"/>
                <a:gd name="connsiteY0" fmla="*/ 0 h 2031"/>
                <a:gd name="connsiteX1" fmla="*/ 635 w 138901"/>
                <a:gd name="connsiteY1" fmla="*/ 0 h 2031"/>
                <a:gd name="connsiteX2" fmla="*/ 0 w 138901"/>
                <a:gd name="connsiteY2" fmla="*/ 2031 h 2031"/>
                <a:gd name="connsiteX3" fmla="*/ 138901 w 138901"/>
                <a:gd name="connsiteY3" fmla="*/ 2031 h 2031"/>
                <a:gd name="connsiteX4" fmla="*/ 138901 w 138901"/>
                <a:gd name="connsiteY4" fmla="*/ 254 h 2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01" h="2031">
                  <a:moveTo>
                    <a:pt x="138521" y="0"/>
                  </a:moveTo>
                  <a:lnTo>
                    <a:pt x="635" y="0"/>
                  </a:lnTo>
                  <a:cubicBezTo>
                    <a:pt x="494" y="698"/>
                    <a:pt x="291" y="1384"/>
                    <a:pt x="0" y="2031"/>
                  </a:cubicBezTo>
                  <a:lnTo>
                    <a:pt x="138901" y="2031"/>
                  </a:lnTo>
                  <a:cubicBezTo>
                    <a:pt x="138787" y="1447"/>
                    <a:pt x="138787" y="838"/>
                    <a:pt x="138901" y="254"/>
                  </a:cubicBezTo>
                  <a:close/>
                </a:path>
              </a:pathLst>
            </a:custGeom>
            <a:solidFill>
              <a:srgbClr val="000000"/>
            </a:solidFill>
            <a:ln w="12690" cap="flat">
              <a:noFill/>
              <a:prstDash val="solid"/>
              <a:miter/>
            </a:ln>
          </p:spPr>
          <p:txBody>
            <a:bodyPr rtlCol="0" anchor="ctr"/>
            <a:lstStyle/>
            <a:p>
              <a:endParaRPr lang="en-US"/>
            </a:p>
          </p:txBody>
        </p:sp>
        <p:sp>
          <p:nvSpPr>
            <p:cNvPr id="827" name="Freeform: Shape 826">
              <a:extLst>
                <a:ext uri="{FF2B5EF4-FFF2-40B4-BE49-F238E27FC236}">
                  <a16:creationId xmlns:a16="http://schemas.microsoft.com/office/drawing/2014/main" id="{FB178ECF-FE85-49CB-9A12-318786656315}"/>
                </a:ext>
              </a:extLst>
            </p:cNvPr>
            <p:cNvSpPr/>
            <p:nvPr/>
          </p:nvSpPr>
          <p:spPr>
            <a:xfrm>
              <a:off x="8621054" y="6445394"/>
              <a:ext cx="96241" cy="2539"/>
            </a:xfrm>
            <a:custGeom>
              <a:avLst/>
              <a:gdLst>
                <a:gd name="connsiteX0" fmla="*/ 95479 w 96241"/>
                <a:gd name="connsiteY0" fmla="*/ 0 h 2539"/>
                <a:gd name="connsiteX1" fmla="*/ 0 w 96241"/>
                <a:gd name="connsiteY1" fmla="*/ 0 h 2539"/>
                <a:gd name="connsiteX2" fmla="*/ 0 w 96241"/>
                <a:gd name="connsiteY2" fmla="*/ 1143 h 2539"/>
                <a:gd name="connsiteX3" fmla="*/ 0 w 96241"/>
                <a:gd name="connsiteY3" fmla="*/ 2539 h 2539"/>
                <a:gd name="connsiteX4" fmla="*/ 96241 w 96241"/>
                <a:gd name="connsiteY4" fmla="*/ 2539 h 2539"/>
                <a:gd name="connsiteX5" fmla="*/ 95479 w 96241"/>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41" h="2539">
                  <a:moveTo>
                    <a:pt x="95479" y="0"/>
                  </a:moveTo>
                  <a:lnTo>
                    <a:pt x="0" y="0"/>
                  </a:lnTo>
                  <a:lnTo>
                    <a:pt x="0" y="1143"/>
                  </a:lnTo>
                  <a:cubicBezTo>
                    <a:pt x="64" y="1612"/>
                    <a:pt x="64" y="2069"/>
                    <a:pt x="0" y="2539"/>
                  </a:cubicBezTo>
                  <a:lnTo>
                    <a:pt x="96241" y="2539"/>
                  </a:lnTo>
                  <a:cubicBezTo>
                    <a:pt x="95860" y="1740"/>
                    <a:pt x="95593" y="876"/>
                    <a:pt x="95479" y="0"/>
                  </a:cubicBezTo>
                  <a:close/>
                </a:path>
              </a:pathLst>
            </a:custGeom>
            <a:solidFill>
              <a:srgbClr val="000000"/>
            </a:solidFill>
            <a:ln w="12690" cap="flat">
              <a:noFill/>
              <a:prstDash val="solid"/>
              <a:miter/>
            </a:ln>
          </p:spPr>
          <p:txBody>
            <a:bodyPr rtlCol="0" anchor="ctr"/>
            <a:lstStyle/>
            <a:p>
              <a:endParaRPr lang="en-US"/>
            </a:p>
          </p:txBody>
        </p:sp>
        <p:sp>
          <p:nvSpPr>
            <p:cNvPr id="828" name="Freeform: Shape 827">
              <a:extLst>
                <a:ext uri="{FF2B5EF4-FFF2-40B4-BE49-F238E27FC236}">
                  <a16:creationId xmlns:a16="http://schemas.microsoft.com/office/drawing/2014/main" id="{8C5AD710-CAFA-4750-8EF7-280C03C34F92}"/>
                </a:ext>
              </a:extLst>
            </p:cNvPr>
            <p:cNvSpPr/>
            <p:nvPr/>
          </p:nvSpPr>
          <p:spPr>
            <a:xfrm>
              <a:off x="8536240" y="5883436"/>
              <a:ext cx="80370" cy="31233"/>
            </a:xfrm>
            <a:custGeom>
              <a:avLst/>
              <a:gdLst>
                <a:gd name="connsiteX0" fmla="*/ 7745 w 80370"/>
                <a:gd name="connsiteY0" fmla="*/ 7491 h 31233"/>
                <a:gd name="connsiteX1" fmla="*/ 889 w 80370"/>
                <a:gd name="connsiteY1" fmla="*/ 14347 h 31233"/>
                <a:gd name="connsiteX2" fmla="*/ 0 w 80370"/>
                <a:gd name="connsiteY2" fmla="*/ 14347 h 31233"/>
                <a:gd name="connsiteX3" fmla="*/ 2031 w 80370"/>
                <a:gd name="connsiteY3" fmla="*/ 14347 h 31233"/>
                <a:gd name="connsiteX4" fmla="*/ 71355 w 80370"/>
                <a:gd name="connsiteY4" fmla="*/ 31234 h 31233"/>
                <a:gd name="connsiteX5" fmla="*/ 71355 w 80370"/>
                <a:gd name="connsiteY5" fmla="*/ 25774 h 31233"/>
                <a:gd name="connsiteX6" fmla="*/ 78211 w 80370"/>
                <a:gd name="connsiteY6" fmla="*/ 18791 h 31233"/>
                <a:gd name="connsiteX7" fmla="*/ 80370 w 80370"/>
                <a:gd name="connsiteY7" fmla="*/ 18791 h 31233"/>
                <a:gd name="connsiteX8" fmla="*/ 80370 w 80370"/>
                <a:gd name="connsiteY8" fmla="*/ 18791 h 31233"/>
                <a:gd name="connsiteX9" fmla="*/ 2920 w 80370"/>
                <a:gd name="connsiteY9" fmla="*/ 0 h 31233"/>
                <a:gd name="connsiteX10" fmla="*/ 2158 w 80370"/>
                <a:gd name="connsiteY10" fmla="*/ 0 h 31233"/>
                <a:gd name="connsiteX11" fmla="*/ 7745 w 80370"/>
                <a:gd name="connsiteY11" fmla="*/ 7491 h 3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70" h="31233">
                  <a:moveTo>
                    <a:pt x="7745" y="7491"/>
                  </a:moveTo>
                  <a:cubicBezTo>
                    <a:pt x="7745" y="11277"/>
                    <a:pt x="4672" y="14347"/>
                    <a:pt x="889" y="14347"/>
                  </a:cubicBezTo>
                  <a:lnTo>
                    <a:pt x="0" y="14347"/>
                  </a:lnTo>
                  <a:lnTo>
                    <a:pt x="2031" y="14347"/>
                  </a:lnTo>
                  <a:lnTo>
                    <a:pt x="71355" y="31234"/>
                  </a:lnTo>
                  <a:lnTo>
                    <a:pt x="71355" y="25774"/>
                  </a:lnTo>
                  <a:cubicBezTo>
                    <a:pt x="71355" y="21967"/>
                    <a:pt x="74402" y="18861"/>
                    <a:pt x="78211" y="18791"/>
                  </a:cubicBezTo>
                  <a:cubicBezTo>
                    <a:pt x="78923" y="18676"/>
                    <a:pt x="79659" y="18676"/>
                    <a:pt x="80370" y="18791"/>
                  </a:cubicBezTo>
                  <a:lnTo>
                    <a:pt x="80370" y="18791"/>
                  </a:lnTo>
                  <a:lnTo>
                    <a:pt x="2920" y="0"/>
                  </a:lnTo>
                  <a:cubicBezTo>
                    <a:pt x="2920" y="0"/>
                    <a:pt x="2920" y="0"/>
                    <a:pt x="2158" y="0"/>
                  </a:cubicBezTo>
                  <a:cubicBezTo>
                    <a:pt x="5738" y="587"/>
                    <a:pt x="8202" y="3898"/>
                    <a:pt x="7745" y="7491"/>
                  </a:cubicBezTo>
                  <a:close/>
                </a:path>
              </a:pathLst>
            </a:custGeom>
            <a:solidFill>
              <a:srgbClr val="000000"/>
            </a:solidFill>
            <a:ln w="12690" cap="flat">
              <a:noFill/>
              <a:prstDash val="solid"/>
              <a:miter/>
            </a:ln>
          </p:spPr>
          <p:txBody>
            <a:bodyPr rtlCol="0" anchor="ctr"/>
            <a:lstStyle/>
            <a:p>
              <a:endParaRPr lang="en-US"/>
            </a:p>
          </p:txBody>
        </p:sp>
        <p:sp>
          <p:nvSpPr>
            <p:cNvPr id="829" name="Freeform: Shape 828">
              <a:extLst>
                <a:ext uri="{FF2B5EF4-FFF2-40B4-BE49-F238E27FC236}">
                  <a16:creationId xmlns:a16="http://schemas.microsoft.com/office/drawing/2014/main" id="{12ACFA63-5266-4B3C-BE93-2D11DE96C92E}"/>
                </a:ext>
              </a:extLst>
            </p:cNvPr>
            <p:cNvSpPr/>
            <p:nvPr/>
          </p:nvSpPr>
          <p:spPr>
            <a:xfrm>
              <a:off x="8231012" y="5884197"/>
              <a:ext cx="312973" cy="13585"/>
            </a:xfrm>
            <a:custGeom>
              <a:avLst/>
              <a:gdLst>
                <a:gd name="connsiteX0" fmla="*/ 6856 w 312973"/>
                <a:gd name="connsiteY0" fmla="*/ 6729 h 13585"/>
                <a:gd name="connsiteX1" fmla="*/ 6856 w 312973"/>
                <a:gd name="connsiteY1" fmla="*/ 13586 h 13585"/>
                <a:gd name="connsiteX2" fmla="*/ 306117 w 312973"/>
                <a:gd name="connsiteY2" fmla="*/ 13586 h 13585"/>
                <a:gd name="connsiteX3" fmla="*/ 312973 w 312973"/>
                <a:gd name="connsiteY3" fmla="*/ 6729 h 13585"/>
                <a:gd name="connsiteX4" fmla="*/ 306879 w 312973"/>
                <a:gd name="connsiteY4" fmla="*/ 0 h 13585"/>
                <a:gd name="connsiteX5" fmla="*/ 306117 w 312973"/>
                <a:gd name="connsiteY5" fmla="*/ 0 h 13585"/>
                <a:gd name="connsiteX6" fmla="*/ 0 w 312973"/>
                <a:gd name="connsiteY6" fmla="*/ 0 h 13585"/>
                <a:gd name="connsiteX7" fmla="*/ 6856 w 312973"/>
                <a:gd name="connsiteY7" fmla="*/ 6729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973" h="13585">
                  <a:moveTo>
                    <a:pt x="6856" y="6729"/>
                  </a:moveTo>
                  <a:lnTo>
                    <a:pt x="6856" y="13586"/>
                  </a:lnTo>
                  <a:lnTo>
                    <a:pt x="306117" y="13586"/>
                  </a:lnTo>
                  <a:cubicBezTo>
                    <a:pt x="309900" y="13586"/>
                    <a:pt x="312973" y="10515"/>
                    <a:pt x="312973" y="6729"/>
                  </a:cubicBezTo>
                  <a:cubicBezTo>
                    <a:pt x="312986" y="3248"/>
                    <a:pt x="310345" y="329"/>
                    <a:pt x="306879" y="0"/>
                  </a:cubicBezTo>
                  <a:lnTo>
                    <a:pt x="306117" y="0"/>
                  </a:lnTo>
                  <a:lnTo>
                    <a:pt x="0" y="0"/>
                  </a:lnTo>
                  <a:cubicBezTo>
                    <a:pt x="3707" y="65"/>
                    <a:pt x="6716" y="3021"/>
                    <a:pt x="6856" y="6729"/>
                  </a:cubicBezTo>
                  <a:close/>
                </a:path>
              </a:pathLst>
            </a:custGeom>
            <a:solidFill>
              <a:srgbClr val="000000"/>
            </a:solidFill>
            <a:ln w="12690" cap="flat">
              <a:noFill/>
              <a:prstDash val="solid"/>
              <a:miter/>
            </a:ln>
          </p:spPr>
          <p:txBody>
            <a:bodyPr rtlCol="0" anchor="ctr"/>
            <a:lstStyle/>
            <a:p>
              <a:endParaRPr lang="en-US"/>
            </a:p>
          </p:txBody>
        </p:sp>
        <p:sp>
          <p:nvSpPr>
            <p:cNvPr id="830" name="Freeform: Shape 829">
              <a:extLst>
                <a:ext uri="{FF2B5EF4-FFF2-40B4-BE49-F238E27FC236}">
                  <a16:creationId xmlns:a16="http://schemas.microsoft.com/office/drawing/2014/main" id="{4DE8998C-E999-442A-8633-888D9E460717}"/>
                </a:ext>
              </a:extLst>
            </p:cNvPr>
            <p:cNvSpPr/>
            <p:nvPr/>
          </p:nvSpPr>
          <p:spPr>
            <a:xfrm>
              <a:off x="12143370" y="6416699"/>
              <a:ext cx="40883" cy="5586"/>
            </a:xfrm>
            <a:custGeom>
              <a:avLst/>
              <a:gdLst>
                <a:gd name="connsiteX0" fmla="*/ 5968 w 40883"/>
                <a:gd name="connsiteY0" fmla="*/ 5587 h 5586"/>
                <a:gd name="connsiteX1" fmla="*/ 32758 w 40883"/>
                <a:gd name="connsiteY1" fmla="*/ 5587 h 5586"/>
                <a:gd name="connsiteX2" fmla="*/ 39487 w 40883"/>
                <a:gd name="connsiteY2" fmla="*/ 0 h 5586"/>
                <a:gd name="connsiteX3" fmla="*/ 40884 w 40883"/>
                <a:gd name="connsiteY3" fmla="*/ 0 h 5586"/>
                <a:gd name="connsiteX4" fmla="*/ 39614 w 40883"/>
                <a:gd name="connsiteY4" fmla="*/ 0 h 5586"/>
                <a:gd name="connsiteX5" fmla="*/ 0 w 40883"/>
                <a:gd name="connsiteY5" fmla="*/ 0 h 5586"/>
                <a:gd name="connsiteX6" fmla="*/ 0 w 40883"/>
                <a:gd name="connsiteY6" fmla="*/ 0 h 5586"/>
                <a:gd name="connsiteX7" fmla="*/ 5968 w 40883"/>
                <a:gd name="connsiteY7"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83" h="5586">
                  <a:moveTo>
                    <a:pt x="5968" y="5587"/>
                  </a:moveTo>
                  <a:lnTo>
                    <a:pt x="32758" y="5587"/>
                  </a:lnTo>
                  <a:cubicBezTo>
                    <a:pt x="33367" y="2349"/>
                    <a:pt x="36198" y="0"/>
                    <a:pt x="39487" y="0"/>
                  </a:cubicBezTo>
                  <a:lnTo>
                    <a:pt x="40884" y="0"/>
                  </a:lnTo>
                  <a:lnTo>
                    <a:pt x="39614" y="0"/>
                  </a:lnTo>
                  <a:lnTo>
                    <a:pt x="0" y="0"/>
                  </a:lnTo>
                  <a:lnTo>
                    <a:pt x="0" y="0"/>
                  </a:lnTo>
                  <a:cubicBezTo>
                    <a:pt x="3022" y="305"/>
                    <a:pt x="5473" y="2590"/>
                    <a:pt x="5968" y="5587"/>
                  </a:cubicBezTo>
                  <a:close/>
                </a:path>
              </a:pathLst>
            </a:custGeom>
            <a:solidFill>
              <a:srgbClr val="000000"/>
            </a:solidFill>
            <a:ln w="12690" cap="flat">
              <a:noFill/>
              <a:prstDash val="solid"/>
              <a:miter/>
            </a:ln>
          </p:spPr>
          <p:txBody>
            <a:bodyPr rtlCol="0" anchor="ctr"/>
            <a:lstStyle/>
            <a:p>
              <a:endParaRPr lang="en-US"/>
            </a:p>
          </p:txBody>
        </p:sp>
        <p:sp>
          <p:nvSpPr>
            <p:cNvPr id="831" name="Freeform: Shape 830">
              <a:extLst>
                <a:ext uri="{FF2B5EF4-FFF2-40B4-BE49-F238E27FC236}">
                  <a16:creationId xmlns:a16="http://schemas.microsoft.com/office/drawing/2014/main" id="{BD0C999D-C777-4097-A173-CFC5722C0EF8}"/>
                </a:ext>
              </a:extLst>
            </p:cNvPr>
            <p:cNvSpPr/>
            <p:nvPr/>
          </p:nvSpPr>
          <p:spPr>
            <a:xfrm>
              <a:off x="12142608" y="6424317"/>
              <a:ext cx="32884" cy="5459"/>
            </a:xfrm>
            <a:custGeom>
              <a:avLst/>
              <a:gdLst>
                <a:gd name="connsiteX0" fmla="*/ 0 w 32884"/>
                <a:gd name="connsiteY0" fmla="*/ 5460 h 5459"/>
                <a:gd name="connsiteX1" fmla="*/ 0 w 32884"/>
                <a:gd name="connsiteY1" fmla="*/ 5460 h 5459"/>
                <a:gd name="connsiteX2" fmla="*/ 32885 w 32884"/>
                <a:gd name="connsiteY2" fmla="*/ 5460 h 5459"/>
                <a:gd name="connsiteX3" fmla="*/ 32885 w 32884"/>
                <a:gd name="connsiteY3" fmla="*/ 0 h 5459"/>
                <a:gd name="connsiteX4" fmla="*/ 6603 w 32884"/>
                <a:gd name="connsiteY4" fmla="*/ 0 h 5459"/>
                <a:gd name="connsiteX5" fmla="*/ 0 w 32884"/>
                <a:gd name="connsiteY5" fmla="*/ 546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84" h="5459">
                  <a:moveTo>
                    <a:pt x="0" y="5460"/>
                  </a:moveTo>
                  <a:lnTo>
                    <a:pt x="0" y="5460"/>
                  </a:lnTo>
                  <a:lnTo>
                    <a:pt x="32885" y="5460"/>
                  </a:lnTo>
                  <a:lnTo>
                    <a:pt x="32885" y="0"/>
                  </a:lnTo>
                  <a:lnTo>
                    <a:pt x="6603" y="0"/>
                  </a:lnTo>
                  <a:cubicBezTo>
                    <a:pt x="5993" y="3162"/>
                    <a:pt x="3225" y="5460"/>
                    <a:pt x="0" y="5460"/>
                  </a:cubicBezTo>
                  <a:close/>
                </a:path>
              </a:pathLst>
            </a:custGeom>
            <a:solidFill>
              <a:srgbClr val="000000"/>
            </a:solidFill>
            <a:ln w="12690" cap="flat">
              <a:noFill/>
              <a:prstDash val="solid"/>
              <a:miter/>
            </a:ln>
          </p:spPr>
          <p:txBody>
            <a:bodyPr rtlCol="0" anchor="ctr"/>
            <a:lstStyle/>
            <a:p>
              <a:endParaRPr lang="en-US"/>
            </a:p>
          </p:txBody>
        </p:sp>
        <p:sp>
          <p:nvSpPr>
            <p:cNvPr id="832" name="Freeform: Shape 831">
              <a:extLst>
                <a:ext uri="{FF2B5EF4-FFF2-40B4-BE49-F238E27FC236}">
                  <a16:creationId xmlns:a16="http://schemas.microsoft.com/office/drawing/2014/main" id="{1B5E6107-926E-431F-BB1C-9B466BCC00D3}"/>
                </a:ext>
              </a:extLst>
            </p:cNvPr>
            <p:cNvSpPr/>
            <p:nvPr/>
          </p:nvSpPr>
          <p:spPr>
            <a:xfrm>
              <a:off x="11773135" y="6415556"/>
              <a:ext cx="376203" cy="6221"/>
            </a:xfrm>
            <a:custGeom>
              <a:avLst/>
              <a:gdLst>
                <a:gd name="connsiteX0" fmla="*/ 6729 w 376203"/>
                <a:gd name="connsiteY0" fmla="*/ 6221 h 6221"/>
                <a:gd name="connsiteX1" fmla="*/ 29964 w 376203"/>
                <a:gd name="connsiteY1" fmla="*/ 6221 h 6221"/>
                <a:gd name="connsiteX2" fmla="*/ 376203 w 376203"/>
                <a:gd name="connsiteY2" fmla="*/ 6221 h 6221"/>
                <a:gd name="connsiteX3" fmla="*/ 369473 w 376203"/>
                <a:gd name="connsiteY3" fmla="*/ 0 h 6221"/>
                <a:gd name="connsiteX4" fmla="*/ 0 w 376203"/>
                <a:gd name="connsiteY4" fmla="*/ 0 h 6221"/>
                <a:gd name="connsiteX5" fmla="*/ 6729 w 376203"/>
                <a:gd name="connsiteY5" fmla="*/ 6221 h 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203" h="6221">
                  <a:moveTo>
                    <a:pt x="6729" y="6221"/>
                  </a:moveTo>
                  <a:lnTo>
                    <a:pt x="29964" y="6221"/>
                  </a:lnTo>
                  <a:lnTo>
                    <a:pt x="376203" y="6221"/>
                  </a:lnTo>
                  <a:cubicBezTo>
                    <a:pt x="375937" y="2704"/>
                    <a:pt x="373003" y="-13"/>
                    <a:pt x="369473" y="0"/>
                  </a:cubicBezTo>
                  <a:lnTo>
                    <a:pt x="0" y="0"/>
                  </a:lnTo>
                  <a:cubicBezTo>
                    <a:pt x="3479" y="102"/>
                    <a:pt x="6348" y="2755"/>
                    <a:pt x="6729" y="6221"/>
                  </a:cubicBezTo>
                  <a:close/>
                </a:path>
              </a:pathLst>
            </a:custGeom>
            <a:solidFill>
              <a:srgbClr val="000000"/>
            </a:solidFill>
            <a:ln w="12690" cap="flat">
              <a:noFill/>
              <a:prstDash val="solid"/>
              <a:miter/>
            </a:ln>
          </p:spPr>
          <p:txBody>
            <a:bodyPr rtlCol="0" anchor="ctr"/>
            <a:lstStyle/>
            <a:p>
              <a:endParaRPr lang="en-US"/>
            </a:p>
          </p:txBody>
        </p:sp>
        <p:sp>
          <p:nvSpPr>
            <p:cNvPr id="833" name="Freeform: Shape 832">
              <a:extLst>
                <a:ext uri="{FF2B5EF4-FFF2-40B4-BE49-F238E27FC236}">
                  <a16:creationId xmlns:a16="http://schemas.microsoft.com/office/drawing/2014/main" id="{0E325EF6-A759-4037-B916-DFA751D61F6A}"/>
                </a:ext>
              </a:extLst>
            </p:cNvPr>
            <p:cNvSpPr/>
            <p:nvPr/>
          </p:nvSpPr>
          <p:spPr>
            <a:xfrm>
              <a:off x="11779991" y="6424317"/>
              <a:ext cx="21838" cy="5459"/>
            </a:xfrm>
            <a:custGeom>
              <a:avLst/>
              <a:gdLst>
                <a:gd name="connsiteX0" fmla="*/ 21839 w 21838"/>
                <a:gd name="connsiteY0" fmla="*/ 381 h 5459"/>
                <a:gd name="connsiteX1" fmla="*/ 0 w 21838"/>
                <a:gd name="connsiteY1" fmla="*/ 0 h 5459"/>
                <a:gd name="connsiteX2" fmla="*/ 0 w 21838"/>
                <a:gd name="connsiteY2" fmla="*/ 5460 h 5459"/>
                <a:gd name="connsiteX3" fmla="*/ 21839 w 21838"/>
                <a:gd name="connsiteY3" fmla="*/ 5460 h 5459"/>
                <a:gd name="connsiteX4" fmla="*/ 21839 w 21838"/>
                <a:gd name="connsiteY4" fmla="*/ 381 h 5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459">
                  <a:moveTo>
                    <a:pt x="21839" y="381"/>
                  </a:moveTo>
                  <a:lnTo>
                    <a:pt x="0" y="0"/>
                  </a:lnTo>
                  <a:lnTo>
                    <a:pt x="0" y="5460"/>
                  </a:lnTo>
                  <a:lnTo>
                    <a:pt x="21839" y="5460"/>
                  </a:lnTo>
                  <a:lnTo>
                    <a:pt x="21839" y="381"/>
                  </a:lnTo>
                  <a:close/>
                </a:path>
              </a:pathLst>
            </a:custGeom>
            <a:solidFill>
              <a:srgbClr val="000000"/>
            </a:solidFill>
            <a:ln w="12690" cap="flat">
              <a:noFill/>
              <a:prstDash val="solid"/>
              <a:miter/>
            </a:ln>
          </p:spPr>
          <p:txBody>
            <a:bodyPr rtlCol="0" anchor="ctr"/>
            <a:lstStyle/>
            <a:p>
              <a:endParaRPr lang="en-US"/>
            </a:p>
          </p:txBody>
        </p:sp>
        <p:sp>
          <p:nvSpPr>
            <p:cNvPr id="834" name="Freeform: Shape 833">
              <a:extLst>
                <a:ext uri="{FF2B5EF4-FFF2-40B4-BE49-F238E27FC236}">
                  <a16:creationId xmlns:a16="http://schemas.microsoft.com/office/drawing/2014/main" id="{5D4951DA-49BD-4DB0-B233-F2ED2C5D571B}"/>
                </a:ext>
              </a:extLst>
            </p:cNvPr>
            <p:cNvSpPr/>
            <p:nvPr/>
          </p:nvSpPr>
          <p:spPr>
            <a:xfrm>
              <a:off x="11804242" y="6424825"/>
              <a:ext cx="344714" cy="4951"/>
            </a:xfrm>
            <a:custGeom>
              <a:avLst/>
              <a:gdLst>
                <a:gd name="connsiteX0" fmla="*/ 338239 w 344714"/>
                <a:gd name="connsiteY0" fmla="*/ 4952 h 4951"/>
                <a:gd name="connsiteX1" fmla="*/ 338239 w 344714"/>
                <a:gd name="connsiteY1" fmla="*/ 4952 h 4951"/>
                <a:gd name="connsiteX2" fmla="*/ 344715 w 344714"/>
                <a:gd name="connsiteY2" fmla="*/ 0 h 4951"/>
                <a:gd name="connsiteX3" fmla="*/ 0 w 344714"/>
                <a:gd name="connsiteY3" fmla="*/ 0 h 4951"/>
                <a:gd name="connsiteX4" fmla="*/ 0 w 344714"/>
                <a:gd name="connsiteY4" fmla="*/ 4952 h 4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714" h="4951">
                  <a:moveTo>
                    <a:pt x="338239" y="4952"/>
                  </a:moveTo>
                  <a:lnTo>
                    <a:pt x="338239" y="4952"/>
                  </a:lnTo>
                  <a:cubicBezTo>
                    <a:pt x="341262" y="4939"/>
                    <a:pt x="343915" y="2920"/>
                    <a:pt x="344715" y="0"/>
                  </a:cubicBezTo>
                  <a:lnTo>
                    <a:pt x="0" y="0"/>
                  </a:lnTo>
                  <a:lnTo>
                    <a:pt x="0" y="4952"/>
                  </a:lnTo>
                  <a:close/>
                </a:path>
              </a:pathLst>
            </a:custGeom>
            <a:solidFill>
              <a:srgbClr val="000000"/>
            </a:solidFill>
            <a:ln w="12690" cap="flat">
              <a:noFill/>
              <a:prstDash val="solid"/>
              <a:miter/>
            </a:ln>
          </p:spPr>
          <p:txBody>
            <a:bodyPr rtlCol="0" anchor="ctr"/>
            <a:lstStyle/>
            <a:p>
              <a:endParaRPr lang="en-US"/>
            </a:p>
          </p:txBody>
        </p:sp>
        <p:sp>
          <p:nvSpPr>
            <p:cNvPr id="835" name="Freeform: Shape 834">
              <a:extLst>
                <a:ext uri="{FF2B5EF4-FFF2-40B4-BE49-F238E27FC236}">
                  <a16:creationId xmlns:a16="http://schemas.microsoft.com/office/drawing/2014/main" id="{4421C4C8-0E17-4397-B79F-937FC477A856}"/>
                </a:ext>
              </a:extLst>
            </p:cNvPr>
            <p:cNvSpPr/>
            <p:nvPr/>
          </p:nvSpPr>
          <p:spPr>
            <a:xfrm>
              <a:off x="11779864" y="6422920"/>
              <a:ext cx="23235" cy="1269"/>
            </a:xfrm>
            <a:custGeom>
              <a:avLst/>
              <a:gdLst>
                <a:gd name="connsiteX0" fmla="*/ 21966 w 23235"/>
                <a:gd name="connsiteY0" fmla="*/ 1270 h 1269"/>
                <a:gd name="connsiteX1" fmla="*/ 23235 w 23235"/>
                <a:gd name="connsiteY1" fmla="*/ 0 h 1269"/>
                <a:gd name="connsiteX2" fmla="*/ 23235 w 23235"/>
                <a:gd name="connsiteY2" fmla="*/ 0 h 1269"/>
                <a:gd name="connsiteX3" fmla="*/ 0 w 23235"/>
                <a:gd name="connsiteY3" fmla="*/ 0 h 1269"/>
                <a:gd name="connsiteX4" fmla="*/ 0 w 23235"/>
                <a:gd name="connsiteY4" fmla="*/ 1143 h 1269"/>
                <a:gd name="connsiteX5" fmla="*/ 0 w 23235"/>
                <a:gd name="connsiteY5" fmla="*/ 1270 h 1269"/>
                <a:gd name="connsiteX6" fmla="*/ 21839 w 23235"/>
                <a:gd name="connsiteY6" fmla="*/ 1270 h 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35" h="1269">
                  <a:moveTo>
                    <a:pt x="21966" y="1270"/>
                  </a:moveTo>
                  <a:cubicBezTo>
                    <a:pt x="21966" y="572"/>
                    <a:pt x="22537" y="0"/>
                    <a:pt x="23235" y="0"/>
                  </a:cubicBezTo>
                  <a:lnTo>
                    <a:pt x="23235" y="0"/>
                  </a:lnTo>
                  <a:lnTo>
                    <a:pt x="0" y="0"/>
                  </a:lnTo>
                  <a:cubicBezTo>
                    <a:pt x="0" y="0"/>
                    <a:pt x="0" y="762"/>
                    <a:pt x="0" y="1143"/>
                  </a:cubicBezTo>
                  <a:lnTo>
                    <a:pt x="0" y="1270"/>
                  </a:lnTo>
                  <a:lnTo>
                    <a:pt x="21839" y="1270"/>
                  </a:lnTo>
                  <a:close/>
                </a:path>
              </a:pathLst>
            </a:custGeom>
            <a:solidFill>
              <a:srgbClr val="000000"/>
            </a:solidFill>
            <a:ln w="12690" cap="flat">
              <a:noFill/>
              <a:prstDash val="solid"/>
              <a:miter/>
            </a:ln>
          </p:spPr>
          <p:txBody>
            <a:bodyPr rtlCol="0" anchor="ctr"/>
            <a:lstStyle/>
            <a:p>
              <a:endParaRPr lang="en-US"/>
            </a:p>
          </p:txBody>
        </p:sp>
        <p:sp>
          <p:nvSpPr>
            <p:cNvPr id="836" name="Freeform: Shape 835">
              <a:extLst>
                <a:ext uri="{FF2B5EF4-FFF2-40B4-BE49-F238E27FC236}">
                  <a16:creationId xmlns:a16="http://schemas.microsoft.com/office/drawing/2014/main" id="{94566E21-B757-4382-8507-DEE9F704AEE0}"/>
                </a:ext>
              </a:extLst>
            </p:cNvPr>
            <p:cNvSpPr/>
            <p:nvPr/>
          </p:nvSpPr>
          <p:spPr>
            <a:xfrm>
              <a:off x="11803099" y="6422920"/>
              <a:ext cx="372267" cy="2539"/>
            </a:xfrm>
            <a:custGeom>
              <a:avLst/>
              <a:gdLst>
                <a:gd name="connsiteX0" fmla="*/ 1143 w 372267"/>
                <a:gd name="connsiteY0" fmla="*/ 1270 h 2539"/>
                <a:gd name="connsiteX1" fmla="*/ 1143 w 372267"/>
                <a:gd name="connsiteY1" fmla="*/ 2540 h 2539"/>
                <a:gd name="connsiteX2" fmla="*/ 372267 w 372267"/>
                <a:gd name="connsiteY2" fmla="*/ 2540 h 2539"/>
                <a:gd name="connsiteX3" fmla="*/ 372267 w 372267"/>
                <a:gd name="connsiteY3" fmla="*/ 1270 h 2539"/>
                <a:gd name="connsiteX4" fmla="*/ 372267 w 372267"/>
                <a:gd name="connsiteY4" fmla="*/ 0 h 2539"/>
                <a:gd name="connsiteX5" fmla="*/ 0 w 372267"/>
                <a:gd name="connsiteY5" fmla="*/ 0 h 2539"/>
                <a:gd name="connsiteX6" fmla="*/ 1143 w 372267"/>
                <a:gd name="connsiteY6" fmla="*/ 127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267" h="2539">
                  <a:moveTo>
                    <a:pt x="1143" y="1270"/>
                  </a:moveTo>
                  <a:lnTo>
                    <a:pt x="1143" y="2540"/>
                  </a:lnTo>
                  <a:lnTo>
                    <a:pt x="372267" y="2540"/>
                  </a:lnTo>
                  <a:lnTo>
                    <a:pt x="372267" y="1270"/>
                  </a:lnTo>
                  <a:cubicBezTo>
                    <a:pt x="372267" y="1270"/>
                    <a:pt x="372267" y="508"/>
                    <a:pt x="372267" y="0"/>
                  </a:cubicBezTo>
                  <a:lnTo>
                    <a:pt x="0" y="0"/>
                  </a:lnTo>
                  <a:cubicBezTo>
                    <a:pt x="648" y="64"/>
                    <a:pt x="1143" y="609"/>
                    <a:pt x="1143" y="1270"/>
                  </a:cubicBezTo>
                  <a:close/>
                </a:path>
              </a:pathLst>
            </a:custGeom>
            <a:solidFill>
              <a:srgbClr val="000000"/>
            </a:solidFill>
            <a:ln w="12690" cap="flat">
              <a:noFill/>
              <a:prstDash val="solid"/>
              <a:miter/>
            </a:ln>
          </p:spPr>
          <p:txBody>
            <a:bodyPr rtlCol="0" anchor="ctr"/>
            <a:lstStyle/>
            <a:p>
              <a:endParaRPr lang="en-US"/>
            </a:p>
          </p:txBody>
        </p:sp>
        <p:sp>
          <p:nvSpPr>
            <p:cNvPr id="837" name="Freeform: Shape 836">
              <a:extLst>
                <a:ext uri="{FF2B5EF4-FFF2-40B4-BE49-F238E27FC236}">
                  <a16:creationId xmlns:a16="http://schemas.microsoft.com/office/drawing/2014/main" id="{E5E76F0B-C83B-41C8-A97D-6EFE2156FD9F}"/>
                </a:ext>
              </a:extLst>
            </p:cNvPr>
            <p:cNvSpPr/>
            <p:nvPr/>
          </p:nvSpPr>
          <p:spPr>
            <a:xfrm>
              <a:off x="12141339" y="6507481"/>
              <a:ext cx="2539" cy="357032"/>
            </a:xfrm>
            <a:custGeom>
              <a:avLst/>
              <a:gdLst>
                <a:gd name="connsiteX0" fmla="*/ 1269 w 2539"/>
                <a:gd name="connsiteY0" fmla="*/ 0 h 357032"/>
                <a:gd name="connsiteX1" fmla="*/ 0 w 2539"/>
                <a:gd name="connsiteY1" fmla="*/ 0 h 357032"/>
                <a:gd name="connsiteX2" fmla="*/ 0 w 2539"/>
                <a:gd name="connsiteY2" fmla="*/ 357033 h 357032"/>
                <a:gd name="connsiteX3" fmla="*/ 2539 w 2539"/>
                <a:gd name="connsiteY3" fmla="*/ 357033 h 357032"/>
                <a:gd name="connsiteX4" fmla="*/ 2539 w 2539"/>
                <a:gd name="connsiteY4" fmla="*/ 0 h 357032"/>
                <a:gd name="connsiteX5" fmla="*/ 1269 w 2539"/>
                <a:gd name="connsiteY5" fmla="*/ 0 h 35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357032">
                  <a:moveTo>
                    <a:pt x="1269" y="0"/>
                  </a:moveTo>
                  <a:lnTo>
                    <a:pt x="0" y="0"/>
                  </a:lnTo>
                  <a:lnTo>
                    <a:pt x="0" y="357033"/>
                  </a:lnTo>
                  <a:lnTo>
                    <a:pt x="2539" y="357033"/>
                  </a:lnTo>
                  <a:lnTo>
                    <a:pt x="2539" y="0"/>
                  </a:lnTo>
                  <a:lnTo>
                    <a:pt x="1269" y="0"/>
                  </a:lnTo>
                  <a:close/>
                </a:path>
              </a:pathLst>
            </a:custGeom>
            <a:solidFill>
              <a:srgbClr val="000000"/>
            </a:solidFill>
            <a:ln w="12690" cap="flat">
              <a:noFill/>
              <a:prstDash val="solid"/>
              <a:miter/>
            </a:ln>
          </p:spPr>
          <p:txBody>
            <a:bodyPr rtlCol="0" anchor="ctr"/>
            <a:lstStyle/>
            <a:p>
              <a:endParaRPr lang="en-US"/>
            </a:p>
          </p:txBody>
        </p:sp>
        <p:sp>
          <p:nvSpPr>
            <p:cNvPr id="838" name="Freeform: Shape 837">
              <a:extLst>
                <a:ext uri="{FF2B5EF4-FFF2-40B4-BE49-F238E27FC236}">
                  <a16:creationId xmlns:a16="http://schemas.microsoft.com/office/drawing/2014/main" id="{388B8950-80B4-47F8-A375-8225165D6026}"/>
                </a:ext>
              </a:extLst>
            </p:cNvPr>
            <p:cNvSpPr/>
            <p:nvPr/>
          </p:nvSpPr>
          <p:spPr>
            <a:xfrm>
              <a:off x="11801830" y="6422920"/>
              <a:ext cx="2412" cy="75926"/>
            </a:xfrm>
            <a:custGeom>
              <a:avLst/>
              <a:gdLst>
                <a:gd name="connsiteX0" fmla="*/ 2412 w 2412"/>
                <a:gd name="connsiteY0" fmla="*/ 75038 h 75926"/>
                <a:gd name="connsiteX1" fmla="*/ 2412 w 2412"/>
                <a:gd name="connsiteY1" fmla="*/ 1270 h 75926"/>
                <a:gd name="connsiteX2" fmla="*/ 1269 w 2412"/>
                <a:gd name="connsiteY2" fmla="*/ 0 h 75926"/>
                <a:gd name="connsiteX3" fmla="*/ 0 w 2412"/>
                <a:gd name="connsiteY3" fmla="*/ 1270 h 75926"/>
                <a:gd name="connsiteX4" fmla="*/ 0 w 2412"/>
                <a:gd name="connsiteY4" fmla="*/ 75927 h 75926"/>
                <a:gd name="connsiteX5" fmla="*/ 1269 w 2412"/>
                <a:gd name="connsiteY5" fmla="*/ 75927 h 7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75926">
                  <a:moveTo>
                    <a:pt x="2412" y="75038"/>
                  </a:moveTo>
                  <a:lnTo>
                    <a:pt x="2412" y="1270"/>
                  </a:lnTo>
                  <a:cubicBezTo>
                    <a:pt x="2412" y="609"/>
                    <a:pt x="1917" y="64"/>
                    <a:pt x="1269" y="0"/>
                  </a:cubicBezTo>
                  <a:cubicBezTo>
                    <a:pt x="571" y="0"/>
                    <a:pt x="0" y="572"/>
                    <a:pt x="0" y="1270"/>
                  </a:cubicBezTo>
                  <a:lnTo>
                    <a:pt x="0" y="75927"/>
                  </a:lnTo>
                  <a:lnTo>
                    <a:pt x="1269" y="75927"/>
                  </a:lnTo>
                  <a:close/>
                </a:path>
              </a:pathLst>
            </a:custGeom>
            <a:solidFill>
              <a:srgbClr val="000000"/>
            </a:solidFill>
            <a:ln w="12690" cap="flat">
              <a:noFill/>
              <a:prstDash val="solid"/>
              <a:miter/>
            </a:ln>
          </p:spPr>
          <p:txBody>
            <a:bodyPr rtlCol="0" anchor="ctr"/>
            <a:lstStyle/>
            <a:p>
              <a:endParaRPr lang="en-US"/>
            </a:p>
          </p:txBody>
        </p:sp>
        <p:sp>
          <p:nvSpPr>
            <p:cNvPr id="839" name="Freeform: Shape 838">
              <a:extLst>
                <a:ext uri="{FF2B5EF4-FFF2-40B4-BE49-F238E27FC236}">
                  <a16:creationId xmlns:a16="http://schemas.microsoft.com/office/drawing/2014/main" id="{F9A35AF2-DCBF-490A-8677-944EE2BB354A}"/>
                </a:ext>
              </a:extLst>
            </p:cNvPr>
            <p:cNvSpPr/>
            <p:nvPr/>
          </p:nvSpPr>
          <p:spPr>
            <a:xfrm>
              <a:off x="10436681" y="5618359"/>
              <a:ext cx="39106" cy="13680"/>
            </a:xfrm>
            <a:custGeom>
              <a:avLst/>
              <a:gdLst>
                <a:gd name="connsiteX0" fmla="*/ 7364 w 39106"/>
                <a:gd name="connsiteY0" fmla="*/ 6825 h 13680"/>
                <a:gd name="connsiteX1" fmla="*/ 7364 w 39106"/>
                <a:gd name="connsiteY1" fmla="*/ 13681 h 13680"/>
                <a:gd name="connsiteX2" fmla="*/ 32758 w 39106"/>
                <a:gd name="connsiteY2" fmla="*/ 13681 h 13680"/>
                <a:gd name="connsiteX3" fmla="*/ 31615 w 39106"/>
                <a:gd name="connsiteY3" fmla="*/ 8221 h 13680"/>
                <a:gd name="connsiteX4" fmla="*/ 37074 w 39106"/>
                <a:gd name="connsiteY4" fmla="*/ 95 h 13680"/>
                <a:gd name="connsiteX5" fmla="*/ 39106 w 39106"/>
                <a:gd name="connsiteY5" fmla="*/ 95 h 13680"/>
                <a:gd name="connsiteX6" fmla="*/ 0 w 39106"/>
                <a:gd name="connsiteY6" fmla="*/ 95 h 13680"/>
                <a:gd name="connsiteX7" fmla="*/ 7351 w 39106"/>
                <a:gd name="connsiteY7" fmla="*/ 6682 h 13680"/>
                <a:gd name="connsiteX8" fmla="*/ 7364 w 39106"/>
                <a:gd name="connsiteY8" fmla="*/ 6825 h 1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06" h="13680">
                  <a:moveTo>
                    <a:pt x="7364" y="6825"/>
                  </a:moveTo>
                  <a:lnTo>
                    <a:pt x="7364" y="13681"/>
                  </a:lnTo>
                  <a:lnTo>
                    <a:pt x="32758" y="13681"/>
                  </a:lnTo>
                  <a:lnTo>
                    <a:pt x="31615" y="8221"/>
                  </a:lnTo>
                  <a:cubicBezTo>
                    <a:pt x="30916" y="4477"/>
                    <a:pt x="33341" y="861"/>
                    <a:pt x="37074" y="95"/>
                  </a:cubicBezTo>
                  <a:cubicBezTo>
                    <a:pt x="37748" y="-32"/>
                    <a:pt x="38433" y="-32"/>
                    <a:pt x="39106" y="95"/>
                  </a:cubicBezTo>
                  <a:lnTo>
                    <a:pt x="0" y="95"/>
                  </a:lnTo>
                  <a:cubicBezTo>
                    <a:pt x="3847" y="-118"/>
                    <a:pt x="7148" y="2831"/>
                    <a:pt x="7351" y="6682"/>
                  </a:cubicBezTo>
                  <a:cubicBezTo>
                    <a:pt x="7364" y="6731"/>
                    <a:pt x="7364" y="6778"/>
                    <a:pt x="7364" y="6825"/>
                  </a:cubicBezTo>
                  <a:close/>
                </a:path>
              </a:pathLst>
            </a:custGeom>
            <a:solidFill>
              <a:srgbClr val="000000"/>
            </a:solidFill>
            <a:ln w="12690" cap="flat">
              <a:noFill/>
              <a:prstDash val="solid"/>
              <a:miter/>
            </a:ln>
          </p:spPr>
          <p:txBody>
            <a:bodyPr rtlCol="0" anchor="ctr"/>
            <a:lstStyle/>
            <a:p>
              <a:endParaRPr lang="en-US"/>
            </a:p>
          </p:txBody>
        </p:sp>
        <p:sp>
          <p:nvSpPr>
            <p:cNvPr id="840" name="Freeform: Shape 839">
              <a:extLst>
                <a:ext uri="{FF2B5EF4-FFF2-40B4-BE49-F238E27FC236}">
                  <a16:creationId xmlns:a16="http://schemas.microsoft.com/office/drawing/2014/main" id="{F14B028C-1B6A-4D3D-BCEC-DF95303A1C10}"/>
                </a:ext>
              </a:extLst>
            </p:cNvPr>
            <p:cNvSpPr/>
            <p:nvPr/>
          </p:nvSpPr>
          <p:spPr>
            <a:xfrm>
              <a:off x="9946208" y="4817543"/>
              <a:ext cx="13839" cy="173564"/>
            </a:xfrm>
            <a:custGeom>
              <a:avLst/>
              <a:gdLst>
                <a:gd name="connsiteX0" fmla="*/ 13840 w 13839"/>
                <a:gd name="connsiteY0" fmla="*/ 173565 h 173564"/>
                <a:gd name="connsiteX1" fmla="*/ 13840 w 13839"/>
                <a:gd name="connsiteY1" fmla="*/ 6856 h 173564"/>
                <a:gd name="connsiteX2" fmla="*/ 6856 w 13839"/>
                <a:gd name="connsiteY2" fmla="*/ 6856 h 173564"/>
                <a:gd name="connsiteX3" fmla="*/ 0 w 13839"/>
                <a:gd name="connsiteY3" fmla="*/ 0 h 173564"/>
                <a:gd name="connsiteX4" fmla="*/ 0 w 13839"/>
                <a:gd name="connsiteY4" fmla="*/ 173565 h 173564"/>
                <a:gd name="connsiteX5" fmla="*/ 13840 w 13839"/>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73564">
                  <a:moveTo>
                    <a:pt x="13840" y="173565"/>
                  </a:moveTo>
                  <a:lnTo>
                    <a:pt x="13840" y="6856"/>
                  </a:lnTo>
                  <a:lnTo>
                    <a:pt x="6856" y="6856"/>
                  </a:lnTo>
                  <a:cubicBezTo>
                    <a:pt x="3073" y="6856"/>
                    <a:pt x="0" y="3787"/>
                    <a:pt x="0" y="0"/>
                  </a:cubicBezTo>
                  <a:lnTo>
                    <a:pt x="0" y="173565"/>
                  </a:lnTo>
                  <a:lnTo>
                    <a:pt x="13840" y="173565"/>
                  </a:lnTo>
                  <a:close/>
                </a:path>
              </a:pathLst>
            </a:custGeom>
            <a:solidFill>
              <a:srgbClr val="000000"/>
            </a:solidFill>
            <a:ln w="12690" cap="flat">
              <a:noFill/>
              <a:prstDash val="solid"/>
              <a:miter/>
            </a:ln>
          </p:spPr>
          <p:txBody>
            <a:bodyPr rtlCol="0" anchor="ctr"/>
            <a:lstStyle/>
            <a:p>
              <a:endParaRPr lang="en-US"/>
            </a:p>
          </p:txBody>
        </p:sp>
        <p:sp>
          <p:nvSpPr>
            <p:cNvPr id="841" name="Freeform: Shape 840">
              <a:extLst>
                <a:ext uri="{FF2B5EF4-FFF2-40B4-BE49-F238E27FC236}">
                  <a16:creationId xmlns:a16="http://schemas.microsoft.com/office/drawing/2014/main" id="{34378F64-B243-427F-8C3B-A908B34C61BC}"/>
                </a:ext>
              </a:extLst>
            </p:cNvPr>
            <p:cNvSpPr/>
            <p:nvPr/>
          </p:nvSpPr>
          <p:spPr>
            <a:xfrm>
              <a:off x="8730245" y="6443489"/>
              <a:ext cx="137886" cy="2412"/>
            </a:xfrm>
            <a:custGeom>
              <a:avLst/>
              <a:gdLst>
                <a:gd name="connsiteX0" fmla="*/ 137632 w 137886"/>
                <a:gd name="connsiteY0" fmla="*/ 1270 h 2412"/>
                <a:gd name="connsiteX1" fmla="*/ 137632 w 137886"/>
                <a:gd name="connsiteY1" fmla="*/ 0 h 2412"/>
                <a:gd name="connsiteX2" fmla="*/ 0 w 137886"/>
                <a:gd name="connsiteY2" fmla="*/ 0 h 2412"/>
                <a:gd name="connsiteX3" fmla="*/ 0 w 137886"/>
                <a:gd name="connsiteY3" fmla="*/ 1270 h 2412"/>
                <a:gd name="connsiteX4" fmla="*/ 0 w 137886"/>
                <a:gd name="connsiteY4" fmla="*/ 2412 h 2412"/>
                <a:gd name="connsiteX5" fmla="*/ 137887 w 137886"/>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886" h="2412">
                  <a:moveTo>
                    <a:pt x="137632" y="1270"/>
                  </a:moveTo>
                  <a:lnTo>
                    <a:pt x="137632" y="0"/>
                  </a:lnTo>
                  <a:lnTo>
                    <a:pt x="0" y="0"/>
                  </a:lnTo>
                  <a:lnTo>
                    <a:pt x="0" y="1270"/>
                  </a:lnTo>
                  <a:cubicBezTo>
                    <a:pt x="0" y="1270"/>
                    <a:pt x="0" y="2031"/>
                    <a:pt x="0" y="2412"/>
                  </a:cubicBezTo>
                  <a:lnTo>
                    <a:pt x="137887" y="2412"/>
                  </a:lnTo>
                  <a:close/>
                </a:path>
              </a:pathLst>
            </a:custGeom>
            <a:solidFill>
              <a:srgbClr val="000000"/>
            </a:solidFill>
            <a:ln w="12690" cap="flat">
              <a:noFill/>
              <a:prstDash val="solid"/>
              <a:miter/>
            </a:ln>
          </p:spPr>
          <p:txBody>
            <a:bodyPr rtlCol="0" anchor="ctr"/>
            <a:lstStyle/>
            <a:p>
              <a:endParaRPr lang="en-US"/>
            </a:p>
          </p:txBody>
        </p:sp>
        <p:sp>
          <p:nvSpPr>
            <p:cNvPr id="842" name="Freeform: Shape 841">
              <a:extLst>
                <a:ext uri="{FF2B5EF4-FFF2-40B4-BE49-F238E27FC236}">
                  <a16:creationId xmlns:a16="http://schemas.microsoft.com/office/drawing/2014/main" id="{E84CC656-A7C6-45BC-A6C3-4D4A256EB7A2}"/>
                </a:ext>
              </a:extLst>
            </p:cNvPr>
            <p:cNvSpPr/>
            <p:nvPr/>
          </p:nvSpPr>
          <p:spPr>
            <a:xfrm>
              <a:off x="9240145" y="6444378"/>
              <a:ext cx="17901" cy="2539"/>
            </a:xfrm>
            <a:custGeom>
              <a:avLst/>
              <a:gdLst>
                <a:gd name="connsiteX0" fmla="*/ 17902 w 17901"/>
                <a:gd name="connsiteY0" fmla="*/ 2412 h 2539"/>
                <a:gd name="connsiteX1" fmla="*/ 17902 w 17901"/>
                <a:gd name="connsiteY1" fmla="*/ 889 h 2539"/>
                <a:gd name="connsiteX2" fmla="*/ 17902 w 17901"/>
                <a:gd name="connsiteY2" fmla="*/ 0 h 2539"/>
                <a:gd name="connsiteX3" fmla="*/ 1269 w 17901"/>
                <a:gd name="connsiteY3" fmla="*/ 0 h 2539"/>
                <a:gd name="connsiteX4" fmla="*/ 1269 w 17901"/>
                <a:gd name="connsiteY4" fmla="*/ 1270 h 2539"/>
                <a:gd name="connsiteX5" fmla="*/ 0 w 17901"/>
                <a:gd name="connsiteY5" fmla="*/ 2539 h 2539"/>
                <a:gd name="connsiteX6" fmla="*/ 0 w 17901"/>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1" h="2539">
                  <a:moveTo>
                    <a:pt x="17902" y="2412"/>
                  </a:moveTo>
                  <a:cubicBezTo>
                    <a:pt x="17826" y="1905"/>
                    <a:pt x="17826" y="1397"/>
                    <a:pt x="17902" y="889"/>
                  </a:cubicBezTo>
                  <a:lnTo>
                    <a:pt x="17902" y="0"/>
                  </a:lnTo>
                  <a:lnTo>
                    <a:pt x="1269" y="0"/>
                  </a:lnTo>
                  <a:lnTo>
                    <a:pt x="1269" y="1270"/>
                  </a:lnTo>
                  <a:cubicBezTo>
                    <a:pt x="1206" y="1943"/>
                    <a:pt x="673" y="2476"/>
                    <a:pt x="0" y="2539"/>
                  </a:cubicBezTo>
                  <a:lnTo>
                    <a:pt x="0" y="2539"/>
                  </a:lnTo>
                  <a:close/>
                </a:path>
              </a:pathLst>
            </a:custGeom>
            <a:solidFill>
              <a:srgbClr val="000000"/>
            </a:solidFill>
            <a:ln w="12690" cap="flat">
              <a:noFill/>
              <a:prstDash val="solid"/>
              <a:miter/>
            </a:ln>
          </p:spPr>
          <p:txBody>
            <a:bodyPr rtlCol="0" anchor="ctr"/>
            <a:lstStyle/>
            <a:p>
              <a:endParaRPr lang="en-US"/>
            </a:p>
          </p:txBody>
        </p:sp>
        <p:sp>
          <p:nvSpPr>
            <p:cNvPr id="843" name="Freeform: Shape 842">
              <a:extLst>
                <a:ext uri="{FF2B5EF4-FFF2-40B4-BE49-F238E27FC236}">
                  <a16:creationId xmlns:a16="http://schemas.microsoft.com/office/drawing/2014/main" id="{A2BF07C0-1C49-411C-9E9C-5B1A7F5BB5AF}"/>
                </a:ext>
              </a:extLst>
            </p:cNvPr>
            <p:cNvSpPr/>
            <p:nvPr/>
          </p:nvSpPr>
          <p:spPr>
            <a:xfrm>
              <a:off x="8881463" y="6444886"/>
              <a:ext cx="358427" cy="2539"/>
            </a:xfrm>
            <a:custGeom>
              <a:avLst/>
              <a:gdLst>
                <a:gd name="connsiteX0" fmla="*/ 0 w 358427"/>
                <a:gd name="connsiteY0" fmla="*/ 2539 h 2539"/>
                <a:gd name="connsiteX1" fmla="*/ 358427 w 358427"/>
                <a:gd name="connsiteY1" fmla="*/ 2539 h 2539"/>
                <a:gd name="connsiteX2" fmla="*/ 357158 w 358427"/>
                <a:gd name="connsiteY2" fmla="*/ 1270 h 2539"/>
                <a:gd name="connsiteX3" fmla="*/ 357158 w 358427"/>
                <a:gd name="connsiteY3" fmla="*/ 0 h 2539"/>
                <a:gd name="connsiteX4" fmla="*/ 254 w 358427"/>
                <a:gd name="connsiteY4" fmla="*/ 0 h 2539"/>
                <a:gd name="connsiteX5" fmla="*/ 254 w 358427"/>
                <a:gd name="connsiteY5" fmla="*/ 1270 h 2539"/>
                <a:gd name="connsiteX6" fmla="*/ 0 w 358427"/>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427" h="2539">
                  <a:moveTo>
                    <a:pt x="0" y="2539"/>
                  </a:moveTo>
                  <a:lnTo>
                    <a:pt x="358427" y="2539"/>
                  </a:lnTo>
                  <a:cubicBezTo>
                    <a:pt x="357755" y="2476"/>
                    <a:pt x="357222" y="1943"/>
                    <a:pt x="357158" y="1270"/>
                  </a:cubicBezTo>
                  <a:lnTo>
                    <a:pt x="357158" y="0"/>
                  </a:lnTo>
                  <a:lnTo>
                    <a:pt x="254" y="0"/>
                  </a:lnTo>
                  <a:lnTo>
                    <a:pt x="254" y="1270"/>
                  </a:lnTo>
                  <a:cubicBezTo>
                    <a:pt x="254" y="1270"/>
                    <a:pt x="0" y="2158"/>
                    <a:pt x="0" y="2539"/>
                  </a:cubicBezTo>
                  <a:close/>
                </a:path>
              </a:pathLst>
            </a:custGeom>
            <a:solidFill>
              <a:srgbClr val="000000"/>
            </a:solidFill>
            <a:ln w="12690" cap="flat">
              <a:noFill/>
              <a:prstDash val="solid"/>
              <a:miter/>
            </a:ln>
          </p:spPr>
          <p:txBody>
            <a:bodyPr rtlCol="0" anchor="ctr"/>
            <a:lstStyle/>
            <a:p>
              <a:endParaRPr lang="en-US"/>
            </a:p>
          </p:txBody>
        </p:sp>
        <p:sp>
          <p:nvSpPr>
            <p:cNvPr id="844" name="Freeform: Shape 843">
              <a:extLst>
                <a:ext uri="{FF2B5EF4-FFF2-40B4-BE49-F238E27FC236}">
                  <a16:creationId xmlns:a16="http://schemas.microsoft.com/office/drawing/2014/main" id="{467562C6-D5C2-495D-A067-B0CB91E37C9A}"/>
                </a:ext>
              </a:extLst>
            </p:cNvPr>
            <p:cNvSpPr/>
            <p:nvPr/>
          </p:nvSpPr>
          <p:spPr>
            <a:xfrm>
              <a:off x="9239891" y="6446155"/>
              <a:ext cx="1270" cy="1269"/>
            </a:xfrm>
            <a:custGeom>
              <a:avLst/>
              <a:gdLst>
                <a:gd name="connsiteX0" fmla="*/ 1270 w 1270"/>
                <a:gd name="connsiteY0" fmla="*/ 0 h 1269"/>
                <a:gd name="connsiteX1" fmla="*/ 0 w 1270"/>
                <a:gd name="connsiteY1" fmla="*/ 1270 h 1269"/>
                <a:gd name="connsiteX2" fmla="*/ 1270 w 1270"/>
                <a:gd name="connsiteY2" fmla="*/ 0 h 1269"/>
              </a:gdLst>
              <a:ahLst/>
              <a:cxnLst>
                <a:cxn ang="0">
                  <a:pos x="connsiteX0" y="connsiteY0"/>
                </a:cxn>
                <a:cxn ang="0">
                  <a:pos x="connsiteX1" y="connsiteY1"/>
                </a:cxn>
                <a:cxn ang="0">
                  <a:pos x="connsiteX2" y="connsiteY2"/>
                </a:cxn>
              </a:cxnLst>
              <a:rect l="l" t="t" r="r" b="b"/>
              <a:pathLst>
                <a:path w="1270" h="1269">
                  <a:moveTo>
                    <a:pt x="1270" y="0"/>
                  </a:moveTo>
                  <a:cubicBezTo>
                    <a:pt x="1207" y="673"/>
                    <a:pt x="673" y="1206"/>
                    <a:pt x="0" y="1270"/>
                  </a:cubicBezTo>
                  <a:cubicBezTo>
                    <a:pt x="673" y="1206"/>
                    <a:pt x="1207" y="673"/>
                    <a:pt x="1270" y="0"/>
                  </a:cubicBezTo>
                  <a:close/>
                </a:path>
              </a:pathLst>
            </a:custGeom>
            <a:solidFill>
              <a:srgbClr val="000000"/>
            </a:solidFill>
            <a:ln w="12690" cap="flat">
              <a:noFill/>
              <a:prstDash val="solid"/>
              <a:miter/>
            </a:ln>
          </p:spPr>
          <p:txBody>
            <a:bodyPr rtlCol="0" anchor="ctr"/>
            <a:lstStyle/>
            <a:p>
              <a:endParaRPr lang="en-US"/>
            </a:p>
          </p:txBody>
        </p:sp>
        <p:sp>
          <p:nvSpPr>
            <p:cNvPr id="845" name="Freeform: Shape 844">
              <a:extLst>
                <a:ext uri="{FF2B5EF4-FFF2-40B4-BE49-F238E27FC236}">
                  <a16:creationId xmlns:a16="http://schemas.microsoft.com/office/drawing/2014/main" id="{0484AD0F-DAB8-4418-A923-4B4D66909F46}"/>
                </a:ext>
              </a:extLst>
            </p:cNvPr>
            <p:cNvSpPr/>
            <p:nvPr/>
          </p:nvSpPr>
          <p:spPr>
            <a:xfrm>
              <a:off x="9946208" y="4810633"/>
              <a:ext cx="260028" cy="13766"/>
            </a:xfrm>
            <a:custGeom>
              <a:avLst/>
              <a:gdLst>
                <a:gd name="connsiteX0" fmla="*/ 6856 w 260028"/>
                <a:gd name="connsiteY0" fmla="*/ 13767 h 13766"/>
                <a:gd name="connsiteX1" fmla="*/ 254188 w 260028"/>
                <a:gd name="connsiteY1" fmla="*/ 13767 h 13766"/>
                <a:gd name="connsiteX2" fmla="*/ 252918 w 260028"/>
                <a:gd name="connsiteY2" fmla="*/ 8688 h 13766"/>
                <a:gd name="connsiteX3" fmla="*/ 257096 w 260028"/>
                <a:gd name="connsiteY3" fmla="*/ 338 h 13766"/>
                <a:gd name="connsiteX4" fmla="*/ 260028 w 260028"/>
                <a:gd name="connsiteY4" fmla="*/ 54 h 13766"/>
                <a:gd name="connsiteX5" fmla="*/ 6856 w 260028"/>
                <a:gd name="connsiteY5" fmla="*/ 54 h 13766"/>
                <a:gd name="connsiteX6" fmla="*/ 0 w 260028"/>
                <a:gd name="connsiteY6" fmla="*/ 7038 h 13766"/>
                <a:gd name="connsiteX7" fmla="*/ 6856 w 260028"/>
                <a:gd name="connsiteY7"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028" h="13766">
                  <a:moveTo>
                    <a:pt x="6856" y="13767"/>
                  </a:moveTo>
                  <a:lnTo>
                    <a:pt x="254188" y="13767"/>
                  </a:lnTo>
                  <a:lnTo>
                    <a:pt x="252918" y="8688"/>
                  </a:lnTo>
                  <a:cubicBezTo>
                    <a:pt x="251762" y="5229"/>
                    <a:pt x="253642" y="1490"/>
                    <a:pt x="257096" y="338"/>
                  </a:cubicBezTo>
                  <a:cubicBezTo>
                    <a:pt x="258035" y="24"/>
                    <a:pt x="259038" y="-73"/>
                    <a:pt x="260028" y="54"/>
                  </a:cubicBezTo>
                  <a:lnTo>
                    <a:pt x="6856" y="54"/>
                  </a:lnTo>
                  <a:cubicBezTo>
                    <a:pt x="3047" y="124"/>
                    <a:pt x="0" y="3230"/>
                    <a:pt x="0" y="7038"/>
                  </a:cubicBezTo>
                  <a:cubicBezTo>
                    <a:pt x="64" y="10775"/>
                    <a:pt x="3124" y="13768"/>
                    <a:pt x="6856" y="13767"/>
                  </a:cubicBezTo>
                  <a:close/>
                </a:path>
              </a:pathLst>
            </a:custGeom>
            <a:solidFill>
              <a:srgbClr val="000000"/>
            </a:solidFill>
            <a:ln w="12690" cap="flat">
              <a:noFill/>
              <a:prstDash val="solid"/>
              <a:miter/>
            </a:ln>
          </p:spPr>
          <p:txBody>
            <a:bodyPr rtlCol="0" anchor="ctr"/>
            <a:lstStyle/>
            <a:p>
              <a:endParaRPr lang="en-US"/>
            </a:p>
          </p:txBody>
        </p:sp>
        <p:sp>
          <p:nvSpPr>
            <p:cNvPr id="846" name="Freeform: Shape 845">
              <a:extLst>
                <a:ext uri="{FF2B5EF4-FFF2-40B4-BE49-F238E27FC236}">
                  <a16:creationId xmlns:a16="http://schemas.microsoft.com/office/drawing/2014/main" id="{CCC858AC-9769-490F-9AD5-000440CE6119}"/>
                </a:ext>
              </a:extLst>
            </p:cNvPr>
            <p:cNvSpPr/>
            <p:nvPr/>
          </p:nvSpPr>
          <p:spPr>
            <a:xfrm>
              <a:off x="10199126" y="4811648"/>
              <a:ext cx="20442" cy="31670"/>
            </a:xfrm>
            <a:custGeom>
              <a:avLst/>
              <a:gdLst>
                <a:gd name="connsiteX0" fmla="*/ 0 w 20442"/>
                <a:gd name="connsiteY0" fmla="*/ 7800 h 31670"/>
                <a:gd name="connsiteX1" fmla="*/ 1270 w 20442"/>
                <a:gd name="connsiteY1" fmla="*/ 12879 h 31670"/>
                <a:gd name="connsiteX2" fmla="*/ 5459 w 20442"/>
                <a:gd name="connsiteY2" fmla="*/ 28115 h 31670"/>
                <a:gd name="connsiteX3" fmla="*/ 5459 w 20442"/>
                <a:gd name="connsiteY3" fmla="*/ 6023 h 31670"/>
                <a:gd name="connsiteX4" fmla="*/ 6463 w 20442"/>
                <a:gd name="connsiteY4" fmla="*/ 4760 h 31670"/>
                <a:gd name="connsiteX5" fmla="*/ 6603 w 20442"/>
                <a:gd name="connsiteY5" fmla="*/ 4753 h 31670"/>
                <a:gd name="connsiteX6" fmla="*/ 7872 w 20442"/>
                <a:gd name="connsiteY6" fmla="*/ 5753 h 31670"/>
                <a:gd name="connsiteX7" fmla="*/ 7872 w 20442"/>
                <a:gd name="connsiteY7" fmla="*/ 6023 h 31670"/>
                <a:gd name="connsiteX8" fmla="*/ 7872 w 20442"/>
                <a:gd name="connsiteY8" fmla="*/ 29131 h 31670"/>
                <a:gd name="connsiteX9" fmla="*/ 13713 w 20442"/>
                <a:gd name="connsiteY9" fmla="*/ 25703 h 31670"/>
                <a:gd name="connsiteX10" fmla="*/ 20442 w 20442"/>
                <a:gd name="connsiteY10" fmla="*/ 31670 h 31670"/>
                <a:gd name="connsiteX11" fmla="*/ 20442 w 20442"/>
                <a:gd name="connsiteY11" fmla="*/ 30781 h 31670"/>
                <a:gd name="connsiteX12" fmla="*/ 13332 w 20442"/>
                <a:gd name="connsiteY12" fmla="*/ 4245 h 31670"/>
                <a:gd name="connsiteX13" fmla="*/ 13332 w 20442"/>
                <a:gd name="connsiteY13" fmla="*/ 4245 h 31670"/>
                <a:gd name="connsiteX14" fmla="*/ 12697 w 20442"/>
                <a:gd name="connsiteY14" fmla="*/ 2975 h 31670"/>
                <a:gd name="connsiteX15" fmla="*/ 12697 w 20442"/>
                <a:gd name="connsiteY15" fmla="*/ 1960 h 31670"/>
                <a:gd name="connsiteX16" fmla="*/ 10793 w 20442"/>
                <a:gd name="connsiteY16" fmla="*/ 55 h 31670"/>
                <a:gd name="connsiteX17" fmla="*/ 9650 w 20442"/>
                <a:gd name="connsiteY17" fmla="*/ 55 h 31670"/>
                <a:gd name="connsiteX18" fmla="*/ 9015 w 20442"/>
                <a:gd name="connsiteY18" fmla="*/ 55 h 31670"/>
                <a:gd name="connsiteX19" fmla="*/ 7618 w 20442"/>
                <a:gd name="connsiteY19" fmla="*/ 55 h 31670"/>
                <a:gd name="connsiteX20" fmla="*/ 229 w 20442"/>
                <a:gd name="connsiteY20" fmla="*/ 5757 h 31670"/>
                <a:gd name="connsiteX21" fmla="*/ 508 w 20442"/>
                <a:gd name="connsiteY21" fmla="*/ 8689 h 3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42" h="31670">
                  <a:moveTo>
                    <a:pt x="0" y="7800"/>
                  </a:moveTo>
                  <a:lnTo>
                    <a:pt x="1270" y="12879"/>
                  </a:lnTo>
                  <a:lnTo>
                    <a:pt x="5459" y="28115"/>
                  </a:lnTo>
                  <a:lnTo>
                    <a:pt x="5459" y="6023"/>
                  </a:lnTo>
                  <a:cubicBezTo>
                    <a:pt x="5384" y="5395"/>
                    <a:pt x="5841" y="4830"/>
                    <a:pt x="6463" y="4760"/>
                  </a:cubicBezTo>
                  <a:cubicBezTo>
                    <a:pt x="6513" y="4755"/>
                    <a:pt x="6552" y="4753"/>
                    <a:pt x="6603" y="4753"/>
                  </a:cubicBezTo>
                  <a:cubicBezTo>
                    <a:pt x="7225" y="4678"/>
                    <a:pt x="7796" y="5126"/>
                    <a:pt x="7872" y="5753"/>
                  </a:cubicBezTo>
                  <a:cubicBezTo>
                    <a:pt x="7885" y="5842"/>
                    <a:pt x="7885" y="5933"/>
                    <a:pt x="7872" y="6023"/>
                  </a:cubicBezTo>
                  <a:lnTo>
                    <a:pt x="7872" y="29131"/>
                  </a:lnTo>
                  <a:cubicBezTo>
                    <a:pt x="9066" y="27020"/>
                    <a:pt x="11288" y="25711"/>
                    <a:pt x="13713" y="25703"/>
                  </a:cubicBezTo>
                  <a:cubicBezTo>
                    <a:pt x="17153" y="25681"/>
                    <a:pt x="20049" y="28254"/>
                    <a:pt x="20442" y="31670"/>
                  </a:cubicBezTo>
                  <a:lnTo>
                    <a:pt x="20442" y="30781"/>
                  </a:lnTo>
                  <a:lnTo>
                    <a:pt x="13332" y="4245"/>
                  </a:lnTo>
                  <a:lnTo>
                    <a:pt x="13332" y="4245"/>
                  </a:lnTo>
                  <a:lnTo>
                    <a:pt x="12697" y="2975"/>
                  </a:lnTo>
                  <a:cubicBezTo>
                    <a:pt x="12722" y="2637"/>
                    <a:pt x="12722" y="2298"/>
                    <a:pt x="12697" y="1960"/>
                  </a:cubicBezTo>
                  <a:lnTo>
                    <a:pt x="10793" y="55"/>
                  </a:lnTo>
                  <a:lnTo>
                    <a:pt x="9650" y="55"/>
                  </a:lnTo>
                  <a:lnTo>
                    <a:pt x="9015" y="55"/>
                  </a:lnTo>
                  <a:lnTo>
                    <a:pt x="7618" y="55"/>
                  </a:lnTo>
                  <a:cubicBezTo>
                    <a:pt x="3999" y="-412"/>
                    <a:pt x="686" y="2141"/>
                    <a:pt x="229" y="5757"/>
                  </a:cubicBezTo>
                  <a:cubicBezTo>
                    <a:pt x="102" y="6743"/>
                    <a:pt x="191" y="7745"/>
                    <a:pt x="508" y="8689"/>
                  </a:cubicBezTo>
                  <a:close/>
                </a:path>
              </a:pathLst>
            </a:custGeom>
            <a:solidFill>
              <a:srgbClr val="000000"/>
            </a:solidFill>
            <a:ln w="12690" cap="flat">
              <a:noFill/>
              <a:prstDash val="solid"/>
              <a:miter/>
            </a:ln>
          </p:spPr>
          <p:txBody>
            <a:bodyPr rtlCol="0" anchor="ctr"/>
            <a:lstStyle/>
            <a:p>
              <a:endParaRPr lang="en-US"/>
            </a:p>
          </p:txBody>
        </p:sp>
        <p:sp>
          <p:nvSpPr>
            <p:cNvPr id="847" name="Freeform: Shape 846">
              <a:extLst>
                <a:ext uri="{FF2B5EF4-FFF2-40B4-BE49-F238E27FC236}">
                  <a16:creationId xmlns:a16="http://schemas.microsoft.com/office/drawing/2014/main" id="{D5A48120-3F16-4681-BA36-9042B35F49F0}"/>
                </a:ext>
              </a:extLst>
            </p:cNvPr>
            <p:cNvSpPr/>
            <p:nvPr/>
          </p:nvSpPr>
          <p:spPr>
            <a:xfrm>
              <a:off x="10204318" y="4816393"/>
              <a:ext cx="2434" cy="961279"/>
            </a:xfrm>
            <a:custGeom>
              <a:avLst/>
              <a:gdLst>
                <a:gd name="connsiteX0" fmla="*/ 1410 w 2434"/>
                <a:gd name="connsiteY0" fmla="*/ 961279 h 961279"/>
                <a:gd name="connsiteX1" fmla="*/ 1410 w 2434"/>
                <a:gd name="connsiteY1" fmla="*/ 961279 h 961279"/>
                <a:gd name="connsiteX2" fmla="*/ 1410 w 2434"/>
                <a:gd name="connsiteY2" fmla="*/ 27814 h 961279"/>
                <a:gd name="connsiteX3" fmla="*/ 2426 w 2434"/>
                <a:gd name="connsiteY3" fmla="*/ 24386 h 961279"/>
                <a:gd name="connsiteX4" fmla="*/ 2426 w 2434"/>
                <a:gd name="connsiteY4" fmla="*/ 1278 h 961279"/>
                <a:gd name="connsiteX5" fmla="*/ 1422 w 2434"/>
                <a:gd name="connsiteY5" fmla="*/ 8 h 961279"/>
                <a:gd name="connsiteX6" fmla="*/ 1155 w 2434"/>
                <a:gd name="connsiteY6" fmla="*/ 8 h 961279"/>
                <a:gd name="connsiteX7" fmla="*/ 0 w 2434"/>
                <a:gd name="connsiteY7" fmla="*/ 1144 h 961279"/>
                <a:gd name="connsiteX8" fmla="*/ 13 w 2434"/>
                <a:gd name="connsiteY8" fmla="*/ 1278 h 961279"/>
                <a:gd name="connsiteX9" fmla="*/ 13 w 2434"/>
                <a:gd name="connsiteY9" fmla="*/ 961279 h 96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 h="961279">
                  <a:moveTo>
                    <a:pt x="1410" y="961279"/>
                  </a:moveTo>
                  <a:lnTo>
                    <a:pt x="1410" y="961279"/>
                  </a:lnTo>
                  <a:lnTo>
                    <a:pt x="1410" y="27814"/>
                  </a:lnTo>
                  <a:cubicBezTo>
                    <a:pt x="1435" y="26600"/>
                    <a:pt x="1778" y="25416"/>
                    <a:pt x="2426" y="24386"/>
                  </a:cubicBezTo>
                  <a:lnTo>
                    <a:pt x="2426" y="1278"/>
                  </a:lnTo>
                  <a:cubicBezTo>
                    <a:pt x="2502" y="651"/>
                    <a:pt x="2057" y="83"/>
                    <a:pt x="1422" y="8"/>
                  </a:cubicBezTo>
                  <a:cubicBezTo>
                    <a:pt x="1334" y="-3"/>
                    <a:pt x="1245" y="-3"/>
                    <a:pt x="1155" y="8"/>
                  </a:cubicBezTo>
                  <a:cubicBezTo>
                    <a:pt x="521" y="4"/>
                    <a:pt x="13" y="513"/>
                    <a:pt x="0" y="1144"/>
                  </a:cubicBezTo>
                  <a:cubicBezTo>
                    <a:pt x="0" y="1188"/>
                    <a:pt x="13" y="1233"/>
                    <a:pt x="13" y="1278"/>
                  </a:cubicBezTo>
                  <a:lnTo>
                    <a:pt x="13" y="961279"/>
                  </a:lnTo>
                  <a:close/>
                </a:path>
              </a:pathLst>
            </a:custGeom>
            <a:solidFill>
              <a:srgbClr val="000000"/>
            </a:solidFill>
            <a:ln w="12690" cap="flat">
              <a:noFill/>
              <a:prstDash val="solid"/>
              <a:miter/>
            </a:ln>
          </p:spPr>
          <p:txBody>
            <a:bodyPr rtlCol="0" anchor="ctr"/>
            <a:lstStyle/>
            <a:p>
              <a:endParaRPr lang="en-US"/>
            </a:p>
          </p:txBody>
        </p:sp>
        <p:sp>
          <p:nvSpPr>
            <p:cNvPr id="848" name="Freeform: Shape 847">
              <a:extLst>
                <a:ext uri="{FF2B5EF4-FFF2-40B4-BE49-F238E27FC236}">
                  <a16:creationId xmlns:a16="http://schemas.microsoft.com/office/drawing/2014/main" id="{2CAC3B2F-33FC-4528-9C02-CF8DB9D567E7}"/>
                </a:ext>
              </a:extLst>
            </p:cNvPr>
            <p:cNvSpPr/>
            <p:nvPr/>
          </p:nvSpPr>
          <p:spPr>
            <a:xfrm>
              <a:off x="10205982" y="4837091"/>
              <a:ext cx="13838" cy="940580"/>
            </a:xfrm>
            <a:custGeom>
              <a:avLst/>
              <a:gdLst>
                <a:gd name="connsiteX0" fmla="*/ 6856 w 13838"/>
                <a:gd name="connsiteY0" fmla="*/ 6 h 940580"/>
                <a:gd name="connsiteX1" fmla="*/ 0 w 13838"/>
                <a:gd name="connsiteY1" fmla="*/ 6862 h 940580"/>
                <a:gd name="connsiteX2" fmla="*/ 0 w 13838"/>
                <a:gd name="connsiteY2" fmla="*/ 940581 h 940580"/>
                <a:gd name="connsiteX3" fmla="*/ 13839 w 13838"/>
                <a:gd name="connsiteY3" fmla="*/ 940581 h 940580"/>
                <a:gd name="connsiteX4" fmla="*/ 13839 w 13838"/>
                <a:gd name="connsiteY4" fmla="*/ 7116 h 940580"/>
                <a:gd name="connsiteX5" fmla="*/ 13839 w 13838"/>
                <a:gd name="connsiteY5" fmla="*/ 6227 h 940580"/>
                <a:gd name="connsiteX6" fmla="*/ 6856 w 13838"/>
                <a:gd name="connsiteY6" fmla="*/ 6 h 94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940580">
                  <a:moveTo>
                    <a:pt x="6856" y="6"/>
                  </a:moveTo>
                  <a:cubicBezTo>
                    <a:pt x="3123" y="137"/>
                    <a:pt x="127" y="3131"/>
                    <a:pt x="0" y="6862"/>
                  </a:cubicBezTo>
                  <a:lnTo>
                    <a:pt x="0" y="940581"/>
                  </a:lnTo>
                  <a:lnTo>
                    <a:pt x="13839" y="940581"/>
                  </a:lnTo>
                  <a:lnTo>
                    <a:pt x="13839" y="7116"/>
                  </a:lnTo>
                  <a:cubicBezTo>
                    <a:pt x="13839" y="7116"/>
                    <a:pt x="13839" y="7116"/>
                    <a:pt x="13839" y="6227"/>
                  </a:cubicBezTo>
                  <a:cubicBezTo>
                    <a:pt x="13572" y="2610"/>
                    <a:pt x="10475" y="-141"/>
                    <a:pt x="6856" y="6"/>
                  </a:cubicBezTo>
                  <a:close/>
                </a:path>
              </a:pathLst>
            </a:custGeom>
            <a:solidFill>
              <a:srgbClr val="000000"/>
            </a:solidFill>
            <a:ln w="12690" cap="flat">
              <a:noFill/>
              <a:prstDash val="solid"/>
              <a:miter/>
            </a:ln>
          </p:spPr>
          <p:txBody>
            <a:bodyPr rtlCol="0" anchor="ctr"/>
            <a:lstStyle/>
            <a:p>
              <a:endParaRPr lang="en-US"/>
            </a:p>
          </p:txBody>
        </p:sp>
        <p:sp>
          <p:nvSpPr>
            <p:cNvPr id="849" name="Freeform: Shape 848">
              <a:extLst>
                <a:ext uri="{FF2B5EF4-FFF2-40B4-BE49-F238E27FC236}">
                  <a16:creationId xmlns:a16="http://schemas.microsoft.com/office/drawing/2014/main" id="{C3CD7075-844F-4B9F-8FB3-69D625BB68FA}"/>
                </a:ext>
              </a:extLst>
            </p:cNvPr>
            <p:cNvSpPr/>
            <p:nvPr/>
          </p:nvSpPr>
          <p:spPr>
            <a:xfrm>
              <a:off x="8874988" y="5438504"/>
              <a:ext cx="365029" cy="13749"/>
            </a:xfrm>
            <a:custGeom>
              <a:avLst/>
              <a:gdLst>
                <a:gd name="connsiteX0" fmla="*/ 6730 w 365029"/>
                <a:gd name="connsiteY0" fmla="*/ 6766 h 13749"/>
                <a:gd name="connsiteX1" fmla="*/ 6730 w 365029"/>
                <a:gd name="connsiteY1" fmla="*/ 13749 h 13749"/>
                <a:gd name="connsiteX2" fmla="*/ 362237 w 365029"/>
                <a:gd name="connsiteY2" fmla="*/ 13749 h 13749"/>
                <a:gd name="connsiteX3" fmla="*/ 360459 w 365029"/>
                <a:gd name="connsiteY3" fmla="*/ 12480 h 13749"/>
                <a:gd name="connsiteX4" fmla="*/ 358682 w 365029"/>
                <a:gd name="connsiteY4" fmla="*/ 2957 h 13749"/>
                <a:gd name="connsiteX5" fmla="*/ 365030 w 365029"/>
                <a:gd name="connsiteY5" fmla="*/ 37 h 13749"/>
                <a:gd name="connsiteX6" fmla="*/ 0 w 365029"/>
                <a:gd name="connsiteY6" fmla="*/ 37 h 13749"/>
                <a:gd name="connsiteX7" fmla="*/ 6730 w 365029"/>
                <a:gd name="connsiteY7" fmla="*/ 6766 h 1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029" h="13749">
                  <a:moveTo>
                    <a:pt x="6730" y="6766"/>
                  </a:moveTo>
                  <a:lnTo>
                    <a:pt x="6730" y="13749"/>
                  </a:lnTo>
                  <a:lnTo>
                    <a:pt x="362237" y="13749"/>
                  </a:lnTo>
                  <a:lnTo>
                    <a:pt x="360459" y="12480"/>
                  </a:lnTo>
                  <a:cubicBezTo>
                    <a:pt x="357349" y="10339"/>
                    <a:pt x="356548" y="6078"/>
                    <a:pt x="358682" y="2957"/>
                  </a:cubicBezTo>
                  <a:cubicBezTo>
                    <a:pt x="360104" y="898"/>
                    <a:pt x="362542" y="-222"/>
                    <a:pt x="365030" y="37"/>
                  </a:cubicBezTo>
                  <a:lnTo>
                    <a:pt x="0" y="37"/>
                  </a:lnTo>
                  <a:cubicBezTo>
                    <a:pt x="3657" y="168"/>
                    <a:pt x="6603" y="3106"/>
                    <a:pt x="6730" y="6766"/>
                  </a:cubicBezTo>
                  <a:close/>
                </a:path>
              </a:pathLst>
            </a:custGeom>
            <a:solidFill>
              <a:srgbClr val="000000"/>
            </a:solidFill>
            <a:ln w="12690" cap="flat">
              <a:noFill/>
              <a:prstDash val="solid"/>
              <a:miter/>
            </a:ln>
          </p:spPr>
          <p:txBody>
            <a:bodyPr rtlCol="0" anchor="ctr"/>
            <a:lstStyle/>
            <a:p>
              <a:endParaRPr lang="en-US"/>
            </a:p>
          </p:txBody>
        </p:sp>
        <p:sp>
          <p:nvSpPr>
            <p:cNvPr id="850" name="Freeform: Shape 849">
              <a:extLst>
                <a:ext uri="{FF2B5EF4-FFF2-40B4-BE49-F238E27FC236}">
                  <a16:creationId xmlns:a16="http://schemas.microsoft.com/office/drawing/2014/main" id="{8BC2BDB1-4340-4243-BC72-6914AF043E74}"/>
                </a:ext>
              </a:extLst>
            </p:cNvPr>
            <p:cNvSpPr/>
            <p:nvPr/>
          </p:nvSpPr>
          <p:spPr>
            <a:xfrm>
              <a:off x="9233661" y="5439520"/>
              <a:ext cx="35305" cy="25811"/>
            </a:xfrm>
            <a:custGeom>
              <a:avLst/>
              <a:gdLst>
                <a:gd name="connsiteX0" fmla="*/ 2294 w 35305"/>
                <a:gd name="connsiteY0" fmla="*/ 11464 h 25811"/>
                <a:gd name="connsiteX1" fmla="*/ 4072 w 35305"/>
                <a:gd name="connsiteY1" fmla="*/ 12734 h 25811"/>
                <a:gd name="connsiteX2" fmla="*/ 4961 w 35305"/>
                <a:gd name="connsiteY2" fmla="*/ 12734 h 25811"/>
                <a:gd name="connsiteX3" fmla="*/ 4961 w 35305"/>
                <a:gd name="connsiteY3" fmla="*/ 5116 h 25811"/>
                <a:gd name="connsiteX4" fmla="*/ 6230 w 35305"/>
                <a:gd name="connsiteY4" fmla="*/ 3846 h 25811"/>
                <a:gd name="connsiteX5" fmla="*/ 7500 w 35305"/>
                <a:gd name="connsiteY5" fmla="*/ 5116 h 25811"/>
                <a:gd name="connsiteX6" fmla="*/ 7500 w 35305"/>
                <a:gd name="connsiteY6" fmla="*/ 14384 h 25811"/>
                <a:gd name="connsiteX7" fmla="*/ 24133 w 35305"/>
                <a:gd name="connsiteY7" fmla="*/ 25811 h 25811"/>
                <a:gd name="connsiteX8" fmla="*/ 24133 w 35305"/>
                <a:gd name="connsiteY8" fmla="*/ 22129 h 25811"/>
                <a:gd name="connsiteX9" fmla="*/ 30989 w 35305"/>
                <a:gd name="connsiteY9" fmla="*/ 15273 h 25811"/>
                <a:gd name="connsiteX10" fmla="*/ 35306 w 35305"/>
                <a:gd name="connsiteY10" fmla="*/ 16924 h 25811"/>
                <a:gd name="connsiteX11" fmla="*/ 35306 w 35305"/>
                <a:gd name="connsiteY11" fmla="*/ 16924 h 25811"/>
                <a:gd name="connsiteX12" fmla="*/ 9912 w 35305"/>
                <a:gd name="connsiteY12" fmla="*/ 37 h 25811"/>
                <a:gd name="connsiteX13" fmla="*/ 9912 w 35305"/>
                <a:gd name="connsiteY13" fmla="*/ 37 h 25811"/>
                <a:gd name="connsiteX14" fmla="*/ 8642 w 35305"/>
                <a:gd name="connsiteY14" fmla="*/ 37 h 25811"/>
                <a:gd name="connsiteX15" fmla="*/ 7246 w 35305"/>
                <a:gd name="connsiteY15" fmla="*/ 37 h 25811"/>
                <a:gd name="connsiteX16" fmla="*/ 898 w 35305"/>
                <a:gd name="connsiteY16" fmla="*/ 2957 h 25811"/>
                <a:gd name="connsiteX17" fmla="*/ 2294 w 35305"/>
                <a:gd name="connsiteY17" fmla="*/ 11464 h 2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305" h="25811">
                  <a:moveTo>
                    <a:pt x="2294" y="11464"/>
                  </a:moveTo>
                  <a:lnTo>
                    <a:pt x="4072" y="12734"/>
                  </a:lnTo>
                  <a:lnTo>
                    <a:pt x="4961" y="12734"/>
                  </a:lnTo>
                  <a:lnTo>
                    <a:pt x="4961" y="5116"/>
                  </a:lnTo>
                  <a:cubicBezTo>
                    <a:pt x="4961" y="4415"/>
                    <a:pt x="5532" y="3846"/>
                    <a:pt x="6230" y="3846"/>
                  </a:cubicBezTo>
                  <a:cubicBezTo>
                    <a:pt x="6928" y="3846"/>
                    <a:pt x="7500" y="4415"/>
                    <a:pt x="7500" y="5116"/>
                  </a:cubicBezTo>
                  <a:lnTo>
                    <a:pt x="7500" y="14384"/>
                  </a:lnTo>
                  <a:lnTo>
                    <a:pt x="24133" y="25811"/>
                  </a:lnTo>
                  <a:lnTo>
                    <a:pt x="24133" y="22129"/>
                  </a:lnTo>
                  <a:cubicBezTo>
                    <a:pt x="24133" y="18343"/>
                    <a:pt x="27205" y="15273"/>
                    <a:pt x="30989" y="15273"/>
                  </a:cubicBezTo>
                  <a:cubicBezTo>
                    <a:pt x="32576" y="15273"/>
                    <a:pt x="34125" y="15861"/>
                    <a:pt x="35306" y="16924"/>
                  </a:cubicBezTo>
                  <a:lnTo>
                    <a:pt x="35306" y="16924"/>
                  </a:lnTo>
                  <a:lnTo>
                    <a:pt x="9912" y="37"/>
                  </a:lnTo>
                  <a:lnTo>
                    <a:pt x="9912" y="37"/>
                  </a:lnTo>
                  <a:lnTo>
                    <a:pt x="8642" y="37"/>
                  </a:lnTo>
                  <a:lnTo>
                    <a:pt x="7246" y="37"/>
                  </a:lnTo>
                  <a:cubicBezTo>
                    <a:pt x="4758" y="-222"/>
                    <a:pt x="2320" y="898"/>
                    <a:pt x="898" y="2957"/>
                  </a:cubicBezTo>
                  <a:cubicBezTo>
                    <a:pt x="-703" y="5767"/>
                    <a:pt x="-118" y="9312"/>
                    <a:pt x="2294" y="11464"/>
                  </a:cubicBezTo>
                  <a:close/>
                </a:path>
              </a:pathLst>
            </a:custGeom>
            <a:solidFill>
              <a:srgbClr val="000000"/>
            </a:solidFill>
            <a:ln w="12690" cap="flat">
              <a:noFill/>
              <a:prstDash val="solid"/>
              <a:miter/>
            </a:ln>
          </p:spPr>
          <p:txBody>
            <a:bodyPr rtlCol="0" anchor="ctr"/>
            <a:lstStyle/>
            <a:p>
              <a:endParaRPr lang="en-US"/>
            </a:p>
          </p:txBody>
        </p:sp>
        <p:sp>
          <p:nvSpPr>
            <p:cNvPr id="851" name="Freeform: Shape 850">
              <a:extLst>
                <a:ext uri="{FF2B5EF4-FFF2-40B4-BE49-F238E27FC236}">
                  <a16:creationId xmlns:a16="http://schemas.microsoft.com/office/drawing/2014/main" id="{B0EB2979-6D56-4BAC-913A-B388D0B7C518}"/>
                </a:ext>
              </a:extLst>
            </p:cNvPr>
            <p:cNvSpPr/>
            <p:nvPr/>
          </p:nvSpPr>
          <p:spPr>
            <a:xfrm>
              <a:off x="9238621" y="5444001"/>
              <a:ext cx="2539" cy="1003424"/>
            </a:xfrm>
            <a:custGeom>
              <a:avLst/>
              <a:gdLst>
                <a:gd name="connsiteX0" fmla="*/ 0 w 2539"/>
                <a:gd name="connsiteY0" fmla="*/ 1002155 h 1003424"/>
                <a:gd name="connsiteX1" fmla="*/ 1269 w 2539"/>
                <a:gd name="connsiteY1" fmla="*/ 1003424 h 1003424"/>
                <a:gd name="connsiteX2" fmla="*/ 2539 w 2539"/>
                <a:gd name="connsiteY2" fmla="*/ 1002155 h 1003424"/>
                <a:gd name="connsiteX3" fmla="*/ 2539 w 2539"/>
                <a:gd name="connsiteY3" fmla="*/ 1270 h 1003424"/>
                <a:gd name="connsiteX4" fmla="*/ 1269 w 2539"/>
                <a:gd name="connsiteY4" fmla="*/ 0 h 1003424"/>
                <a:gd name="connsiteX5" fmla="*/ 0 w 2539"/>
                <a:gd name="connsiteY5" fmla="*/ 1270 h 1003424"/>
                <a:gd name="connsiteX6" fmla="*/ 0 w 2539"/>
                <a:gd name="connsiteY6" fmla="*/ 1002155 h 100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9" h="1003424">
                  <a:moveTo>
                    <a:pt x="0" y="1002155"/>
                  </a:moveTo>
                  <a:cubicBezTo>
                    <a:pt x="0" y="1002853"/>
                    <a:pt x="571" y="1003424"/>
                    <a:pt x="1269" y="1003424"/>
                  </a:cubicBezTo>
                  <a:cubicBezTo>
                    <a:pt x="1968" y="1003424"/>
                    <a:pt x="2539" y="1002853"/>
                    <a:pt x="2539" y="1002155"/>
                  </a:cubicBezTo>
                  <a:lnTo>
                    <a:pt x="2539" y="1270"/>
                  </a:lnTo>
                  <a:cubicBezTo>
                    <a:pt x="2539" y="569"/>
                    <a:pt x="1968" y="0"/>
                    <a:pt x="1269" y="0"/>
                  </a:cubicBezTo>
                  <a:cubicBezTo>
                    <a:pt x="571" y="0"/>
                    <a:pt x="0" y="569"/>
                    <a:pt x="0" y="1270"/>
                  </a:cubicBezTo>
                  <a:lnTo>
                    <a:pt x="0" y="1002155"/>
                  </a:lnTo>
                  <a:close/>
                </a:path>
              </a:pathLst>
            </a:custGeom>
            <a:solidFill>
              <a:srgbClr val="000000"/>
            </a:solidFill>
            <a:ln w="12690" cap="flat">
              <a:noFill/>
              <a:prstDash val="solid"/>
              <a:miter/>
            </a:ln>
          </p:spPr>
          <p:txBody>
            <a:bodyPr rtlCol="0" anchor="ctr"/>
            <a:lstStyle/>
            <a:p>
              <a:endParaRPr lang="en-US"/>
            </a:p>
          </p:txBody>
        </p:sp>
        <p:sp>
          <p:nvSpPr>
            <p:cNvPr id="852" name="Freeform: Shape 851">
              <a:extLst>
                <a:ext uri="{FF2B5EF4-FFF2-40B4-BE49-F238E27FC236}">
                  <a16:creationId xmlns:a16="http://schemas.microsoft.com/office/drawing/2014/main" id="{DD01365D-CF55-411F-9416-0D94C4E3D0E8}"/>
                </a:ext>
              </a:extLst>
            </p:cNvPr>
            <p:cNvSpPr/>
            <p:nvPr/>
          </p:nvSpPr>
          <p:spPr>
            <a:xfrm>
              <a:off x="8723262" y="5728662"/>
              <a:ext cx="144615" cy="13839"/>
            </a:xfrm>
            <a:custGeom>
              <a:avLst/>
              <a:gdLst>
                <a:gd name="connsiteX0" fmla="*/ 6983 w 144615"/>
                <a:gd name="connsiteY0" fmla="*/ 6856 h 13839"/>
                <a:gd name="connsiteX1" fmla="*/ 6983 w 144615"/>
                <a:gd name="connsiteY1" fmla="*/ 13839 h 13839"/>
                <a:gd name="connsiteX2" fmla="*/ 144616 w 144615"/>
                <a:gd name="connsiteY2" fmla="*/ 13839 h 13839"/>
                <a:gd name="connsiteX3" fmla="*/ 144616 w 144615"/>
                <a:gd name="connsiteY3" fmla="*/ 0 h 13839"/>
                <a:gd name="connsiteX4" fmla="*/ 0 w 144615"/>
                <a:gd name="connsiteY4" fmla="*/ 0 h 13839"/>
                <a:gd name="connsiteX5" fmla="*/ 6983 w 144615"/>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15" h="13839">
                  <a:moveTo>
                    <a:pt x="6983" y="6856"/>
                  </a:moveTo>
                  <a:lnTo>
                    <a:pt x="6983" y="13839"/>
                  </a:lnTo>
                  <a:lnTo>
                    <a:pt x="144616" y="13839"/>
                  </a:lnTo>
                  <a:lnTo>
                    <a:pt x="144616" y="0"/>
                  </a:lnTo>
                  <a:lnTo>
                    <a:pt x="0" y="0"/>
                  </a:lnTo>
                  <a:cubicBezTo>
                    <a:pt x="3809" y="0"/>
                    <a:pt x="6919" y="3050"/>
                    <a:pt x="6983" y="6856"/>
                  </a:cubicBezTo>
                  <a:close/>
                </a:path>
              </a:pathLst>
            </a:custGeom>
            <a:solidFill>
              <a:srgbClr val="000000"/>
            </a:solidFill>
            <a:ln w="12690" cap="flat">
              <a:noFill/>
              <a:prstDash val="solid"/>
              <a:miter/>
            </a:ln>
          </p:spPr>
          <p:txBody>
            <a:bodyPr rtlCol="0" anchor="ctr"/>
            <a:lstStyle/>
            <a:p>
              <a:endParaRPr lang="en-US"/>
            </a:p>
          </p:txBody>
        </p:sp>
        <p:sp>
          <p:nvSpPr>
            <p:cNvPr id="853" name="Freeform: Shape 852">
              <a:extLst>
                <a:ext uri="{FF2B5EF4-FFF2-40B4-BE49-F238E27FC236}">
                  <a16:creationId xmlns:a16="http://schemas.microsoft.com/office/drawing/2014/main" id="{5B5EFD0F-02E3-4D39-87DB-60CBDF56E9BC}"/>
                </a:ext>
              </a:extLst>
            </p:cNvPr>
            <p:cNvSpPr/>
            <p:nvPr/>
          </p:nvSpPr>
          <p:spPr>
            <a:xfrm>
              <a:off x="9285091" y="5605123"/>
              <a:ext cx="25012" cy="22092"/>
            </a:xfrm>
            <a:custGeom>
              <a:avLst/>
              <a:gdLst>
                <a:gd name="connsiteX0" fmla="*/ 5714 w 25012"/>
                <a:gd name="connsiteY0" fmla="*/ 5206 h 22092"/>
                <a:gd name="connsiteX1" fmla="*/ 0 w 25012"/>
                <a:gd name="connsiteY1" fmla="*/ 11808 h 22092"/>
                <a:gd name="connsiteX2" fmla="*/ 0 w 25012"/>
                <a:gd name="connsiteY2" fmla="*/ 13840 h 22092"/>
                <a:gd name="connsiteX3" fmla="*/ 13967 w 25012"/>
                <a:gd name="connsiteY3" fmla="*/ 22092 h 22092"/>
                <a:gd name="connsiteX4" fmla="*/ 13967 w 25012"/>
                <a:gd name="connsiteY4" fmla="*/ 18156 h 22092"/>
                <a:gd name="connsiteX5" fmla="*/ 20823 w 25012"/>
                <a:gd name="connsiteY5" fmla="*/ 11300 h 22092"/>
                <a:gd name="connsiteX6" fmla="*/ 25013 w 25012"/>
                <a:gd name="connsiteY6" fmla="*/ 12697 h 22092"/>
                <a:gd name="connsiteX7" fmla="*/ 25013 w 25012"/>
                <a:gd name="connsiteY7" fmla="*/ 12697 h 22092"/>
                <a:gd name="connsiteX8" fmla="*/ 2921 w 25012"/>
                <a:gd name="connsiteY8" fmla="*/ 0 h 22092"/>
                <a:gd name="connsiteX9" fmla="*/ 2921 w 25012"/>
                <a:gd name="connsiteY9" fmla="*/ 0 h 22092"/>
                <a:gd name="connsiteX10" fmla="*/ 5714 w 25012"/>
                <a:gd name="connsiteY10" fmla="*/ 5206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12" h="22092">
                  <a:moveTo>
                    <a:pt x="5714" y="5206"/>
                  </a:moveTo>
                  <a:cubicBezTo>
                    <a:pt x="5638" y="8492"/>
                    <a:pt x="3238" y="11261"/>
                    <a:pt x="0" y="11808"/>
                  </a:cubicBezTo>
                  <a:lnTo>
                    <a:pt x="0" y="13840"/>
                  </a:lnTo>
                  <a:lnTo>
                    <a:pt x="13967" y="22092"/>
                  </a:lnTo>
                  <a:lnTo>
                    <a:pt x="13967" y="18156"/>
                  </a:lnTo>
                  <a:cubicBezTo>
                    <a:pt x="13967" y="14370"/>
                    <a:pt x="17039" y="11300"/>
                    <a:pt x="20823" y="11300"/>
                  </a:cubicBezTo>
                  <a:cubicBezTo>
                    <a:pt x="22334" y="11271"/>
                    <a:pt x="23819" y="11764"/>
                    <a:pt x="25013" y="12697"/>
                  </a:cubicBezTo>
                  <a:lnTo>
                    <a:pt x="25013" y="12697"/>
                  </a:lnTo>
                  <a:lnTo>
                    <a:pt x="2921" y="0"/>
                  </a:lnTo>
                  <a:lnTo>
                    <a:pt x="2921" y="0"/>
                  </a:lnTo>
                  <a:cubicBezTo>
                    <a:pt x="4571" y="1237"/>
                    <a:pt x="5600" y="3143"/>
                    <a:pt x="5714" y="5206"/>
                  </a:cubicBezTo>
                  <a:close/>
                </a:path>
              </a:pathLst>
            </a:custGeom>
            <a:solidFill>
              <a:srgbClr val="000000"/>
            </a:solidFill>
            <a:ln w="12690" cap="flat">
              <a:noFill/>
              <a:prstDash val="solid"/>
              <a:miter/>
            </a:ln>
          </p:spPr>
          <p:txBody>
            <a:bodyPr rtlCol="0" anchor="ctr"/>
            <a:lstStyle/>
            <a:p>
              <a:endParaRPr lang="en-US"/>
            </a:p>
          </p:txBody>
        </p:sp>
        <p:sp>
          <p:nvSpPr>
            <p:cNvPr id="854" name="Freeform: Shape 853">
              <a:extLst>
                <a:ext uri="{FF2B5EF4-FFF2-40B4-BE49-F238E27FC236}">
                  <a16:creationId xmlns:a16="http://schemas.microsoft.com/office/drawing/2014/main" id="{8186C168-352E-4790-8EF0-E1AE8B4EF06A}"/>
                </a:ext>
              </a:extLst>
            </p:cNvPr>
            <p:cNvSpPr/>
            <p:nvPr/>
          </p:nvSpPr>
          <p:spPr>
            <a:xfrm>
              <a:off x="9282044" y="5617185"/>
              <a:ext cx="634" cy="380"/>
            </a:xfrm>
            <a:custGeom>
              <a:avLst/>
              <a:gdLst>
                <a:gd name="connsiteX0" fmla="*/ 635 w 634"/>
                <a:gd name="connsiteY0" fmla="*/ 0 h 380"/>
                <a:gd name="connsiteX1" fmla="*/ 0 w 634"/>
                <a:gd name="connsiteY1" fmla="*/ 0 h 380"/>
                <a:gd name="connsiteX2" fmla="*/ 635 w 634"/>
                <a:gd name="connsiteY2" fmla="*/ 381 h 380"/>
                <a:gd name="connsiteX3" fmla="*/ 635 w 634"/>
                <a:gd name="connsiteY3" fmla="*/ 0 h 380"/>
              </a:gdLst>
              <a:ahLst/>
              <a:cxnLst>
                <a:cxn ang="0">
                  <a:pos x="connsiteX0" y="connsiteY0"/>
                </a:cxn>
                <a:cxn ang="0">
                  <a:pos x="connsiteX1" y="connsiteY1"/>
                </a:cxn>
                <a:cxn ang="0">
                  <a:pos x="connsiteX2" y="connsiteY2"/>
                </a:cxn>
                <a:cxn ang="0">
                  <a:pos x="connsiteX3" y="connsiteY3"/>
                </a:cxn>
              </a:cxnLst>
              <a:rect l="l" t="t" r="r" b="b"/>
              <a:pathLst>
                <a:path w="634" h="380">
                  <a:moveTo>
                    <a:pt x="635" y="0"/>
                  </a:moveTo>
                  <a:lnTo>
                    <a:pt x="0" y="0"/>
                  </a:lnTo>
                  <a:lnTo>
                    <a:pt x="635" y="381"/>
                  </a:lnTo>
                  <a:lnTo>
                    <a:pt x="635" y="0"/>
                  </a:lnTo>
                  <a:close/>
                </a:path>
              </a:pathLst>
            </a:custGeom>
            <a:solidFill>
              <a:srgbClr val="000000"/>
            </a:solidFill>
            <a:ln w="12690" cap="flat">
              <a:noFill/>
              <a:prstDash val="solid"/>
              <a:miter/>
            </a:ln>
          </p:spPr>
          <p:txBody>
            <a:bodyPr rtlCol="0" anchor="ctr"/>
            <a:lstStyle/>
            <a:p>
              <a:endParaRPr lang="en-US"/>
            </a:p>
          </p:txBody>
        </p:sp>
        <p:sp>
          <p:nvSpPr>
            <p:cNvPr id="855" name="Freeform: Shape 854">
              <a:extLst>
                <a:ext uri="{FF2B5EF4-FFF2-40B4-BE49-F238E27FC236}">
                  <a16:creationId xmlns:a16="http://schemas.microsoft.com/office/drawing/2014/main" id="{D7B68F02-D85E-4EE9-BACA-83EAFC71BF39}"/>
                </a:ext>
              </a:extLst>
            </p:cNvPr>
            <p:cNvSpPr/>
            <p:nvPr/>
          </p:nvSpPr>
          <p:spPr>
            <a:xfrm>
              <a:off x="9271505" y="5604234"/>
              <a:ext cx="19299" cy="13839"/>
            </a:xfrm>
            <a:custGeom>
              <a:avLst/>
              <a:gdLst>
                <a:gd name="connsiteX0" fmla="*/ 0 w 19299"/>
                <a:gd name="connsiteY0" fmla="*/ 12951 h 13839"/>
                <a:gd name="connsiteX1" fmla="*/ 11173 w 19299"/>
                <a:gd name="connsiteY1" fmla="*/ 12951 h 13839"/>
                <a:gd name="connsiteX2" fmla="*/ 11173 w 19299"/>
                <a:gd name="connsiteY2" fmla="*/ 6094 h 13839"/>
                <a:gd name="connsiteX3" fmla="*/ 12177 w 19299"/>
                <a:gd name="connsiteY3" fmla="*/ 4832 h 13839"/>
                <a:gd name="connsiteX4" fmla="*/ 12316 w 19299"/>
                <a:gd name="connsiteY4" fmla="*/ 4825 h 13839"/>
                <a:gd name="connsiteX5" fmla="*/ 13586 w 19299"/>
                <a:gd name="connsiteY5" fmla="*/ 5824 h 13839"/>
                <a:gd name="connsiteX6" fmla="*/ 13586 w 19299"/>
                <a:gd name="connsiteY6" fmla="*/ 6094 h 13839"/>
                <a:gd name="connsiteX7" fmla="*/ 13586 w 19299"/>
                <a:gd name="connsiteY7" fmla="*/ 12697 h 13839"/>
                <a:gd name="connsiteX8" fmla="*/ 19299 w 19299"/>
                <a:gd name="connsiteY8" fmla="*/ 6094 h 13839"/>
                <a:gd name="connsiteX9" fmla="*/ 15490 w 19299"/>
                <a:gd name="connsiteY9" fmla="*/ 0 h 13839"/>
                <a:gd name="connsiteX10" fmla="*/ 14094 w 19299"/>
                <a:gd name="connsiteY10" fmla="*/ 0 h 13839"/>
                <a:gd name="connsiteX11" fmla="*/ 12824 w 19299"/>
                <a:gd name="connsiteY11" fmla="*/ 0 h 13839"/>
                <a:gd name="connsiteX12" fmla="*/ 127 w 19299"/>
                <a:gd name="connsiteY12" fmla="*/ 0 h 13839"/>
                <a:gd name="connsiteX13" fmla="*/ 127 w 19299"/>
                <a:gd name="connsiteY13"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99" h="13839">
                  <a:moveTo>
                    <a:pt x="0" y="12951"/>
                  </a:moveTo>
                  <a:lnTo>
                    <a:pt x="11173" y="12951"/>
                  </a:lnTo>
                  <a:lnTo>
                    <a:pt x="11173" y="6094"/>
                  </a:lnTo>
                  <a:cubicBezTo>
                    <a:pt x="11097" y="5467"/>
                    <a:pt x="11554" y="4902"/>
                    <a:pt x="12177" y="4832"/>
                  </a:cubicBezTo>
                  <a:cubicBezTo>
                    <a:pt x="12227" y="4827"/>
                    <a:pt x="12265" y="4825"/>
                    <a:pt x="12316" y="4825"/>
                  </a:cubicBezTo>
                  <a:cubicBezTo>
                    <a:pt x="12938" y="4750"/>
                    <a:pt x="13510" y="5198"/>
                    <a:pt x="13586" y="5824"/>
                  </a:cubicBezTo>
                  <a:cubicBezTo>
                    <a:pt x="13599" y="5914"/>
                    <a:pt x="13599" y="6004"/>
                    <a:pt x="13586" y="6094"/>
                  </a:cubicBezTo>
                  <a:lnTo>
                    <a:pt x="13586" y="12697"/>
                  </a:lnTo>
                  <a:cubicBezTo>
                    <a:pt x="16823" y="12150"/>
                    <a:pt x="19223" y="9380"/>
                    <a:pt x="19299" y="6094"/>
                  </a:cubicBezTo>
                  <a:cubicBezTo>
                    <a:pt x="19248" y="3516"/>
                    <a:pt x="17788" y="1172"/>
                    <a:pt x="15490" y="0"/>
                  </a:cubicBezTo>
                  <a:lnTo>
                    <a:pt x="14094" y="0"/>
                  </a:lnTo>
                  <a:lnTo>
                    <a:pt x="12824" y="0"/>
                  </a:lnTo>
                  <a:lnTo>
                    <a:pt x="127" y="0"/>
                  </a:lnTo>
                  <a:lnTo>
                    <a:pt x="127" y="13840"/>
                  </a:lnTo>
                  <a:close/>
                </a:path>
              </a:pathLst>
            </a:custGeom>
            <a:solidFill>
              <a:srgbClr val="000000"/>
            </a:solidFill>
            <a:ln w="12690" cap="flat">
              <a:noFill/>
              <a:prstDash val="solid"/>
              <a:miter/>
            </a:ln>
          </p:spPr>
          <p:txBody>
            <a:bodyPr rtlCol="0" anchor="ctr"/>
            <a:lstStyle/>
            <a:p>
              <a:endParaRPr lang="en-US"/>
            </a:p>
          </p:txBody>
        </p:sp>
        <p:sp>
          <p:nvSpPr>
            <p:cNvPr id="856" name="Freeform: Shape 855">
              <a:extLst>
                <a:ext uri="{FF2B5EF4-FFF2-40B4-BE49-F238E27FC236}">
                  <a16:creationId xmlns:a16="http://schemas.microsoft.com/office/drawing/2014/main" id="{F13A9018-9958-420B-87D1-D2DE830EC95B}"/>
                </a:ext>
              </a:extLst>
            </p:cNvPr>
            <p:cNvSpPr/>
            <p:nvPr/>
          </p:nvSpPr>
          <p:spPr>
            <a:xfrm>
              <a:off x="9299058" y="5617352"/>
              <a:ext cx="13895" cy="819534"/>
            </a:xfrm>
            <a:custGeom>
              <a:avLst/>
              <a:gdLst>
                <a:gd name="connsiteX0" fmla="*/ 0 w 13895"/>
                <a:gd name="connsiteY0" fmla="*/ 5927 h 819534"/>
                <a:gd name="connsiteX1" fmla="*/ 0 w 13895"/>
                <a:gd name="connsiteY1" fmla="*/ 819535 h 819534"/>
                <a:gd name="connsiteX2" fmla="*/ 13839 w 13895"/>
                <a:gd name="connsiteY2" fmla="*/ 819535 h 819534"/>
                <a:gd name="connsiteX3" fmla="*/ 13839 w 13895"/>
                <a:gd name="connsiteY3" fmla="*/ 6943 h 819534"/>
                <a:gd name="connsiteX4" fmla="*/ 13839 w 13895"/>
                <a:gd name="connsiteY4" fmla="*/ 6054 h 819534"/>
                <a:gd name="connsiteX5" fmla="*/ 13839 w 13895"/>
                <a:gd name="connsiteY5" fmla="*/ 4784 h 819534"/>
                <a:gd name="connsiteX6" fmla="*/ 13839 w 13895"/>
                <a:gd name="connsiteY6" fmla="*/ 3515 h 819534"/>
                <a:gd name="connsiteX7" fmla="*/ 13077 w 13895"/>
                <a:gd name="connsiteY7" fmla="*/ 2499 h 819534"/>
                <a:gd name="connsiteX8" fmla="*/ 12061 w 13895"/>
                <a:gd name="connsiteY8" fmla="*/ 1483 h 819534"/>
                <a:gd name="connsiteX9" fmla="*/ 7872 w 13895"/>
                <a:gd name="connsiteY9" fmla="*/ 86 h 819534"/>
                <a:gd name="connsiteX10" fmla="*/ 25 w 13895"/>
                <a:gd name="connsiteY10" fmla="*/ 5778 h 819534"/>
                <a:gd name="connsiteX11" fmla="*/ 0 w 13895"/>
                <a:gd name="connsiteY11" fmla="*/ 5927 h 81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5" h="819534">
                  <a:moveTo>
                    <a:pt x="0" y="5927"/>
                  </a:moveTo>
                  <a:lnTo>
                    <a:pt x="0" y="819535"/>
                  </a:lnTo>
                  <a:lnTo>
                    <a:pt x="13839" y="819535"/>
                  </a:lnTo>
                  <a:lnTo>
                    <a:pt x="13839" y="6943"/>
                  </a:lnTo>
                  <a:cubicBezTo>
                    <a:pt x="13839" y="6943"/>
                    <a:pt x="13839" y="6943"/>
                    <a:pt x="13839" y="6054"/>
                  </a:cubicBezTo>
                  <a:lnTo>
                    <a:pt x="13839" y="4784"/>
                  </a:lnTo>
                  <a:cubicBezTo>
                    <a:pt x="13915" y="4364"/>
                    <a:pt x="13915" y="3935"/>
                    <a:pt x="13839" y="3515"/>
                  </a:cubicBezTo>
                  <a:lnTo>
                    <a:pt x="13077" y="2499"/>
                  </a:lnTo>
                  <a:cubicBezTo>
                    <a:pt x="12773" y="2129"/>
                    <a:pt x="12430" y="1789"/>
                    <a:pt x="12061" y="1483"/>
                  </a:cubicBezTo>
                  <a:cubicBezTo>
                    <a:pt x="10868" y="550"/>
                    <a:pt x="9382" y="57"/>
                    <a:pt x="7872" y="86"/>
                  </a:cubicBezTo>
                  <a:cubicBezTo>
                    <a:pt x="4126" y="-509"/>
                    <a:pt x="622" y="2039"/>
                    <a:pt x="25" y="5778"/>
                  </a:cubicBezTo>
                  <a:cubicBezTo>
                    <a:pt x="12" y="5828"/>
                    <a:pt x="0" y="5877"/>
                    <a:pt x="0" y="5927"/>
                  </a:cubicBezTo>
                  <a:close/>
                </a:path>
              </a:pathLst>
            </a:custGeom>
            <a:solidFill>
              <a:schemeClr val="accent5"/>
            </a:solidFill>
            <a:ln w="12690" cap="flat">
              <a:noFill/>
              <a:prstDash val="solid"/>
              <a:miter/>
            </a:ln>
          </p:spPr>
          <p:txBody>
            <a:bodyPr rtlCol="0" anchor="ctr"/>
            <a:lstStyle/>
            <a:p>
              <a:endParaRPr lang="en-US"/>
            </a:p>
          </p:txBody>
        </p:sp>
        <p:sp>
          <p:nvSpPr>
            <p:cNvPr id="857" name="Freeform: Shape 856">
              <a:extLst>
                <a:ext uri="{FF2B5EF4-FFF2-40B4-BE49-F238E27FC236}">
                  <a16:creationId xmlns:a16="http://schemas.microsoft.com/office/drawing/2014/main" id="{B09CCE08-332E-4546-8210-E744FB859EED}"/>
                </a:ext>
              </a:extLst>
            </p:cNvPr>
            <p:cNvSpPr/>
            <p:nvPr/>
          </p:nvSpPr>
          <p:spPr>
            <a:xfrm>
              <a:off x="9282666" y="5609051"/>
              <a:ext cx="2433" cy="827835"/>
            </a:xfrm>
            <a:custGeom>
              <a:avLst/>
              <a:gdLst>
                <a:gd name="connsiteX0" fmla="*/ 12 w 2433"/>
                <a:gd name="connsiteY0" fmla="*/ 827836 h 827835"/>
                <a:gd name="connsiteX1" fmla="*/ 2425 w 2433"/>
                <a:gd name="connsiteY1" fmla="*/ 827836 h 827835"/>
                <a:gd name="connsiteX2" fmla="*/ 2425 w 2433"/>
                <a:gd name="connsiteY2" fmla="*/ 1277 h 827835"/>
                <a:gd name="connsiteX3" fmla="*/ 1422 w 2433"/>
                <a:gd name="connsiteY3" fmla="*/ 8 h 827835"/>
                <a:gd name="connsiteX4" fmla="*/ 1155 w 2433"/>
                <a:gd name="connsiteY4" fmla="*/ 8 h 827835"/>
                <a:gd name="connsiteX5" fmla="*/ 0 w 2433"/>
                <a:gd name="connsiteY5" fmla="*/ 1143 h 827835"/>
                <a:gd name="connsiteX6" fmla="*/ 12 w 2433"/>
                <a:gd name="connsiteY6" fmla="*/ 1277 h 827835"/>
                <a:gd name="connsiteX7" fmla="*/ 12 w 2433"/>
                <a:gd name="connsiteY7" fmla="*/ 827836 h 82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 h="827835">
                  <a:moveTo>
                    <a:pt x="12" y="827836"/>
                  </a:moveTo>
                  <a:lnTo>
                    <a:pt x="2425" y="827836"/>
                  </a:lnTo>
                  <a:lnTo>
                    <a:pt x="2425" y="1277"/>
                  </a:lnTo>
                  <a:cubicBezTo>
                    <a:pt x="2502" y="650"/>
                    <a:pt x="2057" y="83"/>
                    <a:pt x="1422" y="8"/>
                  </a:cubicBezTo>
                  <a:cubicBezTo>
                    <a:pt x="1333" y="-3"/>
                    <a:pt x="1244" y="-3"/>
                    <a:pt x="1155" y="8"/>
                  </a:cubicBezTo>
                  <a:cubicBezTo>
                    <a:pt x="521" y="4"/>
                    <a:pt x="12" y="512"/>
                    <a:pt x="0" y="1143"/>
                  </a:cubicBezTo>
                  <a:cubicBezTo>
                    <a:pt x="0" y="1188"/>
                    <a:pt x="12" y="1233"/>
                    <a:pt x="12" y="1277"/>
                  </a:cubicBezTo>
                  <a:lnTo>
                    <a:pt x="12" y="827836"/>
                  </a:lnTo>
                  <a:close/>
                </a:path>
              </a:pathLst>
            </a:custGeom>
            <a:solidFill>
              <a:srgbClr val="000000"/>
            </a:solidFill>
            <a:ln w="12690" cap="flat">
              <a:noFill/>
              <a:prstDash val="solid"/>
              <a:miter/>
            </a:ln>
          </p:spPr>
          <p:txBody>
            <a:bodyPr rtlCol="0" anchor="ctr"/>
            <a:lstStyle/>
            <a:p>
              <a:endParaRPr lang="en-US"/>
            </a:p>
          </p:txBody>
        </p:sp>
        <p:sp>
          <p:nvSpPr>
            <p:cNvPr id="858" name="Freeform: Shape 857">
              <a:extLst>
                <a:ext uri="{FF2B5EF4-FFF2-40B4-BE49-F238E27FC236}">
                  <a16:creationId xmlns:a16="http://schemas.microsoft.com/office/drawing/2014/main" id="{FB2001C5-A4EA-4BA8-8E9C-B98D229A0330}"/>
                </a:ext>
              </a:extLst>
            </p:cNvPr>
            <p:cNvSpPr/>
            <p:nvPr/>
          </p:nvSpPr>
          <p:spPr>
            <a:xfrm>
              <a:off x="9409265" y="5611471"/>
              <a:ext cx="13838" cy="166200"/>
            </a:xfrm>
            <a:custGeom>
              <a:avLst/>
              <a:gdLst>
                <a:gd name="connsiteX0" fmla="*/ 13839 w 13838"/>
                <a:gd name="connsiteY0" fmla="*/ 166201 h 166200"/>
                <a:gd name="connsiteX1" fmla="*/ 13839 w 13838"/>
                <a:gd name="connsiteY1" fmla="*/ 6856 h 166200"/>
                <a:gd name="connsiteX2" fmla="*/ 6856 w 13838"/>
                <a:gd name="connsiteY2" fmla="*/ 6856 h 166200"/>
                <a:gd name="connsiteX3" fmla="*/ 0 w 13838"/>
                <a:gd name="connsiteY3" fmla="*/ 0 h 166200"/>
                <a:gd name="connsiteX4" fmla="*/ 0 w 13838"/>
                <a:gd name="connsiteY4" fmla="*/ 166201 h 166200"/>
                <a:gd name="connsiteX5" fmla="*/ 13839 w 13838"/>
                <a:gd name="connsiteY5" fmla="*/ 166201 h 16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166200">
                  <a:moveTo>
                    <a:pt x="13839" y="166201"/>
                  </a:moveTo>
                  <a:lnTo>
                    <a:pt x="13839" y="6856"/>
                  </a:lnTo>
                  <a:lnTo>
                    <a:pt x="6856" y="6856"/>
                  </a:lnTo>
                  <a:cubicBezTo>
                    <a:pt x="3073" y="6856"/>
                    <a:pt x="0" y="3786"/>
                    <a:pt x="0" y="0"/>
                  </a:cubicBezTo>
                  <a:lnTo>
                    <a:pt x="0" y="166201"/>
                  </a:lnTo>
                  <a:lnTo>
                    <a:pt x="13839" y="166201"/>
                  </a:lnTo>
                  <a:close/>
                </a:path>
              </a:pathLst>
            </a:custGeom>
            <a:solidFill>
              <a:srgbClr val="000000"/>
            </a:solidFill>
            <a:ln w="12690" cap="flat">
              <a:noFill/>
              <a:prstDash val="solid"/>
              <a:miter/>
            </a:ln>
          </p:spPr>
          <p:txBody>
            <a:bodyPr rtlCol="0" anchor="ctr"/>
            <a:lstStyle/>
            <a:p>
              <a:endParaRPr lang="en-US"/>
            </a:p>
          </p:txBody>
        </p:sp>
        <p:sp>
          <p:nvSpPr>
            <p:cNvPr id="859" name="Freeform: Shape 858">
              <a:extLst>
                <a:ext uri="{FF2B5EF4-FFF2-40B4-BE49-F238E27FC236}">
                  <a16:creationId xmlns:a16="http://schemas.microsoft.com/office/drawing/2014/main" id="{887F25A3-1B3F-401D-892B-874B69FC7E09}"/>
                </a:ext>
              </a:extLst>
            </p:cNvPr>
            <p:cNvSpPr/>
            <p:nvPr/>
          </p:nvSpPr>
          <p:spPr>
            <a:xfrm>
              <a:off x="9432880" y="6437903"/>
              <a:ext cx="25393" cy="5459"/>
            </a:xfrm>
            <a:custGeom>
              <a:avLst/>
              <a:gdLst>
                <a:gd name="connsiteX0" fmla="*/ 18918 w 25393"/>
                <a:gd name="connsiteY0" fmla="*/ 0 h 5459"/>
                <a:gd name="connsiteX1" fmla="*/ 0 w 25393"/>
                <a:gd name="connsiteY1" fmla="*/ 0 h 5459"/>
                <a:gd name="connsiteX2" fmla="*/ 0 w 25393"/>
                <a:gd name="connsiteY2" fmla="*/ 5460 h 5459"/>
                <a:gd name="connsiteX3" fmla="*/ 25393 w 25393"/>
                <a:gd name="connsiteY3" fmla="*/ 4698 h 5459"/>
                <a:gd name="connsiteX4" fmla="*/ 25393 w 25393"/>
                <a:gd name="connsiteY4" fmla="*/ 4698 h 5459"/>
                <a:gd name="connsiteX5" fmla="*/ 18918 w 25393"/>
                <a:gd name="connsiteY5" fmla="*/ 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3" h="5459">
                  <a:moveTo>
                    <a:pt x="18918" y="0"/>
                  </a:moveTo>
                  <a:lnTo>
                    <a:pt x="0" y="0"/>
                  </a:lnTo>
                  <a:lnTo>
                    <a:pt x="0" y="5460"/>
                  </a:lnTo>
                  <a:lnTo>
                    <a:pt x="25393" y="4698"/>
                  </a:lnTo>
                  <a:lnTo>
                    <a:pt x="25393" y="4698"/>
                  </a:lnTo>
                  <a:cubicBezTo>
                    <a:pt x="22448" y="4685"/>
                    <a:pt x="19845" y="2793"/>
                    <a:pt x="18918" y="0"/>
                  </a:cubicBezTo>
                  <a:close/>
                </a:path>
              </a:pathLst>
            </a:custGeom>
            <a:solidFill>
              <a:srgbClr val="000000"/>
            </a:solidFill>
            <a:ln w="12690" cap="flat">
              <a:noFill/>
              <a:prstDash val="solid"/>
              <a:miter/>
            </a:ln>
          </p:spPr>
          <p:txBody>
            <a:bodyPr rtlCol="0" anchor="ctr"/>
            <a:lstStyle/>
            <a:p>
              <a:endParaRPr lang="en-US"/>
            </a:p>
          </p:txBody>
        </p:sp>
        <p:sp>
          <p:nvSpPr>
            <p:cNvPr id="860" name="Freeform: Shape 859">
              <a:extLst>
                <a:ext uri="{FF2B5EF4-FFF2-40B4-BE49-F238E27FC236}">
                  <a16:creationId xmlns:a16="http://schemas.microsoft.com/office/drawing/2014/main" id="{E464577D-FA89-4238-91F0-6EC775DAAB2B}"/>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endParaRPr lang="en-US"/>
            </a:p>
          </p:txBody>
        </p:sp>
        <p:sp>
          <p:nvSpPr>
            <p:cNvPr id="861" name="Freeform: Shape 860">
              <a:extLst>
                <a:ext uri="{FF2B5EF4-FFF2-40B4-BE49-F238E27FC236}">
                  <a16:creationId xmlns:a16="http://schemas.microsoft.com/office/drawing/2014/main" id="{ADF83C86-F064-4705-8462-D7D8D1A281C0}"/>
                </a:ext>
              </a:extLst>
            </p:cNvPr>
            <p:cNvSpPr/>
            <p:nvPr/>
          </p:nvSpPr>
          <p:spPr>
            <a:xfrm>
              <a:off x="9424754" y="6428761"/>
              <a:ext cx="33392" cy="6729"/>
            </a:xfrm>
            <a:custGeom>
              <a:avLst/>
              <a:gdLst>
                <a:gd name="connsiteX0" fmla="*/ 33392 w 33392"/>
                <a:gd name="connsiteY0" fmla="*/ 0 h 6729"/>
                <a:gd name="connsiteX1" fmla="*/ 33392 w 33392"/>
                <a:gd name="connsiteY1" fmla="*/ 0 h 6729"/>
                <a:gd name="connsiteX2" fmla="*/ 1143 w 33392"/>
                <a:gd name="connsiteY2" fmla="*/ 1016 h 6729"/>
                <a:gd name="connsiteX3" fmla="*/ 0 w 33392"/>
                <a:gd name="connsiteY3" fmla="*/ 1016 h 6729"/>
                <a:gd name="connsiteX4" fmla="*/ 1396 w 33392"/>
                <a:gd name="connsiteY4" fmla="*/ 1016 h 6729"/>
                <a:gd name="connsiteX5" fmla="*/ 7999 w 33392"/>
                <a:gd name="connsiteY5" fmla="*/ 6729 h 6729"/>
                <a:gd name="connsiteX6" fmla="*/ 26790 w 33392"/>
                <a:gd name="connsiteY6" fmla="*/ 6729 h 6729"/>
                <a:gd name="connsiteX7" fmla="*/ 33392 w 33392"/>
                <a:gd name="connsiteY7" fmla="*/ 0 h 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92" h="6729">
                  <a:moveTo>
                    <a:pt x="33392" y="0"/>
                  </a:moveTo>
                  <a:lnTo>
                    <a:pt x="33392" y="0"/>
                  </a:lnTo>
                  <a:lnTo>
                    <a:pt x="1143" y="1016"/>
                  </a:lnTo>
                  <a:lnTo>
                    <a:pt x="0" y="1016"/>
                  </a:lnTo>
                  <a:lnTo>
                    <a:pt x="1396" y="1016"/>
                  </a:lnTo>
                  <a:cubicBezTo>
                    <a:pt x="4685" y="1092"/>
                    <a:pt x="7453" y="3492"/>
                    <a:pt x="7999" y="6729"/>
                  </a:cubicBezTo>
                  <a:lnTo>
                    <a:pt x="26790" y="6729"/>
                  </a:lnTo>
                  <a:cubicBezTo>
                    <a:pt x="26917" y="3111"/>
                    <a:pt x="29787" y="190"/>
                    <a:pt x="33392" y="0"/>
                  </a:cubicBezTo>
                  <a:close/>
                </a:path>
              </a:pathLst>
            </a:custGeom>
            <a:solidFill>
              <a:srgbClr val="000000"/>
            </a:solidFill>
            <a:ln w="12690" cap="flat">
              <a:noFill/>
              <a:prstDash val="solid"/>
              <a:miter/>
            </a:ln>
          </p:spPr>
          <p:txBody>
            <a:bodyPr rtlCol="0" anchor="ctr"/>
            <a:lstStyle/>
            <a:p>
              <a:endParaRPr lang="en-US"/>
            </a:p>
          </p:txBody>
        </p:sp>
        <p:sp>
          <p:nvSpPr>
            <p:cNvPr id="862" name="Freeform: Shape 861">
              <a:extLst>
                <a:ext uri="{FF2B5EF4-FFF2-40B4-BE49-F238E27FC236}">
                  <a16:creationId xmlns:a16="http://schemas.microsoft.com/office/drawing/2014/main" id="{CE314E15-B8BD-4804-BF42-1968D09AE392}"/>
                </a:ext>
              </a:extLst>
            </p:cNvPr>
            <p:cNvSpPr/>
            <p:nvPr/>
          </p:nvSpPr>
          <p:spPr>
            <a:xfrm>
              <a:off x="9432499" y="6435744"/>
              <a:ext cx="18918" cy="2412"/>
            </a:xfrm>
            <a:custGeom>
              <a:avLst/>
              <a:gdLst>
                <a:gd name="connsiteX0" fmla="*/ 18792 w 18918"/>
                <a:gd name="connsiteY0" fmla="*/ 0 h 2412"/>
                <a:gd name="connsiteX1" fmla="*/ 18792 w 18918"/>
                <a:gd name="connsiteY1" fmla="*/ 0 h 2412"/>
                <a:gd name="connsiteX2" fmla="*/ 0 w 18918"/>
                <a:gd name="connsiteY2" fmla="*/ 0 h 2412"/>
                <a:gd name="connsiteX3" fmla="*/ 0 w 18918"/>
                <a:gd name="connsiteY3" fmla="*/ 1270 h 2412"/>
                <a:gd name="connsiteX4" fmla="*/ 0 w 18918"/>
                <a:gd name="connsiteY4" fmla="*/ 2412 h 2412"/>
                <a:gd name="connsiteX5" fmla="*/ 18919 w 18918"/>
                <a:gd name="connsiteY5" fmla="*/ 2412 h 2412"/>
                <a:gd name="connsiteX6" fmla="*/ 18792 w 18918"/>
                <a:gd name="connsiteY6"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18" h="2412">
                  <a:moveTo>
                    <a:pt x="18792" y="0"/>
                  </a:moveTo>
                  <a:lnTo>
                    <a:pt x="18792" y="0"/>
                  </a:lnTo>
                  <a:lnTo>
                    <a:pt x="0" y="0"/>
                  </a:lnTo>
                  <a:cubicBezTo>
                    <a:pt x="77" y="419"/>
                    <a:pt x="77" y="851"/>
                    <a:pt x="0" y="1270"/>
                  </a:cubicBezTo>
                  <a:lnTo>
                    <a:pt x="0" y="2412"/>
                  </a:lnTo>
                  <a:lnTo>
                    <a:pt x="18919" y="2412"/>
                  </a:lnTo>
                  <a:cubicBezTo>
                    <a:pt x="18715" y="1625"/>
                    <a:pt x="18665" y="800"/>
                    <a:pt x="18792" y="0"/>
                  </a:cubicBezTo>
                  <a:close/>
                </a:path>
              </a:pathLst>
            </a:custGeom>
            <a:solidFill>
              <a:srgbClr val="000000"/>
            </a:solidFill>
            <a:ln w="12690" cap="flat">
              <a:noFill/>
              <a:prstDash val="solid"/>
              <a:miter/>
            </a:ln>
          </p:spPr>
          <p:txBody>
            <a:bodyPr rtlCol="0" anchor="ctr"/>
            <a:lstStyle/>
            <a:p>
              <a:endParaRPr lang="en-US"/>
            </a:p>
          </p:txBody>
        </p:sp>
        <p:sp>
          <p:nvSpPr>
            <p:cNvPr id="863" name="Freeform: Shape 862">
              <a:extLst>
                <a:ext uri="{FF2B5EF4-FFF2-40B4-BE49-F238E27FC236}">
                  <a16:creationId xmlns:a16="http://schemas.microsoft.com/office/drawing/2014/main" id="{5FADDA1D-A74D-405A-AFFE-4E81A946C538}"/>
                </a:ext>
              </a:extLst>
            </p:cNvPr>
            <p:cNvSpPr/>
            <p:nvPr/>
          </p:nvSpPr>
          <p:spPr>
            <a:xfrm>
              <a:off x="11160392" y="6430285"/>
              <a:ext cx="64372" cy="11766"/>
            </a:xfrm>
            <a:custGeom>
              <a:avLst/>
              <a:gdLst>
                <a:gd name="connsiteX0" fmla="*/ 64372 w 64372"/>
                <a:gd name="connsiteY0" fmla="*/ 0 h 11766"/>
                <a:gd name="connsiteX1" fmla="*/ 0 w 64372"/>
                <a:gd name="connsiteY1" fmla="*/ 0 h 11766"/>
                <a:gd name="connsiteX2" fmla="*/ 3809 w 64372"/>
                <a:gd name="connsiteY2" fmla="*/ 0 h 11766"/>
                <a:gd name="connsiteX3" fmla="*/ 4952 w 64372"/>
                <a:gd name="connsiteY3" fmla="*/ 0 h 11766"/>
                <a:gd name="connsiteX4" fmla="*/ 6221 w 64372"/>
                <a:gd name="connsiteY4" fmla="*/ 0 h 11766"/>
                <a:gd name="connsiteX5" fmla="*/ 7364 w 64372"/>
                <a:gd name="connsiteY5" fmla="*/ 762 h 11766"/>
                <a:gd name="connsiteX6" fmla="*/ 8379 w 64372"/>
                <a:gd name="connsiteY6" fmla="*/ 1524 h 11766"/>
                <a:gd name="connsiteX7" fmla="*/ 9141 w 64372"/>
                <a:gd name="connsiteY7" fmla="*/ 2666 h 11766"/>
                <a:gd name="connsiteX8" fmla="*/ 9777 w 64372"/>
                <a:gd name="connsiteY8" fmla="*/ 3809 h 11766"/>
                <a:gd name="connsiteX9" fmla="*/ 9777 w 64372"/>
                <a:gd name="connsiteY9" fmla="*/ 5206 h 11766"/>
                <a:gd name="connsiteX10" fmla="*/ 9777 w 64372"/>
                <a:gd name="connsiteY10" fmla="*/ 6221 h 11766"/>
                <a:gd name="connsiteX11" fmla="*/ 9777 w 64372"/>
                <a:gd name="connsiteY11" fmla="*/ 6221 h 11766"/>
                <a:gd name="connsiteX12" fmla="*/ 9777 w 64372"/>
                <a:gd name="connsiteY12" fmla="*/ 6221 h 11766"/>
                <a:gd name="connsiteX13" fmla="*/ 9777 w 64372"/>
                <a:gd name="connsiteY13" fmla="*/ 7491 h 11766"/>
                <a:gd name="connsiteX14" fmla="*/ 9777 w 64372"/>
                <a:gd name="connsiteY14" fmla="*/ 8634 h 11766"/>
                <a:gd name="connsiteX15" fmla="*/ 8888 w 64372"/>
                <a:gd name="connsiteY15" fmla="*/ 9903 h 11766"/>
                <a:gd name="connsiteX16" fmla="*/ 8888 w 64372"/>
                <a:gd name="connsiteY16" fmla="*/ 10665 h 11766"/>
                <a:gd name="connsiteX17" fmla="*/ 7491 w 64372"/>
                <a:gd name="connsiteY17" fmla="*/ 11681 h 11766"/>
                <a:gd name="connsiteX18" fmla="*/ 6730 w 64372"/>
                <a:gd name="connsiteY18" fmla="*/ 11681 h 11766"/>
                <a:gd name="connsiteX19" fmla="*/ 5587 w 64372"/>
                <a:gd name="connsiteY19" fmla="*/ 11681 h 11766"/>
                <a:gd name="connsiteX20" fmla="*/ 58913 w 64372"/>
                <a:gd name="connsiteY20" fmla="*/ 11681 h 11766"/>
                <a:gd name="connsiteX21" fmla="*/ 58913 w 64372"/>
                <a:gd name="connsiteY21" fmla="*/ 6602 h 11766"/>
                <a:gd name="connsiteX22" fmla="*/ 64372 w 64372"/>
                <a:gd name="connsiteY22" fmla="*/ 0 h 1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372" h="11766">
                  <a:moveTo>
                    <a:pt x="64372" y="0"/>
                  </a:moveTo>
                  <a:lnTo>
                    <a:pt x="0" y="0"/>
                  </a:lnTo>
                  <a:lnTo>
                    <a:pt x="3809" y="0"/>
                  </a:lnTo>
                  <a:lnTo>
                    <a:pt x="4952" y="0"/>
                  </a:lnTo>
                  <a:lnTo>
                    <a:pt x="6221" y="0"/>
                  </a:lnTo>
                  <a:lnTo>
                    <a:pt x="7364" y="762"/>
                  </a:lnTo>
                  <a:lnTo>
                    <a:pt x="8379" y="1524"/>
                  </a:lnTo>
                  <a:lnTo>
                    <a:pt x="9141" y="2666"/>
                  </a:lnTo>
                  <a:cubicBezTo>
                    <a:pt x="9395" y="3022"/>
                    <a:pt x="9612" y="3403"/>
                    <a:pt x="9777" y="3809"/>
                  </a:cubicBezTo>
                  <a:cubicBezTo>
                    <a:pt x="9777" y="3809"/>
                    <a:pt x="9777" y="4698"/>
                    <a:pt x="9777" y="5206"/>
                  </a:cubicBezTo>
                  <a:cubicBezTo>
                    <a:pt x="9827" y="5536"/>
                    <a:pt x="9827" y="5891"/>
                    <a:pt x="9777" y="6221"/>
                  </a:cubicBezTo>
                  <a:cubicBezTo>
                    <a:pt x="9777" y="6221"/>
                    <a:pt x="9777" y="6221"/>
                    <a:pt x="9777" y="6221"/>
                  </a:cubicBezTo>
                  <a:cubicBezTo>
                    <a:pt x="9777" y="6221"/>
                    <a:pt x="9777" y="6221"/>
                    <a:pt x="9777" y="6221"/>
                  </a:cubicBezTo>
                  <a:lnTo>
                    <a:pt x="9777" y="7491"/>
                  </a:lnTo>
                  <a:cubicBezTo>
                    <a:pt x="9777" y="7491"/>
                    <a:pt x="9777" y="8253"/>
                    <a:pt x="9777" y="8634"/>
                  </a:cubicBezTo>
                  <a:cubicBezTo>
                    <a:pt x="9447" y="9040"/>
                    <a:pt x="9154" y="9459"/>
                    <a:pt x="8888" y="9903"/>
                  </a:cubicBezTo>
                  <a:lnTo>
                    <a:pt x="8888" y="10665"/>
                  </a:lnTo>
                  <a:lnTo>
                    <a:pt x="7491" y="11681"/>
                  </a:lnTo>
                  <a:cubicBezTo>
                    <a:pt x="7491" y="11681"/>
                    <a:pt x="7491" y="11681"/>
                    <a:pt x="6730" y="11681"/>
                  </a:cubicBezTo>
                  <a:cubicBezTo>
                    <a:pt x="6361" y="11795"/>
                    <a:pt x="5955" y="11795"/>
                    <a:pt x="5587" y="11681"/>
                  </a:cubicBezTo>
                  <a:lnTo>
                    <a:pt x="58913" y="11681"/>
                  </a:lnTo>
                  <a:lnTo>
                    <a:pt x="58913" y="6602"/>
                  </a:lnTo>
                  <a:cubicBezTo>
                    <a:pt x="58963" y="3390"/>
                    <a:pt x="61236" y="648"/>
                    <a:pt x="64372" y="0"/>
                  </a:cubicBezTo>
                  <a:close/>
                </a:path>
              </a:pathLst>
            </a:custGeom>
            <a:solidFill>
              <a:srgbClr val="000000"/>
            </a:solidFill>
            <a:ln w="12690" cap="flat">
              <a:noFill/>
              <a:prstDash val="solid"/>
              <a:miter/>
            </a:ln>
          </p:spPr>
          <p:txBody>
            <a:bodyPr rtlCol="0" anchor="ctr"/>
            <a:lstStyle/>
            <a:p>
              <a:endParaRPr lang="en-US"/>
            </a:p>
          </p:txBody>
        </p:sp>
        <p:sp>
          <p:nvSpPr>
            <p:cNvPr id="864" name="Freeform: Shape 863">
              <a:extLst>
                <a:ext uri="{FF2B5EF4-FFF2-40B4-BE49-F238E27FC236}">
                  <a16:creationId xmlns:a16="http://schemas.microsoft.com/office/drawing/2014/main" id="{E41E3A7D-A607-4CAC-A043-F44B4964E1A0}"/>
                </a:ext>
              </a:extLst>
            </p:cNvPr>
            <p:cNvSpPr/>
            <p:nvPr/>
          </p:nvSpPr>
          <p:spPr>
            <a:xfrm>
              <a:off x="10477818" y="5843441"/>
              <a:ext cx="2412" cy="273614"/>
            </a:xfrm>
            <a:custGeom>
              <a:avLst/>
              <a:gdLst>
                <a:gd name="connsiteX0" fmla="*/ 1143 w 2412"/>
                <a:gd name="connsiteY0" fmla="*/ 273361 h 273614"/>
                <a:gd name="connsiteX1" fmla="*/ 2412 w 2412"/>
                <a:gd name="connsiteY1" fmla="*/ 273361 h 273614"/>
                <a:gd name="connsiteX2" fmla="*/ 2412 w 2412"/>
                <a:gd name="connsiteY2" fmla="*/ 0 h 273614"/>
                <a:gd name="connsiteX3" fmla="*/ 1143 w 2412"/>
                <a:gd name="connsiteY3" fmla="*/ 0 h 273614"/>
                <a:gd name="connsiteX4" fmla="*/ 0 w 2412"/>
                <a:gd name="connsiteY4" fmla="*/ 0 h 273614"/>
                <a:gd name="connsiteX5" fmla="*/ 0 w 2412"/>
                <a:gd name="connsiteY5" fmla="*/ 273615 h 2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614">
                  <a:moveTo>
                    <a:pt x="1143" y="273361"/>
                  </a:moveTo>
                  <a:lnTo>
                    <a:pt x="2412" y="273361"/>
                  </a:lnTo>
                  <a:lnTo>
                    <a:pt x="2412" y="0"/>
                  </a:lnTo>
                  <a:lnTo>
                    <a:pt x="1143" y="0"/>
                  </a:lnTo>
                  <a:lnTo>
                    <a:pt x="0" y="0"/>
                  </a:lnTo>
                  <a:lnTo>
                    <a:pt x="0" y="273615"/>
                  </a:lnTo>
                  <a:close/>
                </a:path>
              </a:pathLst>
            </a:custGeom>
            <a:solidFill>
              <a:srgbClr val="000000"/>
            </a:solidFill>
            <a:ln w="12690" cap="flat">
              <a:noFill/>
              <a:prstDash val="solid"/>
              <a:miter/>
            </a:ln>
          </p:spPr>
          <p:txBody>
            <a:bodyPr rtlCol="0" anchor="ctr"/>
            <a:lstStyle/>
            <a:p>
              <a:endParaRPr lang="en-US"/>
            </a:p>
          </p:txBody>
        </p:sp>
        <p:sp>
          <p:nvSpPr>
            <p:cNvPr id="865" name="Freeform: Shape 864">
              <a:extLst>
                <a:ext uri="{FF2B5EF4-FFF2-40B4-BE49-F238E27FC236}">
                  <a16:creationId xmlns:a16="http://schemas.microsoft.com/office/drawing/2014/main" id="{1EF34B44-369E-49D9-A310-783E06DB78FB}"/>
                </a:ext>
              </a:extLst>
            </p:cNvPr>
            <p:cNvSpPr/>
            <p:nvPr/>
          </p:nvSpPr>
          <p:spPr>
            <a:xfrm>
              <a:off x="10468930" y="5620518"/>
              <a:ext cx="17141" cy="21933"/>
            </a:xfrm>
            <a:custGeom>
              <a:avLst/>
              <a:gdLst>
                <a:gd name="connsiteX0" fmla="*/ 0 w 17141"/>
                <a:gd name="connsiteY0" fmla="*/ 6063 h 21933"/>
                <a:gd name="connsiteX1" fmla="*/ 1143 w 17141"/>
                <a:gd name="connsiteY1" fmla="*/ 11522 h 21933"/>
                <a:gd name="connsiteX2" fmla="*/ 3174 w 17141"/>
                <a:gd name="connsiteY2" fmla="*/ 21934 h 21933"/>
                <a:gd name="connsiteX3" fmla="*/ 3174 w 17141"/>
                <a:gd name="connsiteY3" fmla="*/ 21299 h 21933"/>
                <a:gd name="connsiteX4" fmla="*/ 5841 w 17141"/>
                <a:gd name="connsiteY4" fmla="*/ 16474 h 21933"/>
                <a:gd name="connsiteX5" fmla="*/ 5841 w 17141"/>
                <a:gd name="connsiteY5" fmla="*/ 5047 h 21933"/>
                <a:gd name="connsiteX6" fmla="*/ 7110 w 17141"/>
                <a:gd name="connsiteY6" fmla="*/ 3777 h 21933"/>
                <a:gd name="connsiteX7" fmla="*/ 8253 w 17141"/>
                <a:gd name="connsiteY7" fmla="*/ 5047 h 21933"/>
                <a:gd name="connsiteX8" fmla="*/ 8253 w 17141"/>
                <a:gd name="connsiteY8" fmla="*/ 15077 h 21933"/>
                <a:gd name="connsiteX9" fmla="*/ 10284 w 17141"/>
                <a:gd name="connsiteY9" fmla="*/ 15077 h 21933"/>
                <a:gd name="connsiteX10" fmla="*/ 17141 w 17141"/>
                <a:gd name="connsiteY10" fmla="*/ 21299 h 21933"/>
                <a:gd name="connsiteX11" fmla="*/ 17141 w 17141"/>
                <a:gd name="connsiteY11" fmla="*/ 21299 h 21933"/>
                <a:gd name="connsiteX12" fmla="*/ 13840 w 17141"/>
                <a:gd name="connsiteY12" fmla="*/ 4793 h 21933"/>
                <a:gd name="connsiteX13" fmla="*/ 13840 w 17141"/>
                <a:gd name="connsiteY13" fmla="*/ 4031 h 21933"/>
                <a:gd name="connsiteX14" fmla="*/ 13840 w 17141"/>
                <a:gd name="connsiteY14" fmla="*/ 2762 h 21933"/>
                <a:gd name="connsiteX15" fmla="*/ 13078 w 17141"/>
                <a:gd name="connsiteY15" fmla="*/ 1746 h 21933"/>
                <a:gd name="connsiteX16" fmla="*/ 12189 w 17141"/>
                <a:gd name="connsiteY16" fmla="*/ 857 h 21933"/>
                <a:gd name="connsiteX17" fmla="*/ 11046 w 17141"/>
                <a:gd name="connsiteY17" fmla="*/ 95 h 21933"/>
                <a:gd name="connsiteX18" fmla="*/ 9904 w 17141"/>
                <a:gd name="connsiteY18" fmla="*/ 95 h 21933"/>
                <a:gd name="connsiteX19" fmla="*/ 8507 w 17141"/>
                <a:gd name="connsiteY19" fmla="*/ 95 h 21933"/>
                <a:gd name="connsiteX20" fmla="*/ 6475 w 17141"/>
                <a:gd name="connsiteY20" fmla="*/ 95 h 21933"/>
                <a:gd name="connsiteX21" fmla="*/ 0 w 17141"/>
                <a:gd name="connsiteY21" fmla="*/ 6063 h 2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1" h="21933">
                  <a:moveTo>
                    <a:pt x="0" y="6063"/>
                  </a:moveTo>
                  <a:lnTo>
                    <a:pt x="1143" y="11522"/>
                  </a:lnTo>
                  <a:lnTo>
                    <a:pt x="3174" y="21934"/>
                  </a:lnTo>
                  <a:lnTo>
                    <a:pt x="3174" y="21299"/>
                  </a:lnTo>
                  <a:cubicBezTo>
                    <a:pt x="3365" y="19393"/>
                    <a:pt x="4330" y="17649"/>
                    <a:pt x="5841" y="16474"/>
                  </a:cubicBezTo>
                  <a:lnTo>
                    <a:pt x="5841" y="5047"/>
                  </a:lnTo>
                  <a:cubicBezTo>
                    <a:pt x="5841" y="4346"/>
                    <a:pt x="6412" y="3777"/>
                    <a:pt x="7110" y="3777"/>
                  </a:cubicBezTo>
                  <a:cubicBezTo>
                    <a:pt x="7758" y="3843"/>
                    <a:pt x="8253" y="4393"/>
                    <a:pt x="8253" y="5047"/>
                  </a:cubicBezTo>
                  <a:lnTo>
                    <a:pt x="8253" y="15077"/>
                  </a:lnTo>
                  <a:lnTo>
                    <a:pt x="10284" y="15077"/>
                  </a:lnTo>
                  <a:cubicBezTo>
                    <a:pt x="13814" y="15121"/>
                    <a:pt x="16760" y="17791"/>
                    <a:pt x="17141" y="21299"/>
                  </a:cubicBezTo>
                  <a:cubicBezTo>
                    <a:pt x="17141" y="21299"/>
                    <a:pt x="17141" y="21299"/>
                    <a:pt x="17141" y="21299"/>
                  </a:cubicBezTo>
                  <a:lnTo>
                    <a:pt x="13840" y="4793"/>
                  </a:lnTo>
                  <a:cubicBezTo>
                    <a:pt x="13840" y="4793"/>
                    <a:pt x="13840" y="4793"/>
                    <a:pt x="13840" y="4031"/>
                  </a:cubicBezTo>
                  <a:cubicBezTo>
                    <a:pt x="13814" y="3608"/>
                    <a:pt x="13814" y="3184"/>
                    <a:pt x="13840" y="2762"/>
                  </a:cubicBezTo>
                  <a:lnTo>
                    <a:pt x="13078" y="1746"/>
                  </a:lnTo>
                  <a:cubicBezTo>
                    <a:pt x="12811" y="1418"/>
                    <a:pt x="12519" y="1120"/>
                    <a:pt x="12189" y="857"/>
                  </a:cubicBezTo>
                  <a:lnTo>
                    <a:pt x="11046" y="95"/>
                  </a:lnTo>
                  <a:lnTo>
                    <a:pt x="9904" y="95"/>
                  </a:lnTo>
                  <a:lnTo>
                    <a:pt x="8507" y="95"/>
                  </a:lnTo>
                  <a:cubicBezTo>
                    <a:pt x="7834" y="-32"/>
                    <a:pt x="7149" y="-32"/>
                    <a:pt x="6475" y="95"/>
                  </a:cubicBezTo>
                  <a:cubicBezTo>
                    <a:pt x="3174" y="301"/>
                    <a:pt x="470" y="2792"/>
                    <a:pt x="0" y="6063"/>
                  </a:cubicBezTo>
                  <a:close/>
                </a:path>
              </a:pathLst>
            </a:custGeom>
            <a:solidFill>
              <a:srgbClr val="000000"/>
            </a:solidFill>
            <a:ln w="12690" cap="flat">
              <a:noFill/>
              <a:prstDash val="solid"/>
              <a:miter/>
            </a:ln>
          </p:spPr>
          <p:txBody>
            <a:bodyPr rtlCol="0" anchor="ctr"/>
            <a:lstStyle/>
            <a:p>
              <a:endParaRPr lang="en-US"/>
            </a:p>
          </p:txBody>
        </p:sp>
        <p:sp>
          <p:nvSpPr>
            <p:cNvPr id="866" name="Freeform: Shape 865">
              <a:extLst>
                <a:ext uri="{FF2B5EF4-FFF2-40B4-BE49-F238E27FC236}">
                  <a16:creationId xmlns:a16="http://schemas.microsoft.com/office/drawing/2014/main" id="{8FEC224E-432E-48AF-A455-34136A216565}"/>
                </a:ext>
              </a:extLst>
            </p:cNvPr>
            <p:cNvSpPr/>
            <p:nvPr/>
          </p:nvSpPr>
          <p:spPr>
            <a:xfrm>
              <a:off x="10474517" y="5623914"/>
              <a:ext cx="2412" cy="13077"/>
            </a:xfrm>
            <a:custGeom>
              <a:avLst/>
              <a:gdLst>
                <a:gd name="connsiteX0" fmla="*/ 2412 w 2412"/>
                <a:gd name="connsiteY0" fmla="*/ 1270 h 13077"/>
                <a:gd name="connsiteX1" fmla="*/ 1270 w 2412"/>
                <a:gd name="connsiteY1" fmla="*/ 0 h 13077"/>
                <a:gd name="connsiteX2" fmla="*/ 0 w 2412"/>
                <a:gd name="connsiteY2" fmla="*/ 1270 h 13077"/>
                <a:gd name="connsiteX3" fmla="*/ 0 w 2412"/>
                <a:gd name="connsiteY3" fmla="*/ 13078 h 13077"/>
                <a:gd name="connsiteX4" fmla="*/ 2412 w 2412"/>
                <a:gd name="connsiteY4" fmla="*/ 11681 h 13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3077">
                  <a:moveTo>
                    <a:pt x="2412" y="1270"/>
                  </a:moveTo>
                  <a:cubicBezTo>
                    <a:pt x="2412" y="616"/>
                    <a:pt x="1917" y="66"/>
                    <a:pt x="1270" y="0"/>
                  </a:cubicBezTo>
                  <a:cubicBezTo>
                    <a:pt x="572" y="0"/>
                    <a:pt x="0" y="569"/>
                    <a:pt x="0" y="1270"/>
                  </a:cubicBezTo>
                  <a:lnTo>
                    <a:pt x="0" y="13078"/>
                  </a:lnTo>
                  <a:cubicBezTo>
                    <a:pt x="724" y="12491"/>
                    <a:pt x="1537" y="12020"/>
                    <a:pt x="2412" y="11681"/>
                  </a:cubicBezTo>
                  <a:close/>
                </a:path>
              </a:pathLst>
            </a:custGeom>
            <a:solidFill>
              <a:srgbClr val="000000"/>
            </a:solidFill>
            <a:ln w="12690" cap="flat">
              <a:noFill/>
              <a:prstDash val="solid"/>
              <a:miter/>
            </a:ln>
          </p:spPr>
          <p:txBody>
            <a:bodyPr rtlCol="0" anchor="ctr"/>
            <a:lstStyle/>
            <a:p>
              <a:endParaRPr lang="en-US"/>
            </a:p>
          </p:txBody>
        </p:sp>
        <p:sp>
          <p:nvSpPr>
            <p:cNvPr id="867" name="Freeform: Shape 866">
              <a:extLst>
                <a:ext uri="{FF2B5EF4-FFF2-40B4-BE49-F238E27FC236}">
                  <a16:creationId xmlns:a16="http://schemas.microsoft.com/office/drawing/2014/main" id="{B21ED556-6E9B-4DBA-A648-DB182C417554}"/>
                </a:ext>
              </a:extLst>
            </p:cNvPr>
            <p:cNvSpPr/>
            <p:nvPr/>
          </p:nvSpPr>
          <p:spPr>
            <a:xfrm>
              <a:off x="10795997" y="5655308"/>
              <a:ext cx="185498" cy="13933"/>
            </a:xfrm>
            <a:custGeom>
              <a:avLst/>
              <a:gdLst>
                <a:gd name="connsiteX0" fmla="*/ 7364 w 185498"/>
                <a:gd name="connsiteY0" fmla="*/ 8601 h 13933"/>
                <a:gd name="connsiteX1" fmla="*/ 6095 w 185498"/>
                <a:gd name="connsiteY1" fmla="*/ 13934 h 13933"/>
                <a:gd name="connsiteX2" fmla="*/ 178643 w 185498"/>
                <a:gd name="connsiteY2" fmla="*/ 13934 h 13933"/>
                <a:gd name="connsiteX3" fmla="*/ 178643 w 185498"/>
                <a:gd name="connsiteY3" fmla="*/ 7077 h 13933"/>
                <a:gd name="connsiteX4" fmla="*/ 185499 w 185498"/>
                <a:gd name="connsiteY4" fmla="*/ 94 h 13933"/>
                <a:gd name="connsiteX5" fmla="*/ 0 w 185498"/>
                <a:gd name="connsiteY5" fmla="*/ 94 h 13933"/>
                <a:gd name="connsiteX6" fmla="*/ 2158 w 185498"/>
                <a:gd name="connsiteY6" fmla="*/ 94 h 13933"/>
                <a:gd name="connsiteX7" fmla="*/ 7402 w 185498"/>
                <a:gd name="connsiteY7" fmla="*/ 8466 h 13933"/>
                <a:gd name="connsiteX8" fmla="*/ 7364 w 185498"/>
                <a:gd name="connsiteY8" fmla="*/ 8601 h 1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498" h="13933">
                  <a:moveTo>
                    <a:pt x="7364" y="8601"/>
                  </a:moveTo>
                  <a:lnTo>
                    <a:pt x="6095" y="13934"/>
                  </a:lnTo>
                  <a:lnTo>
                    <a:pt x="178643" y="13934"/>
                  </a:lnTo>
                  <a:lnTo>
                    <a:pt x="178643" y="7077"/>
                  </a:lnTo>
                  <a:cubicBezTo>
                    <a:pt x="178643" y="3270"/>
                    <a:pt x="181690" y="164"/>
                    <a:pt x="185499" y="94"/>
                  </a:cubicBezTo>
                  <a:lnTo>
                    <a:pt x="0" y="94"/>
                  </a:lnTo>
                  <a:cubicBezTo>
                    <a:pt x="711" y="-31"/>
                    <a:pt x="1448" y="-31"/>
                    <a:pt x="2158" y="94"/>
                  </a:cubicBezTo>
                  <a:cubicBezTo>
                    <a:pt x="5917" y="960"/>
                    <a:pt x="8266" y="4708"/>
                    <a:pt x="7402" y="8466"/>
                  </a:cubicBezTo>
                  <a:cubicBezTo>
                    <a:pt x="7390" y="8511"/>
                    <a:pt x="7377" y="8557"/>
                    <a:pt x="7364" y="8601"/>
                  </a:cubicBezTo>
                  <a:close/>
                </a:path>
              </a:pathLst>
            </a:custGeom>
            <a:solidFill>
              <a:srgbClr val="000000"/>
            </a:solidFill>
            <a:ln w="12690" cap="flat">
              <a:noFill/>
              <a:prstDash val="solid"/>
              <a:miter/>
            </a:ln>
          </p:spPr>
          <p:txBody>
            <a:bodyPr rtlCol="0" anchor="ctr"/>
            <a:lstStyle/>
            <a:p>
              <a:endParaRPr lang="en-US"/>
            </a:p>
          </p:txBody>
        </p:sp>
        <p:sp>
          <p:nvSpPr>
            <p:cNvPr id="868" name="Freeform: Shape 867">
              <a:extLst>
                <a:ext uri="{FF2B5EF4-FFF2-40B4-BE49-F238E27FC236}">
                  <a16:creationId xmlns:a16="http://schemas.microsoft.com/office/drawing/2014/main" id="{8E8D2233-8B70-4146-8EF7-F487492E96F8}"/>
                </a:ext>
              </a:extLst>
            </p:cNvPr>
            <p:cNvSpPr/>
            <p:nvPr/>
          </p:nvSpPr>
          <p:spPr>
            <a:xfrm>
              <a:off x="10788379" y="5655562"/>
              <a:ext cx="14505" cy="14695"/>
            </a:xfrm>
            <a:custGeom>
              <a:avLst/>
              <a:gdLst>
                <a:gd name="connsiteX0" fmla="*/ 6602 w 14505"/>
                <a:gd name="connsiteY0" fmla="*/ 6824 h 14695"/>
                <a:gd name="connsiteX1" fmla="*/ 6602 w 14505"/>
                <a:gd name="connsiteY1" fmla="*/ 6824 h 14695"/>
                <a:gd name="connsiteX2" fmla="*/ 6602 w 14505"/>
                <a:gd name="connsiteY2" fmla="*/ 6824 h 14695"/>
                <a:gd name="connsiteX3" fmla="*/ 7605 w 14505"/>
                <a:gd name="connsiteY3" fmla="*/ 5554 h 14695"/>
                <a:gd name="connsiteX4" fmla="*/ 7872 w 14505"/>
                <a:gd name="connsiteY4" fmla="*/ 5554 h 14695"/>
                <a:gd name="connsiteX5" fmla="*/ 9027 w 14505"/>
                <a:gd name="connsiteY5" fmla="*/ 6689 h 14695"/>
                <a:gd name="connsiteX6" fmla="*/ 9014 w 14505"/>
                <a:gd name="connsiteY6" fmla="*/ 6824 h 14695"/>
                <a:gd name="connsiteX7" fmla="*/ 9014 w 14505"/>
                <a:gd name="connsiteY7" fmla="*/ 7712 h 14695"/>
                <a:gd name="connsiteX8" fmla="*/ 13077 w 14505"/>
                <a:gd name="connsiteY8" fmla="*/ 13934 h 14695"/>
                <a:gd name="connsiteX9" fmla="*/ 13077 w 14505"/>
                <a:gd name="connsiteY9" fmla="*/ 14696 h 14695"/>
                <a:gd name="connsiteX10" fmla="*/ 13077 w 14505"/>
                <a:gd name="connsiteY10" fmla="*/ 13680 h 14695"/>
                <a:gd name="connsiteX11" fmla="*/ 14347 w 14505"/>
                <a:gd name="connsiteY11" fmla="*/ 8347 h 14695"/>
                <a:gd name="connsiteX12" fmla="*/ 9141 w 14505"/>
                <a:gd name="connsiteY12" fmla="*/ 94 h 14695"/>
                <a:gd name="connsiteX13" fmla="*/ 6983 w 14505"/>
                <a:gd name="connsiteY13" fmla="*/ 94 h 14695"/>
                <a:gd name="connsiteX14" fmla="*/ 5587 w 14505"/>
                <a:gd name="connsiteY14" fmla="*/ 94 h 14695"/>
                <a:gd name="connsiteX15" fmla="*/ 4444 w 14505"/>
                <a:gd name="connsiteY15" fmla="*/ 94 h 14695"/>
                <a:gd name="connsiteX16" fmla="*/ 3301 w 14505"/>
                <a:gd name="connsiteY16" fmla="*/ 856 h 14695"/>
                <a:gd name="connsiteX17" fmla="*/ 2412 w 14505"/>
                <a:gd name="connsiteY17" fmla="*/ 1745 h 14695"/>
                <a:gd name="connsiteX18" fmla="*/ 1651 w 14505"/>
                <a:gd name="connsiteY18" fmla="*/ 2761 h 14695"/>
                <a:gd name="connsiteX19" fmla="*/ 1651 w 14505"/>
                <a:gd name="connsiteY19" fmla="*/ 4030 h 14695"/>
                <a:gd name="connsiteX20" fmla="*/ 1651 w 14505"/>
                <a:gd name="connsiteY20" fmla="*/ 4030 h 14695"/>
                <a:gd name="connsiteX21" fmla="*/ 0 w 14505"/>
                <a:gd name="connsiteY21" fmla="*/ 11267 h 14695"/>
                <a:gd name="connsiteX22" fmla="*/ 0 w 14505"/>
                <a:gd name="connsiteY22" fmla="*/ 12029 h 14695"/>
                <a:gd name="connsiteX23" fmla="*/ 6602 w 14505"/>
                <a:gd name="connsiteY23" fmla="*/ 6824 h 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505" h="14695">
                  <a:moveTo>
                    <a:pt x="6602" y="6824"/>
                  </a:moveTo>
                  <a:lnTo>
                    <a:pt x="6602" y="6824"/>
                  </a:lnTo>
                  <a:lnTo>
                    <a:pt x="6602" y="6824"/>
                  </a:lnTo>
                  <a:cubicBezTo>
                    <a:pt x="6526" y="6196"/>
                    <a:pt x="6971" y="5629"/>
                    <a:pt x="7605" y="5554"/>
                  </a:cubicBezTo>
                  <a:cubicBezTo>
                    <a:pt x="7694" y="5544"/>
                    <a:pt x="7783" y="5544"/>
                    <a:pt x="7872" y="5554"/>
                  </a:cubicBezTo>
                  <a:cubicBezTo>
                    <a:pt x="8507" y="5550"/>
                    <a:pt x="9014" y="6058"/>
                    <a:pt x="9027" y="6689"/>
                  </a:cubicBezTo>
                  <a:cubicBezTo>
                    <a:pt x="9027" y="6735"/>
                    <a:pt x="9014" y="6779"/>
                    <a:pt x="9014" y="6824"/>
                  </a:cubicBezTo>
                  <a:lnTo>
                    <a:pt x="9014" y="7712"/>
                  </a:lnTo>
                  <a:cubicBezTo>
                    <a:pt x="11490" y="8783"/>
                    <a:pt x="13090" y="11232"/>
                    <a:pt x="13077" y="13934"/>
                  </a:cubicBezTo>
                  <a:lnTo>
                    <a:pt x="13077" y="14696"/>
                  </a:lnTo>
                  <a:lnTo>
                    <a:pt x="13077" y="13680"/>
                  </a:lnTo>
                  <a:lnTo>
                    <a:pt x="14347" y="8347"/>
                  </a:lnTo>
                  <a:cubicBezTo>
                    <a:pt x="15147" y="4640"/>
                    <a:pt x="12836" y="975"/>
                    <a:pt x="9141" y="94"/>
                  </a:cubicBezTo>
                  <a:cubicBezTo>
                    <a:pt x="8431" y="-31"/>
                    <a:pt x="7694" y="-31"/>
                    <a:pt x="6983" y="94"/>
                  </a:cubicBezTo>
                  <a:lnTo>
                    <a:pt x="5587" y="94"/>
                  </a:lnTo>
                  <a:lnTo>
                    <a:pt x="4444" y="94"/>
                  </a:lnTo>
                  <a:lnTo>
                    <a:pt x="3301" y="856"/>
                  </a:lnTo>
                  <a:cubicBezTo>
                    <a:pt x="2971" y="1119"/>
                    <a:pt x="2679" y="1417"/>
                    <a:pt x="2412" y="1745"/>
                  </a:cubicBezTo>
                  <a:lnTo>
                    <a:pt x="1651" y="2761"/>
                  </a:lnTo>
                  <a:cubicBezTo>
                    <a:pt x="1599" y="3182"/>
                    <a:pt x="1599" y="3609"/>
                    <a:pt x="1651" y="4030"/>
                  </a:cubicBezTo>
                  <a:cubicBezTo>
                    <a:pt x="1651" y="4030"/>
                    <a:pt x="1651" y="4030"/>
                    <a:pt x="1651" y="4030"/>
                  </a:cubicBezTo>
                  <a:lnTo>
                    <a:pt x="0" y="11267"/>
                  </a:lnTo>
                  <a:cubicBezTo>
                    <a:pt x="0" y="11267"/>
                    <a:pt x="0" y="11267"/>
                    <a:pt x="0" y="12029"/>
                  </a:cubicBezTo>
                  <a:cubicBezTo>
                    <a:pt x="749" y="8990"/>
                    <a:pt x="3466" y="6848"/>
                    <a:pt x="6602" y="6824"/>
                  </a:cubicBezTo>
                  <a:close/>
                </a:path>
              </a:pathLst>
            </a:custGeom>
            <a:solidFill>
              <a:srgbClr val="000000"/>
            </a:solidFill>
            <a:ln w="12690" cap="flat">
              <a:noFill/>
              <a:prstDash val="solid"/>
              <a:miter/>
            </a:ln>
          </p:spPr>
          <p:txBody>
            <a:bodyPr rtlCol="0" anchor="ctr"/>
            <a:lstStyle/>
            <a:p>
              <a:endParaRPr lang="en-US"/>
            </a:p>
          </p:txBody>
        </p:sp>
        <p:sp>
          <p:nvSpPr>
            <p:cNvPr id="869" name="Freeform: Shape 868">
              <a:extLst>
                <a:ext uri="{FF2B5EF4-FFF2-40B4-BE49-F238E27FC236}">
                  <a16:creationId xmlns:a16="http://schemas.microsoft.com/office/drawing/2014/main" id="{5DBB6F9E-47D8-4A27-AA53-79ADA1D0272A}"/>
                </a:ext>
              </a:extLst>
            </p:cNvPr>
            <p:cNvSpPr/>
            <p:nvPr/>
          </p:nvSpPr>
          <p:spPr>
            <a:xfrm>
              <a:off x="10278988" y="5634833"/>
              <a:ext cx="151217" cy="13839"/>
            </a:xfrm>
            <a:custGeom>
              <a:avLst/>
              <a:gdLst>
                <a:gd name="connsiteX0" fmla="*/ 6983 w 151217"/>
                <a:gd name="connsiteY0" fmla="*/ 6983 h 13839"/>
                <a:gd name="connsiteX1" fmla="*/ 6983 w 151217"/>
                <a:gd name="connsiteY1" fmla="*/ 13839 h 13839"/>
                <a:gd name="connsiteX2" fmla="*/ 151217 w 151217"/>
                <a:gd name="connsiteY2" fmla="*/ 13839 h 13839"/>
                <a:gd name="connsiteX3" fmla="*/ 151217 w 151217"/>
                <a:gd name="connsiteY3" fmla="*/ 0 h 13839"/>
                <a:gd name="connsiteX4" fmla="*/ 0 w 151217"/>
                <a:gd name="connsiteY4" fmla="*/ 0 h 13839"/>
                <a:gd name="connsiteX5" fmla="*/ 6983 w 151217"/>
                <a:gd name="connsiteY5"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217" h="13839">
                  <a:moveTo>
                    <a:pt x="6983" y="6983"/>
                  </a:moveTo>
                  <a:lnTo>
                    <a:pt x="6983" y="13839"/>
                  </a:lnTo>
                  <a:lnTo>
                    <a:pt x="151217" y="13839"/>
                  </a:lnTo>
                  <a:lnTo>
                    <a:pt x="151217" y="0"/>
                  </a:lnTo>
                  <a:lnTo>
                    <a:pt x="0" y="0"/>
                  </a:lnTo>
                  <a:cubicBezTo>
                    <a:pt x="3859" y="0"/>
                    <a:pt x="6983" y="3126"/>
                    <a:pt x="6983" y="6983"/>
                  </a:cubicBezTo>
                  <a:close/>
                </a:path>
              </a:pathLst>
            </a:custGeom>
            <a:solidFill>
              <a:srgbClr val="000000"/>
            </a:solidFill>
            <a:ln w="12690" cap="flat">
              <a:noFill/>
              <a:prstDash val="solid"/>
              <a:miter/>
            </a:ln>
          </p:spPr>
          <p:txBody>
            <a:bodyPr rtlCol="0" anchor="ctr"/>
            <a:lstStyle/>
            <a:p>
              <a:endParaRPr lang="en-US"/>
            </a:p>
          </p:txBody>
        </p:sp>
        <p:sp>
          <p:nvSpPr>
            <p:cNvPr id="870" name="Freeform: Shape 869">
              <a:extLst>
                <a:ext uri="{FF2B5EF4-FFF2-40B4-BE49-F238E27FC236}">
                  <a16:creationId xmlns:a16="http://schemas.microsoft.com/office/drawing/2014/main" id="{90324575-5D43-4CDD-8ABD-99E20BD30F33}"/>
                </a:ext>
              </a:extLst>
            </p:cNvPr>
            <p:cNvSpPr/>
            <p:nvPr/>
          </p:nvSpPr>
          <p:spPr>
            <a:xfrm>
              <a:off x="10787960" y="5662385"/>
              <a:ext cx="6767" cy="167216"/>
            </a:xfrm>
            <a:custGeom>
              <a:avLst/>
              <a:gdLst>
                <a:gd name="connsiteX0" fmla="*/ 6767 w 6767"/>
                <a:gd name="connsiteY0" fmla="*/ 152361 h 167216"/>
                <a:gd name="connsiteX1" fmla="*/ 6767 w 6767"/>
                <a:gd name="connsiteY1" fmla="*/ 152361 h 167216"/>
                <a:gd name="connsiteX2" fmla="*/ 6767 w 6767"/>
                <a:gd name="connsiteY2" fmla="*/ 150076 h 167216"/>
                <a:gd name="connsiteX3" fmla="*/ 6767 w 6767"/>
                <a:gd name="connsiteY3" fmla="*/ 0 h 167216"/>
                <a:gd name="connsiteX4" fmla="*/ 6767 w 6767"/>
                <a:gd name="connsiteY4" fmla="*/ 0 h 167216"/>
                <a:gd name="connsiteX5" fmla="*/ 38 w 6767"/>
                <a:gd name="connsiteY5" fmla="*/ 6221 h 167216"/>
                <a:gd name="connsiteX6" fmla="*/ 38 w 6767"/>
                <a:gd name="connsiteY6" fmla="*/ 6983 h 167216"/>
                <a:gd name="connsiteX7" fmla="*/ 38 w 6767"/>
                <a:gd name="connsiteY7" fmla="*/ 167216 h 167216"/>
                <a:gd name="connsiteX8" fmla="*/ 2197 w 6767"/>
                <a:gd name="connsiteY8" fmla="*/ 167216 h 16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7" h="167216">
                  <a:moveTo>
                    <a:pt x="6767" y="152361"/>
                  </a:moveTo>
                  <a:lnTo>
                    <a:pt x="6767" y="152361"/>
                  </a:lnTo>
                  <a:lnTo>
                    <a:pt x="6767" y="150076"/>
                  </a:lnTo>
                  <a:lnTo>
                    <a:pt x="6767" y="0"/>
                  </a:lnTo>
                  <a:lnTo>
                    <a:pt x="6767" y="0"/>
                  </a:lnTo>
                  <a:cubicBezTo>
                    <a:pt x="3263" y="49"/>
                    <a:pt x="368" y="2732"/>
                    <a:pt x="38" y="6221"/>
                  </a:cubicBezTo>
                  <a:cubicBezTo>
                    <a:pt x="-13" y="6473"/>
                    <a:pt x="-13" y="6732"/>
                    <a:pt x="38" y="6983"/>
                  </a:cubicBezTo>
                  <a:lnTo>
                    <a:pt x="38" y="167216"/>
                  </a:lnTo>
                  <a:lnTo>
                    <a:pt x="2197" y="167216"/>
                  </a:lnTo>
                  <a:close/>
                </a:path>
              </a:pathLst>
            </a:custGeom>
            <a:solidFill>
              <a:srgbClr val="000000"/>
            </a:solidFill>
            <a:ln w="12690" cap="flat">
              <a:noFill/>
              <a:prstDash val="solid"/>
              <a:miter/>
            </a:ln>
          </p:spPr>
          <p:txBody>
            <a:bodyPr rtlCol="0" anchor="ctr"/>
            <a:lstStyle/>
            <a:p>
              <a:endParaRPr lang="en-US"/>
            </a:p>
          </p:txBody>
        </p:sp>
        <p:sp>
          <p:nvSpPr>
            <p:cNvPr id="871" name="Freeform: Shape 870">
              <a:extLst>
                <a:ext uri="{FF2B5EF4-FFF2-40B4-BE49-F238E27FC236}">
                  <a16:creationId xmlns:a16="http://schemas.microsoft.com/office/drawing/2014/main" id="{C3F0CCF1-260D-4A6D-98D4-F9B3954BCDFF}"/>
                </a:ext>
              </a:extLst>
            </p:cNvPr>
            <p:cNvSpPr/>
            <p:nvPr/>
          </p:nvSpPr>
          <p:spPr>
            <a:xfrm>
              <a:off x="10797013" y="5663274"/>
              <a:ext cx="4063" cy="140933"/>
            </a:xfrm>
            <a:custGeom>
              <a:avLst/>
              <a:gdLst>
                <a:gd name="connsiteX0" fmla="*/ 1524 w 4063"/>
                <a:gd name="connsiteY0" fmla="*/ 138776 h 140933"/>
                <a:gd name="connsiteX1" fmla="*/ 1524 w 4063"/>
                <a:gd name="connsiteY1" fmla="*/ 138776 h 140933"/>
                <a:gd name="connsiteX2" fmla="*/ 1524 w 4063"/>
                <a:gd name="connsiteY2" fmla="*/ 137506 h 140933"/>
                <a:gd name="connsiteX3" fmla="*/ 2285 w 4063"/>
                <a:gd name="connsiteY3" fmla="*/ 136363 h 140933"/>
                <a:gd name="connsiteX4" fmla="*/ 3301 w 4063"/>
                <a:gd name="connsiteY4" fmla="*/ 135601 h 140933"/>
                <a:gd name="connsiteX5" fmla="*/ 4063 w 4063"/>
                <a:gd name="connsiteY5" fmla="*/ 135601 h 140933"/>
                <a:gd name="connsiteX6" fmla="*/ 4063 w 4063"/>
                <a:gd name="connsiteY6" fmla="*/ 6221 h 140933"/>
                <a:gd name="connsiteX7" fmla="*/ 0 w 4063"/>
                <a:gd name="connsiteY7" fmla="*/ 0 h 140933"/>
                <a:gd name="connsiteX8" fmla="*/ 0 w 4063"/>
                <a:gd name="connsiteY8" fmla="*/ 140934 h 1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3" h="140933">
                  <a:moveTo>
                    <a:pt x="1524" y="138776"/>
                  </a:moveTo>
                  <a:cubicBezTo>
                    <a:pt x="1524" y="138776"/>
                    <a:pt x="1524" y="138776"/>
                    <a:pt x="1524" y="138776"/>
                  </a:cubicBezTo>
                  <a:cubicBezTo>
                    <a:pt x="1460" y="138355"/>
                    <a:pt x="1460" y="137926"/>
                    <a:pt x="1524" y="137506"/>
                  </a:cubicBezTo>
                  <a:lnTo>
                    <a:pt x="2285" y="136363"/>
                  </a:lnTo>
                  <a:lnTo>
                    <a:pt x="3301" y="135601"/>
                  </a:lnTo>
                  <a:lnTo>
                    <a:pt x="4063" y="135601"/>
                  </a:lnTo>
                  <a:lnTo>
                    <a:pt x="4063" y="6221"/>
                  </a:lnTo>
                  <a:cubicBezTo>
                    <a:pt x="4075" y="3520"/>
                    <a:pt x="2476" y="1070"/>
                    <a:pt x="0" y="0"/>
                  </a:cubicBezTo>
                  <a:lnTo>
                    <a:pt x="0" y="140934"/>
                  </a:lnTo>
                  <a:close/>
                </a:path>
              </a:pathLst>
            </a:custGeom>
            <a:solidFill>
              <a:srgbClr val="000000"/>
            </a:solidFill>
            <a:ln w="12690" cap="flat">
              <a:noFill/>
              <a:prstDash val="solid"/>
              <a:miter/>
            </a:ln>
          </p:spPr>
          <p:txBody>
            <a:bodyPr rtlCol="0" anchor="ctr"/>
            <a:lstStyle/>
            <a:p>
              <a:endParaRPr lang="en-US"/>
            </a:p>
          </p:txBody>
        </p:sp>
        <p:sp>
          <p:nvSpPr>
            <p:cNvPr id="872" name="Freeform: Shape 871">
              <a:extLst>
                <a:ext uri="{FF2B5EF4-FFF2-40B4-BE49-F238E27FC236}">
                  <a16:creationId xmlns:a16="http://schemas.microsoft.com/office/drawing/2014/main" id="{A747D990-DBEA-47B0-B563-11354550673B}"/>
                </a:ext>
              </a:extLst>
            </p:cNvPr>
            <p:cNvSpPr/>
            <p:nvPr/>
          </p:nvSpPr>
          <p:spPr>
            <a:xfrm>
              <a:off x="10472104" y="5825411"/>
              <a:ext cx="2412" cy="11173"/>
            </a:xfrm>
            <a:custGeom>
              <a:avLst/>
              <a:gdLst>
                <a:gd name="connsiteX0" fmla="*/ 0 w 2412"/>
                <a:gd name="connsiteY0" fmla="*/ 0 h 11173"/>
                <a:gd name="connsiteX1" fmla="*/ 0 w 2412"/>
                <a:gd name="connsiteY1" fmla="*/ 11173 h 11173"/>
                <a:gd name="connsiteX2" fmla="*/ 2412 w 2412"/>
                <a:gd name="connsiteY2" fmla="*/ 5967 h 11173"/>
                <a:gd name="connsiteX3" fmla="*/ 2412 w 2412"/>
                <a:gd name="connsiteY3" fmla="*/ 0 h 11173"/>
              </a:gdLst>
              <a:ahLst/>
              <a:cxnLst>
                <a:cxn ang="0">
                  <a:pos x="connsiteX0" y="connsiteY0"/>
                </a:cxn>
                <a:cxn ang="0">
                  <a:pos x="connsiteX1" y="connsiteY1"/>
                </a:cxn>
                <a:cxn ang="0">
                  <a:pos x="connsiteX2" y="connsiteY2"/>
                </a:cxn>
                <a:cxn ang="0">
                  <a:pos x="connsiteX3" y="connsiteY3"/>
                </a:cxn>
              </a:cxnLst>
              <a:rect l="l" t="t" r="r" b="b"/>
              <a:pathLst>
                <a:path w="2412" h="11173">
                  <a:moveTo>
                    <a:pt x="0" y="0"/>
                  </a:moveTo>
                  <a:lnTo>
                    <a:pt x="0" y="11173"/>
                  </a:lnTo>
                  <a:cubicBezTo>
                    <a:pt x="26" y="9172"/>
                    <a:pt x="902" y="7277"/>
                    <a:pt x="2412" y="5967"/>
                  </a:cubicBezTo>
                  <a:lnTo>
                    <a:pt x="2412" y="0"/>
                  </a:lnTo>
                  <a:close/>
                </a:path>
              </a:pathLst>
            </a:custGeom>
            <a:solidFill>
              <a:srgbClr val="000000"/>
            </a:solidFill>
            <a:ln w="12690" cap="flat">
              <a:noFill/>
              <a:prstDash val="solid"/>
              <a:miter/>
            </a:ln>
          </p:spPr>
          <p:txBody>
            <a:bodyPr rtlCol="0" anchor="ctr"/>
            <a:lstStyle/>
            <a:p>
              <a:endParaRPr lang="en-US"/>
            </a:p>
          </p:txBody>
        </p:sp>
        <p:sp>
          <p:nvSpPr>
            <p:cNvPr id="873" name="Freeform: Shape 872">
              <a:extLst>
                <a:ext uri="{FF2B5EF4-FFF2-40B4-BE49-F238E27FC236}">
                  <a16:creationId xmlns:a16="http://schemas.microsoft.com/office/drawing/2014/main" id="{8CAE1358-E2C5-4676-B788-C3738DCCB94A}"/>
                </a:ext>
              </a:extLst>
            </p:cNvPr>
            <p:cNvSpPr/>
            <p:nvPr/>
          </p:nvSpPr>
          <p:spPr>
            <a:xfrm>
              <a:off x="10472359" y="5634827"/>
              <a:ext cx="13839" cy="195155"/>
            </a:xfrm>
            <a:custGeom>
              <a:avLst/>
              <a:gdLst>
                <a:gd name="connsiteX0" fmla="*/ 6603 w 13839"/>
                <a:gd name="connsiteY0" fmla="*/ 6 h 195155"/>
                <a:gd name="connsiteX1" fmla="*/ 4571 w 13839"/>
                <a:gd name="connsiteY1" fmla="*/ 6 h 195155"/>
                <a:gd name="connsiteX2" fmla="*/ 2412 w 13839"/>
                <a:gd name="connsiteY2" fmla="*/ 2165 h 195155"/>
                <a:gd name="connsiteX3" fmla="*/ 0 w 13839"/>
                <a:gd name="connsiteY3" fmla="*/ 7370 h 195155"/>
                <a:gd name="connsiteX4" fmla="*/ 0 w 13839"/>
                <a:gd name="connsiteY4" fmla="*/ 188172 h 195155"/>
                <a:gd name="connsiteX5" fmla="*/ 3682 w 13839"/>
                <a:gd name="connsiteY5" fmla="*/ 188172 h 195155"/>
                <a:gd name="connsiteX6" fmla="*/ 4837 w 13839"/>
                <a:gd name="connsiteY6" fmla="*/ 189307 h 195155"/>
                <a:gd name="connsiteX7" fmla="*/ 4825 w 13839"/>
                <a:gd name="connsiteY7" fmla="*/ 189442 h 195155"/>
                <a:gd name="connsiteX8" fmla="*/ 4825 w 13839"/>
                <a:gd name="connsiteY8" fmla="*/ 195155 h 195155"/>
                <a:gd name="connsiteX9" fmla="*/ 6856 w 13839"/>
                <a:gd name="connsiteY9" fmla="*/ 195155 h 195155"/>
                <a:gd name="connsiteX10" fmla="*/ 13840 w 13839"/>
                <a:gd name="connsiteY10" fmla="*/ 195155 h 195155"/>
                <a:gd name="connsiteX11" fmla="*/ 13840 w 13839"/>
                <a:gd name="connsiteY11" fmla="*/ 6989 h 195155"/>
                <a:gd name="connsiteX12" fmla="*/ 13840 w 13839"/>
                <a:gd name="connsiteY12" fmla="*/ 6228 h 195155"/>
                <a:gd name="connsiteX13" fmla="*/ 6603 w 13839"/>
                <a:gd name="connsiteY13" fmla="*/ 6 h 19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195155">
                  <a:moveTo>
                    <a:pt x="6603" y="6"/>
                  </a:moveTo>
                  <a:lnTo>
                    <a:pt x="4571" y="6"/>
                  </a:lnTo>
                  <a:cubicBezTo>
                    <a:pt x="3733" y="599"/>
                    <a:pt x="3009" y="1329"/>
                    <a:pt x="2412" y="2165"/>
                  </a:cubicBezTo>
                  <a:cubicBezTo>
                    <a:pt x="901" y="3474"/>
                    <a:pt x="26" y="5369"/>
                    <a:pt x="0" y="7370"/>
                  </a:cubicBezTo>
                  <a:lnTo>
                    <a:pt x="0" y="188172"/>
                  </a:lnTo>
                  <a:lnTo>
                    <a:pt x="3682" y="188172"/>
                  </a:lnTo>
                  <a:cubicBezTo>
                    <a:pt x="4317" y="188168"/>
                    <a:pt x="4825" y="188676"/>
                    <a:pt x="4837" y="189307"/>
                  </a:cubicBezTo>
                  <a:cubicBezTo>
                    <a:pt x="4837" y="189353"/>
                    <a:pt x="4825" y="189397"/>
                    <a:pt x="4825" y="189442"/>
                  </a:cubicBezTo>
                  <a:lnTo>
                    <a:pt x="4825" y="195155"/>
                  </a:lnTo>
                  <a:lnTo>
                    <a:pt x="6856" y="195155"/>
                  </a:lnTo>
                  <a:lnTo>
                    <a:pt x="13840" y="195155"/>
                  </a:lnTo>
                  <a:lnTo>
                    <a:pt x="13840" y="6989"/>
                  </a:lnTo>
                  <a:cubicBezTo>
                    <a:pt x="13840" y="6989"/>
                    <a:pt x="13840" y="6989"/>
                    <a:pt x="13840" y="6228"/>
                  </a:cubicBezTo>
                  <a:cubicBezTo>
                    <a:pt x="13446" y="2572"/>
                    <a:pt x="10272" y="-149"/>
                    <a:pt x="6603" y="6"/>
                  </a:cubicBezTo>
                  <a:close/>
                </a:path>
              </a:pathLst>
            </a:custGeom>
            <a:solidFill>
              <a:schemeClr val="accent5"/>
            </a:solidFill>
            <a:ln w="12690" cap="flat">
              <a:noFill/>
              <a:prstDash val="solid"/>
              <a:miter/>
            </a:ln>
          </p:spPr>
          <p:txBody>
            <a:bodyPr rtlCol="0" anchor="ctr"/>
            <a:lstStyle/>
            <a:p>
              <a:endParaRPr lang="en-US"/>
            </a:p>
          </p:txBody>
        </p:sp>
        <p:sp>
          <p:nvSpPr>
            <p:cNvPr id="874" name="Freeform: Shape 873">
              <a:extLst>
                <a:ext uri="{FF2B5EF4-FFF2-40B4-BE49-F238E27FC236}">
                  <a16:creationId xmlns:a16="http://schemas.microsoft.com/office/drawing/2014/main" id="{4BEDCF70-116C-4792-87DB-81AE418CB803}"/>
                </a:ext>
              </a:extLst>
            </p:cNvPr>
            <p:cNvSpPr/>
            <p:nvPr/>
          </p:nvSpPr>
          <p:spPr>
            <a:xfrm>
              <a:off x="10802473" y="5822872"/>
              <a:ext cx="1396" cy="7237"/>
            </a:xfrm>
            <a:custGeom>
              <a:avLst/>
              <a:gdLst>
                <a:gd name="connsiteX0" fmla="*/ 1396 w 1396"/>
                <a:gd name="connsiteY0" fmla="*/ 7237 h 7237"/>
                <a:gd name="connsiteX1" fmla="*/ 1396 w 1396"/>
                <a:gd name="connsiteY1" fmla="*/ 0 h 7237"/>
                <a:gd name="connsiteX2" fmla="*/ 0 w 1396"/>
                <a:gd name="connsiteY2" fmla="*/ 0 h 7237"/>
                <a:gd name="connsiteX3" fmla="*/ 0 w 1396"/>
                <a:gd name="connsiteY3" fmla="*/ 6602 h 7237"/>
              </a:gdLst>
              <a:ahLst/>
              <a:cxnLst>
                <a:cxn ang="0">
                  <a:pos x="connsiteX0" y="connsiteY0"/>
                </a:cxn>
                <a:cxn ang="0">
                  <a:pos x="connsiteX1" y="connsiteY1"/>
                </a:cxn>
                <a:cxn ang="0">
                  <a:pos x="connsiteX2" y="connsiteY2"/>
                </a:cxn>
                <a:cxn ang="0">
                  <a:pos x="connsiteX3" y="connsiteY3"/>
                </a:cxn>
              </a:cxnLst>
              <a:rect l="l" t="t" r="r" b="b"/>
              <a:pathLst>
                <a:path w="1396" h="7237">
                  <a:moveTo>
                    <a:pt x="1396" y="7237"/>
                  </a:moveTo>
                  <a:lnTo>
                    <a:pt x="1396" y="0"/>
                  </a:lnTo>
                  <a:lnTo>
                    <a:pt x="0" y="0"/>
                  </a:lnTo>
                  <a:lnTo>
                    <a:pt x="0" y="6602"/>
                  </a:lnTo>
                  <a:close/>
                </a:path>
              </a:pathLst>
            </a:custGeom>
            <a:solidFill>
              <a:srgbClr val="000000"/>
            </a:solidFill>
            <a:ln w="12690" cap="flat">
              <a:noFill/>
              <a:prstDash val="solid"/>
              <a:miter/>
            </a:ln>
          </p:spPr>
          <p:txBody>
            <a:bodyPr rtlCol="0" anchor="ctr"/>
            <a:lstStyle/>
            <a:p>
              <a:endParaRPr lang="en-US"/>
            </a:p>
          </p:txBody>
        </p:sp>
        <p:sp>
          <p:nvSpPr>
            <p:cNvPr id="875" name="Freeform: Shape 874">
              <a:extLst>
                <a:ext uri="{FF2B5EF4-FFF2-40B4-BE49-F238E27FC236}">
                  <a16:creationId xmlns:a16="http://schemas.microsoft.com/office/drawing/2014/main" id="{DEE1EA48-AC94-432A-8FF9-AE662270F259}"/>
                </a:ext>
              </a:extLst>
            </p:cNvPr>
            <p:cNvSpPr/>
            <p:nvPr/>
          </p:nvSpPr>
          <p:spPr>
            <a:xfrm>
              <a:off x="10806409" y="5818555"/>
              <a:ext cx="1523" cy="5205"/>
            </a:xfrm>
            <a:custGeom>
              <a:avLst/>
              <a:gdLst>
                <a:gd name="connsiteX0" fmla="*/ 1524 w 1523"/>
                <a:gd name="connsiteY0" fmla="*/ 0 h 5205"/>
                <a:gd name="connsiteX1" fmla="*/ 0 w 1523"/>
                <a:gd name="connsiteY1" fmla="*/ 2539 h 5205"/>
                <a:gd name="connsiteX2" fmla="*/ 0 w 1523"/>
                <a:gd name="connsiteY2" fmla="*/ 5206 h 5205"/>
              </a:gdLst>
              <a:ahLst/>
              <a:cxnLst>
                <a:cxn ang="0">
                  <a:pos x="connsiteX0" y="connsiteY0"/>
                </a:cxn>
                <a:cxn ang="0">
                  <a:pos x="connsiteX1" y="connsiteY1"/>
                </a:cxn>
                <a:cxn ang="0">
                  <a:pos x="connsiteX2" y="connsiteY2"/>
                </a:cxn>
              </a:cxnLst>
              <a:rect l="l" t="t" r="r" b="b"/>
              <a:pathLst>
                <a:path w="1523" h="5205">
                  <a:moveTo>
                    <a:pt x="1524" y="0"/>
                  </a:moveTo>
                  <a:cubicBezTo>
                    <a:pt x="1168" y="929"/>
                    <a:pt x="648" y="1789"/>
                    <a:pt x="0" y="2539"/>
                  </a:cubicBezTo>
                  <a:lnTo>
                    <a:pt x="0" y="5206"/>
                  </a:lnTo>
                  <a:close/>
                </a:path>
              </a:pathLst>
            </a:custGeom>
            <a:solidFill>
              <a:srgbClr val="000000"/>
            </a:solidFill>
            <a:ln w="12690" cap="flat">
              <a:noFill/>
              <a:prstDash val="solid"/>
              <a:miter/>
            </a:ln>
          </p:spPr>
          <p:txBody>
            <a:bodyPr rtlCol="0" anchor="ctr"/>
            <a:lstStyle/>
            <a:p>
              <a:endParaRPr lang="en-US"/>
            </a:p>
          </p:txBody>
        </p:sp>
        <p:sp>
          <p:nvSpPr>
            <p:cNvPr id="876" name="Freeform: Shape 875">
              <a:extLst>
                <a:ext uri="{FF2B5EF4-FFF2-40B4-BE49-F238E27FC236}">
                  <a16:creationId xmlns:a16="http://schemas.microsoft.com/office/drawing/2014/main" id="{2A0593CC-7FAD-4564-BB97-C07DEF3D81EA}"/>
                </a:ext>
              </a:extLst>
            </p:cNvPr>
            <p:cNvSpPr/>
            <p:nvPr/>
          </p:nvSpPr>
          <p:spPr>
            <a:xfrm>
              <a:off x="10790792" y="5814619"/>
              <a:ext cx="5205" cy="14982"/>
            </a:xfrm>
            <a:custGeom>
              <a:avLst/>
              <a:gdLst>
                <a:gd name="connsiteX0" fmla="*/ 4571 w 5205"/>
                <a:gd name="connsiteY0" fmla="*/ 14982 h 14982"/>
                <a:gd name="connsiteX1" fmla="*/ 4571 w 5205"/>
                <a:gd name="connsiteY1" fmla="*/ 5333 h 14982"/>
                <a:gd name="connsiteX2" fmla="*/ 4571 w 5205"/>
                <a:gd name="connsiteY2" fmla="*/ 0 h 14982"/>
                <a:gd name="connsiteX3" fmla="*/ 0 w 5205"/>
                <a:gd name="connsiteY3" fmla="*/ 14982 h 14982"/>
                <a:gd name="connsiteX4" fmla="*/ 5205 w 5205"/>
                <a:gd name="connsiteY4" fmla="*/ 14982 h 14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14982">
                  <a:moveTo>
                    <a:pt x="4571" y="14982"/>
                  </a:moveTo>
                  <a:lnTo>
                    <a:pt x="4571" y="5333"/>
                  </a:lnTo>
                  <a:cubicBezTo>
                    <a:pt x="3809" y="3638"/>
                    <a:pt x="3809" y="1695"/>
                    <a:pt x="4571" y="0"/>
                  </a:cubicBezTo>
                  <a:lnTo>
                    <a:pt x="0" y="14982"/>
                  </a:lnTo>
                  <a:lnTo>
                    <a:pt x="5205" y="14982"/>
                  </a:lnTo>
                  <a:close/>
                </a:path>
              </a:pathLst>
            </a:custGeom>
            <a:solidFill>
              <a:srgbClr val="000000"/>
            </a:solidFill>
            <a:ln w="12690" cap="flat">
              <a:noFill/>
              <a:prstDash val="solid"/>
              <a:miter/>
            </a:ln>
          </p:spPr>
          <p:txBody>
            <a:bodyPr rtlCol="0" anchor="ctr"/>
            <a:lstStyle/>
            <a:p>
              <a:endParaRPr lang="en-US"/>
            </a:p>
          </p:txBody>
        </p:sp>
        <p:sp>
          <p:nvSpPr>
            <p:cNvPr id="877" name="Freeform: Shape 876">
              <a:extLst>
                <a:ext uri="{FF2B5EF4-FFF2-40B4-BE49-F238E27FC236}">
                  <a16:creationId xmlns:a16="http://schemas.microsoft.com/office/drawing/2014/main" id="{1C5C4F9F-1C7C-4E66-A448-03909D5DE22B}"/>
                </a:ext>
              </a:extLst>
            </p:cNvPr>
            <p:cNvSpPr/>
            <p:nvPr/>
          </p:nvSpPr>
          <p:spPr>
            <a:xfrm>
              <a:off x="10797775" y="5822491"/>
              <a:ext cx="2285" cy="7237"/>
            </a:xfrm>
            <a:custGeom>
              <a:avLst/>
              <a:gdLst>
                <a:gd name="connsiteX0" fmla="*/ 2285 w 2285"/>
                <a:gd name="connsiteY0" fmla="*/ 7110 h 7237"/>
                <a:gd name="connsiteX1" fmla="*/ 2285 w 2285"/>
                <a:gd name="connsiteY1" fmla="*/ 762 h 7237"/>
                <a:gd name="connsiteX2" fmla="*/ 1524 w 2285"/>
                <a:gd name="connsiteY2" fmla="*/ 762 h 7237"/>
                <a:gd name="connsiteX3" fmla="*/ 0 w 2285"/>
                <a:gd name="connsiteY3" fmla="*/ 0 h 7237"/>
                <a:gd name="connsiteX4" fmla="*/ 0 w 2285"/>
                <a:gd name="connsiteY4" fmla="*/ 7237 h 7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237">
                  <a:moveTo>
                    <a:pt x="2285" y="7110"/>
                  </a:moveTo>
                  <a:lnTo>
                    <a:pt x="2285" y="762"/>
                  </a:lnTo>
                  <a:lnTo>
                    <a:pt x="1524" y="762"/>
                  </a:lnTo>
                  <a:cubicBezTo>
                    <a:pt x="990" y="560"/>
                    <a:pt x="483" y="305"/>
                    <a:pt x="0" y="0"/>
                  </a:cubicBezTo>
                  <a:lnTo>
                    <a:pt x="0" y="7237"/>
                  </a:lnTo>
                  <a:close/>
                </a:path>
              </a:pathLst>
            </a:custGeom>
            <a:solidFill>
              <a:srgbClr val="000000"/>
            </a:solidFill>
            <a:ln w="12690" cap="flat">
              <a:noFill/>
              <a:prstDash val="solid"/>
              <a:miter/>
            </a:ln>
          </p:spPr>
          <p:txBody>
            <a:bodyPr rtlCol="0" anchor="ctr"/>
            <a:lstStyle/>
            <a:p>
              <a:endParaRPr lang="en-US"/>
            </a:p>
          </p:txBody>
        </p:sp>
        <p:sp>
          <p:nvSpPr>
            <p:cNvPr id="878" name="Freeform: Shape 877">
              <a:extLst>
                <a:ext uri="{FF2B5EF4-FFF2-40B4-BE49-F238E27FC236}">
                  <a16:creationId xmlns:a16="http://schemas.microsoft.com/office/drawing/2014/main" id="{D5C5C53B-776A-41E8-840B-FA0E26686347}"/>
                </a:ext>
              </a:extLst>
            </p:cNvPr>
            <p:cNvSpPr/>
            <p:nvPr/>
          </p:nvSpPr>
          <p:spPr>
            <a:xfrm>
              <a:off x="9514774" y="5572025"/>
              <a:ext cx="160232" cy="12274"/>
            </a:xfrm>
            <a:custGeom>
              <a:avLst/>
              <a:gdLst>
                <a:gd name="connsiteX0" fmla="*/ 6983 w 160232"/>
                <a:gd name="connsiteY0" fmla="*/ 5418 h 12274"/>
                <a:gd name="connsiteX1" fmla="*/ 6983 w 160232"/>
                <a:gd name="connsiteY1" fmla="*/ 8973 h 12274"/>
                <a:gd name="connsiteX2" fmla="*/ 11427 w 160232"/>
                <a:gd name="connsiteY2" fmla="*/ 12275 h 12274"/>
                <a:gd name="connsiteX3" fmla="*/ 154646 w 160232"/>
                <a:gd name="connsiteY3" fmla="*/ 12275 h 12274"/>
                <a:gd name="connsiteX4" fmla="*/ 154646 w 160232"/>
                <a:gd name="connsiteY4" fmla="*/ 5418 h 12274"/>
                <a:gd name="connsiteX5" fmla="*/ 154646 w 160232"/>
                <a:gd name="connsiteY5" fmla="*/ 4530 h 12274"/>
                <a:gd name="connsiteX6" fmla="*/ 154646 w 160232"/>
                <a:gd name="connsiteY6" fmla="*/ 3006 h 12274"/>
                <a:gd name="connsiteX7" fmla="*/ 155407 w 160232"/>
                <a:gd name="connsiteY7" fmla="*/ 1736 h 12274"/>
                <a:gd name="connsiteX8" fmla="*/ 155407 w 160232"/>
                <a:gd name="connsiteY8" fmla="*/ 974 h 12274"/>
                <a:gd name="connsiteX9" fmla="*/ 155407 w 160232"/>
                <a:gd name="connsiteY9" fmla="*/ 974 h 12274"/>
                <a:gd name="connsiteX10" fmla="*/ 156550 w 160232"/>
                <a:gd name="connsiteY10" fmla="*/ 86 h 12274"/>
                <a:gd name="connsiteX11" fmla="*/ 157566 w 160232"/>
                <a:gd name="connsiteY11" fmla="*/ 86 h 12274"/>
                <a:gd name="connsiteX12" fmla="*/ 158709 w 160232"/>
                <a:gd name="connsiteY12" fmla="*/ 86 h 12274"/>
                <a:gd name="connsiteX13" fmla="*/ 160232 w 160232"/>
                <a:gd name="connsiteY13" fmla="*/ 86 h 12274"/>
                <a:gd name="connsiteX14" fmla="*/ 0 w 160232"/>
                <a:gd name="connsiteY14" fmla="*/ 86 h 12274"/>
                <a:gd name="connsiteX15" fmla="*/ 6983 w 160232"/>
                <a:gd name="connsiteY15" fmla="*/ 5418 h 1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232" h="12274">
                  <a:moveTo>
                    <a:pt x="6983" y="5418"/>
                  </a:moveTo>
                  <a:lnTo>
                    <a:pt x="6983" y="8973"/>
                  </a:lnTo>
                  <a:lnTo>
                    <a:pt x="11427" y="12275"/>
                  </a:lnTo>
                  <a:lnTo>
                    <a:pt x="154646" y="12275"/>
                  </a:lnTo>
                  <a:lnTo>
                    <a:pt x="154646" y="5418"/>
                  </a:lnTo>
                  <a:cubicBezTo>
                    <a:pt x="154570" y="5126"/>
                    <a:pt x="154570" y="4822"/>
                    <a:pt x="154646" y="4530"/>
                  </a:cubicBezTo>
                  <a:cubicBezTo>
                    <a:pt x="154582" y="4023"/>
                    <a:pt x="154582" y="3513"/>
                    <a:pt x="154646" y="3006"/>
                  </a:cubicBezTo>
                  <a:lnTo>
                    <a:pt x="155407" y="1736"/>
                  </a:lnTo>
                  <a:lnTo>
                    <a:pt x="155407" y="974"/>
                  </a:lnTo>
                  <a:cubicBezTo>
                    <a:pt x="155407" y="974"/>
                    <a:pt x="155407" y="974"/>
                    <a:pt x="155407" y="974"/>
                  </a:cubicBezTo>
                  <a:lnTo>
                    <a:pt x="156550" y="86"/>
                  </a:lnTo>
                  <a:lnTo>
                    <a:pt x="157566" y="86"/>
                  </a:lnTo>
                  <a:lnTo>
                    <a:pt x="158709" y="86"/>
                  </a:lnTo>
                  <a:cubicBezTo>
                    <a:pt x="159216" y="-29"/>
                    <a:pt x="159737" y="-29"/>
                    <a:pt x="160232" y="86"/>
                  </a:cubicBezTo>
                  <a:lnTo>
                    <a:pt x="0" y="86"/>
                  </a:lnTo>
                  <a:cubicBezTo>
                    <a:pt x="3288" y="-7"/>
                    <a:pt x="6209" y="2216"/>
                    <a:pt x="6983" y="5418"/>
                  </a:cubicBezTo>
                  <a:close/>
                </a:path>
              </a:pathLst>
            </a:custGeom>
            <a:solidFill>
              <a:srgbClr val="000000"/>
            </a:solidFill>
            <a:ln w="12690" cap="flat">
              <a:noFill/>
              <a:prstDash val="solid"/>
              <a:miter/>
            </a:ln>
          </p:spPr>
          <p:txBody>
            <a:bodyPr rtlCol="0" anchor="ctr"/>
            <a:lstStyle/>
            <a:p>
              <a:endParaRPr lang="en-US"/>
            </a:p>
          </p:txBody>
        </p:sp>
        <p:sp>
          <p:nvSpPr>
            <p:cNvPr id="879" name="Freeform: Shape 878">
              <a:extLst>
                <a:ext uri="{FF2B5EF4-FFF2-40B4-BE49-F238E27FC236}">
                  <a16:creationId xmlns:a16="http://schemas.microsoft.com/office/drawing/2014/main" id="{595C5E22-F6BF-4C02-8406-57B65F6ACCFC}"/>
                </a:ext>
              </a:extLst>
            </p:cNvPr>
            <p:cNvSpPr/>
            <p:nvPr/>
          </p:nvSpPr>
          <p:spPr>
            <a:xfrm>
              <a:off x="9521757" y="5584046"/>
              <a:ext cx="380" cy="253"/>
            </a:xfrm>
            <a:custGeom>
              <a:avLst/>
              <a:gdLst>
                <a:gd name="connsiteX0" fmla="*/ 0 w 380"/>
                <a:gd name="connsiteY0" fmla="*/ 0 h 253"/>
                <a:gd name="connsiteX1" fmla="*/ 0 w 380"/>
                <a:gd name="connsiteY1" fmla="*/ 254 h 253"/>
                <a:gd name="connsiteX2" fmla="*/ 380 w 380"/>
                <a:gd name="connsiteY2" fmla="*/ 254 h 253"/>
                <a:gd name="connsiteX3" fmla="*/ 0 w 380"/>
                <a:gd name="connsiteY3" fmla="*/ 0 h 253"/>
              </a:gdLst>
              <a:ahLst/>
              <a:cxnLst>
                <a:cxn ang="0">
                  <a:pos x="connsiteX0" y="connsiteY0"/>
                </a:cxn>
                <a:cxn ang="0">
                  <a:pos x="connsiteX1" y="connsiteY1"/>
                </a:cxn>
                <a:cxn ang="0">
                  <a:pos x="connsiteX2" y="connsiteY2"/>
                </a:cxn>
                <a:cxn ang="0">
                  <a:pos x="connsiteX3" y="connsiteY3"/>
                </a:cxn>
              </a:cxnLst>
              <a:rect l="l" t="t" r="r" b="b"/>
              <a:pathLst>
                <a:path w="380" h="253">
                  <a:moveTo>
                    <a:pt x="0" y="0"/>
                  </a:moveTo>
                  <a:lnTo>
                    <a:pt x="0" y="254"/>
                  </a:lnTo>
                  <a:lnTo>
                    <a:pt x="380" y="254"/>
                  </a:lnTo>
                  <a:lnTo>
                    <a:pt x="0" y="0"/>
                  </a:lnTo>
                  <a:close/>
                </a:path>
              </a:pathLst>
            </a:custGeom>
            <a:solidFill>
              <a:srgbClr val="000000"/>
            </a:solidFill>
            <a:ln w="12690" cap="flat">
              <a:noFill/>
              <a:prstDash val="solid"/>
              <a:miter/>
            </a:ln>
          </p:spPr>
          <p:txBody>
            <a:bodyPr rtlCol="0" anchor="ctr"/>
            <a:lstStyle/>
            <a:p>
              <a:endParaRPr lang="en-US"/>
            </a:p>
          </p:txBody>
        </p:sp>
        <p:sp>
          <p:nvSpPr>
            <p:cNvPr id="880" name="Freeform: Shape 879">
              <a:extLst>
                <a:ext uri="{FF2B5EF4-FFF2-40B4-BE49-F238E27FC236}">
                  <a16:creationId xmlns:a16="http://schemas.microsoft.com/office/drawing/2014/main" id="{7C202758-6C3D-4B2C-8F03-5B0FDB815131}"/>
                </a:ext>
              </a:extLst>
            </p:cNvPr>
            <p:cNvSpPr/>
            <p:nvPr/>
          </p:nvSpPr>
          <p:spPr>
            <a:xfrm>
              <a:off x="9521757" y="5580999"/>
              <a:ext cx="31868" cy="23489"/>
            </a:xfrm>
            <a:custGeom>
              <a:avLst/>
              <a:gdLst>
                <a:gd name="connsiteX0" fmla="*/ 27679 w 31868"/>
                <a:gd name="connsiteY0" fmla="*/ 23489 h 23489"/>
                <a:gd name="connsiteX1" fmla="*/ 31869 w 31868"/>
                <a:gd name="connsiteY1" fmla="*/ 23489 h 23489"/>
                <a:gd name="connsiteX2" fmla="*/ 4444 w 31868"/>
                <a:gd name="connsiteY2" fmla="*/ 3301 h 23489"/>
                <a:gd name="connsiteX3" fmla="*/ 0 w 31868"/>
                <a:gd name="connsiteY3" fmla="*/ 0 h 23489"/>
                <a:gd name="connsiteX4" fmla="*/ 0 w 31868"/>
                <a:gd name="connsiteY4" fmla="*/ 3047 h 23489"/>
                <a:gd name="connsiteX5" fmla="*/ 380 w 31868"/>
                <a:gd name="connsiteY5" fmla="*/ 3301 h 23489"/>
                <a:gd name="connsiteX6" fmla="*/ 27679 w 31868"/>
                <a:gd name="connsiteY6" fmla="*/ 23489 h 2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868" h="23489">
                  <a:moveTo>
                    <a:pt x="27679" y="23489"/>
                  </a:moveTo>
                  <a:lnTo>
                    <a:pt x="31869" y="23489"/>
                  </a:lnTo>
                  <a:lnTo>
                    <a:pt x="4444" y="3301"/>
                  </a:lnTo>
                  <a:lnTo>
                    <a:pt x="0" y="0"/>
                  </a:lnTo>
                  <a:lnTo>
                    <a:pt x="0" y="3047"/>
                  </a:lnTo>
                  <a:lnTo>
                    <a:pt x="380" y="3301"/>
                  </a:lnTo>
                  <a:lnTo>
                    <a:pt x="27679" y="23489"/>
                  </a:lnTo>
                  <a:close/>
                </a:path>
              </a:pathLst>
            </a:custGeom>
            <a:solidFill>
              <a:srgbClr val="000000"/>
            </a:solidFill>
            <a:ln w="12690" cap="flat">
              <a:noFill/>
              <a:prstDash val="solid"/>
              <a:miter/>
            </a:ln>
          </p:spPr>
          <p:txBody>
            <a:bodyPr rtlCol="0" anchor="ctr"/>
            <a:lstStyle/>
            <a:p>
              <a:endParaRPr lang="en-US"/>
            </a:p>
          </p:txBody>
        </p:sp>
        <p:sp>
          <p:nvSpPr>
            <p:cNvPr id="881" name="Freeform: Shape 880">
              <a:extLst>
                <a:ext uri="{FF2B5EF4-FFF2-40B4-BE49-F238E27FC236}">
                  <a16:creationId xmlns:a16="http://schemas.microsoft.com/office/drawing/2014/main" id="{2A614CDC-5347-4F7F-96AE-718C3043862E}"/>
                </a:ext>
              </a:extLst>
            </p:cNvPr>
            <p:cNvSpPr/>
            <p:nvPr/>
          </p:nvSpPr>
          <p:spPr>
            <a:xfrm>
              <a:off x="9507918" y="5570588"/>
              <a:ext cx="13839" cy="33900"/>
            </a:xfrm>
            <a:custGeom>
              <a:avLst/>
              <a:gdLst>
                <a:gd name="connsiteX0" fmla="*/ 13840 w 13839"/>
                <a:gd name="connsiteY0" fmla="*/ 33900 h 33900"/>
                <a:gd name="connsiteX1" fmla="*/ 13840 w 13839"/>
                <a:gd name="connsiteY1" fmla="*/ 6856 h 33900"/>
                <a:gd name="connsiteX2" fmla="*/ 6857 w 13839"/>
                <a:gd name="connsiteY2" fmla="*/ 0 h 33900"/>
                <a:gd name="connsiteX3" fmla="*/ 0 w 13839"/>
                <a:gd name="connsiteY3" fmla="*/ 6856 h 33900"/>
                <a:gd name="connsiteX4" fmla="*/ 0 w 13839"/>
                <a:gd name="connsiteY4" fmla="*/ 33900 h 33900"/>
                <a:gd name="connsiteX5" fmla="*/ 13840 w 13839"/>
                <a:gd name="connsiteY5" fmla="*/ 33900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3900">
                  <a:moveTo>
                    <a:pt x="13840" y="33900"/>
                  </a:moveTo>
                  <a:lnTo>
                    <a:pt x="13840" y="6856"/>
                  </a:lnTo>
                  <a:cubicBezTo>
                    <a:pt x="13776" y="3050"/>
                    <a:pt x="10666" y="0"/>
                    <a:pt x="6857" y="0"/>
                  </a:cubicBezTo>
                  <a:cubicBezTo>
                    <a:pt x="3073" y="0"/>
                    <a:pt x="0" y="3070"/>
                    <a:pt x="0" y="6856"/>
                  </a:cubicBezTo>
                  <a:lnTo>
                    <a:pt x="0" y="33900"/>
                  </a:lnTo>
                  <a:lnTo>
                    <a:pt x="13840" y="33900"/>
                  </a:lnTo>
                  <a:close/>
                </a:path>
              </a:pathLst>
            </a:custGeom>
            <a:solidFill>
              <a:srgbClr val="000000"/>
            </a:solidFill>
            <a:ln w="12690" cap="flat">
              <a:noFill/>
              <a:prstDash val="solid"/>
              <a:miter/>
            </a:ln>
          </p:spPr>
          <p:txBody>
            <a:bodyPr rtlCol="0" anchor="ctr"/>
            <a:lstStyle/>
            <a:p>
              <a:endParaRPr lang="en-US"/>
            </a:p>
          </p:txBody>
        </p:sp>
        <p:sp>
          <p:nvSpPr>
            <p:cNvPr id="882" name="Freeform: Shape 881">
              <a:extLst>
                <a:ext uri="{FF2B5EF4-FFF2-40B4-BE49-F238E27FC236}">
                  <a16:creationId xmlns:a16="http://schemas.microsoft.com/office/drawing/2014/main" id="{1A03161A-7974-4807-961E-0EB9A87EA7C7}"/>
                </a:ext>
              </a:extLst>
            </p:cNvPr>
            <p:cNvSpPr/>
            <p:nvPr/>
          </p:nvSpPr>
          <p:spPr>
            <a:xfrm>
              <a:off x="11231621" y="6501894"/>
              <a:ext cx="89765" cy="2539"/>
            </a:xfrm>
            <a:custGeom>
              <a:avLst/>
              <a:gdLst>
                <a:gd name="connsiteX0" fmla="*/ 0 w 89765"/>
                <a:gd name="connsiteY0" fmla="*/ 2412 h 2539"/>
                <a:gd name="connsiteX1" fmla="*/ 89766 w 89765"/>
                <a:gd name="connsiteY1" fmla="*/ 2412 h 2539"/>
                <a:gd name="connsiteX2" fmla="*/ 89766 w 89765"/>
                <a:gd name="connsiteY2" fmla="*/ 1143 h 2539"/>
                <a:gd name="connsiteX3" fmla="*/ 89766 w 89765"/>
                <a:gd name="connsiteY3" fmla="*/ 0 h 2539"/>
                <a:gd name="connsiteX4" fmla="*/ 889 w 89765"/>
                <a:gd name="connsiteY4" fmla="*/ 0 h 2539"/>
                <a:gd name="connsiteX5" fmla="*/ 889 w 89765"/>
                <a:gd name="connsiteY5" fmla="*/ 254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65" h="2539">
                  <a:moveTo>
                    <a:pt x="0" y="2412"/>
                  </a:moveTo>
                  <a:lnTo>
                    <a:pt x="89766" y="2412"/>
                  </a:lnTo>
                  <a:cubicBezTo>
                    <a:pt x="89715" y="1993"/>
                    <a:pt x="89715" y="1562"/>
                    <a:pt x="89766" y="1143"/>
                  </a:cubicBezTo>
                  <a:lnTo>
                    <a:pt x="89766" y="0"/>
                  </a:lnTo>
                  <a:lnTo>
                    <a:pt x="889" y="0"/>
                  </a:lnTo>
                  <a:lnTo>
                    <a:pt x="889" y="2540"/>
                  </a:lnTo>
                  <a:close/>
                </a:path>
              </a:pathLst>
            </a:custGeom>
            <a:solidFill>
              <a:srgbClr val="000000"/>
            </a:solidFill>
            <a:ln w="12690" cap="flat">
              <a:noFill/>
              <a:prstDash val="solid"/>
              <a:miter/>
            </a:ln>
          </p:spPr>
          <p:txBody>
            <a:bodyPr rtlCol="0" anchor="ctr"/>
            <a:lstStyle/>
            <a:p>
              <a:endParaRPr lang="en-US"/>
            </a:p>
          </p:txBody>
        </p:sp>
        <p:sp>
          <p:nvSpPr>
            <p:cNvPr id="883" name="Freeform: Shape 882">
              <a:extLst>
                <a:ext uri="{FF2B5EF4-FFF2-40B4-BE49-F238E27FC236}">
                  <a16:creationId xmlns:a16="http://schemas.microsoft.com/office/drawing/2014/main" id="{C84FEB49-A3B0-42FF-97FA-13F801673A51}"/>
                </a:ext>
              </a:extLst>
            </p:cNvPr>
            <p:cNvSpPr/>
            <p:nvPr/>
          </p:nvSpPr>
          <p:spPr>
            <a:xfrm>
              <a:off x="9679958" y="5572238"/>
              <a:ext cx="38343" cy="32249"/>
            </a:xfrm>
            <a:custGeom>
              <a:avLst/>
              <a:gdLst>
                <a:gd name="connsiteX0" fmla="*/ 3300 w 38343"/>
                <a:gd name="connsiteY0" fmla="*/ 20315 h 32249"/>
                <a:gd name="connsiteX1" fmla="*/ 17140 w 38343"/>
                <a:gd name="connsiteY1" fmla="*/ 32250 h 32249"/>
                <a:gd name="connsiteX2" fmla="*/ 38343 w 38343"/>
                <a:gd name="connsiteY2" fmla="*/ 32250 h 32249"/>
                <a:gd name="connsiteX3" fmla="*/ 888 w 38343"/>
                <a:gd name="connsiteY3" fmla="*/ 0 h 32249"/>
                <a:gd name="connsiteX4" fmla="*/ 0 w 38343"/>
                <a:gd name="connsiteY4" fmla="*/ 0 h 32249"/>
                <a:gd name="connsiteX5" fmla="*/ 3300 w 38343"/>
                <a:gd name="connsiteY5" fmla="*/ 5713 h 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43" h="32249">
                  <a:moveTo>
                    <a:pt x="3300" y="20315"/>
                  </a:moveTo>
                  <a:lnTo>
                    <a:pt x="17140" y="32250"/>
                  </a:lnTo>
                  <a:lnTo>
                    <a:pt x="38343" y="32250"/>
                  </a:lnTo>
                  <a:lnTo>
                    <a:pt x="888" y="0"/>
                  </a:lnTo>
                  <a:lnTo>
                    <a:pt x="0" y="0"/>
                  </a:lnTo>
                  <a:cubicBezTo>
                    <a:pt x="1993" y="1232"/>
                    <a:pt x="3225" y="3376"/>
                    <a:pt x="3300" y="5713"/>
                  </a:cubicBezTo>
                  <a:close/>
                </a:path>
              </a:pathLst>
            </a:custGeom>
            <a:solidFill>
              <a:srgbClr val="000000"/>
            </a:solidFill>
            <a:ln w="12690" cap="flat">
              <a:noFill/>
              <a:prstDash val="solid"/>
              <a:miter/>
            </a:ln>
          </p:spPr>
          <p:txBody>
            <a:bodyPr rtlCol="0" anchor="ctr"/>
            <a:lstStyle/>
            <a:p>
              <a:endParaRPr lang="en-US"/>
            </a:p>
          </p:txBody>
        </p:sp>
        <p:sp>
          <p:nvSpPr>
            <p:cNvPr id="884" name="Freeform: Shape 883">
              <a:extLst>
                <a:ext uri="{FF2B5EF4-FFF2-40B4-BE49-F238E27FC236}">
                  <a16:creationId xmlns:a16="http://schemas.microsoft.com/office/drawing/2014/main" id="{9C274CCD-233E-42F4-A48D-C7873BF0DDC2}"/>
                </a:ext>
              </a:extLst>
            </p:cNvPr>
            <p:cNvSpPr/>
            <p:nvPr/>
          </p:nvSpPr>
          <p:spPr>
            <a:xfrm>
              <a:off x="9671198" y="5573254"/>
              <a:ext cx="634" cy="1015"/>
            </a:xfrm>
            <a:custGeom>
              <a:avLst/>
              <a:gdLst>
                <a:gd name="connsiteX0" fmla="*/ 0 w 634"/>
                <a:gd name="connsiteY0" fmla="*/ 254 h 1015"/>
                <a:gd name="connsiteX1" fmla="*/ 0 w 634"/>
                <a:gd name="connsiteY1" fmla="*/ 1016 h 1015"/>
                <a:gd name="connsiteX2" fmla="*/ 635 w 634"/>
                <a:gd name="connsiteY2" fmla="*/ 0 h 1015"/>
                <a:gd name="connsiteX3" fmla="*/ 0 w 634"/>
                <a:gd name="connsiteY3" fmla="*/ 254 h 1015"/>
              </a:gdLst>
              <a:ahLst/>
              <a:cxnLst>
                <a:cxn ang="0">
                  <a:pos x="connsiteX0" y="connsiteY0"/>
                </a:cxn>
                <a:cxn ang="0">
                  <a:pos x="connsiteX1" y="connsiteY1"/>
                </a:cxn>
                <a:cxn ang="0">
                  <a:pos x="connsiteX2" y="connsiteY2"/>
                </a:cxn>
                <a:cxn ang="0">
                  <a:pos x="connsiteX3" y="connsiteY3"/>
                </a:cxn>
              </a:cxnLst>
              <a:rect l="l" t="t" r="r" b="b"/>
              <a:pathLst>
                <a:path w="634" h="1015">
                  <a:moveTo>
                    <a:pt x="0" y="254"/>
                  </a:moveTo>
                  <a:lnTo>
                    <a:pt x="0" y="1016"/>
                  </a:lnTo>
                  <a:lnTo>
                    <a:pt x="635" y="0"/>
                  </a:lnTo>
                  <a:cubicBezTo>
                    <a:pt x="635" y="0"/>
                    <a:pt x="0" y="254"/>
                    <a:pt x="0" y="254"/>
                  </a:cubicBezTo>
                  <a:close/>
                </a:path>
              </a:pathLst>
            </a:custGeom>
            <a:solidFill>
              <a:srgbClr val="000000"/>
            </a:solidFill>
            <a:ln w="12690" cap="flat">
              <a:noFill/>
              <a:prstDash val="solid"/>
              <a:miter/>
            </a:ln>
          </p:spPr>
          <p:txBody>
            <a:bodyPr rtlCol="0" anchor="ctr"/>
            <a:lstStyle/>
            <a:p>
              <a:endParaRPr lang="en-US"/>
            </a:p>
          </p:txBody>
        </p:sp>
        <p:sp>
          <p:nvSpPr>
            <p:cNvPr id="885" name="Freeform: Shape 884">
              <a:extLst>
                <a:ext uri="{FF2B5EF4-FFF2-40B4-BE49-F238E27FC236}">
                  <a16:creationId xmlns:a16="http://schemas.microsoft.com/office/drawing/2014/main" id="{06FF2417-D0D8-4051-834D-416A2D82D4D1}"/>
                </a:ext>
              </a:extLst>
            </p:cNvPr>
            <p:cNvSpPr/>
            <p:nvPr/>
          </p:nvSpPr>
          <p:spPr>
            <a:xfrm>
              <a:off x="10272005" y="5634833"/>
              <a:ext cx="13871" cy="202767"/>
            </a:xfrm>
            <a:custGeom>
              <a:avLst/>
              <a:gdLst>
                <a:gd name="connsiteX0" fmla="*/ 5332 w 13871"/>
                <a:gd name="connsiteY0" fmla="*/ 185753 h 202767"/>
                <a:gd name="connsiteX1" fmla="*/ 12950 w 13871"/>
                <a:gd name="connsiteY1" fmla="*/ 198450 h 202767"/>
                <a:gd name="connsiteX2" fmla="*/ 13839 w 13871"/>
                <a:gd name="connsiteY2" fmla="*/ 202767 h 202767"/>
                <a:gd name="connsiteX3" fmla="*/ 13839 w 13871"/>
                <a:gd name="connsiteY3" fmla="*/ 202767 h 202767"/>
                <a:gd name="connsiteX4" fmla="*/ 13839 w 13871"/>
                <a:gd name="connsiteY4" fmla="*/ 6983 h 202767"/>
                <a:gd name="connsiteX5" fmla="*/ 6856 w 13871"/>
                <a:gd name="connsiteY5" fmla="*/ 0 h 202767"/>
                <a:gd name="connsiteX6" fmla="*/ 0 w 13871"/>
                <a:gd name="connsiteY6" fmla="*/ 6855 h 202767"/>
                <a:gd name="connsiteX7" fmla="*/ 0 w 13871"/>
                <a:gd name="connsiteY7" fmla="*/ 6983 h 202767"/>
                <a:gd name="connsiteX8" fmla="*/ 0 w 13871"/>
                <a:gd name="connsiteY8" fmla="*/ 177501 h 202767"/>
                <a:gd name="connsiteX9" fmla="*/ 2666 w 13871"/>
                <a:gd name="connsiteY9" fmla="*/ 181690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71" h="202767">
                  <a:moveTo>
                    <a:pt x="5332" y="185753"/>
                  </a:moveTo>
                  <a:lnTo>
                    <a:pt x="12950" y="198450"/>
                  </a:lnTo>
                  <a:cubicBezTo>
                    <a:pt x="13661" y="199771"/>
                    <a:pt x="13978" y="201271"/>
                    <a:pt x="13839" y="202767"/>
                  </a:cubicBezTo>
                  <a:cubicBezTo>
                    <a:pt x="13839" y="202767"/>
                    <a:pt x="13839" y="202767"/>
                    <a:pt x="13839" y="202767"/>
                  </a:cubicBezTo>
                  <a:lnTo>
                    <a:pt x="13839" y="6983"/>
                  </a:lnTo>
                  <a:cubicBezTo>
                    <a:pt x="13839" y="3126"/>
                    <a:pt x="10716" y="0"/>
                    <a:pt x="6856" y="0"/>
                  </a:cubicBezTo>
                  <a:cubicBezTo>
                    <a:pt x="3072" y="-1"/>
                    <a:pt x="0" y="3069"/>
                    <a:pt x="0" y="6855"/>
                  </a:cubicBezTo>
                  <a:cubicBezTo>
                    <a:pt x="0" y="6898"/>
                    <a:pt x="0" y="6940"/>
                    <a:pt x="0" y="6983"/>
                  </a:cubicBezTo>
                  <a:lnTo>
                    <a:pt x="0" y="177501"/>
                  </a:lnTo>
                  <a:lnTo>
                    <a:pt x="2666" y="181690"/>
                  </a:lnTo>
                  <a:close/>
                </a:path>
              </a:pathLst>
            </a:custGeom>
            <a:solidFill>
              <a:srgbClr val="000000"/>
            </a:solidFill>
            <a:ln w="12690" cap="flat">
              <a:noFill/>
              <a:prstDash val="solid"/>
              <a:miter/>
            </a:ln>
          </p:spPr>
          <p:txBody>
            <a:bodyPr rtlCol="0" anchor="ctr"/>
            <a:lstStyle/>
            <a:p>
              <a:endParaRPr lang="en-US"/>
            </a:p>
          </p:txBody>
        </p:sp>
        <p:sp>
          <p:nvSpPr>
            <p:cNvPr id="886" name="Freeform: Shape 885">
              <a:extLst>
                <a:ext uri="{FF2B5EF4-FFF2-40B4-BE49-F238E27FC236}">
                  <a16:creationId xmlns:a16="http://schemas.microsoft.com/office/drawing/2014/main" id="{BAA8401E-DE1D-477F-9F78-E181F2FE744D}"/>
                </a:ext>
              </a:extLst>
            </p:cNvPr>
            <p:cNvSpPr/>
            <p:nvPr/>
          </p:nvSpPr>
          <p:spPr>
            <a:xfrm>
              <a:off x="10280258" y="5842552"/>
              <a:ext cx="2031" cy="12696"/>
            </a:xfrm>
            <a:custGeom>
              <a:avLst/>
              <a:gdLst>
                <a:gd name="connsiteX0" fmla="*/ 2032 w 2031"/>
                <a:gd name="connsiteY0" fmla="*/ 0 h 12696"/>
                <a:gd name="connsiteX1" fmla="*/ 0 w 2031"/>
                <a:gd name="connsiteY1" fmla="*/ 0 h 12696"/>
                <a:gd name="connsiteX2" fmla="*/ 0 w 2031"/>
                <a:gd name="connsiteY2" fmla="*/ 0 h 12696"/>
              </a:gdLst>
              <a:ahLst/>
              <a:cxnLst>
                <a:cxn ang="0">
                  <a:pos x="connsiteX0" y="connsiteY0"/>
                </a:cxn>
                <a:cxn ang="0">
                  <a:pos x="connsiteX1" y="connsiteY1"/>
                </a:cxn>
                <a:cxn ang="0">
                  <a:pos x="connsiteX2" y="connsiteY2"/>
                </a:cxn>
              </a:cxnLst>
              <a:rect l="l" t="t" r="r" b="b"/>
              <a:pathLst>
                <a:path w="2031" h="12696">
                  <a:moveTo>
                    <a:pt x="203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887" name="Freeform: Shape 886">
              <a:extLst>
                <a:ext uri="{FF2B5EF4-FFF2-40B4-BE49-F238E27FC236}">
                  <a16:creationId xmlns:a16="http://schemas.microsoft.com/office/drawing/2014/main" id="{2C9399FA-695B-4DF5-9EAC-B762BE069785}"/>
                </a:ext>
              </a:extLst>
            </p:cNvPr>
            <p:cNvSpPr/>
            <p:nvPr/>
          </p:nvSpPr>
          <p:spPr>
            <a:xfrm>
              <a:off x="10276067" y="5843060"/>
              <a:ext cx="1777" cy="98"/>
            </a:xfrm>
            <a:custGeom>
              <a:avLst/>
              <a:gdLst>
                <a:gd name="connsiteX0" fmla="*/ 1778 w 1777"/>
                <a:gd name="connsiteY0" fmla="*/ 0 h 98"/>
                <a:gd name="connsiteX1" fmla="*/ 0 w 1777"/>
                <a:gd name="connsiteY1" fmla="*/ 0 h 98"/>
                <a:gd name="connsiteX2" fmla="*/ 1778 w 1777"/>
                <a:gd name="connsiteY2" fmla="*/ 0 h 98"/>
              </a:gdLst>
              <a:ahLst/>
              <a:cxnLst>
                <a:cxn ang="0">
                  <a:pos x="connsiteX0" y="connsiteY0"/>
                </a:cxn>
                <a:cxn ang="0">
                  <a:pos x="connsiteX1" y="connsiteY1"/>
                </a:cxn>
                <a:cxn ang="0">
                  <a:pos x="connsiteX2" y="connsiteY2"/>
                </a:cxn>
              </a:cxnLst>
              <a:rect l="l" t="t" r="r" b="b"/>
              <a:pathLst>
                <a:path w="1777" h="98">
                  <a:moveTo>
                    <a:pt x="1778" y="0"/>
                  </a:moveTo>
                  <a:cubicBezTo>
                    <a:pt x="1193" y="131"/>
                    <a:pt x="584" y="131"/>
                    <a:pt x="0" y="0"/>
                  </a:cubicBezTo>
                  <a:lnTo>
                    <a:pt x="1778" y="0"/>
                  </a:lnTo>
                  <a:close/>
                </a:path>
              </a:pathLst>
            </a:custGeom>
            <a:solidFill>
              <a:srgbClr val="000000"/>
            </a:solidFill>
            <a:ln w="12690" cap="flat">
              <a:noFill/>
              <a:prstDash val="solid"/>
              <a:miter/>
            </a:ln>
          </p:spPr>
          <p:txBody>
            <a:bodyPr rtlCol="0" anchor="ctr"/>
            <a:lstStyle/>
            <a:p>
              <a:endParaRPr lang="en-US"/>
            </a:p>
          </p:txBody>
        </p:sp>
        <p:sp>
          <p:nvSpPr>
            <p:cNvPr id="888" name="Freeform: Shape 887">
              <a:extLst>
                <a:ext uri="{FF2B5EF4-FFF2-40B4-BE49-F238E27FC236}">
                  <a16:creationId xmlns:a16="http://schemas.microsoft.com/office/drawing/2014/main" id="{AEF505DE-7358-4C0E-B4EA-4E592B8A4643}"/>
                </a:ext>
              </a:extLst>
            </p:cNvPr>
            <p:cNvSpPr/>
            <p:nvPr/>
          </p:nvSpPr>
          <p:spPr>
            <a:xfrm>
              <a:off x="10795353" y="5661107"/>
              <a:ext cx="2429" cy="151226"/>
            </a:xfrm>
            <a:custGeom>
              <a:avLst/>
              <a:gdLst>
                <a:gd name="connsiteX0" fmla="*/ 2422 w 2429"/>
                <a:gd name="connsiteY0" fmla="*/ 2167 h 151226"/>
                <a:gd name="connsiteX1" fmla="*/ 2422 w 2429"/>
                <a:gd name="connsiteY1" fmla="*/ 1278 h 151226"/>
                <a:gd name="connsiteX2" fmla="*/ 1419 w 2429"/>
                <a:gd name="connsiteY2" fmla="*/ 16 h 151226"/>
                <a:gd name="connsiteX3" fmla="*/ 1279 w 2429"/>
                <a:gd name="connsiteY3" fmla="*/ 8 h 151226"/>
                <a:gd name="connsiteX4" fmla="*/ 9 w 2429"/>
                <a:gd name="connsiteY4" fmla="*/ 1007 h 151226"/>
                <a:gd name="connsiteX5" fmla="*/ 9 w 2429"/>
                <a:gd name="connsiteY5" fmla="*/ 1278 h 151226"/>
                <a:gd name="connsiteX6" fmla="*/ 9 w 2429"/>
                <a:gd name="connsiteY6" fmla="*/ 151226 h 151226"/>
                <a:gd name="connsiteX7" fmla="*/ 2422 w 2429"/>
                <a:gd name="connsiteY7" fmla="*/ 143101 h 15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9" h="151226">
                  <a:moveTo>
                    <a:pt x="2422" y="2167"/>
                  </a:moveTo>
                  <a:lnTo>
                    <a:pt x="2422" y="1278"/>
                  </a:lnTo>
                  <a:cubicBezTo>
                    <a:pt x="2498" y="651"/>
                    <a:pt x="2040" y="86"/>
                    <a:pt x="1419" y="16"/>
                  </a:cubicBezTo>
                  <a:cubicBezTo>
                    <a:pt x="1368" y="11"/>
                    <a:pt x="1330" y="8"/>
                    <a:pt x="1279" y="8"/>
                  </a:cubicBezTo>
                  <a:cubicBezTo>
                    <a:pt x="657" y="-67"/>
                    <a:pt x="85" y="381"/>
                    <a:pt x="9" y="1007"/>
                  </a:cubicBezTo>
                  <a:cubicBezTo>
                    <a:pt x="-3" y="1098"/>
                    <a:pt x="-3" y="1188"/>
                    <a:pt x="9" y="1278"/>
                  </a:cubicBezTo>
                  <a:lnTo>
                    <a:pt x="9" y="151226"/>
                  </a:lnTo>
                  <a:lnTo>
                    <a:pt x="2422" y="143101"/>
                  </a:lnTo>
                  <a:close/>
                </a:path>
              </a:pathLst>
            </a:custGeom>
            <a:solidFill>
              <a:srgbClr val="000000"/>
            </a:solidFill>
            <a:ln w="12690" cap="flat">
              <a:noFill/>
              <a:prstDash val="solid"/>
              <a:miter/>
            </a:ln>
          </p:spPr>
          <p:txBody>
            <a:bodyPr rtlCol="0" anchor="ctr"/>
            <a:lstStyle/>
            <a:p>
              <a:endParaRPr lang="en-US"/>
            </a:p>
          </p:txBody>
        </p:sp>
        <p:sp>
          <p:nvSpPr>
            <p:cNvPr id="889" name="Freeform: Shape 888">
              <a:extLst>
                <a:ext uri="{FF2B5EF4-FFF2-40B4-BE49-F238E27FC236}">
                  <a16:creationId xmlns:a16="http://schemas.microsoft.com/office/drawing/2014/main" id="{CFB31CA6-108C-41BD-9C3E-C413A3EE0443}"/>
                </a:ext>
              </a:extLst>
            </p:cNvPr>
            <p:cNvSpPr/>
            <p:nvPr/>
          </p:nvSpPr>
          <p:spPr>
            <a:xfrm>
              <a:off x="10795362" y="5819952"/>
              <a:ext cx="2412" cy="9649"/>
            </a:xfrm>
            <a:custGeom>
              <a:avLst/>
              <a:gdLst>
                <a:gd name="connsiteX0" fmla="*/ 2412 w 2412"/>
                <a:gd name="connsiteY0" fmla="*/ 9649 h 9649"/>
                <a:gd name="connsiteX1" fmla="*/ 2412 w 2412"/>
                <a:gd name="connsiteY1" fmla="*/ 2412 h 9649"/>
                <a:gd name="connsiteX2" fmla="*/ 0 w 2412"/>
                <a:gd name="connsiteY2" fmla="*/ 0 h 9649"/>
                <a:gd name="connsiteX3" fmla="*/ 0 w 2412"/>
                <a:gd name="connsiteY3" fmla="*/ 9649 h 9649"/>
                <a:gd name="connsiteX4" fmla="*/ 2412 w 2412"/>
                <a:gd name="connsiteY4" fmla="*/ 9649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9649">
                  <a:moveTo>
                    <a:pt x="2412" y="9649"/>
                  </a:moveTo>
                  <a:lnTo>
                    <a:pt x="2412" y="2412"/>
                  </a:lnTo>
                  <a:cubicBezTo>
                    <a:pt x="1410" y="1844"/>
                    <a:pt x="571" y="1009"/>
                    <a:pt x="0" y="0"/>
                  </a:cubicBezTo>
                  <a:lnTo>
                    <a:pt x="0" y="9649"/>
                  </a:lnTo>
                  <a:lnTo>
                    <a:pt x="2412" y="9649"/>
                  </a:lnTo>
                  <a:close/>
                </a:path>
              </a:pathLst>
            </a:custGeom>
            <a:solidFill>
              <a:srgbClr val="000000"/>
            </a:solidFill>
            <a:ln w="12690" cap="flat">
              <a:noFill/>
              <a:prstDash val="solid"/>
              <a:miter/>
            </a:ln>
          </p:spPr>
          <p:txBody>
            <a:bodyPr rtlCol="0" anchor="ctr"/>
            <a:lstStyle/>
            <a:p>
              <a:endParaRPr lang="en-US"/>
            </a:p>
          </p:txBody>
        </p:sp>
        <p:sp>
          <p:nvSpPr>
            <p:cNvPr id="890" name="Freeform: Shape 889">
              <a:extLst>
                <a:ext uri="{FF2B5EF4-FFF2-40B4-BE49-F238E27FC236}">
                  <a16:creationId xmlns:a16="http://schemas.microsoft.com/office/drawing/2014/main" id="{936FF610-78BC-4E5D-A96E-A9094AFC7B86}"/>
                </a:ext>
              </a:extLst>
            </p:cNvPr>
            <p:cNvSpPr/>
            <p:nvPr/>
          </p:nvSpPr>
          <p:spPr>
            <a:xfrm>
              <a:off x="10444045" y="5822991"/>
              <a:ext cx="31995" cy="2419"/>
            </a:xfrm>
            <a:custGeom>
              <a:avLst/>
              <a:gdLst>
                <a:gd name="connsiteX0" fmla="*/ 0 w 31995"/>
                <a:gd name="connsiteY0" fmla="*/ 1277 h 2419"/>
                <a:gd name="connsiteX1" fmla="*/ 0 w 31995"/>
                <a:gd name="connsiteY1" fmla="*/ 2420 h 2419"/>
                <a:gd name="connsiteX2" fmla="*/ 30726 w 31995"/>
                <a:gd name="connsiteY2" fmla="*/ 2420 h 2419"/>
                <a:gd name="connsiteX3" fmla="*/ 30726 w 31995"/>
                <a:gd name="connsiteY3" fmla="*/ 1277 h 2419"/>
                <a:gd name="connsiteX4" fmla="*/ 31729 w 31995"/>
                <a:gd name="connsiteY4" fmla="*/ 8 h 2419"/>
                <a:gd name="connsiteX5" fmla="*/ 31995 w 31995"/>
                <a:gd name="connsiteY5" fmla="*/ 8 h 2419"/>
                <a:gd name="connsiteX6" fmla="*/ 253 w 31995"/>
                <a:gd name="connsiteY6" fmla="*/ 8 h 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95" h="2419">
                  <a:moveTo>
                    <a:pt x="0" y="1277"/>
                  </a:moveTo>
                  <a:lnTo>
                    <a:pt x="0" y="2420"/>
                  </a:lnTo>
                  <a:lnTo>
                    <a:pt x="30726" y="2420"/>
                  </a:lnTo>
                  <a:lnTo>
                    <a:pt x="30726" y="1277"/>
                  </a:lnTo>
                  <a:cubicBezTo>
                    <a:pt x="30650" y="650"/>
                    <a:pt x="31094" y="83"/>
                    <a:pt x="31729" y="8"/>
                  </a:cubicBezTo>
                  <a:cubicBezTo>
                    <a:pt x="31818" y="-3"/>
                    <a:pt x="31907" y="-3"/>
                    <a:pt x="31995" y="8"/>
                  </a:cubicBezTo>
                  <a:lnTo>
                    <a:pt x="253" y="8"/>
                  </a:lnTo>
                  <a:close/>
                </a:path>
              </a:pathLst>
            </a:custGeom>
            <a:solidFill>
              <a:srgbClr val="000000"/>
            </a:solidFill>
            <a:ln w="12690" cap="flat">
              <a:noFill/>
              <a:prstDash val="solid"/>
              <a:miter/>
            </a:ln>
          </p:spPr>
          <p:txBody>
            <a:bodyPr rtlCol="0" anchor="ctr"/>
            <a:lstStyle/>
            <a:p>
              <a:endParaRPr lang="en-US"/>
            </a:p>
          </p:txBody>
        </p:sp>
        <p:sp>
          <p:nvSpPr>
            <p:cNvPr id="891" name="Freeform: Shape 890">
              <a:extLst>
                <a:ext uri="{FF2B5EF4-FFF2-40B4-BE49-F238E27FC236}">
                  <a16:creationId xmlns:a16="http://schemas.microsoft.com/office/drawing/2014/main" id="{ABB95563-5D53-492D-B7C7-25C3FFD41A4A}"/>
                </a:ext>
              </a:extLst>
            </p:cNvPr>
            <p:cNvSpPr/>
            <p:nvPr/>
          </p:nvSpPr>
          <p:spPr>
            <a:xfrm>
              <a:off x="10430205" y="5824777"/>
              <a:ext cx="13839" cy="292025"/>
            </a:xfrm>
            <a:custGeom>
              <a:avLst/>
              <a:gdLst>
                <a:gd name="connsiteX0" fmla="*/ 13840 w 13839"/>
                <a:gd name="connsiteY0" fmla="*/ 292025 h 292025"/>
                <a:gd name="connsiteX1" fmla="*/ 13840 w 13839"/>
                <a:gd name="connsiteY1" fmla="*/ 0 h 292025"/>
                <a:gd name="connsiteX2" fmla="*/ 6857 w 13839"/>
                <a:gd name="connsiteY2" fmla="*/ 6856 h 292025"/>
                <a:gd name="connsiteX3" fmla="*/ 0 w 13839"/>
                <a:gd name="connsiteY3" fmla="*/ 0 h 292025"/>
                <a:gd name="connsiteX4" fmla="*/ 0 w 13839"/>
                <a:gd name="connsiteY4" fmla="*/ 292025 h 292025"/>
                <a:gd name="connsiteX5" fmla="*/ 13840 w 13839"/>
                <a:gd name="connsiteY5" fmla="*/ 292025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292025">
                  <a:moveTo>
                    <a:pt x="13840" y="292025"/>
                  </a:moveTo>
                  <a:lnTo>
                    <a:pt x="13840" y="0"/>
                  </a:lnTo>
                  <a:cubicBezTo>
                    <a:pt x="13776" y="3806"/>
                    <a:pt x="10666" y="6856"/>
                    <a:pt x="6857" y="6856"/>
                  </a:cubicBezTo>
                  <a:cubicBezTo>
                    <a:pt x="3073" y="6856"/>
                    <a:pt x="0" y="3786"/>
                    <a:pt x="0" y="0"/>
                  </a:cubicBezTo>
                  <a:lnTo>
                    <a:pt x="0" y="292025"/>
                  </a:lnTo>
                  <a:lnTo>
                    <a:pt x="13840" y="292025"/>
                  </a:lnTo>
                  <a:close/>
                </a:path>
              </a:pathLst>
            </a:custGeom>
            <a:solidFill>
              <a:srgbClr val="000000"/>
            </a:solidFill>
            <a:ln w="12690" cap="flat">
              <a:noFill/>
              <a:prstDash val="solid"/>
              <a:miter/>
            </a:ln>
          </p:spPr>
          <p:txBody>
            <a:bodyPr rtlCol="0" anchor="ctr"/>
            <a:lstStyle/>
            <a:p>
              <a:endParaRPr lang="en-US"/>
            </a:p>
          </p:txBody>
        </p:sp>
        <p:sp>
          <p:nvSpPr>
            <p:cNvPr id="892" name="Freeform: Shape 891">
              <a:extLst>
                <a:ext uri="{FF2B5EF4-FFF2-40B4-BE49-F238E27FC236}">
                  <a16:creationId xmlns:a16="http://schemas.microsoft.com/office/drawing/2014/main" id="{98672AF4-336F-4282-9D21-00EBFC2D5736}"/>
                </a:ext>
              </a:extLst>
            </p:cNvPr>
            <p:cNvSpPr/>
            <p:nvPr/>
          </p:nvSpPr>
          <p:spPr>
            <a:xfrm>
              <a:off x="10803869" y="5841155"/>
              <a:ext cx="2539" cy="588621"/>
            </a:xfrm>
            <a:custGeom>
              <a:avLst/>
              <a:gdLst>
                <a:gd name="connsiteX0" fmla="*/ 0 w 2539"/>
                <a:gd name="connsiteY0" fmla="*/ 588621 h 588621"/>
                <a:gd name="connsiteX1" fmla="*/ 2539 w 2539"/>
                <a:gd name="connsiteY1" fmla="*/ 588621 h 588621"/>
                <a:gd name="connsiteX2" fmla="*/ 2539 w 2539"/>
                <a:gd name="connsiteY2" fmla="*/ 0 h 588621"/>
                <a:gd name="connsiteX3" fmla="*/ 0 w 2539"/>
                <a:gd name="connsiteY3" fmla="*/ 1778 h 588621"/>
              </a:gdLst>
              <a:ahLst/>
              <a:cxnLst>
                <a:cxn ang="0">
                  <a:pos x="connsiteX0" y="connsiteY0"/>
                </a:cxn>
                <a:cxn ang="0">
                  <a:pos x="connsiteX1" y="connsiteY1"/>
                </a:cxn>
                <a:cxn ang="0">
                  <a:pos x="connsiteX2" y="connsiteY2"/>
                </a:cxn>
                <a:cxn ang="0">
                  <a:pos x="connsiteX3" y="connsiteY3"/>
                </a:cxn>
              </a:cxnLst>
              <a:rect l="l" t="t" r="r" b="b"/>
              <a:pathLst>
                <a:path w="2539" h="588621">
                  <a:moveTo>
                    <a:pt x="0" y="588621"/>
                  </a:moveTo>
                  <a:lnTo>
                    <a:pt x="2539" y="588621"/>
                  </a:lnTo>
                  <a:lnTo>
                    <a:pt x="2539" y="0"/>
                  </a:lnTo>
                  <a:cubicBezTo>
                    <a:pt x="1829" y="772"/>
                    <a:pt x="965" y="1379"/>
                    <a:pt x="0" y="1778"/>
                  </a:cubicBezTo>
                  <a:close/>
                </a:path>
              </a:pathLst>
            </a:custGeom>
            <a:solidFill>
              <a:srgbClr val="000000"/>
            </a:solidFill>
            <a:ln w="12690" cap="flat">
              <a:noFill/>
              <a:prstDash val="solid"/>
              <a:miter/>
            </a:ln>
          </p:spPr>
          <p:txBody>
            <a:bodyPr rtlCol="0" anchor="ctr"/>
            <a:lstStyle/>
            <a:p>
              <a:endParaRPr lang="en-US"/>
            </a:p>
          </p:txBody>
        </p:sp>
        <p:sp>
          <p:nvSpPr>
            <p:cNvPr id="893" name="Freeform: Shape 892">
              <a:extLst>
                <a:ext uri="{FF2B5EF4-FFF2-40B4-BE49-F238E27FC236}">
                  <a16:creationId xmlns:a16="http://schemas.microsoft.com/office/drawing/2014/main" id="{2EC0FE5D-34CC-4959-A46E-8478B1D68A4D}"/>
                </a:ext>
              </a:extLst>
            </p:cNvPr>
            <p:cNvSpPr/>
            <p:nvPr/>
          </p:nvSpPr>
          <p:spPr>
            <a:xfrm>
              <a:off x="10803869" y="5821094"/>
              <a:ext cx="2539" cy="10792"/>
            </a:xfrm>
            <a:custGeom>
              <a:avLst/>
              <a:gdLst>
                <a:gd name="connsiteX0" fmla="*/ 2539 w 2539"/>
                <a:gd name="connsiteY0" fmla="*/ 10792 h 10792"/>
                <a:gd name="connsiteX1" fmla="*/ 2539 w 2539"/>
                <a:gd name="connsiteY1" fmla="*/ 0 h 10792"/>
                <a:gd name="connsiteX2" fmla="*/ 0 w 2539"/>
                <a:gd name="connsiteY2" fmla="*/ 1778 h 10792"/>
                <a:gd name="connsiteX3" fmla="*/ 0 w 2539"/>
                <a:gd name="connsiteY3" fmla="*/ 9015 h 10792"/>
                <a:gd name="connsiteX4" fmla="*/ 2539 w 2539"/>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0792">
                  <a:moveTo>
                    <a:pt x="2539" y="10792"/>
                  </a:moveTo>
                  <a:lnTo>
                    <a:pt x="2539" y="0"/>
                  </a:lnTo>
                  <a:cubicBezTo>
                    <a:pt x="1829" y="772"/>
                    <a:pt x="965" y="1379"/>
                    <a:pt x="0" y="1778"/>
                  </a:cubicBezTo>
                  <a:lnTo>
                    <a:pt x="0" y="9015"/>
                  </a:lnTo>
                  <a:cubicBezTo>
                    <a:pt x="965" y="9413"/>
                    <a:pt x="1829" y="10020"/>
                    <a:pt x="2539" y="10792"/>
                  </a:cubicBezTo>
                  <a:close/>
                </a:path>
              </a:pathLst>
            </a:custGeom>
            <a:solidFill>
              <a:srgbClr val="000000"/>
            </a:solidFill>
            <a:ln w="12690" cap="flat">
              <a:noFill/>
              <a:prstDash val="solid"/>
              <a:miter/>
            </a:ln>
          </p:spPr>
          <p:txBody>
            <a:bodyPr rtlCol="0" anchor="ctr"/>
            <a:lstStyle/>
            <a:p>
              <a:endParaRPr lang="en-US"/>
            </a:p>
          </p:txBody>
        </p:sp>
        <p:sp>
          <p:nvSpPr>
            <p:cNvPr id="894" name="Freeform: Shape 893">
              <a:extLst>
                <a:ext uri="{FF2B5EF4-FFF2-40B4-BE49-F238E27FC236}">
                  <a16:creationId xmlns:a16="http://schemas.microsoft.com/office/drawing/2014/main" id="{2088EA80-1F4E-4C04-A42A-9FA7A3D7E745}"/>
                </a:ext>
              </a:extLst>
            </p:cNvPr>
            <p:cNvSpPr/>
            <p:nvPr/>
          </p:nvSpPr>
          <p:spPr>
            <a:xfrm>
              <a:off x="10800060" y="5822999"/>
              <a:ext cx="2412" cy="6602"/>
            </a:xfrm>
            <a:custGeom>
              <a:avLst/>
              <a:gdLst>
                <a:gd name="connsiteX0" fmla="*/ 1269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348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269" y="6602"/>
                  </a:moveTo>
                  <a:lnTo>
                    <a:pt x="2412" y="6602"/>
                  </a:lnTo>
                  <a:lnTo>
                    <a:pt x="2412" y="0"/>
                  </a:lnTo>
                  <a:lnTo>
                    <a:pt x="0" y="0"/>
                  </a:lnTo>
                  <a:lnTo>
                    <a:pt x="0" y="6348"/>
                  </a:lnTo>
                  <a:close/>
                </a:path>
              </a:pathLst>
            </a:custGeom>
            <a:solidFill>
              <a:srgbClr val="000000"/>
            </a:solidFill>
            <a:ln w="12690" cap="flat">
              <a:noFill/>
              <a:prstDash val="solid"/>
              <a:miter/>
            </a:ln>
          </p:spPr>
          <p:txBody>
            <a:bodyPr rtlCol="0" anchor="ctr"/>
            <a:lstStyle/>
            <a:p>
              <a:endParaRPr lang="en-US"/>
            </a:p>
          </p:txBody>
        </p:sp>
        <p:sp>
          <p:nvSpPr>
            <p:cNvPr id="895" name="Freeform: Shape 894">
              <a:extLst>
                <a:ext uri="{FF2B5EF4-FFF2-40B4-BE49-F238E27FC236}">
                  <a16:creationId xmlns:a16="http://schemas.microsoft.com/office/drawing/2014/main" id="{35BEA240-8D0B-4292-A4F1-2451A56F64FA}"/>
                </a:ext>
              </a:extLst>
            </p:cNvPr>
            <p:cNvSpPr/>
            <p:nvPr/>
          </p:nvSpPr>
          <p:spPr>
            <a:xfrm>
              <a:off x="10801076" y="5796971"/>
              <a:ext cx="1142" cy="761"/>
            </a:xfrm>
            <a:custGeom>
              <a:avLst/>
              <a:gdLst>
                <a:gd name="connsiteX0" fmla="*/ 762 w 1142"/>
                <a:gd name="connsiteY0" fmla="*/ 762 h 761"/>
                <a:gd name="connsiteX1" fmla="*/ 0 w 1142"/>
                <a:gd name="connsiteY1" fmla="*/ 762 h 761"/>
                <a:gd name="connsiteX2" fmla="*/ 1142 w 1142"/>
                <a:gd name="connsiteY2" fmla="*/ 0 h 761"/>
              </a:gdLst>
              <a:ahLst/>
              <a:cxnLst>
                <a:cxn ang="0">
                  <a:pos x="connsiteX0" y="connsiteY0"/>
                </a:cxn>
                <a:cxn ang="0">
                  <a:pos x="connsiteX1" y="connsiteY1"/>
                </a:cxn>
                <a:cxn ang="0">
                  <a:pos x="connsiteX2" y="connsiteY2"/>
                </a:cxn>
              </a:cxnLst>
              <a:rect l="l" t="t" r="r" b="b"/>
              <a:pathLst>
                <a:path w="1142" h="761">
                  <a:moveTo>
                    <a:pt x="762" y="762"/>
                  </a:moveTo>
                  <a:lnTo>
                    <a:pt x="0" y="762"/>
                  </a:lnTo>
                  <a:lnTo>
                    <a:pt x="1142" y="0"/>
                  </a:lnTo>
                  <a:close/>
                </a:path>
              </a:pathLst>
            </a:custGeom>
            <a:solidFill>
              <a:srgbClr val="000000"/>
            </a:solidFill>
            <a:ln w="12690" cap="flat">
              <a:noFill/>
              <a:prstDash val="solid"/>
              <a:miter/>
            </a:ln>
          </p:spPr>
          <p:txBody>
            <a:bodyPr rtlCol="0" anchor="ctr"/>
            <a:lstStyle/>
            <a:p>
              <a:endParaRPr lang="en-US"/>
            </a:p>
          </p:txBody>
        </p:sp>
        <p:sp>
          <p:nvSpPr>
            <p:cNvPr id="896" name="Freeform: Shape 895">
              <a:extLst>
                <a:ext uri="{FF2B5EF4-FFF2-40B4-BE49-F238E27FC236}">
                  <a16:creationId xmlns:a16="http://schemas.microsoft.com/office/drawing/2014/main" id="{3A9CE949-F90F-49F2-848F-54C31423216D}"/>
                </a:ext>
              </a:extLst>
            </p:cNvPr>
            <p:cNvSpPr/>
            <p:nvPr/>
          </p:nvSpPr>
          <p:spPr>
            <a:xfrm>
              <a:off x="10794503" y="5801795"/>
              <a:ext cx="15714" cy="21330"/>
            </a:xfrm>
            <a:custGeom>
              <a:avLst/>
              <a:gdLst>
                <a:gd name="connsiteX0" fmla="*/ 860 w 15714"/>
                <a:gd name="connsiteY0" fmla="*/ 18156 h 21330"/>
                <a:gd name="connsiteX1" fmla="*/ 3272 w 15714"/>
                <a:gd name="connsiteY1" fmla="*/ 20569 h 21330"/>
                <a:gd name="connsiteX2" fmla="*/ 4796 w 15714"/>
                <a:gd name="connsiteY2" fmla="*/ 21331 h 21330"/>
                <a:gd name="connsiteX3" fmla="*/ 7970 w 15714"/>
                <a:gd name="connsiteY3" fmla="*/ 21331 h 21330"/>
                <a:gd name="connsiteX4" fmla="*/ 9366 w 15714"/>
                <a:gd name="connsiteY4" fmla="*/ 21331 h 21330"/>
                <a:gd name="connsiteX5" fmla="*/ 11906 w 15714"/>
                <a:gd name="connsiteY5" fmla="*/ 19553 h 21330"/>
                <a:gd name="connsiteX6" fmla="*/ 13429 w 15714"/>
                <a:gd name="connsiteY6" fmla="*/ 17014 h 21330"/>
                <a:gd name="connsiteX7" fmla="*/ 13429 w 15714"/>
                <a:gd name="connsiteY7" fmla="*/ 17014 h 21330"/>
                <a:gd name="connsiteX8" fmla="*/ 15715 w 15714"/>
                <a:gd name="connsiteY8" fmla="*/ 9142 h 21330"/>
                <a:gd name="connsiteX9" fmla="*/ 10382 w 15714"/>
                <a:gd name="connsiteY9" fmla="*/ 9142 h 21330"/>
                <a:gd name="connsiteX10" fmla="*/ 3526 w 15714"/>
                <a:gd name="connsiteY10" fmla="*/ 2285 h 21330"/>
                <a:gd name="connsiteX11" fmla="*/ 3526 w 15714"/>
                <a:gd name="connsiteY11" fmla="*/ 0 h 21330"/>
                <a:gd name="connsiteX12" fmla="*/ 3526 w 15714"/>
                <a:gd name="connsiteY12" fmla="*/ 0 h 21330"/>
                <a:gd name="connsiteX13" fmla="*/ 2765 w 15714"/>
                <a:gd name="connsiteY13" fmla="*/ 2412 h 21330"/>
                <a:gd name="connsiteX14" fmla="*/ 352 w 15714"/>
                <a:gd name="connsiteY14" fmla="*/ 10538 h 21330"/>
                <a:gd name="connsiteX15" fmla="*/ 352 w 15714"/>
                <a:gd name="connsiteY15" fmla="*/ 12824 h 21330"/>
                <a:gd name="connsiteX16" fmla="*/ 352 w 15714"/>
                <a:gd name="connsiteY16" fmla="*/ 12824 h 21330"/>
                <a:gd name="connsiteX17" fmla="*/ 860 w 15714"/>
                <a:gd name="connsiteY17" fmla="*/ 18156 h 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14" h="21330">
                  <a:moveTo>
                    <a:pt x="860" y="18156"/>
                  </a:moveTo>
                  <a:cubicBezTo>
                    <a:pt x="1431" y="19166"/>
                    <a:pt x="2269" y="20000"/>
                    <a:pt x="3272" y="20569"/>
                  </a:cubicBezTo>
                  <a:cubicBezTo>
                    <a:pt x="3755" y="20873"/>
                    <a:pt x="4262" y="21129"/>
                    <a:pt x="4796" y="21331"/>
                  </a:cubicBezTo>
                  <a:lnTo>
                    <a:pt x="7970" y="21331"/>
                  </a:lnTo>
                  <a:lnTo>
                    <a:pt x="9366" y="21331"/>
                  </a:lnTo>
                  <a:cubicBezTo>
                    <a:pt x="10331" y="20932"/>
                    <a:pt x="11195" y="20325"/>
                    <a:pt x="11906" y="19553"/>
                  </a:cubicBezTo>
                  <a:cubicBezTo>
                    <a:pt x="12554" y="18803"/>
                    <a:pt x="13074" y="17943"/>
                    <a:pt x="13429" y="17014"/>
                  </a:cubicBezTo>
                  <a:lnTo>
                    <a:pt x="13429" y="17014"/>
                  </a:lnTo>
                  <a:lnTo>
                    <a:pt x="15715" y="9142"/>
                  </a:lnTo>
                  <a:lnTo>
                    <a:pt x="10382" y="9142"/>
                  </a:lnTo>
                  <a:cubicBezTo>
                    <a:pt x="6599" y="9142"/>
                    <a:pt x="3526" y="6072"/>
                    <a:pt x="3526" y="2285"/>
                  </a:cubicBezTo>
                  <a:cubicBezTo>
                    <a:pt x="3386" y="1530"/>
                    <a:pt x="3386" y="755"/>
                    <a:pt x="3526" y="0"/>
                  </a:cubicBezTo>
                  <a:cubicBezTo>
                    <a:pt x="3526" y="0"/>
                    <a:pt x="3526" y="0"/>
                    <a:pt x="3526" y="0"/>
                  </a:cubicBezTo>
                  <a:lnTo>
                    <a:pt x="2765" y="2412"/>
                  </a:lnTo>
                  <a:lnTo>
                    <a:pt x="352" y="10538"/>
                  </a:lnTo>
                  <a:lnTo>
                    <a:pt x="352" y="12824"/>
                  </a:lnTo>
                  <a:lnTo>
                    <a:pt x="352" y="12824"/>
                  </a:lnTo>
                  <a:cubicBezTo>
                    <a:pt x="-258" y="14591"/>
                    <a:pt x="-67" y="16535"/>
                    <a:pt x="860" y="18156"/>
                  </a:cubicBezTo>
                  <a:close/>
                </a:path>
              </a:pathLst>
            </a:custGeom>
            <a:solidFill>
              <a:srgbClr val="000000"/>
            </a:solidFill>
            <a:ln w="12690" cap="flat">
              <a:noFill/>
              <a:prstDash val="solid"/>
              <a:miter/>
            </a:ln>
          </p:spPr>
          <p:txBody>
            <a:bodyPr rtlCol="0" anchor="ctr"/>
            <a:lstStyle/>
            <a:p>
              <a:endParaRPr lang="en-US"/>
            </a:p>
          </p:txBody>
        </p:sp>
        <p:sp>
          <p:nvSpPr>
            <p:cNvPr id="897" name="Freeform: Shape 896">
              <a:extLst>
                <a:ext uri="{FF2B5EF4-FFF2-40B4-BE49-F238E27FC236}">
                  <a16:creationId xmlns:a16="http://schemas.microsoft.com/office/drawing/2014/main" id="{02E22E43-787B-4CBB-A8DC-9876098DD7AD}"/>
                </a:ext>
              </a:extLst>
            </p:cNvPr>
            <p:cNvSpPr/>
            <p:nvPr/>
          </p:nvSpPr>
          <p:spPr>
            <a:xfrm>
              <a:off x="11231621" y="6824011"/>
              <a:ext cx="120110" cy="2412"/>
            </a:xfrm>
            <a:custGeom>
              <a:avLst/>
              <a:gdLst>
                <a:gd name="connsiteX0" fmla="*/ 0 w 120110"/>
                <a:gd name="connsiteY0" fmla="*/ 0 h 2412"/>
                <a:gd name="connsiteX1" fmla="*/ 0 w 120110"/>
                <a:gd name="connsiteY1" fmla="*/ 1270 h 2412"/>
                <a:gd name="connsiteX2" fmla="*/ 0 w 120110"/>
                <a:gd name="connsiteY2" fmla="*/ 2412 h 2412"/>
                <a:gd name="connsiteX3" fmla="*/ 120111 w 120110"/>
                <a:gd name="connsiteY3" fmla="*/ 2412 h 2412"/>
                <a:gd name="connsiteX4" fmla="*/ 115794 w 120110"/>
                <a:gd name="connsiteY4" fmla="*/ 0 h 2412"/>
                <a:gd name="connsiteX5" fmla="*/ 0 w 120110"/>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110" h="2412">
                  <a:moveTo>
                    <a:pt x="0" y="0"/>
                  </a:moveTo>
                  <a:lnTo>
                    <a:pt x="0" y="1270"/>
                  </a:lnTo>
                  <a:lnTo>
                    <a:pt x="0" y="2412"/>
                  </a:lnTo>
                  <a:lnTo>
                    <a:pt x="120111" y="2412"/>
                  </a:lnTo>
                  <a:lnTo>
                    <a:pt x="115794" y="0"/>
                  </a:lnTo>
                  <a:lnTo>
                    <a:pt x="0" y="0"/>
                  </a:lnTo>
                  <a:close/>
                </a:path>
              </a:pathLst>
            </a:custGeom>
            <a:solidFill>
              <a:srgbClr val="000000"/>
            </a:solidFill>
            <a:ln w="12690" cap="flat">
              <a:noFill/>
              <a:prstDash val="solid"/>
              <a:miter/>
            </a:ln>
          </p:spPr>
          <p:txBody>
            <a:bodyPr rtlCol="0" anchor="ctr"/>
            <a:lstStyle/>
            <a:p>
              <a:endParaRPr lang="en-US"/>
            </a:p>
          </p:txBody>
        </p:sp>
        <p:sp>
          <p:nvSpPr>
            <p:cNvPr id="898" name="Freeform: Shape 897">
              <a:extLst>
                <a:ext uri="{FF2B5EF4-FFF2-40B4-BE49-F238E27FC236}">
                  <a16:creationId xmlns:a16="http://schemas.microsoft.com/office/drawing/2014/main" id="{28CBFD09-58BB-4A8D-BF19-F791CBD2CABE}"/>
                </a:ext>
              </a:extLst>
            </p:cNvPr>
            <p:cNvSpPr/>
            <p:nvPr/>
          </p:nvSpPr>
          <p:spPr>
            <a:xfrm>
              <a:off x="11231621" y="6803950"/>
              <a:ext cx="89638" cy="2412"/>
            </a:xfrm>
            <a:custGeom>
              <a:avLst/>
              <a:gdLst>
                <a:gd name="connsiteX0" fmla="*/ 0 w 89638"/>
                <a:gd name="connsiteY0" fmla="*/ 1143 h 2412"/>
                <a:gd name="connsiteX1" fmla="*/ 0 w 89638"/>
                <a:gd name="connsiteY1" fmla="*/ 2412 h 2412"/>
                <a:gd name="connsiteX2" fmla="*/ 89639 w 89638"/>
                <a:gd name="connsiteY2" fmla="*/ 2412 h 2412"/>
                <a:gd name="connsiteX3" fmla="*/ 89639 w 89638"/>
                <a:gd name="connsiteY3" fmla="*/ 0 h 2412"/>
                <a:gd name="connsiteX4" fmla="*/ 0 w 89638"/>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8" h="2412">
                  <a:moveTo>
                    <a:pt x="0" y="1143"/>
                  </a:moveTo>
                  <a:lnTo>
                    <a:pt x="0" y="2412"/>
                  </a:lnTo>
                  <a:lnTo>
                    <a:pt x="89639" y="2412"/>
                  </a:lnTo>
                  <a:cubicBezTo>
                    <a:pt x="89512" y="1612"/>
                    <a:pt x="89512" y="800"/>
                    <a:pt x="89639" y="0"/>
                  </a:cubicBezTo>
                  <a:lnTo>
                    <a:pt x="0" y="0"/>
                  </a:lnTo>
                  <a:close/>
                </a:path>
              </a:pathLst>
            </a:custGeom>
            <a:solidFill>
              <a:srgbClr val="000000"/>
            </a:solidFill>
            <a:ln w="12690" cap="flat">
              <a:noFill/>
              <a:prstDash val="solid"/>
              <a:miter/>
            </a:ln>
          </p:spPr>
          <p:txBody>
            <a:bodyPr rtlCol="0" anchor="ctr"/>
            <a:lstStyle/>
            <a:p>
              <a:endParaRPr lang="en-US"/>
            </a:p>
          </p:txBody>
        </p:sp>
        <p:sp>
          <p:nvSpPr>
            <p:cNvPr id="899" name="Freeform: Shape 898">
              <a:extLst>
                <a:ext uri="{FF2B5EF4-FFF2-40B4-BE49-F238E27FC236}">
                  <a16:creationId xmlns:a16="http://schemas.microsoft.com/office/drawing/2014/main" id="{B0A2D156-C994-4231-91B6-A01F020845B3}"/>
                </a:ext>
              </a:extLst>
            </p:cNvPr>
            <p:cNvSpPr/>
            <p:nvPr/>
          </p:nvSpPr>
          <p:spPr>
            <a:xfrm>
              <a:off x="11321164" y="6797983"/>
              <a:ext cx="46565" cy="31233"/>
            </a:xfrm>
            <a:custGeom>
              <a:avLst/>
              <a:gdLst>
                <a:gd name="connsiteX0" fmla="*/ 6825 w 46565"/>
                <a:gd name="connsiteY0" fmla="*/ 7999 h 31233"/>
                <a:gd name="connsiteX1" fmla="*/ 5555 w 46565"/>
                <a:gd name="connsiteY1" fmla="*/ 6729 h 31233"/>
                <a:gd name="connsiteX2" fmla="*/ 5555 w 46565"/>
                <a:gd name="connsiteY2" fmla="*/ 0 h 31233"/>
                <a:gd name="connsiteX3" fmla="*/ 857 w 46565"/>
                <a:gd name="connsiteY3" fmla="*/ 3301 h 31233"/>
                <a:gd name="connsiteX4" fmla="*/ 95 w 46565"/>
                <a:gd name="connsiteY4" fmla="*/ 5587 h 31233"/>
                <a:gd name="connsiteX5" fmla="*/ 95 w 46565"/>
                <a:gd name="connsiteY5" fmla="*/ 7999 h 31233"/>
                <a:gd name="connsiteX6" fmla="*/ 3397 w 46565"/>
                <a:gd name="connsiteY6" fmla="*/ 12697 h 31233"/>
                <a:gd name="connsiteX7" fmla="*/ 26250 w 46565"/>
                <a:gd name="connsiteY7" fmla="*/ 26028 h 31233"/>
                <a:gd name="connsiteX8" fmla="*/ 30568 w 46565"/>
                <a:gd name="connsiteY8" fmla="*/ 28441 h 31233"/>
                <a:gd name="connsiteX9" fmla="*/ 35265 w 46565"/>
                <a:gd name="connsiteY9" fmla="*/ 31234 h 31233"/>
                <a:gd name="connsiteX10" fmla="*/ 35265 w 46565"/>
                <a:gd name="connsiteY10" fmla="*/ 27171 h 31233"/>
                <a:gd name="connsiteX11" fmla="*/ 41588 w 46565"/>
                <a:gd name="connsiteY11" fmla="*/ 19820 h 31233"/>
                <a:gd name="connsiteX12" fmla="*/ 42376 w 46565"/>
                <a:gd name="connsiteY12" fmla="*/ 19807 h 31233"/>
                <a:gd name="connsiteX13" fmla="*/ 46566 w 46565"/>
                <a:gd name="connsiteY13" fmla="*/ 21330 h 31233"/>
                <a:gd name="connsiteX14" fmla="*/ 46566 w 46565"/>
                <a:gd name="connsiteY14" fmla="*/ 21330 h 31233"/>
                <a:gd name="connsiteX15" fmla="*/ 11141 w 46565"/>
                <a:gd name="connsiteY15" fmla="*/ 889 h 31233"/>
                <a:gd name="connsiteX16" fmla="*/ 8983 w 46565"/>
                <a:gd name="connsiteY16" fmla="*/ 127 h 31233"/>
                <a:gd name="connsiteX17" fmla="*/ 8983 w 46565"/>
                <a:gd name="connsiteY17" fmla="*/ 7110 h 31233"/>
                <a:gd name="connsiteX18" fmla="*/ 7346 w 46565"/>
                <a:gd name="connsiteY18" fmla="*/ 8215 h 31233"/>
                <a:gd name="connsiteX19" fmla="*/ 6825 w 46565"/>
                <a:gd name="connsiteY19" fmla="*/ 7999 h 3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65" h="31233">
                  <a:moveTo>
                    <a:pt x="6825" y="7999"/>
                  </a:moveTo>
                  <a:cubicBezTo>
                    <a:pt x="6152" y="7935"/>
                    <a:pt x="5618" y="7402"/>
                    <a:pt x="5555" y="6729"/>
                  </a:cubicBezTo>
                  <a:lnTo>
                    <a:pt x="5555" y="0"/>
                  </a:lnTo>
                  <a:cubicBezTo>
                    <a:pt x="3587" y="381"/>
                    <a:pt x="1873" y="1574"/>
                    <a:pt x="857" y="3301"/>
                  </a:cubicBezTo>
                  <a:cubicBezTo>
                    <a:pt x="451" y="4000"/>
                    <a:pt x="197" y="4787"/>
                    <a:pt x="95" y="5587"/>
                  </a:cubicBezTo>
                  <a:cubicBezTo>
                    <a:pt x="-32" y="6386"/>
                    <a:pt x="-32" y="7199"/>
                    <a:pt x="95" y="7999"/>
                  </a:cubicBezTo>
                  <a:cubicBezTo>
                    <a:pt x="425" y="9992"/>
                    <a:pt x="1632" y="11719"/>
                    <a:pt x="3397" y="12697"/>
                  </a:cubicBezTo>
                  <a:lnTo>
                    <a:pt x="26250" y="26028"/>
                  </a:lnTo>
                  <a:lnTo>
                    <a:pt x="30568" y="28441"/>
                  </a:lnTo>
                  <a:lnTo>
                    <a:pt x="35265" y="31234"/>
                  </a:lnTo>
                  <a:lnTo>
                    <a:pt x="35265" y="27171"/>
                  </a:lnTo>
                  <a:cubicBezTo>
                    <a:pt x="34986" y="23400"/>
                    <a:pt x="37817" y="20099"/>
                    <a:pt x="41588" y="19820"/>
                  </a:cubicBezTo>
                  <a:cubicBezTo>
                    <a:pt x="41855" y="19807"/>
                    <a:pt x="42109" y="19794"/>
                    <a:pt x="42376" y="19807"/>
                  </a:cubicBezTo>
                  <a:cubicBezTo>
                    <a:pt x="43899" y="19845"/>
                    <a:pt x="45372" y="20378"/>
                    <a:pt x="46566" y="21330"/>
                  </a:cubicBezTo>
                  <a:lnTo>
                    <a:pt x="46566" y="21330"/>
                  </a:lnTo>
                  <a:lnTo>
                    <a:pt x="11141" y="889"/>
                  </a:lnTo>
                  <a:cubicBezTo>
                    <a:pt x="10469" y="508"/>
                    <a:pt x="9745" y="241"/>
                    <a:pt x="8983" y="127"/>
                  </a:cubicBezTo>
                  <a:lnTo>
                    <a:pt x="8983" y="7110"/>
                  </a:lnTo>
                  <a:cubicBezTo>
                    <a:pt x="8830" y="7872"/>
                    <a:pt x="8107" y="8367"/>
                    <a:pt x="7346" y="8215"/>
                  </a:cubicBezTo>
                  <a:cubicBezTo>
                    <a:pt x="7155" y="8177"/>
                    <a:pt x="6977" y="8101"/>
                    <a:pt x="6825" y="7999"/>
                  </a:cubicBezTo>
                  <a:close/>
                </a:path>
              </a:pathLst>
            </a:custGeom>
            <a:solidFill>
              <a:srgbClr val="000000"/>
            </a:solidFill>
            <a:ln w="12690" cap="flat">
              <a:noFill/>
              <a:prstDash val="solid"/>
              <a:miter/>
            </a:ln>
          </p:spPr>
          <p:txBody>
            <a:bodyPr rtlCol="0" anchor="ctr"/>
            <a:lstStyle/>
            <a:p>
              <a:endParaRPr lang="en-US"/>
            </a:p>
          </p:txBody>
        </p:sp>
        <p:sp>
          <p:nvSpPr>
            <p:cNvPr id="900" name="Freeform: Shape 899">
              <a:extLst>
                <a:ext uri="{FF2B5EF4-FFF2-40B4-BE49-F238E27FC236}">
                  <a16:creationId xmlns:a16="http://schemas.microsoft.com/office/drawing/2014/main" id="{2F229CEC-06B9-4D4D-A966-4367EDD894A7}"/>
                </a:ext>
              </a:extLst>
            </p:cNvPr>
            <p:cNvSpPr/>
            <p:nvPr/>
          </p:nvSpPr>
          <p:spPr>
            <a:xfrm>
              <a:off x="11326719" y="6509639"/>
              <a:ext cx="2539" cy="296723"/>
            </a:xfrm>
            <a:custGeom>
              <a:avLst/>
              <a:gdLst>
                <a:gd name="connsiteX0" fmla="*/ 0 w 2539"/>
                <a:gd name="connsiteY0" fmla="*/ 0 h 296723"/>
                <a:gd name="connsiteX1" fmla="*/ 0 w 2539"/>
                <a:gd name="connsiteY1" fmla="*/ 295453 h 296723"/>
                <a:gd name="connsiteX2" fmla="*/ 1270 w 2539"/>
                <a:gd name="connsiteY2" fmla="*/ 296723 h 296723"/>
                <a:gd name="connsiteX3" fmla="*/ 2539 w 2539"/>
                <a:gd name="connsiteY3" fmla="*/ 295453 h 296723"/>
                <a:gd name="connsiteX4" fmla="*/ 2539 w 2539"/>
                <a:gd name="connsiteY4" fmla="*/ 0 h 296723"/>
                <a:gd name="connsiteX5" fmla="*/ 1270 w 2539"/>
                <a:gd name="connsiteY5" fmla="*/ 0 h 29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296723">
                  <a:moveTo>
                    <a:pt x="0" y="0"/>
                  </a:moveTo>
                  <a:lnTo>
                    <a:pt x="0" y="295453"/>
                  </a:lnTo>
                  <a:cubicBezTo>
                    <a:pt x="0" y="296152"/>
                    <a:pt x="572" y="296723"/>
                    <a:pt x="1270" y="296723"/>
                  </a:cubicBezTo>
                  <a:cubicBezTo>
                    <a:pt x="1968" y="296723"/>
                    <a:pt x="2539" y="296152"/>
                    <a:pt x="2539" y="295453"/>
                  </a:cubicBezTo>
                  <a:lnTo>
                    <a:pt x="2539" y="0"/>
                  </a:lnTo>
                  <a:lnTo>
                    <a:pt x="1270" y="0"/>
                  </a:lnTo>
                  <a:close/>
                </a:path>
              </a:pathLst>
            </a:custGeom>
            <a:solidFill>
              <a:srgbClr val="000000"/>
            </a:solidFill>
            <a:ln w="12690" cap="flat">
              <a:noFill/>
              <a:prstDash val="solid"/>
              <a:miter/>
            </a:ln>
          </p:spPr>
          <p:txBody>
            <a:bodyPr rtlCol="0" anchor="ctr"/>
            <a:lstStyle/>
            <a:p>
              <a:endParaRPr lang="en-US"/>
            </a:p>
          </p:txBody>
        </p:sp>
        <p:sp>
          <p:nvSpPr>
            <p:cNvPr id="901" name="Freeform: Shape 900">
              <a:extLst>
                <a:ext uri="{FF2B5EF4-FFF2-40B4-BE49-F238E27FC236}">
                  <a16:creationId xmlns:a16="http://schemas.microsoft.com/office/drawing/2014/main" id="{2E9E8126-8C8E-4B16-A047-5E394139D186}"/>
                </a:ext>
              </a:extLst>
            </p:cNvPr>
            <p:cNvSpPr/>
            <p:nvPr/>
          </p:nvSpPr>
          <p:spPr>
            <a:xfrm>
              <a:off x="9790292" y="6239452"/>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endParaRPr lang="en-US"/>
            </a:p>
          </p:txBody>
        </p:sp>
        <p:sp>
          <p:nvSpPr>
            <p:cNvPr id="902" name="Freeform: Shape 901">
              <a:extLst>
                <a:ext uri="{FF2B5EF4-FFF2-40B4-BE49-F238E27FC236}">
                  <a16:creationId xmlns:a16="http://schemas.microsoft.com/office/drawing/2014/main" id="{B3D6D6DE-DEC5-4D8F-AA84-84DCA56AE60E}"/>
                </a:ext>
              </a:extLst>
            </p:cNvPr>
            <p:cNvSpPr/>
            <p:nvPr/>
          </p:nvSpPr>
          <p:spPr>
            <a:xfrm>
              <a:off x="10474517" y="5841663"/>
              <a:ext cx="2412" cy="275138"/>
            </a:xfrm>
            <a:custGeom>
              <a:avLst/>
              <a:gdLst>
                <a:gd name="connsiteX0" fmla="*/ 1270 w 2412"/>
                <a:gd name="connsiteY0" fmla="*/ 275139 h 275138"/>
                <a:gd name="connsiteX1" fmla="*/ 2412 w 2412"/>
                <a:gd name="connsiteY1" fmla="*/ 275139 h 275138"/>
                <a:gd name="connsiteX2" fmla="*/ 2412 w 2412"/>
                <a:gd name="connsiteY2" fmla="*/ 1397 h 275138"/>
                <a:gd name="connsiteX3" fmla="*/ 0 w 2412"/>
                <a:gd name="connsiteY3" fmla="*/ 0 h 275138"/>
                <a:gd name="connsiteX4" fmla="*/ 0 w 2412"/>
                <a:gd name="connsiteY4" fmla="*/ 275139 h 27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5138">
                  <a:moveTo>
                    <a:pt x="1270" y="275139"/>
                  </a:moveTo>
                  <a:lnTo>
                    <a:pt x="2412" y="275139"/>
                  </a:lnTo>
                  <a:lnTo>
                    <a:pt x="2412" y="1397"/>
                  </a:lnTo>
                  <a:cubicBezTo>
                    <a:pt x="1537" y="1058"/>
                    <a:pt x="724" y="587"/>
                    <a:pt x="0" y="0"/>
                  </a:cubicBezTo>
                  <a:lnTo>
                    <a:pt x="0" y="275139"/>
                  </a:lnTo>
                  <a:close/>
                </a:path>
              </a:pathLst>
            </a:custGeom>
            <a:solidFill>
              <a:srgbClr val="000000"/>
            </a:solidFill>
            <a:ln w="12690" cap="flat">
              <a:noFill/>
              <a:prstDash val="solid"/>
              <a:miter/>
            </a:ln>
          </p:spPr>
          <p:txBody>
            <a:bodyPr rtlCol="0" anchor="ctr"/>
            <a:lstStyle/>
            <a:p>
              <a:endParaRPr lang="en-US"/>
            </a:p>
          </p:txBody>
        </p:sp>
        <p:sp>
          <p:nvSpPr>
            <p:cNvPr id="903" name="Freeform: Shape 902">
              <a:extLst>
                <a:ext uri="{FF2B5EF4-FFF2-40B4-BE49-F238E27FC236}">
                  <a16:creationId xmlns:a16="http://schemas.microsoft.com/office/drawing/2014/main" id="{BA7FC2DA-C5CB-4907-856E-94E38E7B6976}"/>
                </a:ext>
              </a:extLst>
            </p:cNvPr>
            <p:cNvSpPr/>
            <p:nvPr/>
          </p:nvSpPr>
          <p:spPr>
            <a:xfrm>
              <a:off x="10474762" y="5822991"/>
              <a:ext cx="2429" cy="8387"/>
            </a:xfrm>
            <a:custGeom>
              <a:avLst/>
              <a:gdLst>
                <a:gd name="connsiteX0" fmla="*/ 9 w 2429"/>
                <a:gd name="connsiteY0" fmla="*/ 1278 h 8387"/>
                <a:gd name="connsiteX1" fmla="*/ 9 w 2429"/>
                <a:gd name="connsiteY1" fmla="*/ 8388 h 8387"/>
                <a:gd name="connsiteX2" fmla="*/ 2422 w 2429"/>
                <a:gd name="connsiteY2" fmla="*/ 6991 h 8387"/>
                <a:gd name="connsiteX3" fmla="*/ 2422 w 2429"/>
                <a:gd name="connsiteY3" fmla="*/ 1278 h 8387"/>
                <a:gd name="connsiteX4" fmla="*/ 1419 w 2429"/>
                <a:gd name="connsiteY4" fmla="*/ 16 h 8387"/>
                <a:gd name="connsiteX5" fmla="*/ 1279 w 2429"/>
                <a:gd name="connsiteY5" fmla="*/ 8 h 8387"/>
                <a:gd name="connsiteX6" fmla="*/ 9 w 2429"/>
                <a:gd name="connsiteY6" fmla="*/ 1007 h 8387"/>
                <a:gd name="connsiteX7" fmla="*/ 9 w 2429"/>
                <a:gd name="connsiteY7" fmla="*/ 1278 h 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9" h="8387">
                  <a:moveTo>
                    <a:pt x="9" y="1278"/>
                  </a:moveTo>
                  <a:lnTo>
                    <a:pt x="9" y="8388"/>
                  </a:lnTo>
                  <a:cubicBezTo>
                    <a:pt x="733" y="7801"/>
                    <a:pt x="1545" y="7330"/>
                    <a:pt x="2422" y="6991"/>
                  </a:cubicBezTo>
                  <a:lnTo>
                    <a:pt x="2422" y="1278"/>
                  </a:lnTo>
                  <a:cubicBezTo>
                    <a:pt x="2498" y="651"/>
                    <a:pt x="2040" y="86"/>
                    <a:pt x="1419" y="16"/>
                  </a:cubicBezTo>
                  <a:cubicBezTo>
                    <a:pt x="1368" y="11"/>
                    <a:pt x="1330" y="8"/>
                    <a:pt x="1279" y="8"/>
                  </a:cubicBezTo>
                  <a:cubicBezTo>
                    <a:pt x="657" y="-67"/>
                    <a:pt x="85" y="381"/>
                    <a:pt x="9" y="1007"/>
                  </a:cubicBezTo>
                  <a:cubicBezTo>
                    <a:pt x="-3" y="1098"/>
                    <a:pt x="-3" y="1188"/>
                    <a:pt x="9" y="1278"/>
                  </a:cubicBezTo>
                  <a:close/>
                </a:path>
              </a:pathLst>
            </a:custGeom>
            <a:solidFill>
              <a:srgbClr val="000000"/>
            </a:solidFill>
            <a:ln w="12690" cap="flat">
              <a:noFill/>
              <a:prstDash val="solid"/>
              <a:miter/>
            </a:ln>
          </p:spPr>
          <p:txBody>
            <a:bodyPr rtlCol="0" anchor="ctr"/>
            <a:lstStyle/>
            <a:p>
              <a:endParaRPr lang="en-US"/>
            </a:p>
          </p:txBody>
        </p:sp>
        <p:sp>
          <p:nvSpPr>
            <p:cNvPr id="904" name="Freeform: Shape 903">
              <a:extLst>
                <a:ext uri="{FF2B5EF4-FFF2-40B4-BE49-F238E27FC236}">
                  <a16:creationId xmlns:a16="http://schemas.microsoft.com/office/drawing/2014/main" id="{F70E52AD-EBF7-4193-9364-2646854627CB}"/>
                </a:ext>
              </a:extLst>
            </p:cNvPr>
            <p:cNvSpPr/>
            <p:nvPr/>
          </p:nvSpPr>
          <p:spPr>
            <a:xfrm>
              <a:off x="10800060" y="5843187"/>
              <a:ext cx="2412" cy="586589"/>
            </a:xfrm>
            <a:custGeom>
              <a:avLst/>
              <a:gdLst>
                <a:gd name="connsiteX0" fmla="*/ 2412 w 2412"/>
                <a:gd name="connsiteY0" fmla="*/ 586590 h 586589"/>
                <a:gd name="connsiteX1" fmla="*/ 2412 w 2412"/>
                <a:gd name="connsiteY1" fmla="*/ 0 h 586589"/>
                <a:gd name="connsiteX2" fmla="*/ 1269 w 2412"/>
                <a:gd name="connsiteY2" fmla="*/ 0 h 586589"/>
                <a:gd name="connsiteX3" fmla="*/ 0 w 2412"/>
                <a:gd name="connsiteY3" fmla="*/ 0 h 586589"/>
                <a:gd name="connsiteX4" fmla="*/ 0 w 2412"/>
                <a:gd name="connsiteY4" fmla="*/ 586336 h 586589"/>
                <a:gd name="connsiteX5" fmla="*/ 2412 w 2412"/>
                <a:gd name="connsiteY5" fmla="*/ 586336 h 5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589">
                  <a:moveTo>
                    <a:pt x="2412" y="586590"/>
                  </a:moveTo>
                  <a:lnTo>
                    <a:pt x="2412" y="0"/>
                  </a:lnTo>
                  <a:lnTo>
                    <a:pt x="1269" y="0"/>
                  </a:lnTo>
                  <a:lnTo>
                    <a:pt x="0" y="0"/>
                  </a:lnTo>
                  <a:lnTo>
                    <a:pt x="0" y="586336"/>
                  </a:lnTo>
                  <a:lnTo>
                    <a:pt x="2412" y="586336"/>
                  </a:lnTo>
                  <a:close/>
                </a:path>
              </a:pathLst>
            </a:custGeom>
            <a:solidFill>
              <a:srgbClr val="000000"/>
            </a:solidFill>
            <a:ln w="12690" cap="flat">
              <a:noFill/>
              <a:prstDash val="solid"/>
              <a:miter/>
            </a:ln>
          </p:spPr>
          <p:txBody>
            <a:bodyPr rtlCol="0" anchor="ctr"/>
            <a:lstStyle/>
            <a:p>
              <a:endParaRPr lang="en-US"/>
            </a:p>
          </p:txBody>
        </p:sp>
        <p:sp>
          <p:nvSpPr>
            <p:cNvPr id="905" name="Freeform: Shape 904">
              <a:extLst>
                <a:ext uri="{FF2B5EF4-FFF2-40B4-BE49-F238E27FC236}">
                  <a16:creationId xmlns:a16="http://schemas.microsoft.com/office/drawing/2014/main" id="{51D2B22D-AF09-497E-9F2A-8586127F0084}"/>
                </a:ext>
              </a:extLst>
            </p:cNvPr>
            <p:cNvSpPr/>
            <p:nvPr/>
          </p:nvSpPr>
          <p:spPr>
            <a:xfrm>
              <a:off x="10974640" y="5655402"/>
              <a:ext cx="13839" cy="141441"/>
            </a:xfrm>
            <a:custGeom>
              <a:avLst/>
              <a:gdLst>
                <a:gd name="connsiteX0" fmla="*/ 0 w 13839"/>
                <a:gd name="connsiteY0" fmla="*/ 6983 h 141441"/>
                <a:gd name="connsiteX1" fmla="*/ 0 w 13839"/>
                <a:gd name="connsiteY1" fmla="*/ 141442 h 141441"/>
                <a:gd name="connsiteX2" fmla="*/ 13840 w 13839"/>
                <a:gd name="connsiteY2" fmla="*/ 141442 h 141441"/>
                <a:gd name="connsiteX3" fmla="*/ 13840 w 13839"/>
                <a:gd name="connsiteY3" fmla="*/ 6983 h 141441"/>
                <a:gd name="connsiteX4" fmla="*/ 6856 w 13839"/>
                <a:gd name="connsiteY4" fmla="*/ 0 h 141441"/>
                <a:gd name="connsiteX5" fmla="*/ 0 w 13839"/>
                <a:gd name="connsiteY5" fmla="*/ 6983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41441">
                  <a:moveTo>
                    <a:pt x="0" y="6983"/>
                  </a:moveTo>
                  <a:lnTo>
                    <a:pt x="0" y="141442"/>
                  </a:lnTo>
                  <a:lnTo>
                    <a:pt x="13840" y="141442"/>
                  </a:lnTo>
                  <a:lnTo>
                    <a:pt x="13840" y="6983"/>
                  </a:lnTo>
                  <a:cubicBezTo>
                    <a:pt x="13840"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endParaRPr lang="en-US"/>
            </a:p>
          </p:txBody>
        </p:sp>
        <p:sp>
          <p:nvSpPr>
            <p:cNvPr id="906" name="Freeform: Shape 905">
              <a:extLst>
                <a:ext uri="{FF2B5EF4-FFF2-40B4-BE49-F238E27FC236}">
                  <a16:creationId xmlns:a16="http://schemas.microsoft.com/office/drawing/2014/main" id="{7060984F-76D4-49EE-AB6E-E8FF952300FE}"/>
                </a:ext>
              </a:extLst>
            </p:cNvPr>
            <p:cNvSpPr/>
            <p:nvPr/>
          </p:nvSpPr>
          <p:spPr>
            <a:xfrm>
              <a:off x="8621054" y="6430919"/>
              <a:ext cx="10157" cy="13839"/>
            </a:xfrm>
            <a:custGeom>
              <a:avLst/>
              <a:gdLst>
                <a:gd name="connsiteX0" fmla="*/ 0 w 10157"/>
                <a:gd name="connsiteY0" fmla="*/ 7872 h 13839"/>
                <a:gd name="connsiteX1" fmla="*/ 0 w 10157"/>
                <a:gd name="connsiteY1" fmla="*/ 13839 h 13839"/>
                <a:gd name="connsiteX2" fmla="*/ 10157 w 10157"/>
                <a:gd name="connsiteY2" fmla="*/ 13839 h 13839"/>
                <a:gd name="connsiteX3" fmla="*/ 10157 w 10157"/>
                <a:gd name="connsiteY3" fmla="*/ 13839 h 13839"/>
                <a:gd name="connsiteX4" fmla="*/ 3301 w 10157"/>
                <a:gd name="connsiteY4" fmla="*/ 6983 h 13839"/>
                <a:gd name="connsiteX5" fmla="*/ 10030 w 10157"/>
                <a:gd name="connsiteY5" fmla="*/ 0 h 13839"/>
                <a:gd name="connsiteX6" fmla="*/ 10030 w 10157"/>
                <a:gd name="connsiteY6" fmla="*/ 0 h 13839"/>
                <a:gd name="connsiteX7" fmla="*/ 0 w 10157"/>
                <a:gd name="connsiteY7" fmla="*/ 0 h 13839"/>
                <a:gd name="connsiteX8" fmla="*/ 0 w 10157"/>
                <a:gd name="connsiteY8" fmla="*/ 7872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7" h="13839">
                  <a:moveTo>
                    <a:pt x="0" y="7872"/>
                  </a:moveTo>
                  <a:lnTo>
                    <a:pt x="0" y="13839"/>
                  </a:lnTo>
                  <a:lnTo>
                    <a:pt x="10157" y="13839"/>
                  </a:lnTo>
                  <a:lnTo>
                    <a:pt x="10157" y="13839"/>
                  </a:lnTo>
                  <a:cubicBezTo>
                    <a:pt x="6374" y="13839"/>
                    <a:pt x="3301" y="10767"/>
                    <a:pt x="3301" y="6983"/>
                  </a:cubicBezTo>
                  <a:cubicBezTo>
                    <a:pt x="3301" y="3225"/>
                    <a:pt x="6272" y="140"/>
                    <a:pt x="10030" y="0"/>
                  </a:cubicBezTo>
                  <a:lnTo>
                    <a:pt x="10030" y="0"/>
                  </a:lnTo>
                  <a:lnTo>
                    <a:pt x="0" y="0"/>
                  </a:lnTo>
                  <a:lnTo>
                    <a:pt x="0" y="7872"/>
                  </a:lnTo>
                  <a:close/>
                </a:path>
              </a:pathLst>
            </a:custGeom>
            <a:solidFill>
              <a:srgbClr val="000000"/>
            </a:solidFill>
            <a:ln w="12690" cap="flat">
              <a:noFill/>
              <a:prstDash val="solid"/>
              <a:miter/>
            </a:ln>
          </p:spPr>
          <p:txBody>
            <a:bodyPr rtlCol="0" anchor="ctr"/>
            <a:lstStyle/>
            <a:p>
              <a:endParaRPr lang="en-US"/>
            </a:p>
          </p:txBody>
        </p:sp>
        <p:sp>
          <p:nvSpPr>
            <p:cNvPr id="907" name="Freeform: Shape 906">
              <a:extLst>
                <a:ext uri="{FF2B5EF4-FFF2-40B4-BE49-F238E27FC236}">
                  <a16:creationId xmlns:a16="http://schemas.microsoft.com/office/drawing/2014/main" id="{15D6D757-FF74-4445-940C-C032771958B9}"/>
                </a:ext>
              </a:extLst>
            </p:cNvPr>
            <p:cNvSpPr/>
            <p:nvPr/>
          </p:nvSpPr>
          <p:spPr>
            <a:xfrm>
              <a:off x="8624609" y="6430665"/>
              <a:ext cx="91796" cy="13839"/>
            </a:xfrm>
            <a:custGeom>
              <a:avLst/>
              <a:gdLst>
                <a:gd name="connsiteX0" fmla="*/ 0 w 91796"/>
                <a:gd name="connsiteY0" fmla="*/ 6983 h 13839"/>
                <a:gd name="connsiteX1" fmla="*/ 6856 w 91796"/>
                <a:gd name="connsiteY1" fmla="*/ 13840 h 13839"/>
                <a:gd name="connsiteX2" fmla="*/ 91797 w 91796"/>
                <a:gd name="connsiteY2" fmla="*/ 13840 h 13839"/>
                <a:gd name="connsiteX3" fmla="*/ 91797 w 91796"/>
                <a:gd name="connsiteY3" fmla="*/ 0 h 13839"/>
                <a:gd name="connsiteX4" fmla="*/ 6729 w 91796"/>
                <a:gd name="connsiteY4" fmla="*/ 0 h 13839"/>
                <a:gd name="connsiteX5" fmla="*/ 0 w 91796"/>
                <a:gd name="connsiteY5"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96" h="13839">
                  <a:moveTo>
                    <a:pt x="0" y="6983"/>
                  </a:moveTo>
                  <a:cubicBezTo>
                    <a:pt x="0" y="10767"/>
                    <a:pt x="3072" y="13840"/>
                    <a:pt x="6856" y="13840"/>
                  </a:cubicBezTo>
                  <a:lnTo>
                    <a:pt x="91797" y="13840"/>
                  </a:lnTo>
                  <a:lnTo>
                    <a:pt x="91797" y="0"/>
                  </a:lnTo>
                  <a:lnTo>
                    <a:pt x="6729" y="0"/>
                  </a:lnTo>
                  <a:cubicBezTo>
                    <a:pt x="2970" y="140"/>
                    <a:pt x="0" y="3225"/>
                    <a:pt x="0" y="6983"/>
                  </a:cubicBezTo>
                  <a:close/>
                </a:path>
              </a:pathLst>
            </a:custGeom>
            <a:solidFill>
              <a:srgbClr val="000000"/>
            </a:solidFill>
            <a:ln w="12690" cap="flat">
              <a:noFill/>
              <a:prstDash val="solid"/>
              <a:miter/>
            </a:ln>
          </p:spPr>
          <p:txBody>
            <a:bodyPr rtlCol="0" anchor="ctr"/>
            <a:lstStyle/>
            <a:p>
              <a:endParaRPr lang="en-US"/>
            </a:p>
          </p:txBody>
        </p:sp>
        <p:sp>
          <p:nvSpPr>
            <p:cNvPr id="908" name="Freeform: Shape 907">
              <a:extLst>
                <a:ext uri="{FF2B5EF4-FFF2-40B4-BE49-F238E27FC236}">
                  <a16:creationId xmlns:a16="http://schemas.microsoft.com/office/drawing/2014/main" id="{287BF313-C588-482D-B0AA-0907B8A9CC2A}"/>
                </a:ext>
              </a:extLst>
            </p:cNvPr>
            <p:cNvSpPr/>
            <p:nvPr/>
          </p:nvSpPr>
          <p:spPr>
            <a:xfrm>
              <a:off x="10277338" y="5843187"/>
              <a:ext cx="2412" cy="273234"/>
            </a:xfrm>
            <a:custGeom>
              <a:avLst/>
              <a:gdLst>
                <a:gd name="connsiteX0" fmla="*/ 508 w 2412"/>
                <a:gd name="connsiteY0" fmla="*/ 267394 h 273234"/>
                <a:gd name="connsiteX1" fmla="*/ 508 w 2412"/>
                <a:gd name="connsiteY1" fmla="*/ 268155 h 273234"/>
                <a:gd name="connsiteX2" fmla="*/ 508 w 2412"/>
                <a:gd name="connsiteY2" fmla="*/ 269552 h 273234"/>
                <a:gd name="connsiteX3" fmla="*/ 508 w 2412"/>
                <a:gd name="connsiteY3" fmla="*/ 269552 h 273234"/>
                <a:gd name="connsiteX4" fmla="*/ 508 w 2412"/>
                <a:gd name="connsiteY4" fmla="*/ 273234 h 273234"/>
                <a:gd name="connsiteX5" fmla="*/ 2412 w 2412"/>
                <a:gd name="connsiteY5" fmla="*/ 273234 h 273234"/>
                <a:gd name="connsiteX6" fmla="*/ 2412 w 2412"/>
                <a:gd name="connsiteY6" fmla="*/ 0 h 273234"/>
                <a:gd name="connsiteX7" fmla="*/ 2412 w 2412"/>
                <a:gd name="connsiteY7" fmla="*/ 0 h 273234"/>
                <a:gd name="connsiteX8" fmla="*/ 1142 w 2412"/>
                <a:gd name="connsiteY8" fmla="*/ 0 h 273234"/>
                <a:gd name="connsiteX9" fmla="*/ 0 w 2412"/>
                <a:gd name="connsiteY9" fmla="*/ 0 h 273234"/>
                <a:gd name="connsiteX10" fmla="*/ 0 w 2412"/>
                <a:gd name="connsiteY10" fmla="*/ 0 h 27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273234">
                  <a:moveTo>
                    <a:pt x="508" y="267394"/>
                  </a:moveTo>
                  <a:cubicBezTo>
                    <a:pt x="444" y="267648"/>
                    <a:pt x="444" y="267901"/>
                    <a:pt x="508" y="268155"/>
                  </a:cubicBezTo>
                  <a:cubicBezTo>
                    <a:pt x="571" y="268625"/>
                    <a:pt x="571" y="269082"/>
                    <a:pt x="508" y="269552"/>
                  </a:cubicBezTo>
                  <a:cubicBezTo>
                    <a:pt x="508" y="269552"/>
                    <a:pt x="508" y="269552"/>
                    <a:pt x="508" y="269552"/>
                  </a:cubicBezTo>
                  <a:lnTo>
                    <a:pt x="508" y="273234"/>
                  </a:lnTo>
                  <a:lnTo>
                    <a:pt x="2412" y="273234"/>
                  </a:lnTo>
                  <a:lnTo>
                    <a:pt x="2412" y="0"/>
                  </a:lnTo>
                  <a:lnTo>
                    <a:pt x="2412" y="0"/>
                  </a:lnTo>
                  <a:cubicBezTo>
                    <a:pt x="1993" y="74"/>
                    <a:pt x="1562" y="74"/>
                    <a:pt x="1142" y="0"/>
                  </a:cubicBezTo>
                  <a:cubicBezTo>
                    <a:pt x="762" y="53"/>
                    <a:pt x="380" y="53"/>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909" name="Freeform: Shape 908">
              <a:extLst>
                <a:ext uri="{FF2B5EF4-FFF2-40B4-BE49-F238E27FC236}">
                  <a16:creationId xmlns:a16="http://schemas.microsoft.com/office/drawing/2014/main" id="{13652C2F-1443-469A-A776-64A2DF32710D}"/>
                </a:ext>
              </a:extLst>
            </p:cNvPr>
            <p:cNvSpPr/>
            <p:nvPr/>
          </p:nvSpPr>
          <p:spPr>
            <a:xfrm>
              <a:off x="10270481" y="5834045"/>
              <a:ext cx="2412" cy="270567"/>
            </a:xfrm>
            <a:custGeom>
              <a:avLst/>
              <a:gdLst>
                <a:gd name="connsiteX0" fmla="*/ 1143 w 2412"/>
                <a:gd name="connsiteY0" fmla="*/ 270568 h 270567"/>
                <a:gd name="connsiteX1" fmla="*/ 2412 w 2412"/>
                <a:gd name="connsiteY1" fmla="*/ 270568 h 270567"/>
                <a:gd name="connsiteX2" fmla="*/ 2412 w 2412"/>
                <a:gd name="connsiteY2" fmla="*/ 270568 h 270567"/>
                <a:gd name="connsiteX3" fmla="*/ 2412 w 2412"/>
                <a:gd name="connsiteY3" fmla="*/ 3936 h 270567"/>
                <a:gd name="connsiteX4" fmla="*/ 0 w 2412"/>
                <a:gd name="connsiteY4" fmla="*/ 0 h 270567"/>
                <a:gd name="connsiteX5" fmla="*/ 0 w 2412"/>
                <a:gd name="connsiteY5" fmla="*/ 269044 h 27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0567">
                  <a:moveTo>
                    <a:pt x="1143" y="270568"/>
                  </a:moveTo>
                  <a:lnTo>
                    <a:pt x="2412" y="270568"/>
                  </a:lnTo>
                  <a:lnTo>
                    <a:pt x="2412" y="270568"/>
                  </a:lnTo>
                  <a:lnTo>
                    <a:pt x="2412" y="3936"/>
                  </a:lnTo>
                  <a:lnTo>
                    <a:pt x="0" y="0"/>
                  </a:lnTo>
                  <a:lnTo>
                    <a:pt x="0" y="269044"/>
                  </a:lnTo>
                  <a:close/>
                </a:path>
              </a:pathLst>
            </a:custGeom>
            <a:solidFill>
              <a:srgbClr val="000000"/>
            </a:solidFill>
            <a:ln w="12690" cap="flat">
              <a:noFill/>
              <a:prstDash val="solid"/>
              <a:miter/>
            </a:ln>
          </p:spPr>
          <p:txBody>
            <a:bodyPr rtlCol="0" anchor="ctr"/>
            <a:lstStyle/>
            <a:p>
              <a:endParaRPr lang="en-US"/>
            </a:p>
          </p:txBody>
        </p:sp>
        <p:sp>
          <p:nvSpPr>
            <p:cNvPr id="910" name="Freeform: Shape 909">
              <a:extLst>
                <a:ext uri="{FF2B5EF4-FFF2-40B4-BE49-F238E27FC236}">
                  <a16:creationId xmlns:a16="http://schemas.microsoft.com/office/drawing/2014/main" id="{6D370F48-36CF-4E04-BE1E-70077A35E05B}"/>
                </a:ext>
              </a:extLst>
            </p:cNvPr>
            <p:cNvSpPr/>
            <p:nvPr/>
          </p:nvSpPr>
          <p:spPr>
            <a:xfrm>
              <a:off x="10246231" y="5795701"/>
              <a:ext cx="1396" cy="296469"/>
            </a:xfrm>
            <a:custGeom>
              <a:avLst/>
              <a:gdLst>
                <a:gd name="connsiteX0" fmla="*/ 635 w 1396"/>
                <a:gd name="connsiteY0" fmla="*/ 296469 h 296469"/>
                <a:gd name="connsiteX1" fmla="*/ 1396 w 1396"/>
                <a:gd name="connsiteY1" fmla="*/ 296469 h 296469"/>
                <a:gd name="connsiteX2" fmla="*/ 1396 w 1396"/>
                <a:gd name="connsiteY2" fmla="*/ 296469 h 296469"/>
                <a:gd name="connsiteX3" fmla="*/ 1396 w 1396"/>
                <a:gd name="connsiteY3" fmla="*/ 3936 h 296469"/>
                <a:gd name="connsiteX4" fmla="*/ 0 w 1396"/>
                <a:gd name="connsiteY4" fmla="*/ 0 h 296469"/>
                <a:gd name="connsiteX5" fmla="*/ 0 w 1396"/>
                <a:gd name="connsiteY5"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6" h="296469">
                  <a:moveTo>
                    <a:pt x="635" y="296469"/>
                  </a:moveTo>
                  <a:lnTo>
                    <a:pt x="1396" y="296469"/>
                  </a:lnTo>
                  <a:lnTo>
                    <a:pt x="1396" y="296469"/>
                  </a:lnTo>
                  <a:lnTo>
                    <a:pt x="1396" y="3936"/>
                  </a:lnTo>
                  <a:lnTo>
                    <a:pt x="0" y="0"/>
                  </a:lnTo>
                  <a:lnTo>
                    <a:pt x="0" y="296469"/>
                  </a:lnTo>
                  <a:close/>
                </a:path>
              </a:pathLst>
            </a:custGeom>
            <a:solidFill>
              <a:srgbClr val="000000"/>
            </a:solidFill>
            <a:ln w="12690" cap="flat">
              <a:noFill/>
              <a:prstDash val="solid"/>
              <a:miter/>
            </a:ln>
          </p:spPr>
          <p:txBody>
            <a:bodyPr rtlCol="0" anchor="ctr"/>
            <a:lstStyle/>
            <a:p>
              <a:endParaRPr lang="en-US"/>
            </a:p>
          </p:txBody>
        </p:sp>
        <p:sp>
          <p:nvSpPr>
            <p:cNvPr id="911" name="Freeform: Shape 910">
              <a:extLst>
                <a:ext uri="{FF2B5EF4-FFF2-40B4-BE49-F238E27FC236}">
                  <a16:creationId xmlns:a16="http://schemas.microsoft.com/office/drawing/2014/main" id="{292552A7-69A5-44B2-94F9-54E544103921}"/>
                </a:ext>
              </a:extLst>
            </p:cNvPr>
            <p:cNvSpPr/>
            <p:nvPr/>
          </p:nvSpPr>
          <p:spPr>
            <a:xfrm>
              <a:off x="9390093" y="6092170"/>
              <a:ext cx="21837" cy="2412"/>
            </a:xfrm>
            <a:custGeom>
              <a:avLst/>
              <a:gdLst>
                <a:gd name="connsiteX0" fmla="*/ 21838 w 21837"/>
                <a:gd name="connsiteY0" fmla="*/ 0 h 2412"/>
                <a:gd name="connsiteX1" fmla="*/ 0 w 21837"/>
                <a:gd name="connsiteY1" fmla="*/ 0 h 2412"/>
                <a:gd name="connsiteX2" fmla="*/ 10157 w 21837"/>
                <a:gd name="connsiteY2" fmla="*/ 2412 h 2412"/>
                <a:gd name="connsiteX3" fmla="*/ 19807 w 21837"/>
                <a:gd name="connsiteY3" fmla="*/ 2412 h 2412"/>
                <a:gd name="connsiteX4" fmla="*/ 21838 w 21837"/>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7" h="2412">
                  <a:moveTo>
                    <a:pt x="21838" y="0"/>
                  </a:moveTo>
                  <a:lnTo>
                    <a:pt x="0" y="0"/>
                  </a:lnTo>
                  <a:lnTo>
                    <a:pt x="10157" y="2412"/>
                  </a:lnTo>
                  <a:lnTo>
                    <a:pt x="19807" y="2412"/>
                  </a:lnTo>
                  <a:cubicBezTo>
                    <a:pt x="20302" y="1473"/>
                    <a:pt x="21000" y="648"/>
                    <a:pt x="21838" y="0"/>
                  </a:cubicBezTo>
                  <a:close/>
                </a:path>
              </a:pathLst>
            </a:custGeom>
            <a:solidFill>
              <a:srgbClr val="000000"/>
            </a:solidFill>
            <a:ln w="12690" cap="flat">
              <a:no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B1889F98-A90E-444F-A3FF-E8652C7B6A8E}"/>
                </a:ext>
              </a:extLst>
            </p:cNvPr>
            <p:cNvSpPr/>
            <p:nvPr/>
          </p:nvSpPr>
          <p:spPr>
            <a:xfrm>
              <a:off x="9420945" y="6092170"/>
              <a:ext cx="38090" cy="2412"/>
            </a:xfrm>
            <a:custGeom>
              <a:avLst/>
              <a:gdLst>
                <a:gd name="connsiteX0" fmla="*/ 38090 w 38090"/>
                <a:gd name="connsiteY0" fmla="*/ 0 h 2412"/>
                <a:gd name="connsiteX1" fmla="*/ 0 w 38090"/>
                <a:gd name="connsiteY1" fmla="*/ 0 h 2412"/>
                <a:gd name="connsiteX2" fmla="*/ 2031 w 38090"/>
                <a:gd name="connsiteY2" fmla="*/ 2412 h 2412"/>
                <a:gd name="connsiteX3" fmla="*/ 38090 w 38090"/>
                <a:gd name="connsiteY3" fmla="*/ 2412 h 2412"/>
                <a:gd name="connsiteX4" fmla="*/ 38090 w 38090"/>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90" h="2412">
                  <a:moveTo>
                    <a:pt x="38090" y="0"/>
                  </a:moveTo>
                  <a:lnTo>
                    <a:pt x="0" y="0"/>
                  </a:lnTo>
                  <a:cubicBezTo>
                    <a:pt x="876" y="609"/>
                    <a:pt x="1575" y="1447"/>
                    <a:pt x="2031" y="2412"/>
                  </a:cubicBezTo>
                  <a:lnTo>
                    <a:pt x="38090" y="2412"/>
                  </a:lnTo>
                  <a:lnTo>
                    <a:pt x="38090" y="0"/>
                  </a:lnTo>
                  <a:close/>
                </a:path>
              </a:pathLst>
            </a:custGeom>
            <a:solidFill>
              <a:srgbClr val="000000"/>
            </a:solidFill>
            <a:ln w="12690" cap="flat">
              <a:noFill/>
              <a:prstDash val="solid"/>
              <a:miter/>
            </a:ln>
          </p:spPr>
          <p:txBody>
            <a:bodyPr rtlCol="0" anchor="ctr"/>
            <a:lstStyle/>
            <a:p>
              <a:endParaRPr lang="en-US"/>
            </a:p>
          </p:txBody>
        </p:sp>
        <p:sp>
          <p:nvSpPr>
            <p:cNvPr id="913" name="Freeform: Shape 912">
              <a:extLst>
                <a:ext uri="{FF2B5EF4-FFF2-40B4-BE49-F238E27FC236}">
                  <a16:creationId xmlns:a16="http://schemas.microsoft.com/office/drawing/2014/main" id="{4F41BD05-BA0B-4D13-A78C-2F71BB24C0D7}"/>
                </a:ext>
              </a:extLst>
            </p:cNvPr>
            <p:cNvSpPr/>
            <p:nvPr/>
          </p:nvSpPr>
          <p:spPr>
            <a:xfrm>
              <a:off x="10072794" y="6092234"/>
              <a:ext cx="174832" cy="1841"/>
            </a:xfrm>
            <a:custGeom>
              <a:avLst/>
              <a:gdLst>
                <a:gd name="connsiteX0" fmla="*/ 0 w 174832"/>
                <a:gd name="connsiteY0" fmla="*/ 1841 h 1841"/>
                <a:gd name="connsiteX1" fmla="*/ 173436 w 174832"/>
                <a:gd name="connsiteY1" fmla="*/ 1841 h 1841"/>
                <a:gd name="connsiteX2" fmla="*/ 173436 w 174832"/>
                <a:gd name="connsiteY2" fmla="*/ 1841 h 1841"/>
                <a:gd name="connsiteX3" fmla="*/ 173399 w 174832"/>
                <a:gd name="connsiteY3" fmla="*/ 229 h 1841"/>
                <a:gd name="connsiteX4" fmla="*/ 173436 w 174832"/>
                <a:gd name="connsiteY4" fmla="*/ 190 h 1841"/>
                <a:gd name="connsiteX5" fmla="*/ 174833 w 174832"/>
                <a:gd name="connsiteY5" fmla="*/ 190 h 1841"/>
                <a:gd name="connsiteX6" fmla="*/ 0 w 174832"/>
                <a:gd name="connsiteY6" fmla="*/ 190 h 1841"/>
                <a:gd name="connsiteX7" fmla="*/ 0 w 174832"/>
                <a:gd name="connsiteY7" fmla="*/ 1841 h 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832" h="1841">
                  <a:moveTo>
                    <a:pt x="0" y="1841"/>
                  </a:moveTo>
                  <a:lnTo>
                    <a:pt x="173436" y="1841"/>
                  </a:lnTo>
                  <a:lnTo>
                    <a:pt x="173436" y="1841"/>
                  </a:lnTo>
                  <a:cubicBezTo>
                    <a:pt x="172979" y="1409"/>
                    <a:pt x="172967" y="686"/>
                    <a:pt x="173399" y="229"/>
                  </a:cubicBezTo>
                  <a:cubicBezTo>
                    <a:pt x="173411" y="216"/>
                    <a:pt x="173424" y="203"/>
                    <a:pt x="173436" y="190"/>
                  </a:cubicBezTo>
                  <a:cubicBezTo>
                    <a:pt x="173868" y="-63"/>
                    <a:pt x="174401" y="-63"/>
                    <a:pt x="174833" y="190"/>
                  </a:cubicBezTo>
                  <a:lnTo>
                    <a:pt x="0" y="190"/>
                  </a:lnTo>
                  <a:lnTo>
                    <a:pt x="0" y="1841"/>
                  </a:lnTo>
                  <a:close/>
                </a:path>
              </a:pathLst>
            </a:custGeom>
            <a:solidFill>
              <a:srgbClr val="000000"/>
            </a:solidFill>
            <a:ln w="12690" cap="flat">
              <a:noFill/>
              <a:prstDash val="solid"/>
              <a:miter/>
            </a:ln>
          </p:spPr>
          <p:txBody>
            <a:bodyPr rtlCol="0" anchor="ctr"/>
            <a:lstStyle/>
            <a:p>
              <a:endParaRPr lang="en-US"/>
            </a:p>
          </p:txBody>
        </p:sp>
        <p:sp>
          <p:nvSpPr>
            <p:cNvPr id="914" name="Freeform: Shape 913">
              <a:extLst>
                <a:ext uri="{FF2B5EF4-FFF2-40B4-BE49-F238E27FC236}">
                  <a16:creationId xmlns:a16="http://schemas.microsoft.com/office/drawing/2014/main" id="{C75CD3EE-F82E-464E-B4B9-483DA6659BFB}"/>
                </a:ext>
              </a:extLst>
            </p:cNvPr>
            <p:cNvSpPr/>
            <p:nvPr/>
          </p:nvSpPr>
          <p:spPr>
            <a:xfrm>
              <a:off x="9358811" y="5784528"/>
              <a:ext cx="13887" cy="309546"/>
            </a:xfrm>
            <a:custGeom>
              <a:avLst/>
              <a:gdLst>
                <a:gd name="connsiteX0" fmla="*/ 8681 w 13887"/>
                <a:gd name="connsiteY0" fmla="*/ 302183 h 309546"/>
                <a:gd name="connsiteX1" fmla="*/ 13887 w 13887"/>
                <a:gd name="connsiteY1" fmla="*/ 303452 h 309546"/>
                <a:gd name="connsiteX2" fmla="*/ 13887 w 13887"/>
                <a:gd name="connsiteY2" fmla="*/ 6983 h 309546"/>
                <a:gd name="connsiteX3" fmla="*/ 7031 w 13887"/>
                <a:gd name="connsiteY3" fmla="*/ 6983 h 309546"/>
                <a:gd name="connsiteX4" fmla="*/ 48 w 13887"/>
                <a:gd name="connsiteY4" fmla="*/ 0 h 309546"/>
                <a:gd name="connsiteX5" fmla="*/ 48 w 13887"/>
                <a:gd name="connsiteY5" fmla="*/ 309547 h 309546"/>
                <a:gd name="connsiteX6" fmla="*/ 48 w 13887"/>
                <a:gd name="connsiteY6" fmla="*/ 307388 h 309546"/>
                <a:gd name="connsiteX7" fmla="*/ 8136 w 13887"/>
                <a:gd name="connsiteY7" fmla="*/ 302043 h 309546"/>
                <a:gd name="connsiteX8" fmla="*/ 8681 w 13887"/>
                <a:gd name="connsiteY8" fmla="*/ 302183 h 30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7" h="309546">
                  <a:moveTo>
                    <a:pt x="8681" y="302183"/>
                  </a:moveTo>
                  <a:lnTo>
                    <a:pt x="13887" y="303452"/>
                  </a:lnTo>
                  <a:lnTo>
                    <a:pt x="13887" y="6983"/>
                  </a:lnTo>
                  <a:lnTo>
                    <a:pt x="7031" y="6983"/>
                  </a:lnTo>
                  <a:cubicBezTo>
                    <a:pt x="3171" y="6983"/>
                    <a:pt x="48" y="3857"/>
                    <a:pt x="48" y="0"/>
                  </a:cubicBezTo>
                  <a:lnTo>
                    <a:pt x="48" y="309547"/>
                  </a:lnTo>
                  <a:cubicBezTo>
                    <a:pt x="-16" y="308823"/>
                    <a:pt x="-16" y="308112"/>
                    <a:pt x="48" y="307388"/>
                  </a:cubicBezTo>
                  <a:cubicBezTo>
                    <a:pt x="809" y="303681"/>
                    <a:pt x="4428" y="301294"/>
                    <a:pt x="8136" y="302043"/>
                  </a:cubicBezTo>
                  <a:cubicBezTo>
                    <a:pt x="8326" y="302081"/>
                    <a:pt x="8504" y="302132"/>
                    <a:pt x="8681" y="302183"/>
                  </a:cubicBezTo>
                  <a:close/>
                </a:path>
              </a:pathLst>
            </a:custGeom>
            <a:solidFill>
              <a:srgbClr val="000000"/>
            </a:solidFill>
            <a:ln w="12690" cap="flat">
              <a:noFill/>
              <a:prstDash val="solid"/>
              <a:miter/>
            </a:ln>
          </p:spPr>
          <p:txBody>
            <a:bodyPr rtlCol="0" anchor="ctr"/>
            <a:lstStyle/>
            <a:p>
              <a:endParaRPr lang="en-US"/>
            </a:p>
          </p:txBody>
        </p:sp>
        <p:sp>
          <p:nvSpPr>
            <p:cNvPr id="915" name="Freeform: Shape 914">
              <a:extLst>
                <a:ext uri="{FF2B5EF4-FFF2-40B4-BE49-F238E27FC236}">
                  <a16:creationId xmlns:a16="http://schemas.microsoft.com/office/drawing/2014/main" id="{41F2141D-0FDD-48F4-8DE5-5B5477BFDDAF}"/>
                </a:ext>
              </a:extLst>
            </p:cNvPr>
            <p:cNvSpPr/>
            <p:nvPr/>
          </p:nvSpPr>
          <p:spPr>
            <a:xfrm>
              <a:off x="10262228" y="6104359"/>
              <a:ext cx="5459" cy="1777"/>
            </a:xfrm>
            <a:custGeom>
              <a:avLst/>
              <a:gdLst>
                <a:gd name="connsiteX0" fmla="*/ 5459 w 5459"/>
                <a:gd name="connsiteY0" fmla="*/ 0 h 1777"/>
                <a:gd name="connsiteX1" fmla="*/ 0 w 5459"/>
                <a:gd name="connsiteY1" fmla="*/ 0 h 1777"/>
                <a:gd name="connsiteX2" fmla="*/ 2158 w 5459"/>
                <a:gd name="connsiteY2" fmla="*/ 1778 h 1777"/>
                <a:gd name="connsiteX3" fmla="*/ 5459 w 5459"/>
                <a:gd name="connsiteY3" fmla="*/ 0 h 1777"/>
              </a:gdLst>
              <a:ahLst/>
              <a:cxnLst>
                <a:cxn ang="0">
                  <a:pos x="connsiteX0" y="connsiteY0"/>
                </a:cxn>
                <a:cxn ang="0">
                  <a:pos x="connsiteX1" y="connsiteY1"/>
                </a:cxn>
                <a:cxn ang="0">
                  <a:pos x="connsiteX2" y="connsiteY2"/>
                </a:cxn>
                <a:cxn ang="0">
                  <a:pos x="connsiteX3" y="connsiteY3"/>
                </a:cxn>
              </a:cxnLst>
              <a:rect l="l" t="t" r="r" b="b"/>
              <a:pathLst>
                <a:path w="5459" h="1777">
                  <a:moveTo>
                    <a:pt x="5459" y="0"/>
                  </a:moveTo>
                  <a:lnTo>
                    <a:pt x="0" y="0"/>
                  </a:lnTo>
                  <a:lnTo>
                    <a:pt x="2158" y="1778"/>
                  </a:lnTo>
                  <a:cubicBezTo>
                    <a:pt x="3073" y="889"/>
                    <a:pt x="4215" y="267"/>
                    <a:pt x="5459" y="0"/>
                  </a:cubicBezTo>
                  <a:close/>
                </a:path>
              </a:pathLst>
            </a:custGeom>
            <a:solidFill>
              <a:srgbClr val="000000"/>
            </a:solidFill>
            <a:ln w="12690" cap="flat">
              <a:noFill/>
              <a:prstDash val="solid"/>
              <a:miter/>
            </a:ln>
          </p:spPr>
          <p:txBody>
            <a:bodyPr rtlCol="0" anchor="ctr"/>
            <a:lstStyle/>
            <a:p>
              <a:endParaRPr lang="en-US"/>
            </a:p>
          </p:txBody>
        </p:sp>
        <p:sp>
          <p:nvSpPr>
            <p:cNvPr id="916" name="Freeform: Shape 915">
              <a:extLst>
                <a:ext uri="{FF2B5EF4-FFF2-40B4-BE49-F238E27FC236}">
                  <a16:creationId xmlns:a16="http://schemas.microsoft.com/office/drawing/2014/main" id="{678D806C-48F5-4B92-A5D2-904B7CE8E19E}"/>
                </a:ext>
              </a:extLst>
            </p:cNvPr>
            <p:cNvSpPr/>
            <p:nvPr/>
          </p:nvSpPr>
          <p:spPr>
            <a:xfrm>
              <a:off x="10072794" y="6104232"/>
              <a:ext cx="189434" cy="8125"/>
            </a:xfrm>
            <a:custGeom>
              <a:avLst/>
              <a:gdLst>
                <a:gd name="connsiteX0" fmla="*/ 0 w 189434"/>
                <a:gd name="connsiteY0" fmla="*/ 6856 h 8125"/>
                <a:gd name="connsiteX1" fmla="*/ 0 w 189434"/>
                <a:gd name="connsiteY1" fmla="*/ 8126 h 8125"/>
                <a:gd name="connsiteX2" fmla="*/ 189434 w 189434"/>
                <a:gd name="connsiteY2" fmla="*/ 8126 h 8125"/>
                <a:gd name="connsiteX3" fmla="*/ 189434 w 189434"/>
                <a:gd name="connsiteY3" fmla="*/ 3682 h 8125"/>
                <a:gd name="connsiteX4" fmla="*/ 184864 w 189434"/>
                <a:gd name="connsiteY4" fmla="*/ 0 h 8125"/>
                <a:gd name="connsiteX5" fmla="*/ 0 w 189434"/>
                <a:gd name="connsiteY5"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434" h="8125">
                  <a:moveTo>
                    <a:pt x="0" y="6856"/>
                  </a:moveTo>
                  <a:lnTo>
                    <a:pt x="0" y="8126"/>
                  </a:lnTo>
                  <a:lnTo>
                    <a:pt x="189434" y="8126"/>
                  </a:lnTo>
                  <a:cubicBezTo>
                    <a:pt x="188876" y="6691"/>
                    <a:pt x="188876" y="5117"/>
                    <a:pt x="189434" y="3682"/>
                  </a:cubicBezTo>
                  <a:lnTo>
                    <a:pt x="184864" y="0"/>
                  </a:lnTo>
                  <a:lnTo>
                    <a:pt x="0" y="0"/>
                  </a:lnTo>
                  <a:close/>
                </a:path>
              </a:pathLst>
            </a:custGeom>
            <a:solidFill>
              <a:srgbClr val="000000"/>
            </a:solidFill>
            <a:ln w="12690" cap="flat">
              <a:noFill/>
              <a:prstDash val="solid"/>
              <a:miter/>
            </a:ln>
          </p:spPr>
          <p:txBody>
            <a:bodyPr rtlCol="0" anchor="ctr"/>
            <a:lstStyle/>
            <a:p>
              <a:endParaRPr lang="en-US"/>
            </a:p>
          </p:txBody>
        </p:sp>
        <p:sp>
          <p:nvSpPr>
            <p:cNvPr id="917" name="Freeform: Shape 916">
              <a:extLst>
                <a:ext uri="{FF2B5EF4-FFF2-40B4-BE49-F238E27FC236}">
                  <a16:creationId xmlns:a16="http://schemas.microsoft.com/office/drawing/2014/main" id="{B26C0F14-51BE-4A42-9580-3E4DAE6FA366}"/>
                </a:ext>
              </a:extLst>
            </p:cNvPr>
            <p:cNvSpPr/>
            <p:nvPr/>
          </p:nvSpPr>
          <p:spPr>
            <a:xfrm>
              <a:off x="10267688" y="5831252"/>
              <a:ext cx="2412" cy="273107"/>
            </a:xfrm>
            <a:custGeom>
              <a:avLst/>
              <a:gdLst>
                <a:gd name="connsiteX0" fmla="*/ 2412 w 2412"/>
                <a:gd name="connsiteY0" fmla="*/ 273107 h 273107"/>
                <a:gd name="connsiteX1" fmla="*/ 2412 w 2412"/>
                <a:gd name="connsiteY1" fmla="*/ 3936 h 273107"/>
                <a:gd name="connsiteX2" fmla="*/ 0 w 2412"/>
                <a:gd name="connsiteY2" fmla="*/ 0 h 273107"/>
                <a:gd name="connsiteX3" fmla="*/ 0 w 2412"/>
                <a:gd name="connsiteY3" fmla="*/ 272980 h 273107"/>
                <a:gd name="connsiteX4" fmla="*/ 0 w 2412"/>
                <a:gd name="connsiteY4" fmla="*/ 272980 h 273107"/>
                <a:gd name="connsiteX5" fmla="*/ 2412 w 2412"/>
                <a:gd name="connsiteY5" fmla="*/ 273107 h 27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107">
                  <a:moveTo>
                    <a:pt x="2412" y="273107"/>
                  </a:moveTo>
                  <a:lnTo>
                    <a:pt x="2412" y="3936"/>
                  </a:lnTo>
                  <a:lnTo>
                    <a:pt x="0" y="0"/>
                  </a:lnTo>
                  <a:lnTo>
                    <a:pt x="0" y="272980"/>
                  </a:lnTo>
                  <a:lnTo>
                    <a:pt x="0" y="272980"/>
                  </a:lnTo>
                  <a:cubicBezTo>
                    <a:pt x="800" y="272891"/>
                    <a:pt x="1625" y="272942"/>
                    <a:pt x="2412" y="273107"/>
                  </a:cubicBezTo>
                  <a:close/>
                </a:path>
              </a:pathLst>
            </a:custGeom>
            <a:solidFill>
              <a:srgbClr val="000000"/>
            </a:solidFill>
            <a:ln w="12690" cap="flat">
              <a:noFill/>
              <a:prstDash val="solid"/>
              <a:miter/>
            </a:ln>
          </p:spPr>
          <p:txBody>
            <a:bodyPr rtlCol="0" anchor="ctr"/>
            <a:lstStyle/>
            <a:p>
              <a:endParaRPr lang="en-US"/>
            </a:p>
          </p:txBody>
        </p:sp>
        <p:sp>
          <p:nvSpPr>
            <p:cNvPr id="918" name="Freeform: Shape 917">
              <a:extLst>
                <a:ext uri="{FF2B5EF4-FFF2-40B4-BE49-F238E27FC236}">
                  <a16:creationId xmlns:a16="http://schemas.microsoft.com/office/drawing/2014/main" id="{ECC5E234-FB5C-4D5D-BD45-DE4D8AC2EB92}"/>
                </a:ext>
              </a:extLst>
            </p:cNvPr>
            <p:cNvSpPr/>
            <p:nvPr/>
          </p:nvSpPr>
          <p:spPr>
            <a:xfrm>
              <a:off x="10265530" y="5820714"/>
              <a:ext cx="17578" cy="21766"/>
            </a:xfrm>
            <a:custGeom>
              <a:avLst/>
              <a:gdLst>
                <a:gd name="connsiteX0" fmla="*/ 9523 w 17578"/>
                <a:gd name="connsiteY0" fmla="*/ 9396 h 21766"/>
                <a:gd name="connsiteX1" fmla="*/ 5840 w 17578"/>
                <a:gd name="connsiteY1" fmla="*/ 10411 h 21766"/>
                <a:gd name="connsiteX2" fmla="*/ 0 w 17578"/>
                <a:gd name="connsiteY2" fmla="*/ 7110 h 21766"/>
                <a:gd name="connsiteX3" fmla="*/ 2158 w 17578"/>
                <a:gd name="connsiteY3" fmla="*/ 10538 h 21766"/>
                <a:gd name="connsiteX4" fmla="*/ 4571 w 17578"/>
                <a:gd name="connsiteY4" fmla="*/ 14474 h 21766"/>
                <a:gd name="connsiteX5" fmla="*/ 4571 w 17578"/>
                <a:gd name="connsiteY5" fmla="*/ 14474 h 21766"/>
                <a:gd name="connsiteX6" fmla="*/ 6983 w 17578"/>
                <a:gd name="connsiteY6" fmla="*/ 18410 h 21766"/>
                <a:gd name="connsiteX7" fmla="*/ 6983 w 17578"/>
                <a:gd name="connsiteY7" fmla="*/ 19299 h 21766"/>
                <a:gd name="connsiteX8" fmla="*/ 6983 w 17578"/>
                <a:gd name="connsiteY8" fmla="*/ 19299 h 21766"/>
                <a:gd name="connsiteX9" fmla="*/ 8761 w 17578"/>
                <a:gd name="connsiteY9" fmla="*/ 20950 h 21766"/>
                <a:gd name="connsiteX10" fmla="*/ 9523 w 17578"/>
                <a:gd name="connsiteY10" fmla="*/ 20950 h 21766"/>
                <a:gd name="connsiteX11" fmla="*/ 12443 w 17578"/>
                <a:gd name="connsiteY11" fmla="*/ 21711 h 21766"/>
                <a:gd name="connsiteX12" fmla="*/ 13712 w 17578"/>
                <a:gd name="connsiteY12" fmla="*/ 21711 h 21766"/>
                <a:gd name="connsiteX13" fmla="*/ 15744 w 17578"/>
                <a:gd name="connsiteY13" fmla="*/ 21711 h 21766"/>
                <a:gd name="connsiteX14" fmla="*/ 15744 w 17578"/>
                <a:gd name="connsiteY14" fmla="*/ 21711 h 21766"/>
                <a:gd name="connsiteX15" fmla="*/ 15744 w 17578"/>
                <a:gd name="connsiteY15" fmla="*/ 21711 h 21766"/>
                <a:gd name="connsiteX16" fmla="*/ 16760 w 17578"/>
                <a:gd name="connsiteY16" fmla="*/ 20696 h 21766"/>
                <a:gd name="connsiteX17" fmla="*/ 17521 w 17578"/>
                <a:gd name="connsiteY17" fmla="*/ 19680 h 21766"/>
                <a:gd name="connsiteX18" fmla="*/ 17521 w 17578"/>
                <a:gd name="connsiteY18" fmla="*/ 18410 h 21766"/>
                <a:gd name="connsiteX19" fmla="*/ 17521 w 17578"/>
                <a:gd name="connsiteY19" fmla="*/ 17014 h 21766"/>
                <a:gd name="connsiteX20" fmla="*/ 16633 w 17578"/>
                <a:gd name="connsiteY20" fmla="*/ 12697 h 21766"/>
                <a:gd name="connsiteX21" fmla="*/ 9014 w 17578"/>
                <a:gd name="connsiteY21" fmla="*/ 0 h 21766"/>
                <a:gd name="connsiteX22" fmla="*/ 9014 w 17578"/>
                <a:gd name="connsiteY22" fmla="*/ 0 h 21766"/>
                <a:gd name="connsiteX23" fmla="*/ 9523 w 17578"/>
                <a:gd name="connsiteY23" fmla="*/ 9396 h 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78" h="21766">
                  <a:moveTo>
                    <a:pt x="9523" y="9396"/>
                  </a:moveTo>
                  <a:cubicBezTo>
                    <a:pt x="8405" y="10042"/>
                    <a:pt x="7135" y="10391"/>
                    <a:pt x="5840" y="10411"/>
                  </a:cubicBezTo>
                  <a:cubicBezTo>
                    <a:pt x="3453" y="10404"/>
                    <a:pt x="1244" y="9153"/>
                    <a:pt x="0" y="7110"/>
                  </a:cubicBezTo>
                  <a:lnTo>
                    <a:pt x="2158" y="10538"/>
                  </a:lnTo>
                  <a:lnTo>
                    <a:pt x="4571" y="14474"/>
                  </a:lnTo>
                  <a:lnTo>
                    <a:pt x="4571" y="14474"/>
                  </a:lnTo>
                  <a:lnTo>
                    <a:pt x="6983" y="18410"/>
                  </a:lnTo>
                  <a:lnTo>
                    <a:pt x="6983" y="19299"/>
                  </a:lnTo>
                  <a:cubicBezTo>
                    <a:pt x="6983" y="19299"/>
                    <a:pt x="6983" y="19299"/>
                    <a:pt x="6983" y="19299"/>
                  </a:cubicBezTo>
                  <a:cubicBezTo>
                    <a:pt x="7478" y="19945"/>
                    <a:pt x="8075" y="20503"/>
                    <a:pt x="8761" y="20950"/>
                  </a:cubicBezTo>
                  <a:lnTo>
                    <a:pt x="9523" y="20950"/>
                  </a:lnTo>
                  <a:cubicBezTo>
                    <a:pt x="10525" y="21096"/>
                    <a:pt x="11503" y="21351"/>
                    <a:pt x="12443" y="21711"/>
                  </a:cubicBezTo>
                  <a:cubicBezTo>
                    <a:pt x="12862" y="21785"/>
                    <a:pt x="13293" y="21785"/>
                    <a:pt x="13712" y="21711"/>
                  </a:cubicBezTo>
                  <a:lnTo>
                    <a:pt x="15744" y="21711"/>
                  </a:lnTo>
                  <a:lnTo>
                    <a:pt x="15744" y="21711"/>
                  </a:lnTo>
                  <a:cubicBezTo>
                    <a:pt x="15744" y="21711"/>
                    <a:pt x="15744" y="21711"/>
                    <a:pt x="15744" y="21711"/>
                  </a:cubicBezTo>
                  <a:cubicBezTo>
                    <a:pt x="16112" y="21405"/>
                    <a:pt x="16454" y="21065"/>
                    <a:pt x="16760" y="20696"/>
                  </a:cubicBezTo>
                  <a:cubicBezTo>
                    <a:pt x="17090" y="20424"/>
                    <a:pt x="17356" y="20075"/>
                    <a:pt x="17521" y="19680"/>
                  </a:cubicBezTo>
                  <a:cubicBezTo>
                    <a:pt x="17597" y="19260"/>
                    <a:pt x="17597" y="18831"/>
                    <a:pt x="17521" y="18410"/>
                  </a:cubicBezTo>
                  <a:cubicBezTo>
                    <a:pt x="17597" y="17948"/>
                    <a:pt x="17597" y="17476"/>
                    <a:pt x="17521" y="17014"/>
                  </a:cubicBezTo>
                  <a:cubicBezTo>
                    <a:pt x="17661" y="15518"/>
                    <a:pt x="17343" y="14017"/>
                    <a:pt x="16633" y="12697"/>
                  </a:cubicBezTo>
                  <a:lnTo>
                    <a:pt x="9014" y="0"/>
                  </a:lnTo>
                  <a:lnTo>
                    <a:pt x="9014" y="0"/>
                  </a:lnTo>
                  <a:cubicBezTo>
                    <a:pt x="11579" y="2530"/>
                    <a:pt x="11808" y="6602"/>
                    <a:pt x="9523" y="9396"/>
                  </a:cubicBezTo>
                  <a:close/>
                </a:path>
              </a:pathLst>
            </a:custGeom>
            <a:solidFill>
              <a:srgbClr val="000000"/>
            </a:solidFill>
            <a:ln w="12690" cap="flat">
              <a:noFill/>
              <a:prstDash val="solid"/>
              <a:miter/>
            </a:ln>
          </p:spPr>
          <p:txBody>
            <a:bodyPr rtlCol="0" anchor="ctr"/>
            <a:lstStyle/>
            <a:p>
              <a:endParaRPr lang="en-US"/>
            </a:p>
          </p:txBody>
        </p:sp>
        <p:sp>
          <p:nvSpPr>
            <p:cNvPr id="919" name="Freeform: Shape 918">
              <a:extLst>
                <a:ext uri="{FF2B5EF4-FFF2-40B4-BE49-F238E27FC236}">
                  <a16:creationId xmlns:a16="http://schemas.microsoft.com/office/drawing/2014/main" id="{B5467DA2-FABA-4604-ABDE-16E2B5D93DAD}"/>
                </a:ext>
              </a:extLst>
            </p:cNvPr>
            <p:cNvSpPr/>
            <p:nvPr/>
          </p:nvSpPr>
          <p:spPr>
            <a:xfrm>
              <a:off x="9358938" y="6087129"/>
              <a:ext cx="50326" cy="23578"/>
            </a:xfrm>
            <a:custGeom>
              <a:avLst/>
              <a:gdLst>
                <a:gd name="connsiteX0" fmla="*/ 50327 w 50326"/>
                <a:gd name="connsiteY0" fmla="*/ 10374 h 23578"/>
                <a:gd name="connsiteX1" fmla="*/ 50327 w 50326"/>
                <a:gd name="connsiteY1" fmla="*/ 10374 h 23578"/>
                <a:gd name="connsiteX2" fmla="*/ 41185 w 50326"/>
                <a:gd name="connsiteY2" fmla="*/ 8088 h 23578"/>
                <a:gd name="connsiteX3" fmla="*/ 31028 w 50326"/>
                <a:gd name="connsiteY3" fmla="*/ 5676 h 23578"/>
                <a:gd name="connsiteX4" fmla="*/ 13633 w 50326"/>
                <a:gd name="connsiteY4" fmla="*/ 1486 h 23578"/>
                <a:gd name="connsiteX5" fmla="*/ 8428 w 50326"/>
                <a:gd name="connsiteY5" fmla="*/ 216 h 23578"/>
                <a:gd name="connsiteX6" fmla="*/ 86 w 50326"/>
                <a:gd name="connsiteY6" fmla="*/ 5155 h 23578"/>
                <a:gd name="connsiteX7" fmla="*/ 48 w 50326"/>
                <a:gd name="connsiteY7" fmla="*/ 5295 h 23578"/>
                <a:gd name="connsiteX8" fmla="*/ 48 w 50326"/>
                <a:gd name="connsiteY8" fmla="*/ 7453 h 23578"/>
                <a:gd name="connsiteX9" fmla="*/ 48 w 50326"/>
                <a:gd name="connsiteY9" fmla="*/ 8850 h 23578"/>
                <a:gd name="connsiteX10" fmla="*/ 48 w 50326"/>
                <a:gd name="connsiteY10" fmla="*/ 9993 h 23578"/>
                <a:gd name="connsiteX11" fmla="*/ 809 w 50326"/>
                <a:gd name="connsiteY11" fmla="*/ 11135 h 23578"/>
                <a:gd name="connsiteX12" fmla="*/ 1698 w 50326"/>
                <a:gd name="connsiteY12" fmla="*/ 12024 h 23578"/>
                <a:gd name="connsiteX13" fmla="*/ 2714 w 50326"/>
                <a:gd name="connsiteY13" fmla="*/ 12786 h 23578"/>
                <a:gd name="connsiteX14" fmla="*/ 3984 w 50326"/>
                <a:gd name="connsiteY14" fmla="*/ 12786 h 23578"/>
                <a:gd name="connsiteX15" fmla="*/ 3984 w 50326"/>
                <a:gd name="connsiteY15" fmla="*/ 12786 h 23578"/>
                <a:gd name="connsiteX16" fmla="*/ 49057 w 50326"/>
                <a:gd name="connsiteY16" fmla="*/ 23578 h 23578"/>
                <a:gd name="connsiteX17" fmla="*/ 49057 w 50326"/>
                <a:gd name="connsiteY17" fmla="*/ 10120 h 2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26" h="23578">
                  <a:moveTo>
                    <a:pt x="50327" y="10374"/>
                  </a:moveTo>
                  <a:cubicBezTo>
                    <a:pt x="50327" y="10374"/>
                    <a:pt x="50327" y="10374"/>
                    <a:pt x="50327" y="10374"/>
                  </a:cubicBezTo>
                  <a:lnTo>
                    <a:pt x="41185" y="8088"/>
                  </a:lnTo>
                  <a:lnTo>
                    <a:pt x="31028" y="5676"/>
                  </a:lnTo>
                  <a:lnTo>
                    <a:pt x="13633" y="1486"/>
                  </a:lnTo>
                  <a:lnTo>
                    <a:pt x="8428" y="216"/>
                  </a:lnTo>
                  <a:cubicBezTo>
                    <a:pt x="4759" y="-723"/>
                    <a:pt x="1026" y="1486"/>
                    <a:pt x="86" y="5155"/>
                  </a:cubicBezTo>
                  <a:cubicBezTo>
                    <a:pt x="73" y="5206"/>
                    <a:pt x="60" y="5244"/>
                    <a:pt x="48" y="5295"/>
                  </a:cubicBezTo>
                  <a:cubicBezTo>
                    <a:pt x="-16" y="6019"/>
                    <a:pt x="-16" y="6730"/>
                    <a:pt x="48" y="7453"/>
                  </a:cubicBezTo>
                  <a:cubicBezTo>
                    <a:pt x="-16" y="7923"/>
                    <a:pt x="-16" y="8380"/>
                    <a:pt x="48" y="8850"/>
                  </a:cubicBezTo>
                  <a:cubicBezTo>
                    <a:pt x="-3" y="9231"/>
                    <a:pt x="-3" y="9612"/>
                    <a:pt x="48" y="9993"/>
                  </a:cubicBezTo>
                  <a:lnTo>
                    <a:pt x="809" y="11135"/>
                  </a:lnTo>
                  <a:cubicBezTo>
                    <a:pt x="1038" y="11491"/>
                    <a:pt x="1343" y="11796"/>
                    <a:pt x="1698" y="12024"/>
                  </a:cubicBezTo>
                  <a:cubicBezTo>
                    <a:pt x="1977" y="12342"/>
                    <a:pt x="2321" y="12608"/>
                    <a:pt x="2714" y="12786"/>
                  </a:cubicBezTo>
                  <a:lnTo>
                    <a:pt x="3984" y="12786"/>
                  </a:lnTo>
                  <a:lnTo>
                    <a:pt x="3984" y="12786"/>
                  </a:lnTo>
                  <a:lnTo>
                    <a:pt x="49057" y="23578"/>
                  </a:lnTo>
                  <a:lnTo>
                    <a:pt x="49057" y="10120"/>
                  </a:lnTo>
                  <a:close/>
                </a:path>
              </a:pathLst>
            </a:custGeom>
            <a:solidFill>
              <a:srgbClr val="000000"/>
            </a:solidFill>
            <a:ln w="12690" cap="flat">
              <a:noFill/>
              <a:prstDash val="solid"/>
              <a:miter/>
            </a:ln>
          </p:spPr>
          <p:txBody>
            <a:bodyPr rtlCol="0" anchor="ctr"/>
            <a:lstStyle/>
            <a:p>
              <a:endParaRPr lang="en-US"/>
            </a:p>
          </p:txBody>
        </p:sp>
        <p:sp>
          <p:nvSpPr>
            <p:cNvPr id="920" name="Freeform: Shape 919">
              <a:extLst>
                <a:ext uri="{FF2B5EF4-FFF2-40B4-BE49-F238E27FC236}">
                  <a16:creationId xmlns:a16="http://schemas.microsoft.com/office/drawing/2014/main" id="{6AB183D0-423B-4958-B01B-BA2B40D32B84}"/>
                </a:ext>
              </a:extLst>
            </p:cNvPr>
            <p:cNvSpPr/>
            <p:nvPr/>
          </p:nvSpPr>
          <p:spPr>
            <a:xfrm>
              <a:off x="10262062" y="6107914"/>
              <a:ext cx="3340" cy="4443"/>
            </a:xfrm>
            <a:custGeom>
              <a:avLst/>
              <a:gdLst>
                <a:gd name="connsiteX0" fmla="*/ 166 w 3340"/>
                <a:gd name="connsiteY0" fmla="*/ 4444 h 4443"/>
                <a:gd name="connsiteX1" fmla="*/ 2579 w 3340"/>
                <a:gd name="connsiteY1" fmla="*/ 4444 h 4443"/>
                <a:gd name="connsiteX2" fmla="*/ 3341 w 3340"/>
                <a:gd name="connsiteY2" fmla="*/ 2032 h 4443"/>
                <a:gd name="connsiteX3" fmla="*/ 801 w 3340"/>
                <a:gd name="connsiteY3" fmla="*/ 0 h 4443"/>
                <a:gd name="connsiteX4" fmla="*/ 166 w 3340"/>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 h="4443">
                  <a:moveTo>
                    <a:pt x="166" y="4444"/>
                  </a:moveTo>
                  <a:lnTo>
                    <a:pt x="2579" y="4444"/>
                  </a:lnTo>
                  <a:cubicBezTo>
                    <a:pt x="2680" y="3593"/>
                    <a:pt x="2934" y="2781"/>
                    <a:pt x="3341" y="2032"/>
                  </a:cubicBezTo>
                  <a:lnTo>
                    <a:pt x="801" y="0"/>
                  </a:lnTo>
                  <a:cubicBezTo>
                    <a:pt x="27" y="1346"/>
                    <a:pt x="-189" y="2933"/>
                    <a:pt x="166" y="4444"/>
                  </a:cubicBezTo>
                  <a:close/>
                </a:path>
              </a:pathLst>
            </a:custGeom>
            <a:solidFill>
              <a:srgbClr val="000000"/>
            </a:solidFill>
            <a:ln w="12690" cap="flat">
              <a:noFill/>
              <a:prstDash val="solid"/>
              <a:miter/>
            </a:ln>
          </p:spPr>
          <p:txBody>
            <a:bodyPr rtlCol="0" anchor="ctr"/>
            <a:lstStyle/>
            <a:p>
              <a:endParaRPr lang="en-US"/>
            </a:p>
          </p:txBody>
        </p:sp>
        <p:sp>
          <p:nvSpPr>
            <p:cNvPr id="921" name="Freeform: Shape 920">
              <a:extLst>
                <a:ext uri="{FF2B5EF4-FFF2-40B4-BE49-F238E27FC236}">
                  <a16:creationId xmlns:a16="http://schemas.microsoft.com/office/drawing/2014/main" id="{F287BC30-A72C-49A1-A676-7C0DA1136510}"/>
                </a:ext>
              </a:extLst>
            </p:cNvPr>
            <p:cNvSpPr/>
            <p:nvPr/>
          </p:nvSpPr>
          <p:spPr>
            <a:xfrm>
              <a:off x="10265530" y="6105914"/>
              <a:ext cx="10411" cy="3650"/>
            </a:xfrm>
            <a:custGeom>
              <a:avLst/>
              <a:gdLst>
                <a:gd name="connsiteX0" fmla="*/ 10411 w 10411"/>
                <a:gd name="connsiteY0" fmla="*/ 2127 h 3650"/>
                <a:gd name="connsiteX1" fmla="*/ 10411 w 10411"/>
                <a:gd name="connsiteY1" fmla="*/ 2127 h 3650"/>
                <a:gd name="connsiteX2" fmla="*/ 7872 w 10411"/>
                <a:gd name="connsiteY2" fmla="*/ 95 h 3650"/>
                <a:gd name="connsiteX3" fmla="*/ 7872 w 10411"/>
                <a:gd name="connsiteY3" fmla="*/ 95 h 3650"/>
                <a:gd name="connsiteX4" fmla="*/ 7872 w 10411"/>
                <a:gd name="connsiteY4" fmla="*/ 95 h 3650"/>
                <a:gd name="connsiteX5" fmla="*/ 6602 w 10411"/>
                <a:gd name="connsiteY5" fmla="*/ 95 h 3650"/>
                <a:gd name="connsiteX6" fmla="*/ 5713 w 10411"/>
                <a:gd name="connsiteY6" fmla="*/ 95 h 3650"/>
                <a:gd name="connsiteX7" fmla="*/ 5713 w 10411"/>
                <a:gd name="connsiteY7" fmla="*/ 95 h 3650"/>
                <a:gd name="connsiteX8" fmla="*/ 3301 w 10411"/>
                <a:gd name="connsiteY8" fmla="*/ 95 h 3650"/>
                <a:gd name="connsiteX9" fmla="*/ 0 w 10411"/>
                <a:gd name="connsiteY9" fmla="*/ 1746 h 3650"/>
                <a:gd name="connsiteX10" fmla="*/ 2539 w 10411"/>
                <a:gd name="connsiteY10" fmla="*/ 3650 h 3650"/>
                <a:gd name="connsiteX11" fmla="*/ 6094 w 10411"/>
                <a:gd name="connsiteY11" fmla="*/ 857 h 3650"/>
                <a:gd name="connsiteX12" fmla="*/ 10411 w 10411"/>
                <a:gd name="connsiteY12" fmla="*/ 2127 h 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11" h="3650">
                  <a:moveTo>
                    <a:pt x="10411" y="2127"/>
                  </a:moveTo>
                  <a:lnTo>
                    <a:pt x="10411" y="2127"/>
                  </a:lnTo>
                  <a:lnTo>
                    <a:pt x="7872" y="95"/>
                  </a:lnTo>
                  <a:cubicBezTo>
                    <a:pt x="7872" y="95"/>
                    <a:pt x="7872" y="95"/>
                    <a:pt x="7872" y="95"/>
                  </a:cubicBezTo>
                  <a:lnTo>
                    <a:pt x="7872" y="95"/>
                  </a:lnTo>
                  <a:lnTo>
                    <a:pt x="6602" y="95"/>
                  </a:lnTo>
                  <a:lnTo>
                    <a:pt x="5713" y="95"/>
                  </a:lnTo>
                  <a:lnTo>
                    <a:pt x="5713" y="95"/>
                  </a:lnTo>
                  <a:cubicBezTo>
                    <a:pt x="4913" y="-32"/>
                    <a:pt x="4101" y="-32"/>
                    <a:pt x="3301" y="95"/>
                  </a:cubicBezTo>
                  <a:cubicBezTo>
                    <a:pt x="2069" y="324"/>
                    <a:pt x="927" y="895"/>
                    <a:pt x="0" y="1746"/>
                  </a:cubicBezTo>
                  <a:lnTo>
                    <a:pt x="2539" y="3650"/>
                  </a:lnTo>
                  <a:cubicBezTo>
                    <a:pt x="3390" y="2355"/>
                    <a:pt x="4634" y="1378"/>
                    <a:pt x="6094" y="857"/>
                  </a:cubicBezTo>
                  <a:cubicBezTo>
                    <a:pt x="7643" y="755"/>
                    <a:pt x="9167" y="1200"/>
                    <a:pt x="10411" y="2127"/>
                  </a:cubicBezTo>
                  <a:close/>
                </a:path>
              </a:pathLst>
            </a:custGeom>
            <a:solidFill>
              <a:srgbClr val="000000"/>
            </a:solidFill>
            <a:ln w="12690" cap="flat">
              <a:noFill/>
              <a:prstDash val="solid"/>
              <a:miter/>
            </a:ln>
          </p:spPr>
          <p:txBody>
            <a:bodyPr rtlCol="0" anchor="ctr"/>
            <a:lstStyle/>
            <a:p>
              <a:endParaRPr lang="en-US"/>
            </a:p>
          </p:txBody>
        </p:sp>
        <p:sp>
          <p:nvSpPr>
            <p:cNvPr id="922" name="Freeform: Shape 921">
              <a:extLst>
                <a:ext uri="{FF2B5EF4-FFF2-40B4-BE49-F238E27FC236}">
                  <a16:creationId xmlns:a16="http://schemas.microsoft.com/office/drawing/2014/main" id="{F4D8426A-23B8-4F4F-B890-73D41D2B62F3}"/>
                </a:ext>
              </a:extLst>
            </p:cNvPr>
            <p:cNvSpPr/>
            <p:nvPr/>
          </p:nvSpPr>
          <p:spPr>
            <a:xfrm>
              <a:off x="10245911" y="6092107"/>
              <a:ext cx="20887" cy="17331"/>
            </a:xfrm>
            <a:custGeom>
              <a:avLst/>
              <a:gdLst>
                <a:gd name="connsiteX0" fmla="*/ 319 w 20887"/>
                <a:gd name="connsiteY0" fmla="*/ 1968 h 17331"/>
                <a:gd name="connsiteX1" fmla="*/ 319 w 20887"/>
                <a:gd name="connsiteY1" fmla="*/ 1968 h 17331"/>
                <a:gd name="connsiteX2" fmla="*/ 12254 w 20887"/>
                <a:gd name="connsiteY2" fmla="*/ 11618 h 17331"/>
                <a:gd name="connsiteX3" fmla="*/ 16825 w 20887"/>
                <a:gd name="connsiteY3" fmla="*/ 15300 h 17331"/>
                <a:gd name="connsiteX4" fmla="*/ 19364 w 20887"/>
                <a:gd name="connsiteY4" fmla="*/ 17331 h 17331"/>
                <a:gd name="connsiteX5" fmla="*/ 20888 w 20887"/>
                <a:gd name="connsiteY5" fmla="*/ 15300 h 17331"/>
                <a:gd name="connsiteX6" fmla="*/ 18348 w 20887"/>
                <a:gd name="connsiteY6" fmla="*/ 13395 h 17331"/>
                <a:gd name="connsiteX7" fmla="*/ 16190 w 20887"/>
                <a:gd name="connsiteY7" fmla="*/ 11618 h 17331"/>
                <a:gd name="connsiteX8" fmla="*/ 1970 w 20887"/>
                <a:gd name="connsiteY8" fmla="*/ 190 h 17331"/>
                <a:gd name="connsiteX9" fmla="*/ 1970 w 20887"/>
                <a:gd name="connsiteY9" fmla="*/ 190 h 17331"/>
                <a:gd name="connsiteX10" fmla="*/ 1970 w 20887"/>
                <a:gd name="connsiteY10" fmla="*/ 190 h 17331"/>
                <a:gd name="connsiteX11" fmla="*/ 573 w 20887"/>
                <a:gd name="connsiteY11" fmla="*/ 190 h 17331"/>
                <a:gd name="connsiteX12" fmla="*/ 154 w 20887"/>
                <a:gd name="connsiteY12" fmla="*/ 1752 h 17331"/>
                <a:gd name="connsiteX13" fmla="*/ 319 w 20887"/>
                <a:gd name="connsiteY13" fmla="*/ 1968 h 1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7" h="17331">
                  <a:moveTo>
                    <a:pt x="319" y="1968"/>
                  </a:moveTo>
                  <a:lnTo>
                    <a:pt x="319" y="1968"/>
                  </a:lnTo>
                  <a:lnTo>
                    <a:pt x="12254" y="11618"/>
                  </a:lnTo>
                  <a:lnTo>
                    <a:pt x="16825" y="15300"/>
                  </a:lnTo>
                  <a:lnTo>
                    <a:pt x="19364" y="17331"/>
                  </a:lnTo>
                  <a:cubicBezTo>
                    <a:pt x="19758" y="16569"/>
                    <a:pt x="20265" y="15884"/>
                    <a:pt x="20888" y="15300"/>
                  </a:cubicBezTo>
                  <a:lnTo>
                    <a:pt x="18348" y="13395"/>
                  </a:lnTo>
                  <a:lnTo>
                    <a:pt x="16190" y="11618"/>
                  </a:lnTo>
                  <a:lnTo>
                    <a:pt x="1970" y="190"/>
                  </a:lnTo>
                  <a:lnTo>
                    <a:pt x="1970" y="190"/>
                  </a:lnTo>
                  <a:lnTo>
                    <a:pt x="1970" y="190"/>
                  </a:lnTo>
                  <a:cubicBezTo>
                    <a:pt x="1538" y="-63"/>
                    <a:pt x="1005" y="-63"/>
                    <a:pt x="573" y="190"/>
                  </a:cubicBezTo>
                  <a:cubicBezTo>
                    <a:pt x="27" y="508"/>
                    <a:pt x="-164" y="1206"/>
                    <a:pt x="154" y="1752"/>
                  </a:cubicBezTo>
                  <a:cubicBezTo>
                    <a:pt x="205" y="1828"/>
                    <a:pt x="255" y="1905"/>
                    <a:pt x="319" y="1968"/>
                  </a:cubicBezTo>
                  <a:close/>
                </a:path>
              </a:pathLst>
            </a:custGeom>
            <a:solidFill>
              <a:srgbClr val="000000"/>
            </a:solidFill>
            <a:ln w="12690" cap="flat">
              <a:noFill/>
              <a:prstDash val="solid"/>
              <a:miter/>
            </a:ln>
          </p:spPr>
          <p:txBody>
            <a:bodyPr rtlCol="0" anchor="ctr"/>
            <a:lstStyle/>
            <a:p>
              <a:endParaRPr lang="en-US"/>
            </a:p>
          </p:txBody>
        </p:sp>
        <p:sp>
          <p:nvSpPr>
            <p:cNvPr id="923" name="Freeform: Shape 922">
              <a:extLst>
                <a:ext uri="{FF2B5EF4-FFF2-40B4-BE49-F238E27FC236}">
                  <a16:creationId xmlns:a16="http://schemas.microsoft.com/office/drawing/2014/main" id="{397D503F-FA24-4C59-8E3C-1B91AC830F44}"/>
                </a:ext>
              </a:extLst>
            </p:cNvPr>
            <p:cNvSpPr/>
            <p:nvPr/>
          </p:nvSpPr>
          <p:spPr>
            <a:xfrm>
              <a:off x="10243056" y="5780973"/>
              <a:ext cx="31741" cy="42788"/>
            </a:xfrm>
            <a:custGeom>
              <a:avLst/>
              <a:gdLst>
                <a:gd name="connsiteX0" fmla="*/ 3809 w 31741"/>
                <a:gd name="connsiteY0" fmla="*/ 10538 h 42788"/>
                <a:gd name="connsiteX1" fmla="*/ 0 w 31741"/>
                <a:gd name="connsiteY1" fmla="*/ 10538 h 42788"/>
                <a:gd name="connsiteX2" fmla="*/ 2539 w 31741"/>
                <a:gd name="connsiteY2" fmla="*/ 14728 h 42788"/>
                <a:gd name="connsiteX3" fmla="*/ 4952 w 31741"/>
                <a:gd name="connsiteY3" fmla="*/ 18664 h 42788"/>
                <a:gd name="connsiteX4" fmla="*/ 19934 w 31741"/>
                <a:gd name="connsiteY4" fmla="*/ 42788 h 42788"/>
                <a:gd name="connsiteX5" fmla="*/ 23464 w 31741"/>
                <a:gd name="connsiteY5" fmla="*/ 33564 h 42788"/>
                <a:gd name="connsiteX6" fmla="*/ 31742 w 31741"/>
                <a:gd name="connsiteY6" fmla="*/ 35551 h 42788"/>
                <a:gd name="connsiteX7" fmla="*/ 29075 w 31741"/>
                <a:gd name="connsiteY7" fmla="*/ 31361 h 42788"/>
                <a:gd name="connsiteX8" fmla="*/ 9650 w 31741"/>
                <a:gd name="connsiteY8" fmla="*/ 0 h 42788"/>
                <a:gd name="connsiteX9" fmla="*/ 9650 w 31741"/>
                <a:gd name="connsiteY9" fmla="*/ 0 h 42788"/>
                <a:gd name="connsiteX10" fmla="*/ 11173 w 31741"/>
                <a:gd name="connsiteY10" fmla="*/ 4190 h 42788"/>
                <a:gd name="connsiteX11" fmla="*/ 3809 w 31741"/>
                <a:gd name="connsiteY11" fmla="*/ 10538 h 4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41" h="42788">
                  <a:moveTo>
                    <a:pt x="3809" y="10538"/>
                  </a:moveTo>
                  <a:lnTo>
                    <a:pt x="0" y="10538"/>
                  </a:lnTo>
                  <a:lnTo>
                    <a:pt x="2539" y="14728"/>
                  </a:lnTo>
                  <a:lnTo>
                    <a:pt x="4952" y="18664"/>
                  </a:lnTo>
                  <a:lnTo>
                    <a:pt x="19934" y="42788"/>
                  </a:lnTo>
                  <a:cubicBezTo>
                    <a:pt x="18359" y="39267"/>
                    <a:pt x="19934" y="35137"/>
                    <a:pt x="23464" y="33564"/>
                  </a:cubicBezTo>
                  <a:cubicBezTo>
                    <a:pt x="26358" y="32271"/>
                    <a:pt x="29749" y="33087"/>
                    <a:pt x="31742" y="35551"/>
                  </a:cubicBezTo>
                  <a:lnTo>
                    <a:pt x="29075" y="31361"/>
                  </a:lnTo>
                  <a:lnTo>
                    <a:pt x="9650" y="0"/>
                  </a:lnTo>
                  <a:lnTo>
                    <a:pt x="9650" y="0"/>
                  </a:lnTo>
                  <a:cubicBezTo>
                    <a:pt x="10576" y="1206"/>
                    <a:pt x="11110" y="2669"/>
                    <a:pt x="11173" y="4190"/>
                  </a:cubicBezTo>
                  <a:cubicBezTo>
                    <a:pt x="10843" y="7948"/>
                    <a:pt x="7580" y="10759"/>
                    <a:pt x="3809" y="10538"/>
                  </a:cubicBezTo>
                  <a:close/>
                </a:path>
              </a:pathLst>
            </a:custGeom>
            <a:solidFill>
              <a:srgbClr val="000000"/>
            </a:solidFill>
            <a:ln w="12690" cap="flat">
              <a:noFill/>
              <a:prstDash val="solid"/>
              <a:miter/>
            </a:ln>
          </p:spPr>
          <p:txBody>
            <a:bodyPr rtlCol="0" anchor="ctr"/>
            <a:lstStyle/>
            <a:p>
              <a:endParaRPr lang="en-US"/>
            </a:p>
          </p:txBody>
        </p:sp>
        <p:sp>
          <p:nvSpPr>
            <p:cNvPr id="924" name="Freeform: Shape 923">
              <a:extLst>
                <a:ext uri="{FF2B5EF4-FFF2-40B4-BE49-F238E27FC236}">
                  <a16:creationId xmlns:a16="http://schemas.microsoft.com/office/drawing/2014/main" id="{1180B2D5-91C8-4884-A96E-62F36F769BDA}"/>
                </a:ext>
              </a:extLst>
            </p:cNvPr>
            <p:cNvSpPr/>
            <p:nvPr/>
          </p:nvSpPr>
          <p:spPr>
            <a:xfrm>
              <a:off x="10262380" y="5813547"/>
              <a:ext cx="15960" cy="17196"/>
            </a:xfrm>
            <a:custGeom>
              <a:avLst/>
              <a:gdLst>
                <a:gd name="connsiteX0" fmla="*/ 3150 w 15960"/>
                <a:gd name="connsiteY0" fmla="*/ 13896 h 17196"/>
                <a:gd name="connsiteX1" fmla="*/ 3150 w 15960"/>
                <a:gd name="connsiteY1" fmla="*/ 13896 h 17196"/>
                <a:gd name="connsiteX2" fmla="*/ 8990 w 15960"/>
                <a:gd name="connsiteY2" fmla="*/ 17197 h 17196"/>
                <a:gd name="connsiteX3" fmla="*/ 12672 w 15960"/>
                <a:gd name="connsiteY3" fmla="*/ 16181 h 17196"/>
                <a:gd name="connsiteX4" fmla="*/ 14958 w 15960"/>
                <a:gd name="connsiteY4" fmla="*/ 6658 h 17196"/>
                <a:gd name="connsiteX5" fmla="*/ 14958 w 15960"/>
                <a:gd name="connsiteY5" fmla="*/ 6658 h 17196"/>
                <a:gd name="connsiteX6" fmla="*/ 12418 w 15960"/>
                <a:gd name="connsiteY6" fmla="*/ 2595 h 17196"/>
                <a:gd name="connsiteX7" fmla="*/ 2604 w 15960"/>
                <a:gd name="connsiteY7" fmla="*/ 1551 h 17196"/>
                <a:gd name="connsiteX8" fmla="*/ 610 w 15960"/>
                <a:gd name="connsiteY8" fmla="*/ 9833 h 17196"/>
                <a:gd name="connsiteX9" fmla="*/ 610 w 15960"/>
                <a:gd name="connsiteY9" fmla="*/ 9833 h 1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60" h="17196">
                  <a:moveTo>
                    <a:pt x="3150" y="13896"/>
                  </a:moveTo>
                  <a:lnTo>
                    <a:pt x="3150" y="13896"/>
                  </a:lnTo>
                  <a:cubicBezTo>
                    <a:pt x="4394" y="15938"/>
                    <a:pt x="6603" y="17189"/>
                    <a:pt x="8990" y="17197"/>
                  </a:cubicBezTo>
                  <a:cubicBezTo>
                    <a:pt x="10285" y="17176"/>
                    <a:pt x="11555" y="16827"/>
                    <a:pt x="12672" y="16181"/>
                  </a:cubicBezTo>
                  <a:cubicBezTo>
                    <a:pt x="15910" y="14162"/>
                    <a:pt x="16925" y="9924"/>
                    <a:pt x="14958" y="6658"/>
                  </a:cubicBezTo>
                  <a:lnTo>
                    <a:pt x="14958" y="6658"/>
                  </a:lnTo>
                  <a:lnTo>
                    <a:pt x="12418" y="2595"/>
                  </a:lnTo>
                  <a:cubicBezTo>
                    <a:pt x="9993" y="-405"/>
                    <a:pt x="5600" y="-872"/>
                    <a:pt x="2604" y="1551"/>
                  </a:cubicBezTo>
                  <a:cubicBezTo>
                    <a:pt x="128" y="3541"/>
                    <a:pt x="-685" y="6940"/>
                    <a:pt x="610" y="9833"/>
                  </a:cubicBezTo>
                  <a:lnTo>
                    <a:pt x="610" y="9833"/>
                  </a:lnTo>
                  <a:close/>
                </a:path>
              </a:pathLst>
            </a:custGeom>
            <a:solidFill>
              <a:srgbClr val="000000"/>
            </a:solidFill>
            <a:ln w="12690" cap="flat">
              <a:noFill/>
              <a:prstDash val="solid"/>
              <a:miter/>
            </a:ln>
          </p:spPr>
          <p:txBody>
            <a:bodyPr rtlCol="0" anchor="ctr"/>
            <a:lstStyle/>
            <a:p>
              <a:endParaRPr lang="en-US"/>
            </a:p>
          </p:txBody>
        </p:sp>
        <p:sp>
          <p:nvSpPr>
            <p:cNvPr id="925" name="Freeform: Shape 924">
              <a:extLst>
                <a:ext uri="{FF2B5EF4-FFF2-40B4-BE49-F238E27FC236}">
                  <a16:creationId xmlns:a16="http://schemas.microsoft.com/office/drawing/2014/main" id="{0DD2848A-1E0E-4702-8312-610D79E2CBAD}"/>
                </a:ext>
              </a:extLst>
            </p:cNvPr>
            <p:cNvSpPr/>
            <p:nvPr/>
          </p:nvSpPr>
          <p:spPr>
            <a:xfrm>
              <a:off x="11006381" y="5844964"/>
              <a:ext cx="321607" cy="13712"/>
            </a:xfrm>
            <a:custGeom>
              <a:avLst/>
              <a:gdLst>
                <a:gd name="connsiteX0" fmla="*/ 0 w 321607"/>
                <a:gd name="connsiteY0" fmla="*/ 13713 h 13712"/>
                <a:gd name="connsiteX1" fmla="*/ 314751 w 321607"/>
                <a:gd name="connsiteY1" fmla="*/ 13713 h 13712"/>
                <a:gd name="connsiteX2" fmla="*/ 314751 w 321607"/>
                <a:gd name="connsiteY2" fmla="*/ 6856 h 13712"/>
                <a:gd name="connsiteX3" fmla="*/ 321607 w 321607"/>
                <a:gd name="connsiteY3" fmla="*/ 0 h 13712"/>
                <a:gd name="connsiteX4" fmla="*/ 0 w 321607"/>
                <a:gd name="connsiteY4" fmla="*/ 0 h 13712"/>
                <a:gd name="connsiteX5" fmla="*/ 0 w 321607"/>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607" h="13712">
                  <a:moveTo>
                    <a:pt x="0" y="13713"/>
                  </a:moveTo>
                  <a:lnTo>
                    <a:pt x="314751" y="13713"/>
                  </a:lnTo>
                  <a:lnTo>
                    <a:pt x="314751" y="6856"/>
                  </a:lnTo>
                  <a:cubicBezTo>
                    <a:pt x="314751" y="3070"/>
                    <a:pt x="317823" y="0"/>
                    <a:pt x="321607" y="0"/>
                  </a:cubicBezTo>
                  <a:lnTo>
                    <a:pt x="0" y="0"/>
                  </a:lnTo>
                  <a:lnTo>
                    <a:pt x="0" y="13713"/>
                  </a:lnTo>
                  <a:close/>
                </a:path>
              </a:pathLst>
            </a:custGeom>
            <a:solidFill>
              <a:srgbClr val="000000"/>
            </a:solidFill>
            <a:ln w="12690" cap="flat">
              <a:noFill/>
              <a:prstDash val="solid"/>
              <a:miter/>
            </a:ln>
          </p:spPr>
          <p:txBody>
            <a:bodyPr rtlCol="0" anchor="ctr"/>
            <a:lstStyle/>
            <a:p>
              <a:endParaRPr lang="en-US"/>
            </a:p>
          </p:txBody>
        </p:sp>
        <p:sp>
          <p:nvSpPr>
            <p:cNvPr id="926" name="Freeform: Shape 925">
              <a:extLst>
                <a:ext uri="{FF2B5EF4-FFF2-40B4-BE49-F238E27FC236}">
                  <a16:creationId xmlns:a16="http://schemas.microsoft.com/office/drawing/2014/main" id="{A1E626A7-BE78-4B4F-8622-AAE87449F800}"/>
                </a:ext>
              </a:extLst>
            </p:cNvPr>
            <p:cNvSpPr/>
            <p:nvPr/>
          </p:nvSpPr>
          <p:spPr>
            <a:xfrm>
              <a:off x="11334845" y="6493387"/>
              <a:ext cx="431306" cy="6602"/>
            </a:xfrm>
            <a:custGeom>
              <a:avLst/>
              <a:gdLst>
                <a:gd name="connsiteX0" fmla="*/ 0 w 431306"/>
                <a:gd name="connsiteY0" fmla="*/ 0 h 6602"/>
                <a:gd name="connsiteX1" fmla="*/ 431306 w 431306"/>
                <a:gd name="connsiteY1" fmla="*/ 0 h 6602"/>
                <a:gd name="connsiteX2" fmla="*/ 431306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6" y="0"/>
                  </a:lnTo>
                  <a:lnTo>
                    <a:pt x="431306" y="6602"/>
                  </a:lnTo>
                  <a:lnTo>
                    <a:pt x="0" y="6602"/>
                  </a:lnTo>
                  <a:close/>
                </a:path>
              </a:pathLst>
            </a:custGeom>
            <a:solidFill>
              <a:srgbClr val="000000"/>
            </a:solidFill>
            <a:ln w="12690" cap="flat">
              <a:noFill/>
              <a:prstDash val="solid"/>
              <a:miter/>
            </a:ln>
          </p:spPr>
          <p:txBody>
            <a:bodyPr rtlCol="0" anchor="ctr"/>
            <a:lstStyle/>
            <a:p>
              <a:endParaRPr lang="en-US"/>
            </a:p>
          </p:txBody>
        </p:sp>
        <p:sp>
          <p:nvSpPr>
            <p:cNvPr id="927" name="Freeform: Shape 926">
              <a:extLst>
                <a:ext uri="{FF2B5EF4-FFF2-40B4-BE49-F238E27FC236}">
                  <a16:creationId xmlns:a16="http://schemas.microsoft.com/office/drawing/2014/main" id="{9294BC03-67E6-4700-AF03-AE8086F321D4}"/>
                </a:ext>
              </a:extLst>
            </p:cNvPr>
            <p:cNvSpPr/>
            <p:nvPr/>
          </p:nvSpPr>
          <p:spPr>
            <a:xfrm>
              <a:off x="11333448" y="6502402"/>
              <a:ext cx="432829" cy="4697"/>
            </a:xfrm>
            <a:custGeom>
              <a:avLst/>
              <a:gdLst>
                <a:gd name="connsiteX0" fmla="*/ 1396 w 432829"/>
                <a:gd name="connsiteY0" fmla="*/ 0 h 4697"/>
                <a:gd name="connsiteX1" fmla="*/ 1396 w 432829"/>
                <a:gd name="connsiteY1" fmla="*/ 635 h 4697"/>
                <a:gd name="connsiteX2" fmla="*/ 0 w 432829"/>
                <a:gd name="connsiteY2" fmla="*/ 4698 h 4697"/>
                <a:gd name="connsiteX3" fmla="*/ 432830 w 432829"/>
                <a:gd name="connsiteY3" fmla="*/ 4698 h 4697"/>
                <a:gd name="connsiteX4" fmla="*/ 432830 w 432829"/>
                <a:gd name="connsiteY4" fmla="*/ 0 h 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829" h="4697">
                  <a:moveTo>
                    <a:pt x="1396" y="0"/>
                  </a:moveTo>
                  <a:lnTo>
                    <a:pt x="1396" y="635"/>
                  </a:lnTo>
                  <a:cubicBezTo>
                    <a:pt x="1396" y="2108"/>
                    <a:pt x="901" y="3542"/>
                    <a:pt x="0" y="4698"/>
                  </a:cubicBezTo>
                  <a:lnTo>
                    <a:pt x="432830" y="4698"/>
                  </a:lnTo>
                  <a:lnTo>
                    <a:pt x="432830" y="0"/>
                  </a:lnTo>
                  <a:close/>
                </a:path>
              </a:pathLst>
            </a:custGeom>
            <a:solidFill>
              <a:srgbClr val="000000"/>
            </a:solidFill>
            <a:ln w="12690" cap="flat">
              <a:noFill/>
              <a:prstDash val="solid"/>
              <a:miter/>
            </a:ln>
          </p:spPr>
          <p:txBody>
            <a:bodyPr rtlCol="0" anchor="ctr"/>
            <a:lstStyle/>
            <a:p>
              <a:endParaRPr lang="en-US"/>
            </a:p>
          </p:txBody>
        </p:sp>
        <p:sp>
          <p:nvSpPr>
            <p:cNvPr id="928" name="Freeform: Shape 927">
              <a:extLst>
                <a:ext uri="{FF2B5EF4-FFF2-40B4-BE49-F238E27FC236}">
                  <a16:creationId xmlns:a16="http://schemas.microsoft.com/office/drawing/2014/main" id="{DD3F1987-7B9F-4696-A11F-85009DE2B7DA}"/>
                </a:ext>
              </a:extLst>
            </p:cNvPr>
            <p:cNvSpPr/>
            <p:nvPr/>
          </p:nvSpPr>
          <p:spPr>
            <a:xfrm>
              <a:off x="11334845" y="6499990"/>
              <a:ext cx="431433" cy="2412"/>
            </a:xfrm>
            <a:custGeom>
              <a:avLst/>
              <a:gdLst>
                <a:gd name="connsiteX0" fmla="*/ 0 w 431433"/>
                <a:gd name="connsiteY0" fmla="*/ 1904 h 2412"/>
                <a:gd name="connsiteX1" fmla="*/ 0 w 431433"/>
                <a:gd name="connsiteY1" fmla="*/ 2412 h 2412"/>
                <a:gd name="connsiteX2" fmla="*/ 431433 w 431433"/>
                <a:gd name="connsiteY2" fmla="*/ 2412 h 2412"/>
                <a:gd name="connsiteX3" fmla="*/ 431433 w 431433"/>
                <a:gd name="connsiteY3" fmla="*/ 1904 h 2412"/>
                <a:gd name="connsiteX4" fmla="*/ 431433 w 431433"/>
                <a:gd name="connsiteY4" fmla="*/ 1270 h 2412"/>
                <a:gd name="connsiteX5" fmla="*/ 431433 w 431433"/>
                <a:gd name="connsiteY5" fmla="*/ 254 h 2412"/>
                <a:gd name="connsiteX6" fmla="*/ 431433 w 431433"/>
                <a:gd name="connsiteY6" fmla="*/ 0 h 2412"/>
                <a:gd name="connsiteX7" fmla="*/ 0 w 431433"/>
                <a:gd name="connsiteY7" fmla="*/ 0 h 2412"/>
                <a:gd name="connsiteX8" fmla="*/ 0 w 431433"/>
                <a:gd name="connsiteY8" fmla="*/ 254 h 2412"/>
                <a:gd name="connsiteX9" fmla="*/ 0 w 431433"/>
                <a:gd name="connsiteY9" fmla="*/ 1270 h 2412"/>
                <a:gd name="connsiteX10" fmla="*/ 0 w 431433"/>
                <a:gd name="connsiteY10" fmla="*/ 1904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433" h="2412">
                  <a:moveTo>
                    <a:pt x="0" y="1904"/>
                  </a:moveTo>
                  <a:lnTo>
                    <a:pt x="0" y="2412"/>
                  </a:lnTo>
                  <a:lnTo>
                    <a:pt x="431433" y="2412"/>
                  </a:lnTo>
                  <a:lnTo>
                    <a:pt x="431433" y="1904"/>
                  </a:lnTo>
                  <a:lnTo>
                    <a:pt x="431433" y="1270"/>
                  </a:lnTo>
                  <a:lnTo>
                    <a:pt x="431433" y="254"/>
                  </a:lnTo>
                  <a:lnTo>
                    <a:pt x="431433" y="0"/>
                  </a:lnTo>
                  <a:lnTo>
                    <a:pt x="0" y="0"/>
                  </a:lnTo>
                  <a:lnTo>
                    <a:pt x="0" y="254"/>
                  </a:lnTo>
                  <a:lnTo>
                    <a:pt x="0" y="1270"/>
                  </a:lnTo>
                  <a:lnTo>
                    <a:pt x="0" y="1904"/>
                  </a:lnTo>
                  <a:close/>
                </a:path>
              </a:pathLst>
            </a:custGeom>
            <a:solidFill>
              <a:srgbClr val="000000"/>
            </a:solidFill>
            <a:ln w="12690" cap="flat">
              <a:noFill/>
              <a:prstDash val="solid"/>
              <a:miter/>
            </a:ln>
          </p:spPr>
          <p:txBody>
            <a:bodyPr rtlCol="0" anchor="ctr"/>
            <a:lstStyle/>
            <a:p>
              <a:endParaRPr lang="en-US"/>
            </a:p>
          </p:txBody>
        </p:sp>
        <p:sp>
          <p:nvSpPr>
            <p:cNvPr id="929" name="Freeform: Shape 928">
              <a:extLst>
                <a:ext uri="{FF2B5EF4-FFF2-40B4-BE49-F238E27FC236}">
                  <a16:creationId xmlns:a16="http://schemas.microsoft.com/office/drawing/2014/main" id="{90768AFD-835B-428D-B0C5-328FB1EED4EB}"/>
                </a:ext>
              </a:extLst>
            </p:cNvPr>
            <p:cNvSpPr/>
            <p:nvPr/>
          </p:nvSpPr>
          <p:spPr>
            <a:xfrm>
              <a:off x="10054511" y="6010657"/>
              <a:ext cx="15616" cy="15490"/>
            </a:xfrm>
            <a:custGeom>
              <a:avLst/>
              <a:gdLst>
                <a:gd name="connsiteX0" fmla="*/ 0 w 15616"/>
                <a:gd name="connsiteY0" fmla="*/ 10030 h 15490"/>
                <a:gd name="connsiteX1" fmla="*/ 0 w 15616"/>
                <a:gd name="connsiteY1" fmla="*/ 12443 h 15490"/>
                <a:gd name="connsiteX2" fmla="*/ 4444 w 15616"/>
                <a:gd name="connsiteY2" fmla="*/ 15490 h 15490"/>
                <a:gd name="connsiteX3" fmla="*/ 4444 w 15616"/>
                <a:gd name="connsiteY3" fmla="*/ 11808 h 15490"/>
                <a:gd name="connsiteX4" fmla="*/ 11299 w 15616"/>
                <a:gd name="connsiteY4" fmla="*/ 4952 h 15490"/>
                <a:gd name="connsiteX5" fmla="*/ 15617 w 15616"/>
                <a:gd name="connsiteY5" fmla="*/ 6475 h 15490"/>
                <a:gd name="connsiteX6" fmla="*/ 15617 w 15616"/>
                <a:gd name="connsiteY6" fmla="*/ 6475 h 15490"/>
                <a:gd name="connsiteX7" fmla="*/ 6094 w 15616"/>
                <a:gd name="connsiteY7" fmla="*/ 0 h 15490"/>
                <a:gd name="connsiteX8" fmla="*/ 6094 w 15616"/>
                <a:gd name="connsiteY8" fmla="*/ 3682 h 15490"/>
                <a:gd name="connsiteX9" fmla="*/ 0 w 15616"/>
                <a:gd name="connsiteY9" fmla="*/ 10030 h 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16" h="15490">
                  <a:moveTo>
                    <a:pt x="0" y="10030"/>
                  </a:moveTo>
                  <a:lnTo>
                    <a:pt x="0" y="12443"/>
                  </a:lnTo>
                  <a:lnTo>
                    <a:pt x="4444" y="15490"/>
                  </a:lnTo>
                  <a:lnTo>
                    <a:pt x="4444" y="11808"/>
                  </a:lnTo>
                  <a:cubicBezTo>
                    <a:pt x="4444" y="8022"/>
                    <a:pt x="7516" y="4952"/>
                    <a:pt x="11299" y="4952"/>
                  </a:cubicBezTo>
                  <a:cubicBezTo>
                    <a:pt x="12862" y="4970"/>
                    <a:pt x="14385" y="5505"/>
                    <a:pt x="15617" y="6475"/>
                  </a:cubicBezTo>
                  <a:lnTo>
                    <a:pt x="15617" y="6475"/>
                  </a:lnTo>
                  <a:lnTo>
                    <a:pt x="6094" y="0"/>
                  </a:lnTo>
                  <a:lnTo>
                    <a:pt x="6094" y="3682"/>
                  </a:lnTo>
                  <a:cubicBezTo>
                    <a:pt x="5866" y="6995"/>
                    <a:pt x="3300" y="9670"/>
                    <a:pt x="0" y="10030"/>
                  </a:cubicBezTo>
                  <a:close/>
                </a:path>
              </a:pathLst>
            </a:custGeom>
            <a:solidFill>
              <a:srgbClr val="000000"/>
            </a:solidFill>
            <a:ln w="12690" cap="flat">
              <a:noFill/>
              <a:prstDash val="solid"/>
              <a:miter/>
            </a:ln>
          </p:spPr>
          <p:txBody>
            <a:bodyPr rtlCol="0" anchor="ctr"/>
            <a:lstStyle/>
            <a:p>
              <a:endParaRPr lang="en-US"/>
            </a:p>
          </p:txBody>
        </p:sp>
        <p:sp>
          <p:nvSpPr>
            <p:cNvPr id="930" name="Freeform: Shape 929">
              <a:extLst>
                <a:ext uri="{FF2B5EF4-FFF2-40B4-BE49-F238E27FC236}">
                  <a16:creationId xmlns:a16="http://schemas.microsoft.com/office/drawing/2014/main" id="{C6143D38-6E13-4554-B240-2185BD6B4CCA}"/>
                </a:ext>
              </a:extLst>
            </p:cNvPr>
            <p:cNvSpPr/>
            <p:nvPr/>
          </p:nvSpPr>
          <p:spPr>
            <a:xfrm>
              <a:off x="10048924" y="6019291"/>
              <a:ext cx="3047" cy="2158"/>
            </a:xfrm>
            <a:custGeom>
              <a:avLst/>
              <a:gdLst>
                <a:gd name="connsiteX0" fmla="*/ 3047 w 3047"/>
                <a:gd name="connsiteY0" fmla="*/ 2158 h 2158"/>
                <a:gd name="connsiteX1" fmla="*/ 3047 w 3047"/>
                <a:gd name="connsiteY1" fmla="*/ 1397 h 2158"/>
                <a:gd name="connsiteX2" fmla="*/ 0 w 3047"/>
                <a:gd name="connsiteY2" fmla="*/ 0 h 2158"/>
                <a:gd name="connsiteX3" fmla="*/ 0 w 3047"/>
                <a:gd name="connsiteY3" fmla="*/ 0 h 2158"/>
              </a:gdLst>
              <a:ahLst/>
              <a:cxnLst>
                <a:cxn ang="0">
                  <a:pos x="connsiteX0" y="connsiteY0"/>
                </a:cxn>
                <a:cxn ang="0">
                  <a:pos x="connsiteX1" y="connsiteY1"/>
                </a:cxn>
                <a:cxn ang="0">
                  <a:pos x="connsiteX2" y="connsiteY2"/>
                </a:cxn>
                <a:cxn ang="0">
                  <a:pos x="connsiteX3" y="connsiteY3"/>
                </a:cxn>
              </a:cxnLst>
              <a:rect l="l" t="t" r="r" b="b"/>
              <a:pathLst>
                <a:path w="3047" h="2158">
                  <a:moveTo>
                    <a:pt x="3047" y="2158"/>
                  </a:moveTo>
                  <a:lnTo>
                    <a:pt x="3047" y="1397"/>
                  </a:lnTo>
                  <a:cubicBezTo>
                    <a:pt x="1942" y="1141"/>
                    <a:pt x="914" y="667"/>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931" name="Freeform: Shape 930">
              <a:extLst>
                <a:ext uri="{FF2B5EF4-FFF2-40B4-BE49-F238E27FC236}">
                  <a16:creationId xmlns:a16="http://schemas.microsoft.com/office/drawing/2014/main" id="{F3035381-B94C-4D59-904B-06CE2BAC47AE}"/>
                </a:ext>
              </a:extLst>
            </p:cNvPr>
            <p:cNvSpPr/>
            <p:nvPr/>
          </p:nvSpPr>
          <p:spPr>
            <a:xfrm>
              <a:off x="10047781" y="601789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932" name="Freeform: Shape 931">
              <a:extLst>
                <a:ext uri="{FF2B5EF4-FFF2-40B4-BE49-F238E27FC236}">
                  <a16:creationId xmlns:a16="http://schemas.microsoft.com/office/drawing/2014/main" id="{0F59A2C1-8376-4E60-A437-78903B571B19}"/>
                </a:ext>
              </a:extLst>
            </p:cNvPr>
            <p:cNvSpPr/>
            <p:nvPr/>
          </p:nvSpPr>
          <p:spPr>
            <a:xfrm>
              <a:off x="11090053" y="6430726"/>
              <a:ext cx="69450" cy="66"/>
            </a:xfrm>
            <a:custGeom>
              <a:avLst/>
              <a:gdLst>
                <a:gd name="connsiteX0" fmla="*/ 1651 w 69450"/>
                <a:gd name="connsiteY0" fmla="*/ 67 h 66"/>
                <a:gd name="connsiteX1" fmla="*/ 1651 w 69450"/>
                <a:gd name="connsiteY1" fmla="*/ 67 h 66"/>
                <a:gd name="connsiteX2" fmla="*/ 2793 w 69450"/>
                <a:gd name="connsiteY2" fmla="*/ 67 h 66"/>
                <a:gd name="connsiteX3" fmla="*/ 67673 w 69450"/>
                <a:gd name="connsiteY3" fmla="*/ 67 h 66"/>
                <a:gd name="connsiteX4" fmla="*/ 69451 w 69450"/>
                <a:gd name="connsiteY4" fmla="*/ 67 h 66"/>
                <a:gd name="connsiteX5" fmla="*/ 0 w 69450"/>
                <a:gd name="connsiteY5" fmla="*/ 67 h 66"/>
                <a:gd name="connsiteX6" fmla="*/ 1651 w 69450"/>
                <a:gd name="connsiteY6" fmla="*/ 67 h 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50" h="66">
                  <a:moveTo>
                    <a:pt x="1651" y="67"/>
                  </a:moveTo>
                  <a:lnTo>
                    <a:pt x="1651" y="67"/>
                  </a:lnTo>
                  <a:lnTo>
                    <a:pt x="2793" y="67"/>
                  </a:lnTo>
                  <a:lnTo>
                    <a:pt x="67673" y="67"/>
                  </a:lnTo>
                  <a:lnTo>
                    <a:pt x="69451" y="67"/>
                  </a:lnTo>
                  <a:lnTo>
                    <a:pt x="0" y="67"/>
                  </a:lnTo>
                  <a:cubicBezTo>
                    <a:pt x="546" y="-22"/>
                    <a:pt x="1104" y="-22"/>
                    <a:pt x="1651" y="67"/>
                  </a:cubicBezTo>
                  <a:close/>
                </a:path>
              </a:pathLst>
            </a:custGeom>
            <a:solidFill>
              <a:srgbClr val="000000"/>
            </a:solidFill>
            <a:ln w="12690" cap="flat">
              <a:noFill/>
              <a:prstDash val="solid"/>
              <a:miter/>
            </a:ln>
          </p:spPr>
          <p:txBody>
            <a:bodyPr rtlCol="0" anchor="ctr"/>
            <a:lstStyle/>
            <a:p>
              <a:endParaRPr lang="en-US"/>
            </a:p>
          </p:txBody>
        </p:sp>
        <p:sp>
          <p:nvSpPr>
            <p:cNvPr id="933" name="Freeform: Shape 932">
              <a:extLst>
                <a:ext uri="{FF2B5EF4-FFF2-40B4-BE49-F238E27FC236}">
                  <a16:creationId xmlns:a16="http://schemas.microsoft.com/office/drawing/2014/main" id="{75AED973-FCF0-48C2-8986-E1662570705D}"/>
                </a:ext>
              </a:extLst>
            </p:cNvPr>
            <p:cNvSpPr/>
            <p:nvPr/>
          </p:nvSpPr>
          <p:spPr>
            <a:xfrm>
              <a:off x="9770263" y="6123658"/>
              <a:ext cx="13680" cy="114270"/>
            </a:xfrm>
            <a:custGeom>
              <a:avLst/>
              <a:gdLst>
                <a:gd name="connsiteX0" fmla="*/ 95 w 13680"/>
                <a:gd name="connsiteY0" fmla="*/ 0 h 114270"/>
                <a:gd name="connsiteX1" fmla="*/ 95 w 13680"/>
                <a:gd name="connsiteY1" fmla="*/ 114271 h 114270"/>
                <a:gd name="connsiteX2" fmla="*/ 95 w 13680"/>
                <a:gd name="connsiteY2" fmla="*/ 114271 h 114270"/>
                <a:gd name="connsiteX3" fmla="*/ 95 w 13680"/>
                <a:gd name="connsiteY3" fmla="*/ 112366 h 114270"/>
                <a:gd name="connsiteX4" fmla="*/ 8005 w 13680"/>
                <a:gd name="connsiteY4" fmla="*/ 106767 h 114270"/>
                <a:gd name="connsiteX5" fmla="*/ 8094 w 13680"/>
                <a:gd name="connsiteY5" fmla="*/ 106780 h 114270"/>
                <a:gd name="connsiteX6" fmla="*/ 13681 w 13680"/>
                <a:gd name="connsiteY6" fmla="*/ 107922 h 114270"/>
                <a:gd name="connsiteX7" fmla="*/ 13681 w 13680"/>
                <a:gd name="connsiteY7" fmla="*/ 6348 h 114270"/>
                <a:gd name="connsiteX8" fmla="*/ 6824 w 13680"/>
                <a:gd name="connsiteY8" fmla="*/ 6348 h 114270"/>
                <a:gd name="connsiteX9" fmla="*/ 95 w 13680"/>
                <a:gd name="connsiteY9" fmla="*/ 0 h 1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0" h="114270">
                  <a:moveTo>
                    <a:pt x="95" y="0"/>
                  </a:moveTo>
                  <a:lnTo>
                    <a:pt x="95" y="114271"/>
                  </a:lnTo>
                  <a:cubicBezTo>
                    <a:pt x="95" y="114271"/>
                    <a:pt x="95" y="114271"/>
                    <a:pt x="95" y="114271"/>
                  </a:cubicBezTo>
                  <a:cubicBezTo>
                    <a:pt x="-32" y="113636"/>
                    <a:pt x="-32" y="113001"/>
                    <a:pt x="95" y="112366"/>
                  </a:cubicBezTo>
                  <a:cubicBezTo>
                    <a:pt x="730" y="108633"/>
                    <a:pt x="4272" y="106132"/>
                    <a:pt x="8005" y="106767"/>
                  </a:cubicBezTo>
                  <a:cubicBezTo>
                    <a:pt x="8043" y="106767"/>
                    <a:pt x="8069" y="106780"/>
                    <a:pt x="8094" y="106780"/>
                  </a:cubicBezTo>
                  <a:lnTo>
                    <a:pt x="13681" y="107922"/>
                  </a:lnTo>
                  <a:lnTo>
                    <a:pt x="13681" y="6348"/>
                  </a:lnTo>
                  <a:lnTo>
                    <a:pt x="6824" y="6348"/>
                  </a:lnTo>
                  <a:cubicBezTo>
                    <a:pt x="3282" y="6298"/>
                    <a:pt x="362" y="3542"/>
                    <a:pt x="95" y="0"/>
                  </a:cubicBezTo>
                  <a:close/>
                </a:path>
              </a:pathLst>
            </a:custGeom>
            <a:solidFill>
              <a:srgbClr val="000000"/>
            </a:solidFill>
            <a:ln w="12690" cap="flat">
              <a:noFill/>
              <a:prstDash val="solid"/>
              <a:miter/>
            </a:ln>
          </p:spPr>
          <p:txBody>
            <a:bodyPr rtlCol="0" anchor="ctr"/>
            <a:lstStyle/>
            <a:p>
              <a:endParaRPr lang="en-US"/>
            </a:p>
          </p:txBody>
        </p:sp>
        <p:sp>
          <p:nvSpPr>
            <p:cNvPr id="934" name="Freeform: Shape 933">
              <a:extLst>
                <a:ext uri="{FF2B5EF4-FFF2-40B4-BE49-F238E27FC236}">
                  <a16:creationId xmlns:a16="http://schemas.microsoft.com/office/drawing/2014/main" id="{99387542-47F6-439C-9BA6-01CCD58618CB}"/>
                </a:ext>
              </a:extLst>
            </p:cNvPr>
            <p:cNvSpPr/>
            <p:nvPr/>
          </p:nvSpPr>
          <p:spPr>
            <a:xfrm>
              <a:off x="9789784" y="6237040"/>
              <a:ext cx="245681" cy="2412"/>
            </a:xfrm>
            <a:custGeom>
              <a:avLst/>
              <a:gdLst>
                <a:gd name="connsiteX0" fmla="*/ 254 w 245681"/>
                <a:gd name="connsiteY0" fmla="*/ 1651 h 2412"/>
                <a:gd name="connsiteX1" fmla="*/ 254 w 245681"/>
                <a:gd name="connsiteY1" fmla="*/ 2412 h 2412"/>
                <a:gd name="connsiteX2" fmla="*/ 245681 w 245681"/>
                <a:gd name="connsiteY2" fmla="*/ 2412 h 2412"/>
                <a:gd name="connsiteX3" fmla="*/ 245681 w 245681"/>
                <a:gd name="connsiteY3" fmla="*/ 1270 h 2412"/>
                <a:gd name="connsiteX4" fmla="*/ 245681 w 245681"/>
                <a:gd name="connsiteY4" fmla="*/ 0 h 2412"/>
                <a:gd name="connsiteX5" fmla="*/ 0 w 245681"/>
                <a:gd name="connsiteY5" fmla="*/ 0 h 2412"/>
                <a:gd name="connsiteX6" fmla="*/ 0 w 245681"/>
                <a:gd name="connsiteY6" fmla="*/ 0 h 2412"/>
                <a:gd name="connsiteX7" fmla="*/ 254 w 245681"/>
                <a:gd name="connsiteY7" fmla="*/ 1651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681" h="2412">
                  <a:moveTo>
                    <a:pt x="254" y="1651"/>
                  </a:moveTo>
                  <a:cubicBezTo>
                    <a:pt x="305" y="1905"/>
                    <a:pt x="305" y="2158"/>
                    <a:pt x="254" y="2412"/>
                  </a:cubicBezTo>
                  <a:lnTo>
                    <a:pt x="245681" y="2412"/>
                  </a:lnTo>
                  <a:lnTo>
                    <a:pt x="245681" y="1270"/>
                  </a:lnTo>
                  <a:cubicBezTo>
                    <a:pt x="245605" y="851"/>
                    <a:pt x="245605" y="419"/>
                    <a:pt x="245681" y="0"/>
                  </a:cubicBezTo>
                  <a:lnTo>
                    <a:pt x="0" y="0"/>
                  </a:lnTo>
                  <a:lnTo>
                    <a:pt x="0" y="0"/>
                  </a:lnTo>
                  <a:cubicBezTo>
                    <a:pt x="203" y="521"/>
                    <a:pt x="292" y="1092"/>
                    <a:pt x="254" y="1651"/>
                  </a:cubicBezTo>
                  <a:close/>
                </a:path>
              </a:pathLst>
            </a:custGeom>
            <a:solidFill>
              <a:srgbClr val="000000"/>
            </a:solidFill>
            <a:ln w="12690" cap="flat">
              <a:noFill/>
              <a:prstDash val="solid"/>
              <a:miter/>
            </a:ln>
          </p:spPr>
          <p:txBody>
            <a:bodyPr rtlCol="0" anchor="ctr"/>
            <a:lstStyle/>
            <a:p>
              <a:endParaRPr lang="en-US"/>
            </a:p>
          </p:txBody>
        </p:sp>
        <p:sp>
          <p:nvSpPr>
            <p:cNvPr id="935" name="Freeform: Shape 934">
              <a:extLst>
                <a:ext uri="{FF2B5EF4-FFF2-40B4-BE49-F238E27FC236}">
                  <a16:creationId xmlns:a16="http://schemas.microsoft.com/office/drawing/2014/main" id="{56C38CA8-EF72-462B-BA93-54DC353B0053}"/>
                </a:ext>
              </a:extLst>
            </p:cNvPr>
            <p:cNvSpPr/>
            <p:nvPr/>
          </p:nvSpPr>
          <p:spPr>
            <a:xfrm>
              <a:off x="9770390" y="6230553"/>
              <a:ext cx="13680" cy="13723"/>
            </a:xfrm>
            <a:custGeom>
              <a:avLst/>
              <a:gdLst>
                <a:gd name="connsiteX0" fmla="*/ 95 w 13680"/>
                <a:gd name="connsiteY0" fmla="*/ 6487 h 13723"/>
                <a:gd name="connsiteX1" fmla="*/ 95 w 13680"/>
                <a:gd name="connsiteY1" fmla="*/ 8391 h 13723"/>
                <a:gd name="connsiteX2" fmla="*/ 95 w 13680"/>
                <a:gd name="connsiteY2" fmla="*/ 9788 h 13723"/>
                <a:gd name="connsiteX3" fmla="*/ 95 w 13680"/>
                <a:gd name="connsiteY3" fmla="*/ 10931 h 13723"/>
                <a:gd name="connsiteX4" fmla="*/ 857 w 13680"/>
                <a:gd name="connsiteY4" fmla="*/ 12073 h 13723"/>
                <a:gd name="connsiteX5" fmla="*/ 1745 w 13680"/>
                <a:gd name="connsiteY5" fmla="*/ 12962 h 13723"/>
                <a:gd name="connsiteX6" fmla="*/ 2761 w 13680"/>
                <a:gd name="connsiteY6" fmla="*/ 13724 h 13723"/>
                <a:gd name="connsiteX7" fmla="*/ 4158 w 13680"/>
                <a:gd name="connsiteY7" fmla="*/ 13724 h 13723"/>
                <a:gd name="connsiteX8" fmla="*/ 4793 w 13680"/>
                <a:gd name="connsiteY8" fmla="*/ 13724 h 13723"/>
                <a:gd name="connsiteX9" fmla="*/ 4793 w 13680"/>
                <a:gd name="connsiteY9" fmla="*/ 13724 h 13723"/>
                <a:gd name="connsiteX10" fmla="*/ 4793 w 13680"/>
                <a:gd name="connsiteY10" fmla="*/ 8010 h 13723"/>
                <a:gd name="connsiteX11" fmla="*/ 11649 w 13680"/>
                <a:gd name="connsiteY11" fmla="*/ 1154 h 13723"/>
                <a:gd name="connsiteX12" fmla="*/ 13680 w 13680"/>
                <a:gd name="connsiteY12" fmla="*/ 1154 h 13723"/>
                <a:gd name="connsiteX13" fmla="*/ 12918 w 13680"/>
                <a:gd name="connsiteY13" fmla="*/ 1154 h 13723"/>
                <a:gd name="connsiteX14" fmla="*/ 12918 w 13680"/>
                <a:gd name="connsiteY14" fmla="*/ 1154 h 13723"/>
                <a:gd name="connsiteX15" fmla="*/ 7332 w 13680"/>
                <a:gd name="connsiteY15" fmla="*/ 11 h 13723"/>
                <a:gd name="connsiteX16" fmla="*/ 95 w 13680"/>
                <a:gd name="connsiteY16" fmla="*/ 6461 h 13723"/>
                <a:gd name="connsiteX17" fmla="*/ 95 w 13680"/>
                <a:gd name="connsiteY17" fmla="*/ 6487 h 1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80" h="13723">
                  <a:moveTo>
                    <a:pt x="95" y="6487"/>
                  </a:moveTo>
                  <a:cubicBezTo>
                    <a:pt x="-32" y="7121"/>
                    <a:pt x="-32" y="7756"/>
                    <a:pt x="95" y="8391"/>
                  </a:cubicBezTo>
                  <a:cubicBezTo>
                    <a:pt x="19" y="8848"/>
                    <a:pt x="19" y="9331"/>
                    <a:pt x="95" y="9788"/>
                  </a:cubicBezTo>
                  <a:cubicBezTo>
                    <a:pt x="44" y="10169"/>
                    <a:pt x="44" y="10550"/>
                    <a:pt x="95" y="10931"/>
                  </a:cubicBezTo>
                  <a:cubicBezTo>
                    <a:pt x="311" y="11337"/>
                    <a:pt x="565" y="11718"/>
                    <a:pt x="857" y="12073"/>
                  </a:cubicBezTo>
                  <a:cubicBezTo>
                    <a:pt x="1085" y="12429"/>
                    <a:pt x="1390" y="12733"/>
                    <a:pt x="1745" y="12962"/>
                  </a:cubicBezTo>
                  <a:lnTo>
                    <a:pt x="2761" y="13724"/>
                  </a:lnTo>
                  <a:lnTo>
                    <a:pt x="4158" y="13724"/>
                  </a:lnTo>
                  <a:lnTo>
                    <a:pt x="4793" y="13724"/>
                  </a:lnTo>
                  <a:lnTo>
                    <a:pt x="4793" y="13724"/>
                  </a:lnTo>
                  <a:lnTo>
                    <a:pt x="4793" y="8010"/>
                  </a:lnTo>
                  <a:cubicBezTo>
                    <a:pt x="4793" y="4227"/>
                    <a:pt x="7866" y="1154"/>
                    <a:pt x="11649" y="1154"/>
                  </a:cubicBezTo>
                  <a:cubicBezTo>
                    <a:pt x="12322" y="1014"/>
                    <a:pt x="13007" y="1014"/>
                    <a:pt x="13680" y="1154"/>
                  </a:cubicBezTo>
                  <a:lnTo>
                    <a:pt x="12918" y="1154"/>
                  </a:lnTo>
                  <a:lnTo>
                    <a:pt x="12918" y="1154"/>
                  </a:lnTo>
                  <a:lnTo>
                    <a:pt x="7332" y="11"/>
                  </a:lnTo>
                  <a:cubicBezTo>
                    <a:pt x="3548" y="-204"/>
                    <a:pt x="311" y="2690"/>
                    <a:pt x="95" y="6461"/>
                  </a:cubicBezTo>
                  <a:cubicBezTo>
                    <a:pt x="95" y="6474"/>
                    <a:pt x="95" y="6474"/>
                    <a:pt x="95" y="6487"/>
                  </a:cubicBezTo>
                  <a:close/>
                </a:path>
              </a:pathLst>
            </a:custGeom>
            <a:solidFill>
              <a:srgbClr val="000000"/>
            </a:solidFill>
            <a:ln w="12690" cap="flat">
              <a:noFill/>
              <a:prstDash val="solid"/>
              <a:miter/>
            </a:ln>
          </p:spPr>
          <p:txBody>
            <a:bodyPr rtlCol="0" anchor="ctr"/>
            <a:lstStyle/>
            <a:p>
              <a:endParaRPr lang="en-US"/>
            </a:p>
          </p:txBody>
        </p:sp>
        <p:sp>
          <p:nvSpPr>
            <p:cNvPr id="936" name="Freeform: Shape 935">
              <a:extLst>
                <a:ext uri="{FF2B5EF4-FFF2-40B4-BE49-F238E27FC236}">
                  <a16:creationId xmlns:a16="http://schemas.microsoft.com/office/drawing/2014/main" id="{0C06DFC4-C9EB-42C2-B93D-0924ED433F46}"/>
                </a:ext>
              </a:extLst>
            </p:cNvPr>
            <p:cNvSpPr/>
            <p:nvPr/>
          </p:nvSpPr>
          <p:spPr>
            <a:xfrm>
              <a:off x="10493181" y="6119976"/>
              <a:ext cx="1015" cy="2793"/>
            </a:xfrm>
            <a:custGeom>
              <a:avLst/>
              <a:gdLst>
                <a:gd name="connsiteX0" fmla="*/ 1016 w 1015"/>
                <a:gd name="connsiteY0" fmla="*/ 2793 h 2793"/>
                <a:gd name="connsiteX1" fmla="*/ 1016 w 1015"/>
                <a:gd name="connsiteY1" fmla="*/ 2793 h 2793"/>
                <a:gd name="connsiteX2" fmla="*/ 0 w 1015"/>
                <a:gd name="connsiteY2" fmla="*/ 762 h 2793"/>
                <a:gd name="connsiteX3" fmla="*/ 0 w 1015"/>
                <a:gd name="connsiteY3" fmla="*/ 0 h 2793"/>
                <a:gd name="connsiteX4" fmla="*/ 889 w 1015"/>
                <a:gd name="connsiteY4" fmla="*/ 1905 h 2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 h="2793">
                  <a:moveTo>
                    <a:pt x="1016" y="2793"/>
                  </a:moveTo>
                  <a:cubicBezTo>
                    <a:pt x="1016" y="2793"/>
                    <a:pt x="1016" y="2793"/>
                    <a:pt x="1016" y="2793"/>
                  </a:cubicBezTo>
                  <a:lnTo>
                    <a:pt x="0" y="762"/>
                  </a:lnTo>
                  <a:lnTo>
                    <a:pt x="0" y="0"/>
                  </a:lnTo>
                  <a:cubicBezTo>
                    <a:pt x="343" y="609"/>
                    <a:pt x="647" y="1244"/>
                    <a:pt x="889" y="1905"/>
                  </a:cubicBezTo>
                  <a:close/>
                </a:path>
              </a:pathLst>
            </a:custGeom>
            <a:solidFill>
              <a:srgbClr val="000000"/>
            </a:solidFill>
            <a:ln w="12690" cap="flat">
              <a:noFill/>
              <a:prstDash val="solid"/>
              <a:miter/>
            </a:ln>
          </p:spPr>
          <p:txBody>
            <a:bodyPr rtlCol="0" anchor="ctr"/>
            <a:lstStyle/>
            <a:p>
              <a:endParaRPr lang="en-US"/>
            </a:p>
          </p:txBody>
        </p:sp>
        <p:sp>
          <p:nvSpPr>
            <p:cNvPr id="937" name="Freeform: Shape 936">
              <a:extLst>
                <a:ext uri="{FF2B5EF4-FFF2-40B4-BE49-F238E27FC236}">
                  <a16:creationId xmlns:a16="http://schemas.microsoft.com/office/drawing/2014/main" id="{EC8C658A-83A1-4F05-8D39-08084AB2582A}"/>
                </a:ext>
              </a:extLst>
            </p:cNvPr>
            <p:cNvSpPr/>
            <p:nvPr/>
          </p:nvSpPr>
          <p:spPr>
            <a:xfrm>
              <a:off x="10059589" y="5011423"/>
              <a:ext cx="56" cy="1340"/>
            </a:xfrm>
            <a:custGeom>
              <a:avLst/>
              <a:gdLst>
                <a:gd name="connsiteX0" fmla="*/ 0 w 56"/>
                <a:gd name="connsiteY0" fmla="*/ 0 h 1340"/>
                <a:gd name="connsiteX1" fmla="*/ 0 w 56"/>
                <a:gd name="connsiteY1" fmla="*/ 0 h 1340"/>
                <a:gd name="connsiteX2" fmla="*/ 0 w 56"/>
                <a:gd name="connsiteY2" fmla="*/ 1270 h 1340"/>
                <a:gd name="connsiteX3" fmla="*/ 0 w 56"/>
                <a:gd name="connsiteY3" fmla="*/ 0 h 1340"/>
              </a:gdLst>
              <a:ahLst/>
              <a:cxnLst>
                <a:cxn ang="0">
                  <a:pos x="connsiteX0" y="connsiteY0"/>
                </a:cxn>
                <a:cxn ang="0">
                  <a:pos x="connsiteX1" y="connsiteY1"/>
                </a:cxn>
                <a:cxn ang="0">
                  <a:pos x="connsiteX2" y="connsiteY2"/>
                </a:cxn>
                <a:cxn ang="0">
                  <a:pos x="connsiteX3" y="connsiteY3"/>
                </a:cxn>
              </a:cxnLst>
              <a:rect l="l" t="t" r="r" b="b"/>
              <a:pathLst>
                <a:path w="56" h="1340">
                  <a:moveTo>
                    <a:pt x="0" y="0"/>
                  </a:moveTo>
                  <a:lnTo>
                    <a:pt x="0" y="0"/>
                  </a:lnTo>
                  <a:cubicBezTo>
                    <a:pt x="0" y="0"/>
                    <a:pt x="0" y="889"/>
                    <a:pt x="0" y="1270"/>
                  </a:cubicBezTo>
                  <a:cubicBezTo>
                    <a:pt x="0" y="1651"/>
                    <a:pt x="127" y="381"/>
                    <a:pt x="0" y="0"/>
                  </a:cubicBezTo>
                  <a:close/>
                </a:path>
              </a:pathLst>
            </a:custGeom>
            <a:solidFill>
              <a:srgbClr val="000000"/>
            </a:solidFill>
            <a:ln w="12690" cap="flat">
              <a:noFill/>
              <a:prstDash val="solid"/>
              <a:miter/>
            </a:ln>
          </p:spPr>
          <p:txBody>
            <a:bodyPr rtlCol="0" anchor="ctr"/>
            <a:lstStyle/>
            <a:p>
              <a:endParaRPr lang="en-US"/>
            </a:p>
          </p:txBody>
        </p:sp>
        <p:sp>
          <p:nvSpPr>
            <p:cNvPr id="938" name="Freeform: Shape 937">
              <a:extLst>
                <a:ext uri="{FF2B5EF4-FFF2-40B4-BE49-F238E27FC236}">
                  <a16:creationId xmlns:a16="http://schemas.microsoft.com/office/drawing/2014/main" id="{AB99F768-30CA-44C5-8FCC-87DE659CEF24}"/>
                </a:ext>
              </a:extLst>
            </p:cNvPr>
            <p:cNvSpPr/>
            <p:nvPr/>
          </p:nvSpPr>
          <p:spPr>
            <a:xfrm>
              <a:off x="10047274" y="4995425"/>
              <a:ext cx="12315" cy="15997"/>
            </a:xfrm>
            <a:custGeom>
              <a:avLst/>
              <a:gdLst>
                <a:gd name="connsiteX0" fmla="*/ 5967 w 12315"/>
                <a:gd name="connsiteY0" fmla="*/ 11681 h 15997"/>
                <a:gd name="connsiteX1" fmla="*/ 12315 w 12315"/>
                <a:gd name="connsiteY1" fmla="*/ 15998 h 15997"/>
                <a:gd name="connsiteX2" fmla="*/ 5714 w 12315"/>
                <a:gd name="connsiteY2" fmla="*/ 0 h 15997"/>
                <a:gd name="connsiteX3" fmla="*/ 5714 w 12315"/>
                <a:gd name="connsiteY3" fmla="*/ 0 h 15997"/>
                <a:gd name="connsiteX4" fmla="*/ 5714 w 12315"/>
                <a:gd name="connsiteY4" fmla="*/ 2666 h 15997"/>
                <a:gd name="connsiteX5" fmla="*/ 0 w 12315"/>
                <a:gd name="connsiteY5" fmla="*/ 9396 h 15997"/>
                <a:gd name="connsiteX6" fmla="*/ 0 w 12315"/>
                <a:gd name="connsiteY6" fmla="*/ 14728 h 15997"/>
                <a:gd name="connsiteX7" fmla="*/ 5967 w 12315"/>
                <a:gd name="connsiteY7" fmla="*/ 11681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5" h="15997">
                  <a:moveTo>
                    <a:pt x="5967" y="11681"/>
                  </a:moveTo>
                  <a:cubicBezTo>
                    <a:pt x="8761" y="11690"/>
                    <a:pt x="11275" y="13398"/>
                    <a:pt x="12315" y="15998"/>
                  </a:cubicBezTo>
                  <a:lnTo>
                    <a:pt x="5714" y="0"/>
                  </a:lnTo>
                  <a:lnTo>
                    <a:pt x="5714" y="0"/>
                  </a:lnTo>
                  <a:cubicBezTo>
                    <a:pt x="5828" y="885"/>
                    <a:pt x="5828" y="1781"/>
                    <a:pt x="5714" y="2666"/>
                  </a:cubicBezTo>
                  <a:cubicBezTo>
                    <a:pt x="5650" y="5981"/>
                    <a:pt x="3263" y="8794"/>
                    <a:pt x="0" y="9396"/>
                  </a:cubicBezTo>
                  <a:lnTo>
                    <a:pt x="0" y="14728"/>
                  </a:lnTo>
                  <a:cubicBezTo>
                    <a:pt x="1345" y="12763"/>
                    <a:pt x="3593" y="11614"/>
                    <a:pt x="5967" y="11681"/>
                  </a:cubicBezTo>
                  <a:close/>
                </a:path>
              </a:pathLst>
            </a:custGeom>
            <a:solidFill>
              <a:srgbClr val="000000"/>
            </a:solidFill>
            <a:ln w="12690" cap="flat">
              <a:noFill/>
              <a:prstDash val="solid"/>
              <a:miter/>
            </a:ln>
          </p:spPr>
          <p:txBody>
            <a:bodyPr rtlCol="0" anchor="ctr"/>
            <a:lstStyle/>
            <a:p>
              <a:endParaRPr lang="en-US"/>
            </a:p>
          </p:txBody>
        </p:sp>
        <p:sp>
          <p:nvSpPr>
            <p:cNvPr id="939" name="Freeform: Shape 938">
              <a:extLst>
                <a:ext uri="{FF2B5EF4-FFF2-40B4-BE49-F238E27FC236}">
                  <a16:creationId xmlns:a16="http://schemas.microsoft.com/office/drawing/2014/main" id="{143139C9-90EE-47B5-837C-8E7412C1F42D}"/>
                </a:ext>
              </a:extLst>
            </p:cNvPr>
            <p:cNvSpPr/>
            <p:nvPr/>
          </p:nvSpPr>
          <p:spPr>
            <a:xfrm>
              <a:off x="10041940" y="5004947"/>
              <a:ext cx="3428" cy="8125"/>
            </a:xfrm>
            <a:custGeom>
              <a:avLst/>
              <a:gdLst>
                <a:gd name="connsiteX0" fmla="*/ 0 w 3428"/>
                <a:gd name="connsiteY0" fmla="*/ 0 h 8125"/>
                <a:gd name="connsiteX1" fmla="*/ 3428 w 3428"/>
                <a:gd name="connsiteY1" fmla="*/ 8126 h 8125"/>
                <a:gd name="connsiteX2" fmla="*/ 3428 w 3428"/>
                <a:gd name="connsiteY2" fmla="*/ 0 h 8125"/>
                <a:gd name="connsiteX3" fmla="*/ 0 w 3428"/>
                <a:gd name="connsiteY3" fmla="*/ 0 h 8125"/>
              </a:gdLst>
              <a:ahLst/>
              <a:cxnLst>
                <a:cxn ang="0">
                  <a:pos x="connsiteX0" y="connsiteY0"/>
                </a:cxn>
                <a:cxn ang="0">
                  <a:pos x="connsiteX1" y="connsiteY1"/>
                </a:cxn>
                <a:cxn ang="0">
                  <a:pos x="connsiteX2" y="connsiteY2"/>
                </a:cxn>
                <a:cxn ang="0">
                  <a:pos x="connsiteX3" y="connsiteY3"/>
                </a:cxn>
              </a:cxnLst>
              <a:rect l="l" t="t" r="r" b="b"/>
              <a:pathLst>
                <a:path w="3428" h="8125">
                  <a:moveTo>
                    <a:pt x="0" y="0"/>
                  </a:moveTo>
                  <a:lnTo>
                    <a:pt x="3428" y="8126"/>
                  </a:lnTo>
                  <a:lnTo>
                    <a:pt x="3428" y="0"/>
                  </a:lnTo>
                  <a:lnTo>
                    <a:pt x="0" y="0"/>
                  </a:lnTo>
                  <a:close/>
                </a:path>
              </a:pathLst>
            </a:custGeom>
            <a:solidFill>
              <a:srgbClr val="000000"/>
            </a:solidFill>
            <a:ln w="12690" cap="flat">
              <a:noFill/>
              <a:prstDash val="solid"/>
              <a:miter/>
            </a:ln>
          </p:spPr>
          <p:txBody>
            <a:bodyPr rtlCol="0" anchor="ctr"/>
            <a:lstStyle/>
            <a:p>
              <a:endParaRPr lang="en-US"/>
            </a:p>
          </p:txBody>
        </p:sp>
        <p:sp>
          <p:nvSpPr>
            <p:cNvPr id="940" name="Freeform: Shape 939">
              <a:extLst>
                <a:ext uri="{FF2B5EF4-FFF2-40B4-BE49-F238E27FC236}">
                  <a16:creationId xmlns:a16="http://schemas.microsoft.com/office/drawing/2014/main" id="{4D76509B-3F70-467C-96FD-AFA6F251CE08}"/>
                </a:ext>
              </a:extLst>
            </p:cNvPr>
            <p:cNvSpPr/>
            <p:nvPr/>
          </p:nvSpPr>
          <p:spPr>
            <a:xfrm>
              <a:off x="10045369" y="5004693"/>
              <a:ext cx="2412" cy="1112108"/>
            </a:xfrm>
            <a:custGeom>
              <a:avLst/>
              <a:gdLst>
                <a:gd name="connsiteX0" fmla="*/ 2412 w 2412"/>
                <a:gd name="connsiteY0" fmla="*/ 1112109 h 1112108"/>
                <a:gd name="connsiteX1" fmla="*/ 2412 w 2412"/>
                <a:gd name="connsiteY1" fmla="*/ 1013201 h 1112108"/>
                <a:gd name="connsiteX2" fmla="*/ 2412 w 2412"/>
                <a:gd name="connsiteY2" fmla="*/ 1013201 h 1112108"/>
                <a:gd name="connsiteX3" fmla="*/ 1016 w 2412"/>
                <a:gd name="connsiteY3" fmla="*/ 1009138 h 1112108"/>
                <a:gd name="connsiteX4" fmla="*/ 1016 w 2412"/>
                <a:gd name="connsiteY4" fmla="*/ 9396 h 1112108"/>
                <a:gd name="connsiteX5" fmla="*/ 2412 w 2412"/>
                <a:gd name="connsiteY5" fmla="*/ 5333 h 1112108"/>
                <a:gd name="connsiteX6" fmla="*/ 2412 w 2412"/>
                <a:gd name="connsiteY6" fmla="*/ 0 h 1112108"/>
                <a:gd name="connsiteX7" fmla="*/ 1143 w 2412"/>
                <a:gd name="connsiteY7" fmla="*/ 0 h 1112108"/>
                <a:gd name="connsiteX8" fmla="*/ 0 w 2412"/>
                <a:gd name="connsiteY8" fmla="*/ 0 h 1112108"/>
                <a:gd name="connsiteX9" fmla="*/ 0 w 2412"/>
                <a:gd name="connsiteY9" fmla="*/ 1111855 h 1112108"/>
                <a:gd name="connsiteX10" fmla="*/ 2412 w 2412"/>
                <a:gd name="connsiteY10" fmla="*/ 1111855 h 111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1112108">
                  <a:moveTo>
                    <a:pt x="2412" y="1112109"/>
                  </a:moveTo>
                  <a:lnTo>
                    <a:pt x="2412" y="1013201"/>
                  </a:lnTo>
                  <a:lnTo>
                    <a:pt x="2412" y="1013201"/>
                  </a:lnTo>
                  <a:cubicBezTo>
                    <a:pt x="1486" y="1012050"/>
                    <a:pt x="990" y="1010613"/>
                    <a:pt x="1016" y="1009138"/>
                  </a:cubicBezTo>
                  <a:lnTo>
                    <a:pt x="1016" y="9396"/>
                  </a:lnTo>
                  <a:cubicBezTo>
                    <a:pt x="1016" y="7924"/>
                    <a:pt x="1511" y="6493"/>
                    <a:pt x="2412" y="5333"/>
                  </a:cubicBezTo>
                  <a:lnTo>
                    <a:pt x="2412" y="0"/>
                  </a:lnTo>
                  <a:lnTo>
                    <a:pt x="1143" y="0"/>
                  </a:lnTo>
                  <a:lnTo>
                    <a:pt x="0" y="0"/>
                  </a:lnTo>
                  <a:lnTo>
                    <a:pt x="0" y="1111855"/>
                  </a:lnTo>
                  <a:lnTo>
                    <a:pt x="2412" y="1111855"/>
                  </a:lnTo>
                  <a:close/>
                </a:path>
              </a:pathLst>
            </a:custGeom>
            <a:solidFill>
              <a:srgbClr val="000000"/>
            </a:solidFill>
            <a:ln w="12690" cap="flat">
              <a:noFill/>
              <a:prstDash val="solid"/>
              <a:miter/>
            </a:ln>
          </p:spPr>
          <p:txBody>
            <a:bodyPr rtlCol="0" anchor="ctr"/>
            <a:lstStyle/>
            <a:p>
              <a:endParaRPr lang="en-US"/>
            </a:p>
          </p:txBody>
        </p:sp>
        <p:sp>
          <p:nvSpPr>
            <p:cNvPr id="941" name="Freeform: Shape 940">
              <a:extLst>
                <a:ext uri="{FF2B5EF4-FFF2-40B4-BE49-F238E27FC236}">
                  <a16:creationId xmlns:a16="http://schemas.microsoft.com/office/drawing/2014/main" id="{12CE0ECD-9BB3-43B5-978C-C4E601EA5C91}"/>
                </a:ext>
              </a:extLst>
            </p:cNvPr>
            <p:cNvSpPr/>
            <p:nvPr/>
          </p:nvSpPr>
          <p:spPr>
            <a:xfrm>
              <a:off x="10051971" y="6020687"/>
              <a:ext cx="2539" cy="96114"/>
            </a:xfrm>
            <a:custGeom>
              <a:avLst/>
              <a:gdLst>
                <a:gd name="connsiteX0" fmla="*/ 0 w 2539"/>
                <a:gd name="connsiteY0" fmla="*/ 96114 h 96114"/>
                <a:gd name="connsiteX1" fmla="*/ 2539 w 2539"/>
                <a:gd name="connsiteY1" fmla="*/ 96114 h 96114"/>
                <a:gd name="connsiteX2" fmla="*/ 2539 w 2539"/>
                <a:gd name="connsiteY2" fmla="*/ 0 h 96114"/>
                <a:gd name="connsiteX3" fmla="*/ 1269 w 2539"/>
                <a:gd name="connsiteY3" fmla="*/ 0 h 96114"/>
                <a:gd name="connsiteX4" fmla="*/ 0 w 2539"/>
                <a:gd name="connsiteY4" fmla="*/ 0 h 96114"/>
                <a:gd name="connsiteX5" fmla="*/ 0 w 2539"/>
                <a:gd name="connsiteY5" fmla="*/ 96114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96114">
                  <a:moveTo>
                    <a:pt x="0" y="96114"/>
                  </a:moveTo>
                  <a:lnTo>
                    <a:pt x="2539" y="96114"/>
                  </a:lnTo>
                  <a:lnTo>
                    <a:pt x="2539" y="0"/>
                  </a:lnTo>
                  <a:lnTo>
                    <a:pt x="1269" y="0"/>
                  </a:lnTo>
                  <a:lnTo>
                    <a:pt x="0" y="0"/>
                  </a:lnTo>
                  <a:lnTo>
                    <a:pt x="0" y="96114"/>
                  </a:lnTo>
                  <a:close/>
                </a:path>
              </a:pathLst>
            </a:custGeom>
            <a:solidFill>
              <a:srgbClr val="000000"/>
            </a:solidFill>
            <a:ln w="12690" cap="flat">
              <a:noFill/>
              <a:prstDash val="solid"/>
              <a:miter/>
            </a:ln>
          </p:spPr>
          <p:txBody>
            <a:bodyPr rtlCol="0" anchor="ctr"/>
            <a:lstStyle/>
            <a:p>
              <a:endParaRPr lang="en-US"/>
            </a:p>
          </p:txBody>
        </p:sp>
        <p:sp>
          <p:nvSpPr>
            <p:cNvPr id="942" name="Freeform: Shape 941">
              <a:extLst>
                <a:ext uri="{FF2B5EF4-FFF2-40B4-BE49-F238E27FC236}">
                  <a16:creationId xmlns:a16="http://schemas.microsoft.com/office/drawing/2014/main" id="{A2DC19DE-C732-4BA1-BB3B-2EA73DF08521}"/>
                </a:ext>
              </a:extLst>
            </p:cNvPr>
            <p:cNvSpPr/>
            <p:nvPr/>
          </p:nvSpPr>
          <p:spPr>
            <a:xfrm>
              <a:off x="11163059" y="6444378"/>
              <a:ext cx="2538" cy="142"/>
            </a:xfrm>
            <a:custGeom>
              <a:avLst/>
              <a:gdLst>
                <a:gd name="connsiteX0" fmla="*/ 0 w 2538"/>
                <a:gd name="connsiteY0" fmla="*/ 0 h 142"/>
                <a:gd name="connsiteX1" fmla="*/ 0 w 2538"/>
                <a:gd name="connsiteY1" fmla="*/ 0 h 142"/>
                <a:gd name="connsiteX2" fmla="*/ 1396 w 2538"/>
                <a:gd name="connsiteY2" fmla="*/ 0 h 142"/>
                <a:gd name="connsiteX3" fmla="*/ 2539 w 2538"/>
                <a:gd name="connsiteY3" fmla="*/ 0 h 142"/>
                <a:gd name="connsiteX4" fmla="*/ 0 w 2538"/>
                <a:gd name="connsiteY4" fmla="*/ 0 h 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 h="142">
                  <a:moveTo>
                    <a:pt x="0" y="0"/>
                  </a:moveTo>
                  <a:lnTo>
                    <a:pt x="0" y="0"/>
                  </a:lnTo>
                  <a:cubicBezTo>
                    <a:pt x="470" y="51"/>
                    <a:pt x="939" y="51"/>
                    <a:pt x="1396" y="0"/>
                  </a:cubicBezTo>
                  <a:cubicBezTo>
                    <a:pt x="1765" y="114"/>
                    <a:pt x="2171" y="114"/>
                    <a:pt x="2539" y="0"/>
                  </a:cubicBezTo>
                  <a:cubicBezTo>
                    <a:pt x="1701" y="190"/>
                    <a:pt x="838" y="190"/>
                    <a:pt x="0" y="0"/>
                  </a:cubicBezTo>
                  <a:close/>
                </a:path>
              </a:pathLst>
            </a:custGeom>
            <a:solidFill>
              <a:srgbClr val="000000"/>
            </a:solidFill>
            <a:ln w="12690" cap="flat">
              <a:noFill/>
              <a:prstDash val="solid"/>
              <a:miter/>
            </a:ln>
          </p:spPr>
          <p:txBody>
            <a:bodyPr rtlCol="0" anchor="ctr"/>
            <a:lstStyle/>
            <a:p>
              <a:endParaRPr lang="en-US"/>
            </a:p>
          </p:txBody>
        </p:sp>
        <p:sp>
          <p:nvSpPr>
            <p:cNvPr id="943" name="Freeform: Shape 942">
              <a:extLst>
                <a:ext uri="{FF2B5EF4-FFF2-40B4-BE49-F238E27FC236}">
                  <a16:creationId xmlns:a16="http://schemas.microsoft.com/office/drawing/2014/main" id="{943F330D-F61E-413D-8562-76DB3FD62060}"/>
                </a:ext>
              </a:extLst>
            </p:cNvPr>
            <p:cNvSpPr/>
            <p:nvPr/>
          </p:nvSpPr>
          <p:spPr>
            <a:xfrm>
              <a:off x="11170042" y="6437903"/>
              <a:ext cx="47" cy="1523"/>
            </a:xfrm>
            <a:custGeom>
              <a:avLst/>
              <a:gdLst>
                <a:gd name="connsiteX0" fmla="*/ 0 w 47"/>
                <a:gd name="connsiteY0" fmla="*/ 0 h 1523"/>
                <a:gd name="connsiteX1" fmla="*/ 0 w 47"/>
                <a:gd name="connsiteY1" fmla="*/ 0 h 1523"/>
                <a:gd name="connsiteX2" fmla="*/ 0 w 47"/>
                <a:gd name="connsiteY2" fmla="*/ 1524 h 1523"/>
              </a:gdLst>
              <a:ahLst/>
              <a:cxnLst>
                <a:cxn ang="0">
                  <a:pos x="connsiteX0" y="connsiteY0"/>
                </a:cxn>
                <a:cxn ang="0">
                  <a:pos x="connsiteX1" y="connsiteY1"/>
                </a:cxn>
                <a:cxn ang="0">
                  <a:pos x="connsiteX2" y="connsiteY2"/>
                </a:cxn>
              </a:cxnLst>
              <a:rect l="l" t="t" r="r" b="b"/>
              <a:pathLst>
                <a:path w="47" h="1523">
                  <a:moveTo>
                    <a:pt x="0" y="0"/>
                  </a:moveTo>
                  <a:cubicBezTo>
                    <a:pt x="0" y="0"/>
                    <a:pt x="0" y="0"/>
                    <a:pt x="0" y="0"/>
                  </a:cubicBezTo>
                  <a:cubicBezTo>
                    <a:pt x="64" y="508"/>
                    <a:pt x="64" y="1016"/>
                    <a:pt x="0" y="1524"/>
                  </a:cubicBezTo>
                  <a:close/>
                </a:path>
              </a:pathLst>
            </a:custGeom>
            <a:solidFill>
              <a:srgbClr val="000000"/>
            </a:solidFill>
            <a:ln w="12690" cap="flat">
              <a:noFill/>
              <a:prstDash val="solid"/>
              <a:miter/>
            </a:ln>
          </p:spPr>
          <p:txBody>
            <a:bodyPr rtlCol="0" anchor="ctr"/>
            <a:lstStyle/>
            <a:p>
              <a:endParaRPr lang="en-US"/>
            </a:p>
          </p:txBody>
        </p:sp>
        <p:sp>
          <p:nvSpPr>
            <p:cNvPr id="944" name="Freeform: Shape 943">
              <a:extLst>
                <a:ext uri="{FF2B5EF4-FFF2-40B4-BE49-F238E27FC236}">
                  <a16:creationId xmlns:a16="http://schemas.microsoft.com/office/drawing/2014/main" id="{963C3D56-064B-4EB5-B754-B69B32F14FF8}"/>
                </a:ext>
              </a:extLst>
            </p:cNvPr>
            <p:cNvSpPr/>
            <p:nvPr/>
          </p:nvSpPr>
          <p:spPr>
            <a:xfrm>
              <a:off x="11157980" y="6430539"/>
              <a:ext cx="6729" cy="12696"/>
            </a:xfrm>
            <a:custGeom>
              <a:avLst/>
              <a:gdLst>
                <a:gd name="connsiteX0" fmla="*/ 5079 w 6729"/>
                <a:gd name="connsiteY0" fmla="*/ 0 h 12696"/>
                <a:gd name="connsiteX1" fmla="*/ 6730 w 6729"/>
                <a:gd name="connsiteY1" fmla="*/ 0 h 12696"/>
                <a:gd name="connsiteX2" fmla="*/ 5587 w 6729"/>
                <a:gd name="connsiteY2" fmla="*/ 0 h 12696"/>
                <a:gd name="connsiteX3" fmla="*/ 1778 w 6729"/>
                <a:gd name="connsiteY3" fmla="*/ 0 h 12696"/>
                <a:gd name="connsiteX4" fmla="*/ 1778 w 6729"/>
                <a:gd name="connsiteY4" fmla="*/ 0 h 12696"/>
                <a:gd name="connsiteX5" fmla="*/ 0 w 6729"/>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2696">
                  <a:moveTo>
                    <a:pt x="5079" y="0"/>
                  </a:moveTo>
                  <a:lnTo>
                    <a:pt x="6730" y="0"/>
                  </a:lnTo>
                  <a:lnTo>
                    <a:pt x="5587" y="0"/>
                  </a:lnTo>
                  <a:lnTo>
                    <a:pt x="1778" y="0"/>
                  </a:lnTo>
                  <a:lnTo>
                    <a:pt x="1778" y="0"/>
                  </a:lnTo>
                  <a:lnTo>
                    <a:pt x="0" y="0"/>
                  </a:lnTo>
                  <a:close/>
                </a:path>
              </a:pathLst>
            </a:custGeom>
            <a:solidFill>
              <a:srgbClr val="000000"/>
            </a:solidFill>
            <a:ln w="12690" cap="flat">
              <a:noFill/>
              <a:prstDash val="solid"/>
              <a:miter/>
            </a:ln>
          </p:spPr>
          <p:txBody>
            <a:bodyPr rtlCol="0" anchor="ctr"/>
            <a:lstStyle/>
            <a:p>
              <a:endParaRPr lang="en-US"/>
            </a:p>
          </p:txBody>
        </p:sp>
        <p:sp>
          <p:nvSpPr>
            <p:cNvPr id="945" name="Freeform: Shape 944">
              <a:extLst>
                <a:ext uri="{FF2B5EF4-FFF2-40B4-BE49-F238E27FC236}">
                  <a16:creationId xmlns:a16="http://schemas.microsoft.com/office/drawing/2014/main" id="{896FBFCF-BECC-433D-9F0E-A9ADDCCE4B85}"/>
                </a:ext>
              </a:extLst>
            </p:cNvPr>
            <p:cNvSpPr/>
            <p:nvPr/>
          </p:nvSpPr>
          <p:spPr>
            <a:xfrm>
              <a:off x="11090942" y="6431808"/>
              <a:ext cx="77877" cy="13086"/>
            </a:xfrm>
            <a:custGeom>
              <a:avLst/>
              <a:gdLst>
                <a:gd name="connsiteX0" fmla="*/ 74783 w 77877"/>
                <a:gd name="connsiteY0" fmla="*/ 11935 h 13086"/>
                <a:gd name="connsiteX1" fmla="*/ 75545 w 77877"/>
                <a:gd name="connsiteY1" fmla="*/ 11935 h 13086"/>
                <a:gd name="connsiteX2" fmla="*/ 76942 w 77877"/>
                <a:gd name="connsiteY2" fmla="*/ 10919 h 13086"/>
                <a:gd name="connsiteX3" fmla="*/ 76942 w 77877"/>
                <a:gd name="connsiteY3" fmla="*/ 10157 h 13086"/>
                <a:gd name="connsiteX4" fmla="*/ 77830 w 77877"/>
                <a:gd name="connsiteY4" fmla="*/ 8888 h 13086"/>
                <a:gd name="connsiteX5" fmla="*/ 77830 w 77877"/>
                <a:gd name="connsiteY5" fmla="*/ 7745 h 13086"/>
                <a:gd name="connsiteX6" fmla="*/ 77830 w 77877"/>
                <a:gd name="connsiteY6" fmla="*/ 6221 h 13086"/>
                <a:gd name="connsiteX7" fmla="*/ 77830 w 77877"/>
                <a:gd name="connsiteY7" fmla="*/ 6221 h 13086"/>
                <a:gd name="connsiteX8" fmla="*/ 77830 w 77877"/>
                <a:gd name="connsiteY8" fmla="*/ 5206 h 13086"/>
                <a:gd name="connsiteX9" fmla="*/ 77830 w 77877"/>
                <a:gd name="connsiteY9" fmla="*/ 3809 h 13086"/>
                <a:gd name="connsiteX10" fmla="*/ 77195 w 77877"/>
                <a:gd name="connsiteY10" fmla="*/ 2666 h 13086"/>
                <a:gd name="connsiteX11" fmla="*/ 76434 w 77877"/>
                <a:gd name="connsiteY11" fmla="*/ 1524 h 13086"/>
                <a:gd name="connsiteX12" fmla="*/ 75418 w 77877"/>
                <a:gd name="connsiteY12" fmla="*/ 762 h 13086"/>
                <a:gd name="connsiteX13" fmla="*/ 74275 w 77877"/>
                <a:gd name="connsiteY13" fmla="*/ 0 h 13086"/>
                <a:gd name="connsiteX14" fmla="*/ 73006 w 77877"/>
                <a:gd name="connsiteY14" fmla="*/ 0 h 13086"/>
                <a:gd name="connsiteX15" fmla="*/ 71355 w 77877"/>
                <a:gd name="connsiteY15" fmla="*/ 0 h 13086"/>
                <a:gd name="connsiteX16" fmla="*/ 1142 w 77877"/>
                <a:gd name="connsiteY16" fmla="*/ 0 h 13086"/>
                <a:gd name="connsiteX17" fmla="*/ 0 w 77877"/>
                <a:gd name="connsiteY17" fmla="*/ 0 h 13086"/>
                <a:gd name="connsiteX18" fmla="*/ 1650 w 77877"/>
                <a:gd name="connsiteY18" fmla="*/ 0 h 13086"/>
                <a:gd name="connsiteX19" fmla="*/ 1650 w 77877"/>
                <a:gd name="connsiteY19" fmla="*/ 0 h 13086"/>
                <a:gd name="connsiteX20" fmla="*/ 2666 w 77877"/>
                <a:gd name="connsiteY20" fmla="*/ 0 h 13086"/>
                <a:gd name="connsiteX21" fmla="*/ 4062 w 77877"/>
                <a:gd name="connsiteY21" fmla="*/ 0 h 13086"/>
                <a:gd name="connsiteX22" fmla="*/ 5078 w 77877"/>
                <a:gd name="connsiteY22" fmla="*/ 762 h 13086"/>
                <a:gd name="connsiteX23" fmla="*/ 6094 w 77877"/>
                <a:gd name="connsiteY23" fmla="*/ 1524 h 13086"/>
                <a:gd name="connsiteX24" fmla="*/ 6856 w 77877"/>
                <a:gd name="connsiteY24" fmla="*/ 2666 h 13086"/>
                <a:gd name="connsiteX25" fmla="*/ 7491 w 77877"/>
                <a:gd name="connsiteY25" fmla="*/ 3809 h 13086"/>
                <a:gd name="connsiteX26" fmla="*/ 7491 w 77877"/>
                <a:gd name="connsiteY26" fmla="*/ 5079 h 13086"/>
                <a:gd name="connsiteX27" fmla="*/ 7491 w 77877"/>
                <a:gd name="connsiteY27" fmla="*/ 6221 h 13086"/>
                <a:gd name="connsiteX28" fmla="*/ 7491 w 77877"/>
                <a:gd name="connsiteY28" fmla="*/ 13078 h 13086"/>
                <a:gd name="connsiteX29" fmla="*/ 70974 w 77877"/>
                <a:gd name="connsiteY29" fmla="*/ 13078 h 13086"/>
                <a:gd name="connsiteX30" fmla="*/ 74783 w 77877"/>
                <a:gd name="connsiteY30" fmla="*/ 11935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7877" h="13086">
                  <a:moveTo>
                    <a:pt x="74783" y="11935"/>
                  </a:moveTo>
                  <a:cubicBezTo>
                    <a:pt x="74783" y="11935"/>
                    <a:pt x="74783" y="11935"/>
                    <a:pt x="75545" y="11935"/>
                  </a:cubicBezTo>
                  <a:lnTo>
                    <a:pt x="76942" y="10919"/>
                  </a:lnTo>
                  <a:lnTo>
                    <a:pt x="76942" y="10157"/>
                  </a:lnTo>
                  <a:cubicBezTo>
                    <a:pt x="77209" y="9713"/>
                    <a:pt x="77500" y="9294"/>
                    <a:pt x="77830" y="8888"/>
                  </a:cubicBezTo>
                  <a:cubicBezTo>
                    <a:pt x="77830" y="8888"/>
                    <a:pt x="77830" y="8126"/>
                    <a:pt x="77830" y="7745"/>
                  </a:cubicBezTo>
                  <a:cubicBezTo>
                    <a:pt x="77894" y="7237"/>
                    <a:pt x="77894" y="6729"/>
                    <a:pt x="77830" y="6221"/>
                  </a:cubicBezTo>
                  <a:cubicBezTo>
                    <a:pt x="77830" y="6221"/>
                    <a:pt x="77830" y="6221"/>
                    <a:pt x="77830" y="6221"/>
                  </a:cubicBezTo>
                  <a:cubicBezTo>
                    <a:pt x="77881" y="5891"/>
                    <a:pt x="77881" y="5536"/>
                    <a:pt x="77830" y="5206"/>
                  </a:cubicBezTo>
                  <a:cubicBezTo>
                    <a:pt x="77830" y="5206"/>
                    <a:pt x="77830" y="4190"/>
                    <a:pt x="77830" y="3809"/>
                  </a:cubicBezTo>
                  <a:cubicBezTo>
                    <a:pt x="77665" y="3403"/>
                    <a:pt x="77450" y="3022"/>
                    <a:pt x="77195" y="2666"/>
                  </a:cubicBezTo>
                  <a:lnTo>
                    <a:pt x="76434" y="1524"/>
                  </a:lnTo>
                  <a:lnTo>
                    <a:pt x="75418" y="762"/>
                  </a:lnTo>
                  <a:lnTo>
                    <a:pt x="74275" y="0"/>
                  </a:lnTo>
                  <a:lnTo>
                    <a:pt x="73006" y="0"/>
                  </a:lnTo>
                  <a:lnTo>
                    <a:pt x="71355" y="0"/>
                  </a:lnTo>
                  <a:lnTo>
                    <a:pt x="1142" y="0"/>
                  </a:lnTo>
                  <a:lnTo>
                    <a:pt x="0" y="0"/>
                  </a:lnTo>
                  <a:lnTo>
                    <a:pt x="1650" y="0"/>
                  </a:lnTo>
                  <a:lnTo>
                    <a:pt x="1650" y="0"/>
                  </a:lnTo>
                  <a:lnTo>
                    <a:pt x="2666" y="0"/>
                  </a:lnTo>
                  <a:lnTo>
                    <a:pt x="4062" y="0"/>
                  </a:lnTo>
                  <a:cubicBezTo>
                    <a:pt x="4456" y="165"/>
                    <a:pt x="4812" y="432"/>
                    <a:pt x="5078" y="762"/>
                  </a:cubicBezTo>
                  <a:cubicBezTo>
                    <a:pt x="5472" y="939"/>
                    <a:pt x="5814" y="1206"/>
                    <a:pt x="6094" y="1524"/>
                  </a:cubicBezTo>
                  <a:cubicBezTo>
                    <a:pt x="6386" y="1879"/>
                    <a:pt x="6653" y="2260"/>
                    <a:pt x="6856" y="2666"/>
                  </a:cubicBezTo>
                  <a:cubicBezTo>
                    <a:pt x="7148" y="2996"/>
                    <a:pt x="7351" y="3390"/>
                    <a:pt x="7491" y="3809"/>
                  </a:cubicBezTo>
                  <a:cubicBezTo>
                    <a:pt x="7554" y="4228"/>
                    <a:pt x="7554" y="4660"/>
                    <a:pt x="7491" y="5079"/>
                  </a:cubicBezTo>
                  <a:cubicBezTo>
                    <a:pt x="7554" y="5460"/>
                    <a:pt x="7554" y="5840"/>
                    <a:pt x="7491" y="6221"/>
                  </a:cubicBezTo>
                  <a:lnTo>
                    <a:pt x="7491" y="13078"/>
                  </a:lnTo>
                  <a:lnTo>
                    <a:pt x="70974" y="13078"/>
                  </a:lnTo>
                  <a:cubicBezTo>
                    <a:pt x="72333" y="13154"/>
                    <a:pt x="73691" y="12748"/>
                    <a:pt x="74783" y="11935"/>
                  </a:cubicBezTo>
                  <a:close/>
                </a:path>
              </a:pathLst>
            </a:custGeom>
            <a:solidFill>
              <a:srgbClr val="000000"/>
            </a:solidFill>
            <a:ln w="12690" cap="flat">
              <a:noFill/>
              <a:prstDash val="solid"/>
              <a:miter/>
            </a:ln>
          </p:spPr>
          <p:txBody>
            <a:bodyPr rtlCol="0" anchor="ctr"/>
            <a:lstStyle/>
            <a:p>
              <a:endParaRPr lang="en-US"/>
            </a:p>
          </p:txBody>
        </p:sp>
        <p:sp>
          <p:nvSpPr>
            <p:cNvPr id="946" name="Freeform: Shape 945">
              <a:extLst>
                <a:ext uri="{FF2B5EF4-FFF2-40B4-BE49-F238E27FC236}">
                  <a16:creationId xmlns:a16="http://schemas.microsoft.com/office/drawing/2014/main" id="{2212607E-4BB6-4975-B191-5283EE9DA18E}"/>
                </a:ext>
              </a:extLst>
            </p:cNvPr>
            <p:cNvSpPr/>
            <p:nvPr/>
          </p:nvSpPr>
          <p:spPr>
            <a:xfrm>
              <a:off x="11086879" y="6432189"/>
              <a:ext cx="13838" cy="432832"/>
            </a:xfrm>
            <a:custGeom>
              <a:avLst/>
              <a:gdLst>
                <a:gd name="connsiteX0" fmla="*/ 13331 w 13838"/>
                <a:gd name="connsiteY0" fmla="*/ 1016 h 432832"/>
                <a:gd name="connsiteX1" fmla="*/ 13331 w 13838"/>
                <a:gd name="connsiteY1" fmla="*/ 0 h 432832"/>
                <a:gd name="connsiteX2" fmla="*/ 13331 w 13838"/>
                <a:gd name="connsiteY2" fmla="*/ 1650 h 432832"/>
                <a:gd name="connsiteX3" fmla="*/ 6475 w 13838"/>
                <a:gd name="connsiteY3" fmla="*/ 7872 h 432832"/>
                <a:gd name="connsiteX4" fmla="*/ 5332 w 13838"/>
                <a:gd name="connsiteY4" fmla="*/ 7872 h 432832"/>
                <a:gd name="connsiteX5" fmla="*/ 3682 w 13838"/>
                <a:gd name="connsiteY5" fmla="*/ 7872 h 432832"/>
                <a:gd name="connsiteX6" fmla="*/ 2539 w 13838"/>
                <a:gd name="connsiteY6" fmla="*/ 7872 h 432832"/>
                <a:gd name="connsiteX7" fmla="*/ 2539 w 13838"/>
                <a:gd name="connsiteY7" fmla="*/ 7872 h 432832"/>
                <a:gd name="connsiteX8" fmla="*/ 0 w 13838"/>
                <a:gd name="connsiteY8" fmla="*/ 7872 h 432832"/>
                <a:gd name="connsiteX9" fmla="*/ 0 w 13838"/>
                <a:gd name="connsiteY9" fmla="*/ 432832 h 432832"/>
                <a:gd name="connsiteX10" fmla="*/ 13839 w 13838"/>
                <a:gd name="connsiteY10" fmla="*/ 432832 h 432832"/>
                <a:gd name="connsiteX11" fmla="*/ 13839 w 13838"/>
                <a:gd name="connsiteY11" fmla="*/ 1143 h 43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432832">
                  <a:moveTo>
                    <a:pt x="13331" y="1016"/>
                  </a:moveTo>
                  <a:cubicBezTo>
                    <a:pt x="13382" y="686"/>
                    <a:pt x="13382" y="330"/>
                    <a:pt x="13331" y="0"/>
                  </a:cubicBezTo>
                  <a:cubicBezTo>
                    <a:pt x="13407" y="546"/>
                    <a:pt x="13407" y="1104"/>
                    <a:pt x="13331" y="1650"/>
                  </a:cubicBezTo>
                  <a:cubicBezTo>
                    <a:pt x="13001" y="5193"/>
                    <a:pt x="10030" y="7885"/>
                    <a:pt x="6475" y="7872"/>
                  </a:cubicBezTo>
                  <a:lnTo>
                    <a:pt x="5332" y="7872"/>
                  </a:lnTo>
                  <a:lnTo>
                    <a:pt x="3682" y="7872"/>
                  </a:lnTo>
                  <a:lnTo>
                    <a:pt x="2539" y="7872"/>
                  </a:lnTo>
                  <a:lnTo>
                    <a:pt x="2539" y="7872"/>
                  </a:lnTo>
                  <a:lnTo>
                    <a:pt x="0" y="7872"/>
                  </a:lnTo>
                  <a:lnTo>
                    <a:pt x="0" y="432832"/>
                  </a:lnTo>
                  <a:lnTo>
                    <a:pt x="13839" y="432832"/>
                  </a:lnTo>
                  <a:lnTo>
                    <a:pt x="13839" y="1143"/>
                  </a:lnTo>
                  <a:close/>
                </a:path>
              </a:pathLst>
            </a:custGeom>
            <a:solidFill>
              <a:srgbClr val="000000"/>
            </a:solidFill>
            <a:ln w="12690" cap="flat">
              <a:noFill/>
              <a:prstDash val="solid"/>
              <a:miter/>
            </a:ln>
          </p:spPr>
          <p:txBody>
            <a:bodyPr rtlCol="0" anchor="ctr"/>
            <a:lstStyle/>
            <a:p>
              <a:endParaRPr lang="en-US"/>
            </a:p>
          </p:txBody>
        </p:sp>
        <p:sp>
          <p:nvSpPr>
            <p:cNvPr id="947" name="Freeform: Shape 946">
              <a:extLst>
                <a:ext uri="{FF2B5EF4-FFF2-40B4-BE49-F238E27FC236}">
                  <a16:creationId xmlns:a16="http://schemas.microsoft.com/office/drawing/2014/main" id="{5CC1900F-2800-4F25-8C30-F00A9F70AF13}"/>
                </a:ext>
              </a:extLst>
            </p:cNvPr>
            <p:cNvSpPr/>
            <p:nvPr/>
          </p:nvSpPr>
          <p:spPr>
            <a:xfrm>
              <a:off x="10049432" y="6436506"/>
              <a:ext cx="431687" cy="1523"/>
            </a:xfrm>
            <a:custGeom>
              <a:avLst/>
              <a:gdLst>
                <a:gd name="connsiteX0" fmla="*/ 431688 w 431687"/>
                <a:gd name="connsiteY0" fmla="*/ 381 h 1523"/>
                <a:gd name="connsiteX1" fmla="*/ 431688 w 431687"/>
                <a:gd name="connsiteY1" fmla="*/ 381 h 1523"/>
                <a:gd name="connsiteX2" fmla="*/ 0 w 431687"/>
                <a:gd name="connsiteY2" fmla="*/ 381 h 1523"/>
                <a:gd name="connsiteX3" fmla="*/ 0 w 431687"/>
                <a:gd name="connsiteY3" fmla="*/ 381 h 1523"/>
                <a:gd name="connsiteX4" fmla="*/ 0 w 431687"/>
                <a:gd name="connsiteY4" fmla="*/ 1524 h 1523"/>
                <a:gd name="connsiteX5" fmla="*/ 431688 w 431687"/>
                <a:gd name="connsiteY5" fmla="*/ 1524 h 1523"/>
                <a:gd name="connsiteX6" fmla="*/ 431688 w 431687"/>
                <a:gd name="connsiteY6" fmla="*/ 0 h 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687" h="1523">
                  <a:moveTo>
                    <a:pt x="431688" y="381"/>
                  </a:moveTo>
                  <a:lnTo>
                    <a:pt x="431688" y="381"/>
                  </a:lnTo>
                  <a:lnTo>
                    <a:pt x="0" y="381"/>
                  </a:lnTo>
                  <a:lnTo>
                    <a:pt x="0" y="381"/>
                  </a:lnTo>
                  <a:cubicBezTo>
                    <a:pt x="0" y="381"/>
                    <a:pt x="0" y="1143"/>
                    <a:pt x="0" y="1524"/>
                  </a:cubicBezTo>
                  <a:lnTo>
                    <a:pt x="431688" y="1524"/>
                  </a:lnTo>
                  <a:cubicBezTo>
                    <a:pt x="431624" y="1016"/>
                    <a:pt x="431624" y="508"/>
                    <a:pt x="431688" y="0"/>
                  </a:cubicBezTo>
                  <a:close/>
                </a:path>
              </a:pathLst>
            </a:custGeom>
            <a:solidFill>
              <a:srgbClr val="000000"/>
            </a:solidFill>
            <a:ln w="12690" cap="flat">
              <a:noFill/>
              <a:prstDash val="solid"/>
              <a:miter/>
            </a:ln>
          </p:spPr>
          <p:txBody>
            <a:bodyPr rtlCol="0" anchor="ctr"/>
            <a:lstStyle/>
            <a:p>
              <a:endParaRPr lang="en-US"/>
            </a:p>
          </p:txBody>
        </p:sp>
        <p:sp>
          <p:nvSpPr>
            <p:cNvPr id="948" name="Freeform: Shape 947">
              <a:extLst>
                <a:ext uri="{FF2B5EF4-FFF2-40B4-BE49-F238E27FC236}">
                  <a16:creationId xmlns:a16="http://schemas.microsoft.com/office/drawing/2014/main" id="{6DB10165-2FA0-4AC4-B108-3667C39EA784}"/>
                </a:ext>
              </a:extLst>
            </p:cNvPr>
            <p:cNvSpPr/>
            <p:nvPr/>
          </p:nvSpPr>
          <p:spPr>
            <a:xfrm>
              <a:off x="10035466" y="6440188"/>
              <a:ext cx="13838" cy="423944"/>
            </a:xfrm>
            <a:custGeom>
              <a:avLst/>
              <a:gdLst>
                <a:gd name="connsiteX0" fmla="*/ 12570 w 13838"/>
                <a:gd name="connsiteY0" fmla="*/ 889 h 423944"/>
                <a:gd name="connsiteX1" fmla="*/ 12570 w 13838"/>
                <a:gd name="connsiteY1" fmla="*/ 1905 h 423944"/>
                <a:gd name="connsiteX2" fmla="*/ 11554 w 13838"/>
                <a:gd name="connsiteY2" fmla="*/ 2666 h 423944"/>
                <a:gd name="connsiteX3" fmla="*/ 10411 w 13838"/>
                <a:gd name="connsiteY3" fmla="*/ 3428 h 423944"/>
                <a:gd name="connsiteX4" fmla="*/ 9141 w 13838"/>
                <a:gd name="connsiteY4" fmla="*/ 3428 h 423944"/>
                <a:gd name="connsiteX5" fmla="*/ 7999 w 13838"/>
                <a:gd name="connsiteY5" fmla="*/ 3428 h 423944"/>
                <a:gd name="connsiteX6" fmla="*/ 6856 w 13838"/>
                <a:gd name="connsiteY6" fmla="*/ 3428 h 423944"/>
                <a:gd name="connsiteX7" fmla="*/ 5205 w 13838"/>
                <a:gd name="connsiteY7" fmla="*/ 3428 h 423944"/>
                <a:gd name="connsiteX8" fmla="*/ 0 w 13838"/>
                <a:gd name="connsiteY8" fmla="*/ 3428 h 423944"/>
                <a:gd name="connsiteX9" fmla="*/ 0 w 13838"/>
                <a:gd name="connsiteY9" fmla="*/ 423945 h 423944"/>
                <a:gd name="connsiteX10" fmla="*/ 13839 w 13838"/>
                <a:gd name="connsiteY10" fmla="*/ 423945 h 423944"/>
                <a:gd name="connsiteX11" fmla="*/ 13839 w 13838"/>
                <a:gd name="connsiteY11" fmla="*/ 0 h 423944"/>
                <a:gd name="connsiteX12" fmla="*/ 12570 w 13838"/>
                <a:gd name="connsiteY12" fmla="*/ 889 h 42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8" h="423944">
                  <a:moveTo>
                    <a:pt x="12570" y="889"/>
                  </a:moveTo>
                  <a:lnTo>
                    <a:pt x="12570" y="1905"/>
                  </a:lnTo>
                  <a:lnTo>
                    <a:pt x="11554" y="2666"/>
                  </a:lnTo>
                  <a:cubicBezTo>
                    <a:pt x="11198" y="2958"/>
                    <a:pt x="10817" y="3225"/>
                    <a:pt x="10411" y="3428"/>
                  </a:cubicBezTo>
                  <a:lnTo>
                    <a:pt x="9141" y="3428"/>
                  </a:lnTo>
                  <a:lnTo>
                    <a:pt x="7999" y="3428"/>
                  </a:lnTo>
                  <a:lnTo>
                    <a:pt x="6856" y="3428"/>
                  </a:lnTo>
                  <a:lnTo>
                    <a:pt x="5205" y="3428"/>
                  </a:lnTo>
                  <a:lnTo>
                    <a:pt x="0" y="3428"/>
                  </a:lnTo>
                  <a:lnTo>
                    <a:pt x="0" y="423945"/>
                  </a:lnTo>
                  <a:lnTo>
                    <a:pt x="13839" y="423945"/>
                  </a:lnTo>
                  <a:lnTo>
                    <a:pt x="13839" y="0"/>
                  </a:lnTo>
                  <a:cubicBezTo>
                    <a:pt x="13839" y="0"/>
                    <a:pt x="12823" y="508"/>
                    <a:pt x="12570" y="889"/>
                  </a:cubicBezTo>
                  <a:close/>
                </a:path>
              </a:pathLst>
            </a:custGeom>
            <a:solidFill>
              <a:srgbClr val="000000"/>
            </a:solidFill>
            <a:ln w="12690" cap="flat">
              <a:noFill/>
              <a:prstDash val="solid"/>
              <a:miter/>
            </a:ln>
          </p:spPr>
          <p:txBody>
            <a:bodyPr rtlCol="0" anchor="ctr"/>
            <a:lstStyle/>
            <a:p>
              <a:endParaRPr lang="en-US"/>
            </a:p>
          </p:txBody>
        </p:sp>
        <p:sp>
          <p:nvSpPr>
            <p:cNvPr id="949" name="Freeform: Shape 948">
              <a:extLst>
                <a:ext uri="{FF2B5EF4-FFF2-40B4-BE49-F238E27FC236}">
                  <a16:creationId xmlns:a16="http://schemas.microsoft.com/office/drawing/2014/main" id="{8FCDACF3-8425-49BC-AC97-D7A98AD53D84}"/>
                </a:ext>
              </a:extLst>
            </p:cNvPr>
            <p:cNvSpPr/>
            <p:nvPr/>
          </p:nvSpPr>
          <p:spPr>
            <a:xfrm>
              <a:off x="11085101" y="6430726"/>
              <a:ext cx="6602" cy="1971"/>
            </a:xfrm>
            <a:custGeom>
              <a:avLst/>
              <a:gdLst>
                <a:gd name="connsiteX0" fmla="*/ 6603 w 6602"/>
                <a:gd name="connsiteY0" fmla="*/ 67 h 1971"/>
                <a:gd name="connsiteX1" fmla="*/ 4952 w 6602"/>
                <a:gd name="connsiteY1" fmla="*/ 67 h 1971"/>
                <a:gd name="connsiteX2" fmla="*/ 4952 w 6602"/>
                <a:gd name="connsiteY2" fmla="*/ 67 h 1971"/>
                <a:gd name="connsiteX3" fmla="*/ 0 w 6602"/>
                <a:gd name="connsiteY3" fmla="*/ 67 h 1971"/>
                <a:gd name="connsiteX4" fmla="*/ 0 w 6602"/>
                <a:gd name="connsiteY4" fmla="*/ 67 h 1971"/>
                <a:gd name="connsiteX5" fmla="*/ 4571 w 6602"/>
                <a:gd name="connsiteY5" fmla="*/ 1971 h 1971"/>
                <a:gd name="connsiteX6" fmla="*/ 6603 w 6602"/>
                <a:gd name="connsiteY6" fmla="*/ 67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2" h="1971">
                  <a:moveTo>
                    <a:pt x="6603" y="67"/>
                  </a:moveTo>
                  <a:cubicBezTo>
                    <a:pt x="6056" y="-22"/>
                    <a:pt x="5497" y="-22"/>
                    <a:pt x="4952" y="67"/>
                  </a:cubicBezTo>
                  <a:lnTo>
                    <a:pt x="4952" y="67"/>
                  </a:lnTo>
                  <a:lnTo>
                    <a:pt x="0" y="67"/>
                  </a:lnTo>
                  <a:lnTo>
                    <a:pt x="0" y="67"/>
                  </a:lnTo>
                  <a:cubicBezTo>
                    <a:pt x="1714" y="92"/>
                    <a:pt x="3339" y="778"/>
                    <a:pt x="4571" y="1971"/>
                  </a:cubicBezTo>
                  <a:cubicBezTo>
                    <a:pt x="5091" y="1197"/>
                    <a:pt x="5790" y="537"/>
                    <a:pt x="6603" y="67"/>
                  </a:cubicBezTo>
                  <a:close/>
                </a:path>
              </a:pathLst>
            </a:custGeom>
            <a:solidFill>
              <a:srgbClr val="000000"/>
            </a:solidFill>
            <a:ln w="12690" cap="flat">
              <a:noFill/>
              <a:prstDash val="solid"/>
              <a:miter/>
            </a:ln>
          </p:spPr>
          <p:txBody>
            <a:bodyPr rtlCol="0" anchor="ctr"/>
            <a:lstStyle/>
            <a:p>
              <a:endParaRPr lang="en-US"/>
            </a:p>
          </p:txBody>
        </p:sp>
        <p:sp>
          <p:nvSpPr>
            <p:cNvPr id="950" name="Freeform: Shape 949">
              <a:extLst>
                <a:ext uri="{FF2B5EF4-FFF2-40B4-BE49-F238E27FC236}">
                  <a16:creationId xmlns:a16="http://schemas.microsoft.com/office/drawing/2014/main" id="{3E1B081B-BC78-4F09-8D52-B6F55BCAFE58}"/>
                </a:ext>
              </a:extLst>
            </p:cNvPr>
            <p:cNvSpPr/>
            <p:nvPr/>
          </p:nvSpPr>
          <p:spPr>
            <a:xfrm>
              <a:off x="11084212" y="6441966"/>
              <a:ext cx="6729" cy="1650"/>
            </a:xfrm>
            <a:custGeom>
              <a:avLst/>
              <a:gdLst>
                <a:gd name="connsiteX0" fmla="*/ 0 w 6729"/>
                <a:gd name="connsiteY0" fmla="*/ 1651 h 1650"/>
                <a:gd name="connsiteX1" fmla="*/ 0 w 6729"/>
                <a:gd name="connsiteY1" fmla="*/ 1651 h 1650"/>
                <a:gd name="connsiteX2" fmla="*/ 2539 w 6729"/>
                <a:gd name="connsiteY2" fmla="*/ 1651 h 1650"/>
                <a:gd name="connsiteX3" fmla="*/ 6730 w 6729"/>
                <a:gd name="connsiteY3" fmla="*/ 1651 h 1650"/>
                <a:gd name="connsiteX4" fmla="*/ 4190 w 6729"/>
                <a:gd name="connsiteY4" fmla="*/ 0 h 1650"/>
                <a:gd name="connsiteX5" fmla="*/ 0 w 6729"/>
                <a:gd name="connsiteY5" fmla="*/ 1651 h 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650">
                  <a:moveTo>
                    <a:pt x="0" y="1651"/>
                  </a:moveTo>
                  <a:lnTo>
                    <a:pt x="0" y="1651"/>
                  </a:lnTo>
                  <a:lnTo>
                    <a:pt x="2539" y="1651"/>
                  </a:lnTo>
                  <a:lnTo>
                    <a:pt x="6730" y="1651"/>
                  </a:lnTo>
                  <a:cubicBezTo>
                    <a:pt x="5752" y="1333"/>
                    <a:pt x="4875" y="762"/>
                    <a:pt x="4190" y="0"/>
                  </a:cubicBezTo>
                  <a:cubicBezTo>
                    <a:pt x="3047" y="1054"/>
                    <a:pt x="1549" y="1638"/>
                    <a:pt x="0" y="1651"/>
                  </a:cubicBezTo>
                  <a:close/>
                </a:path>
              </a:pathLst>
            </a:custGeom>
            <a:solidFill>
              <a:srgbClr val="000000"/>
            </a:solidFill>
            <a:ln w="12690" cap="flat">
              <a:noFill/>
              <a:prstDash val="solid"/>
              <a:miter/>
            </a:ln>
          </p:spPr>
          <p:txBody>
            <a:bodyPr rtlCol="0" anchor="ctr"/>
            <a:lstStyle/>
            <a:p>
              <a:endParaRPr lang="en-US"/>
            </a:p>
          </p:txBody>
        </p:sp>
        <p:sp>
          <p:nvSpPr>
            <p:cNvPr id="951" name="Freeform: Shape 950">
              <a:extLst>
                <a:ext uri="{FF2B5EF4-FFF2-40B4-BE49-F238E27FC236}">
                  <a16:creationId xmlns:a16="http://schemas.microsoft.com/office/drawing/2014/main" id="{7E976450-9E23-4160-9587-34C4E71C6BCF}"/>
                </a:ext>
              </a:extLst>
            </p:cNvPr>
            <p:cNvSpPr/>
            <p:nvPr/>
          </p:nvSpPr>
          <p:spPr>
            <a:xfrm>
              <a:off x="11088529" y="6431300"/>
              <a:ext cx="12235" cy="13134"/>
            </a:xfrm>
            <a:custGeom>
              <a:avLst/>
              <a:gdLst>
                <a:gd name="connsiteX0" fmla="*/ 10538 w 12235"/>
                <a:gd name="connsiteY0" fmla="*/ 2666 h 13134"/>
                <a:gd name="connsiteX1" fmla="*/ 9776 w 12235"/>
                <a:gd name="connsiteY1" fmla="*/ 1524 h 13134"/>
                <a:gd name="connsiteX2" fmla="*/ 8761 w 12235"/>
                <a:gd name="connsiteY2" fmla="*/ 762 h 13134"/>
                <a:gd name="connsiteX3" fmla="*/ 7745 w 12235"/>
                <a:gd name="connsiteY3" fmla="*/ 0 h 13134"/>
                <a:gd name="connsiteX4" fmla="*/ 6348 w 12235"/>
                <a:gd name="connsiteY4" fmla="*/ 0 h 13134"/>
                <a:gd name="connsiteX5" fmla="*/ 5332 w 12235"/>
                <a:gd name="connsiteY5" fmla="*/ 0 h 13134"/>
                <a:gd name="connsiteX6" fmla="*/ 5332 w 12235"/>
                <a:gd name="connsiteY6" fmla="*/ 0 h 13134"/>
                <a:gd name="connsiteX7" fmla="*/ 3682 w 12235"/>
                <a:gd name="connsiteY7" fmla="*/ 0 h 13134"/>
                <a:gd name="connsiteX8" fmla="*/ 3682 w 12235"/>
                <a:gd name="connsiteY8" fmla="*/ 0 h 13134"/>
                <a:gd name="connsiteX9" fmla="*/ 1015 w 12235"/>
                <a:gd name="connsiteY9" fmla="*/ 1016 h 13134"/>
                <a:gd name="connsiteX10" fmla="*/ 3047 w 12235"/>
                <a:gd name="connsiteY10" fmla="*/ 5967 h 13134"/>
                <a:gd name="connsiteX11" fmla="*/ 0 w 12235"/>
                <a:gd name="connsiteY11" fmla="*/ 11427 h 13134"/>
                <a:gd name="connsiteX12" fmla="*/ 2539 w 12235"/>
                <a:gd name="connsiteY12" fmla="*/ 13078 h 13134"/>
                <a:gd name="connsiteX13" fmla="*/ 4189 w 12235"/>
                <a:gd name="connsiteY13" fmla="*/ 13078 h 13134"/>
                <a:gd name="connsiteX14" fmla="*/ 5332 w 12235"/>
                <a:gd name="connsiteY14" fmla="*/ 13078 h 13134"/>
                <a:gd name="connsiteX15" fmla="*/ 12188 w 12235"/>
                <a:gd name="connsiteY15" fmla="*/ 6729 h 13134"/>
                <a:gd name="connsiteX16" fmla="*/ 12188 w 12235"/>
                <a:gd name="connsiteY16" fmla="*/ 5079 h 13134"/>
                <a:gd name="connsiteX17" fmla="*/ 12188 w 12235"/>
                <a:gd name="connsiteY17" fmla="*/ 3809 h 13134"/>
                <a:gd name="connsiteX18" fmla="*/ 10538 w 12235"/>
                <a:gd name="connsiteY18" fmla="*/ 2666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5" h="13134">
                  <a:moveTo>
                    <a:pt x="10538" y="2666"/>
                  </a:moveTo>
                  <a:cubicBezTo>
                    <a:pt x="10335" y="2260"/>
                    <a:pt x="10068" y="1879"/>
                    <a:pt x="9776" y="1524"/>
                  </a:cubicBezTo>
                  <a:cubicBezTo>
                    <a:pt x="9497" y="1206"/>
                    <a:pt x="9154" y="940"/>
                    <a:pt x="8761" y="762"/>
                  </a:cubicBezTo>
                  <a:cubicBezTo>
                    <a:pt x="8493" y="432"/>
                    <a:pt x="8138" y="165"/>
                    <a:pt x="7745" y="0"/>
                  </a:cubicBezTo>
                  <a:lnTo>
                    <a:pt x="6348" y="0"/>
                  </a:lnTo>
                  <a:lnTo>
                    <a:pt x="5332" y="0"/>
                  </a:lnTo>
                  <a:lnTo>
                    <a:pt x="5332" y="0"/>
                  </a:lnTo>
                  <a:lnTo>
                    <a:pt x="3682" y="0"/>
                  </a:lnTo>
                  <a:lnTo>
                    <a:pt x="3682" y="0"/>
                  </a:lnTo>
                  <a:cubicBezTo>
                    <a:pt x="2729" y="127"/>
                    <a:pt x="1815" y="470"/>
                    <a:pt x="1015" y="1016"/>
                  </a:cubicBezTo>
                  <a:cubicBezTo>
                    <a:pt x="2349" y="2311"/>
                    <a:pt x="3085" y="4101"/>
                    <a:pt x="3047" y="5967"/>
                  </a:cubicBezTo>
                  <a:cubicBezTo>
                    <a:pt x="3009" y="8189"/>
                    <a:pt x="1866" y="10234"/>
                    <a:pt x="0" y="11427"/>
                  </a:cubicBezTo>
                  <a:cubicBezTo>
                    <a:pt x="685" y="12189"/>
                    <a:pt x="1562" y="12760"/>
                    <a:pt x="2539" y="13078"/>
                  </a:cubicBezTo>
                  <a:cubicBezTo>
                    <a:pt x="3085" y="13154"/>
                    <a:pt x="3644" y="13154"/>
                    <a:pt x="4189" y="13078"/>
                  </a:cubicBezTo>
                  <a:lnTo>
                    <a:pt x="5332" y="13078"/>
                  </a:lnTo>
                  <a:cubicBezTo>
                    <a:pt x="8900" y="13027"/>
                    <a:pt x="11858" y="10284"/>
                    <a:pt x="12188" y="6729"/>
                  </a:cubicBezTo>
                  <a:cubicBezTo>
                    <a:pt x="12252" y="6183"/>
                    <a:pt x="12252" y="5625"/>
                    <a:pt x="12188" y="5079"/>
                  </a:cubicBezTo>
                  <a:cubicBezTo>
                    <a:pt x="12252" y="4660"/>
                    <a:pt x="12252" y="4228"/>
                    <a:pt x="12188" y="3809"/>
                  </a:cubicBezTo>
                  <a:cubicBezTo>
                    <a:pt x="11770" y="3263"/>
                    <a:pt x="11198" y="2869"/>
                    <a:pt x="10538" y="2666"/>
                  </a:cubicBezTo>
                  <a:close/>
                </a:path>
              </a:pathLst>
            </a:custGeom>
            <a:solidFill>
              <a:srgbClr val="000000"/>
            </a:solidFill>
            <a:ln w="12690" cap="flat">
              <a:noFill/>
              <a:prstDash val="solid"/>
              <a:miter/>
            </a:ln>
          </p:spPr>
          <p:txBody>
            <a:bodyPr rtlCol="0" anchor="ctr"/>
            <a:lstStyle/>
            <a:p>
              <a:endParaRPr lang="en-US"/>
            </a:p>
          </p:txBody>
        </p:sp>
        <p:sp>
          <p:nvSpPr>
            <p:cNvPr id="952" name="Freeform: Shape 951">
              <a:extLst>
                <a:ext uri="{FF2B5EF4-FFF2-40B4-BE49-F238E27FC236}">
                  <a16:creationId xmlns:a16="http://schemas.microsoft.com/office/drawing/2014/main" id="{AB6BD1D0-5F42-463B-ADDA-5BE59F1D3893}"/>
                </a:ext>
              </a:extLst>
            </p:cNvPr>
            <p:cNvSpPr/>
            <p:nvPr/>
          </p:nvSpPr>
          <p:spPr>
            <a:xfrm>
              <a:off x="10048797" y="6438664"/>
              <a:ext cx="56" cy="1269"/>
            </a:xfrm>
            <a:custGeom>
              <a:avLst/>
              <a:gdLst>
                <a:gd name="connsiteX0" fmla="*/ 0 w 56"/>
                <a:gd name="connsiteY0" fmla="*/ 1270 h 1269"/>
                <a:gd name="connsiteX1" fmla="*/ 0 w 56"/>
                <a:gd name="connsiteY1" fmla="*/ 0 h 1269"/>
                <a:gd name="connsiteX2" fmla="*/ 0 w 56"/>
                <a:gd name="connsiteY2" fmla="*/ 0 h 1269"/>
                <a:gd name="connsiteX3" fmla="*/ 0 w 56"/>
                <a:gd name="connsiteY3" fmla="*/ 1270 h 1269"/>
              </a:gdLst>
              <a:ahLst/>
              <a:cxnLst>
                <a:cxn ang="0">
                  <a:pos x="connsiteX0" y="connsiteY0"/>
                </a:cxn>
                <a:cxn ang="0">
                  <a:pos x="connsiteX1" y="connsiteY1"/>
                </a:cxn>
                <a:cxn ang="0">
                  <a:pos x="connsiteX2" y="connsiteY2"/>
                </a:cxn>
                <a:cxn ang="0">
                  <a:pos x="connsiteX3" y="connsiteY3"/>
                </a:cxn>
              </a:cxnLst>
              <a:rect l="l" t="t" r="r" b="b"/>
              <a:pathLst>
                <a:path w="56" h="1269">
                  <a:moveTo>
                    <a:pt x="0" y="1270"/>
                  </a:moveTo>
                  <a:cubicBezTo>
                    <a:pt x="0" y="1270"/>
                    <a:pt x="0" y="381"/>
                    <a:pt x="0" y="0"/>
                  </a:cubicBezTo>
                  <a:lnTo>
                    <a:pt x="0" y="0"/>
                  </a:lnTo>
                  <a:cubicBezTo>
                    <a:pt x="0" y="0"/>
                    <a:pt x="127" y="762"/>
                    <a:pt x="0" y="1270"/>
                  </a:cubicBezTo>
                  <a:close/>
                </a:path>
              </a:pathLst>
            </a:custGeom>
            <a:solidFill>
              <a:srgbClr val="000000"/>
            </a:solidFill>
            <a:ln w="12690" cap="flat">
              <a:noFill/>
              <a:prstDash val="solid"/>
              <a:miter/>
            </a:ln>
          </p:spPr>
          <p:txBody>
            <a:bodyPr rtlCol="0" anchor="ctr"/>
            <a:lstStyle/>
            <a:p>
              <a:endParaRPr lang="en-US"/>
            </a:p>
          </p:txBody>
        </p:sp>
        <p:sp>
          <p:nvSpPr>
            <p:cNvPr id="953" name="Freeform: Shape 952">
              <a:extLst>
                <a:ext uri="{FF2B5EF4-FFF2-40B4-BE49-F238E27FC236}">
                  <a16:creationId xmlns:a16="http://schemas.microsoft.com/office/drawing/2014/main" id="{A40AAF4B-2F8F-4F92-B089-C95C3EE323A6}"/>
                </a:ext>
              </a:extLst>
            </p:cNvPr>
            <p:cNvSpPr/>
            <p:nvPr/>
          </p:nvSpPr>
          <p:spPr>
            <a:xfrm>
              <a:off x="10040036" y="6443997"/>
              <a:ext cx="4190" cy="57"/>
            </a:xfrm>
            <a:custGeom>
              <a:avLst/>
              <a:gdLst>
                <a:gd name="connsiteX0" fmla="*/ 889 w 4190"/>
                <a:gd name="connsiteY0" fmla="*/ 0 h 57"/>
                <a:gd name="connsiteX1" fmla="*/ 0 w 4190"/>
                <a:gd name="connsiteY1" fmla="*/ 0 h 57"/>
                <a:gd name="connsiteX2" fmla="*/ 1651 w 4190"/>
                <a:gd name="connsiteY2" fmla="*/ 0 h 57"/>
                <a:gd name="connsiteX3" fmla="*/ 3047 w 4190"/>
                <a:gd name="connsiteY3" fmla="*/ 0 h 57"/>
                <a:gd name="connsiteX4" fmla="*/ 4190 w 4190"/>
                <a:gd name="connsiteY4" fmla="*/ 0 h 57"/>
                <a:gd name="connsiteX5" fmla="*/ 2539 w 4190"/>
                <a:gd name="connsiteY5" fmla="*/ 0 h 57"/>
                <a:gd name="connsiteX6" fmla="*/ 889 w 4190"/>
                <a:gd name="connsiteY6" fmla="*/ 0 h 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 h="57">
                  <a:moveTo>
                    <a:pt x="889" y="0"/>
                  </a:moveTo>
                  <a:lnTo>
                    <a:pt x="0" y="0"/>
                  </a:lnTo>
                  <a:lnTo>
                    <a:pt x="1651" y="0"/>
                  </a:lnTo>
                  <a:lnTo>
                    <a:pt x="3047" y="0"/>
                  </a:lnTo>
                  <a:lnTo>
                    <a:pt x="4190" y="0"/>
                  </a:lnTo>
                  <a:cubicBezTo>
                    <a:pt x="3644" y="76"/>
                    <a:pt x="3085" y="76"/>
                    <a:pt x="2539" y="0"/>
                  </a:cubicBezTo>
                  <a:cubicBezTo>
                    <a:pt x="1993" y="76"/>
                    <a:pt x="1434" y="76"/>
                    <a:pt x="889" y="0"/>
                  </a:cubicBezTo>
                  <a:close/>
                </a:path>
              </a:pathLst>
            </a:custGeom>
            <a:solidFill>
              <a:srgbClr val="000000"/>
            </a:solidFill>
            <a:ln w="12690" cap="flat">
              <a:noFill/>
              <a:prstDash val="solid"/>
              <a:miter/>
            </a:ln>
          </p:spPr>
          <p:txBody>
            <a:bodyPr rtlCol="0" anchor="ctr"/>
            <a:lstStyle/>
            <a:p>
              <a:endParaRPr lang="en-US"/>
            </a:p>
          </p:txBody>
        </p:sp>
        <p:sp>
          <p:nvSpPr>
            <p:cNvPr id="954" name="Freeform: Shape 953">
              <a:extLst>
                <a:ext uri="{FF2B5EF4-FFF2-40B4-BE49-F238E27FC236}">
                  <a16:creationId xmlns:a16="http://schemas.microsoft.com/office/drawing/2014/main" id="{DC138012-82A5-4A21-A1E1-5E2EF72E333F}"/>
                </a:ext>
              </a:extLst>
            </p:cNvPr>
            <p:cNvSpPr/>
            <p:nvPr/>
          </p:nvSpPr>
          <p:spPr>
            <a:xfrm>
              <a:off x="11796116" y="6504942"/>
              <a:ext cx="13838" cy="359571"/>
            </a:xfrm>
            <a:custGeom>
              <a:avLst/>
              <a:gdLst>
                <a:gd name="connsiteX0" fmla="*/ 6983 w 13838"/>
                <a:gd name="connsiteY0" fmla="*/ 6729 h 359571"/>
                <a:gd name="connsiteX1" fmla="*/ 0 w 13838"/>
                <a:gd name="connsiteY1" fmla="*/ 0 h 359571"/>
                <a:gd name="connsiteX2" fmla="*/ 0 w 13838"/>
                <a:gd name="connsiteY2" fmla="*/ 0 h 359571"/>
                <a:gd name="connsiteX3" fmla="*/ 0 w 13838"/>
                <a:gd name="connsiteY3" fmla="*/ 359572 h 359571"/>
                <a:gd name="connsiteX4" fmla="*/ 13839 w 13838"/>
                <a:gd name="connsiteY4" fmla="*/ 359572 h 359571"/>
                <a:gd name="connsiteX5" fmla="*/ 13839 w 13838"/>
                <a:gd name="connsiteY5" fmla="*/ 6729 h 35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359571">
                  <a:moveTo>
                    <a:pt x="6983" y="6729"/>
                  </a:moveTo>
                  <a:cubicBezTo>
                    <a:pt x="3200" y="6805"/>
                    <a:pt x="76" y="3784"/>
                    <a:pt x="0" y="0"/>
                  </a:cubicBezTo>
                  <a:cubicBezTo>
                    <a:pt x="0" y="0"/>
                    <a:pt x="0" y="0"/>
                    <a:pt x="0" y="0"/>
                  </a:cubicBezTo>
                  <a:lnTo>
                    <a:pt x="0" y="359572"/>
                  </a:lnTo>
                  <a:lnTo>
                    <a:pt x="13839" y="359572"/>
                  </a:lnTo>
                  <a:lnTo>
                    <a:pt x="13839" y="6729"/>
                  </a:lnTo>
                  <a:close/>
                </a:path>
              </a:pathLst>
            </a:custGeom>
            <a:solidFill>
              <a:srgbClr val="000000"/>
            </a:solidFill>
            <a:ln w="12690" cap="flat">
              <a:noFill/>
              <a:prstDash val="solid"/>
              <a:miter/>
            </a:ln>
          </p:spPr>
          <p:txBody>
            <a:bodyPr rtlCol="0" anchor="ctr"/>
            <a:lstStyle/>
            <a:p>
              <a:endParaRPr lang="en-US"/>
            </a:p>
          </p:txBody>
        </p:sp>
        <p:sp>
          <p:nvSpPr>
            <p:cNvPr id="955" name="Freeform: Shape 954">
              <a:extLst>
                <a:ext uri="{FF2B5EF4-FFF2-40B4-BE49-F238E27FC236}">
                  <a16:creationId xmlns:a16="http://schemas.microsoft.com/office/drawing/2014/main" id="{8E88F667-05F7-4F0C-9D8B-AB728815A081}"/>
                </a:ext>
              </a:extLst>
            </p:cNvPr>
            <p:cNvSpPr/>
            <p:nvPr/>
          </p:nvSpPr>
          <p:spPr>
            <a:xfrm>
              <a:off x="11796280" y="6497958"/>
              <a:ext cx="346328" cy="13585"/>
            </a:xfrm>
            <a:custGeom>
              <a:avLst/>
              <a:gdLst>
                <a:gd name="connsiteX0" fmla="*/ 339472 w 346328"/>
                <a:gd name="connsiteY0" fmla="*/ 6983 h 13585"/>
                <a:gd name="connsiteX1" fmla="*/ 346201 w 346328"/>
                <a:gd name="connsiteY1" fmla="*/ 0 h 13585"/>
                <a:gd name="connsiteX2" fmla="*/ 346328 w 346328"/>
                <a:gd name="connsiteY2" fmla="*/ 0 h 13585"/>
                <a:gd name="connsiteX3" fmla="*/ 6819 w 346328"/>
                <a:gd name="connsiteY3" fmla="*/ 0 h 13585"/>
                <a:gd name="connsiteX4" fmla="*/ 5549 w 346328"/>
                <a:gd name="connsiteY4" fmla="*/ 0 h 13585"/>
                <a:gd name="connsiteX5" fmla="*/ 128 w 346328"/>
                <a:gd name="connsiteY5" fmla="*/ 8037 h 13585"/>
                <a:gd name="connsiteX6" fmla="*/ 6819 w 346328"/>
                <a:gd name="connsiteY6" fmla="*/ 13586 h 13585"/>
                <a:gd name="connsiteX7" fmla="*/ 346328 w 346328"/>
                <a:gd name="connsiteY7" fmla="*/ 13586 h 13585"/>
                <a:gd name="connsiteX8" fmla="*/ 339472 w 346328"/>
                <a:gd name="connsiteY8" fmla="*/ 6983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328" h="13585">
                  <a:moveTo>
                    <a:pt x="339472" y="6983"/>
                  </a:moveTo>
                  <a:cubicBezTo>
                    <a:pt x="339409" y="3200"/>
                    <a:pt x="342418" y="76"/>
                    <a:pt x="346201" y="0"/>
                  </a:cubicBezTo>
                  <a:cubicBezTo>
                    <a:pt x="346240" y="0"/>
                    <a:pt x="346290" y="0"/>
                    <a:pt x="346328" y="0"/>
                  </a:cubicBezTo>
                  <a:lnTo>
                    <a:pt x="6819" y="0"/>
                  </a:lnTo>
                  <a:lnTo>
                    <a:pt x="5549" y="0"/>
                  </a:lnTo>
                  <a:cubicBezTo>
                    <a:pt x="1829" y="724"/>
                    <a:pt x="-596" y="4330"/>
                    <a:pt x="128" y="8037"/>
                  </a:cubicBezTo>
                  <a:cubicBezTo>
                    <a:pt x="762" y="11249"/>
                    <a:pt x="3555" y="13560"/>
                    <a:pt x="6819" y="13586"/>
                  </a:cubicBezTo>
                  <a:lnTo>
                    <a:pt x="346328" y="13586"/>
                  </a:lnTo>
                  <a:cubicBezTo>
                    <a:pt x="342633" y="13586"/>
                    <a:pt x="339612" y="10665"/>
                    <a:pt x="339472" y="6983"/>
                  </a:cubicBezTo>
                  <a:close/>
                </a:path>
              </a:pathLst>
            </a:custGeom>
            <a:solidFill>
              <a:srgbClr val="000000"/>
            </a:solidFill>
            <a:ln w="12690" cap="flat">
              <a:noFill/>
              <a:prstDash val="solid"/>
              <a:miter/>
            </a:ln>
          </p:spPr>
          <p:txBody>
            <a:bodyPr rtlCol="0" anchor="ctr"/>
            <a:lstStyle/>
            <a:p>
              <a:endParaRPr lang="en-US"/>
            </a:p>
          </p:txBody>
        </p:sp>
        <p:sp>
          <p:nvSpPr>
            <p:cNvPr id="956" name="Freeform: Shape 955">
              <a:extLst>
                <a:ext uri="{FF2B5EF4-FFF2-40B4-BE49-F238E27FC236}">
                  <a16:creationId xmlns:a16="http://schemas.microsoft.com/office/drawing/2014/main" id="{786445B6-CCF5-472A-9205-23889070344C}"/>
                </a:ext>
              </a:extLst>
            </p:cNvPr>
            <p:cNvSpPr/>
            <p:nvPr/>
          </p:nvSpPr>
          <p:spPr>
            <a:xfrm>
              <a:off x="12135752" y="6497958"/>
              <a:ext cx="39613" cy="13839"/>
            </a:xfrm>
            <a:custGeom>
              <a:avLst/>
              <a:gdLst>
                <a:gd name="connsiteX0" fmla="*/ 0 w 39613"/>
                <a:gd name="connsiteY0" fmla="*/ 6983 h 13839"/>
                <a:gd name="connsiteX1" fmla="*/ 6856 w 39613"/>
                <a:gd name="connsiteY1" fmla="*/ 13839 h 13839"/>
                <a:gd name="connsiteX2" fmla="*/ 39614 w 39613"/>
                <a:gd name="connsiteY2" fmla="*/ 13839 h 13839"/>
                <a:gd name="connsiteX3" fmla="*/ 39614 w 39613"/>
                <a:gd name="connsiteY3" fmla="*/ 0 h 13839"/>
                <a:gd name="connsiteX4" fmla="*/ 6856 w 39613"/>
                <a:gd name="connsiteY4" fmla="*/ 0 h 13839"/>
                <a:gd name="connsiteX5" fmla="*/ 0 w 39613"/>
                <a:gd name="connsiteY5" fmla="*/ 6856 h 13839"/>
                <a:gd name="connsiteX6" fmla="*/ 0 w 3961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13" h="13839">
                  <a:moveTo>
                    <a:pt x="0" y="6983"/>
                  </a:moveTo>
                  <a:cubicBezTo>
                    <a:pt x="0" y="10767"/>
                    <a:pt x="3073" y="13839"/>
                    <a:pt x="6856" y="13839"/>
                  </a:cubicBezTo>
                  <a:lnTo>
                    <a:pt x="39614" y="13839"/>
                  </a:lnTo>
                  <a:lnTo>
                    <a:pt x="39614" y="0"/>
                  </a:lnTo>
                  <a:lnTo>
                    <a:pt x="6856" y="0"/>
                  </a:lnTo>
                  <a:cubicBezTo>
                    <a:pt x="3073" y="0"/>
                    <a:pt x="0" y="3073"/>
                    <a:pt x="0" y="6856"/>
                  </a:cubicBezTo>
                  <a:cubicBezTo>
                    <a:pt x="0" y="6894"/>
                    <a:pt x="0" y="6945"/>
                    <a:pt x="0" y="6983"/>
                  </a:cubicBezTo>
                  <a:close/>
                </a:path>
              </a:pathLst>
            </a:custGeom>
            <a:solidFill>
              <a:srgbClr val="000000"/>
            </a:solidFill>
            <a:ln w="12690" cap="flat">
              <a:noFill/>
              <a:prstDash val="solid"/>
              <a:miter/>
            </a:ln>
          </p:spPr>
          <p:txBody>
            <a:bodyPr rtlCol="0" anchor="ctr"/>
            <a:lstStyle/>
            <a:p>
              <a:endParaRPr lang="en-US"/>
            </a:p>
          </p:txBody>
        </p:sp>
        <p:sp>
          <p:nvSpPr>
            <p:cNvPr id="957" name="Freeform: Shape 956">
              <a:extLst>
                <a:ext uri="{FF2B5EF4-FFF2-40B4-BE49-F238E27FC236}">
                  <a16:creationId xmlns:a16="http://schemas.microsoft.com/office/drawing/2014/main" id="{8FA48DA6-84FC-4322-8F05-1F535D1B4F4A}"/>
                </a:ext>
              </a:extLst>
            </p:cNvPr>
            <p:cNvSpPr/>
            <p:nvPr/>
          </p:nvSpPr>
          <p:spPr>
            <a:xfrm>
              <a:off x="9409265" y="5604488"/>
              <a:ext cx="105509" cy="13839"/>
            </a:xfrm>
            <a:custGeom>
              <a:avLst/>
              <a:gdLst>
                <a:gd name="connsiteX0" fmla="*/ 6856 w 105509"/>
                <a:gd name="connsiteY0" fmla="*/ 13839 h 13839"/>
                <a:gd name="connsiteX1" fmla="*/ 105509 w 105509"/>
                <a:gd name="connsiteY1" fmla="*/ 13839 h 13839"/>
                <a:gd name="connsiteX2" fmla="*/ 98653 w 105509"/>
                <a:gd name="connsiteY2" fmla="*/ 6983 h 13839"/>
                <a:gd name="connsiteX3" fmla="*/ 105509 w 105509"/>
                <a:gd name="connsiteY3" fmla="*/ 0 h 13839"/>
                <a:gd name="connsiteX4" fmla="*/ 6856 w 105509"/>
                <a:gd name="connsiteY4" fmla="*/ 0 h 13839"/>
                <a:gd name="connsiteX5" fmla="*/ 0 w 105509"/>
                <a:gd name="connsiteY5" fmla="*/ 6983 h 13839"/>
                <a:gd name="connsiteX6" fmla="*/ 6856 w 105509"/>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09" h="13839">
                  <a:moveTo>
                    <a:pt x="6856" y="13839"/>
                  </a:moveTo>
                  <a:lnTo>
                    <a:pt x="105509" y="13839"/>
                  </a:lnTo>
                  <a:cubicBezTo>
                    <a:pt x="101725" y="13839"/>
                    <a:pt x="98653" y="10769"/>
                    <a:pt x="98653" y="6983"/>
                  </a:cubicBezTo>
                  <a:cubicBezTo>
                    <a:pt x="98653" y="3175"/>
                    <a:pt x="101701" y="68"/>
                    <a:pt x="105509" y="0"/>
                  </a:cubicBezTo>
                  <a:lnTo>
                    <a:pt x="6856" y="0"/>
                  </a:lnTo>
                  <a:cubicBezTo>
                    <a:pt x="3047" y="70"/>
                    <a:pt x="0" y="3175"/>
                    <a:pt x="0" y="6983"/>
                  </a:cubicBezTo>
                  <a:cubicBezTo>
                    <a:pt x="0" y="10769"/>
                    <a:pt x="3073" y="13839"/>
                    <a:pt x="6856" y="13839"/>
                  </a:cubicBezTo>
                  <a:close/>
                </a:path>
              </a:pathLst>
            </a:custGeom>
            <a:solidFill>
              <a:srgbClr val="000000"/>
            </a:solidFill>
            <a:ln w="12690" cap="flat">
              <a:noFill/>
              <a:prstDash val="solid"/>
              <a:miter/>
            </a:ln>
          </p:spPr>
          <p:txBody>
            <a:bodyPr rtlCol="0" anchor="ctr"/>
            <a:lstStyle/>
            <a:p>
              <a:endParaRPr lang="en-US"/>
            </a:p>
          </p:txBody>
        </p:sp>
        <p:sp>
          <p:nvSpPr>
            <p:cNvPr id="958" name="Freeform: Shape 957">
              <a:extLst>
                <a:ext uri="{FF2B5EF4-FFF2-40B4-BE49-F238E27FC236}">
                  <a16:creationId xmlns:a16="http://schemas.microsoft.com/office/drawing/2014/main" id="{A31AC52A-B5CD-4A32-923D-FF6CF1438456}"/>
                </a:ext>
              </a:extLst>
            </p:cNvPr>
            <p:cNvSpPr/>
            <p:nvPr/>
          </p:nvSpPr>
          <p:spPr>
            <a:xfrm>
              <a:off x="9458624" y="5975360"/>
              <a:ext cx="13869" cy="118714"/>
            </a:xfrm>
            <a:custGeom>
              <a:avLst/>
              <a:gdLst>
                <a:gd name="connsiteX0" fmla="*/ 7014 w 13869"/>
                <a:gd name="connsiteY0" fmla="*/ 111097 h 118714"/>
                <a:gd name="connsiteX1" fmla="*/ 13870 w 13869"/>
                <a:gd name="connsiteY1" fmla="*/ 118080 h 118714"/>
                <a:gd name="connsiteX2" fmla="*/ 13870 w 13869"/>
                <a:gd name="connsiteY2" fmla="*/ 6856 h 118714"/>
                <a:gd name="connsiteX3" fmla="*/ 7014 w 13869"/>
                <a:gd name="connsiteY3" fmla="*/ 0 h 118714"/>
                <a:gd name="connsiteX4" fmla="*/ 30 w 13869"/>
                <a:gd name="connsiteY4" fmla="*/ 6856 h 118714"/>
                <a:gd name="connsiteX5" fmla="*/ 30 w 13869"/>
                <a:gd name="connsiteY5" fmla="*/ 118715 h 118714"/>
                <a:gd name="connsiteX6" fmla="*/ 6354 w 13869"/>
                <a:gd name="connsiteY6" fmla="*/ 111122 h 118714"/>
                <a:gd name="connsiteX7" fmla="*/ 7014 w 13869"/>
                <a:gd name="connsiteY7" fmla="*/ 111097 h 11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69" h="118714">
                  <a:moveTo>
                    <a:pt x="7014" y="111097"/>
                  </a:moveTo>
                  <a:cubicBezTo>
                    <a:pt x="10823" y="111160"/>
                    <a:pt x="13870" y="114271"/>
                    <a:pt x="13870" y="118080"/>
                  </a:cubicBezTo>
                  <a:lnTo>
                    <a:pt x="13870" y="6856"/>
                  </a:lnTo>
                  <a:cubicBezTo>
                    <a:pt x="13870" y="3070"/>
                    <a:pt x="10797" y="0"/>
                    <a:pt x="7014" y="0"/>
                  </a:cubicBezTo>
                  <a:cubicBezTo>
                    <a:pt x="3204" y="0"/>
                    <a:pt x="94" y="3050"/>
                    <a:pt x="30" y="6856"/>
                  </a:cubicBezTo>
                  <a:lnTo>
                    <a:pt x="30" y="118715"/>
                  </a:lnTo>
                  <a:cubicBezTo>
                    <a:pt x="-325" y="114880"/>
                    <a:pt x="2506" y="111477"/>
                    <a:pt x="6354" y="111122"/>
                  </a:cubicBezTo>
                  <a:cubicBezTo>
                    <a:pt x="6569" y="111109"/>
                    <a:pt x="6798" y="111097"/>
                    <a:pt x="7014" y="111097"/>
                  </a:cubicBezTo>
                  <a:close/>
                </a:path>
              </a:pathLst>
            </a:custGeom>
            <a:solidFill>
              <a:srgbClr val="000000"/>
            </a:solidFill>
            <a:ln w="12690" cap="flat">
              <a:noFill/>
              <a:prstDash val="solid"/>
              <a:miter/>
            </a:ln>
          </p:spPr>
          <p:txBody>
            <a:bodyPr rtlCol="0" anchor="ctr"/>
            <a:lstStyle/>
            <a:p>
              <a:endParaRPr lang="en-US"/>
            </a:p>
          </p:txBody>
        </p:sp>
        <p:sp>
          <p:nvSpPr>
            <p:cNvPr id="959" name="Freeform: Shape 958">
              <a:extLst>
                <a:ext uri="{FF2B5EF4-FFF2-40B4-BE49-F238E27FC236}">
                  <a16:creationId xmlns:a16="http://schemas.microsoft.com/office/drawing/2014/main" id="{1BA8DEB0-B505-4309-A792-28A98AFECE0B}"/>
                </a:ext>
              </a:extLst>
            </p:cNvPr>
            <p:cNvSpPr/>
            <p:nvPr/>
          </p:nvSpPr>
          <p:spPr>
            <a:xfrm>
              <a:off x="9458654" y="6087091"/>
              <a:ext cx="13839" cy="342304"/>
            </a:xfrm>
            <a:custGeom>
              <a:avLst/>
              <a:gdLst>
                <a:gd name="connsiteX0" fmla="*/ 13840 w 13839"/>
                <a:gd name="connsiteY0" fmla="*/ 341670 h 342304"/>
                <a:gd name="connsiteX1" fmla="*/ 13840 w 13839"/>
                <a:gd name="connsiteY1" fmla="*/ 6983 h 342304"/>
                <a:gd name="connsiteX2" fmla="*/ 6984 w 13839"/>
                <a:gd name="connsiteY2" fmla="*/ 0 h 342304"/>
                <a:gd name="connsiteX3" fmla="*/ 0 w 13839"/>
                <a:gd name="connsiteY3" fmla="*/ 6983 h 342304"/>
                <a:gd name="connsiteX4" fmla="*/ 0 w 13839"/>
                <a:gd name="connsiteY4" fmla="*/ 342305 h 342304"/>
                <a:gd name="connsiteX5" fmla="*/ 13840 w 13839"/>
                <a:gd name="connsiteY5" fmla="*/ 342305 h 3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42304">
                  <a:moveTo>
                    <a:pt x="13840" y="341670"/>
                  </a:moveTo>
                  <a:lnTo>
                    <a:pt x="13840" y="6983"/>
                  </a:lnTo>
                  <a:cubicBezTo>
                    <a:pt x="13840" y="3174"/>
                    <a:pt x="10793" y="64"/>
                    <a:pt x="6984" y="0"/>
                  </a:cubicBezTo>
                  <a:cubicBezTo>
                    <a:pt x="3124" y="0"/>
                    <a:pt x="0" y="3123"/>
                    <a:pt x="0" y="6983"/>
                  </a:cubicBezTo>
                  <a:lnTo>
                    <a:pt x="0" y="342305"/>
                  </a:lnTo>
                  <a:lnTo>
                    <a:pt x="13840" y="342305"/>
                  </a:lnTo>
                  <a:close/>
                </a:path>
              </a:pathLst>
            </a:custGeom>
            <a:solidFill>
              <a:srgbClr val="000000"/>
            </a:solidFill>
            <a:ln w="12690" cap="flat">
              <a:noFill/>
              <a:prstDash val="solid"/>
              <a:miter/>
            </a:ln>
          </p:spPr>
          <p:txBody>
            <a:bodyPr rtlCol="0" anchor="ctr"/>
            <a:lstStyle/>
            <a:p>
              <a:endParaRPr lang="en-US"/>
            </a:p>
          </p:txBody>
        </p:sp>
        <p:sp>
          <p:nvSpPr>
            <p:cNvPr id="960" name="Freeform: Shape 959">
              <a:extLst>
                <a:ext uri="{FF2B5EF4-FFF2-40B4-BE49-F238E27FC236}">
                  <a16:creationId xmlns:a16="http://schemas.microsoft.com/office/drawing/2014/main" id="{8C891196-44FF-4E6F-BA93-E62275489236}"/>
                </a:ext>
              </a:extLst>
            </p:cNvPr>
            <p:cNvSpPr/>
            <p:nvPr/>
          </p:nvSpPr>
          <p:spPr>
            <a:xfrm>
              <a:off x="12175366" y="6503037"/>
              <a:ext cx="12696" cy="1904"/>
            </a:xfrm>
            <a:custGeom>
              <a:avLst/>
              <a:gdLst>
                <a:gd name="connsiteX0" fmla="*/ 0 w 12696"/>
                <a:gd name="connsiteY0" fmla="*/ 1904 h 1904"/>
                <a:gd name="connsiteX1" fmla="*/ 0 w 12696"/>
                <a:gd name="connsiteY1" fmla="*/ 889 h 1904"/>
                <a:gd name="connsiteX2" fmla="*/ 0 w 12696"/>
                <a:gd name="connsiteY2" fmla="*/ 0 h 1904"/>
              </a:gdLst>
              <a:ahLst/>
              <a:cxnLst>
                <a:cxn ang="0">
                  <a:pos x="connsiteX0" y="connsiteY0"/>
                </a:cxn>
                <a:cxn ang="0">
                  <a:pos x="connsiteX1" y="connsiteY1"/>
                </a:cxn>
                <a:cxn ang="0">
                  <a:pos x="connsiteX2" y="connsiteY2"/>
                </a:cxn>
              </a:cxnLst>
              <a:rect l="l" t="t" r="r" b="b"/>
              <a:pathLst>
                <a:path w="12696" h="1904">
                  <a:moveTo>
                    <a:pt x="0" y="1904"/>
                  </a:moveTo>
                  <a:cubicBezTo>
                    <a:pt x="0" y="1904"/>
                    <a:pt x="0" y="1270"/>
                    <a:pt x="0" y="889"/>
                  </a:cubicBezTo>
                  <a:cubicBezTo>
                    <a:pt x="0" y="508"/>
                    <a:pt x="0" y="889"/>
                    <a:pt x="0" y="0"/>
                  </a:cubicBezTo>
                  <a:close/>
                </a:path>
              </a:pathLst>
            </a:custGeom>
            <a:solidFill>
              <a:srgbClr val="000000"/>
            </a:solidFill>
            <a:ln w="12690" cap="flat">
              <a:noFill/>
              <a:prstDash val="solid"/>
              <a:miter/>
            </a:ln>
          </p:spPr>
          <p:txBody>
            <a:bodyPr rtlCol="0" anchor="ctr"/>
            <a:lstStyle/>
            <a:p>
              <a:endParaRPr lang="en-US"/>
            </a:p>
          </p:txBody>
        </p:sp>
        <p:sp>
          <p:nvSpPr>
            <p:cNvPr id="961" name="Freeform: Shape 960">
              <a:extLst>
                <a:ext uri="{FF2B5EF4-FFF2-40B4-BE49-F238E27FC236}">
                  <a16:creationId xmlns:a16="http://schemas.microsoft.com/office/drawing/2014/main" id="{CB560F09-C581-4F56-B297-981FDD11D038}"/>
                </a:ext>
              </a:extLst>
            </p:cNvPr>
            <p:cNvSpPr/>
            <p:nvPr/>
          </p:nvSpPr>
          <p:spPr>
            <a:xfrm>
              <a:off x="9305913" y="6436887"/>
              <a:ext cx="106017" cy="13458"/>
            </a:xfrm>
            <a:custGeom>
              <a:avLst/>
              <a:gdLst>
                <a:gd name="connsiteX0" fmla="*/ 6983 w 106017"/>
                <a:gd name="connsiteY0" fmla="*/ 6602 h 13458"/>
                <a:gd name="connsiteX1" fmla="*/ 0 w 106017"/>
                <a:gd name="connsiteY1" fmla="*/ 13459 h 13458"/>
                <a:gd name="connsiteX2" fmla="*/ 106017 w 106017"/>
                <a:gd name="connsiteY2" fmla="*/ 13459 h 13458"/>
                <a:gd name="connsiteX3" fmla="*/ 103351 w 106017"/>
                <a:gd name="connsiteY3" fmla="*/ 8126 h 13458"/>
                <a:gd name="connsiteX4" fmla="*/ 103351 w 106017"/>
                <a:gd name="connsiteY4" fmla="*/ 0 h 13458"/>
                <a:gd name="connsiteX5" fmla="*/ 0 w 106017"/>
                <a:gd name="connsiteY5" fmla="*/ 0 h 13458"/>
                <a:gd name="connsiteX6" fmla="*/ 6983 w 106017"/>
                <a:gd name="connsiteY6" fmla="*/ 6602 h 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17" h="13458">
                  <a:moveTo>
                    <a:pt x="6983" y="6602"/>
                  </a:moveTo>
                  <a:cubicBezTo>
                    <a:pt x="6919" y="10411"/>
                    <a:pt x="3809" y="13459"/>
                    <a:pt x="0" y="13459"/>
                  </a:cubicBezTo>
                  <a:lnTo>
                    <a:pt x="106017" y="13459"/>
                  </a:lnTo>
                  <a:cubicBezTo>
                    <a:pt x="104392" y="12163"/>
                    <a:pt x="103415" y="10208"/>
                    <a:pt x="103351" y="8126"/>
                  </a:cubicBezTo>
                  <a:lnTo>
                    <a:pt x="103351" y="0"/>
                  </a:lnTo>
                  <a:lnTo>
                    <a:pt x="0" y="0"/>
                  </a:lnTo>
                  <a:cubicBezTo>
                    <a:pt x="3707" y="0"/>
                    <a:pt x="6780" y="2895"/>
                    <a:pt x="6983" y="6602"/>
                  </a:cubicBezTo>
                  <a:close/>
                </a:path>
              </a:pathLst>
            </a:custGeom>
            <a:solidFill>
              <a:srgbClr val="000000"/>
            </a:solidFill>
            <a:ln w="12690" cap="flat">
              <a:noFill/>
              <a:prstDash val="solid"/>
              <a:miter/>
            </a:ln>
          </p:spPr>
          <p:txBody>
            <a:bodyPr rtlCol="0" anchor="ctr"/>
            <a:lstStyle/>
            <a:p>
              <a:endParaRPr lang="en-US"/>
            </a:p>
          </p:txBody>
        </p:sp>
        <p:sp>
          <p:nvSpPr>
            <p:cNvPr id="962" name="Freeform: Shape 961">
              <a:extLst>
                <a:ext uri="{FF2B5EF4-FFF2-40B4-BE49-F238E27FC236}">
                  <a16:creationId xmlns:a16="http://schemas.microsoft.com/office/drawing/2014/main" id="{1BB276E1-0F54-4F2F-A387-A924F7C051ED}"/>
                </a:ext>
              </a:extLst>
            </p:cNvPr>
            <p:cNvSpPr/>
            <p:nvPr/>
          </p:nvSpPr>
          <p:spPr>
            <a:xfrm>
              <a:off x="8867792" y="6444886"/>
              <a:ext cx="13925" cy="8252"/>
            </a:xfrm>
            <a:custGeom>
              <a:avLst/>
              <a:gdLst>
                <a:gd name="connsiteX0" fmla="*/ 13925 w 13925"/>
                <a:gd name="connsiteY0" fmla="*/ 1270 h 8252"/>
                <a:gd name="connsiteX1" fmla="*/ 13925 w 13925"/>
                <a:gd name="connsiteY1" fmla="*/ 0 h 8252"/>
                <a:gd name="connsiteX2" fmla="*/ 13925 w 13925"/>
                <a:gd name="connsiteY2" fmla="*/ 0 h 8252"/>
                <a:gd name="connsiteX3" fmla="*/ 6941 w 13925"/>
                <a:gd name="connsiteY3" fmla="*/ 6856 h 8252"/>
                <a:gd name="connsiteX4" fmla="*/ 85 w 13925"/>
                <a:gd name="connsiteY4" fmla="*/ 0 h 8252"/>
                <a:gd name="connsiteX5" fmla="*/ 85 w 13925"/>
                <a:gd name="connsiteY5" fmla="*/ 1397 h 8252"/>
                <a:gd name="connsiteX6" fmla="*/ 85 w 13925"/>
                <a:gd name="connsiteY6" fmla="*/ 3174 h 8252"/>
                <a:gd name="connsiteX7" fmla="*/ 6561 w 13925"/>
                <a:gd name="connsiteY7" fmla="*/ 8253 h 8252"/>
                <a:gd name="connsiteX8" fmla="*/ 13163 w 13925"/>
                <a:gd name="connsiteY8" fmla="*/ 3174 h 8252"/>
                <a:gd name="connsiteX9" fmla="*/ 13163 w 13925"/>
                <a:gd name="connsiteY9" fmla="*/ 3174 h 8252"/>
                <a:gd name="connsiteX10" fmla="*/ 13925 w 13925"/>
                <a:gd name="connsiteY10" fmla="*/ 1270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25" h="8252">
                  <a:moveTo>
                    <a:pt x="13925" y="1270"/>
                  </a:moveTo>
                  <a:lnTo>
                    <a:pt x="13925" y="0"/>
                  </a:lnTo>
                  <a:lnTo>
                    <a:pt x="13925" y="0"/>
                  </a:lnTo>
                  <a:cubicBezTo>
                    <a:pt x="13862" y="3809"/>
                    <a:pt x="10751" y="6856"/>
                    <a:pt x="6941" y="6856"/>
                  </a:cubicBezTo>
                  <a:cubicBezTo>
                    <a:pt x="3158" y="6856"/>
                    <a:pt x="85" y="3783"/>
                    <a:pt x="85" y="0"/>
                  </a:cubicBezTo>
                  <a:lnTo>
                    <a:pt x="85" y="1397"/>
                  </a:lnTo>
                  <a:cubicBezTo>
                    <a:pt x="-28" y="1981"/>
                    <a:pt x="-28" y="2590"/>
                    <a:pt x="85" y="3174"/>
                  </a:cubicBezTo>
                  <a:cubicBezTo>
                    <a:pt x="835" y="6145"/>
                    <a:pt x="3501" y="8227"/>
                    <a:pt x="6561" y="8253"/>
                  </a:cubicBezTo>
                  <a:cubicBezTo>
                    <a:pt x="9658" y="8240"/>
                    <a:pt x="12363" y="6158"/>
                    <a:pt x="13163" y="3174"/>
                  </a:cubicBezTo>
                  <a:lnTo>
                    <a:pt x="13163" y="3174"/>
                  </a:lnTo>
                  <a:cubicBezTo>
                    <a:pt x="13163" y="3174"/>
                    <a:pt x="13925" y="1778"/>
                    <a:pt x="13925" y="1270"/>
                  </a:cubicBezTo>
                  <a:close/>
                </a:path>
              </a:pathLst>
            </a:custGeom>
            <a:solidFill>
              <a:srgbClr val="000000"/>
            </a:solidFill>
            <a:ln w="12690" cap="flat">
              <a:noFill/>
              <a:prstDash val="solid"/>
              <a:miter/>
            </a:ln>
          </p:spPr>
          <p:txBody>
            <a:bodyPr rtlCol="0" anchor="ctr"/>
            <a:lstStyle/>
            <a:p>
              <a:endParaRPr lang="en-US"/>
            </a:p>
          </p:txBody>
        </p:sp>
        <p:sp>
          <p:nvSpPr>
            <p:cNvPr id="963" name="Freeform: Shape 962">
              <a:extLst>
                <a:ext uri="{FF2B5EF4-FFF2-40B4-BE49-F238E27FC236}">
                  <a16:creationId xmlns:a16="http://schemas.microsoft.com/office/drawing/2014/main" id="{A0616D93-EF54-4479-B35B-AA99FC4C75BE}"/>
                </a:ext>
              </a:extLst>
            </p:cNvPr>
            <p:cNvSpPr/>
            <p:nvPr/>
          </p:nvSpPr>
          <p:spPr>
            <a:xfrm>
              <a:off x="9257707" y="6443489"/>
              <a:ext cx="11132" cy="8761"/>
            </a:xfrm>
            <a:custGeom>
              <a:avLst/>
              <a:gdLst>
                <a:gd name="connsiteX0" fmla="*/ 86 w 11132"/>
                <a:gd name="connsiteY0" fmla="*/ 0 h 8761"/>
                <a:gd name="connsiteX1" fmla="*/ 86 w 11132"/>
                <a:gd name="connsiteY1" fmla="*/ 1778 h 8761"/>
                <a:gd name="connsiteX2" fmla="*/ 86 w 11132"/>
                <a:gd name="connsiteY2" fmla="*/ 3301 h 8761"/>
                <a:gd name="connsiteX3" fmla="*/ 86 w 11132"/>
                <a:gd name="connsiteY3" fmla="*/ 4444 h 8761"/>
                <a:gd name="connsiteX4" fmla="*/ 6434 w 11132"/>
                <a:gd name="connsiteY4" fmla="*/ 8761 h 8761"/>
                <a:gd name="connsiteX5" fmla="*/ 11132 w 11132"/>
                <a:gd name="connsiteY5" fmla="*/ 6856 h 8761"/>
                <a:gd name="connsiteX6" fmla="*/ 6434 w 11132"/>
                <a:gd name="connsiteY6" fmla="*/ 6856 h 8761"/>
                <a:gd name="connsiteX7" fmla="*/ 86 w 11132"/>
                <a:gd name="connsiteY7" fmla="*/ 0 h 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32" h="8761">
                  <a:moveTo>
                    <a:pt x="86" y="0"/>
                  </a:moveTo>
                  <a:lnTo>
                    <a:pt x="86" y="1778"/>
                  </a:lnTo>
                  <a:cubicBezTo>
                    <a:pt x="9" y="2285"/>
                    <a:pt x="9" y="2793"/>
                    <a:pt x="86" y="3301"/>
                  </a:cubicBezTo>
                  <a:cubicBezTo>
                    <a:pt x="-29" y="3669"/>
                    <a:pt x="-29" y="4076"/>
                    <a:pt x="86" y="4444"/>
                  </a:cubicBezTo>
                  <a:cubicBezTo>
                    <a:pt x="1089" y="7072"/>
                    <a:pt x="3628" y="8786"/>
                    <a:pt x="6434" y="8761"/>
                  </a:cubicBezTo>
                  <a:cubicBezTo>
                    <a:pt x="8187" y="8723"/>
                    <a:pt x="9850" y="8050"/>
                    <a:pt x="11132" y="6856"/>
                  </a:cubicBezTo>
                  <a:lnTo>
                    <a:pt x="6434" y="6856"/>
                  </a:lnTo>
                  <a:cubicBezTo>
                    <a:pt x="2841" y="6590"/>
                    <a:pt x="73" y="3593"/>
                    <a:pt x="86" y="0"/>
                  </a:cubicBezTo>
                  <a:close/>
                </a:path>
              </a:pathLst>
            </a:custGeom>
            <a:solidFill>
              <a:srgbClr val="000000"/>
            </a:solidFill>
            <a:ln w="12690" cap="flat">
              <a:noFill/>
              <a:prstDash val="solid"/>
              <a:miter/>
            </a:ln>
          </p:spPr>
          <p:txBody>
            <a:bodyPr rtlCol="0" anchor="ctr"/>
            <a:lstStyle/>
            <a:p>
              <a:endParaRPr lang="en-US"/>
            </a:p>
          </p:txBody>
        </p:sp>
        <p:sp>
          <p:nvSpPr>
            <p:cNvPr id="964" name="Freeform: Shape 963">
              <a:extLst>
                <a:ext uri="{FF2B5EF4-FFF2-40B4-BE49-F238E27FC236}">
                  <a16:creationId xmlns:a16="http://schemas.microsoft.com/office/drawing/2014/main" id="{498A4C7E-D5F4-4832-B446-4B2FDD7C6505}"/>
                </a:ext>
              </a:extLst>
            </p:cNvPr>
            <p:cNvSpPr/>
            <p:nvPr/>
          </p:nvSpPr>
          <p:spPr>
            <a:xfrm>
              <a:off x="8716152" y="6443489"/>
              <a:ext cx="13839" cy="8125"/>
            </a:xfrm>
            <a:custGeom>
              <a:avLst/>
              <a:gdLst>
                <a:gd name="connsiteX0" fmla="*/ 381 w 13839"/>
                <a:gd name="connsiteY0" fmla="*/ 1904 h 8125"/>
                <a:gd name="connsiteX1" fmla="*/ 1143 w 13839"/>
                <a:gd name="connsiteY1" fmla="*/ 4444 h 8125"/>
                <a:gd name="connsiteX2" fmla="*/ 3428 w 13839"/>
                <a:gd name="connsiteY2" fmla="*/ 6856 h 8125"/>
                <a:gd name="connsiteX3" fmla="*/ 7110 w 13839"/>
                <a:gd name="connsiteY3" fmla="*/ 8126 h 8125"/>
                <a:gd name="connsiteX4" fmla="*/ 13205 w 13839"/>
                <a:gd name="connsiteY4" fmla="*/ 4444 h 8125"/>
                <a:gd name="connsiteX5" fmla="*/ 13840 w 13839"/>
                <a:gd name="connsiteY5" fmla="*/ 2412 h 8125"/>
                <a:gd name="connsiteX6" fmla="*/ 13840 w 13839"/>
                <a:gd name="connsiteY6" fmla="*/ 1270 h 8125"/>
                <a:gd name="connsiteX7" fmla="*/ 13840 w 13839"/>
                <a:gd name="connsiteY7" fmla="*/ 0 h 8125"/>
                <a:gd name="connsiteX8" fmla="*/ 13840 w 13839"/>
                <a:gd name="connsiteY8" fmla="*/ 0 h 8125"/>
                <a:gd name="connsiteX9" fmla="*/ 6857 w 13839"/>
                <a:gd name="connsiteY9" fmla="*/ 6856 h 8125"/>
                <a:gd name="connsiteX10" fmla="*/ 0 w 13839"/>
                <a:gd name="connsiteY10" fmla="*/ 0 h 8125"/>
                <a:gd name="connsiteX11" fmla="*/ 0 w 13839"/>
                <a:gd name="connsiteY11" fmla="*/ 1270 h 8125"/>
                <a:gd name="connsiteX12" fmla="*/ 381 w 13839"/>
                <a:gd name="connsiteY12" fmla="*/ 1904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8125">
                  <a:moveTo>
                    <a:pt x="381" y="1904"/>
                  </a:moveTo>
                  <a:cubicBezTo>
                    <a:pt x="495" y="2781"/>
                    <a:pt x="762" y="3644"/>
                    <a:pt x="1143" y="4444"/>
                  </a:cubicBezTo>
                  <a:cubicBezTo>
                    <a:pt x="1663" y="5447"/>
                    <a:pt x="2450" y="6285"/>
                    <a:pt x="3428" y="6856"/>
                  </a:cubicBezTo>
                  <a:cubicBezTo>
                    <a:pt x="4482" y="7669"/>
                    <a:pt x="5777" y="8113"/>
                    <a:pt x="7110" y="8126"/>
                  </a:cubicBezTo>
                  <a:cubicBezTo>
                    <a:pt x="9675" y="8139"/>
                    <a:pt x="12024" y="6716"/>
                    <a:pt x="13205" y="4444"/>
                  </a:cubicBezTo>
                  <a:cubicBezTo>
                    <a:pt x="13496" y="3796"/>
                    <a:pt x="13699" y="3111"/>
                    <a:pt x="13840" y="2412"/>
                  </a:cubicBezTo>
                  <a:cubicBezTo>
                    <a:pt x="13840" y="2412"/>
                    <a:pt x="13840" y="1650"/>
                    <a:pt x="13840" y="1270"/>
                  </a:cubicBezTo>
                  <a:lnTo>
                    <a:pt x="13840" y="0"/>
                  </a:lnTo>
                  <a:lnTo>
                    <a:pt x="13840" y="0"/>
                  </a:lnTo>
                  <a:cubicBezTo>
                    <a:pt x="13776" y="3809"/>
                    <a:pt x="10666" y="6856"/>
                    <a:pt x="6857" y="6856"/>
                  </a:cubicBezTo>
                  <a:cubicBezTo>
                    <a:pt x="3073" y="6856"/>
                    <a:pt x="0" y="3783"/>
                    <a:pt x="0" y="0"/>
                  </a:cubicBezTo>
                  <a:lnTo>
                    <a:pt x="0" y="1270"/>
                  </a:lnTo>
                  <a:cubicBezTo>
                    <a:pt x="0" y="1270"/>
                    <a:pt x="381" y="1650"/>
                    <a:pt x="381" y="1904"/>
                  </a:cubicBezTo>
                  <a:close/>
                </a:path>
              </a:pathLst>
            </a:custGeom>
            <a:solidFill>
              <a:srgbClr val="000000"/>
            </a:solidFill>
            <a:ln w="12690" cap="flat">
              <a:noFill/>
              <a:prstDash val="solid"/>
              <a:miter/>
            </a:ln>
          </p:spPr>
          <p:txBody>
            <a:bodyPr rtlCol="0" anchor="ctr"/>
            <a:lstStyle/>
            <a:p>
              <a:endParaRPr lang="en-US"/>
            </a:p>
          </p:txBody>
        </p:sp>
        <p:sp>
          <p:nvSpPr>
            <p:cNvPr id="965" name="Freeform: Shape 964">
              <a:extLst>
                <a:ext uri="{FF2B5EF4-FFF2-40B4-BE49-F238E27FC236}">
                  <a16:creationId xmlns:a16="http://schemas.microsoft.com/office/drawing/2014/main" id="{38C6B13A-A47C-4B96-A217-A2F64265557F}"/>
                </a:ext>
              </a:extLst>
            </p:cNvPr>
            <p:cNvSpPr/>
            <p:nvPr/>
          </p:nvSpPr>
          <p:spPr>
            <a:xfrm>
              <a:off x="9409265" y="6443489"/>
              <a:ext cx="9775" cy="8393"/>
            </a:xfrm>
            <a:custGeom>
              <a:avLst/>
              <a:gdLst>
                <a:gd name="connsiteX0" fmla="*/ 9776 w 9775"/>
                <a:gd name="connsiteY0" fmla="*/ 7745 h 8393"/>
                <a:gd name="connsiteX1" fmla="*/ 9776 w 9775"/>
                <a:gd name="connsiteY1" fmla="*/ 6094 h 8393"/>
                <a:gd name="connsiteX2" fmla="*/ 6856 w 9775"/>
                <a:gd name="connsiteY2" fmla="*/ 6856 h 8393"/>
                <a:gd name="connsiteX3" fmla="*/ 0 w 9775"/>
                <a:gd name="connsiteY3" fmla="*/ 0 h 8393"/>
                <a:gd name="connsiteX4" fmla="*/ 0 w 9775"/>
                <a:gd name="connsiteY4" fmla="*/ 1524 h 8393"/>
                <a:gd name="connsiteX5" fmla="*/ 6844 w 9775"/>
                <a:gd name="connsiteY5" fmla="*/ 8392 h 8393"/>
                <a:gd name="connsiteX6" fmla="*/ 9776 w 9775"/>
                <a:gd name="connsiteY6" fmla="*/ 7745 h 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 h="8393">
                  <a:moveTo>
                    <a:pt x="9776" y="7745"/>
                  </a:moveTo>
                  <a:lnTo>
                    <a:pt x="9776" y="6094"/>
                  </a:lnTo>
                  <a:cubicBezTo>
                    <a:pt x="8888" y="6615"/>
                    <a:pt x="7884" y="6869"/>
                    <a:pt x="6856" y="6856"/>
                  </a:cubicBezTo>
                  <a:cubicBezTo>
                    <a:pt x="3073" y="6856"/>
                    <a:pt x="0" y="3783"/>
                    <a:pt x="0" y="0"/>
                  </a:cubicBezTo>
                  <a:lnTo>
                    <a:pt x="0" y="1524"/>
                  </a:lnTo>
                  <a:cubicBezTo>
                    <a:pt x="-13" y="5307"/>
                    <a:pt x="3047" y="8392"/>
                    <a:pt x="6844" y="8392"/>
                  </a:cubicBezTo>
                  <a:cubicBezTo>
                    <a:pt x="7859" y="8405"/>
                    <a:pt x="8862" y="8177"/>
                    <a:pt x="9776" y="7745"/>
                  </a:cubicBezTo>
                  <a:close/>
                </a:path>
              </a:pathLst>
            </a:custGeom>
            <a:solidFill>
              <a:srgbClr val="000000"/>
            </a:solidFill>
            <a:ln w="12690" cap="flat">
              <a:noFill/>
              <a:prstDash val="solid"/>
              <a:miter/>
            </a:ln>
          </p:spPr>
          <p:txBody>
            <a:bodyPr rtlCol="0" anchor="ctr"/>
            <a:lstStyle/>
            <a:p>
              <a:endParaRPr lang="en-US"/>
            </a:p>
          </p:txBody>
        </p:sp>
        <p:sp>
          <p:nvSpPr>
            <p:cNvPr id="966" name="Freeform: Shape 965">
              <a:extLst>
                <a:ext uri="{FF2B5EF4-FFF2-40B4-BE49-F238E27FC236}">
                  <a16:creationId xmlns:a16="http://schemas.microsoft.com/office/drawing/2014/main" id="{878B4611-AF7B-4D79-A8EC-7E0ACBFC0FA7}"/>
                </a:ext>
              </a:extLst>
            </p:cNvPr>
            <p:cNvSpPr/>
            <p:nvPr/>
          </p:nvSpPr>
          <p:spPr>
            <a:xfrm>
              <a:off x="9451703" y="6428761"/>
              <a:ext cx="14315" cy="13585"/>
            </a:xfrm>
            <a:custGeom>
              <a:avLst/>
              <a:gdLst>
                <a:gd name="connsiteX0" fmla="*/ 7333 w 14315"/>
                <a:gd name="connsiteY0" fmla="*/ 6983 h 13585"/>
                <a:gd name="connsiteX1" fmla="*/ 14316 w 14315"/>
                <a:gd name="connsiteY1" fmla="*/ 0 h 13585"/>
                <a:gd name="connsiteX2" fmla="*/ 6825 w 14315"/>
                <a:gd name="connsiteY2" fmla="*/ 0 h 13585"/>
                <a:gd name="connsiteX3" fmla="*/ 95 w 14315"/>
                <a:gd name="connsiteY3" fmla="*/ 6729 h 13585"/>
                <a:gd name="connsiteX4" fmla="*/ 95 w 14315"/>
                <a:gd name="connsiteY4" fmla="*/ 6729 h 13585"/>
                <a:gd name="connsiteX5" fmla="*/ 95 w 14315"/>
                <a:gd name="connsiteY5" fmla="*/ 8888 h 13585"/>
                <a:gd name="connsiteX6" fmla="*/ 6571 w 14315"/>
                <a:gd name="connsiteY6" fmla="*/ 13585 h 13585"/>
                <a:gd name="connsiteX7" fmla="*/ 13935 w 14315"/>
                <a:gd name="connsiteY7" fmla="*/ 13585 h 13585"/>
                <a:gd name="connsiteX8" fmla="*/ 7333 w 14315"/>
                <a:gd name="connsiteY8" fmla="*/ 6983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5" h="13585">
                  <a:moveTo>
                    <a:pt x="7333" y="6983"/>
                  </a:moveTo>
                  <a:cubicBezTo>
                    <a:pt x="7333" y="3123"/>
                    <a:pt x="10456" y="0"/>
                    <a:pt x="14316" y="0"/>
                  </a:cubicBezTo>
                  <a:lnTo>
                    <a:pt x="6825" y="0"/>
                  </a:lnTo>
                  <a:cubicBezTo>
                    <a:pt x="3168" y="127"/>
                    <a:pt x="222" y="3073"/>
                    <a:pt x="95" y="6729"/>
                  </a:cubicBezTo>
                  <a:lnTo>
                    <a:pt x="95" y="6729"/>
                  </a:lnTo>
                  <a:cubicBezTo>
                    <a:pt x="-32" y="7440"/>
                    <a:pt x="-32" y="8177"/>
                    <a:pt x="95" y="8888"/>
                  </a:cubicBezTo>
                  <a:cubicBezTo>
                    <a:pt x="1022" y="11681"/>
                    <a:pt x="3625" y="13573"/>
                    <a:pt x="6571" y="13585"/>
                  </a:cubicBezTo>
                  <a:lnTo>
                    <a:pt x="13935" y="13585"/>
                  </a:lnTo>
                  <a:cubicBezTo>
                    <a:pt x="10367" y="13395"/>
                    <a:pt x="7523" y="10551"/>
                    <a:pt x="7333" y="6983"/>
                  </a:cubicBezTo>
                  <a:close/>
                </a:path>
              </a:pathLst>
            </a:custGeom>
            <a:solidFill>
              <a:srgbClr val="000000"/>
            </a:solidFill>
            <a:ln w="12690" cap="flat">
              <a:noFill/>
              <a:prstDash val="solid"/>
              <a:miter/>
            </a:ln>
          </p:spPr>
          <p:txBody>
            <a:bodyPr rtlCol="0" anchor="ctr"/>
            <a:lstStyle/>
            <a:p>
              <a:endParaRPr lang="en-US"/>
            </a:p>
          </p:txBody>
        </p:sp>
        <p:sp>
          <p:nvSpPr>
            <p:cNvPr id="967" name="Freeform: Shape 966">
              <a:extLst>
                <a:ext uri="{FF2B5EF4-FFF2-40B4-BE49-F238E27FC236}">
                  <a16:creationId xmlns:a16="http://schemas.microsoft.com/office/drawing/2014/main" id="{37363126-296A-4710-91A3-84D0C6A0234C}"/>
                </a:ext>
              </a:extLst>
            </p:cNvPr>
            <p:cNvSpPr/>
            <p:nvPr/>
          </p:nvSpPr>
          <p:spPr>
            <a:xfrm>
              <a:off x="9457714" y="6428696"/>
              <a:ext cx="318738" cy="13970"/>
            </a:xfrm>
            <a:custGeom>
              <a:avLst/>
              <a:gdLst>
                <a:gd name="connsiteX0" fmla="*/ 318739 w 318738"/>
                <a:gd name="connsiteY0" fmla="*/ 7048 h 13970"/>
                <a:gd name="connsiteX1" fmla="*/ 318739 w 318738"/>
                <a:gd name="connsiteY1" fmla="*/ 65 h 13970"/>
                <a:gd name="connsiteX2" fmla="*/ 7924 w 318738"/>
                <a:gd name="connsiteY2" fmla="*/ 65 h 13970"/>
                <a:gd name="connsiteX3" fmla="*/ 65 w 318738"/>
                <a:gd name="connsiteY3" fmla="*/ 6045 h 13970"/>
                <a:gd name="connsiteX4" fmla="*/ 6045 w 318738"/>
                <a:gd name="connsiteY4" fmla="*/ 13904 h 13970"/>
                <a:gd name="connsiteX5" fmla="*/ 7924 w 318738"/>
                <a:gd name="connsiteY5" fmla="*/ 13904 h 13970"/>
                <a:gd name="connsiteX6" fmla="*/ 318739 w 318738"/>
                <a:gd name="connsiteY6" fmla="*/ 13904 h 13970"/>
                <a:gd name="connsiteX7" fmla="*/ 318739 w 318738"/>
                <a:gd name="connsiteY7" fmla="*/ 7048 h 1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738" h="13970">
                  <a:moveTo>
                    <a:pt x="318739" y="7048"/>
                  </a:moveTo>
                  <a:lnTo>
                    <a:pt x="318739" y="65"/>
                  </a:lnTo>
                  <a:lnTo>
                    <a:pt x="7924" y="65"/>
                  </a:lnTo>
                  <a:cubicBezTo>
                    <a:pt x="4102" y="-456"/>
                    <a:pt x="585" y="2223"/>
                    <a:pt x="65" y="6045"/>
                  </a:cubicBezTo>
                  <a:cubicBezTo>
                    <a:pt x="-456" y="9867"/>
                    <a:pt x="2223" y="13384"/>
                    <a:pt x="6045" y="13904"/>
                  </a:cubicBezTo>
                  <a:cubicBezTo>
                    <a:pt x="6667" y="13993"/>
                    <a:pt x="7302" y="13993"/>
                    <a:pt x="7924" y="13904"/>
                  </a:cubicBezTo>
                  <a:lnTo>
                    <a:pt x="318739" y="13904"/>
                  </a:lnTo>
                  <a:lnTo>
                    <a:pt x="318739" y="7048"/>
                  </a:lnTo>
                  <a:close/>
                </a:path>
              </a:pathLst>
            </a:custGeom>
            <a:solidFill>
              <a:srgbClr val="000000"/>
            </a:solidFill>
            <a:ln w="12690" cap="flat">
              <a:noFill/>
              <a:prstDash val="solid"/>
              <a:miter/>
            </a:ln>
          </p:spPr>
          <p:txBody>
            <a:bodyPr rtlCol="0" anchor="ctr"/>
            <a:lstStyle/>
            <a:p>
              <a:endParaRPr lang="en-US"/>
            </a:p>
          </p:txBody>
        </p:sp>
        <p:sp>
          <p:nvSpPr>
            <p:cNvPr id="968" name="Freeform: Shape 967">
              <a:extLst>
                <a:ext uri="{FF2B5EF4-FFF2-40B4-BE49-F238E27FC236}">
                  <a16:creationId xmlns:a16="http://schemas.microsoft.com/office/drawing/2014/main" id="{8C53607F-F9FA-492A-865D-E52AA92EAE22}"/>
                </a:ext>
              </a:extLst>
            </p:cNvPr>
            <p:cNvSpPr/>
            <p:nvPr/>
          </p:nvSpPr>
          <p:spPr>
            <a:xfrm>
              <a:off x="8607595" y="6443362"/>
              <a:ext cx="13506" cy="9903"/>
            </a:xfrm>
            <a:custGeom>
              <a:avLst/>
              <a:gdLst>
                <a:gd name="connsiteX0" fmla="*/ 6856 w 13506"/>
                <a:gd name="connsiteY0" fmla="*/ 6983 h 9903"/>
                <a:gd name="connsiteX1" fmla="*/ 0 w 13506"/>
                <a:gd name="connsiteY1" fmla="*/ 127 h 9903"/>
                <a:gd name="connsiteX2" fmla="*/ 0 w 13506"/>
                <a:gd name="connsiteY2" fmla="*/ 3174 h 9903"/>
                <a:gd name="connsiteX3" fmla="*/ 0 w 13506"/>
                <a:gd name="connsiteY3" fmla="*/ 3174 h 9903"/>
                <a:gd name="connsiteX4" fmla="*/ 2412 w 13506"/>
                <a:gd name="connsiteY4" fmla="*/ 8253 h 9903"/>
                <a:gd name="connsiteX5" fmla="*/ 6856 w 13506"/>
                <a:gd name="connsiteY5" fmla="*/ 9903 h 9903"/>
                <a:gd name="connsiteX6" fmla="*/ 12443 w 13506"/>
                <a:gd name="connsiteY6" fmla="*/ 6856 h 9903"/>
                <a:gd name="connsiteX7" fmla="*/ 13458 w 13506"/>
                <a:gd name="connsiteY7" fmla="*/ 4444 h 9903"/>
                <a:gd name="connsiteX8" fmla="*/ 13458 w 13506"/>
                <a:gd name="connsiteY8" fmla="*/ 3047 h 9903"/>
                <a:gd name="connsiteX9" fmla="*/ 13458 w 13506"/>
                <a:gd name="connsiteY9" fmla="*/ 0 h 9903"/>
                <a:gd name="connsiteX10" fmla="*/ 6856 w 13506"/>
                <a:gd name="connsiteY10" fmla="*/ 698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06" h="9903">
                  <a:moveTo>
                    <a:pt x="6856" y="6983"/>
                  </a:moveTo>
                  <a:cubicBezTo>
                    <a:pt x="3073" y="6983"/>
                    <a:pt x="0" y="3911"/>
                    <a:pt x="0" y="127"/>
                  </a:cubicBezTo>
                  <a:lnTo>
                    <a:pt x="0" y="3174"/>
                  </a:lnTo>
                  <a:lnTo>
                    <a:pt x="0" y="3174"/>
                  </a:lnTo>
                  <a:cubicBezTo>
                    <a:pt x="64" y="5130"/>
                    <a:pt x="927" y="6971"/>
                    <a:pt x="2412" y="8253"/>
                  </a:cubicBezTo>
                  <a:cubicBezTo>
                    <a:pt x="3657" y="9294"/>
                    <a:pt x="5231" y="9878"/>
                    <a:pt x="6856" y="9903"/>
                  </a:cubicBezTo>
                  <a:cubicBezTo>
                    <a:pt x="9103" y="9865"/>
                    <a:pt x="11199" y="8723"/>
                    <a:pt x="12443" y="6856"/>
                  </a:cubicBezTo>
                  <a:cubicBezTo>
                    <a:pt x="12963" y="6145"/>
                    <a:pt x="13306" y="5320"/>
                    <a:pt x="13458" y="4444"/>
                  </a:cubicBezTo>
                  <a:cubicBezTo>
                    <a:pt x="13522" y="3974"/>
                    <a:pt x="13522" y="3504"/>
                    <a:pt x="13458" y="3047"/>
                  </a:cubicBezTo>
                  <a:lnTo>
                    <a:pt x="13458" y="0"/>
                  </a:lnTo>
                  <a:cubicBezTo>
                    <a:pt x="13534" y="3733"/>
                    <a:pt x="10589" y="6844"/>
                    <a:pt x="6856" y="6983"/>
                  </a:cubicBezTo>
                  <a:close/>
                </a:path>
              </a:pathLst>
            </a:custGeom>
            <a:solidFill>
              <a:srgbClr val="000000"/>
            </a:solidFill>
            <a:ln w="12690" cap="flat">
              <a:noFill/>
              <a:prstDash val="solid"/>
              <a:miter/>
            </a:ln>
          </p:spPr>
          <p:txBody>
            <a:bodyPr rtlCol="0" anchor="ctr"/>
            <a:lstStyle/>
            <a:p>
              <a:endParaRPr lang="en-US"/>
            </a:p>
          </p:txBody>
        </p:sp>
        <p:sp>
          <p:nvSpPr>
            <p:cNvPr id="969" name="Freeform: Shape 968">
              <a:extLst>
                <a:ext uri="{FF2B5EF4-FFF2-40B4-BE49-F238E27FC236}">
                  <a16:creationId xmlns:a16="http://schemas.microsoft.com/office/drawing/2014/main" id="{EC265B55-E8BD-4054-89DA-A86AE3D96722}"/>
                </a:ext>
              </a:extLst>
            </p:cNvPr>
            <p:cNvSpPr/>
            <p:nvPr/>
          </p:nvSpPr>
          <p:spPr>
            <a:xfrm>
              <a:off x="10472127" y="5829220"/>
              <a:ext cx="322854" cy="13839"/>
            </a:xfrm>
            <a:custGeom>
              <a:avLst/>
              <a:gdLst>
                <a:gd name="connsiteX0" fmla="*/ 4802 w 322854"/>
                <a:gd name="connsiteY0" fmla="*/ 762 h 13839"/>
                <a:gd name="connsiteX1" fmla="*/ 2390 w 322854"/>
                <a:gd name="connsiteY1" fmla="*/ 2158 h 13839"/>
                <a:gd name="connsiteX2" fmla="*/ 1590 w 322854"/>
                <a:gd name="connsiteY2" fmla="*/ 11642 h 13839"/>
                <a:gd name="connsiteX3" fmla="*/ 2390 w 322854"/>
                <a:gd name="connsiteY3" fmla="*/ 12443 h 13839"/>
                <a:gd name="connsiteX4" fmla="*/ 4802 w 322854"/>
                <a:gd name="connsiteY4" fmla="*/ 13840 h 13839"/>
                <a:gd name="connsiteX5" fmla="*/ 5691 w 322854"/>
                <a:gd name="connsiteY5" fmla="*/ 13840 h 13839"/>
                <a:gd name="connsiteX6" fmla="*/ 6834 w 322854"/>
                <a:gd name="connsiteY6" fmla="*/ 13840 h 13839"/>
                <a:gd name="connsiteX7" fmla="*/ 322854 w 322854"/>
                <a:gd name="connsiteY7" fmla="*/ 13840 h 13839"/>
                <a:gd name="connsiteX8" fmla="*/ 315871 w 322854"/>
                <a:gd name="connsiteY8" fmla="*/ 6983 h 13839"/>
                <a:gd name="connsiteX9" fmla="*/ 322854 w 322854"/>
                <a:gd name="connsiteY9" fmla="*/ 0 h 13839"/>
                <a:gd name="connsiteX10" fmla="*/ 6834 w 322854"/>
                <a:gd name="connsiteY10"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54" h="13839">
                  <a:moveTo>
                    <a:pt x="4802" y="762"/>
                  </a:moveTo>
                  <a:cubicBezTo>
                    <a:pt x="3927" y="1101"/>
                    <a:pt x="3114" y="1572"/>
                    <a:pt x="2390" y="2158"/>
                  </a:cubicBezTo>
                  <a:cubicBezTo>
                    <a:pt x="-454" y="4556"/>
                    <a:pt x="-809" y="8801"/>
                    <a:pt x="1590" y="11642"/>
                  </a:cubicBezTo>
                  <a:cubicBezTo>
                    <a:pt x="1831" y="11931"/>
                    <a:pt x="2098" y="12199"/>
                    <a:pt x="2390" y="12443"/>
                  </a:cubicBezTo>
                  <a:cubicBezTo>
                    <a:pt x="3114" y="13029"/>
                    <a:pt x="3927" y="13500"/>
                    <a:pt x="4802" y="13840"/>
                  </a:cubicBezTo>
                  <a:lnTo>
                    <a:pt x="5691" y="13840"/>
                  </a:lnTo>
                  <a:lnTo>
                    <a:pt x="6834" y="13840"/>
                  </a:lnTo>
                  <a:lnTo>
                    <a:pt x="322854" y="13840"/>
                  </a:lnTo>
                  <a:cubicBezTo>
                    <a:pt x="319045" y="13840"/>
                    <a:pt x="315935" y="10790"/>
                    <a:pt x="315871" y="6983"/>
                  </a:cubicBezTo>
                  <a:cubicBezTo>
                    <a:pt x="315871" y="3126"/>
                    <a:pt x="318995" y="0"/>
                    <a:pt x="322854" y="0"/>
                  </a:cubicBezTo>
                  <a:lnTo>
                    <a:pt x="6834" y="0"/>
                  </a:lnTo>
                  <a:close/>
                </a:path>
              </a:pathLst>
            </a:custGeom>
            <a:solidFill>
              <a:srgbClr val="000000"/>
            </a:solidFill>
            <a:ln w="12690" cap="flat">
              <a:noFill/>
              <a:prstDash val="solid"/>
              <a:miter/>
            </a:ln>
          </p:spPr>
          <p:txBody>
            <a:bodyPr rtlCol="0" anchor="ctr"/>
            <a:lstStyle/>
            <a:p>
              <a:endParaRPr lang="en-US"/>
            </a:p>
          </p:txBody>
        </p:sp>
        <p:sp>
          <p:nvSpPr>
            <p:cNvPr id="970" name="Freeform: Shape 969">
              <a:extLst>
                <a:ext uri="{FF2B5EF4-FFF2-40B4-BE49-F238E27FC236}">
                  <a16:creationId xmlns:a16="http://schemas.microsoft.com/office/drawing/2014/main" id="{249F5197-75D0-478E-A978-0B74E8F41302}"/>
                </a:ext>
              </a:extLst>
            </p:cNvPr>
            <p:cNvSpPr/>
            <p:nvPr/>
          </p:nvSpPr>
          <p:spPr>
            <a:xfrm>
              <a:off x="9670125" y="5570968"/>
              <a:ext cx="13895" cy="32630"/>
            </a:xfrm>
            <a:custGeom>
              <a:avLst/>
              <a:gdLst>
                <a:gd name="connsiteX0" fmla="*/ 4755 w 13895"/>
                <a:gd name="connsiteY0" fmla="*/ 0 h 32630"/>
                <a:gd name="connsiteX1" fmla="*/ 3612 w 13895"/>
                <a:gd name="connsiteY1" fmla="*/ 0 h 32630"/>
                <a:gd name="connsiteX2" fmla="*/ 2596 w 13895"/>
                <a:gd name="connsiteY2" fmla="*/ 0 h 32630"/>
                <a:gd name="connsiteX3" fmla="*/ 1453 w 13895"/>
                <a:gd name="connsiteY3" fmla="*/ 889 h 32630"/>
                <a:gd name="connsiteX4" fmla="*/ 819 w 13895"/>
                <a:gd name="connsiteY4" fmla="*/ 1905 h 32630"/>
                <a:gd name="connsiteX5" fmla="*/ 57 w 13895"/>
                <a:gd name="connsiteY5" fmla="*/ 3174 h 32630"/>
                <a:gd name="connsiteX6" fmla="*/ 57 w 13895"/>
                <a:gd name="connsiteY6" fmla="*/ 4698 h 32630"/>
                <a:gd name="connsiteX7" fmla="*/ 57 w 13895"/>
                <a:gd name="connsiteY7" fmla="*/ 5587 h 32630"/>
                <a:gd name="connsiteX8" fmla="*/ 57 w 13895"/>
                <a:gd name="connsiteY8" fmla="*/ 32631 h 32630"/>
                <a:gd name="connsiteX9" fmla="*/ 13896 w 13895"/>
                <a:gd name="connsiteY9" fmla="*/ 32631 h 32630"/>
                <a:gd name="connsiteX10" fmla="*/ 13896 w 13895"/>
                <a:gd name="connsiteY10" fmla="*/ 6475 h 32630"/>
                <a:gd name="connsiteX11" fmla="*/ 10595 w 13895"/>
                <a:gd name="connsiteY11" fmla="*/ 762 h 32630"/>
                <a:gd name="connsiteX12" fmla="*/ 9452 w 13895"/>
                <a:gd name="connsiteY12" fmla="*/ 762 h 32630"/>
                <a:gd name="connsiteX13" fmla="*/ 7929 w 13895"/>
                <a:gd name="connsiteY13" fmla="*/ 762 h 32630"/>
                <a:gd name="connsiteX14" fmla="*/ 6786 w 13895"/>
                <a:gd name="connsiteY14" fmla="*/ 762 h 32630"/>
                <a:gd name="connsiteX15" fmla="*/ 4755 w 13895"/>
                <a:gd name="connsiteY15" fmla="*/ 0 h 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95" h="32630">
                  <a:moveTo>
                    <a:pt x="4755" y="0"/>
                  </a:moveTo>
                  <a:lnTo>
                    <a:pt x="3612" y="0"/>
                  </a:lnTo>
                  <a:lnTo>
                    <a:pt x="2596" y="0"/>
                  </a:lnTo>
                  <a:lnTo>
                    <a:pt x="1453" y="889"/>
                  </a:lnTo>
                  <a:lnTo>
                    <a:pt x="819" y="1905"/>
                  </a:lnTo>
                  <a:lnTo>
                    <a:pt x="57" y="3174"/>
                  </a:lnTo>
                  <a:cubicBezTo>
                    <a:pt x="-7" y="3681"/>
                    <a:pt x="-7" y="4191"/>
                    <a:pt x="57" y="4698"/>
                  </a:cubicBezTo>
                  <a:cubicBezTo>
                    <a:pt x="-19" y="4990"/>
                    <a:pt x="-19" y="5295"/>
                    <a:pt x="57" y="5587"/>
                  </a:cubicBezTo>
                  <a:lnTo>
                    <a:pt x="57" y="32631"/>
                  </a:lnTo>
                  <a:lnTo>
                    <a:pt x="13896" y="32631"/>
                  </a:lnTo>
                  <a:lnTo>
                    <a:pt x="13896" y="6475"/>
                  </a:lnTo>
                  <a:cubicBezTo>
                    <a:pt x="13820" y="4138"/>
                    <a:pt x="12589" y="1993"/>
                    <a:pt x="10595" y="762"/>
                  </a:cubicBezTo>
                  <a:lnTo>
                    <a:pt x="9452" y="762"/>
                  </a:lnTo>
                  <a:cubicBezTo>
                    <a:pt x="8945" y="705"/>
                    <a:pt x="8436" y="705"/>
                    <a:pt x="7929" y="762"/>
                  </a:cubicBezTo>
                  <a:lnTo>
                    <a:pt x="6786" y="762"/>
                  </a:lnTo>
                  <a:cubicBezTo>
                    <a:pt x="6215" y="295"/>
                    <a:pt x="5491" y="28"/>
                    <a:pt x="4755" y="0"/>
                  </a:cubicBezTo>
                  <a:close/>
                </a:path>
              </a:pathLst>
            </a:custGeom>
            <a:solidFill>
              <a:srgbClr val="000000"/>
            </a:solidFill>
            <a:ln w="12690" cap="flat">
              <a:noFill/>
              <a:prstDash val="solid"/>
              <a:miter/>
            </a:ln>
          </p:spPr>
          <p:txBody>
            <a:bodyPr rtlCol="0" anchor="ctr"/>
            <a:lstStyle/>
            <a:p>
              <a:endParaRPr lang="en-US"/>
            </a:p>
          </p:txBody>
        </p:sp>
        <p:sp>
          <p:nvSpPr>
            <p:cNvPr id="971" name="Freeform: Shape 970">
              <a:extLst>
                <a:ext uri="{FF2B5EF4-FFF2-40B4-BE49-F238E27FC236}">
                  <a16:creationId xmlns:a16="http://schemas.microsoft.com/office/drawing/2014/main" id="{F9A548D8-4978-4C38-BEC8-5512AB90E15E}"/>
                </a:ext>
              </a:extLst>
            </p:cNvPr>
            <p:cNvSpPr/>
            <p:nvPr/>
          </p:nvSpPr>
          <p:spPr>
            <a:xfrm>
              <a:off x="10429825" y="5641816"/>
              <a:ext cx="13838" cy="189308"/>
            </a:xfrm>
            <a:custGeom>
              <a:avLst/>
              <a:gdLst>
                <a:gd name="connsiteX0" fmla="*/ 6856 w 13838"/>
                <a:gd name="connsiteY0" fmla="*/ 189309 h 189308"/>
                <a:gd name="connsiteX1" fmla="*/ 13839 w 13838"/>
                <a:gd name="connsiteY1" fmla="*/ 182452 h 189308"/>
                <a:gd name="connsiteX2" fmla="*/ 13839 w 13838"/>
                <a:gd name="connsiteY2" fmla="*/ 0 h 189308"/>
                <a:gd name="connsiteX3" fmla="*/ 6856 w 13838"/>
                <a:gd name="connsiteY3" fmla="*/ 6856 h 189308"/>
                <a:gd name="connsiteX4" fmla="*/ 0 w 13838"/>
                <a:gd name="connsiteY4" fmla="*/ 0 h 189308"/>
                <a:gd name="connsiteX5" fmla="*/ 0 w 13838"/>
                <a:gd name="connsiteY5" fmla="*/ 182452 h 189308"/>
                <a:gd name="connsiteX6" fmla="*/ 6856 w 13838"/>
                <a:gd name="connsiteY6" fmla="*/ 189309 h 189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89308">
                  <a:moveTo>
                    <a:pt x="6856" y="189309"/>
                  </a:moveTo>
                  <a:cubicBezTo>
                    <a:pt x="10665" y="189309"/>
                    <a:pt x="13775" y="186259"/>
                    <a:pt x="13839" y="182452"/>
                  </a:cubicBezTo>
                  <a:lnTo>
                    <a:pt x="13839" y="0"/>
                  </a:lnTo>
                  <a:cubicBezTo>
                    <a:pt x="13775" y="3807"/>
                    <a:pt x="10665" y="6856"/>
                    <a:pt x="6856" y="6856"/>
                  </a:cubicBezTo>
                  <a:cubicBezTo>
                    <a:pt x="3073" y="6856"/>
                    <a:pt x="0" y="3786"/>
                    <a:pt x="0" y="0"/>
                  </a:cubicBezTo>
                  <a:lnTo>
                    <a:pt x="0" y="182452"/>
                  </a:lnTo>
                  <a:cubicBezTo>
                    <a:pt x="0" y="186239"/>
                    <a:pt x="3073" y="189309"/>
                    <a:pt x="6856" y="189309"/>
                  </a:cubicBezTo>
                  <a:close/>
                </a:path>
              </a:pathLst>
            </a:custGeom>
            <a:solidFill>
              <a:srgbClr val="000000"/>
            </a:solidFill>
            <a:ln w="12690" cap="flat">
              <a:noFill/>
              <a:prstDash val="solid"/>
              <a:miter/>
            </a:ln>
          </p:spPr>
          <p:txBody>
            <a:bodyPr rtlCol="0" anchor="ctr"/>
            <a:lstStyle/>
            <a:p>
              <a:endParaRPr lang="en-US"/>
            </a:p>
          </p:txBody>
        </p:sp>
        <p:sp>
          <p:nvSpPr>
            <p:cNvPr id="972" name="Freeform: Shape 971">
              <a:extLst>
                <a:ext uri="{FF2B5EF4-FFF2-40B4-BE49-F238E27FC236}">
                  <a16:creationId xmlns:a16="http://schemas.microsoft.com/office/drawing/2014/main" id="{B0BBC9C0-444D-4832-8266-80EA2D776738}"/>
                </a:ext>
              </a:extLst>
            </p:cNvPr>
            <p:cNvSpPr/>
            <p:nvPr/>
          </p:nvSpPr>
          <p:spPr>
            <a:xfrm>
              <a:off x="10429825" y="5618327"/>
              <a:ext cx="13838" cy="30345"/>
            </a:xfrm>
            <a:custGeom>
              <a:avLst/>
              <a:gdLst>
                <a:gd name="connsiteX0" fmla="*/ 6856 w 13838"/>
                <a:gd name="connsiteY0" fmla="*/ 30345 h 30345"/>
                <a:gd name="connsiteX1" fmla="*/ 13839 w 13838"/>
                <a:gd name="connsiteY1" fmla="*/ 23489 h 30345"/>
                <a:gd name="connsiteX2" fmla="*/ 13839 w 13838"/>
                <a:gd name="connsiteY2" fmla="*/ 6856 h 30345"/>
                <a:gd name="connsiteX3" fmla="*/ 6856 w 13838"/>
                <a:gd name="connsiteY3" fmla="*/ 0 h 30345"/>
                <a:gd name="connsiteX4" fmla="*/ 0 w 13838"/>
                <a:gd name="connsiteY4" fmla="*/ 6856 h 30345"/>
                <a:gd name="connsiteX5" fmla="*/ 0 w 13838"/>
                <a:gd name="connsiteY5" fmla="*/ 23489 h 30345"/>
                <a:gd name="connsiteX6" fmla="*/ 6856 w 13838"/>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30345">
                  <a:moveTo>
                    <a:pt x="6856" y="30345"/>
                  </a:moveTo>
                  <a:cubicBezTo>
                    <a:pt x="10665" y="30345"/>
                    <a:pt x="13775" y="27296"/>
                    <a:pt x="13839" y="23489"/>
                  </a:cubicBezTo>
                  <a:lnTo>
                    <a:pt x="13839" y="6856"/>
                  </a:lnTo>
                  <a:cubicBezTo>
                    <a:pt x="13775" y="3050"/>
                    <a:pt x="10665" y="0"/>
                    <a:pt x="6856" y="0"/>
                  </a:cubicBezTo>
                  <a:cubicBezTo>
                    <a:pt x="3073" y="0"/>
                    <a:pt x="0" y="3070"/>
                    <a:pt x="0" y="6856"/>
                  </a:cubicBezTo>
                  <a:lnTo>
                    <a:pt x="0" y="23489"/>
                  </a:lnTo>
                  <a:cubicBezTo>
                    <a:pt x="0" y="27275"/>
                    <a:pt x="3073" y="30345"/>
                    <a:pt x="6856" y="30345"/>
                  </a:cubicBezTo>
                  <a:close/>
                </a:path>
              </a:pathLst>
            </a:custGeom>
            <a:solidFill>
              <a:srgbClr val="000000"/>
            </a:solidFill>
            <a:ln w="12690"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9B6C5EC3-F9AB-4030-9231-96C94B61B999}"/>
                </a:ext>
              </a:extLst>
            </p:cNvPr>
            <p:cNvSpPr/>
            <p:nvPr/>
          </p:nvSpPr>
          <p:spPr>
            <a:xfrm>
              <a:off x="10799321" y="5796209"/>
              <a:ext cx="183317" cy="13839"/>
            </a:xfrm>
            <a:custGeom>
              <a:avLst/>
              <a:gdLst>
                <a:gd name="connsiteX0" fmla="*/ 5564 w 183317"/>
                <a:gd name="connsiteY0" fmla="*/ 762 h 13839"/>
                <a:gd name="connsiteX1" fmla="*/ 4168 w 183317"/>
                <a:gd name="connsiteY1" fmla="*/ 762 h 13839"/>
                <a:gd name="connsiteX2" fmla="*/ 3025 w 183317"/>
                <a:gd name="connsiteY2" fmla="*/ 762 h 13839"/>
                <a:gd name="connsiteX3" fmla="*/ 1882 w 183317"/>
                <a:gd name="connsiteY3" fmla="*/ 1524 h 13839"/>
                <a:gd name="connsiteX4" fmla="*/ 866 w 183317"/>
                <a:gd name="connsiteY4" fmla="*/ 2285 h 13839"/>
                <a:gd name="connsiteX5" fmla="*/ 105 w 183317"/>
                <a:gd name="connsiteY5" fmla="*/ 3428 h 13839"/>
                <a:gd name="connsiteX6" fmla="*/ 105 w 183317"/>
                <a:gd name="connsiteY6" fmla="*/ 4698 h 13839"/>
                <a:gd name="connsiteX7" fmla="*/ 105 w 183317"/>
                <a:gd name="connsiteY7" fmla="*/ 6983 h 13839"/>
                <a:gd name="connsiteX8" fmla="*/ 6961 w 183317"/>
                <a:gd name="connsiteY8" fmla="*/ 13839 h 13839"/>
                <a:gd name="connsiteX9" fmla="*/ 183318 w 183317"/>
                <a:gd name="connsiteY9" fmla="*/ 13839 h 13839"/>
                <a:gd name="connsiteX10" fmla="*/ 176462 w 183317"/>
                <a:gd name="connsiteY10" fmla="*/ 6983 h 13839"/>
                <a:gd name="connsiteX11" fmla="*/ 183318 w 183317"/>
                <a:gd name="connsiteY11" fmla="*/ 0 h 13839"/>
                <a:gd name="connsiteX12" fmla="*/ 5564 w 183317"/>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317" h="13839">
                  <a:moveTo>
                    <a:pt x="5564" y="762"/>
                  </a:moveTo>
                  <a:lnTo>
                    <a:pt x="4168" y="762"/>
                  </a:lnTo>
                  <a:lnTo>
                    <a:pt x="3025" y="762"/>
                  </a:lnTo>
                  <a:lnTo>
                    <a:pt x="1882" y="1524"/>
                  </a:lnTo>
                  <a:lnTo>
                    <a:pt x="866" y="2285"/>
                  </a:lnTo>
                  <a:lnTo>
                    <a:pt x="105" y="3428"/>
                  </a:lnTo>
                  <a:cubicBezTo>
                    <a:pt x="41" y="3848"/>
                    <a:pt x="41" y="4278"/>
                    <a:pt x="105" y="4698"/>
                  </a:cubicBezTo>
                  <a:cubicBezTo>
                    <a:pt x="-35" y="5453"/>
                    <a:pt x="-35" y="6228"/>
                    <a:pt x="105" y="6983"/>
                  </a:cubicBezTo>
                  <a:cubicBezTo>
                    <a:pt x="105" y="10769"/>
                    <a:pt x="3177" y="13839"/>
                    <a:pt x="6961" y="13839"/>
                  </a:cubicBezTo>
                  <a:lnTo>
                    <a:pt x="183318" y="13839"/>
                  </a:lnTo>
                  <a:cubicBezTo>
                    <a:pt x="179535" y="13839"/>
                    <a:pt x="176462" y="10769"/>
                    <a:pt x="176462" y="6983"/>
                  </a:cubicBezTo>
                  <a:cubicBezTo>
                    <a:pt x="176462" y="3175"/>
                    <a:pt x="179509" y="69"/>
                    <a:pt x="183318" y="0"/>
                  </a:cubicBezTo>
                  <a:lnTo>
                    <a:pt x="5564" y="0"/>
                  </a:lnTo>
                  <a:close/>
                </a:path>
              </a:pathLst>
            </a:custGeom>
            <a:solidFill>
              <a:srgbClr val="000000"/>
            </a:solidFill>
            <a:ln w="12690"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8C72CE2F-69DF-4380-A173-4374E55701D5}"/>
                </a:ext>
              </a:extLst>
            </p:cNvPr>
            <p:cNvSpPr/>
            <p:nvPr/>
          </p:nvSpPr>
          <p:spPr>
            <a:xfrm>
              <a:off x="10974640" y="5796844"/>
              <a:ext cx="24758" cy="13839"/>
            </a:xfrm>
            <a:custGeom>
              <a:avLst/>
              <a:gdLst>
                <a:gd name="connsiteX0" fmla="*/ 0 w 24758"/>
                <a:gd name="connsiteY0" fmla="*/ 6983 h 13839"/>
                <a:gd name="connsiteX1" fmla="*/ 6856 w 24758"/>
                <a:gd name="connsiteY1" fmla="*/ 13840 h 13839"/>
                <a:gd name="connsiteX2" fmla="*/ 17903 w 24758"/>
                <a:gd name="connsiteY2" fmla="*/ 13840 h 13839"/>
                <a:gd name="connsiteX3" fmla="*/ 17903 w 24758"/>
                <a:gd name="connsiteY3" fmla="*/ 6983 h 13839"/>
                <a:gd name="connsiteX4" fmla="*/ 24759 w 24758"/>
                <a:gd name="connsiteY4" fmla="*/ 0 h 13839"/>
                <a:gd name="connsiteX5" fmla="*/ 6856 w 24758"/>
                <a:gd name="connsiteY5" fmla="*/ 0 h 13839"/>
                <a:gd name="connsiteX6" fmla="*/ 0 w 247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58" h="13839">
                  <a:moveTo>
                    <a:pt x="0" y="6983"/>
                  </a:moveTo>
                  <a:cubicBezTo>
                    <a:pt x="0" y="10769"/>
                    <a:pt x="3073" y="13840"/>
                    <a:pt x="6856" y="13840"/>
                  </a:cubicBezTo>
                  <a:lnTo>
                    <a:pt x="17903" y="13840"/>
                  </a:lnTo>
                  <a:lnTo>
                    <a:pt x="17903" y="6983"/>
                  </a:lnTo>
                  <a:cubicBezTo>
                    <a:pt x="17903" y="3176"/>
                    <a:pt x="20950" y="70"/>
                    <a:pt x="24759" y="0"/>
                  </a:cubicBezTo>
                  <a:lnTo>
                    <a:pt x="6856" y="0"/>
                  </a:lnTo>
                  <a:cubicBezTo>
                    <a:pt x="3047" y="70"/>
                    <a:pt x="0" y="3176"/>
                    <a:pt x="0" y="6983"/>
                  </a:cubicBezTo>
                  <a:close/>
                </a:path>
              </a:pathLst>
            </a:custGeom>
            <a:solidFill>
              <a:srgbClr val="000000"/>
            </a:solidFill>
            <a:ln w="12690"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8F19694A-C398-4BAE-B6E1-C3D1ADA0853B}"/>
                </a:ext>
              </a:extLst>
            </p:cNvPr>
            <p:cNvSpPr/>
            <p:nvPr/>
          </p:nvSpPr>
          <p:spPr>
            <a:xfrm>
              <a:off x="11356684" y="6817784"/>
              <a:ext cx="13838" cy="46221"/>
            </a:xfrm>
            <a:custGeom>
              <a:avLst/>
              <a:gdLst>
                <a:gd name="connsiteX0" fmla="*/ 13331 w 13838"/>
                <a:gd name="connsiteY0" fmla="*/ 6099 h 46221"/>
                <a:gd name="connsiteX1" fmla="*/ 13331 w 13838"/>
                <a:gd name="connsiteY1" fmla="*/ 4830 h 46221"/>
                <a:gd name="connsiteX2" fmla="*/ 13331 w 13838"/>
                <a:gd name="connsiteY2" fmla="*/ 3687 h 46221"/>
                <a:gd name="connsiteX3" fmla="*/ 12570 w 13838"/>
                <a:gd name="connsiteY3" fmla="*/ 2798 h 46221"/>
                <a:gd name="connsiteX4" fmla="*/ 11554 w 13838"/>
                <a:gd name="connsiteY4" fmla="*/ 1909 h 46221"/>
                <a:gd name="connsiteX5" fmla="*/ 6856 w 13838"/>
                <a:gd name="connsiteY5" fmla="*/ 5 h 46221"/>
                <a:gd name="connsiteX6" fmla="*/ 0 w 13838"/>
                <a:gd name="connsiteY6" fmla="*/ 6341 h 46221"/>
                <a:gd name="connsiteX7" fmla="*/ 0 w 13838"/>
                <a:gd name="connsiteY7" fmla="*/ 6353 h 46221"/>
                <a:gd name="connsiteX8" fmla="*/ 0 w 13838"/>
                <a:gd name="connsiteY8" fmla="*/ 46221 h 46221"/>
                <a:gd name="connsiteX9" fmla="*/ 13839 w 13838"/>
                <a:gd name="connsiteY9" fmla="*/ 46221 h 46221"/>
                <a:gd name="connsiteX10" fmla="*/ 13839 w 13838"/>
                <a:gd name="connsiteY10" fmla="*/ 6353 h 46221"/>
                <a:gd name="connsiteX11" fmla="*/ 13331 w 13838"/>
                <a:gd name="connsiteY11" fmla="*/ 6099 h 4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46221">
                  <a:moveTo>
                    <a:pt x="13331" y="6099"/>
                  </a:moveTo>
                  <a:cubicBezTo>
                    <a:pt x="13407" y="5680"/>
                    <a:pt x="13407" y="5249"/>
                    <a:pt x="13331" y="4830"/>
                  </a:cubicBezTo>
                  <a:lnTo>
                    <a:pt x="13331" y="3687"/>
                  </a:lnTo>
                  <a:lnTo>
                    <a:pt x="12570" y="2798"/>
                  </a:lnTo>
                  <a:cubicBezTo>
                    <a:pt x="12290" y="2443"/>
                    <a:pt x="11947" y="2138"/>
                    <a:pt x="11554" y="1909"/>
                  </a:cubicBezTo>
                  <a:cubicBezTo>
                    <a:pt x="10246" y="780"/>
                    <a:pt x="8583" y="106"/>
                    <a:pt x="6856" y="5"/>
                  </a:cubicBezTo>
                  <a:cubicBezTo>
                    <a:pt x="3212" y="-135"/>
                    <a:pt x="139" y="2697"/>
                    <a:pt x="0" y="6341"/>
                  </a:cubicBezTo>
                  <a:cubicBezTo>
                    <a:pt x="0" y="6341"/>
                    <a:pt x="0" y="6353"/>
                    <a:pt x="0" y="6353"/>
                  </a:cubicBezTo>
                  <a:lnTo>
                    <a:pt x="0" y="46221"/>
                  </a:lnTo>
                  <a:lnTo>
                    <a:pt x="13839" y="46221"/>
                  </a:lnTo>
                  <a:lnTo>
                    <a:pt x="13839" y="6353"/>
                  </a:lnTo>
                  <a:cubicBezTo>
                    <a:pt x="13687" y="6239"/>
                    <a:pt x="13509" y="6150"/>
                    <a:pt x="13331" y="6099"/>
                  </a:cubicBezTo>
                  <a:close/>
                </a:path>
              </a:pathLst>
            </a:custGeom>
            <a:solidFill>
              <a:srgbClr val="000000"/>
            </a:solidFill>
            <a:ln w="12690"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5A59914E-773E-4A75-8A51-386101DAFF15}"/>
                </a:ext>
              </a:extLst>
            </p:cNvPr>
            <p:cNvSpPr/>
            <p:nvPr/>
          </p:nvSpPr>
          <p:spPr>
            <a:xfrm>
              <a:off x="10992542" y="5796844"/>
              <a:ext cx="13838" cy="54976"/>
            </a:xfrm>
            <a:custGeom>
              <a:avLst/>
              <a:gdLst>
                <a:gd name="connsiteX0" fmla="*/ 0 w 13838"/>
                <a:gd name="connsiteY0" fmla="*/ 6983 h 54976"/>
                <a:gd name="connsiteX1" fmla="*/ 0 w 13838"/>
                <a:gd name="connsiteY1" fmla="*/ 54977 h 54976"/>
                <a:gd name="connsiteX2" fmla="*/ 6856 w 13838"/>
                <a:gd name="connsiteY2" fmla="*/ 48121 h 54976"/>
                <a:gd name="connsiteX3" fmla="*/ 13839 w 13838"/>
                <a:gd name="connsiteY3" fmla="*/ 54977 h 54976"/>
                <a:gd name="connsiteX4" fmla="*/ 13839 w 13838"/>
                <a:gd name="connsiteY4" fmla="*/ 6983 h 54976"/>
                <a:gd name="connsiteX5" fmla="*/ 6856 w 13838"/>
                <a:gd name="connsiteY5" fmla="*/ 0 h 54976"/>
                <a:gd name="connsiteX6" fmla="*/ 0 w 13838"/>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54976">
                  <a:moveTo>
                    <a:pt x="0" y="6983"/>
                  </a:moveTo>
                  <a:lnTo>
                    <a:pt x="0" y="54977"/>
                  </a:lnTo>
                  <a:cubicBezTo>
                    <a:pt x="0" y="51191"/>
                    <a:pt x="3072" y="48121"/>
                    <a:pt x="6856" y="48121"/>
                  </a:cubicBezTo>
                  <a:cubicBezTo>
                    <a:pt x="10665" y="48121"/>
                    <a:pt x="13775" y="51171"/>
                    <a:pt x="13839" y="54977"/>
                  </a:cubicBezTo>
                  <a:lnTo>
                    <a:pt x="13839" y="6983"/>
                  </a:lnTo>
                  <a:cubicBezTo>
                    <a:pt x="13839"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780FB1B0-DC2C-4050-8C14-8FAF46623A08}"/>
                </a:ext>
              </a:extLst>
            </p:cNvPr>
            <p:cNvSpPr/>
            <p:nvPr/>
          </p:nvSpPr>
          <p:spPr>
            <a:xfrm>
              <a:off x="10992542" y="5844964"/>
              <a:ext cx="13838" cy="584812"/>
            </a:xfrm>
            <a:custGeom>
              <a:avLst/>
              <a:gdLst>
                <a:gd name="connsiteX0" fmla="*/ 6856 w 13838"/>
                <a:gd name="connsiteY0" fmla="*/ 584812 h 584812"/>
                <a:gd name="connsiteX1" fmla="*/ 13839 w 13838"/>
                <a:gd name="connsiteY1" fmla="*/ 584812 h 584812"/>
                <a:gd name="connsiteX2" fmla="*/ 13839 w 13838"/>
                <a:gd name="connsiteY2" fmla="*/ 6856 h 584812"/>
                <a:gd name="connsiteX3" fmla="*/ 6856 w 13838"/>
                <a:gd name="connsiteY3" fmla="*/ 0 h 584812"/>
                <a:gd name="connsiteX4" fmla="*/ 0 w 13838"/>
                <a:gd name="connsiteY4" fmla="*/ 6856 h 584812"/>
                <a:gd name="connsiteX5" fmla="*/ 0 w 13838"/>
                <a:gd name="connsiteY5" fmla="*/ 584812 h 58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584812">
                  <a:moveTo>
                    <a:pt x="6856" y="584812"/>
                  </a:moveTo>
                  <a:lnTo>
                    <a:pt x="13839" y="584812"/>
                  </a:lnTo>
                  <a:lnTo>
                    <a:pt x="13839" y="6856"/>
                  </a:lnTo>
                  <a:cubicBezTo>
                    <a:pt x="13775" y="3050"/>
                    <a:pt x="10665" y="0"/>
                    <a:pt x="6856" y="0"/>
                  </a:cubicBezTo>
                  <a:cubicBezTo>
                    <a:pt x="3072" y="0"/>
                    <a:pt x="0" y="3070"/>
                    <a:pt x="0" y="6856"/>
                  </a:cubicBezTo>
                  <a:lnTo>
                    <a:pt x="0" y="584812"/>
                  </a:lnTo>
                  <a:close/>
                </a:path>
              </a:pathLst>
            </a:custGeom>
            <a:solidFill>
              <a:srgbClr val="000000"/>
            </a:solidFill>
            <a:ln w="12690"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5259592A-A083-4261-99B8-38F818172E27}"/>
                </a:ext>
              </a:extLst>
            </p:cNvPr>
            <p:cNvSpPr/>
            <p:nvPr/>
          </p:nvSpPr>
          <p:spPr>
            <a:xfrm>
              <a:off x="9777626" y="6234777"/>
              <a:ext cx="12723" cy="203252"/>
            </a:xfrm>
            <a:custGeom>
              <a:avLst/>
              <a:gdLst>
                <a:gd name="connsiteX0" fmla="*/ 5683 w 12723"/>
                <a:gd name="connsiteY0" fmla="*/ 193984 h 203252"/>
                <a:gd name="connsiteX1" fmla="*/ 9746 w 12723"/>
                <a:gd name="connsiteY1" fmla="*/ 195508 h 203252"/>
                <a:gd name="connsiteX2" fmla="*/ 12667 w 12723"/>
                <a:gd name="connsiteY2" fmla="*/ 195508 h 203252"/>
                <a:gd name="connsiteX3" fmla="*/ 12667 w 12723"/>
                <a:gd name="connsiteY3" fmla="*/ 5057 h 203252"/>
                <a:gd name="connsiteX4" fmla="*/ 12667 w 12723"/>
                <a:gd name="connsiteY4" fmla="*/ 5057 h 203252"/>
                <a:gd name="connsiteX5" fmla="*/ 12667 w 12723"/>
                <a:gd name="connsiteY5" fmla="*/ 4295 h 203252"/>
                <a:gd name="connsiteX6" fmla="*/ 12667 w 12723"/>
                <a:gd name="connsiteY6" fmla="*/ 3025 h 203252"/>
                <a:gd name="connsiteX7" fmla="*/ 12667 w 12723"/>
                <a:gd name="connsiteY7" fmla="*/ 3025 h 203252"/>
                <a:gd name="connsiteX8" fmla="*/ 12667 w 12723"/>
                <a:gd name="connsiteY8" fmla="*/ 2136 h 203252"/>
                <a:gd name="connsiteX9" fmla="*/ 12667 w 12723"/>
                <a:gd name="connsiteY9" fmla="*/ 1120 h 203252"/>
                <a:gd name="connsiteX10" fmla="*/ 11651 w 12723"/>
                <a:gd name="connsiteY10" fmla="*/ 105 h 203252"/>
                <a:gd name="connsiteX11" fmla="*/ 10635 w 12723"/>
                <a:gd name="connsiteY11" fmla="*/ 105 h 203252"/>
                <a:gd name="connsiteX12" fmla="*/ 9365 w 12723"/>
                <a:gd name="connsiteY12" fmla="*/ 105 h 203252"/>
                <a:gd name="connsiteX13" fmla="*/ 7333 w 12723"/>
                <a:gd name="connsiteY13" fmla="*/ 105 h 203252"/>
                <a:gd name="connsiteX14" fmla="*/ 478 w 12723"/>
                <a:gd name="connsiteY14" fmla="*/ 6961 h 203252"/>
                <a:gd name="connsiteX15" fmla="*/ 478 w 12723"/>
                <a:gd name="connsiteY15" fmla="*/ 203253 h 203252"/>
                <a:gd name="connsiteX16" fmla="*/ 4338 w 12723"/>
                <a:gd name="connsiteY16" fmla="*/ 194365 h 203252"/>
                <a:gd name="connsiteX17" fmla="*/ 5683 w 12723"/>
                <a:gd name="connsiteY17" fmla="*/ 193984 h 20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23" h="203252">
                  <a:moveTo>
                    <a:pt x="5683" y="193984"/>
                  </a:moveTo>
                  <a:cubicBezTo>
                    <a:pt x="7168" y="194035"/>
                    <a:pt x="8590" y="194568"/>
                    <a:pt x="9746" y="195508"/>
                  </a:cubicBezTo>
                  <a:lnTo>
                    <a:pt x="12667" y="195508"/>
                  </a:lnTo>
                  <a:lnTo>
                    <a:pt x="12667" y="5057"/>
                  </a:lnTo>
                  <a:lnTo>
                    <a:pt x="12667" y="5057"/>
                  </a:lnTo>
                  <a:cubicBezTo>
                    <a:pt x="12717" y="4803"/>
                    <a:pt x="12717" y="4549"/>
                    <a:pt x="12667" y="4295"/>
                  </a:cubicBezTo>
                  <a:cubicBezTo>
                    <a:pt x="12743" y="3876"/>
                    <a:pt x="12743" y="3444"/>
                    <a:pt x="12667" y="3025"/>
                  </a:cubicBezTo>
                  <a:lnTo>
                    <a:pt x="12667" y="3025"/>
                  </a:lnTo>
                  <a:cubicBezTo>
                    <a:pt x="12705" y="2733"/>
                    <a:pt x="12705" y="2428"/>
                    <a:pt x="12667" y="2136"/>
                  </a:cubicBezTo>
                  <a:cubicBezTo>
                    <a:pt x="12729" y="1806"/>
                    <a:pt x="12729" y="1451"/>
                    <a:pt x="12667" y="1120"/>
                  </a:cubicBezTo>
                  <a:lnTo>
                    <a:pt x="11651" y="105"/>
                  </a:lnTo>
                  <a:lnTo>
                    <a:pt x="10635" y="105"/>
                  </a:lnTo>
                  <a:lnTo>
                    <a:pt x="9365" y="105"/>
                  </a:lnTo>
                  <a:cubicBezTo>
                    <a:pt x="8692" y="-35"/>
                    <a:pt x="8007" y="-35"/>
                    <a:pt x="7333" y="105"/>
                  </a:cubicBezTo>
                  <a:cubicBezTo>
                    <a:pt x="3550" y="105"/>
                    <a:pt x="478" y="3177"/>
                    <a:pt x="478" y="6961"/>
                  </a:cubicBezTo>
                  <a:lnTo>
                    <a:pt x="478" y="203253"/>
                  </a:lnTo>
                  <a:cubicBezTo>
                    <a:pt x="-907" y="199736"/>
                    <a:pt x="820" y="195749"/>
                    <a:pt x="4338" y="194365"/>
                  </a:cubicBezTo>
                  <a:cubicBezTo>
                    <a:pt x="4782" y="194187"/>
                    <a:pt x="5226" y="194060"/>
                    <a:pt x="5683" y="193984"/>
                  </a:cubicBezTo>
                  <a:close/>
                </a:path>
              </a:pathLst>
            </a:custGeom>
            <a:solidFill>
              <a:srgbClr val="000000"/>
            </a:solidFill>
            <a:ln w="12690"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4F902706-29FA-4C7F-81A6-B191E2A1E7DE}"/>
                </a:ext>
              </a:extLst>
            </p:cNvPr>
            <p:cNvSpPr/>
            <p:nvPr/>
          </p:nvSpPr>
          <p:spPr>
            <a:xfrm>
              <a:off x="9790293" y="6443997"/>
              <a:ext cx="2665" cy="142"/>
            </a:xfrm>
            <a:custGeom>
              <a:avLst/>
              <a:gdLst>
                <a:gd name="connsiteX0" fmla="*/ 0 w 2665"/>
                <a:gd name="connsiteY0" fmla="*/ 0 h 142"/>
                <a:gd name="connsiteX1" fmla="*/ 2666 w 2665"/>
                <a:gd name="connsiteY1" fmla="*/ 0 h 142"/>
                <a:gd name="connsiteX2" fmla="*/ 0 w 2665"/>
                <a:gd name="connsiteY2" fmla="*/ 0 h 142"/>
              </a:gdLst>
              <a:ahLst/>
              <a:cxnLst>
                <a:cxn ang="0">
                  <a:pos x="connsiteX0" y="connsiteY0"/>
                </a:cxn>
                <a:cxn ang="0">
                  <a:pos x="connsiteX1" y="connsiteY1"/>
                </a:cxn>
                <a:cxn ang="0">
                  <a:pos x="connsiteX2" y="connsiteY2"/>
                </a:cxn>
              </a:cxnLst>
              <a:rect l="l" t="t" r="r" b="b"/>
              <a:pathLst>
                <a:path w="2665" h="142">
                  <a:moveTo>
                    <a:pt x="0" y="0"/>
                  </a:moveTo>
                  <a:lnTo>
                    <a:pt x="2666" y="0"/>
                  </a:lnTo>
                  <a:cubicBezTo>
                    <a:pt x="1790" y="190"/>
                    <a:pt x="876" y="190"/>
                    <a:pt x="0" y="0"/>
                  </a:cubicBezTo>
                  <a:close/>
                </a:path>
              </a:pathLst>
            </a:custGeom>
            <a:solidFill>
              <a:srgbClr val="000000"/>
            </a:solidFill>
            <a:ln w="12690"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C7D3FFBF-C431-4FFF-B151-2FD64321749F}"/>
                </a:ext>
              </a:extLst>
            </p:cNvPr>
            <p:cNvSpPr/>
            <p:nvPr/>
          </p:nvSpPr>
          <p:spPr>
            <a:xfrm>
              <a:off x="9787372" y="6430285"/>
              <a:ext cx="5586" cy="1523"/>
            </a:xfrm>
            <a:custGeom>
              <a:avLst/>
              <a:gdLst>
                <a:gd name="connsiteX0" fmla="*/ 0 w 5586"/>
                <a:gd name="connsiteY0" fmla="*/ 0 h 1523"/>
                <a:gd name="connsiteX1" fmla="*/ 1524 w 5586"/>
                <a:gd name="connsiteY1" fmla="*/ 1524 h 1523"/>
                <a:gd name="connsiteX2" fmla="*/ 5587 w 5586"/>
                <a:gd name="connsiteY2" fmla="*/ 0 h 1523"/>
                <a:gd name="connsiteX3" fmla="*/ 0 w 5586"/>
                <a:gd name="connsiteY3" fmla="*/ 0 h 1523"/>
              </a:gdLst>
              <a:ahLst/>
              <a:cxnLst>
                <a:cxn ang="0">
                  <a:pos x="connsiteX0" y="connsiteY0"/>
                </a:cxn>
                <a:cxn ang="0">
                  <a:pos x="connsiteX1" y="connsiteY1"/>
                </a:cxn>
                <a:cxn ang="0">
                  <a:pos x="connsiteX2" y="connsiteY2"/>
                </a:cxn>
                <a:cxn ang="0">
                  <a:pos x="connsiteX3" y="connsiteY3"/>
                </a:cxn>
              </a:cxnLst>
              <a:rect l="l" t="t" r="r" b="b"/>
              <a:pathLst>
                <a:path w="5586" h="1523">
                  <a:moveTo>
                    <a:pt x="0" y="0"/>
                  </a:moveTo>
                  <a:cubicBezTo>
                    <a:pt x="597" y="406"/>
                    <a:pt x="1117" y="927"/>
                    <a:pt x="1524" y="1524"/>
                  </a:cubicBezTo>
                  <a:cubicBezTo>
                    <a:pt x="2667" y="584"/>
                    <a:pt x="4101" y="51"/>
                    <a:pt x="5587" y="0"/>
                  </a:cubicBezTo>
                  <a:lnTo>
                    <a:pt x="0" y="0"/>
                  </a:lnTo>
                  <a:close/>
                </a:path>
              </a:pathLst>
            </a:custGeom>
            <a:solidFill>
              <a:srgbClr val="000000"/>
            </a:solidFill>
            <a:ln w="12690"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3AD469F6-95D4-4A3F-8F10-C7DF9D64C1DC}"/>
                </a:ext>
              </a:extLst>
            </p:cNvPr>
            <p:cNvSpPr/>
            <p:nvPr/>
          </p:nvSpPr>
          <p:spPr>
            <a:xfrm>
              <a:off x="9788895" y="6429777"/>
              <a:ext cx="252029" cy="13347"/>
            </a:xfrm>
            <a:custGeom>
              <a:avLst/>
              <a:gdLst>
                <a:gd name="connsiteX0" fmla="*/ 246570 w 252029"/>
                <a:gd name="connsiteY0" fmla="*/ 7110 h 13347"/>
                <a:gd name="connsiteX1" fmla="*/ 246570 w 252029"/>
                <a:gd name="connsiteY1" fmla="*/ 0 h 13347"/>
                <a:gd name="connsiteX2" fmla="*/ 4063 w 252029"/>
                <a:gd name="connsiteY2" fmla="*/ 0 h 13347"/>
                <a:gd name="connsiteX3" fmla="*/ 0 w 252029"/>
                <a:gd name="connsiteY3" fmla="*/ 1524 h 13347"/>
                <a:gd name="connsiteX4" fmla="*/ 1397 w 252029"/>
                <a:gd name="connsiteY4" fmla="*/ 5460 h 13347"/>
                <a:gd name="connsiteX5" fmla="*/ 1397 w 252029"/>
                <a:gd name="connsiteY5" fmla="*/ 13205 h 13347"/>
                <a:gd name="connsiteX6" fmla="*/ 4063 w 252029"/>
                <a:gd name="connsiteY6" fmla="*/ 13205 h 13347"/>
                <a:gd name="connsiteX7" fmla="*/ 252030 w 252029"/>
                <a:gd name="connsiteY7" fmla="*/ 13205 h 13347"/>
                <a:gd name="connsiteX8" fmla="*/ 246570 w 252029"/>
                <a:gd name="connsiteY8" fmla="*/ 7110 h 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29" h="13347">
                  <a:moveTo>
                    <a:pt x="246570" y="7110"/>
                  </a:moveTo>
                  <a:lnTo>
                    <a:pt x="246570" y="0"/>
                  </a:lnTo>
                  <a:lnTo>
                    <a:pt x="4063" y="0"/>
                  </a:lnTo>
                  <a:cubicBezTo>
                    <a:pt x="2577" y="51"/>
                    <a:pt x="1143" y="584"/>
                    <a:pt x="0" y="1524"/>
                  </a:cubicBezTo>
                  <a:cubicBezTo>
                    <a:pt x="851" y="2666"/>
                    <a:pt x="1346" y="4037"/>
                    <a:pt x="1397" y="5460"/>
                  </a:cubicBezTo>
                  <a:lnTo>
                    <a:pt x="1397" y="13205"/>
                  </a:lnTo>
                  <a:cubicBezTo>
                    <a:pt x="2273" y="13395"/>
                    <a:pt x="3187" y="13395"/>
                    <a:pt x="4063" y="13205"/>
                  </a:cubicBezTo>
                  <a:lnTo>
                    <a:pt x="252030" y="13205"/>
                  </a:lnTo>
                  <a:cubicBezTo>
                    <a:pt x="249059" y="12595"/>
                    <a:pt x="246849" y="10119"/>
                    <a:pt x="246570" y="7110"/>
                  </a:cubicBezTo>
                  <a:close/>
                </a:path>
              </a:pathLst>
            </a:custGeom>
            <a:solidFill>
              <a:srgbClr val="000000"/>
            </a:solidFill>
            <a:ln w="12690"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56ED1D9C-1D26-4412-873F-C1A9F1199FE2}"/>
                </a:ext>
              </a:extLst>
            </p:cNvPr>
            <p:cNvSpPr/>
            <p:nvPr/>
          </p:nvSpPr>
          <p:spPr>
            <a:xfrm>
              <a:off x="9776453" y="5982216"/>
              <a:ext cx="13839" cy="134712"/>
            </a:xfrm>
            <a:custGeom>
              <a:avLst/>
              <a:gdLst>
                <a:gd name="connsiteX0" fmla="*/ 6856 w 13839"/>
                <a:gd name="connsiteY0" fmla="*/ 6856 h 134712"/>
                <a:gd name="connsiteX1" fmla="*/ 0 w 13839"/>
                <a:gd name="connsiteY1" fmla="*/ 0 h 134712"/>
                <a:gd name="connsiteX2" fmla="*/ 0 w 13839"/>
                <a:gd name="connsiteY2" fmla="*/ 134713 h 134712"/>
                <a:gd name="connsiteX3" fmla="*/ 13840 w 13839"/>
                <a:gd name="connsiteY3" fmla="*/ 134713 h 134712"/>
                <a:gd name="connsiteX4" fmla="*/ 13840 w 13839"/>
                <a:gd name="connsiteY4" fmla="*/ 0 h 134712"/>
                <a:gd name="connsiteX5" fmla="*/ 6856 w 13839"/>
                <a:gd name="connsiteY5" fmla="*/ 6856 h 1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34712">
                  <a:moveTo>
                    <a:pt x="6856" y="6856"/>
                  </a:moveTo>
                  <a:cubicBezTo>
                    <a:pt x="3073" y="6856"/>
                    <a:pt x="0" y="3786"/>
                    <a:pt x="0" y="0"/>
                  </a:cubicBezTo>
                  <a:lnTo>
                    <a:pt x="0" y="134713"/>
                  </a:lnTo>
                  <a:lnTo>
                    <a:pt x="13840" y="134713"/>
                  </a:lnTo>
                  <a:lnTo>
                    <a:pt x="13840" y="0"/>
                  </a:lnTo>
                  <a:cubicBezTo>
                    <a:pt x="13776" y="3806"/>
                    <a:pt x="10666" y="6856"/>
                    <a:pt x="6856" y="6856"/>
                  </a:cubicBezTo>
                  <a:close/>
                </a:path>
              </a:pathLst>
            </a:custGeom>
            <a:solidFill>
              <a:srgbClr val="000000"/>
            </a:solidFill>
            <a:ln w="12690"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B81B5667-E9D7-488E-A6EB-9A57AE964A36}"/>
                </a:ext>
              </a:extLst>
            </p:cNvPr>
            <p:cNvSpPr/>
            <p:nvPr/>
          </p:nvSpPr>
          <p:spPr>
            <a:xfrm>
              <a:off x="9783309" y="4991108"/>
              <a:ext cx="169754" cy="13839"/>
            </a:xfrm>
            <a:custGeom>
              <a:avLst/>
              <a:gdLst>
                <a:gd name="connsiteX0" fmla="*/ 6984 w 169754"/>
                <a:gd name="connsiteY0" fmla="*/ 6856 h 13839"/>
                <a:gd name="connsiteX1" fmla="*/ 6984 w 169754"/>
                <a:gd name="connsiteY1" fmla="*/ 13839 h 13839"/>
                <a:gd name="connsiteX2" fmla="*/ 169755 w 169754"/>
                <a:gd name="connsiteY2" fmla="*/ 13839 h 13839"/>
                <a:gd name="connsiteX3" fmla="*/ 162899 w 169754"/>
                <a:gd name="connsiteY3" fmla="*/ 6856 h 13839"/>
                <a:gd name="connsiteX4" fmla="*/ 169755 w 169754"/>
                <a:gd name="connsiteY4" fmla="*/ 0 h 13839"/>
                <a:gd name="connsiteX5" fmla="*/ 0 w 169754"/>
                <a:gd name="connsiteY5" fmla="*/ 0 h 13839"/>
                <a:gd name="connsiteX6" fmla="*/ 6984 w 169754"/>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54" h="13839">
                  <a:moveTo>
                    <a:pt x="6984" y="6856"/>
                  </a:moveTo>
                  <a:lnTo>
                    <a:pt x="6984" y="13839"/>
                  </a:lnTo>
                  <a:lnTo>
                    <a:pt x="169755" y="13839"/>
                  </a:lnTo>
                  <a:cubicBezTo>
                    <a:pt x="165946" y="13770"/>
                    <a:pt x="162899" y="10664"/>
                    <a:pt x="162899" y="6856"/>
                  </a:cubicBezTo>
                  <a:cubicBezTo>
                    <a:pt x="162899" y="3070"/>
                    <a:pt x="165971" y="0"/>
                    <a:pt x="169755" y="0"/>
                  </a:cubicBezTo>
                  <a:lnTo>
                    <a:pt x="0" y="0"/>
                  </a:lnTo>
                  <a:cubicBezTo>
                    <a:pt x="3810" y="-1"/>
                    <a:pt x="6920" y="3050"/>
                    <a:pt x="6984" y="6856"/>
                  </a:cubicBezTo>
                  <a:close/>
                </a:path>
              </a:pathLst>
            </a:custGeom>
            <a:solidFill>
              <a:srgbClr val="000000"/>
            </a:solidFill>
            <a:ln w="12690"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372AE112-6A00-4056-AA84-19F0FA96AF1B}"/>
                </a:ext>
              </a:extLst>
            </p:cNvPr>
            <p:cNvSpPr/>
            <p:nvPr/>
          </p:nvSpPr>
          <p:spPr>
            <a:xfrm>
              <a:off x="9946715" y="4991727"/>
              <a:ext cx="106865" cy="13982"/>
            </a:xfrm>
            <a:custGeom>
              <a:avLst/>
              <a:gdLst>
                <a:gd name="connsiteX0" fmla="*/ 98654 w 106865"/>
                <a:gd name="connsiteY0" fmla="*/ 13220 h 13982"/>
                <a:gd name="connsiteX1" fmla="*/ 99797 w 106865"/>
                <a:gd name="connsiteY1" fmla="*/ 13220 h 13982"/>
                <a:gd name="connsiteX2" fmla="*/ 101066 w 106865"/>
                <a:gd name="connsiteY2" fmla="*/ 13220 h 13982"/>
                <a:gd name="connsiteX3" fmla="*/ 106780 w 106865"/>
                <a:gd name="connsiteY3" fmla="*/ 6491 h 13982"/>
                <a:gd name="connsiteX4" fmla="*/ 106780 w 106865"/>
                <a:gd name="connsiteY4" fmla="*/ 3825 h 13982"/>
                <a:gd name="connsiteX5" fmla="*/ 105256 w 106865"/>
                <a:gd name="connsiteY5" fmla="*/ 1666 h 13982"/>
                <a:gd name="connsiteX6" fmla="*/ 104113 w 106865"/>
                <a:gd name="connsiteY6" fmla="*/ 905 h 13982"/>
                <a:gd name="connsiteX7" fmla="*/ 102971 w 106865"/>
                <a:gd name="connsiteY7" fmla="*/ 143 h 13982"/>
                <a:gd name="connsiteX8" fmla="*/ 100431 w 106865"/>
                <a:gd name="connsiteY8" fmla="*/ 143 h 13982"/>
                <a:gd name="connsiteX9" fmla="*/ 6857 w 106865"/>
                <a:gd name="connsiteY9" fmla="*/ 143 h 13982"/>
                <a:gd name="connsiteX10" fmla="*/ 0 w 106865"/>
                <a:gd name="connsiteY10" fmla="*/ 6999 h 13982"/>
                <a:gd name="connsiteX11" fmla="*/ 6857 w 106865"/>
                <a:gd name="connsiteY11" fmla="*/ 13982 h 13982"/>
                <a:gd name="connsiteX12" fmla="*/ 99161 w 106865"/>
                <a:gd name="connsiteY12" fmla="*/ 13982 h 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865" h="13982">
                  <a:moveTo>
                    <a:pt x="98654" y="13220"/>
                  </a:moveTo>
                  <a:lnTo>
                    <a:pt x="99797" y="13220"/>
                  </a:lnTo>
                  <a:lnTo>
                    <a:pt x="101066" y="13220"/>
                  </a:lnTo>
                  <a:cubicBezTo>
                    <a:pt x="104329" y="12619"/>
                    <a:pt x="106716" y="9806"/>
                    <a:pt x="106780" y="6491"/>
                  </a:cubicBezTo>
                  <a:cubicBezTo>
                    <a:pt x="106894" y="5606"/>
                    <a:pt x="106894" y="4710"/>
                    <a:pt x="106780" y="3825"/>
                  </a:cubicBezTo>
                  <a:cubicBezTo>
                    <a:pt x="106386" y="3029"/>
                    <a:pt x="105878" y="2301"/>
                    <a:pt x="105256" y="1666"/>
                  </a:cubicBezTo>
                  <a:lnTo>
                    <a:pt x="104113" y="905"/>
                  </a:lnTo>
                  <a:lnTo>
                    <a:pt x="102971" y="143"/>
                  </a:lnTo>
                  <a:cubicBezTo>
                    <a:pt x="102132" y="-48"/>
                    <a:pt x="101269" y="-48"/>
                    <a:pt x="100431" y="143"/>
                  </a:cubicBezTo>
                  <a:lnTo>
                    <a:pt x="6857" y="143"/>
                  </a:lnTo>
                  <a:cubicBezTo>
                    <a:pt x="3073" y="143"/>
                    <a:pt x="0" y="3213"/>
                    <a:pt x="0" y="6999"/>
                  </a:cubicBezTo>
                  <a:cubicBezTo>
                    <a:pt x="0" y="10807"/>
                    <a:pt x="3048" y="13912"/>
                    <a:pt x="6857" y="13982"/>
                  </a:cubicBezTo>
                  <a:lnTo>
                    <a:pt x="99161" y="13982"/>
                  </a:lnTo>
                  <a:close/>
                </a:path>
              </a:pathLst>
            </a:custGeom>
            <a:solidFill>
              <a:srgbClr val="000000"/>
            </a:solidFill>
            <a:ln w="12690" cap="flat">
              <a:noFill/>
              <a:prstDash val="solid"/>
              <a:miter/>
            </a:ln>
          </p:spPr>
          <p:txBody>
            <a:bodyPr rtlCol="0" anchor="ctr"/>
            <a:lstStyle/>
            <a:p>
              <a:endParaRPr lang="en-US"/>
            </a:p>
          </p:txBody>
        </p:sp>
        <p:sp>
          <p:nvSpPr>
            <p:cNvPr id="985" name="Freeform: Shape 984">
              <a:extLst>
                <a:ext uri="{FF2B5EF4-FFF2-40B4-BE49-F238E27FC236}">
                  <a16:creationId xmlns:a16="http://schemas.microsoft.com/office/drawing/2014/main" id="{8D44528C-AF8F-4BB0-AF0A-8C32FC2D4B54}"/>
                </a:ext>
              </a:extLst>
            </p:cNvPr>
            <p:cNvSpPr/>
            <p:nvPr/>
          </p:nvSpPr>
          <p:spPr>
            <a:xfrm>
              <a:off x="10072794" y="6112358"/>
              <a:ext cx="133315" cy="4443"/>
            </a:xfrm>
            <a:custGeom>
              <a:avLst/>
              <a:gdLst>
                <a:gd name="connsiteX0" fmla="*/ 0 w 133315"/>
                <a:gd name="connsiteY0" fmla="*/ 4444 h 4443"/>
                <a:gd name="connsiteX1" fmla="*/ 126967 w 133315"/>
                <a:gd name="connsiteY1" fmla="*/ 4444 h 4443"/>
                <a:gd name="connsiteX2" fmla="*/ 133315 w 133315"/>
                <a:gd name="connsiteY2" fmla="*/ 0 h 4443"/>
                <a:gd name="connsiteX3" fmla="*/ 0 w 133315"/>
                <a:gd name="connsiteY3" fmla="*/ 0 h 4443"/>
                <a:gd name="connsiteX4" fmla="*/ 0 w 133315"/>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15" h="4443">
                  <a:moveTo>
                    <a:pt x="0" y="4444"/>
                  </a:moveTo>
                  <a:lnTo>
                    <a:pt x="126967" y="4444"/>
                  </a:lnTo>
                  <a:cubicBezTo>
                    <a:pt x="127932" y="1765"/>
                    <a:pt x="130471" y="-13"/>
                    <a:pt x="133315" y="0"/>
                  </a:cubicBezTo>
                  <a:lnTo>
                    <a:pt x="0" y="0"/>
                  </a:lnTo>
                  <a:lnTo>
                    <a:pt x="0" y="4444"/>
                  </a:lnTo>
                  <a:close/>
                </a:path>
              </a:pathLst>
            </a:custGeom>
            <a:solidFill>
              <a:srgbClr val="000000"/>
            </a:solidFill>
            <a:ln w="12690" cap="flat">
              <a:noFill/>
              <a:prstDash val="solid"/>
              <a:miter/>
            </a:ln>
          </p:spPr>
          <p:txBody>
            <a:bodyPr rtlCol="0" anchor="ctr"/>
            <a:lstStyle/>
            <a:p>
              <a:endParaRPr lang="en-US"/>
            </a:p>
          </p:txBody>
        </p:sp>
        <p:sp>
          <p:nvSpPr>
            <p:cNvPr id="986" name="Freeform: Shape 985">
              <a:extLst>
                <a:ext uri="{FF2B5EF4-FFF2-40B4-BE49-F238E27FC236}">
                  <a16:creationId xmlns:a16="http://schemas.microsoft.com/office/drawing/2014/main" id="{4C1F89DF-A6F8-40EF-ADED-09E51AB2206E}"/>
                </a:ext>
              </a:extLst>
            </p:cNvPr>
            <p:cNvSpPr/>
            <p:nvPr/>
          </p:nvSpPr>
          <p:spPr>
            <a:xfrm>
              <a:off x="10264894" y="6106770"/>
              <a:ext cx="13252" cy="10031"/>
            </a:xfrm>
            <a:custGeom>
              <a:avLst/>
              <a:gdLst>
                <a:gd name="connsiteX0" fmla="*/ 6730 w 13252"/>
                <a:gd name="connsiteY0" fmla="*/ 5588 h 10031"/>
                <a:gd name="connsiteX1" fmla="*/ 13205 w 13252"/>
                <a:gd name="connsiteY1" fmla="*/ 10032 h 10031"/>
                <a:gd name="connsiteX2" fmla="*/ 13205 w 13252"/>
                <a:gd name="connsiteY2" fmla="*/ 10032 h 10031"/>
                <a:gd name="connsiteX3" fmla="*/ 13205 w 13252"/>
                <a:gd name="connsiteY3" fmla="*/ 6350 h 10031"/>
                <a:gd name="connsiteX4" fmla="*/ 13205 w 13252"/>
                <a:gd name="connsiteY4" fmla="*/ 6350 h 10031"/>
                <a:gd name="connsiteX5" fmla="*/ 13205 w 13252"/>
                <a:gd name="connsiteY5" fmla="*/ 4953 h 10031"/>
                <a:gd name="connsiteX6" fmla="*/ 13205 w 13252"/>
                <a:gd name="connsiteY6" fmla="*/ 4191 h 10031"/>
                <a:gd name="connsiteX7" fmla="*/ 13205 w 13252"/>
                <a:gd name="connsiteY7" fmla="*/ 4191 h 10031"/>
                <a:gd name="connsiteX8" fmla="*/ 12443 w 13252"/>
                <a:gd name="connsiteY8" fmla="*/ 3176 h 10031"/>
                <a:gd name="connsiteX9" fmla="*/ 11554 w 13252"/>
                <a:gd name="connsiteY9" fmla="*/ 2033 h 10031"/>
                <a:gd name="connsiteX10" fmla="*/ 6730 w 13252"/>
                <a:gd name="connsiteY10" fmla="*/ 1 h 10031"/>
                <a:gd name="connsiteX11" fmla="*/ 2286 w 13252"/>
                <a:gd name="connsiteY11" fmla="*/ 1652 h 10031"/>
                <a:gd name="connsiteX12" fmla="*/ 763 w 13252"/>
                <a:gd name="connsiteY12" fmla="*/ 3683 h 10031"/>
                <a:gd name="connsiteX13" fmla="*/ 0 w 13252"/>
                <a:gd name="connsiteY13" fmla="*/ 6096 h 1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52" h="10031">
                  <a:moveTo>
                    <a:pt x="6730" y="5588"/>
                  </a:moveTo>
                  <a:cubicBezTo>
                    <a:pt x="9612" y="5563"/>
                    <a:pt x="12189" y="7340"/>
                    <a:pt x="13205" y="10032"/>
                  </a:cubicBezTo>
                  <a:lnTo>
                    <a:pt x="13205" y="10032"/>
                  </a:lnTo>
                  <a:lnTo>
                    <a:pt x="13205" y="6350"/>
                  </a:lnTo>
                  <a:cubicBezTo>
                    <a:pt x="13205" y="6350"/>
                    <a:pt x="13205" y="6350"/>
                    <a:pt x="13205" y="6350"/>
                  </a:cubicBezTo>
                  <a:cubicBezTo>
                    <a:pt x="13269" y="5880"/>
                    <a:pt x="13269" y="5423"/>
                    <a:pt x="13205" y="4953"/>
                  </a:cubicBezTo>
                  <a:cubicBezTo>
                    <a:pt x="13142" y="4699"/>
                    <a:pt x="13142" y="4445"/>
                    <a:pt x="13205" y="4191"/>
                  </a:cubicBezTo>
                  <a:lnTo>
                    <a:pt x="13205" y="4191"/>
                  </a:lnTo>
                  <a:cubicBezTo>
                    <a:pt x="13027" y="3798"/>
                    <a:pt x="12760" y="3455"/>
                    <a:pt x="12443" y="3176"/>
                  </a:cubicBezTo>
                  <a:cubicBezTo>
                    <a:pt x="12253" y="2718"/>
                    <a:pt x="11948" y="2325"/>
                    <a:pt x="11554" y="2033"/>
                  </a:cubicBezTo>
                  <a:cubicBezTo>
                    <a:pt x="10297" y="712"/>
                    <a:pt x="8558" y="-37"/>
                    <a:pt x="6730" y="1"/>
                  </a:cubicBezTo>
                  <a:cubicBezTo>
                    <a:pt x="5105" y="27"/>
                    <a:pt x="3530" y="611"/>
                    <a:pt x="2286" y="1652"/>
                  </a:cubicBezTo>
                  <a:cubicBezTo>
                    <a:pt x="1676" y="2236"/>
                    <a:pt x="1155" y="2922"/>
                    <a:pt x="763" y="3683"/>
                  </a:cubicBezTo>
                  <a:cubicBezTo>
                    <a:pt x="356" y="4433"/>
                    <a:pt x="102" y="5245"/>
                    <a:pt x="0" y="6096"/>
                  </a:cubicBezTo>
                  <a:close/>
                </a:path>
              </a:pathLst>
            </a:custGeom>
            <a:solidFill>
              <a:srgbClr val="000000"/>
            </a:solidFill>
            <a:ln w="12690" cap="flat">
              <a:noFill/>
              <a:prstDash val="solid"/>
              <a:miter/>
            </a:ln>
          </p:spPr>
          <p:txBody>
            <a:bodyPr rtlCol="0" anchor="ctr"/>
            <a:lstStyle/>
            <a:p>
              <a:endParaRPr lang="en-US"/>
            </a:p>
          </p:txBody>
        </p:sp>
        <p:sp>
          <p:nvSpPr>
            <p:cNvPr id="987" name="Freeform: Shape 986">
              <a:extLst>
                <a:ext uri="{FF2B5EF4-FFF2-40B4-BE49-F238E27FC236}">
                  <a16:creationId xmlns:a16="http://schemas.microsoft.com/office/drawing/2014/main" id="{00FBA90B-D363-476D-B952-58F25CDE9BDE}"/>
                </a:ext>
              </a:extLst>
            </p:cNvPr>
            <p:cNvSpPr/>
            <p:nvPr/>
          </p:nvSpPr>
          <p:spPr>
            <a:xfrm>
              <a:off x="9358858" y="5777672"/>
              <a:ext cx="57769" cy="13839"/>
            </a:xfrm>
            <a:custGeom>
              <a:avLst/>
              <a:gdLst>
                <a:gd name="connsiteX0" fmla="*/ 6983 w 57769"/>
                <a:gd name="connsiteY0" fmla="*/ 13839 h 13839"/>
                <a:gd name="connsiteX1" fmla="*/ 57770 w 57769"/>
                <a:gd name="connsiteY1" fmla="*/ 13839 h 13839"/>
                <a:gd name="connsiteX2" fmla="*/ 50914 w 57769"/>
                <a:gd name="connsiteY2" fmla="*/ 6856 h 13839"/>
                <a:gd name="connsiteX3" fmla="*/ 57770 w 57769"/>
                <a:gd name="connsiteY3" fmla="*/ 0 h 13839"/>
                <a:gd name="connsiteX4" fmla="*/ 6983 w 57769"/>
                <a:gd name="connsiteY4" fmla="*/ 0 h 13839"/>
                <a:gd name="connsiteX5" fmla="*/ 0 w 57769"/>
                <a:gd name="connsiteY5" fmla="*/ 6856 h 13839"/>
                <a:gd name="connsiteX6" fmla="*/ 6983 w 57769"/>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9" h="13839">
                  <a:moveTo>
                    <a:pt x="6983" y="13839"/>
                  </a:moveTo>
                  <a:lnTo>
                    <a:pt x="57770" y="13839"/>
                  </a:lnTo>
                  <a:cubicBezTo>
                    <a:pt x="53961" y="13770"/>
                    <a:pt x="50914" y="10664"/>
                    <a:pt x="50914" y="6856"/>
                  </a:cubicBezTo>
                  <a:cubicBezTo>
                    <a:pt x="50914" y="3070"/>
                    <a:pt x="53987" y="0"/>
                    <a:pt x="57770" y="0"/>
                  </a:cubicBezTo>
                  <a:lnTo>
                    <a:pt x="6983" y="0"/>
                  </a:lnTo>
                  <a:cubicBezTo>
                    <a:pt x="3174" y="0"/>
                    <a:pt x="64" y="3050"/>
                    <a:pt x="0" y="6856"/>
                  </a:cubicBezTo>
                  <a:cubicBezTo>
                    <a:pt x="0" y="10713"/>
                    <a:pt x="3124" y="13839"/>
                    <a:pt x="6983" y="13839"/>
                  </a:cubicBezTo>
                  <a:close/>
                </a:path>
              </a:pathLst>
            </a:custGeom>
            <a:solidFill>
              <a:srgbClr val="000000"/>
            </a:solidFill>
            <a:ln w="12690" cap="flat">
              <a:noFill/>
              <a:prstDash val="solid"/>
              <a:miter/>
            </a:ln>
          </p:spPr>
          <p:txBody>
            <a:bodyPr rtlCol="0" anchor="ctr"/>
            <a:lstStyle/>
            <a:p>
              <a:endParaRPr lang="en-US"/>
            </a:p>
          </p:txBody>
        </p:sp>
        <p:sp>
          <p:nvSpPr>
            <p:cNvPr id="988" name="Freeform: Shape 987">
              <a:extLst>
                <a:ext uri="{FF2B5EF4-FFF2-40B4-BE49-F238E27FC236}">
                  <a16:creationId xmlns:a16="http://schemas.microsoft.com/office/drawing/2014/main" id="{42E04E8C-7DB5-45ED-8977-E5DB9A64FFCD}"/>
                </a:ext>
              </a:extLst>
            </p:cNvPr>
            <p:cNvSpPr/>
            <p:nvPr/>
          </p:nvSpPr>
          <p:spPr>
            <a:xfrm>
              <a:off x="9409265" y="5777672"/>
              <a:ext cx="367188" cy="13839"/>
            </a:xfrm>
            <a:custGeom>
              <a:avLst/>
              <a:gdLst>
                <a:gd name="connsiteX0" fmla="*/ 367188 w 367188"/>
                <a:gd name="connsiteY0" fmla="*/ 6856 h 13839"/>
                <a:gd name="connsiteX1" fmla="*/ 367188 w 367188"/>
                <a:gd name="connsiteY1" fmla="*/ 0 h 13839"/>
                <a:gd name="connsiteX2" fmla="*/ 6856 w 367188"/>
                <a:gd name="connsiteY2" fmla="*/ 0 h 13839"/>
                <a:gd name="connsiteX3" fmla="*/ 0 w 367188"/>
                <a:gd name="connsiteY3" fmla="*/ 6856 h 13839"/>
                <a:gd name="connsiteX4" fmla="*/ 6856 w 367188"/>
                <a:gd name="connsiteY4" fmla="*/ 13839 h 13839"/>
                <a:gd name="connsiteX5" fmla="*/ 367188 w 367188"/>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188" h="13839">
                  <a:moveTo>
                    <a:pt x="367188" y="6856"/>
                  </a:moveTo>
                  <a:lnTo>
                    <a:pt x="367188" y="0"/>
                  </a:lnTo>
                  <a:lnTo>
                    <a:pt x="6856" y="0"/>
                  </a:lnTo>
                  <a:cubicBezTo>
                    <a:pt x="3073" y="0"/>
                    <a:pt x="0" y="3070"/>
                    <a:pt x="0" y="6856"/>
                  </a:cubicBezTo>
                  <a:cubicBezTo>
                    <a:pt x="0" y="10664"/>
                    <a:pt x="3047" y="13771"/>
                    <a:pt x="6856" y="13839"/>
                  </a:cubicBezTo>
                  <a:lnTo>
                    <a:pt x="367188" y="13839"/>
                  </a:lnTo>
                  <a:close/>
                </a:path>
              </a:pathLst>
            </a:custGeom>
            <a:solidFill>
              <a:srgbClr val="000000"/>
            </a:solidFill>
            <a:ln w="12690" cap="flat">
              <a:noFill/>
              <a:prstDash val="solid"/>
              <a:miter/>
            </a:ln>
          </p:spPr>
          <p:txBody>
            <a:bodyPr rtlCol="0" anchor="ctr"/>
            <a:lstStyle/>
            <a:p>
              <a:endParaRPr lang="en-US"/>
            </a:p>
          </p:txBody>
        </p:sp>
        <p:sp>
          <p:nvSpPr>
            <p:cNvPr id="989" name="Freeform: Shape 988">
              <a:extLst>
                <a:ext uri="{FF2B5EF4-FFF2-40B4-BE49-F238E27FC236}">
                  <a16:creationId xmlns:a16="http://schemas.microsoft.com/office/drawing/2014/main" id="{2AC9D54F-AA57-4D86-BC16-BD5BF323670F}"/>
                </a:ext>
              </a:extLst>
            </p:cNvPr>
            <p:cNvSpPr/>
            <p:nvPr/>
          </p:nvSpPr>
          <p:spPr>
            <a:xfrm>
              <a:off x="10060097" y="5777672"/>
              <a:ext cx="145630" cy="13839"/>
            </a:xfrm>
            <a:custGeom>
              <a:avLst/>
              <a:gdLst>
                <a:gd name="connsiteX0" fmla="*/ 0 w 145630"/>
                <a:gd name="connsiteY0" fmla="*/ 13839 h 13839"/>
                <a:gd name="connsiteX1" fmla="*/ 145631 w 145630"/>
                <a:gd name="connsiteY1" fmla="*/ 13839 h 13839"/>
                <a:gd name="connsiteX2" fmla="*/ 138775 w 145630"/>
                <a:gd name="connsiteY2" fmla="*/ 6856 h 13839"/>
                <a:gd name="connsiteX3" fmla="*/ 145631 w 145630"/>
                <a:gd name="connsiteY3" fmla="*/ 0 h 13839"/>
                <a:gd name="connsiteX4" fmla="*/ 0 w 145630"/>
                <a:gd name="connsiteY4" fmla="*/ 0 h 13839"/>
                <a:gd name="connsiteX5" fmla="*/ 0 w 145630"/>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0" h="13839">
                  <a:moveTo>
                    <a:pt x="0" y="13839"/>
                  </a:moveTo>
                  <a:lnTo>
                    <a:pt x="145631" y="13839"/>
                  </a:lnTo>
                  <a:cubicBezTo>
                    <a:pt x="141822" y="13770"/>
                    <a:pt x="138775" y="10664"/>
                    <a:pt x="138775" y="6856"/>
                  </a:cubicBezTo>
                  <a:cubicBezTo>
                    <a:pt x="138775" y="3070"/>
                    <a:pt x="141847" y="0"/>
                    <a:pt x="145631" y="0"/>
                  </a:cubicBezTo>
                  <a:lnTo>
                    <a:pt x="0" y="0"/>
                  </a:lnTo>
                  <a:lnTo>
                    <a:pt x="0" y="13839"/>
                  </a:lnTo>
                  <a:close/>
                </a:path>
              </a:pathLst>
            </a:custGeom>
            <a:solidFill>
              <a:srgbClr val="000000"/>
            </a:solidFill>
            <a:ln w="12690" cap="flat">
              <a:noFill/>
              <a:prstDash val="solid"/>
              <a:miter/>
            </a:ln>
          </p:spPr>
          <p:txBody>
            <a:bodyPr rtlCol="0" anchor="ctr"/>
            <a:lstStyle/>
            <a:p>
              <a:endParaRPr lang="en-US"/>
            </a:p>
          </p:txBody>
        </p:sp>
        <p:sp>
          <p:nvSpPr>
            <p:cNvPr id="990" name="Freeform: Shape 989">
              <a:extLst>
                <a:ext uri="{FF2B5EF4-FFF2-40B4-BE49-F238E27FC236}">
                  <a16:creationId xmlns:a16="http://schemas.microsoft.com/office/drawing/2014/main" id="{ACC218E9-90B7-487D-BCAB-B7CF0DE48246}"/>
                </a:ext>
              </a:extLst>
            </p:cNvPr>
            <p:cNvSpPr/>
            <p:nvPr/>
          </p:nvSpPr>
          <p:spPr>
            <a:xfrm>
              <a:off x="11321094" y="6502402"/>
              <a:ext cx="13750" cy="7745"/>
            </a:xfrm>
            <a:custGeom>
              <a:avLst/>
              <a:gdLst>
                <a:gd name="connsiteX0" fmla="*/ 13750 w 13750"/>
                <a:gd name="connsiteY0" fmla="*/ 0 h 7745"/>
                <a:gd name="connsiteX1" fmla="*/ 13750 w 13750"/>
                <a:gd name="connsiteY1" fmla="*/ 0 h 7745"/>
                <a:gd name="connsiteX2" fmla="*/ 6894 w 13750"/>
                <a:gd name="connsiteY2" fmla="*/ 6856 h 7745"/>
                <a:gd name="connsiteX3" fmla="*/ 38 w 13750"/>
                <a:gd name="connsiteY3" fmla="*/ 0 h 7745"/>
                <a:gd name="connsiteX4" fmla="*/ 38 w 13750"/>
                <a:gd name="connsiteY4" fmla="*/ 1143 h 7745"/>
                <a:gd name="connsiteX5" fmla="*/ 38 w 13750"/>
                <a:gd name="connsiteY5" fmla="*/ 2412 h 7745"/>
                <a:gd name="connsiteX6" fmla="*/ 5371 w 13750"/>
                <a:gd name="connsiteY6" fmla="*/ 7745 h 7745"/>
                <a:gd name="connsiteX7" fmla="*/ 6640 w 13750"/>
                <a:gd name="connsiteY7" fmla="*/ 7745 h 7745"/>
                <a:gd name="connsiteX8" fmla="*/ 7910 w 13750"/>
                <a:gd name="connsiteY8" fmla="*/ 7745 h 7745"/>
                <a:gd name="connsiteX9" fmla="*/ 12100 w 13750"/>
                <a:gd name="connsiteY9" fmla="*/ 5206 h 7745"/>
                <a:gd name="connsiteX10" fmla="*/ 13496 w 13750"/>
                <a:gd name="connsiteY10" fmla="*/ 1143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50" h="7745">
                  <a:moveTo>
                    <a:pt x="13750" y="0"/>
                  </a:moveTo>
                  <a:lnTo>
                    <a:pt x="13750" y="0"/>
                  </a:lnTo>
                  <a:cubicBezTo>
                    <a:pt x="13750" y="3783"/>
                    <a:pt x="10678" y="6856"/>
                    <a:pt x="6894" y="6856"/>
                  </a:cubicBezTo>
                  <a:cubicBezTo>
                    <a:pt x="3110" y="6856"/>
                    <a:pt x="38" y="3783"/>
                    <a:pt x="38" y="0"/>
                  </a:cubicBezTo>
                  <a:lnTo>
                    <a:pt x="38" y="1143"/>
                  </a:lnTo>
                  <a:cubicBezTo>
                    <a:pt x="-13" y="1562"/>
                    <a:pt x="-13" y="1993"/>
                    <a:pt x="38" y="2412"/>
                  </a:cubicBezTo>
                  <a:cubicBezTo>
                    <a:pt x="495" y="5155"/>
                    <a:pt x="2641" y="7288"/>
                    <a:pt x="5371" y="7745"/>
                  </a:cubicBezTo>
                  <a:lnTo>
                    <a:pt x="6640" y="7745"/>
                  </a:lnTo>
                  <a:lnTo>
                    <a:pt x="7910" y="7745"/>
                  </a:lnTo>
                  <a:cubicBezTo>
                    <a:pt x="9586" y="7491"/>
                    <a:pt x="11097" y="6577"/>
                    <a:pt x="12100" y="5206"/>
                  </a:cubicBezTo>
                  <a:cubicBezTo>
                    <a:pt x="13002" y="4050"/>
                    <a:pt x="13496" y="2615"/>
                    <a:pt x="13496" y="1143"/>
                  </a:cubicBezTo>
                  <a:close/>
                </a:path>
              </a:pathLst>
            </a:custGeom>
            <a:solidFill>
              <a:srgbClr val="000000"/>
            </a:solidFill>
            <a:ln w="12690" cap="flat">
              <a:noFill/>
              <a:prstDash val="solid"/>
              <a:miter/>
            </a:ln>
          </p:spPr>
          <p:txBody>
            <a:bodyPr rtlCol="0" anchor="ctr"/>
            <a:lstStyle/>
            <a:p>
              <a:endParaRPr lang="en-US"/>
            </a:p>
          </p:txBody>
        </p:sp>
        <p:sp>
          <p:nvSpPr>
            <p:cNvPr id="991" name="Freeform: Shape 990">
              <a:extLst>
                <a:ext uri="{FF2B5EF4-FFF2-40B4-BE49-F238E27FC236}">
                  <a16:creationId xmlns:a16="http://schemas.microsoft.com/office/drawing/2014/main" id="{694FAB2C-E507-47B9-B740-6CB1D8166365}"/>
                </a:ext>
              </a:extLst>
            </p:cNvPr>
            <p:cNvSpPr/>
            <p:nvPr/>
          </p:nvSpPr>
          <p:spPr>
            <a:xfrm>
              <a:off x="9770357" y="6116802"/>
              <a:ext cx="12952" cy="13712"/>
            </a:xfrm>
            <a:custGeom>
              <a:avLst/>
              <a:gdLst>
                <a:gd name="connsiteX0" fmla="*/ 2 w 12952"/>
                <a:gd name="connsiteY0" fmla="*/ 6856 h 13712"/>
                <a:gd name="connsiteX1" fmla="*/ 6858 w 12952"/>
                <a:gd name="connsiteY1" fmla="*/ 13713 h 13712"/>
                <a:gd name="connsiteX2" fmla="*/ 12952 w 12952"/>
                <a:gd name="connsiteY2" fmla="*/ 13713 h 13712"/>
                <a:gd name="connsiteX3" fmla="*/ 6096 w 12952"/>
                <a:gd name="connsiteY3" fmla="*/ 6856 h 13712"/>
                <a:gd name="connsiteX4" fmla="*/ 12952 w 12952"/>
                <a:gd name="connsiteY4" fmla="*/ 0 h 13712"/>
                <a:gd name="connsiteX5" fmla="*/ 6096 w 12952"/>
                <a:gd name="connsiteY5" fmla="*/ 0 h 13712"/>
                <a:gd name="connsiteX6" fmla="*/ 2 w 12952"/>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13712">
                  <a:moveTo>
                    <a:pt x="2" y="6856"/>
                  </a:moveTo>
                  <a:cubicBezTo>
                    <a:pt x="2" y="10640"/>
                    <a:pt x="3075" y="13713"/>
                    <a:pt x="6858" y="13713"/>
                  </a:cubicBezTo>
                  <a:lnTo>
                    <a:pt x="12952" y="13713"/>
                  </a:lnTo>
                  <a:cubicBezTo>
                    <a:pt x="9169" y="13713"/>
                    <a:pt x="6096" y="10640"/>
                    <a:pt x="6096" y="6856"/>
                  </a:cubicBezTo>
                  <a:cubicBezTo>
                    <a:pt x="6096" y="3073"/>
                    <a:pt x="9169" y="0"/>
                    <a:pt x="12952" y="0"/>
                  </a:cubicBezTo>
                  <a:lnTo>
                    <a:pt x="6096" y="0"/>
                  </a:lnTo>
                  <a:cubicBezTo>
                    <a:pt x="2580" y="330"/>
                    <a:pt x="-87" y="3327"/>
                    <a:pt x="2" y="6856"/>
                  </a:cubicBezTo>
                  <a:close/>
                </a:path>
              </a:pathLst>
            </a:custGeom>
            <a:solidFill>
              <a:srgbClr val="000000"/>
            </a:solidFill>
            <a:ln w="12690" cap="flat">
              <a:noFill/>
              <a:prstDash val="solid"/>
              <a:miter/>
            </a:ln>
          </p:spPr>
          <p:txBody>
            <a:bodyPr rtlCol="0" anchor="ctr"/>
            <a:lstStyle/>
            <a:p>
              <a:endParaRPr lang="en-US"/>
            </a:p>
          </p:txBody>
        </p:sp>
        <p:sp>
          <p:nvSpPr>
            <p:cNvPr id="992" name="Freeform: Shape 991">
              <a:extLst>
                <a:ext uri="{FF2B5EF4-FFF2-40B4-BE49-F238E27FC236}">
                  <a16:creationId xmlns:a16="http://schemas.microsoft.com/office/drawing/2014/main" id="{5EDA7DA8-8916-4F7B-BA12-17D8C6F487EF}"/>
                </a:ext>
              </a:extLst>
            </p:cNvPr>
            <p:cNvSpPr/>
            <p:nvPr/>
          </p:nvSpPr>
          <p:spPr>
            <a:xfrm>
              <a:off x="10035466" y="6436887"/>
              <a:ext cx="13838" cy="6856"/>
            </a:xfrm>
            <a:custGeom>
              <a:avLst/>
              <a:gdLst>
                <a:gd name="connsiteX0" fmla="*/ 13839 w 13838"/>
                <a:gd name="connsiteY0" fmla="*/ 0 h 6856"/>
                <a:gd name="connsiteX1" fmla="*/ 13839 w 13838"/>
                <a:gd name="connsiteY1" fmla="*/ 0 h 6856"/>
                <a:gd name="connsiteX2" fmla="*/ 6856 w 13838"/>
                <a:gd name="connsiteY2" fmla="*/ 6856 h 6856"/>
                <a:gd name="connsiteX3" fmla="*/ 0 w 13838"/>
                <a:gd name="connsiteY3" fmla="*/ 0 h 6856"/>
                <a:gd name="connsiteX4" fmla="*/ 0 w 13838"/>
                <a:gd name="connsiteY4" fmla="*/ 0 h 6856"/>
                <a:gd name="connsiteX5" fmla="*/ 5459 w 13838"/>
                <a:gd name="connsiteY5" fmla="*/ 6602 h 6856"/>
                <a:gd name="connsiteX6" fmla="*/ 6856 w 13838"/>
                <a:gd name="connsiteY6" fmla="*/ 6602 h 6856"/>
                <a:gd name="connsiteX7" fmla="*/ 8507 w 13838"/>
                <a:gd name="connsiteY7" fmla="*/ 6602 h 6856"/>
                <a:gd name="connsiteX8" fmla="*/ 9776 w 13838"/>
                <a:gd name="connsiteY8" fmla="*/ 6602 h 6856"/>
                <a:gd name="connsiteX9" fmla="*/ 10919 w 13838"/>
                <a:gd name="connsiteY9" fmla="*/ 5841 h 6856"/>
                <a:gd name="connsiteX10" fmla="*/ 11935 w 13838"/>
                <a:gd name="connsiteY10" fmla="*/ 5079 h 6856"/>
                <a:gd name="connsiteX11" fmla="*/ 11935 w 13838"/>
                <a:gd name="connsiteY11" fmla="*/ 4063 h 6856"/>
                <a:gd name="connsiteX12" fmla="*/ 12570 w 13838"/>
                <a:gd name="connsiteY12" fmla="*/ 3174 h 6856"/>
                <a:gd name="connsiteX13" fmla="*/ 12570 w 13838"/>
                <a:gd name="connsiteY13" fmla="*/ 3174 h 6856"/>
                <a:gd name="connsiteX14" fmla="*/ 12570 w 13838"/>
                <a:gd name="connsiteY14" fmla="*/ 1778 h 6856"/>
                <a:gd name="connsiteX15" fmla="*/ 13839 w 13838"/>
                <a:gd name="connsiteY15" fmla="*/ 0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38" h="6856">
                  <a:moveTo>
                    <a:pt x="13839" y="0"/>
                  </a:moveTo>
                  <a:lnTo>
                    <a:pt x="13839" y="0"/>
                  </a:lnTo>
                  <a:cubicBezTo>
                    <a:pt x="13775" y="3809"/>
                    <a:pt x="10665" y="6856"/>
                    <a:pt x="6856" y="6856"/>
                  </a:cubicBezTo>
                  <a:cubicBezTo>
                    <a:pt x="3073" y="6856"/>
                    <a:pt x="0" y="3784"/>
                    <a:pt x="0" y="0"/>
                  </a:cubicBezTo>
                  <a:lnTo>
                    <a:pt x="0" y="0"/>
                  </a:lnTo>
                  <a:cubicBezTo>
                    <a:pt x="50" y="3212"/>
                    <a:pt x="2323" y="5955"/>
                    <a:pt x="5459" y="6602"/>
                  </a:cubicBezTo>
                  <a:cubicBezTo>
                    <a:pt x="5929" y="6666"/>
                    <a:pt x="6399" y="6666"/>
                    <a:pt x="6856" y="6602"/>
                  </a:cubicBezTo>
                  <a:cubicBezTo>
                    <a:pt x="7401" y="6679"/>
                    <a:pt x="7960" y="6679"/>
                    <a:pt x="8507" y="6602"/>
                  </a:cubicBezTo>
                  <a:cubicBezTo>
                    <a:pt x="8926" y="6653"/>
                    <a:pt x="9357" y="6653"/>
                    <a:pt x="9776" y="6602"/>
                  </a:cubicBezTo>
                  <a:cubicBezTo>
                    <a:pt x="10208" y="6437"/>
                    <a:pt x="10601" y="6183"/>
                    <a:pt x="10919" y="5841"/>
                  </a:cubicBezTo>
                  <a:lnTo>
                    <a:pt x="11935" y="5079"/>
                  </a:lnTo>
                  <a:cubicBezTo>
                    <a:pt x="11998" y="4748"/>
                    <a:pt x="11998" y="4393"/>
                    <a:pt x="11935" y="4063"/>
                  </a:cubicBezTo>
                  <a:cubicBezTo>
                    <a:pt x="11935" y="4063"/>
                    <a:pt x="11935" y="4063"/>
                    <a:pt x="12570" y="3174"/>
                  </a:cubicBezTo>
                  <a:lnTo>
                    <a:pt x="12570" y="3174"/>
                  </a:lnTo>
                  <a:cubicBezTo>
                    <a:pt x="12570" y="3174"/>
                    <a:pt x="12570" y="2285"/>
                    <a:pt x="12570" y="1778"/>
                  </a:cubicBezTo>
                  <a:cubicBezTo>
                    <a:pt x="12570" y="1270"/>
                    <a:pt x="13839" y="889"/>
                    <a:pt x="13839" y="0"/>
                  </a:cubicBezTo>
                  <a:close/>
                </a:path>
              </a:pathLst>
            </a:custGeom>
            <a:solidFill>
              <a:srgbClr val="000000"/>
            </a:solidFill>
            <a:ln w="12690" cap="flat">
              <a:noFill/>
              <a:prstDash val="solid"/>
              <a:miter/>
            </a:ln>
          </p:spPr>
          <p:txBody>
            <a:bodyPr rtlCol="0" anchor="ctr"/>
            <a:lstStyle/>
            <a:p>
              <a:endParaRPr lang="en-US"/>
            </a:p>
          </p:txBody>
        </p:sp>
        <p:sp>
          <p:nvSpPr>
            <p:cNvPr id="993" name="Freeform: Shape 992">
              <a:extLst>
                <a:ext uri="{FF2B5EF4-FFF2-40B4-BE49-F238E27FC236}">
                  <a16:creationId xmlns:a16="http://schemas.microsoft.com/office/drawing/2014/main" id="{3BA2D0C3-CEA4-4702-AAC8-2DC1DF7D5949}"/>
                </a:ext>
              </a:extLst>
            </p:cNvPr>
            <p:cNvSpPr/>
            <p:nvPr/>
          </p:nvSpPr>
          <p:spPr>
            <a:xfrm>
              <a:off x="10046385" y="5007089"/>
              <a:ext cx="13759" cy="777439"/>
            </a:xfrm>
            <a:custGeom>
              <a:avLst/>
              <a:gdLst>
                <a:gd name="connsiteX0" fmla="*/ 6856 w 13759"/>
                <a:gd name="connsiteY0" fmla="*/ 17 h 777439"/>
                <a:gd name="connsiteX1" fmla="*/ 1396 w 13759"/>
                <a:gd name="connsiteY1" fmla="*/ 2937 h 777439"/>
                <a:gd name="connsiteX2" fmla="*/ 0 w 13759"/>
                <a:gd name="connsiteY2" fmla="*/ 7000 h 777439"/>
                <a:gd name="connsiteX3" fmla="*/ 0 w 13759"/>
                <a:gd name="connsiteY3" fmla="*/ 777439 h 777439"/>
                <a:gd name="connsiteX4" fmla="*/ 6856 w 13759"/>
                <a:gd name="connsiteY4" fmla="*/ 770583 h 777439"/>
                <a:gd name="connsiteX5" fmla="*/ 13713 w 13759"/>
                <a:gd name="connsiteY5" fmla="*/ 777439 h 777439"/>
                <a:gd name="connsiteX6" fmla="*/ 13713 w 13759"/>
                <a:gd name="connsiteY6" fmla="*/ 7000 h 777439"/>
                <a:gd name="connsiteX7" fmla="*/ 13713 w 13759"/>
                <a:gd name="connsiteY7" fmla="*/ 7000 h 777439"/>
                <a:gd name="connsiteX8" fmla="*/ 13713 w 13759"/>
                <a:gd name="connsiteY8" fmla="*/ 5604 h 777439"/>
                <a:gd name="connsiteX9" fmla="*/ 13713 w 13759"/>
                <a:gd name="connsiteY9" fmla="*/ 4334 h 777439"/>
                <a:gd name="connsiteX10" fmla="*/ 13713 w 13759"/>
                <a:gd name="connsiteY10" fmla="*/ 4334 h 777439"/>
                <a:gd name="connsiteX11" fmla="*/ 6856 w 13759"/>
                <a:gd name="connsiteY11" fmla="*/ 17 h 77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59" h="777439">
                  <a:moveTo>
                    <a:pt x="6856" y="17"/>
                  </a:moveTo>
                  <a:cubicBezTo>
                    <a:pt x="4685" y="87"/>
                    <a:pt x="2666" y="1166"/>
                    <a:pt x="1396" y="2937"/>
                  </a:cubicBezTo>
                  <a:cubicBezTo>
                    <a:pt x="495" y="4098"/>
                    <a:pt x="0" y="5529"/>
                    <a:pt x="0" y="7000"/>
                  </a:cubicBezTo>
                  <a:lnTo>
                    <a:pt x="0" y="777439"/>
                  </a:lnTo>
                  <a:cubicBezTo>
                    <a:pt x="0" y="773653"/>
                    <a:pt x="3073" y="770583"/>
                    <a:pt x="6856" y="770583"/>
                  </a:cubicBezTo>
                  <a:cubicBezTo>
                    <a:pt x="10640" y="770583"/>
                    <a:pt x="13713" y="773653"/>
                    <a:pt x="13713" y="777439"/>
                  </a:cubicBezTo>
                  <a:lnTo>
                    <a:pt x="13713" y="7000"/>
                  </a:lnTo>
                  <a:lnTo>
                    <a:pt x="13713" y="7000"/>
                  </a:lnTo>
                  <a:cubicBezTo>
                    <a:pt x="13775" y="6537"/>
                    <a:pt x="13775" y="6067"/>
                    <a:pt x="13713" y="5604"/>
                  </a:cubicBezTo>
                  <a:cubicBezTo>
                    <a:pt x="13713" y="5604"/>
                    <a:pt x="13713" y="4715"/>
                    <a:pt x="13713" y="4334"/>
                  </a:cubicBezTo>
                  <a:lnTo>
                    <a:pt x="13713" y="4334"/>
                  </a:lnTo>
                  <a:cubicBezTo>
                    <a:pt x="12608" y="1555"/>
                    <a:pt x="9839" y="-193"/>
                    <a:pt x="6856" y="17"/>
                  </a:cubicBezTo>
                  <a:close/>
                </a:path>
              </a:pathLst>
            </a:custGeom>
            <a:solidFill>
              <a:srgbClr val="000000"/>
            </a:solidFill>
            <a:ln w="12690" cap="flat">
              <a:noFill/>
              <a:prstDash val="solid"/>
              <a:miter/>
            </a:ln>
          </p:spPr>
          <p:txBody>
            <a:bodyPr rtlCol="0" anchor="ctr"/>
            <a:lstStyle/>
            <a:p>
              <a:endParaRPr lang="en-US"/>
            </a:p>
          </p:txBody>
        </p:sp>
        <p:sp>
          <p:nvSpPr>
            <p:cNvPr id="994" name="Freeform: Shape 993">
              <a:extLst>
                <a:ext uri="{FF2B5EF4-FFF2-40B4-BE49-F238E27FC236}">
                  <a16:creationId xmlns:a16="http://schemas.microsoft.com/office/drawing/2014/main" id="{4C7FB5B6-3783-4D0F-A84F-3B6CA4DF4E75}"/>
                </a:ext>
              </a:extLst>
            </p:cNvPr>
            <p:cNvSpPr/>
            <p:nvPr/>
          </p:nvSpPr>
          <p:spPr>
            <a:xfrm>
              <a:off x="10046384" y="5777672"/>
              <a:ext cx="13586" cy="242761"/>
            </a:xfrm>
            <a:custGeom>
              <a:avLst/>
              <a:gdLst>
                <a:gd name="connsiteX0" fmla="*/ 6857 w 13586"/>
                <a:gd name="connsiteY0" fmla="*/ 0 h 242761"/>
                <a:gd name="connsiteX1" fmla="*/ 1 w 13586"/>
                <a:gd name="connsiteY1" fmla="*/ 6856 h 242761"/>
                <a:gd name="connsiteX2" fmla="*/ 1 w 13586"/>
                <a:gd name="connsiteY2" fmla="*/ 236287 h 242761"/>
                <a:gd name="connsiteX3" fmla="*/ 1397 w 13586"/>
                <a:gd name="connsiteY3" fmla="*/ 240350 h 242761"/>
                <a:gd name="connsiteX4" fmla="*/ 1397 w 13586"/>
                <a:gd name="connsiteY4" fmla="*/ 240350 h 242761"/>
                <a:gd name="connsiteX5" fmla="*/ 2413 w 13586"/>
                <a:gd name="connsiteY5" fmla="*/ 241365 h 242761"/>
                <a:gd name="connsiteX6" fmla="*/ 5460 w 13586"/>
                <a:gd name="connsiteY6" fmla="*/ 242762 h 242761"/>
                <a:gd name="connsiteX7" fmla="*/ 6730 w 13586"/>
                <a:gd name="connsiteY7" fmla="*/ 242762 h 242761"/>
                <a:gd name="connsiteX8" fmla="*/ 8000 w 13586"/>
                <a:gd name="connsiteY8" fmla="*/ 242762 h 242761"/>
                <a:gd name="connsiteX9" fmla="*/ 13586 w 13586"/>
                <a:gd name="connsiteY9" fmla="*/ 236033 h 242761"/>
                <a:gd name="connsiteX10" fmla="*/ 13586 w 13586"/>
                <a:gd name="connsiteY10" fmla="*/ 6856 h 242761"/>
                <a:gd name="connsiteX11" fmla="*/ 6857 w 13586"/>
                <a:gd name="connsiteY11" fmla="*/ 0 h 24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86" h="242761">
                  <a:moveTo>
                    <a:pt x="6857" y="0"/>
                  </a:moveTo>
                  <a:cubicBezTo>
                    <a:pt x="3074" y="0"/>
                    <a:pt x="1" y="3070"/>
                    <a:pt x="1" y="6856"/>
                  </a:cubicBezTo>
                  <a:lnTo>
                    <a:pt x="1" y="236287"/>
                  </a:lnTo>
                  <a:cubicBezTo>
                    <a:pt x="-25" y="237762"/>
                    <a:pt x="471" y="239199"/>
                    <a:pt x="1397" y="240350"/>
                  </a:cubicBezTo>
                  <a:lnTo>
                    <a:pt x="1397" y="240350"/>
                  </a:lnTo>
                  <a:lnTo>
                    <a:pt x="2413" y="241365"/>
                  </a:lnTo>
                  <a:cubicBezTo>
                    <a:pt x="3327" y="242032"/>
                    <a:pt x="4356" y="242507"/>
                    <a:pt x="5460" y="242762"/>
                  </a:cubicBezTo>
                  <a:lnTo>
                    <a:pt x="6730" y="242762"/>
                  </a:lnTo>
                  <a:lnTo>
                    <a:pt x="8000" y="242762"/>
                  </a:lnTo>
                  <a:cubicBezTo>
                    <a:pt x="11238" y="242152"/>
                    <a:pt x="13586" y="239326"/>
                    <a:pt x="13586" y="236033"/>
                  </a:cubicBezTo>
                  <a:lnTo>
                    <a:pt x="13586" y="6856"/>
                  </a:lnTo>
                  <a:cubicBezTo>
                    <a:pt x="13586" y="3118"/>
                    <a:pt x="10590" y="70"/>
                    <a:pt x="6857" y="0"/>
                  </a:cubicBezTo>
                  <a:close/>
                </a:path>
              </a:pathLst>
            </a:custGeom>
            <a:solidFill>
              <a:srgbClr val="000000"/>
            </a:solidFill>
            <a:ln w="12690" cap="flat">
              <a:no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AEFEBFA4-D7C2-4F25-8EDD-C5534634B30E}"/>
                </a:ext>
              </a:extLst>
            </p:cNvPr>
            <p:cNvSpPr/>
            <p:nvPr/>
          </p:nvSpPr>
          <p:spPr>
            <a:xfrm>
              <a:off x="10481119" y="6121373"/>
              <a:ext cx="13760" cy="315514"/>
            </a:xfrm>
            <a:custGeom>
              <a:avLst/>
              <a:gdLst>
                <a:gd name="connsiteX0" fmla="*/ 12697 w 13760"/>
                <a:gd name="connsiteY0" fmla="*/ 2285 h 315514"/>
                <a:gd name="connsiteX1" fmla="*/ 5841 w 13760"/>
                <a:gd name="connsiteY1" fmla="*/ 9142 h 315514"/>
                <a:gd name="connsiteX2" fmla="*/ 0 w 13760"/>
                <a:gd name="connsiteY2" fmla="*/ 9142 h 315514"/>
                <a:gd name="connsiteX3" fmla="*/ 0 w 13760"/>
                <a:gd name="connsiteY3" fmla="*/ 315514 h 315514"/>
                <a:gd name="connsiteX4" fmla="*/ 6856 w 13760"/>
                <a:gd name="connsiteY4" fmla="*/ 308531 h 315514"/>
                <a:gd name="connsiteX5" fmla="*/ 13713 w 13760"/>
                <a:gd name="connsiteY5" fmla="*/ 308531 h 315514"/>
                <a:gd name="connsiteX6" fmla="*/ 13713 w 13760"/>
                <a:gd name="connsiteY6" fmla="*/ 3809 h 315514"/>
                <a:gd name="connsiteX7" fmla="*/ 13713 w 13760"/>
                <a:gd name="connsiteY7" fmla="*/ 2412 h 315514"/>
                <a:gd name="connsiteX8" fmla="*/ 13713 w 13760"/>
                <a:gd name="connsiteY8" fmla="*/ 1143 h 315514"/>
                <a:gd name="connsiteX9" fmla="*/ 12951 w 13760"/>
                <a:gd name="connsiteY9" fmla="*/ 0 h 315514"/>
                <a:gd name="connsiteX10" fmla="*/ 12697 w 13760"/>
                <a:gd name="connsiteY10" fmla="*/ 2285 h 3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60" h="315514">
                  <a:moveTo>
                    <a:pt x="12697" y="2285"/>
                  </a:moveTo>
                  <a:cubicBezTo>
                    <a:pt x="12697" y="6069"/>
                    <a:pt x="9624" y="9142"/>
                    <a:pt x="5841" y="9142"/>
                  </a:cubicBezTo>
                  <a:lnTo>
                    <a:pt x="0" y="9142"/>
                  </a:lnTo>
                  <a:lnTo>
                    <a:pt x="0" y="315514"/>
                  </a:lnTo>
                  <a:cubicBezTo>
                    <a:pt x="0" y="311705"/>
                    <a:pt x="3047" y="308595"/>
                    <a:pt x="6856" y="308531"/>
                  </a:cubicBezTo>
                  <a:lnTo>
                    <a:pt x="13713" y="308531"/>
                  </a:lnTo>
                  <a:lnTo>
                    <a:pt x="13713" y="3809"/>
                  </a:lnTo>
                  <a:cubicBezTo>
                    <a:pt x="13776" y="3339"/>
                    <a:pt x="13776" y="2882"/>
                    <a:pt x="13713" y="2412"/>
                  </a:cubicBezTo>
                  <a:lnTo>
                    <a:pt x="13713" y="1143"/>
                  </a:lnTo>
                  <a:lnTo>
                    <a:pt x="12951" y="0"/>
                  </a:lnTo>
                  <a:cubicBezTo>
                    <a:pt x="13039" y="774"/>
                    <a:pt x="12951" y="1549"/>
                    <a:pt x="12697" y="2285"/>
                  </a:cubicBezTo>
                  <a:close/>
                </a:path>
              </a:pathLst>
            </a:custGeom>
            <a:solidFill>
              <a:srgbClr val="000000"/>
            </a:solidFill>
            <a:ln w="12690" cap="flat">
              <a:noFill/>
              <a:prstDash val="solid"/>
              <a:miter/>
            </a:ln>
          </p:spPr>
          <p:txBody>
            <a:bodyPr rtlCol="0" anchor="ctr"/>
            <a:lstStyle/>
            <a:p>
              <a:endParaRPr lang="en-US"/>
            </a:p>
          </p:txBody>
        </p:sp>
        <p:sp>
          <p:nvSpPr>
            <p:cNvPr id="996" name="Freeform: Shape 995">
              <a:extLst>
                <a:ext uri="{FF2B5EF4-FFF2-40B4-BE49-F238E27FC236}">
                  <a16:creationId xmlns:a16="http://schemas.microsoft.com/office/drawing/2014/main" id="{4D4D0973-C30A-4D3F-B327-A3BC92C113C3}"/>
                </a:ext>
              </a:extLst>
            </p:cNvPr>
            <p:cNvSpPr/>
            <p:nvPr/>
          </p:nvSpPr>
          <p:spPr>
            <a:xfrm>
              <a:off x="10481024" y="6436125"/>
              <a:ext cx="95" cy="2285"/>
            </a:xfrm>
            <a:custGeom>
              <a:avLst/>
              <a:gdLst>
                <a:gd name="connsiteX0" fmla="*/ 95 w 95"/>
                <a:gd name="connsiteY0" fmla="*/ 762 h 2285"/>
                <a:gd name="connsiteX1" fmla="*/ 95 w 95"/>
                <a:gd name="connsiteY1" fmla="*/ 2285 h 2285"/>
                <a:gd name="connsiteX2" fmla="*/ 95 w 95"/>
                <a:gd name="connsiteY2" fmla="*/ 2285 h 2285"/>
                <a:gd name="connsiteX3" fmla="*/ 95 w 95"/>
                <a:gd name="connsiteY3" fmla="*/ 0 h 2285"/>
              </a:gdLst>
              <a:ahLst/>
              <a:cxnLst>
                <a:cxn ang="0">
                  <a:pos x="connsiteX0" y="connsiteY0"/>
                </a:cxn>
                <a:cxn ang="0">
                  <a:pos x="connsiteX1" y="connsiteY1"/>
                </a:cxn>
                <a:cxn ang="0">
                  <a:pos x="connsiteX2" y="connsiteY2"/>
                </a:cxn>
                <a:cxn ang="0">
                  <a:pos x="connsiteX3" y="connsiteY3"/>
                </a:cxn>
              </a:cxnLst>
              <a:rect l="l" t="t" r="r" b="b"/>
              <a:pathLst>
                <a:path w="95" h="2285">
                  <a:moveTo>
                    <a:pt x="95" y="762"/>
                  </a:moveTo>
                  <a:cubicBezTo>
                    <a:pt x="32" y="1270"/>
                    <a:pt x="32" y="1778"/>
                    <a:pt x="95" y="2285"/>
                  </a:cubicBezTo>
                  <a:cubicBezTo>
                    <a:pt x="95" y="2285"/>
                    <a:pt x="95" y="2285"/>
                    <a:pt x="95" y="2285"/>
                  </a:cubicBezTo>
                  <a:cubicBezTo>
                    <a:pt x="-32" y="1524"/>
                    <a:pt x="-32" y="762"/>
                    <a:pt x="95" y="0"/>
                  </a:cubicBezTo>
                  <a:close/>
                </a:path>
              </a:pathLst>
            </a:custGeom>
            <a:solidFill>
              <a:srgbClr val="000000"/>
            </a:solidFill>
            <a:ln w="12690" cap="flat">
              <a:noFill/>
              <a:prstDash val="solid"/>
              <a:miter/>
            </a:ln>
          </p:spPr>
          <p:txBody>
            <a:bodyPr rtlCol="0" anchor="ctr"/>
            <a:lstStyle/>
            <a:p>
              <a:endParaRPr lang="en-US"/>
            </a:p>
          </p:txBody>
        </p:sp>
        <p:sp>
          <p:nvSpPr>
            <p:cNvPr id="997" name="Freeform: Shape 996">
              <a:extLst>
                <a:ext uri="{FF2B5EF4-FFF2-40B4-BE49-F238E27FC236}">
                  <a16:creationId xmlns:a16="http://schemas.microsoft.com/office/drawing/2014/main" id="{5EF80876-5285-4451-9D01-20F3649F608D}"/>
                </a:ext>
              </a:extLst>
            </p:cNvPr>
            <p:cNvSpPr/>
            <p:nvPr/>
          </p:nvSpPr>
          <p:spPr>
            <a:xfrm>
              <a:off x="10481754" y="6439680"/>
              <a:ext cx="8380" cy="4412"/>
            </a:xfrm>
            <a:custGeom>
              <a:avLst/>
              <a:gdLst>
                <a:gd name="connsiteX0" fmla="*/ 0 w 8380"/>
                <a:gd name="connsiteY0" fmla="*/ 0 h 4412"/>
                <a:gd name="connsiteX1" fmla="*/ 6221 w 8380"/>
                <a:gd name="connsiteY1" fmla="*/ 4317 h 4412"/>
                <a:gd name="connsiteX2" fmla="*/ 8380 w 8380"/>
                <a:gd name="connsiteY2" fmla="*/ 4317 h 4412"/>
                <a:gd name="connsiteX3" fmla="*/ 5714 w 8380"/>
                <a:gd name="connsiteY3" fmla="*/ 4317 h 4412"/>
                <a:gd name="connsiteX4" fmla="*/ 0 w 8380"/>
                <a:gd name="connsiteY4" fmla="*/ 0 h 4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 h="4412">
                  <a:moveTo>
                    <a:pt x="0" y="0"/>
                  </a:moveTo>
                  <a:cubicBezTo>
                    <a:pt x="965" y="2603"/>
                    <a:pt x="3441" y="4330"/>
                    <a:pt x="6221" y="4317"/>
                  </a:cubicBezTo>
                  <a:cubicBezTo>
                    <a:pt x="6933" y="4444"/>
                    <a:pt x="7669" y="4444"/>
                    <a:pt x="8380" y="4317"/>
                  </a:cubicBezTo>
                  <a:lnTo>
                    <a:pt x="5714" y="4317"/>
                  </a:lnTo>
                  <a:cubicBezTo>
                    <a:pt x="3162" y="4037"/>
                    <a:pt x="965" y="2374"/>
                    <a:pt x="0" y="0"/>
                  </a:cubicBezTo>
                  <a:close/>
                </a:path>
              </a:pathLst>
            </a:custGeom>
            <a:solidFill>
              <a:srgbClr val="000000"/>
            </a:solidFill>
            <a:ln w="12690" cap="flat">
              <a:noFill/>
              <a:prstDash val="solid"/>
              <a:miter/>
            </a:ln>
          </p:spPr>
          <p:txBody>
            <a:bodyPr rtlCol="0" anchor="ctr"/>
            <a:lstStyle/>
            <a:p>
              <a:endParaRPr lang="en-US"/>
            </a:p>
          </p:txBody>
        </p:sp>
        <p:sp>
          <p:nvSpPr>
            <p:cNvPr id="998" name="Freeform: Shape 997">
              <a:extLst>
                <a:ext uri="{FF2B5EF4-FFF2-40B4-BE49-F238E27FC236}">
                  <a16:creationId xmlns:a16="http://schemas.microsoft.com/office/drawing/2014/main" id="{567C640B-A6B1-442C-A40D-D1DB2D87D892}"/>
                </a:ext>
              </a:extLst>
            </p:cNvPr>
            <p:cNvSpPr/>
            <p:nvPr/>
          </p:nvSpPr>
          <p:spPr>
            <a:xfrm>
              <a:off x="9715128" y="5604488"/>
              <a:ext cx="61325" cy="13966"/>
            </a:xfrm>
            <a:custGeom>
              <a:avLst/>
              <a:gdLst>
                <a:gd name="connsiteX0" fmla="*/ 6857 w 61325"/>
                <a:gd name="connsiteY0" fmla="*/ 7110 h 13966"/>
                <a:gd name="connsiteX1" fmla="*/ 0 w 61325"/>
                <a:gd name="connsiteY1" fmla="*/ 13966 h 13966"/>
                <a:gd name="connsiteX2" fmla="*/ 61325 w 61325"/>
                <a:gd name="connsiteY2" fmla="*/ 13966 h 13966"/>
                <a:gd name="connsiteX3" fmla="*/ 61325 w 61325"/>
                <a:gd name="connsiteY3" fmla="*/ 0 h 13966"/>
                <a:gd name="connsiteX4" fmla="*/ 0 w 61325"/>
                <a:gd name="connsiteY4" fmla="*/ 0 h 13966"/>
                <a:gd name="connsiteX5" fmla="*/ 6857 w 61325"/>
                <a:gd name="connsiteY5" fmla="*/ 7108 h 13966"/>
                <a:gd name="connsiteX6" fmla="*/ 6857 w 61325"/>
                <a:gd name="connsiteY6" fmla="*/ 7110 h 1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25" h="13966">
                  <a:moveTo>
                    <a:pt x="6857" y="7110"/>
                  </a:moveTo>
                  <a:cubicBezTo>
                    <a:pt x="6857" y="10896"/>
                    <a:pt x="3784" y="13966"/>
                    <a:pt x="0" y="13966"/>
                  </a:cubicBezTo>
                  <a:lnTo>
                    <a:pt x="61325" y="13966"/>
                  </a:lnTo>
                  <a:lnTo>
                    <a:pt x="61325" y="0"/>
                  </a:lnTo>
                  <a:lnTo>
                    <a:pt x="0" y="0"/>
                  </a:lnTo>
                  <a:cubicBezTo>
                    <a:pt x="3860" y="70"/>
                    <a:pt x="6920" y="3252"/>
                    <a:pt x="6857" y="7108"/>
                  </a:cubicBezTo>
                  <a:cubicBezTo>
                    <a:pt x="6857" y="7109"/>
                    <a:pt x="6857" y="7109"/>
                    <a:pt x="6857" y="7110"/>
                  </a:cubicBezTo>
                  <a:close/>
                </a:path>
              </a:pathLst>
            </a:custGeom>
            <a:solidFill>
              <a:srgbClr val="000000"/>
            </a:solidFill>
            <a:ln w="12690" cap="flat">
              <a:noFill/>
              <a:prstDash val="solid"/>
              <a:miter/>
            </a:ln>
          </p:spPr>
          <p:txBody>
            <a:bodyPr rtlCol="0" anchor="ctr"/>
            <a:lstStyle/>
            <a:p>
              <a:endParaRPr lang="en-US"/>
            </a:p>
          </p:txBody>
        </p:sp>
        <p:sp>
          <p:nvSpPr>
            <p:cNvPr id="999" name="Freeform: Shape 998">
              <a:extLst>
                <a:ext uri="{FF2B5EF4-FFF2-40B4-BE49-F238E27FC236}">
                  <a16:creationId xmlns:a16="http://schemas.microsoft.com/office/drawing/2014/main" id="{045F8758-FC82-4BE3-A5B1-A1B70FD50503}"/>
                </a:ext>
              </a:extLst>
            </p:cNvPr>
            <p:cNvSpPr/>
            <p:nvPr/>
          </p:nvSpPr>
          <p:spPr>
            <a:xfrm>
              <a:off x="12175318" y="6502402"/>
              <a:ext cx="47" cy="1523"/>
            </a:xfrm>
            <a:custGeom>
              <a:avLst/>
              <a:gdLst>
                <a:gd name="connsiteX0" fmla="*/ 48 w 47"/>
                <a:gd name="connsiteY0" fmla="*/ 635 h 1523"/>
                <a:gd name="connsiteX1" fmla="*/ 48 w 47"/>
                <a:gd name="connsiteY1" fmla="*/ 1524 h 1523"/>
                <a:gd name="connsiteX2" fmla="*/ 48 w 47"/>
                <a:gd name="connsiteY2" fmla="*/ 1524 h 1523"/>
                <a:gd name="connsiteX3" fmla="*/ 48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48" y="635"/>
                  </a:moveTo>
                  <a:cubicBezTo>
                    <a:pt x="48" y="635"/>
                    <a:pt x="48" y="635"/>
                    <a:pt x="48" y="1524"/>
                  </a:cubicBezTo>
                  <a:lnTo>
                    <a:pt x="48" y="1524"/>
                  </a:lnTo>
                  <a:cubicBezTo>
                    <a:pt x="-16" y="1016"/>
                    <a:pt x="-16" y="508"/>
                    <a:pt x="48" y="0"/>
                  </a:cubicBezTo>
                  <a:close/>
                </a:path>
              </a:pathLst>
            </a:custGeom>
            <a:solidFill>
              <a:srgbClr val="000000"/>
            </a:solidFill>
            <a:ln w="12690" cap="flat">
              <a:noFill/>
              <a:prstDash val="solid"/>
              <a:miter/>
            </a:ln>
          </p:spPr>
          <p:txBody>
            <a:bodyPr rtlCol="0" anchor="ctr"/>
            <a:lstStyle/>
            <a:p>
              <a:endParaRPr lang="en-US"/>
            </a:p>
          </p:txBody>
        </p:sp>
        <p:sp>
          <p:nvSpPr>
            <p:cNvPr id="1000" name="Freeform: Shape 999">
              <a:extLst>
                <a:ext uri="{FF2B5EF4-FFF2-40B4-BE49-F238E27FC236}">
                  <a16:creationId xmlns:a16="http://schemas.microsoft.com/office/drawing/2014/main" id="{190866A7-2AB9-4F44-84F5-6CCD53A2B9B0}"/>
                </a:ext>
              </a:extLst>
            </p:cNvPr>
            <p:cNvSpPr/>
            <p:nvPr/>
          </p:nvSpPr>
          <p:spPr>
            <a:xfrm>
              <a:off x="9264268" y="6436506"/>
              <a:ext cx="19553" cy="13839"/>
            </a:xfrm>
            <a:custGeom>
              <a:avLst/>
              <a:gdLst>
                <a:gd name="connsiteX0" fmla="*/ 12697 w 19553"/>
                <a:gd name="connsiteY0" fmla="*/ 6983 h 13839"/>
                <a:gd name="connsiteX1" fmla="*/ 19553 w 19553"/>
                <a:gd name="connsiteY1" fmla="*/ 0 h 13839"/>
                <a:gd name="connsiteX2" fmla="*/ 6857 w 19553"/>
                <a:gd name="connsiteY2" fmla="*/ 0 h 13839"/>
                <a:gd name="connsiteX3" fmla="*/ 6857 w 19553"/>
                <a:gd name="connsiteY3" fmla="*/ 6983 h 13839"/>
                <a:gd name="connsiteX4" fmla="*/ 0 w 19553"/>
                <a:gd name="connsiteY4" fmla="*/ 13839 h 13839"/>
                <a:gd name="connsiteX5" fmla="*/ 19172 w 19553"/>
                <a:gd name="connsiteY5" fmla="*/ 13839 h 13839"/>
                <a:gd name="connsiteX6" fmla="*/ 12697 w 1955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3" h="13839">
                  <a:moveTo>
                    <a:pt x="12697" y="6983"/>
                  </a:moveTo>
                  <a:cubicBezTo>
                    <a:pt x="12697" y="3174"/>
                    <a:pt x="15745" y="64"/>
                    <a:pt x="19553" y="0"/>
                  </a:cubicBezTo>
                  <a:lnTo>
                    <a:pt x="6857" y="0"/>
                  </a:lnTo>
                  <a:lnTo>
                    <a:pt x="6857" y="6983"/>
                  </a:lnTo>
                  <a:cubicBezTo>
                    <a:pt x="6857" y="10767"/>
                    <a:pt x="3784" y="13839"/>
                    <a:pt x="0" y="13839"/>
                  </a:cubicBezTo>
                  <a:lnTo>
                    <a:pt x="19172" y="13839"/>
                  </a:lnTo>
                  <a:cubicBezTo>
                    <a:pt x="15541" y="13636"/>
                    <a:pt x="12697" y="10627"/>
                    <a:pt x="12697" y="6983"/>
                  </a:cubicBezTo>
                  <a:close/>
                </a:path>
              </a:pathLst>
            </a:custGeom>
            <a:solidFill>
              <a:srgbClr val="000000"/>
            </a:solidFill>
            <a:ln w="12690" cap="flat">
              <a:noFill/>
              <a:prstDash val="solid"/>
              <a:miter/>
            </a:ln>
          </p:spPr>
          <p:txBody>
            <a:bodyPr rtlCol="0" anchor="ctr"/>
            <a:lstStyle/>
            <a:p>
              <a:endParaRPr lang="en-US"/>
            </a:p>
          </p:txBody>
        </p:sp>
        <p:sp>
          <p:nvSpPr>
            <p:cNvPr id="1001" name="Freeform: Shape 1000">
              <a:extLst>
                <a:ext uri="{FF2B5EF4-FFF2-40B4-BE49-F238E27FC236}">
                  <a16:creationId xmlns:a16="http://schemas.microsoft.com/office/drawing/2014/main" id="{D05BE3BA-C7EC-4211-B654-541EED5FD917}"/>
                </a:ext>
              </a:extLst>
            </p:cNvPr>
            <p:cNvSpPr/>
            <p:nvPr/>
          </p:nvSpPr>
          <p:spPr>
            <a:xfrm>
              <a:off x="9276965" y="6436887"/>
              <a:ext cx="35931" cy="13839"/>
            </a:xfrm>
            <a:custGeom>
              <a:avLst/>
              <a:gdLst>
                <a:gd name="connsiteX0" fmla="*/ 6857 w 35931"/>
                <a:gd name="connsiteY0" fmla="*/ 0 h 13839"/>
                <a:gd name="connsiteX1" fmla="*/ 0 w 35931"/>
                <a:gd name="connsiteY1" fmla="*/ 6983 h 13839"/>
                <a:gd name="connsiteX2" fmla="*/ 6857 w 35931"/>
                <a:gd name="connsiteY2" fmla="*/ 13839 h 13839"/>
                <a:gd name="connsiteX3" fmla="*/ 28949 w 35931"/>
                <a:gd name="connsiteY3" fmla="*/ 13839 h 13839"/>
                <a:gd name="connsiteX4" fmla="*/ 35932 w 35931"/>
                <a:gd name="connsiteY4" fmla="*/ 6983 h 13839"/>
                <a:gd name="connsiteX5" fmla="*/ 28949 w 35931"/>
                <a:gd name="connsiteY5" fmla="*/ 0 h 13839"/>
                <a:gd name="connsiteX6" fmla="*/ 6857 w 35931"/>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31" h="13839">
                  <a:moveTo>
                    <a:pt x="6857" y="0"/>
                  </a:moveTo>
                  <a:cubicBezTo>
                    <a:pt x="3048" y="64"/>
                    <a:pt x="0" y="3174"/>
                    <a:pt x="0" y="6983"/>
                  </a:cubicBezTo>
                  <a:cubicBezTo>
                    <a:pt x="0" y="10767"/>
                    <a:pt x="3073" y="13839"/>
                    <a:pt x="6857" y="13839"/>
                  </a:cubicBezTo>
                  <a:lnTo>
                    <a:pt x="28949" y="13839"/>
                  </a:lnTo>
                  <a:cubicBezTo>
                    <a:pt x="32758" y="13839"/>
                    <a:pt x="35868" y="10792"/>
                    <a:pt x="35932" y="6983"/>
                  </a:cubicBezTo>
                  <a:cubicBezTo>
                    <a:pt x="35932" y="3123"/>
                    <a:pt x="32809" y="0"/>
                    <a:pt x="28949" y="0"/>
                  </a:cubicBezTo>
                  <a:lnTo>
                    <a:pt x="6857" y="0"/>
                  </a:lnTo>
                  <a:close/>
                </a:path>
              </a:pathLst>
            </a:custGeom>
            <a:solidFill>
              <a:srgbClr val="000000"/>
            </a:solidFill>
            <a:ln w="12690" cap="flat">
              <a:noFill/>
              <a:prstDash val="solid"/>
              <a:miter/>
            </a:ln>
          </p:spPr>
          <p:txBody>
            <a:bodyPr rtlCol="0" anchor="ctr"/>
            <a:lstStyle/>
            <a:p>
              <a:endParaRPr lang="en-US"/>
            </a:p>
          </p:txBody>
        </p:sp>
        <p:sp>
          <p:nvSpPr>
            <p:cNvPr id="1002" name="Freeform: Shape 1001">
              <a:extLst>
                <a:ext uri="{FF2B5EF4-FFF2-40B4-BE49-F238E27FC236}">
                  <a16:creationId xmlns:a16="http://schemas.microsoft.com/office/drawing/2014/main" id="{123CA0AD-E2A9-459A-9DA0-A97539205996}"/>
                </a:ext>
              </a:extLst>
            </p:cNvPr>
            <p:cNvSpPr/>
            <p:nvPr/>
          </p:nvSpPr>
          <p:spPr>
            <a:xfrm>
              <a:off x="8867878" y="5735518"/>
              <a:ext cx="13839" cy="716096"/>
            </a:xfrm>
            <a:custGeom>
              <a:avLst/>
              <a:gdLst>
                <a:gd name="connsiteX0" fmla="*/ 0 w 13839"/>
                <a:gd name="connsiteY0" fmla="*/ 709240 h 716096"/>
                <a:gd name="connsiteX1" fmla="*/ 6856 w 13839"/>
                <a:gd name="connsiteY1" fmla="*/ 716097 h 716096"/>
                <a:gd name="connsiteX2" fmla="*/ 13840 w 13839"/>
                <a:gd name="connsiteY2" fmla="*/ 709240 h 716096"/>
                <a:gd name="connsiteX3" fmla="*/ 13840 w 13839"/>
                <a:gd name="connsiteY3" fmla="*/ 0 h 716096"/>
                <a:gd name="connsiteX4" fmla="*/ 6856 w 13839"/>
                <a:gd name="connsiteY4" fmla="*/ 6983 h 716096"/>
                <a:gd name="connsiteX5" fmla="*/ 0 w 13839"/>
                <a:gd name="connsiteY5" fmla="*/ 0 h 716096"/>
                <a:gd name="connsiteX6" fmla="*/ 0 w 13839"/>
                <a:gd name="connsiteY6" fmla="*/ 709240 h 7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16096">
                  <a:moveTo>
                    <a:pt x="0" y="709240"/>
                  </a:moveTo>
                  <a:cubicBezTo>
                    <a:pt x="0" y="713024"/>
                    <a:pt x="3073" y="716097"/>
                    <a:pt x="6856" y="716097"/>
                  </a:cubicBezTo>
                  <a:cubicBezTo>
                    <a:pt x="10666" y="716097"/>
                    <a:pt x="13776" y="713050"/>
                    <a:pt x="13840" y="709240"/>
                  </a:cubicBezTo>
                  <a:lnTo>
                    <a:pt x="13840" y="0"/>
                  </a:lnTo>
                  <a:cubicBezTo>
                    <a:pt x="13840" y="3857"/>
                    <a:pt x="10716" y="6983"/>
                    <a:pt x="6856" y="6983"/>
                  </a:cubicBezTo>
                  <a:cubicBezTo>
                    <a:pt x="3047" y="6915"/>
                    <a:pt x="0" y="3808"/>
                    <a:pt x="0" y="0"/>
                  </a:cubicBezTo>
                  <a:lnTo>
                    <a:pt x="0" y="709240"/>
                  </a:lnTo>
                  <a:close/>
                </a:path>
              </a:pathLst>
            </a:custGeom>
            <a:solidFill>
              <a:srgbClr val="000000"/>
            </a:solidFill>
            <a:ln w="12690" cap="flat">
              <a:noFill/>
              <a:prstDash val="solid"/>
              <a:miter/>
            </a:ln>
          </p:spPr>
          <p:txBody>
            <a:bodyPr rtlCol="0" anchor="ctr"/>
            <a:lstStyle/>
            <a:p>
              <a:endParaRPr lang="en-US"/>
            </a:p>
          </p:txBody>
        </p:sp>
        <p:sp>
          <p:nvSpPr>
            <p:cNvPr id="1003" name="Freeform: Shape 1002">
              <a:extLst>
                <a:ext uri="{FF2B5EF4-FFF2-40B4-BE49-F238E27FC236}">
                  <a16:creationId xmlns:a16="http://schemas.microsoft.com/office/drawing/2014/main" id="{CC15BA44-CAC1-4C2C-8700-C685F2E5E2AD}"/>
                </a:ext>
              </a:extLst>
            </p:cNvPr>
            <p:cNvSpPr/>
            <p:nvPr/>
          </p:nvSpPr>
          <p:spPr>
            <a:xfrm>
              <a:off x="8868132" y="5438414"/>
              <a:ext cx="13838" cy="304087"/>
            </a:xfrm>
            <a:custGeom>
              <a:avLst/>
              <a:gdLst>
                <a:gd name="connsiteX0" fmla="*/ 6856 w 13838"/>
                <a:gd name="connsiteY0" fmla="*/ 304087 h 304087"/>
                <a:gd name="connsiteX1" fmla="*/ 13839 w 13838"/>
                <a:gd name="connsiteY1" fmla="*/ 297104 h 304087"/>
                <a:gd name="connsiteX2" fmla="*/ 13839 w 13838"/>
                <a:gd name="connsiteY2" fmla="*/ 6856 h 304087"/>
                <a:gd name="connsiteX3" fmla="*/ 6856 w 13838"/>
                <a:gd name="connsiteY3" fmla="*/ 0 h 304087"/>
                <a:gd name="connsiteX4" fmla="*/ 0 w 13838"/>
                <a:gd name="connsiteY4" fmla="*/ 6856 h 304087"/>
                <a:gd name="connsiteX5" fmla="*/ 0 w 13838"/>
                <a:gd name="connsiteY5" fmla="*/ 297104 h 304087"/>
                <a:gd name="connsiteX6" fmla="*/ 6856 w 13838"/>
                <a:gd name="connsiteY6" fmla="*/ 304087 h 30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304087">
                  <a:moveTo>
                    <a:pt x="6856" y="304087"/>
                  </a:moveTo>
                  <a:cubicBezTo>
                    <a:pt x="10716" y="304087"/>
                    <a:pt x="13839" y="300961"/>
                    <a:pt x="13839" y="297104"/>
                  </a:cubicBezTo>
                  <a:lnTo>
                    <a:pt x="13839" y="6856"/>
                  </a:lnTo>
                  <a:cubicBezTo>
                    <a:pt x="13775" y="3050"/>
                    <a:pt x="10665" y="0"/>
                    <a:pt x="6856" y="0"/>
                  </a:cubicBezTo>
                  <a:cubicBezTo>
                    <a:pt x="3073" y="0"/>
                    <a:pt x="0" y="3070"/>
                    <a:pt x="0" y="6856"/>
                  </a:cubicBezTo>
                  <a:lnTo>
                    <a:pt x="0" y="297104"/>
                  </a:lnTo>
                  <a:cubicBezTo>
                    <a:pt x="0" y="300912"/>
                    <a:pt x="3047" y="304019"/>
                    <a:pt x="6856" y="304087"/>
                  </a:cubicBezTo>
                  <a:close/>
                </a:path>
              </a:pathLst>
            </a:custGeom>
            <a:solidFill>
              <a:srgbClr val="000000"/>
            </a:solidFill>
            <a:ln w="12690" cap="flat">
              <a:noFill/>
              <a:prstDash val="solid"/>
              <a:miter/>
            </a:ln>
          </p:spPr>
          <p:txBody>
            <a:bodyPr rtlCol="0" anchor="ctr"/>
            <a:lstStyle/>
            <a:p>
              <a:endParaRPr lang="en-US"/>
            </a:p>
          </p:txBody>
        </p:sp>
        <p:sp>
          <p:nvSpPr>
            <p:cNvPr id="1004" name="Freeform: Shape 1003">
              <a:extLst>
                <a:ext uri="{FF2B5EF4-FFF2-40B4-BE49-F238E27FC236}">
                  <a16:creationId xmlns:a16="http://schemas.microsoft.com/office/drawing/2014/main" id="{FC875967-0A28-45E5-B596-605A596542E8}"/>
                </a:ext>
              </a:extLst>
            </p:cNvPr>
            <p:cNvSpPr/>
            <p:nvPr/>
          </p:nvSpPr>
          <p:spPr>
            <a:xfrm>
              <a:off x="9257793" y="5610328"/>
              <a:ext cx="13711" cy="840017"/>
            </a:xfrm>
            <a:custGeom>
              <a:avLst/>
              <a:gdLst>
                <a:gd name="connsiteX0" fmla="*/ 6856 w 13711"/>
                <a:gd name="connsiteY0" fmla="*/ 840017 h 840017"/>
                <a:gd name="connsiteX1" fmla="*/ 13712 w 13711"/>
                <a:gd name="connsiteY1" fmla="*/ 833161 h 840017"/>
                <a:gd name="connsiteX2" fmla="*/ 13712 w 13711"/>
                <a:gd name="connsiteY2" fmla="*/ 0 h 840017"/>
                <a:gd name="connsiteX3" fmla="*/ 6856 w 13711"/>
                <a:gd name="connsiteY3" fmla="*/ 6856 h 840017"/>
                <a:gd name="connsiteX4" fmla="*/ 0 w 13711"/>
                <a:gd name="connsiteY4" fmla="*/ 0 h 840017"/>
                <a:gd name="connsiteX5" fmla="*/ 0 w 13711"/>
                <a:gd name="connsiteY5" fmla="*/ 833161 h 840017"/>
                <a:gd name="connsiteX6" fmla="*/ 6856 w 13711"/>
                <a:gd name="connsiteY6" fmla="*/ 840017 h 84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840017">
                  <a:moveTo>
                    <a:pt x="6856" y="840017"/>
                  </a:moveTo>
                  <a:cubicBezTo>
                    <a:pt x="10639" y="840017"/>
                    <a:pt x="13712" y="836944"/>
                    <a:pt x="13712" y="833161"/>
                  </a:cubicBezTo>
                  <a:lnTo>
                    <a:pt x="13712" y="0"/>
                  </a:lnTo>
                  <a:cubicBezTo>
                    <a:pt x="13712" y="3786"/>
                    <a:pt x="10639" y="6856"/>
                    <a:pt x="6856" y="6856"/>
                  </a:cubicBezTo>
                  <a:cubicBezTo>
                    <a:pt x="3073" y="6856"/>
                    <a:pt x="0" y="3786"/>
                    <a:pt x="0" y="0"/>
                  </a:cubicBezTo>
                  <a:lnTo>
                    <a:pt x="0" y="833161"/>
                  </a:lnTo>
                  <a:cubicBezTo>
                    <a:pt x="0" y="836944"/>
                    <a:pt x="3073" y="840017"/>
                    <a:pt x="6856" y="840017"/>
                  </a:cubicBezTo>
                  <a:close/>
                </a:path>
              </a:pathLst>
            </a:custGeom>
            <a:solidFill>
              <a:srgbClr val="000000"/>
            </a:solidFill>
            <a:ln w="12690" cap="flat">
              <a:noFill/>
              <a:prstDash val="solid"/>
              <a:miter/>
            </a:ln>
          </p:spPr>
          <p:txBody>
            <a:bodyPr rtlCol="0" anchor="ctr"/>
            <a:lstStyle/>
            <a:p>
              <a:endParaRPr lang="en-US"/>
            </a:p>
          </p:txBody>
        </p:sp>
        <p:sp>
          <p:nvSpPr>
            <p:cNvPr id="1005" name="Freeform: Shape 1004">
              <a:extLst>
                <a:ext uri="{FF2B5EF4-FFF2-40B4-BE49-F238E27FC236}">
                  <a16:creationId xmlns:a16="http://schemas.microsoft.com/office/drawing/2014/main" id="{D6B85BD7-1766-408A-BED7-399A3611C5D3}"/>
                </a:ext>
              </a:extLst>
            </p:cNvPr>
            <p:cNvSpPr/>
            <p:nvPr/>
          </p:nvSpPr>
          <p:spPr>
            <a:xfrm>
              <a:off x="9257791" y="5455254"/>
              <a:ext cx="13771" cy="161930"/>
            </a:xfrm>
            <a:custGeom>
              <a:avLst/>
              <a:gdLst>
                <a:gd name="connsiteX0" fmla="*/ 2 w 13771"/>
                <a:gd name="connsiteY0" fmla="*/ 7030 h 161930"/>
                <a:gd name="connsiteX1" fmla="*/ 2 w 13771"/>
                <a:gd name="connsiteY1" fmla="*/ 155074 h 161930"/>
                <a:gd name="connsiteX2" fmla="*/ 6858 w 13771"/>
                <a:gd name="connsiteY2" fmla="*/ 161930 h 161930"/>
                <a:gd name="connsiteX3" fmla="*/ 13714 w 13771"/>
                <a:gd name="connsiteY3" fmla="*/ 155074 h 161930"/>
                <a:gd name="connsiteX4" fmla="*/ 13714 w 13771"/>
                <a:gd name="connsiteY4" fmla="*/ 7030 h 161930"/>
                <a:gd name="connsiteX5" fmla="*/ 13714 w 13771"/>
                <a:gd name="connsiteY5" fmla="*/ 6395 h 161930"/>
                <a:gd name="connsiteX6" fmla="*/ 13714 w 13771"/>
                <a:gd name="connsiteY6" fmla="*/ 5125 h 161930"/>
                <a:gd name="connsiteX7" fmla="*/ 13714 w 13771"/>
                <a:gd name="connsiteY7" fmla="*/ 3856 h 161930"/>
                <a:gd name="connsiteX8" fmla="*/ 13714 w 13771"/>
                <a:gd name="connsiteY8" fmla="*/ 2840 h 161930"/>
                <a:gd name="connsiteX9" fmla="*/ 12699 w 13771"/>
                <a:gd name="connsiteY9" fmla="*/ 1824 h 161930"/>
                <a:gd name="connsiteX10" fmla="*/ 8381 w 13771"/>
                <a:gd name="connsiteY10" fmla="*/ 174 h 161930"/>
                <a:gd name="connsiteX11" fmla="*/ 167 w 13771"/>
                <a:gd name="connsiteY11" fmla="*/ 5332 h 161930"/>
                <a:gd name="connsiteX12" fmla="*/ 2 w 13771"/>
                <a:gd name="connsiteY12" fmla="*/ 7030 h 1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 h="161930">
                  <a:moveTo>
                    <a:pt x="2" y="7030"/>
                  </a:moveTo>
                  <a:lnTo>
                    <a:pt x="2" y="155074"/>
                  </a:lnTo>
                  <a:cubicBezTo>
                    <a:pt x="2" y="158860"/>
                    <a:pt x="3075" y="161930"/>
                    <a:pt x="6858" y="161930"/>
                  </a:cubicBezTo>
                  <a:cubicBezTo>
                    <a:pt x="10641" y="161930"/>
                    <a:pt x="13714" y="158860"/>
                    <a:pt x="13714" y="155074"/>
                  </a:cubicBezTo>
                  <a:lnTo>
                    <a:pt x="13714" y="7030"/>
                  </a:lnTo>
                  <a:cubicBezTo>
                    <a:pt x="13701" y="6819"/>
                    <a:pt x="13701" y="6607"/>
                    <a:pt x="13714" y="6395"/>
                  </a:cubicBezTo>
                  <a:cubicBezTo>
                    <a:pt x="13777" y="5973"/>
                    <a:pt x="13777" y="5547"/>
                    <a:pt x="13714" y="5125"/>
                  </a:cubicBezTo>
                  <a:cubicBezTo>
                    <a:pt x="13791" y="4705"/>
                    <a:pt x="13791" y="4276"/>
                    <a:pt x="13714" y="3856"/>
                  </a:cubicBezTo>
                  <a:cubicBezTo>
                    <a:pt x="13777" y="3520"/>
                    <a:pt x="13777" y="3175"/>
                    <a:pt x="13714" y="2840"/>
                  </a:cubicBezTo>
                  <a:lnTo>
                    <a:pt x="12699" y="1824"/>
                  </a:lnTo>
                  <a:cubicBezTo>
                    <a:pt x="11518" y="761"/>
                    <a:pt x="9969" y="174"/>
                    <a:pt x="8381" y="174"/>
                  </a:cubicBezTo>
                  <a:cubicBezTo>
                    <a:pt x="4687" y="-670"/>
                    <a:pt x="1017" y="1640"/>
                    <a:pt x="167" y="5332"/>
                  </a:cubicBezTo>
                  <a:cubicBezTo>
                    <a:pt x="40" y="5888"/>
                    <a:pt x="-11" y="6458"/>
                    <a:pt x="2" y="7030"/>
                  </a:cubicBezTo>
                  <a:close/>
                </a:path>
              </a:pathLst>
            </a:custGeom>
            <a:solidFill>
              <a:srgbClr val="000000"/>
            </a:solidFill>
            <a:ln w="12690" cap="flat">
              <a:noFill/>
              <a:prstDash val="solid"/>
              <a:miter/>
            </a:ln>
          </p:spPr>
          <p:txBody>
            <a:bodyPr rtlCol="0" anchor="ctr"/>
            <a:lstStyle/>
            <a:p>
              <a:endParaRPr lang="en-US"/>
            </a:p>
          </p:txBody>
        </p:sp>
        <p:sp>
          <p:nvSpPr>
            <p:cNvPr id="1006" name="Freeform: Shape 1005">
              <a:extLst>
                <a:ext uri="{FF2B5EF4-FFF2-40B4-BE49-F238E27FC236}">
                  <a16:creationId xmlns:a16="http://schemas.microsoft.com/office/drawing/2014/main" id="{4080BD07-8F43-4E03-9534-9F92B13E7618}"/>
                </a:ext>
              </a:extLst>
            </p:cNvPr>
            <p:cNvSpPr/>
            <p:nvPr/>
          </p:nvSpPr>
          <p:spPr>
            <a:xfrm>
              <a:off x="8716406" y="6438791"/>
              <a:ext cx="13838" cy="11554"/>
            </a:xfrm>
            <a:custGeom>
              <a:avLst/>
              <a:gdLst>
                <a:gd name="connsiteX0" fmla="*/ 6856 w 13838"/>
                <a:gd name="connsiteY0" fmla="*/ 11554 h 11554"/>
                <a:gd name="connsiteX1" fmla="*/ 13839 w 13838"/>
                <a:gd name="connsiteY1" fmla="*/ 4698 h 11554"/>
                <a:gd name="connsiteX2" fmla="*/ 13839 w 13838"/>
                <a:gd name="connsiteY2" fmla="*/ 0 h 11554"/>
                <a:gd name="connsiteX3" fmla="*/ 6856 w 13838"/>
                <a:gd name="connsiteY3" fmla="*/ 6983 h 11554"/>
                <a:gd name="connsiteX4" fmla="*/ 0 w 13838"/>
                <a:gd name="connsiteY4" fmla="*/ 0 h 11554"/>
                <a:gd name="connsiteX5" fmla="*/ 0 w 13838"/>
                <a:gd name="connsiteY5" fmla="*/ 4698 h 11554"/>
                <a:gd name="connsiteX6" fmla="*/ 6856 w 13838"/>
                <a:gd name="connsiteY6" fmla="*/ 11554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1554">
                  <a:moveTo>
                    <a:pt x="6856" y="11554"/>
                  </a:moveTo>
                  <a:cubicBezTo>
                    <a:pt x="10665" y="11554"/>
                    <a:pt x="13775" y="8507"/>
                    <a:pt x="13839" y="4698"/>
                  </a:cubicBezTo>
                  <a:lnTo>
                    <a:pt x="13839" y="0"/>
                  </a:lnTo>
                  <a:cubicBezTo>
                    <a:pt x="13839" y="3860"/>
                    <a:pt x="10716" y="6983"/>
                    <a:pt x="6856" y="6983"/>
                  </a:cubicBezTo>
                  <a:cubicBezTo>
                    <a:pt x="3047" y="6920"/>
                    <a:pt x="0" y="3809"/>
                    <a:pt x="0" y="0"/>
                  </a:cubicBezTo>
                  <a:lnTo>
                    <a:pt x="0" y="4698"/>
                  </a:lnTo>
                  <a:cubicBezTo>
                    <a:pt x="0" y="8481"/>
                    <a:pt x="3073" y="11554"/>
                    <a:pt x="6856" y="11554"/>
                  </a:cubicBezTo>
                  <a:close/>
                </a:path>
              </a:pathLst>
            </a:custGeom>
            <a:solidFill>
              <a:srgbClr val="000000"/>
            </a:solidFill>
            <a:ln w="12690" cap="flat">
              <a:noFill/>
              <a:prstDash val="solid"/>
              <a:miter/>
            </a:ln>
          </p:spPr>
          <p:txBody>
            <a:bodyPr rtlCol="0" anchor="ctr"/>
            <a:lstStyle/>
            <a:p>
              <a:endParaRPr lang="en-US"/>
            </a:p>
          </p:txBody>
        </p:sp>
        <p:sp>
          <p:nvSpPr>
            <p:cNvPr id="1007" name="Freeform: Shape 1006">
              <a:extLst>
                <a:ext uri="{FF2B5EF4-FFF2-40B4-BE49-F238E27FC236}">
                  <a16:creationId xmlns:a16="http://schemas.microsoft.com/office/drawing/2014/main" id="{99C43369-2544-49EA-A0F3-20039F2430E2}"/>
                </a:ext>
              </a:extLst>
            </p:cNvPr>
            <p:cNvSpPr/>
            <p:nvPr/>
          </p:nvSpPr>
          <p:spPr>
            <a:xfrm>
              <a:off x="9419549" y="6442346"/>
              <a:ext cx="13851" cy="421913"/>
            </a:xfrm>
            <a:custGeom>
              <a:avLst/>
              <a:gdLst>
                <a:gd name="connsiteX0" fmla="*/ 6348 w 13851"/>
                <a:gd name="connsiteY0" fmla="*/ 7237 h 421913"/>
                <a:gd name="connsiteX1" fmla="*/ 0 w 13851"/>
                <a:gd name="connsiteY1" fmla="*/ 2920 h 421913"/>
                <a:gd name="connsiteX2" fmla="*/ 0 w 13851"/>
                <a:gd name="connsiteY2" fmla="*/ 2920 h 421913"/>
                <a:gd name="connsiteX3" fmla="*/ 0 w 13851"/>
                <a:gd name="connsiteY3" fmla="*/ 421913 h 421913"/>
                <a:gd name="connsiteX4" fmla="*/ 13839 w 13851"/>
                <a:gd name="connsiteY4" fmla="*/ 421913 h 421913"/>
                <a:gd name="connsiteX5" fmla="*/ 13839 w 13851"/>
                <a:gd name="connsiteY5" fmla="*/ 0 h 421913"/>
                <a:gd name="connsiteX6" fmla="*/ 7402 w 13851"/>
                <a:gd name="connsiteY6" fmla="*/ 7250 h 421913"/>
                <a:gd name="connsiteX7" fmla="*/ 6348 w 13851"/>
                <a:gd name="connsiteY7" fmla="*/ 7237 h 42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1" h="421913">
                  <a:moveTo>
                    <a:pt x="6348" y="7237"/>
                  </a:moveTo>
                  <a:cubicBezTo>
                    <a:pt x="3555" y="7224"/>
                    <a:pt x="1041" y="5523"/>
                    <a:pt x="0" y="2920"/>
                  </a:cubicBezTo>
                  <a:lnTo>
                    <a:pt x="0" y="2920"/>
                  </a:lnTo>
                  <a:lnTo>
                    <a:pt x="0" y="421913"/>
                  </a:lnTo>
                  <a:lnTo>
                    <a:pt x="13839" y="421913"/>
                  </a:lnTo>
                  <a:lnTo>
                    <a:pt x="13839" y="0"/>
                  </a:lnTo>
                  <a:cubicBezTo>
                    <a:pt x="14068" y="3784"/>
                    <a:pt x="11186" y="7034"/>
                    <a:pt x="7402" y="7250"/>
                  </a:cubicBezTo>
                  <a:cubicBezTo>
                    <a:pt x="7059" y="7275"/>
                    <a:pt x="6704" y="7275"/>
                    <a:pt x="6348" y="7237"/>
                  </a:cubicBezTo>
                  <a:close/>
                </a:path>
              </a:pathLst>
            </a:custGeom>
            <a:solidFill>
              <a:srgbClr val="000000"/>
            </a:solidFill>
            <a:ln w="12690" cap="flat">
              <a:noFill/>
              <a:prstDash val="solid"/>
              <a:miter/>
            </a:ln>
          </p:spPr>
          <p:txBody>
            <a:bodyPr rtlCol="0" anchor="ctr"/>
            <a:lstStyle/>
            <a:p>
              <a:endParaRPr lang="en-US"/>
            </a:p>
          </p:txBody>
        </p:sp>
        <p:sp>
          <p:nvSpPr>
            <p:cNvPr id="1008" name="Freeform: Shape 1007">
              <a:extLst>
                <a:ext uri="{FF2B5EF4-FFF2-40B4-BE49-F238E27FC236}">
                  <a16:creationId xmlns:a16="http://schemas.microsoft.com/office/drawing/2014/main" id="{722FAB1D-B5D4-4026-B6D3-9631FF983439}"/>
                </a:ext>
              </a:extLst>
            </p:cNvPr>
            <p:cNvSpPr/>
            <p:nvPr/>
          </p:nvSpPr>
          <p:spPr>
            <a:xfrm>
              <a:off x="9409265" y="6105629"/>
              <a:ext cx="13838" cy="344717"/>
            </a:xfrm>
            <a:custGeom>
              <a:avLst/>
              <a:gdLst>
                <a:gd name="connsiteX0" fmla="*/ 6856 w 13838"/>
                <a:gd name="connsiteY0" fmla="*/ 344717 h 344717"/>
                <a:gd name="connsiteX1" fmla="*/ 9776 w 13838"/>
                <a:gd name="connsiteY1" fmla="*/ 343955 h 344717"/>
                <a:gd name="connsiteX2" fmla="*/ 9776 w 13838"/>
                <a:gd name="connsiteY2" fmla="*/ 343955 h 344717"/>
                <a:gd name="connsiteX3" fmla="*/ 9776 w 13838"/>
                <a:gd name="connsiteY3" fmla="*/ 341289 h 344717"/>
                <a:gd name="connsiteX4" fmla="*/ 9776 w 13838"/>
                <a:gd name="connsiteY4" fmla="*/ 331258 h 344717"/>
                <a:gd name="connsiteX5" fmla="*/ 13839 w 13838"/>
                <a:gd name="connsiteY5" fmla="*/ 325037 h 344717"/>
                <a:gd name="connsiteX6" fmla="*/ 13839 w 13838"/>
                <a:gd name="connsiteY6" fmla="*/ 325037 h 344717"/>
                <a:gd name="connsiteX7" fmla="*/ 13839 w 13838"/>
                <a:gd name="connsiteY7" fmla="*/ 0 h 344717"/>
                <a:gd name="connsiteX8" fmla="*/ 6856 w 13838"/>
                <a:gd name="connsiteY8" fmla="*/ 6856 h 344717"/>
                <a:gd name="connsiteX9" fmla="*/ 0 w 13838"/>
                <a:gd name="connsiteY9" fmla="*/ 0 h 344717"/>
                <a:gd name="connsiteX10" fmla="*/ 0 w 13838"/>
                <a:gd name="connsiteY10" fmla="*/ 337861 h 344717"/>
                <a:gd name="connsiteX11" fmla="*/ 6856 w 13838"/>
                <a:gd name="connsiteY11" fmla="*/ 344717 h 34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344717">
                  <a:moveTo>
                    <a:pt x="6856" y="344717"/>
                  </a:moveTo>
                  <a:cubicBezTo>
                    <a:pt x="7884" y="344730"/>
                    <a:pt x="8888" y="344476"/>
                    <a:pt x="9776" y="343955"/>
                  </a:cubicBezTo>
                  <a:lnTo>
                    <a:pt x="9776" y="343955"/>
                  </a:lnTo>
                  <a:cubicBezTo>
                    <a:pt x="9598" y="343079"/>
                    <a:pt x="9598" y="342165"/>
                    <a:pt x="9776" y="341289"/>
                  </a:cubicBezTo>
                  <a:lnTo>
                    <a:pt x="9776" y="331258"/>
                  </a:lnTo>
                  <a:cubicBezTo>
                    <a:pt x="9789" y="328566"/>
                    <a:pt x="11376" y="326129"/>
                    <a:pt x="13839" y="325037"/>
                  </a:cubicBezTo>
                  <a:lnTo>
                    <a:pt x="13839" y="325037"/>
                  </a:lnTo>
                  <a:lnTo>
                    <a:pt x="13839" y="0"/>
                  </a:lnTo>
                  <a:cubicBezTo>
                    <a:pt x="13775" y="3809"/>
                    <a:pt x="10665" y="6856"/>
                    <a:pt x="6856" y="6856"/>
                  </a:cubicBezTo>
                  <a:cubicBezTo>
                    <a:pt x="3073" y="6856"/>
                    <a:pt x="0" y="3784"/>
                    <a:pt x="0" y="0"/>
                  </a:cubicBezTo>
                  <a:lnTo>
                    <a:pt x="0" y="337861"/>
                  </a:lnTo>
                  <a:cubicBezTo>
                    <a:pt x="0" y="341644"/>
                    <a:pt x="3073" y="344717"/>
                    <a:pt x="6856" y="344717"/>
                  </a:cubicBezTo>
                  <a:close/>
                </a:path>
              </a:pathLst>
            </a:custGeom>
            <a:solidFill>
              <a:srgbClr val="000000"/>
            </a:solidFill>
            <a:ln w="12690" cap="flat">
              <a:noFill/>
              <a:prstDash val="solid"/>
              <a:miter/>
            </a:ln>
          </p:spPr>
          <p:txBody>
            <a:bodyPr rtlCol="0" anchor="ctr"/>
            <a:lstStyle/>
            <a:p>
              <a:endParaRPr lang="en-US"/>
            </a:p>
          </p:txBody>
        </p:sp>
        <p:sp>
          <p:nvSpPr>
            <p:cNvPr id="1009" name="Freeform: Shape 1008">
              <a:extLst>
                <a:ext uri="{FF2B5EF4-FFF2-40B4-BE49-F238E27FC236}">
                  <a16:creationId xmlns:a16="http://schemas.microsoft.com/office/drawing/2014/main" id="{F761B570-4007-4505-B1AF-6DEE49E7A086}"/>
                </a:ext>
              </a:extLst>
            </p:cNvPr>
            <p:cNvSpPr/>
            <p:nvPr/>
          </p:nvSpPr>
          <p:spPr>
            <a:xfrm>
              <a:off x="9776453" y="6432824"/>
              <a:ext cx="13839" cy="431689"/>
            </a:xfrm>
            <a:custGeom>
              <a:avLst/>
              <a:gdLst>
                <a:gd name="connsiteX0" fmla="*/ 13840 w 13839"/>
                <a:gd name="connsiteY0" fmla="*/ 6348 h 431689"/>
                <a:gd name="connsiteX1" fmla="*/ 13840 w 13839"/>
                <a:gd name="connsiteY1" fmla="*/ 0 h 431689"/>
                <a:gd name="connsiteX2" fmla="*/ 6856 w 13839"/>
                <a:gd name="connsiteY2" fmla="*/ 6983 h 431689"/>
                <a:gd name="connsiteX3" fmla="*/ 0 w 13839"/>
                <a:gd name="connsiteY3" fmla="*/ 127 h 431689"/>
                <a:gd name="connsiteX4" fmla="*/ 0 w 13839"/>
                <a:gd name="connsiteY4" fmla="*/ 0 h 431689"/>
                <a:gd name="connsiteX5" fmla="*/ 0 w 13839"/>
                <a:gd name="connsiteY5" fmla="*/ 431690 h 431689"/>
                <a:gd name="connsiteX6" fmla="*/ 13840 w 13839"/>
                <a:gd name="connsiteY6" fmla="*/ 431690 h 431689"/>
                <a:gd name="connsiteX7" fmla="*/ 13840 w 13839"/>
                <a:gd name="connsiteY7" fmla="*/ 6348 h 43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31689">
                  <a:moveTo>
                    <a:pt x="13840" y="6348"/>
                  </a:moveTo>
                  <a:lnTo>
                    <a:pt x="13840" y="0"/>
                  </a:lnTo>
                  <a:cubicBezTo>
                    <a:pt x="13840" y="3860"/>
                    <a:pt x="10716" y="6983"/>
                    <a:pt x="6856" y="6983"/>
                  </a:cubicBezTo>
                  <a:cubicBezTo>
                    <a:pt x="3073" y="6983"/>
                    <a:pt x="0" y="3911"/>
                    <a:pt x="0" y="127"/>
                  </a:cubicBezTo>
                  <a:cubicBezTo>
                    <a:pt x="0" y="89"/>
                    <a:pt x="0" y="38"/>
                    <a:pt x="0" y="0"/>
                  </a:cubicBezTo>
                  <a:lnTo>
                    <a:pt x="0" y="431690"/>
                  </a:lnTo>
                  <a:lnTo>
                    <a:pt x="13840" y="431690"/>
                  </a:lnTo>
                  <a:lnTo>
                    <a:pt x="13840" y="6348"/>
                  </a:lnTo>
                  <a:close/>
                </a:path>
              </a:pathLst>
            </a:custGeom>
            <a:solidFill>
              <a:srgbClr val="000000"/>
            </a:solidFill>
            <a:ln w="12690" cap="flat">
              <a:noFill/>
              <a:prstDash val="solid"/>
              <a:miter/>
            </a:ln>
          </p:spPr>
          <p:txBody>
            <a:bodyPr rtlCol="0" anchor="ctr"/>
            <a:lstStyle/>
            <a:p>
              <a:endParaRPr lang="en-US"/>
            </a:p>
          </p:txBody>
        </p:sp>
        <p:sp>
          <p:nvSpPr>
            <p:cNvPr id="1010" name="Freeform: Shape 1009">
              <a:extLst>
                <a:ext uri="{FF2B5EF4-FFF2-40B4-BE49-F238E27FC236}">
                  <a16:creationId xmlns:a16="http://schemas.microsoft.com/office/drawing/2014/main" id="{D9A027C5-FA6E-4ECE-999A-EA221D5291E6}"/>
                </a:ext>
              </a:extLst>
            </p:cNvPr>
            <p:cNvSpPr/>
            <p:nvPr/>
          </p:nvSpPr>
          <p:spPr>
            <a:xfrm>
              <a:off x="8607595" y="6438791"/>
              <a:ext cx="13712" cy="11554"/>
            </a:xfrm>
            <a:custGeom>
              <a:avLst/>
              <a:gdLst>
                <a:gd name="connsiteX0" fmla="*/ 6856 w 13712"/>
                <a:gd name="connsiteY0" fmla="*/ 6983 h 11554"/>
                <a:gd name="connsiteX1" fmla="*/ 0 w 13712"/>
                <a:gd name="connsiteY1" fmla="*/ 0 h 11554"/>
                <a:gd name="connsiteX2" fmla="*/ 0 w 13712"/>
                <a:gd name="connsiteY2" fmla="*/ 4698 h 11554"/>
                <a:gd name="connsiteX3" fmla="*/ 6856 w 13712"/>
                <a:gd name="connsiteY3" fmla="*/ 11554 h 11554"/>
                <a:gd name="connsiteX4" fmla="*/ 13713 w 13712"/>
                <a:gd name="connsiteY4" fmla="*/ 4698 h 11554"/>
                <a:gd name="connsiteX5" fmla="*/ 13713 w 13712"/>
                <a:gd name="connsiteY5" fmla="*/ 0 h 11554"/>
                <a:gd name="connsiteX6" fmla="*/ 6856 w 13712"/>
                <a:gd name="connsiteY6" fmla="*/ 6983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11554">
                  <a:moveTo>
                    <a:pt x="6856" y="6983"/>
                  </a:moveTo>
                  <a:cubicBezTo>
                    <a:pt x="3047" y="6920"/>
                    <a:pt x="0" y="3809"/>
                    <a:pt x="0" y="0"/>
                  </a:cubicBezTo>
                  <a:lnTo>
                    <a:pt x="0" y="4698"/>
                  </a:lnTo>
                  <a:cubicBezTo>
                    <a:pt x="0" y="8481"/>
                    <a:pt x="3073" y="11554"/>
                    <a:pt x="6856" y="11554"/>
                  </a:cubicBezTo>
                  <a:cubicBezTo>
                    <a:pt x="10640" y="11554"/>
                    <a:pt x="13713" y="8481"/>
                    <a:pt x="13713" y="4698"/>
                  </a:cubicBezTo>
                  <a:lnTo>
                    <a:pt x="13713" y="0"/>
                  </a:lnTo>
                  <a:cubicBezTo>
                    <a:pt x="13713" y="3809"/>
                    <a:pt x="10666" y="6920"/>
                    <a:pt x="6856" y="6983"/>
                  </a:cubicBezTo>
                  <a:close/>
                </a:path>
              </a:pathLst>
            </a:custGeom>
            <a:solidFill>
              <a:srgbClr val="000000"/>
            </a:solidFill>
            <a:ln w="12690" cap="flat">
              <a:noFill/>
              <a:prstDash val="solid"/>
              <a:miter/>
            </a:ln>
          </p:spPr>
          <p:txBody>
            <a:bodyPr rtlCol="0" anchor="ctr"/>
            <a:lstStyle/>
            <a:p>
              <a:endParaRPr lang="en-US"/>
            </a:p>
          </p:txBody>
        </p:sp>
        <p:sp>
          <p:nvSpPr>
            <p:cNvPr id="1011" name="Freeform: Shape 1010">
              <a:extLst>
                <a:ext uri="{FF2B5EF4-FFF2-40B4-BE49-F238E27FC236}">
                  <a16:creationId xmlns:a16="http://schemas.microsoft.com/office/drawing/2014/main" id="{D14BBAF4-DFF9-4A68-8655-41444C79B225}"/>
                </a:ext>
              </a:extLst>
            </p:cNvPr>
            <p:cNvSpPr/>
            <p:nvPr/>
          </p:nvSpPr>
          <p:spPr>
            <a:xfrm>
              <a:off x="10788379" y="5829601"/>
              <a:ext cx="6983" cy="13839"/>
            </a:xfrm>
            <a:custGeom>
              <a:avLst/>
              <a:gdLst>
                <a:gd name="connsiteX0" fmla="*/ 0 w 6983"/>
                <a:gd name="connsiteY0" fmla="*/ 6983 h 13839"/>
                <a:gd name="connsiteX1" fmla="*/ 6983 w 6983"/>
                <a:gd name="connsiteY1" fmla="*/ 0 h 13839"/>
                <a:gd name="connsiteX2" fmla="*/ 6983 w 6983"/>
                <a:gd name="connsiteY2" fmla="*/ 0 h 13839"/>
                <a:gd name="connsiteX3" fmla="*/ 0 w 6983"/>
                <a:gd name="connsiteY3" fmla="*/ 6983 h 13839"/>
                <a:gd name="connsiteX4" fmla="*/ 6983 w 6983"/>
                <a:gd name="connsiteY4" fmla="*/ 13840 h 13839"/>
                <a:gd name="connsiteX5" fmla="*/ 6983 w 6983"/>
                <a:gd name="connsiteY5" fmla="*/ 13840 h 13839"/>
                <a:gd name="connsiteX6" fmla="*/ 0 w 698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3" h="13839">
                  <a:moveTo>
                    <a:pt x="0" y="6983"/>
                  </a:moveTo>
                  <a:cubicBezTo>
                    <a:pt x="0" y="3126"/>
                    <a:pt x="3123" y="0"/>
                    <a:pt x="6983" y="0"/>
                  </a:cubicBezTo>
                  <a:lnTo>
                    <a:pt x="6983" y="0"/>
                  </a:lnTo>
                  <a:cubicBezTo>
                    <a:pt x="3123" y="0"/>
                    <a:pt x="0" y="3126"/>
                    <a:pt x="0" y="6983"/>
                  </a:cubicBezTo>
                  <a:cubicBezTo>
                    <a:pt x="64" y="10790"/>
                    <a:pt x="3174" y="13840"/>
                    <a:pt x="6983" y="13840"/>
                  </a:cubicBezTo>
                  <a:lnTo>
                    <a:pt x="6983" y="13840"/>
                  </a:lnTo>
                  <a:cubicBezTo>
                    <a:pt x="3174" y="13840"/>
                    <a:pt x="64" y="10790"/>
                    <a:pt x="0" y="6983"/>
                  </a:cubicBezTo>
                  <a:close/>
                </a:path>
              </a:pathLst>
            </a:custGeom>
            <a:solidFill>
              <a:srgbClr val="000000"/>
            </a:solidFill>
            <a:ln w="12690" cap="flat">
              <a:noFill/>
              <a:prstDash val="solid"/>
              <a:miter/>
            </a:ln>
          </p:spPr>
          <p:txBody>
            <a:bodyPr rtlCol="0" anchor="ctr"/>
            <a:lstStyle/>
            <a:p>
              <a:endParaRPr lang="en-US"/>
            </a:p>
          </p:txBody>
        </p:sp>
        <p:sp>
          <p:nvSpPr>
            <p:cNvPr id="1012" name="Freeform: Shape 1011">
              <a:extLst>
                <a:ext uri="{FF2B5EF4-FFF2-40B4-BE49-F238E27FC236}">
                  <a16:creationId xmlns:a16="http://schemas.microsoft.com/office/drawing/2014/main" id="{5314B728-9C88-4AE2-92A0-1C6649759756}"/>
                </a:ext>
              </a:extLst>
            </p:cNvPr>
            <p:cNvSpPr/>
            <p:nvPr/>
          </p:nvSpPr>
          <p:spPr>
            <a:xfrm>
              <a:off x="9776453" y="6436887"/>
              <a:ext cx="13839" cy="6856"/>
            </a:xfrm>
            <a:custGeom>
              <a:avLst/>
              <a:gdLst>
                <a:gd name="connsiteX0" fmla="*/ 6856 w 13839"/>
                <a:gd name="connsiteY0" fmla="*/ 6729 h 6856"/>
                <a:gd name="connsiteX1" fmla="*/ 0 w 13839"/>
                <a:gd name="connsiteY1" fmla="*/ 0 h 6856"/>
                <a:gd name="connsiteX2" fmla="*/ 0 w 13839"/>
                <a:gd name="connsiteY2" fmla="*/ 0 h 6856"/>
                <a:gd name="connsiteX3" fmla="*/ 6856 w 13839"/>
                <a:gd name="connsiteY3" fmla="*/ 6856 h 6856"/>
                <a:gd name="connsiteX4" fmla="*/ 13840 w 13839"/>
                <a:gd name="connsiteY4" fmla="*/ 0 h 6856"/>
                <a:gd name="connsiteX5" fmla="*/ 13840 w 13839"/>
                <a:gd name="connsiteY5" fmla="*/ 0 h 6856"/>
                <a:gd name="connsiteX6" fmla="*/ 6856 w 13839"/>
                <a:gd name="connsiteY6" fmla="*/ 6729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856">
                  <a:moveTo>
                    <a:pt x="6856" y="6729"/>
                  </a:moveTo>
                  <a:cubicBezTo>
                    <a:pt x="3123" y="6729"/>
                    <a:pt x="64" y="3733"/>
                    <a:pt x="0" y="0"/>
                  </a:cubicBezTo>
                  <a:lnTo>
                    <a:pt x="0" y="0"/>
                  </a:lnTo>
                  <a:cubicBezTo>
                    <a:pt x="0" y="3784"/>
                    <a:pt x="3073" y="6856"/>
                    <a:pt x="6856" y="6856"/>
                  </a:cubicBezTo>
                  <a:cubicBezTo>
                    <a:pt x="10666" y="6856"/>
                    <a:pt x="13776" y="3809"/>
                    <a:pt x="13840" y="0"/>
                  </a:cubicBezTo>
                  <a:lnTo>
                    <a:pt x="13840" y="0"/>
                  </a:lnTo>
                  <a:cubicBezTo>
                    <a:pt x="13699" y="3758"/>
                    <a:pt x="10614" y="6729"/>
                    <a:pt x="6856" y="6729"/>
                  </a:cubicBezTo>
                  <a:close/>
                </a:path>
              </a:pathLst>
            </a:custGeom>
            <a:solidFill>
              <a:srgbClr val="000000"/>
            </a:solidFill>
            <a:ln w="12690" cap="flat">
              <a:noFill/>
              <a:prstDash val="solid"/>
              <a:miter/>
            </a:ln>
          </p:spPr>
          <p:txBody>
            <a:bodyPr rtlCol="0" anchor="ctr"/>
            <a:lstStyle/>
            <a:p>
              <a:endParaRPr lang="en-US"/>
            </a:p>
          </p:txBody>
        </p:sp>
        <p:sp>
          <p:nvSpPr>
            <p:cNvPr id="1013" name="Freeform: Shape 1012">
              <a:extLst>
                <a:ext uri="{FF2B5EF4-FFF2-40B4-BE49-F238E27FC236}">
                  <a16:creationId xmlns:a16="http://schemas.microsoft.com/office/drawing/2014/main" id="{A7948432-DE28-41F4-B930-BA157D8A4870}"/>
                </a:ext>
              </a:extLst>
            </p:cNvPr>
            <p:cNvSpPr/>
            <p:nvPr/>
          </p:nvSpPr>
          <p:spPr>
            <a:xfrm>
              <a:off x="9776453" y="6428761"/>
              <a:ext cx="13839" cy="14982"/>
            </a:xfrm>
            <a:custGeom>
              <a:avLst/>
              <a:gdLst>
                <a:gd name="connsiteX0" fmla="*/ 6856 w 13839"/>
                <a:gd name="connsiteY0" fmla="*/ 0 h 14982"/>
                <a:gd name="connsiteX1" fmla="*/ 0 w 13839"/>
                <a:gd name="connsiteY1" fmla="*/ 6856 h 14982"/>
                <a:gd name="connsiteX2" fmla="*/ 0 w 13839"/>
                <a:gd name="connsiteY2" fmla="*/ 6983 h 14982"/>
                <a:gd name="connsiteX3" fmla="*/ 0 w 13839"/>
                <a:gd name="connsiteY3" fmla="*/ 8126 h 14982"/>
                <a:gd name="connsiteX4" fmla="*/ 6856 w 13839"/>
                <a:gd name="connsiteY4" fmla="*/ 14982 h 14982"/>
                <a:gd name="connsiteX5" fmla="*/ 13840 w 13839"/>
                <a:gd name="connsiteY5" fmla="*/ 8126 h 14982"/>
                <a:gd name="connsiteX6" fmla="*/ 13840 w 13839"/>
                <a:gd name="connsiteY6" fmla="*/ 7110 h 14982"/>
                <a:gd name="connsiteX7" fmla="*/ 12443 w 13839"/>
                <a:gd name="connsiteY7" fmla="*/ 3174 h 14982"/>
                <a:gd name="connsiteX8" fmla="*/ 10919 w 13839"/>
                <a:gd name="connsiteY8" fmla="*/ 1651 h 14982"/>
                <a:gd name="connsiteX9" fmla="*/ 6856 w 13839"/>
                <a:gd name="connsiteY9" fmla="*/ 0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9" h="14982">
                  <a:moveTo>
                    <a:pt x="6856" y="0"/>
                  </a:moveTo>
                  <a:cubicBezTo>
                    <a:pt x="3073" y="0"/>
                    <a:pt x="0" y="3073"/>
                    <a:pt x="0" y="6856"/>
                  </a:cubicBezTo>
                  <a:cubicBezTo>
                    <a:pt x="0" y="6894"/>
                    <a:pt x="0" y="6945"/>
                    <a:pt x="0" y="6983"/>
                  </a:cubicBezTo>
                  <a:lnTo>
                    <a:pt x="0" y="8126"/>
                  </a:lnTo>
                  <a:cubicBezTo>
                    <a:pt x="0" y="11910"/>
                    <a:pt x="3073" y="14982"/>
                    <a:pt x="6856" y="14982"/>
                  </a:cubicBezTo>
                  <a:cubicBezTo>
                    <a:pt x="10666" y="14982"/>
                    <a:pt x="13776" y="11935"/>
                    <a:pt x="13840" y="8126"/>
                  </a:cubicBezTo>
                  <a:lnTo>
                    <a:pt x="13840" y="7110"/>
                  </a:lnTo>
                  <a:cubicBezTo>
                    <a:pt x="13789" y="5688"/>
                    <a:pt x="13293" y="4317"/>
                    <a:pt x="12443" y="3174"/>
                  </a:cubicBezTo>
                  <a:cubicBezTo>
                    <a:pt x="12036" y="2577"/>
                    <a:pt x="11516" y="2057"/>
                    <a:pt x="10919" y="1651"/>
                  </a:cubicBezTo>
                  <a:cubicBezTo>
                    <a:pt x="9789" y="660"/>
                    <a:pt x="8355" y="76"/>
                    <a:pt x="6856" y="0"/>
                  </a:cubicBezTo>
                  <a:close/>
                </a:path>
              </a:pathLst>
            </a:custGeom>
            <a:solidFill>
              <a:srgbClr val="000000"/>
            </a:solidFill>
            <a:ln w="12690" cap="flat">
              <a:noFill/>
              <a:prstDash val="solid"/>
              <a:miter/>
            </a:ln>
          </p:spPr>
          <p:txBody>
            <a:bodyPr rtlCol="0" anchor="ctr"/>
            <a:lstStyle/>
            <a:p>
              <a:endParaRPr lang="en-US"/>
            </a:p>
          </p:txBody>
        </p:sp>
        <p:sp>
          <p:nvSpPr>
            <p:cNvPr id="1014" name="Freeform: Shape 1013">
              <a:extLst>
                <a:ext uri="{FF2B5EF4-FFF2-40B4-BE49-F238E27FC236}">
                  <a16:creationId xmlns:a16="http://schemas.microsoft.com/office/drawing/2014/main" id="{46D9DD7C-FB3B-4BB6-BDC5-5E763EF51851}"/>
                </a:ext>
              </a:extLst>
            </p:cNvPr>
            <p:cNvSpPr/>
            <p:nvPr/>
          </p:nvSpPr>
          <p:spPr>
            <a:xfrm>
              <a:off x="10071524" y="6113120"/>
              <a:ext cx="1270" cy="3682"/>
            </a:xfrm>
            <a:custGeom>
              <a:avLst/>
              <a:gdLst>
                <a:gd name="connsiteX0" fmla="*/ 0 w 1270"/>
                <a:gd name="connsiteY0" fmla="*/ 3682 h 3682"/>
                <a:gd name="connsiteX1" fmla="*/ 1270 w 1270"/>
                <a:gd name="connsiteY1" fmla="*/ 3682 h 3682"/>
                <a:gd name="connsiteX2" fmla="*/ 1270 w 1270"/>
                <a:gd name="connsiteY2" fmla="*/ 0 h 3682"/>
                <a:gd name="connsiteX3" fmla="*/ 0 w 1270"/>
                <a:gd name="connsiteY3" fmla="*/ 3682 h 3682"/>
              </a:gdLst>
              <a:ahLst/>
              <a:cxnLst>
                <a:cxn ang="0">
                  <a:pos x="connsiteX0" y="connsiteY0"/>
                </a:cxn>
                <a:cxn ang="0">
                  <a:pos x="connsiteX1" y="connsiteY1"/>
                </a:cxn>
                <a:cxn ang="0">
                  <a:pos x="connsiteX2" y="connsiteY2"/>
                </a:cxn>
                <a:cxn ang="0">
                  <a:pos x="connsiteX3" y="connsiteY3"/>
                </a:cxn>
              </a:cxnLst>
              <a:rect l="l" t="t" r="r" b="b"/>
              <a:pathLst>
                <a:path w="1270" h="3682">
                  <a:moveTo>
                    <a:pt x="0" y="3682"/>
                  </a:moveTo>
                  <a:lnTo>
                    <a:pt x="1270" y="3682"/>
                  </a:lnTo>
                  <a:lnTo>
                    <a:pt x="1270" y="0"/>
                  </a:lnTo>
                  <a:cubicBezTo>
                    <a:pt x="1231" y="1333"/>
                    <a:pt x="787" y="2616"/>
                    <a:pt x="0" y="3682"/>
                  </a:cubicBezTo>
                  <a:close/>
                </a:path>
              </a:pathLst>
            </a:custGeom>
            <a:solidFill>
              <a:srgbClr val="000000"/>
            </a:solidFill>
            <a:ln w="12690" cap="flat">
              <a:noFill/>
              <a:prstDash val="solid"/>
              <a:miter/>
            </a:ln>
          </p:spPr>
          <p:txBody>
            <a:bodyPr rtlCol="0" anchor="ctr"/>
            <a:lstStyle/>
            <a:p>
              <a:endParaRPr lang="en-US"/>
            </a:p>
          </p:txBody>
        </p:sp>
        <p:sp>
          <p:nvSpPr>
            <p:cNvPr id="1015" name="Freeform: Shape 1014">
              <a:extLst>
                <a:ext uri="{FF2B5EF4-FFF2-40B4-BE49-F238E27FC236}">
                  <a16:creationId xmlns:a16="http://schemas.microsoft.com/office/drawing/2014/main" id="{C49FAC61-E713-4A3B-B167-D7B32378B2BF}"/>
                </a:ext>
              </a:extLst>
            </p:cNvPr>
            <p:cNvSpPr/>
            <p:nvPr/>
          </p:nvSpPr>
          <p:spPr>
            <a:xfrm>
              <a:off x="10058954" y="6113120"/>
              <a:ext cx="1143" cy="3682"/>
            </a:xfrm>
            <a:custGeom>
              <a:avLst/>
              <a:gdLst>
                <a:gd name="connsiteX0" fmla="*/ 0 w 1143"/>
                <a:gd name="connsiteY0" fmla="*/ 0 h 3682"/>
                <a:gd name="connsiteX1" fmla="*/ 0 w 1143"/>
                <a:gd name="connsiteY1" fmla="*/ 3682 h 3682"/>
                <a:gd name="connsiteX2" fmla="*/ 1143 w 1143"/>
                <a:gd name="connsiteY2" fmla="*/ 3682 h 3682"/>
                <a:gd name="connsiteX3" fmla="*/ 0 w 1143"/>
                <a:gd name="connsiteY3" fmla="*/ 0 h 3682"/>
              </a:gdLst>
              <a:ahLst/>
              <a:cxnLst>
                <a:cxn ang="0">
                  <a:pos x="connsiteX0" y="connsiteY0"/>
                </a:cxn>
                <a:cxn ang="0">
                  <a:pos x="connsiteX1" y="connsiteY1"/>
                </a:cxn>
                <a:cxn ang="0">
                  <a:pos x="connsiteX2" y="connsiteY2"/>
                </a:cxn>
                <a:cxn ang="0">
                  <a:pos x="connsiteX3" y="connsiteY3"/>
                </a:cxn>
              </a:cxnLst>
              <a:rect l="l" t="t" r="r" b="b"/>
              <a:pathLst>
                <a:path w="1143" h="3682">
                  <a:moveTo>
                    <a:pt x="0" y="0"/>
                  </a:moveTo>
                  <a:lnTo>
                    <a:pt x="0" y="3682"/>
                  </a:lnTo>
                  <a:lnTo>
                    <a:pt x="1143" y="3682"/>
                  </a:lnTo>
                  <a:cubicBezTo>
                    <a:pt x="444" y="2577"/>
                    <a:pt x="51" y="1308"/>
                    <a:pt x="0" y="0"/>
                  </a:cubicBezTo>
                  <a:close/>
                </a:path>
              </a:pathLst>
            </a:custGeom>
            <a:solidFill>
              <a:srgbClr val="000000"/>
            </a:solidFill>
            <a:ln w="12690" cap="flat">
              <a:noFill/>
              <a:prstDash val="solid"/>
              <a:miter/>
            </a:ln>
          </p:spPr>
          <p:txBody>
            <a:bodyPr rtlCol="0" anchor="ctr"/>
            <a:lstStyle/>
            <a:p>
              <a:endParaRPr lang="en-US"/>
            </a:p>
          </p:txBody>
        </p:sp>
        <p:sp>
          <p:nvSpPr>
            <p:cNvPr id="1016" name="Freeform: Shape 1015">
              <a:extLst>
                <a:ext uri="{FF2B5EF4-FFF2-40B4-BE49-F238E27FC236}">
                  <a16:creationId xmlns:a16="http://schemas.microsoft.com/office/drawing/2014/main" id="{DE9AAC37-875C-4C3C-812E-359BE4189738}"/>
                </a:ext>
              </a:extLst>
            </p:cNvPr>
            <p:cNvSpPr/>
            <p:nvPr/>
          </p:nvSpPr>
          <p:spPr>
            <a:xfrm>
              <a:off x="9776453" y="5784528"/>
              <a:ext cx="13839" cy="204544"/>
            </a:xfrm>
            <a:custGeom>
              <a:avLst/>
              <a:gdLst>
                <a:gd name="connsiteX0" fmla="*/ 6856 w 13839"/>
                <a:gd name="connsiteY0" fmla="*/ 204545 h 204544"/>
                <a:gd name="connsiteX1" fmla="*/ 13840 w 13839"/>
                <a:gd name="connsiteY1" fmla="*/ 197688 h 204544"/>
                <a:gd name="connsiteX2" fmla="*/ 13840 w 13839"/>
                <a:gd name="connsiteY2" fmla="*/ 0 h 204544"/>
                <a:gd name="connsiteX3" fmla="*/ 6856 w 13839"/>
                <a:gd name="connsiteY3" fmla="*/ 6983 h 204544"/>
                <a:gd name="connsiteX4" fmla="*/ 0 w 13839"/>
                <a:gd name="connsiteY4" fmla="*/ 0 h 204544"/>
                <a:gd name="connsiteX5" fmla="*/ 0 w 13839"/>
                <a:gd name="connsiteY5" fmla="*/ 197688 h 204544"/>
                <a:gd name="connsiteX6" fmla="*/ 6856 w 13839"/>
                <a:gd name="connsiteY6"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204544">
                  <a:moveTo>
                    <a:pt x="6856" y="204545"/>
                  </a:moveTo>
                  <a:cubicBezTo>
                    <a:pt x="10666" y="204545"/>
                    <a:pt x="13776" y="201495"/>
                    <a:pt x="13840" y="197688"/>
                  </a:cubicBezTo>
                  <a:lnTo>
                    <a:pt x="13840" y="0"/>
                  </a:lnTo>
                  <a:cubicBezTo>
                    <a:pt x="13840" y="3857"/>
                    <a:pt x="10716" y="6983"/>
                    <a:pt x="6856" y="6983"/>
                  </a:cubicBezTo>
                  <a:cubicBezTo>
                    <a:pt x="3047" y="6915"/>
                    <a:pt x="0" y="3808"/>
                    <a:pt x="0" y="0"/>
                  </a:cubicBezTo>
                  <a:lnTo>
                    <a:pt x="0" y="197688"/>
                  </a:lnTo>
                  <a:cubicBezTo>
                    <a:pt x="0" y="201475"/>
                    <a:pt x="3073" y="204545"/>
                    <a:pt x="6856" y="204545"/>
                  </a:cubicBezTo>
                  <a:close/>
                </a:path>
              </a:pathLst>
            </a:custGeom>
            <a:solidFill>
              <a:srgbClr val="000000"/>
            </a:solidFill>
            <a:ln w="12690" cap="flat">
              <a:noFill/>
              <a:prstDash val="solid"/>
              <a:miter/>
            </a:ln>
          </p:spPr>
          <p:txBody>
            <a:bodyPr rtlCol="0" anchor="ctr"/>
            <a:lstStyle/>
            <a:p>
              <a:endParaRPr lang="en-US"/>
            </a:p>
          </p:txBody>
        </p:sp>
        <p:sp>
          <p:nvSpPr>
            <p:cNvPr id="1017" name="Freeform: Shape 1016">
              <a:extLst>
                <a:ext uri="{FF2B5EF4-FFF2-40B4-BE49-F238E27FC236}">
                  <a16:creationId xmlns:a16="http://schemas.microsoft.com/office/drawing/2014/main" id="{CA5BDF6C-1745-4DBE-B5FF-DC8277F7CEF9}"/>
                </a:ext>
              </a:extLst>
            </p:cNvPr>
            <p:cNvSpPr/>
            <p:nvPr/>
          </p:nvSpPr>
          <p:spPr>
            <a:xfrm>
              <a:off x="10199380" y="6112358"/>
              <a:ext cx="13458" cy="4443"/>
            </a:xfrm>
            <a:custGeom>
              <a:avLst/>
              <a:gdLst>
                <a:gd name="connsiteX0" fmla="*/ 0 w 13458"/>
                <a:gd name="connsiteY0" fmla="*/ 4444 h 4443"/>
                <a:gd name="connsiteX1" fmla="*/ 7110 w 13458"/>
                <a:gd name="connsiteY1" fmla="*/ 4444 h 4443"/>
                <a:gd name="connsiteX2" fmla="*/ 13458 w 13458"/>
                <a:gd name="connsiteY2" fmla="*/ 0 h 4443"/>
                <a:gd name="connsiteX3" fmla="*/ 6348 w 13458"/>
                <a:gd name="connsiteY3" fmla="*/ 0 h 4443"/>
                <a:gd name="connsiteX4" fmla="*/ 0 w 13458"/>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8" h="4443">
                  <a:moveTo>
                    <a:pt x="0" y="4444"/>
                  </a:moveTo>
                  <a:lnTo>
                    <a:pt x="7110" y="4444"/>
                  </a:lnTo>
                  <a:cubicBezTo>
                    <a:pt x="8075" y="1765"/>
                    <a:pt x="10614" y="-13"/>
                    <a:pt x="13458" y="0"/>
                  </a:cubicBezTo>
                  <a:lnTo>
                    <a:pt x="6348" y="0"/>
                  </a:lnTo>
                  <a:cubicBezTo>
                    <a:pt x="3504" y="-13"/>
                    <a:pt x="965" y="1765"/>
                    <a:pt x="0" y="4444"/>
                  </a:cubicBezTo>
                  <a:close/>
                </a:path>
              </a:pathLst>
            </a:custGeom>
            <a:solidFill>
              <a:srgbClr val="000000"/>
            </a:solidFill>
            <a:ln w="12690" cap="flat">
              <a:noFill/>
              <a:prstDash val="solid"/>
              <a:miter/>
            </a:ln>
          </p:spPr>
          <p:txBody>
            <a:bodyPr rtlCol="0" anchor="ctr"/>
            <a:lstStyle/>
            <a:p>
              <a:endParaRPr lang="en-US"/>
            </a:p>
          </p:txBody>
        </p:sp>
        <p:sp>
          <p:nvSpPr>
            <p:cNvPr id="1018" name="Freeform: Shape 1017">
              <a:extLst>
                <a:ext uri="{FF2B5EF4-FFF2-40B4-BE49-F238E27FC236}">
                  <a16:creationId xmlns:a16="http://schemas.microsoft.com/office/drawing/2014/main" id="{137DB53E-7387-4322-9C70-FA1DAA60D566}"/>
                </a:ext>
              </a:extLst>
            </p:cNvPr>
            <p:cNvSpPr/>
            <p:nvPr/>
          </p:nvSpPr>
          <p:spPr>
            <a:xfrm>
              <a:off x="10206490" y="6112358"/>
              <a:ext cx="71355" cy="4444"/>
            </a:xfrm>
            <a:custGeom>
              <a:avLst/>
              <a:gdLst>
                <a:gd name="connsiteX0" fmla="*/ 0 w 71355"/>
                <a:gd name="connsiteY0" fmla="*/ 4444 h 4444"/>
                <a:gd name="connsiteX1" fmla="*/ 71355 w 71355"/>
                <a:gd name="connsiteY1" fmla="*/ 4444 h 4444"/>
                <a:gd name="connsiteX2" fmla="*/ 64880 w 71355"/>
                <a:gd name="connsiteY2" fmla="*/ 0 h 4444"/>
                <a:gd name="connsiteX3" fmla="*/ 6348 w 71355"/>
                <a:gd name="connsiteY3" fmla="*/ 0 h 4444"/>
                <a:gd name="connsiteX4" fmla="*/ 0 w 71355"/>
                <a:gd name="connsiteY4" fmla="*/ 4444 h 4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444">
                  <a:moveTo>
                    <a:pt x="0" y="4444"/>
                  </a:moveTo>
                  <a:lnTo>
                    <a:pt x="71355" y="4444"/>
                  </a:lnTo>
                  <a:cubicBezTo>
                    <a:pt x="70339" y="1752"/>
                    <a:pt x="67762" y="-25"/>
                    <a:pt x="64880" y="0"/>
                  </a:cubicBezTo>
                  <a:lnTo>
                    <a:pt x="6348" y="0"/>
                  </a:lnTo>
                  <a:cubicBezTo>
                    <a:pt x="3504" y="-12"/>
                    <a:pt x="965" y="1765"/>
                    <a:pt x="0" y="4444"/>
                  </a:cubicBezTo>
                  <a:close/>
                </a:path>
              </a:pathLst>
            </a:custGeom>
            <a:solidFill>
              <a:srgbClr val="000000"/>
            </a:solidFill>
            <a:ln w="12690" cap="flat">
              <a:noFill/>
              <a:prstDash val="solid"/>
              <a:miter/>
            </a:ln>
          </p:spPr>
          <p:txBody>
            <a:bodyPr rtlCol="0" anchor="ctr"/>
            <a:lstStyle/>
            <a:p>
              <a:endParaRPr lang="en-US"/>
            </a:p>
          </p:txBody>
        </p:sp>
        <p:sp>
          <p:nvSpPr>
            <p:cNvPr id="1019" name="Freeform: Shape 1018">
              <a:extLst>
                <a:ext uri="{FF2B5EF4-FFF2-40B4-BE49-F238E27FC236}">
                  <a16:creationId xmlns:a16="http://schemas.microsoft.com/office/drawing/2014/main" id="{663F433A-AB0F-4399-8322-EBA0062E2F4C}"/>
                </a:ext>
              </a:extLst>
            </p:cNvPr>
            <p:cNvSpPr/>
            <p:nvPr/>
          </p:nvSpPr>
          <p:spPr>
            <a:xfrm>
              <a:off x="10198872" y="5777672"/>
              <a:ext cx="13966" cy="13839"/>
            </a:xfrm>
            <a:custGeom>
              <a:avLst/>
              <a:gdLst>
                <a:gd name="connsiteX0" fmla="*/ 0 w 13966"/>
                <a:gd name="connsiteY0" fmla="*/ 6856 h 13839"/>
                <a:gd name="connsiteX1" fmla="*/ 6856 w 13966"/>
                <a:gd name="connsiteY1" fmla="*/ 13839 h 13839"/>
                <a:gd name="connsiteX2" fmla="*/ 13966 w 13966"/>
                <a:gd name="connsiteY2" fmla="*/ 13839 h 13839"/>
                <a:gd name="connsiteX3" fmla="*/ 7110 w 13966"/>
                <a:gd name="connsiteY3" fmla="*/ 6856 h 13839"/>
                <a:gd name="connsiteX4" fmla="*/ 13966 w 13966"/>
                <a:gd name="connsiteY4" fmla="*/ 0 h 13839"/>
                <a:gd name="connsiteX5" fmla="*/ 6856 w 13966"/>
                <a:gd name="connsiteY5" fmla="*/ 0 h 13839"/>
                <a:gd name="connsiteX6" fmla="*/ 0 w 1396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6" h="13839">
                  <a:moveTo>
                    <a:pt x="0" y="6856"/>
                  </a:moveTo>
                  <a:cubicBezTo>
                    <a:pt x="0" y="10664"/>
                    <a:pt x="3047" y="13771"/>
                    <a:pt x="6856" y="13839"/>
                  </a:cubicBezTo>
                  <a:lnTo>
                    <a:pt x="13966" y="13839"/>
                  </a:lnTo>
                  <a:cubicBezTo>
                    <a:pt x="10157" y="13770"/>
                    <a:pt x="7110" y="10664"/>
                    <a:pt x="7110" y="6856"/>
                  </a:cubicBezTo>
                  <a:cubicBezTo>
                    <a:pt x="7110" y="3070"/>
                    <a:pt x="10183" y="0"/>
                    <a:pt x="13966" y="0"/>
                  </a:cubicBezTo>
                  <a:lnTo>
                    <a:pt x="6856" y="0"/>
                  </a:ln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1020" name="Freeform: Shape 1019">
              <a:extLst>
                <a:ext uri="{FF2B5EF4-FFF2-40B4-BE49-F238E27FC236}">
                  <a16:creationId xmlns:a16="http://schemas.microsoft.com/office/drawing/2014/main" id="{BF82DBB8-5BE2-4148-A9C2-7A163BB4361E}"/>
                </a:ext>
              </a:extLst>
            </p:cNvPr>
            <p:cNvSpPr/>
            <p:nvPr/>
          </p:nvSpPr>
          <p:spPr>
            <a:xfrm>
              <a:off x="10205982" y="5779319"/>
              <a:ext cx="47739" cy="12191"/>
            </a:xfrm>
            <a:custGeom>
              <a:avLst/>
              <a:gdLst>
                <a:gd name="connsiteX0" fmla="*/ 0 w 47739"/>
                <a:gd name="connsiteY0" fmla="*/ 5209 h 12191"/>
                <a:gd name="connsiteX1" fmla="*/ 6856 w 47739"/>
                <a:gd name="connsiteY1" fmla="*/ 12192 h 12191"/>
                <a:gd name="connsiteX2" fmla="*/ 40883 w 47739"/>
                <a:gd name="connsiteY2" fmla="*/ 12192 h 12191"/>
                <a:gd name="connsiteX3" fmla="*/ 47740 w 47739"/>
                <a:gd name="connsiteY3" fmla="*/ 5209 h 12191"/>
                <a:gd name="connsiteX4" fmla="*/ 46215 w 47739"/>
                <a:gd name="connsiteY4" fmla="*/ 1019 h 12191"/>
                <a:gd name="connsiteX5" fmla="*/ 45200 w 47739"/>
                <a:gd name="connsiteY5" fmla="*/ 3 h 12191"/>
                <a:gd name="connsiteX6" fmla="*/ 44184 w 47739"/>
                <a:gd name="connsiteY6" fmla="*/ 3 h 12191"/>
                <a:gd name="connsiteX7" fmla="*/ 43041 w 47739"/>
                <a:gd name="connsiteY7" fmla="*/ 3 h 12191"/>
                <a:gd name="connsiteX8" fmla="*/ 41645 w 47739"/>
                <a:gd name="connsiteY8" fmla="*/ 3 h 12191"/>
                <a:gd name="connsiteX9" fmla="*/ 6856 w 47739"/>
                <a:gd name="connsiteY9" fmla="*/ 3 h 12191"/>
                <a:gd name="connsiteX10" fmla="*/ 0 w 47739"/>
                <a:gd name="connsiteY10" fmla="*/ 5209 h 1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739" h="12191">
                  <a:moveTo>
                    <a:pt x="0" y="5209"/>
                  </a:moveTo>
                  <a:cubicBezTo>
                    <a:pt x="0" y="9016"/>
                    <a:pt x="3047" y="12123"/>
                    <a:pt x="6856" y="12192"/>
                  </a:cubicBezTo>
                  <a:lnTo>
                    <a:pt x="40883" y="12192"/>
                  </a:lnTo>
                  <a:cubicBezTo>
                    <a:pt x="44692" y="12122"/>
                    <a:pt x="47740" y="9016"/>
                    <a:pt x="47740" y="5209"/>
                  </a:cubicBezTo>
                  <a:cubicBezTo>
                    <a:pt x="47676" y="3688"/>
                    <a:pt x="47143" y="2225"/>
                    <a:pt x="46215" y="1019"/>
                  </a:cubicBezTo>
                  <a:cubicBezTo>
                    <a:pt x="45911" y="649"/>
                    <a:pt x="45568" y="309"/>
                    <a:pt x="45200" y="3"/>
                  </a:cubicBezTo>
                  <a:lnTo>
                    <a:pt x="44184" y="3"/>
                  </a:lnTo>
                  <a:lnTo>
                    <a:pt x="43041" y="3"/>
                  </a:lnTo>
                  <a:lnTo>
                    <a:pt x="41645" y="3"/>
                  </a:lnTo>
                  <a:lnTo>
                    <a:pt x="6856" y="3"/>
                  </a:lnTo>
                  <a:cubicBezTo>
                    <a:pt x="3631" y="-91"/>
                    <a:pt x="774" y="2076"/>
                    <a:pt x="0" y="5209"/>
                  </a:cubicBezTo>
                  <a:close/>
                </a:path>
              </a:pathLst>
            </a:custGeom>
            <a:solidFill>
              <a:srgbClr val="000000"/>
            </a:solidFill>
            <a:ln w="12690" cap="flat">
              <a:noFill/>
              <a:prstDash val="solid"/>
              <a:miter/>
            </a:ln>
          </p:spPr>
          <p:txBody>
            <a:bodyPr rtlCol="0" anchor="ctr"/>
            <a:lstStyle/>
            <a:p>
              <a:endParaRPr lang="en-US"/>
            </a:p>
          </p:txBody>
        </p:sp>
        <p:sp>
          <p:nvSpPr>
            <p:cNvPr id="1021" name="Freeform: Shape 1020">
              <a:extLst>
                <a:ext uri="{FF2B5EF4-FFF2-40B4-BE49-F238E27FC236}">
                  <a16:creationId xmlns:a16="http://schemas.microsoft.com/office/drawing/2014/main" id="{1A3BFFFC-8C19-4B89-AA0C-FC9FB48A07A4}"/>
                </a:ext>
              </a:extLst>
            </p:cNvPr>
            <p:cNvSpPr/>
            <p:nvPr/>
          </p:nvSpPr>
          <p:spPr>
            <a:xfrm>
              <a:off x="11321102" y="6501260"/>
              <a:ext cx="13743" cy="7491"/>
            </a:xfrm>
            <a:custGeom>
              <a:avLst/>
              <a:gdLst>
                <a:gd name="connsiteX0" fmla="*/ 6887 w 13743"/>
                <a:gd name="connsiteY0" fmla="*/ 7491 h 7491"/>
                <a:gd name="connsiteX1" fmla="*/ 13743 w 13743"/>
                <a:gd name="connsiteY1" fmla="*/ 635 h 7491"/>
                <a:gd name="connsiteX2" fmla="*/ 13743 w 13743"/>
                <a:gd name="connsiteY2" fmla="*/ 0 h 7491"/>
                <a:gd name="connsiteX3" fmla="*/ 6887 w 13743"/>
                <a:gd name="connsiteY3" fmla="*/ 6856 h 7491"/>
                <a:gd name="connsiteX4" fmla="*/ 31 w 13743"/>
                <a:gd name="connsiteY4" fmla="*/ 0 h 7491"/>
                <a:gd name="connsiteX5" fmla="*/ 31 w 13743"/>
                <a:gd name="connsiteY5" fmla="*/ 0 h 7491"/>
                <a:gd name="connsiteX6" fmla="*/ 31 w 13743"/>
                <a:gd name="connsiteY6" fmla="*/ 0 h 7491"/>
                <a:gd name="connsiteX7" fmla="*/ 6227 w 13743"/>
                <a:gd name="connsiteY7" fmla="*/ 7466 h 7491"/>
                <a:gd name="connsiteX8" fmla="*/ 6887 w 13743"/>
                <a:gd name="connsiteY8" fmla="*/ 7491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43" h="7491">
                  <a:moveTo>
                    <a:pt x="6887" y="7491"/>
                  </a:moveTo>
                  <a:cubicBezTo>
                    <a:pt x="10671" y="7491"/>
                    <a:pt x="13743" y="4418"/>
                    <a:pt x="13743" y="635"/>
                  </a:cubicBezTo>
                  <a:lnTo>
                    <a:pt x="13743" y="0"/>
                  </a:lnTo>
                  <a:cubicBezTo>
                    <a:pt x="13743" y="3783"/>
                    <a:pt x="10671" y="6856"/>
                    <a:pt x="6887" y="6856"/>
                  </a:cubicBezTo>
                  <a:cubicBezTo>
                    <a:pt x="3103" y="6856"/>
                    <a:pt x="31" y="3783"/>
                    <a:pt x="31" y="0"/>
                  </a:cubicBezTo>
                  <a:lnTo>
                    <a:pt x="31" y="0"/>
                  </a:lnTo>
                  <a:lnTo>
                    <a:pt x="31" y="0"/>
                  </a:lnTo>
                  <a:cubicBezTo>
                    <a:pt x="-324" y="3771"/>
                    <a:pt x="2456" y="7110"/>
                    <a:pt x="6227" y="7466"/>
                  </a:cubicBezTo>
                  <a:cubicBezTo>
                    <a:pt x="6442" y="7478"/>
                    <a:pt x="6659" y="7491"/>
                    <a:pt x="6887" y="7491"/>
                  </a:cubicBezTo>
                  <a:close/>
                </a:path>
              </a:pathLst>
            </a:custGeom>
            <a:solidFill>
              <a:srgbClr val="000000"/>
            </a:solidFill>
            <a:ln w="12690" cap="flat">
              <a:noFill/>
              <a:prstDash val="solid"/>
              <a:miter/>
            </a:ln>
          </p:spPr>
          <p:txBody>
            <a:bodyPr rtlCol="0" anchor="ctr"/>
            <a:lstStyle/>
            <a:p>
              <a:endParaRPr lang="en-US"/>
            </a:p>
          </p:txBody>
        </p:sp>
        <p:sp>
          <p:nvSpPr>
            <p:cNvPr id="1022" name="Freeform: Shape 1021">
              <a:extLst>
                <a:ext uri="{FF2B5EF4-FFF2-40B4-BE49-F238E27FC236}">
                  <a16:creationId xmlns:a16="http://schemas.microsoft.com/office/drawing/2014/main" id="{83E2B7C5-3070-41FE-A648-2BE10682592A}"/>
                </a:ext>
              </a:extLst>
            </p:cNvPr>
            <p:cNvSpPr/>
            <p:nvPr/>
          </p:nvSpPr>
          <p:spPr>
            <a:xfrm>
              <a:off x="10035466" y="6239452"/>
              <a:ext cx="13838" cy="204290"/>
            </a:xfrm>
            <a:custGeom>
              <a:avLst/>
              <a:gdLst>
                <a:gd name="connsiteX0" fmla="*/ 6856 w 13838"/>
                <a:gd name="connsiteY0" fmla="*/ 6983 h 204290"/>
                <a:gd name="connsiteX1" fmla="*/ 0 w 13838"/>
                <a:gd name="connsiteY1" fmla="*/ 127 h 204290"/>
                <a:gd name="connsiteX2" fmla="*/ 0 w 13838"/>
                <a:gd name="connsiteY2" fmla="*/ 127 h 204290"/>
                <a:gd name="connsiteX3" fmla="*/ 0 w 13838"/>
                <a:gd name="connsiteY3" fmla="*/ 197435 h 204290"/>
                <a:gd name="connsiteX4" fmla="*/ 6856 w 13838"/>
                <a:gd name="connsiteY4" fmla="*/ 204291 h 204290"/>
                <a:gd name="connsiteX5" fmla="*/ 13839 w 13838"/>
                <a:gd name="connsiteY5" fmla="*/ 197435 h 204290"/>
                <a:gd name="connsiteX6" fmla="*/ 13839 w 13838"/>
                <a:gd name="connsiteY6" fmla="*/ 0 h 204290"/>
                <a:gd name="connsiteX7" fmla="*/ 6856 w 13838"/>
                <a:gd name="connsiteY7" fmla="*/ 6983 h 20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8" h="204290">
                  <a:moveTo>
                    <a:pt x="6856" y="6983"/>
                  </a:moveTo>
                  <a:cubicBezTo>
                    <a:pt x="3073" y="6983"/>
                    <a:pt x="0" y="3911"/>
                    <a:pt x="0" y="127"/>
                  </a:cubicBezTo>
                  <a:lnTo>
                    <a:pt x="0" y="127"/>
                  </a:lnTo>
                  <a:lnTo>
                    <a:pt x="0" y="197435"/>
                  </a:lnTo>
                  <a:cubicBezTo>
                    <a:pt x="0" y="201218"/>
                    <a:pt x="3073" y="204291"/>
                    <a:pt x="6856" y="204291"/>
                  </a:cubicBezTo>
                  <a:cubicBezTo>
                    <a:pt x="10665" y="204291"/>
                    <a:pt x="13775" y="201244"/>
                    <a:pt x="13839" y="197435"/>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endParaRPr lang="en-US"/>
            </a:p>
          </p:txBody>
        </p:sp>
        <p:sp>
          <p:nvSpPr>
            <p:cNvPr id="1023" name="Freeform: Shape 1022">
              <a:extLst>
                <a:ext uri="{FF2B5EF4-FFF2-40B4-BE49-F238E27FC236}">
                  <a16:creationId xmlns:a16="http://schemas.microsoft.com/office/drawing/2014/main" id="{62A00702-AB86-4C12-B318-78F88E214B1D}"/>
                </a:ext>
              </a:extLst>
            </p:cNvPr>
            <p:cNvSpPr/>
            <p:nvPr/>
          </p:nvSpPr>
          <p:spPr>
            <a:xfrm>
              <a:off x="10035466" y="6231326"/>
              <a:ext cx="13838" cy="14982"/>
            </a:xfrm>
            <a:custGeom>
              <a:avLst/>
              <a:gdLst>
                <a:gd name="connsiteX0" fmla="*/ 0 w 13838"/>
                <a:gd name="connsiteY0" fmla="*/ 8126 h 14982"/>
                <a:gd name="connsiteX1" fmla="*/ 6856 w 13838"/>
                <a:gd name="connsiteY1" fmla="*/ 14982 h 14982"/>
                <a:gd name="connsiteX2" fmla="*/ 13839 w 13838"/>
                <a:gd name="connsiteY2" fmla="*/ 8126 h 14982"/>
                <a:gd name="connsiteX3" fmla="*/ 13839 w 13838"/>
                <a:gd name="connsiteY3" fmla="*/ 6983 h 14982"/>
                <a:gd name="connsiteX4" fmla="*/ 6856 w 13838"/>
                <a:gd name="connsiteY4" fmla="*/ 0 h 14982"/>
                <a:gd name="connsiteX5" fmla="*/ 253 w 13838"/>
                <a:gd name="connsiteY5" fmla="*/ 5714 h 14982"/>
                <a:gd name="connsiteX6" fmla="*/ 253 w 13838"/>
                <a:gd name="connsiteY6" fmla="*/ 6983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4982">
                  <a:moveTo>
                    <a:pt x="0" y="8126"/>
                  </a:moveTo>
                  <a:cubicBezTo>
                    <a:pt x="0" y="11910"/>
                    <a:pt x="3073" y="14982"/>
                    <a:pt x="6856" y="14982"/>
                  </a:cubicBezTo>
                  <a:cubicBezTo>
                    <a:pt x="10665" y="14982"/>
                    <a:pt x="13775" y="11935"/>
                    <a:pt x="13839" y="8126"/>
                  </a:cubicBezTo>
                  <a:lnTo>
                    <a:pt x="13839" y="6983"/>
                  </a:lnTo>
                  <a:cubicBezTo>
                    <a:pt x="13839" y="3123"/>
                    <a:pt x="10716" y="0"/>
                    <a:pt x="6856" y="0"/>
                  </a:cubicBezTo>
                  <a:cubicBezTo>
                    <a:pt x="3568" y="76"/>
                    <a:pt x="800" y="2476"/>
                    <a:pt x="253" y="5714"/>
                  </a:cubicBezTo>
                  <a:cubicBezTo>
                    <a:pt x="177" y="6133"/>
                    <a:pt x="177" y="6564"/>
                    <a:pt x="253" y="6983"/>
                  </a:cubicBezTo>
                  <a:close/>
                </a:path>
              </a:pathLst>
            </a:custGeom>
            <a:solidFill>
              <a:srgbClr val="000000"/>
            </a:solidFill>
            <a:ln w="12690" cap="flat">
              <a:noFill/>
              <a:prstDash val="solid"/>
              <a:miter/>
            </a:ln>
          </p:spPr>
          <p:txBody>
            <a:bodyPr rtlCol="0" anchor="ctr"/>
            <a:lstStyle/>
            <a:p>
              <a:endParaRPr lang="en-US"/>
            </a:p>
          </p:txBody>
        </p:sp>
        <p:sp>
          <p:nvSpPr>
            <p:cNvPr id="1024" name="Freeform: Shape 1023">
              <a:extLst>
                <a:ext uri="{FF2B5EF4-FFF2-40B4-BE49-F238E27FC236}">
                  <a16:creationId xmlns:a16="http://schemas.microsoft.com/office/drawing/2014/main" id="{57D69AC3-7E55-46EC-9D0F-2FE7E589C78E}"/>
                </a:ext>
              </a:extLst>
            </p:cNvPr>
            <p:cNvSpPr/>
            <p:nvPr/>
          </p:nvSpPr>
          <p:spPr>
            <a:xfrm>
              <a:off x="10480526" y="6429904"/>
              <a:ext cx="320803" cy="13839"/>
            </a:xfrm>
            <a:custGeom>
              <a:avLst/>
              <a:gdLst>
                <a:gd name="connsiteX0" fmla="*/ 313948 w 320803"/>
                <a:gd name="connsiteY0" fmla="*/ 6983 h 13839"/>
                <a:gd name="connsiteX1" fmla="*/ 320804 w 320803"/>
                <a:gd name="connsiteY1" fmla="*/ 0 h 13839"/>
                <a:gd name="connsiteX2" fmla="*/ 6942 w 320803"/>
                <a:gd name="connsiteY2" fmla="*/ 0 h 13839"/>
                <a:gd name="connsiteX3" fmla="*/ 86 w 320803"/>
                <a:gd name="connsiteY3" fmla="*/ 6983 h 13839"/>
                <a:gd name="connsiteX4" fmla="*/ 86 w 320803"/>
                <a:gd name="connsiteY4" fmla="*/ 9269 h 13839"/>
                <a:gd name="connsiteX5" fmla="*/ 86 w 320803"/>
                <a:gd name="connsiteY5" fmla="*/ 9903 h 13839"/>
                <a:gd name="connsiteX6" fmla="*/ 6307 w 320803"/>
                <a:gd name="connsiteY6" fmla="*/ 13839 h 13839"/>
                <a:gd name="connsiteX7" fmla="*/ 319662 w 320803"/>
                <a:gd name="connsiteY7" fmla="*/ 13839 h 13839"/>
                <a:gd name="connsiteX8" fmla="*/ 313948 w 320803"/>
                <a:gd name="connsiteY8"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803" h="13839">
                  <a:moveTo>
                    <a:pt x="313948" y="6983"/>
                  </a:moveTo>
                  <a:cubicBezTo>
                    <a:pt x="313948" y="3174"/>
                    <a:pt x="316995" y="64"/>
                    <a:pt x="320804" y="0"/>
                  </a:cubicBezTo>
                  <a:lnTo>
                    <a:pt x="6942" y="0"/>
                  </a:lnTo>
                  <a:cubicBezTo>
                    <a:pt x="3133" y="64"/>
                    <a:pt x="86" y="3174"/>
                    <a:pt x="86" y="6983"/>
                  </a:cubicBezTo>
                  <a:cubicBezTo>
                    <a:pt x="-29" y="7745"/>
                    <a:pt x="-29" y="8507"/>
                    <a:pt x="86" y="9269"/>
                  </a:cubicBezTo>
                  <a:lnTo>
                    <a:pt x="86" y="9903"/>
                  </a:lnTo>
                  <a:cubicBezTo>
                    <a:pt x="1241" y="12290"/>
                    <a:pt x="3654" y="13814"/>
                    <a:pt x="6307" y="13839"/>
                  </a:cubicBezTo>
                  <a:lnTo>
                    <a:pt x="319662" y="13839"/>
                  </a:lnTo>
                  <a:cubicBezTo>
                    <a:pt x="316322" y="13281"/>
                    <a:pt x="313898" y="10361"/>
                    <a:pt x="313948" y="6983"/>
                  </a:cubicBezTo>
                  <a:close/>
                </a:path>
              </a:pathLst>
            </a:custGeom>
            <a:solidFill>
              <a:srgbClr val="000000"/>
            </a:solidFill>
            <a:ln w="12690" cap="flat">
              <a:noFill/>
              <a:prstDash val="solid"/>
              <a:miter/>
            </a:ln>
          </p:spPr>
          <p:txBody>
            <a:bodyPr rtlCol="0" anchor="ctr"/>
            <a:lstStyle/>
            <a:p>
              <a:endParaRPr lang="en-US"/>
            </a:p>
          </p:txBody>
        </p:sp>
        <p:sp>
          <p:nvSpPr>
            <p:cNvPr id="1025" name="Freeform: Shape 1024">
              <a:extLst>
                <a:ext uri="{FF2B5EF4-FFF2-40B4-BE49-F238E27FC236}">
                  <a16:creationId xmlns:a16="http://schemas.microsoft.com/office/drawing/2014/main" id="{FB4137D5-E321-4B90-98BF-0C6655840C56}"/>
                </a:ext>
              </a:extLst>
            </p:cNvPr>
            <p:cNvSpPr/>
            <p:nvPr/>
          </p:nvSpPr>
          <p:spPr>
            <a:xfrm>
              <a:off x="10794474" y="6429904"/>
              <a:ext cx="10665" cy="13839"/>
            </a:xfrm>
            <a:custGeom>
              <a:avLst/>
              <a:gdLst>
                <a:gd name="connsiteX0" fmla="*/ 3809 w 10665"/>
                <a:gd name="connsiteY0" fmla="*/ 6983 h 13839"/>
                <a:gd name="connsiteX1" fmla="*/ 10666 w 10665"/>
                <a:gd name="connsiteY1" fmla="*/ 0 h 13839"/>
                <a:gd name="connsiteX2" fmla="*/ 6856 w 10665"/>
                <a:gd name="connsiteY2" fmla="*/ 0 h 13839"/>
                <a:gd name="connsiteX3" fmla="*/ 0 w 10665"/>
                <a:gd name="connsiteY3" fmla="*/ 6983 h 13839"/>
                <a:gd name="connsiteX4" fmla="*/ 6856 w 10665"/>
                <a:gd name="connsiteY4" fmla="*/ 13839 h 13839"/>
                <a:gd name="connsiteX5" fmla="*/ 10666 w 10665"/>
                <a:gd name="connsiteY5" fmla="*/ 13839 h 13839"/>
                <a:gd name="connsiteX6" fmla="*/ 3809 w 10665"/>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13839">
                  <a:moveTo>
                    <a:pt x="3809" y="6983"/>
                  </a:moveTo>
                  <a:cubicBezTo>
                    <a:pt x="3809" y="3174"/>
                    <a:pt x="6856" y="64"/>
                    <a:pt x="10666" y="0"/>
                  </a:cubicBezTo>
                  <a:lnTo>
                    <a:pt x="6856" y="0"/>
                  </a:lnTo>
                  <a:cubicBezTo>
                    <a:pt x="3047" y="64"/>
                    <a:pt x="0" y="3174"/>
                    <a:pt x="0" y="6983"/>
                  </a:cubicBezTo>
                  <a:cubicBezTo>
                    <a:pt x="0" y="10767"/>
                    <a:pt x="3073" y="13839"/>
                    <a:pt x="6856" y="13839"/>
                  </a:cubicBezTo>
                  <a:lnTo>
                    <a:pt x="10666" y="13839"/>
                  </a:lnTo>
                  <a:cubicBezTo>
                    <a:pt x="6882" y="13839"/>
                    <a:pt x="3809" y="10767"/>
                    <a:pt x="3809" y="6983"/>
                  </a:cubicBezTo>
                  <a:close/>
                </a:path>
              </a:pathLst>
            </a:custGeom>
            <a:solidFill>
              <a:srgbClr val="000000"/>
            </a:solidFill>
            <a:ln w="12690" cap="flat">
              <a:noFill/>
              <a:prstDash val="solid"/>
              <a:miter/>
            </a:ln>
          </p:spPr>
          <p:txBody>
            <a:bodyPr rtlCol="0" anchor="ctr"/>
            <a:lstStyle/>
            <a:p>
              <a:endParaRPr lang="en-US"/>
            </a:p>
          </p:txBody>
        </p:sp>
        <p:sp>
          <p:nvSpPr>
            <p:cNvPr id="1026" name="Freeform: Shape 1025">
              <a:extLst>
                <a:ext uri="{FF2B5EF4-FFF2-40B4-BE49-F238E27FC236}">
                  <a16:creationId xmlns:a16="http://schemas.microsoft.com/office/drawing/2014/main" id="{6CC788BE-0889-4B85-8493-EB62D06DE00A}"/>
                </a:ext>
              </a:extLst>
            </p:cNvPr>
            <p:cNvSpPr/>
            <p:nvPr/>
          </p:nvSpPr>
          <p:spPr>
            <a:xfrm>
              <a:off x="10798029" y="6429904"/>
              <a:ext cx="201369" cy="13839"/>
            </a:xfrm>
            <a:custGeom>
              <a:avLst/>
              <a:gdLst>
                <a:gd name="connsiteX0" fmla="*/ 194513 w 201369"/>
                <a:gd name="connsiteY0" fmla="*/ 6983 h 13839"/>
                <a:gd name="connsiteX1" fmla="*/ 201369 w 201369"/>
                <a:gd name="connsiteY1" fmla="*/ 0 h 13839"/>
                <a:gd name="connsiteX2" fmla="*/ 6856 w 201369"/>
                <a:gd name="connsiteY2" fmla="*/ 0 h 13839"/>
                <a:gd name="connsiteX3" fmla="*/ 0 w 201369"/>
                <a:gd name="connsiteY3" fmla="*/ 6983 h 13839"/>
                <a:gd name="connsiteX4" fmla="*/ 6856 w 201369"/>
                <a:gd name="connsiteY4" fmla="*/ 13839 h 13839"/>
                <a:gd name="connsiteX5" fmla="*/ 201115 w 201369"/>
                <a:gd name="connsiteY5" fmla="*/ 13839 h 13839"/>
                <a:gd name="connsiteX6" fmla="*/ 194513 w 20136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369" h="13839">
                  <a:moveTo>
                    <a:pt x="194513" y="6983"/>
                  </a:moveTo>
                  <a:cubicBezTo>
                    <a:pt x="194513" y="3174"/>
                    <a:pt x="197561" y="64"/>
                    <a:pt x="201369" y="0"/>
                  </a:cubicBezTo>
                  <a:lnTo>
                    <a:pt x="6856" y="0"/>
                  </a:lnTo>
                  <a:cubicBezTo>
                    <a:pt x="3047" y="64"/>
                    <a:pt x="0" y="3174"/>
                    <a:pt x="0" y="6983"/>
                  </a:cubicBezTo>
                  <a:cubicBezTo>
                    <a:pt x="0" y="10767"/>
                    <a:pt x="3073" y="13839"/>
                    <a:pt x="6856" y="13839"/>
                  </a:cubicBezTo>
                  <a:lnTo>
                    <a:pt x="201115" y="13839"/>
                  </a:lnTo>
                  <a:cubicBezTo>
                    <a:pt x="197433" y="13700"/>
                    <a:pt x="194513" y="10678"/>
                    <a:pt x="194513" y="6983"/>
                  </a:cubicBezTo>
                  <a:close/>
                </a:path>
              </a:pathLst>
            </a:custGeom>
            <a:solidFill>
              <a:srgbClr val="000000"/>
            </a:solidFill>
            <a:ln w="12690" cap="flat">
              <a:noFill/>
              <a:prstDash val="solid"/>
              <a:miter/>
            </a:ln>
          </p:spPr>
          <p:txBody>
            <a:bodyPr rtlCol="0" anchor="ctr"/>
            <a:lstStyle/>
            <a:p>
              <a:endParaRPr lang="en-US"/>
            </a:p>
          </p:txBody>
        </p:sp>
        <p:sp>
          <p:nvSpPr>
            <p:cNvPr id="1027" name="Freeform: Shape 1026">
              <a:extLst>
                <a:ext uri="{FF2B5EF4-FFF2-40B4-BE49-F238E27FC236}">
                  <a16:creationId xmlns:a16="http://schemas.microsoft.com/office/drawing/2014/main" id="{D6D172C0-9B2D-4A6E-AC1A-5DF3EBF226BD}"/>
                </a:ext>
              </a:extLst>
            </p:cNvPr>
            <p:cNvSpPr/>
            <p:nvPr/>
          </p:nvSpPr>
          <p:spPr>
            <a:xfrm>
              <a:off x="10992542" y="6429904"/>
              <a:ext cx="98527" cy="13839"/>
            </a:xfrm>
            <a:custGeom>
              <a:avLst/>
              <a:gdLst>
                <a:gd name="connsiteX0" fmla="*/ 95479 w 98527"/>
                <a:gd name="connsiteY0" fmla="*/ 12316 h 13839"/>
                <a:gd name="connsiteX1" fmla="*/ 98526 w 98527"/>
                <a:gd name="connsiteY1" fmla="*/ 6856 h 13839"/>
                <a:gd name="connsiteX2" fmla="*/ 91924 w 98527"/>
                <a:gd name="connsiteY2" fmla="*/ 0 h 13839"/>
                <a:gd name="connsiteX3" fmla="*/ 91924 w 98527"/>
                <a:gd name="connsiteY3" fmla="*/ 0 h 13839"/>
                <a:gd name="connsiteX4" fmla="*/ 6856 w 98527"/>
                <a:gd name="connsiteY4" fmla="*/ 0 h 13839"/>
                <a:gd name="connsiteX5" fmla="*/ 0 w 98527"/>
                <a:gd name="connsiteY5" fmla="*/ 6983 h 13839"/>
                <a:gd name="connsiteX6" fmla="*/ 6856 w 98527"/>
                <a:gd name="connsiteY6" fmla="*/ 13839 h 13839"/>
                <a:gd name="connsiteX7" fmla="*/ 91670 w 98527"/>
                <a:gd name="connsiteY7" fmla="*/ 13839 h 13839"/>
                <a:gd name="connsiteX8" fmla="*/ 95479 w 98527"/>
                <a:gd name="connsiteY8" fmla="*/ 1231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7" h="13839">
                  <a:moveTo>
                    <a:pt x="95479" y="12316"/>
                  </a:moveTo>
                  <a:cubicBezTo>
                    <a:pt x="97345" y="11122"/>
                    <a:pt x="98488" y="9078"/>
                    <a:pt x="98526" y="6856"/>
                  </a:cubicBezTo>
                  <a:cubicBezTo>
                    <a:pt x="98602" y="3136"/>
                    <a:pt x="95644" y="76"/>
                    <a:pt x="91924" y="0"/>
                  </a:cubicBezTo>
                  <a:cubicBezTo>
                    <a:pt x="91924" y="0"/>
                    <a:pt x="91924" y="0"/>
                    <a:pt x="91924" y="0"/>
                  </a:cubicBezTo>
                  <a:lnTo>
                    <a:pt x="6856" y="0"/>
                  </a:lnTo>
                  <a:cubicBezTo>
                    <a:pt x="3047" y="64"/>
                    <a:pt x="0" y="3174"/>
                    <a:pt x="0" y="6983"/>
                  </a:cubicBezTo>
                  <a:cubicBezTo>
                    <a:pt x="0" y="10767"/>
                    <a:pt x="3072" y="13839"/>
                    <a:pt x="6856" y="13839"/>
                  </a:cubicBezTo>
                  <a:lnTo>
                    <a:pt x="91670" y="13839"/>
                  </a:lnTo>
                  <a:cubicBezTo>
                    <a:pt x="93079" y="13776"/>
                    <a:pt x="94412" y="13243"/>
                    <a:pt x="95479" y="12316"/>
                  </a:cubicBezTo>
                  <a:close/>
                </a:path>
              </a:pathLst>
            </a:custGeom>
            <a:solidFill>
              <a:srgbClr val="000000"/>
            </a:solidFill>
            <a:ln w="12690" cap="flat">
              <a:no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C013AE65-B4CB-4174-8AAE-783A7728A2D5}"/>
                </a:ext>
              </a:extLst>
            </p:cNvPr>
            <p:cNvSpPr/>
            <p:nvPr/>
          </p:nvSpPr>
          <p:spPr>
            <a:xfrm>
              <a:off x="9507918" y="5604615"/>
              <a:ext cx="52691" cy="13858"/>
            </a:xfrm>
            <a:custGeom>
              <a:avLst/>
              <a:gdLst>
                <a:gd name="connsiteX0" fmla="*/ 45327 w 52691"/>
                <a:gd name="connsiteY0" fmla="*/ 6983 h 13858"/>
                <a:gd name="connsiteX1" fmla="*/ 52184 w 52691"/>
                <a:gd name="connsiteY1" fmla="*/ 0 h 13858"/>
                <a:gd name="connsiteX2" fmla="*/ 6857 w 52691"/>
                <a:gd name="connsiteY2" fmla="*/ 0 h 13858"/>
                <a:gd name="connsiteX3" fmla="*/ 0 w 52691"/>
                <a:gd name="connsiteY3" fmla="*/ 6983 h 13858"/>
                <a:gd name="connsiteX4" fmla="*/ 6857 w 52691"/>
                <a:gd name="connsiteY4" fmla="*/ 13840 h 13858"/>
                <a:gd name="connsiteX5" fmla="*/ 52692 w 52691"/>
                <a:gd name="connsiteY5" fmla="*/ 13840 h 13858"/>
                <a:gd name="connsiteX6" fmla="*/ 45353 w 52691"/>
                <a:gd name="connsiteY6" fmla="*/ 7510 h 13858"/>
                <a:gd name="connsiteX7" fmla="*/ 45327 w 52691"/>
                <a:gd name="connsiteY7" fmla="*/ 6983 h 1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1" h="13858">
                  <a:moveTo>
                    <a:pt x="45327" y="6983"/>
                  </a:moveTo>
                  <a:cubicBezTo>
                    <a:pt x="45327" y="3176"/>
                    <a:pt x="48374" y="70"/>
                    <a:pt x="52184" y="0"/>
                  </a:cubicBezTo>
                  <a:lnTo>
                    <a:pt x="6857" y="0"/>
                  </a:lnTo>
                  <a:cubicBezTo>
                    <a:pt x="3048" y="70"/>
                    <a:pt x="0" y="3176"/>
                    <a:pt x="0" y="6983"/>
                  </a:cubicBezTo>
                  <a:cubicBezTo>
                    <a:pt x="0" y="10769"/>
                    <a:pt x="3073" y="13840"/>
                    <a:pt x="6857" y="13840"/>
                  </a:cubicBezTo>
                  <a:lnTo>
                    <a:pt x="52692" y="13840"/>
                  </a:lnTo>
                  <a:cubicBezTo>
                    <a:pt x="48921" y="14120"/>
                    <a:pt x="45632" y="11286"/>
                    <a:pt x="45353" y="7510"/>
                  </a:cubicBezTo>
                  <a:cubicBezTo>
                    <a:pt x="45327" y="7335"/>
                    <a:pt x="45327" y="7158"/>
                    <a:pt x="45327" y="6983"/>
                  </a:cubicBezTo>
                  <a:close/>
                </a:path>
              </a:pathLst>
            </a:custGeom>
            <a:solidFill>
              <a:srgbClr val="000000"/>
            </a:solidFill>
            <a:ln w="12690" cap="flat">
              <a:noFill/>
              <a:prstDash val="solid"/>
              <a:miter/>
            </a:ln>
          </p:spPr>
          <p:txBody>
            <a:bodyPr rtlCol="0" anchor="ctr"/>
            <a:lstStyle/>
            <a:p>
              <a:endParaRPr lang="en-US"/>
            </a:p>
          </p:txBody>
        </p:sp>
        <p:sp>
          <p:nvSpPr>
            <p:cNvPr id="1029" name="Freeform: Shape 1028">
              <a:extLst>
                <a:ext uri="{FF2B5EF4-FFF2-40B4-BE49-F238E27FC236}">
                  <a16:creationId xmlns:a16="http://schemas.microsoft.com/office/drawing/2014/main" id="{62C0F749-441B-40D1-AC6D-9EEDC1DFAEE0}"/>
                </a:ext>
              </a:extLst>
            </p:cNvPr>
            <p:cNvSpPr/>
            <p:nvPr/>
          </p:nvSpPr>
          <p:spPr>
            <a:xfrm>
              <a:off x="8224155" y="5884070"/>
              <a:ext cx="13712" cy="980570"/>
            </a:xfrm>
            <a:custGeom>
              <a:avLst/>
              <a:gdLst>
                <a:gd name="connsiteX0" fmla="*/ 13713 w 13712"/>
                <a:gd name="connsiteY0" fmla="*/ 13713 h 980570"/>
                <a:gd name="connsiteX1" fmla="*/ 13713 w 13712"/>
                <a:gd name="connsiteY1" fmla="*/ 6856 h 980570"/>
                <a:gd name="connsiteX2" fmla="*/ 6857 w 13712"/>
                <a:gd name="connsiteY2" fmla="*/ 0 h 980570"/>
                <a:gd name="connsiteX3" fmla="*/ 0 w 13712"/>
                <a:gd name="connsiteY3" fmla="*/ 6856 h 980570"/>
                <a:gd name="connsiteX4" fmla="*/ 0 w 13712"/>
                <a:gd name="connsiteY4" fmla="*/ 980570 h 980570"/>
                <a:gd name="connsiteX5" fmla="*/ 13713 w 13712"/>
                <a:gd name="connsiteY5" fmla="*/ 980570 h 9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980570">
                  <a:moveTo>
                    <a:pt x="13713" y="13713"/>
                  </a:moveTo>
                  <a:lnTo>
                    <a:pt x="13713" y="6856"/>
                  </a:lnTo>
                  <a:cubicBezTo>
                    <a:pt x="13713" y="3070"/>
                    <a:pt x="10640" y="0"/>
                    <a:pt x="6857" y="0"/>
                  </a:cubicBezTo>
                  <a:cubicBezTo>
                    <a:pt x="3073" y="0"/>
                    <a:pt x="0" y="3070"/>
                    <a:pt x="0" y="6856"/>
                  </a:cubicBezTo>
                  <a:lnTo>
                    <a:pt x="0" y="980570"/>
                  </a:lnTo>
                  <a:lnTo>
                    <a:pt x="13713" y="980570"/>
                  </a:lnTo>
                  <a:close/>
                </a:path>
              </a:pathLst>
            </a:custGeom>
            <a:solidFill>
              <a:srgbClr val="000000"/>
            </a:solidFill>
            <a:ln w="12690" cap="flat">
              <a:noFill/>
              <a:prstDash val="solid"/>
              <a:miter/>
            </a:ln>
          </p:spPr>
          <p:txBody>
            <a:bodyPr rtlCol="0" anchor="ctr"/>
            <a:lstStyle/>
            <a:p>
              <a:endParaRPr lang="en-US"/>
            </a:p>
          </p:txBody>
        </p:sp>
        <p:sp>
          <p:nvSpPr>
            <p:cNvPr id="1030" name="Freeform: Shape 1029">
              <a:extLst>
                <a:ext uri="{FF2B5EF4-FFF2-40B4-BE49-F238E27FC236}">
                  <a16:creationId xmlns:a16="http://schemas.microsoft.com/office/drawing/2014/main" id="{BA251985-2C52-4150-AD6E-46FBD0228694}"/>
                </a:ext>
              </a:extLst>
            </p:cNvPr>
            <p:cNvSpPr/>
            <p:nvPr/>
          </p:nvSpPr>
          <p:spPr>
            <a:xfrm>
              <a:off x="12176080" y="6501640"/>
              <a:ext cx="47" cy="1777"/>
            </a:xfrm>
            <a:custGeom>
              <a:avLst/>
              <a:gdLst>
                <a:gd name="connsiteX0" fmla="*/ 48 w 47"/>
                <a:gd name="connsiteY0" fmla="*/ 1778 h 1777"/>
                <a:gd name="connsiteX1" fmla="*/ 48 w 47"/>
                <a:gd name="connsiteY1" fmla="*/ 1778 h 1777"/>
                <a:gd name="connsiteX2" fmla="*/ 48 w 47"/>
                <a:gd name="connsiteY2" fmla="*/ 0 h 1777"/>
                <a:gd name="connsiteX3" fmla="*/ 48 w 47"/>
                <a:gd name="connsiteY3" fmla="*/ 635 h 1777"/>
                <a:gd name="connsiteX4" fmla="*/ 48 w 47"/>
                <a:gd name="connsiteY4" fmla="*/ 1778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 h="1777">
                  <a:moveTo>
                    <a:pt x="48" y="1778"/>
                  </a:moveTo>
                  <a:lnTo>
                    <a:pt x="48" y="1778"/>
                  </a:lnTo>
                  <a:cubicBezTo>
                    <a:pt x="-16" y="1181"/>
                    <a:pt x="-16" y="597"/>
                    <a:pt x="48" y="0"/>
                  </a:cubicBezTo>
                  <a:lnTo>
                    <a:pt x="48" y="635"/>
                  </a:lnTo>
                  <a:cubicBezTo>
                    <a:pt x="10" y="1016"/>
                    <a:pt x="10" y="1397"/>
                    <a:pt x="48" y="1778"/>
                  </a:cubicBezTo>
                  <a:close/>
                </a:path>
              </a:pathLst>
            </a:custGeom>
            <a:solidFill>
              <a:srgbClr val="000000"/>
            </a:solidFill>
            <a:ln w="12690" cap="flat">
              <a:noFill/>
              <a:prstDash val="solid"/>
              <a:miter/>
            </a:ln>
          </p:spPr>
          <p:txBody>
            <a:bodyPr rtlCol="0" anchor="ctr"/>
            <a:lstStyle/>
            <a:p>
              <a:endParaRPr lang="en-US"/>
            </a:p>
          </p:txBody>
        </p:sp>
        <p:sp>
          <p:nvSpPr>
            <p:cNvPr id="1031" name="Freeform: Shape 1030">
              <a:extLst>
                <a:ext uri="{FF2B5EF4-FFF2-40B4-BE49-F238E27FC236}">
                  <a16:creationId xmlns:a16="http://schemas.microsoft.com/office/drawing/2014/main" id="{71458350-CA63-4C11-BE5D-C26020915413}"/>
                </a:ext>
              </a:extLst>
            </p:cNvPr>
            <p:cNvSpPr/>
            <p:nvPr/>
          </p:nvSpPr>
          <p:spPr>
            <a:xfrm>
              <a:off x="11766278" y="6503037"/>
              <a:ext cx="13712" cy="361476"/>
            </a:xfrm>
            <a:custGeom>
              <a:avLst/>
              <a:gdLst>
                <a:gd name="connsiteX0" fmla="*/ 6857 w 13712"/>
                <a:gd name="connsiteY0" fmla="*/ 6856 h 361476"/>
                <a:gd name="connsiteX1" fmla="*/ 0 w 13712"/>
                <a:gd name="connsiteY1" fmla="*/ 0 h 361476"/>
                <a:gd name="connsiteX2" fmla="*/ 0 w 13712"/>
                <a:gd name="connsiteY2" fmla="*/ 361476 h 361476"/>
                <a:gd name="connsiteX3" fmla="*/ 13713 w 13712"/>
                <a:gd name="connsiteY3" fmla="*/ 361476 h 361476"/>
                <a:gd name="connsiteX4" fmla="*/ 13713 w 13712"/>
                <a:gd name="connsiteY4" fmla="*/ 0 h 361476"/>
                <a:gd name="connsiteX5" fmla="*/ 6857 w 13712"/>
                <a:gd name="connsiteY5" fmla="*/ 6856 h 36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61476">
                  <a:moveTo>
                    <a:pt x="6857" y="6856"/>
                  </a:moveTo>
                  <a:cubicBezTo>
                    <a:pt x="3073" y="6856"/>
                    <a:pt x="0" y="3783"/>
                    <a:pt x="0" y="0"/>
                  </a:cubicBezTo>
                  <a:lnTo>
                    <a:pt x="0" y="361476"/>
                  </a:lnTo>
                  <a:lnTo>
                    <a:pt x="13713" y="361476"/>
                  </a:lnTo>
                  <a:lnTo>
                    <a:pt x="13713" y="0"/>
                  </a:lnTo>
                  <a:cubicBezTo>
                    <a:pt x="13713" y="3783"/>
                    <a:pt x="10640" y="6856"/>
                    <a:pt x="6857" y="6856"/>
                  </a:cubicBezTo>
                  <a:close/>
                </a:path>
              </a:pathLst>
            </a:custGeom>
            <a:solidFill>
              <a:srgbClr val="000000"/>
            </a:solidFill>
            <a:ln w="12690" cap="flat">
              <a:noFill/>
              <a:prstDash val="solid"/>
              <a:miter/>
            </a:ln>
          </p:spPr>
          <p:txBody>
            <a:bodyPr rtlCol="0" anchor="ctr"/>
            <a:lstStyle/>
            <a:p>
              <a:endParaRPr lang="en-US"/>
            </a:p>
          </p:txBody>
        </p:sp>
        <p:sp>
          <p:nvSpPr>
            <p:cNvPr id="1032" name="Freeform: Shape 1031">
              <a:extLst>
                <a:ext uri="{FF2B5EF4-FFF2-40B4-BE49-F238E27FC236}">
                  <a16:creationId xmlns:a16="http://schemas.microsoft.com/office/drawing/2014/main" id="{2D8F0271-6221-4E32-A6DA-16CC4A18041C}"/>
                </a:ext>
              </a:extLst>
            </p:cNvPr>
            <p:cNvSpPr/>
            <p:nvPr/>
          </p:nvSpPr>
          <p:spPr>
            <a:xfrm>
              <a:off x="8716406" y="6437649"/>
              <a:ext cx="13838" cy="8125"/>
            </a:xfrm>
            <a:custGeom>
              <a:avLst/>
              <a:gdLst>
                <a:gd name="connsiteX0" fmla="*/ 6856 w 13838"/>
                <a:gd name="connsiteY0" fmla="*/ 8126 h 8125"/>
                <a:gd name="connsiteX1" fmla="*/ 13839 w 13838"/>
                <a:gd name="connsiteY1" fmla="*/ 1143 h 8125"/>
                <a:gd name="connsiteX2" fmla="*/ 13839 w 13838"/>
                <a:gd name="connsiteY2" fmla="*/ 0 h 8125"/>
                <a:gd name="connsiteX3" fmla="*/ 6856 w 13838"/>
                <a:gd name="connsiteY3" fmla="*/ 6856 h 8125"/>
                <a:gd name="connsiteX4" fmla="*/ 0 w 13838"/>
                <a:gd name="connsiteY4" fmla="*/ 0 h 8125"/>
                <a:gd name="connsiteX5" fmla="*/ 0 w 13838"/>
                <a:gd name="connsiteY5" fmla="*/ 1143 h 8125"/>
                <a:gd name="connsiteX6" fmla="*/ 6856 w 13838"/>
                <a:gd name="connsiteY6" fmla="*/ 8126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8125">
                  <a:moveTo>
                    <a:pt x="6856" y="8126"/>
                  </a:moveTo>
                  <a:cubicBezTo>
                    <a:pt x="10716" y="8126"/>
                    <a:pt x="13839" y="5002"/>
                    <a:pt x="13839" y="1143"/>
                  </a:cubicBezTo>
                  <a:lnTo>
                    <a:pt x="13839" y="0"/>
                  </a:lnTo>
                  <a:cubicBezTo>
                    <a:pt x="13775" y="3809"/>
                    <a:pt x="10665" y="6856"/>
                    <a:pt x="6856" y="6856"/>
                  </a:cubicBezTo>
                  <a:cubicBezTo>
                    <a:pt x="3073" y="6856"/>
                    <a:pt x="0" y="3784"/>
                    <a:pt x="0" y="0"/>
                  </a:cubicBezTo>
                  <a:lnTo>
                    <a:pt x="0" y="1143"/>
                  </a:lnTo>
                  <a:cubicBezTo>
                    <a:pt x="0" y="4952"/>
                    <a:pt x="3047" y="8063"/>
                    <a:pt x="6856" y="8126"/>
                  </a:cubicBezTo>
                  <a:close/>
                </a:path>
              </a:pathLst>
            </a:custGeom>
            <a:solidFill>
              <a:srgbClr val="000000"/>
            </a:solidFill>
            <a:ln w="12690" cap="flat">
              <a:noFill/>
              <a:prstDash val="solid"/>
              <a:miter/>
            </a:ln>
          </p:spPr>
          <p:txBody>
            <a:bodyPr rtlCol="0" anchor="ctr"/>
            <a:lstStyle/>
            <a:p>
              <a:endParaRPr lang="en-US"/>
            </a:p>
          </p:txBody>
        </p:sp>
        <p:sp>
          <p:nvSpPr>
            <p:cNvPr id="1033" name="Freeform: Shape 1032">
              <a:extLst>
                <a:ext uri="{FF2B5EF4-FFF2-40B4-BE49-F238E27FC236}">
                  <a16:creationId xmlns:a16="http://schemas.microsoft.com/office/drawing/2014/main" id="{8F0DA760-DEA1-40C6-87B1-FD953593551F}"/>
                </a:ext>
              </a:extLst>
            </p:cNvPr>
            <p:cNvSpPr/>
            <p:nvPr/>
          </p:nvSpPr>
          <p:spPr>
            <a:xfrm>
              <a:off x="8716406" y="5728662"/>
              <a:ext cx="13838" cy="715842"/>
            </a:xfrm>
            <a:custGeom>
              <a:avLst/>
              <a:gdLst>
                <a:gd name="connsiteX0" fmla="*/ 6856 w 13838"/>
                <a:gd name="connsiteY0" fmla="*/ 715843 h 715842"/>
                <a:gd name="connsiteX1" fmla="*/ 13839 w 13838"/>
                <a:gd name="connsiteY1" fmla="*/ 708987 h 715842"/>
                <a:gd name="connsiteX2" fmla="*/ 13839 w 13838"/>
                <a:gd name="connsiteY2" fmla="*/ 6856 h 715842"/>
                <a:gd name="connsiteX3" fmla="*/ 6856 w 13838"/>
                <a:gd name="connsiteY3" fmla="*/ 0 h 715842"/>
                <a:gd name="connsiteX4" fmla="*/ 0 w 13838"/>
                <a:gd name="connsiteY4" fmla="*/ 6856 h 715842"/>
                <a:gd name="connsiteX5" fmla="*/ 0 w 13838"/>
                <a:gd name="connsiteY5" fmla="*/ 708987 h 715842"/>
                <a:gd name="connsiteX6" fmla="*/ 6856 w 13838"/>
                <a:gd name="connsiteY6" fmla="*/ 715843 h 71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715842">
                  <a:moveTo>
                    <a:pt x="6856" y="715843"/>
                  </a:moveTo>
                  <a:cubicBezTo>
                    <a:pt x="10665" y="715843"/>
                    <a:pt x="13775" y="712796"/>
                    <a:pt x="13839" y="708987"/>
                  </a:cubicBezTo>
                  <a:lnTo>
                    <a:pt x="13839" y="6856"/>
                  </a:lnTo>
                  <a:cubicBezTo>
                    <a:pt x="13775" y="3050"/>
                    <a:pt x="10665" y="0"/>
                    <a:pt x="6856" y="0"/>
                  </a:cubicBezTo>
                  <a:cubicBezTo>
                    <a:pt x="3073" y="0"/>
                    <a:pt x="0" y="3070"/>
                    <a:pt x="0" y="6856"/>
                  </a:cubicBezTo>
                  <a:lnTo>
                    <a:pt x="0" y="708987"/>
                  </a:lnTo>
                  <a:cubicBezTo>
                    <a:pt x="0" y="712770"/>
                    <a:pt x="3073" y="715843"/>
                    <a:pt x="6856" y="715843"/>
                  </a:cubicBezTo>
                  <a:close/>
                </a:path>
              </a:pathLst>
            </a:custGeom>
            <a:solidFill>
              <a:srgbClr val="000000"/>
            </a:solidFill>
            <a:ln w="12690" cap="flat">
              <a:noFill/>
              <a:prstDash val="solid"/>
              <a:miter/>
            </a:ln>
          </p:spPr>
          <p:txBody>
            <a:bodyPr rtlCol="0" anchor="ctr"/>
            <a:lstStyle/>
            <a:p>
              <a:endParaRPr lang="en-US"/>
            </a:p>
          </p:txBody>
        </p:sp>
        <p:sp>
          <p:nvSpPr>
            <p:cNvPr id="1034" name="Freeform: Shape 1033">
              <a:extLst>
                <a:ext uri="{FF2B5EF4-FFF2-40B4-BE49-F238E27FC236}">
                  <a16:creationId xmlns:a16="http://schemas.microsoft.com/office/drawing/2014/main" id="{A5801F6C-FEA8-40D0-A7D9-CF81E99FBAEE}"/>
                </a:ext>
              </a:extLst>
            </p:cNvPr>
            <p:cNvSpPr/>
            <p:nvPr/>
          </p:nvSpPr>
          <p:spPr>
            <a:xfrm>
              <a:off x="9419041" y="6445013"/>
              <a:ext cx="13839" cy="8506"/>
            </a:xfrm>
            <a:custGeom>
              <a:avLst/>
              <a:gdLst>
                <a:gd name="connsiteX0" fmla="*/ 6984 w 13839"/>
                <a:gd name="connsiteY0" fmla="*/ 8507 h 8506"/>
                <a:gd name="connsiteX1" fmla="*/ 13840 w 13839"/>
                <a:gd name="connsiteY1" fmla="*/ 1651 h 8506"/>
                <a:gd name="connsiteX2" fmla="*/ 13840 w 13839"/>
                <a:gd name="connsiteY2" fmla="*/ 0 h 8506"/>
                <a:gd name="connsiteX3" fmla="*/ 6984 w 13839"/>
                <a:gd name="connsiteY3" fmla="*/ 6856 h 8506"/>
                <a:gd name="connsiteX4" fmla="*/ 0 w 13839"/>
                <a:gd name="connsiteY4" fmla="*/ 0 h 8506"/>
                <a:gd name="connsiteX5" fmla="*/ 0 w 13839"/>
                <a:gd name="connsiteY5" fmla="*/ 1651 h 8506"/>
                <a:gd name="connsiteX6" fmla="*/ 6984 w 13839"/>
                <a:gd name="connsiteY6" fmla="*/ 8507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506">
                  <a:moveTo>
                    <a:pt x="6984" y="8507"/>
                  </a:moveTo>
                  <a:cubicBezTo>
                    <a:pt x="10767" y="8507"/>
                    <a:pt x="13840" y="5434"/>
                    <a:pt x="13840" y="1651"/>
                  </a:cubicBezTo>
                  <a:lnTo>
                    <a:pt x="13840" y="0"/>
                  </a:lnTo>
                  <a:cubicBezTo>
                    <a:pt x="13840" y="3784"/>
                    <a:pt x="10767" y="6856"/>
                    <a:pt x="6984" y="6856"/>
                  </a:cubicBezTo>
                  <a:cubicBezTo>
                    <a:pt x="3174" y="6856"/>
                    <a:pt x="64" y="3809"/>
                    <a:pt x="0" y="0"/>
                  </a:cubicBezTo>
                  <a:lnTo>
                    <a:pt x="0" y="1651"/>
                  </a:lnTo>
                  <a:cubicBezTo>
                    <a:pt x="140" y="5434"/>
                    <a:pt x="3200" y="8443"/>
                    <a:pt x="6984" y="8507"/>
                  </a:cubicBezTo>
                  <a:close/>
                </a:path>
              </a:pathLst>
            </a:custGeom>
            <a:solidFill>
              <a:srgbClr val="000000"/>
            </a:solidFill>
            <a:ln w="12690" cap="flat">
              <a:noFill/>
              <a:prstDash val="solid"/>
              <a:miter/>
            </a:ln>
          </p:spPr>
          <p:txBody>
            <a:bodyPr rtlCol="0" anchor="ctr"/>
            <a:lstStyle/>
            <a:p>
              <a:endParaRPr lang="en-US"/>
            </a:p>
          </p:txBody>
        </p:sp>
        <p:sp>
          <p:nvSpPr>
            <p:cNvPr id="1035" name="Freeform: Shape 1034">
              <a:extLst>
                <a:ext uri="{FF2B5EF4-FFF2-40B4-BE49-F238E27FC236}">
                  <a16:creationId xmlns:a16="http://schemas.microsoft.com/office/drawing/2014/main" id="{47E1E70F-90A6-4035-8062-E1C518B85FB0}"/>
                </a:ext>
              </a:extLst>
            </p:cNvPr>
            <p:cNvSpPr/>
            <p:nvPr/>
          </p:nvSpPr>
          <p:spPr>
            <a:xfrm>
              <a:off x="9419402" y="6429847"/>
              <a:ext cx="13535" cy="22022"/>
            </a:xfrm>
            <a:custGeom>
              <a:avLst/>
              <a:gdLst>
                <a:gd name="connsiteX0" fmla="*/ 6623 w 13535"/>
                <a:gd name="connsiteY0" fmla="*/ 22022 h 22022"/>
                <a:gd name="connsiteX1" fmla="*/ 13479 w 13535"/>
                <a:gd name="connsiteY1" fmla="*/ 15166 h 22022"/>
                <a:gd name="connsiteX2" fmla="*/ 13479 w 13535"/>
                <a:gd name="connsiteY2" fmla="*/ 7040 h 22022"/>
                <a:gd name="connsiteX3" fmla="*/ 13479 w 13535"/>
                <a:gd name="connsiteY3" fmla="*/ 5771 h 22022"/>
                <a:gd name="connsiteX4" fmla="*/ 6876 w 13535"/>
                <a:gd name="connsiteY4" fmla="*/ 57 h 22022"/>
                <a:gd name="connsiteX5" fmla="*/ 5480 w 13535"/>
                <a:gd name="connsiteY5" fmla="*/ 57 h 22022"/>
                <a:gd name="connsiteX6" fmla="*/ 4083 w 13535"/>
                <a:gd name="connsiteY6" fmla="*/ 57 h 22022"/>
                <a:gd name="connsiteX7" fmla="*/ 4083 w 13535"/>
                <a:gd name="connsiteY7" fmla="*/ 57 h 22022"/>
                <a:gd name="connsiteX8" fmla="*/ 20 w 13535"/>
                <a:gd name="connsiteY8" fmla="*/ 6279 h 22022"/>
                <a:gd name="connsiteX9" fmla="*/ 20 w 13535"/>
                <a:gd name="connsiteY9" fmla="*/ 14531 h 22022"/>
                <a:gd name="connsiteX10" fmla="*/ 6470 w 13535"/>
                <a:gd name="connsiteY10" fmla="*/ 22010 h 22022"/>
                <a:gd name="connsiteX11" fmla="*/ 6623 w 13535"/>
                <a:gd name="connsiteY11" fmla="*/ 22022 h 2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35" h="22022">
                  <a:moveTo>
                    <a:pt x="6623" y="22022"/>
                  </a:moveTo>
                  <a:cubicBezTo>
                    <a:pt x="10406" y="22022"/>
                    <a:pt x="13479" y="18950"/>
                    <a:pt x="13479" y="15166"/>
                  </a:cubicBezTo>
                  <a:lnTo>
                    <a:pt x="13479" y="7040"/>
                  </a:lnTo>
                  <a:cubicBezTo>
                    <a:pt x="13555" y="6621"/>
                    <a:pt x="13555" y="6190"/>
                    <a:pt x="13479" y="5771"/>
                  </a:cubicBezTo>
                  <a:cubicBezTo>
                    <a:pt x="12932" y="2533"/>
                    <a:pt x="10165" y="133"/>
                    <a:pt x="6876" y="57"/>
                  </a:cubicBezTo>
                  <a:lnTo>
                    <a:pt x="5480" y="57"/>
                  </a:lnTo>
                  <a:cubicBezTo>
                    <a:pt x="5023" y="-19"/>
                    <a:pt x="4541" y="-19"/>
                    <a:pt x="4083" y="57"/>
                  </a:cubicBezTo>
                  <a:lnTo>
                    <a:pt x="4083" y="57"/>
                  </a:lnTo>
                  <a:cubicBezTo>
                    <a:pt x="1620" y="1149"/>
                    <a:pt x="33" y="3587"/>
                    <a:pt x="20" y="6279"/>
                  </a:cubicBezTo>
                  <a:lnTo>
                    <a:pt x="20" y="14531"/>
                  </a:lnTo>
                  <a:cubicBezTo>
                    <a:pt x="-272" y="18379"/>
                    <a:pt x="2623" y="21730"/>
                    <a:pt x="6470" y="22010"/>
                  </a:cubicBezTo>
                  <a:cubicBezTo>
                    <a:pt x="6521" y="22022"/>
                    <a:pt x="6572" y="22022"/>
                    <a:pt x="6623" y="22022"/>
                  </a:cubicBezTo>
                  <a:close/>
                </a:path>
              </a:pathLst>
            </a:custGeom>
            <a:solidFill>
              <a:srgbClr val="000000"/>
            </a:solidFill>
            <a:ln w="12690" cap="flat">
              <a:noFill/>
              <a:prstDash val="solid"/>
              <a:miter/>
            </a:ln>
          </p:spPr>
          <p:txBody>
            <a:bodyPr rtlCol="0" anchor="ctr"/>
            <a:lstStyle/>
            <a:p>
              <a:endParaRPr lang="en-US"/>
            </a:p>
          </p:txBody>
        </p:sp>
        <p:sp>
          <p:nvSpPr>
            <p:cNvPr id="1036" name="Freeform: Shape 1035">
              <a:extLst>
                <a:ext uri="{FF2B5EF4-FFF2-40B4-BE49-F238E27FC236}">
                  <a16:creationId xmlns:a16="http://schemas.microsoft.com/office/drawing/2014/main" id="{06383EF8-66BB-491C-A178-27D50F746A1A}"/>
                </a:ext>
              </a:extLst>
            </p:cNvPr>
            <p:cNvSpPr/>
            <p:nvPr/>
          </p:nvSpPr>
          <p:spPr>
            <a:xfrm>
              <a:off x="11217909" y="6820964"/>
              <a:ext cx="13711" cy="43549"/>
            </a:xfrm>
            <a:custGeom>
              <a:avLst/>
              <a:gdLst>
                <a:gd name="connsiteX0" fmla="*/ 13712 w 13711"/>
                <a:gd name="connsiteY0" fmla="*/ 0 h 43549"/>
                <a:gd name="connsiteX1" fmla="*/ 6856 w 13711"/>
                <a:gd name="connsiteY1" fmla="*/ 6856 h 43549"/>
                <a:gd name="connsiteX2" fmla="*/ 0 w 13711"/>
                <a:gd name="connsiteY2" fmla="*/ 0 h 43549"/>
                <a:gd name="connsiteX3" fmla="*/ 0 w 13711"/>
                <a:gd name="connsiteY3" fmla="*/ 43550 h 43549"/>
                <a:gd name="connsiteX4" fmla="*/ 13712 w 13711"/>
                <a:gd name="connsiteY4" fmla="*/ 43550 h 43549"/>
                <a:gd name="connsiteX5" fmla="*/ 13712 w 13711"/>
                <a:gd name="connsiteY5" fmla="*/ 0 h 4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1" h="43549">
                  <a:moveTo>
                    <a:pt x="13712" y="0"/>
                  </a:moveTo>
                  <a:cubicBezTo>
                    <a:pt x="13712" y="3784"/>
                    <a:pt x="10639" y="6856"/>
                    <a:pt x="6856" y="6856"/>
                  </a:cubicBezTo>
                  <a:cubicBezTo>
                    <a:pt x="3072" y="6856"/>
                    <a:pt x="0" y="3784"/>
                    <a:pt x="0" y="0"/>
                  </a:cubicBezTo>
                  <a:lnTo>
                    <a:pt x="0" y="43550"/>
                  </a:lnTo>
                  <a:lnTo>
                    <a:pt x="13712" y="43550"/>
                  </a:lnTo>
                  <a:lnTo>
                    <a:pt x="13712" y="0"/>
                  </a:lnTo>
                  <a:close/>
                </a:path>
              </a:pathLst>
            </a:custGeom>
            <a:solidFill>
              <a:srgbClr val="000000"/>
            </a:solidFill>
            <a:ln w="12690"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82063909-C74C-42BE-B6A9-2E57DB873727}"/>
                </a:ext>
              </a:extLst>
            </p:cNvPr>
            <p:cNvSpPr/>
            <p:nvPr/>
          </p:nvSpPr>
          <p:spPr>
            <a:xfrm>
              <a:off x="8607595" y="6437903"/>
              <a:ext cx="13712" cy="7871"/>
            </a:xfrm>
            <a:custGeom>
              <a:avLst/>
              <a:gdLst>
                <a:gd name="connsiteX0" fmla="*/ 6856 w 13712"/>
                <a:gd name="connsiteY0" fmla="*/ 7872 h 7871"/>
                <a:gd name="connsiteX1" fmla="*/ 13713 w 13712"/>
                <a:gd name="connsiteY1" fmla="*/ 889 h 7871"/>
                <a:gd name="connsiteX2" fmla="*/ 13713 w 13712"/>
                <a:gd name="connsiteY2" fmla="*/ 0 h 7871"/>
                <a:gd name="connsiteX3" fmla="*/ 6856 w 13712"/>
                <a:gd name="connsiteY3" fmla="*/ 6856 h 7871"/>
                <a:gd name="connsiteX4" fmla="*/ 0 w 13712"/>
                <a:gd name="connsiteY4" fmla="*/ 0 h 7871"/>
                <a:gd name="connsiteX5" fmla="*/ 0 w 13712"/>
                <a:gd name="connsiteY5" fmla="*/ 889 h 7871"/>
                <a:gd name="connsiteX6" fmla="*/ 6856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6" y="7872"/>
                  </a:moveTo>
                  <a:cubicBezTo>
                    <a:pt x="10666" y="7809"/>
                    <a:pt x="13713" y="4698"/>
                    <a:pt x="13713" y="889"/>
                  </a:cubicBezTo>
                  <a:lnTo>
                    <a:pt x="13713" y="0"/>
                  </a:lnTo>
                  <a:cubicBezTo>
                    <a:pt x="13713" y="3784"/>
                    <a:pt x="10640" y="6856"/>
                    <a:pt x="6856" y="6856"/>
                  </a:cubicBezTo>
                  <a:cubicBezTo>
                    <a:pt x="3073" y="6856"/>
                    <a:pt x="0" y="3784"/>
                    <a:pt x="0" y="0"/>
                  </a:cubicBezTo>
                  <a:lnTo>
                    <a:pt x="0" y="889"/>
                  </a:lnTo>
                  <a:cubicBezTo>
                    <a:pt x="0" y="4698"/>
                    <a:pt x="3047" y="7809"/>
                    <a:pt x="6856" y="7872"/>
                  </a:cubicBezTo>
                  <a:close/>
                </a:path>
              </a:pathLst>
            </a:custGeom>
            <a:solidFill>
              <a:srgbClr val="000000"/>
            </a:solidFill>
            <a:ln w="12690"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0C9CE5C3-AF4F-46A1-B274-5E4472B15A6F}"/>
                </a:ext>
              </a:extLst>
            </p:cNvPr>
            <p:cNvSpPr/>
            <p:nvPr/>
          </p:nvSpPr>
          <p:spPr>
            <a:xfrm>
              <a:off x="8607595" y="5903664"/>
              <a:ext cx="13712" cy="541095"/>
            </a:xfrm>
            <a:custGeom>
              <a:avLst/>
              <a:gdLst>
                <a:gd name="connsiteX0" fmla="*/ 0 w 13712"/>
                <a:gd name="connsiteY0" fmla="*/ 6054 h 541095"/>
                <a:gd name="connsiteX1" fmla="*/ 0 w 13712"/>
                <a:gd name="connsiteY1" fmla="*/ 534239 h 541095"/>
                <a:gd name="connsiteX2" fmla="*/ 6856 w 13712"/>
                <a:gd name="connsiteY2" fmla="*/ 541095 h 541095"/>
                <a:gd name="connsiteX3" fmla="*/ 13713 w 13712"/>
                <a:gd name="connsiteY3" fmla="*/ 534239 h 541095"/>
                <a:gd name="connsiteX4" fmla="*/ 13713 w 13712"/>
                <a:gd name="connsiteY4" fmla="*/ 5419 h 541095"/>
                <a:gd name="connsiteX5" fmla="*/ 13713 w 13712"/>
                <a:gd name="connsiteY5" fmla="*/ 4150 h 541095"/>
                <a:gd name="connsiteX6" fmla="*/ 13713 w 13712"/>
                <a:gd name="connsiteY6" fmla="*/ 2880 h 541095"/>
                <a:gd name="connsiteX7" fmla="*/ 12951 w 13712"/>
                <a:gd name="connsiteY7" fmla="*/ 1864 h 541095"/>
                <a:gd name="connsiteX8" fmla="*/ 12062 w 13712"/>
                <a:gd name="connsiteY8" fmla="*/ 848 h 541095"/>
                <a:gd name="connsiteX9" fmla="*/ 11046 w 13712"/>
                <a:gd name="connsiteY9" fmla="*/ 87 h 541095"/>
                <a:gd name="connsiteX10" fmla="*/ 9777 w 13712"/>
                <a:gd name="connsiteY10" fmla="*/ 87 h 541095"/>
                <a:gd name="connsiteX11" fmla="*/ 7618 w 13712"/>
                <a:gd name="connsiteY11" fmla="*/ 87 h 541095"/>
                <a:gd name="connsiteX12" fmla="*/ 0 w 13712"/>
                <a:gd name="connsiteY12" fmla="*/ 6054 h 54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12" h="541095">
                  <a:moveTo>
                    <a:pt x="0" y="6054"/>
                  </a:moveTo>
                  <a:lnTo>
                    <a:pt x="0" y="534239"/>
                  </a:lnTo>
                  <a:cubicBezTo>
                    <a:pt x="0" y="538023"/>
                    <a:pt x="3073" y="541095"/>
                    <a:pt x="6856" y="541095"/>
                  </a:cubicBezTo>
                  <a:cubicBezTo>
                    <a:pt x="10640" y="541095"/>
                    <a:pt x="13713" y="538023"/>
                    <a:pt x="13713" y="534239"/>
                  </a:cubicBezTo>
                  <a:lnTo>
                    <a:pt x="13713" y="5419"/>
                  </a:lnTo>
                  <a:lnTo>
                    <a:pt x="13713" y="4150"/>
                  </a:lnTo>
                  <a:lnTo>
                    <a:pt x="13713" y="2880"/>
                  </a:lnTo>
                  <a:lnTo>
                    <a:pt x="12951" y="1864"/>
                  </a:lnTo>
                  <a:cubicBezTo>
                    <a:pt x="12722" y="1471"/>
                    <a:pt x="12418" y="1125"/>
                    <a:pt x="12062" y="848"/>
                  </a:cubicBezTo>
                  <a:lnTo>
                    <a:pt x="11046" y="87"/>
                  </a:lnTo>
                  <a:lnTo>
                    <a:pt x="9777" y="87"/>
                  </a:lnTo>
                  <a:cubicBezTo>
                    <a:pt x="9065" y="-29"/>
                    <a:pt x="8329" y="-29"/>
                    <a:pt x="7618" y="87"/>
                  </a:cubicBezTo>
                  <a:cubicBezTo>
                    <a:pt x="3885" y="-292"/>
                    <a:pt x="533" y="2343"/>
                    <a:pt x="0" y="6054"/>
                  </a:cubicBezTo>
                  <a:close/>
                </a:path>
              </a:pathLst>
            </a:custGeom>
            <a:solidFill>
              <a:srgbClr val="000000"/>
            </a:solidFill>
            <a:ln w="12690"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B5557FB8-87E5-4F10-8D51-300AF14C8E83}"/>
                </a:ext>
              </a:extLst>
            </p:cNvPr>
            <p:cNvSpPr/>
            <p:nvPr/>
          </p:nvSpPr>
          <p:spPr>
            <a:xfrm>
              <a:off x="10788379" y="5829601"/>
              <a:ext cx="8252" cy="13839"/>
            </a:xfrm>
            <a:custGeom>
              <a:avLst/>
              <a:gdLst>
                <a:gd name="connsiteX0" fmla="*/ 1269 w 8252"/>
                <a:gd name="connsiteY0" fmla="*/ 6983 h 13839"/>
                <a:gd name="connsiteX1" fmla="*/ 8252 w 8252"/>
                <a:gd name="connsiteY1" fmla="*/ 0 h 13839"/>
                <a:gd name="connsiteX2" fmla="*/ 6983 w 8252"/>
                <a:gd name="connsiteY2" fmla="*/ 0 h 13839"/>
                <a:gd name="connsiteX3" fmla="*/ 0 w 8252"/>
                <a:gd name="connsiteY3" fmla="*/ 6983 h 13839"/>
                <a:gd name="connsiteX4" fmla="*/ 6983 w 8252"/>
                <a:gd name="connsiteY4" fmla="*/ 13840 h 13839"/>
                <a:gd name="connsiteX5" fmla="*/ 8252 w 8252"/>
                <a:gd name="connsiteY5" fmla="*/ 13840 h 13839"/>
                <a:gd name="connsiteX6" fmla="*/ 1269 w 8252"/>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2" h="13839">
                  <a:moveTo>
                    <a:pt x="1269" y="6983"/>
                  </a:moveTo>
                  <a:cubicBezTo>
                    <a:pt x="1269" y="3126"/>
                    <a:pt x="4393" y="0"/>
                    <a:pt x="8252" y="0"/>
                  </a:cubicBezTo>
                  <a:lnTo>
                    <a:pt x="6983" y="0"/>
                  </a:lnTo>
                  <a:cubicBezTo>
                    <a:pt x="3123" y="0"/>
                    <a:pt x="0" y="3126"/>
                    <a:pt x="0" y="6983"/>
                  </a:cubicBezTo>
                  <a:cubicBezTo>
                    <a:pt x="64" y="10790"/>
                    <a:pt x="3174" y="13840"/>
                    <a:pt x="6983" y="13840"/>
                  </a:cubicBezTo>
                  <a:lnTo>
                    <a:pt x="8252" y="13840"/>
                  </a:lnTo>
                  <a:cubicBezTo>
                    <a:pt x="4444" y="13840"/>
                    <a:pt x="1333" y="10790"/>
                    <a:pt x="1269" y="6983"/>
                  </a:cubicBezTo>
                  <a:close/>
                </a:path>
              </a:pathLst>
            </a:custGeom>
            <a:solidFill>
              <a:srgbClr val="000000"/>
            </a:solidFill>
            <a:ln w="12690"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F7E209C1-82F0-4715-AABF-00F4FF426A97}"/>
                </a:ext>
              </a:extLst>
            </p:cNvPr>
            <p:cNvSpPr/>
            <p:nvPr/>
          </p:nvSpPr>
          <p:spPr>
            <a:xfrm>
              <a:off x="10789649" y="5830363"/>
              <a:ext cx="18537" cy="13839"/>
            </a:xfrm>
            <a:custGeom>
              <a:avLst/>
              <a:gdLst>
                <a:gd name="connsiteX0" fmla="*/ 12824 w 18537"/>
                <a:gd name="connsiteY0" fmla="*/ 12824 h 13839"/>
                <a:gd name="connsiteX1" fmla="*/ 14220 w 18537"/>
                <a:gd name="connsiteY1" fmla="*/ 12824 h 13839"/>
                <a:gd name="connsiteX2" fmla="*/ 18537 w 18537"/>
                <a:gd name="connsiteY2" fmla="*/ 6475 h 13839"/>
                <a:gd name="connsiteX3" fmla="*/ 16760 w 18537"/>
                <a:gd name="connsiteY3" fmla="*/ 1778 h 13839"/>
                <a:gd name="connsiteX4" fmla="*/ 14220 w 18537"/>
                <a:gd name="connsiteY4" fmla="*/ 0 h 13839"/>
                <a:gd name="connsiteX5" fmla="*/ 12824 w 18537"/>
                <a:gd name="connsiteY5" fmla="*/ 0 h 13839"/>
                <a:gd name="connsiteX6" fmla="*/ 11681 w 18537"/>
                <a:gd name="connsiteY6" fmla="*/ 0 h 13839"/>
                <a:gd name="connsiteX7" fmla="*/ 6983 w 18537"/>
                <a:gd name="connsiteY7" fmla="*/ 0 h 13839"/>
                <a:gd name="connsiteX8" fmla="*/ 0 w 18537"/>
                <a:gd name="connsiteY8" fmla="*/ 6983 h 13839"/>
                <a:gd name="connsiteX9" fmla="*/ 6983 w 18537"/>
                <a:gd name="connsiteY9" fmla="*/ 13839 h 13839"/>
                <a:gd name="connsiteX10" fmla="*/ 11681 w 18537"/>
                <a:gd name="connsiteY10"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7" h="13839">
                  <a:moveTo>
                    <a:pt x="12824" y="12824"/>
                  </a:moveTo>
                  <a:lnTo>
                    <a:pt x="14220" y="12824"/>
                  </a:lnTo>
                  <a:cubicBezTo>
                    <a:pt x="16823" y="11788"/>
                    <a:pt x="18524" y="9274"/>
                    <a:pt x="18537" y="6475"/>
                  </a:cubicBezTo>
                  <a:cubicBezTo>
                    <a:pt x="18512" y="4750"/>
                    <a:pt x="17890" y="3087"/>
                    <a:pt x="16760" y="1778"/>
                  </a:cubicBezTo>
                  <a:cubicBezTo>
                    <a:pt x="16049" y="1005"/>
                    <a:pt x="15185" y="399"/>
                    <a:pt x="14220" y="0"/>
                  </a:cubicBezTo>
                  <a:lnTo>
                    <a:pt x="12824" y="0"/>
                  </a:lnTo>
                  <a:lnTo>
                    <a:pt x="11681" y="0"/>
                  </a:lnTo>
                  <a:lnTo>
                    <a:pt x="6983" y="0"/>
                  </a:lnTo>
                  <a:cubicBezTo>
                    <a:pt x="3124" y="0"/>
                    <a:pt x="0" y="3126"/>
                    <a:pt x="0" y="6983"/>
                  </a:cubicBezTo>
                  <a:cubicBezTo>
                    <a:pt x="64" y="10790"/>
                    <a:pt x="3174" y="13841"/>
                    <a:pt x="6983" y="13839"/>
                  </a:cubicBezTo>
                  <a:lnTo>
                    <a:pt x="11681" y="13839"/>
                  </a:lnTo>
                  <a:close/>
                </a:path>
              </a:pathLst>
            </a:custGeom>
            <a:solidFill>
              <a:srgbClr val="000000"/>
            </a:solidFill>
            <a:ln w="12690"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EE644730-C5A3-4DBD-8792-9CF08E9F7A0F}"/>
                </a:ext>
              </a:extLst>
            </p:cNvPr>
            <p:cNvSpPr/>
            <p:nvPr/>
          </p:nvSpPr>
          <p:spPr>
            <a:xfrm>
              <a:off x="10058954" y="6016182"/>
              <a:ext cx="13839" cy="77892"/>
            </a:xfrm>
            <a:custGeom>
              <a:avLst/>
              <a:gdLst>
                <a:gd name="connsiteX0" fmla="*/ 0 w 13839"/>
                <a:gd name="connsiteY0" fmla="*/ 6283 h 77892"/>
                <a:gd name="connsiteX1" fmla="*/ 0 w 13839"/>
                <a:gd name="connsiteY1" fmla="*/ 77893 h 77892"/>
                <a:gd name="connsiteX2" fmla="*/ 6856 w 13839"/>
                <a:gd name="connsiteY2" fmla="*/ 70910 h 77892"/>
                <a:gd name="connsiteX3" fmla="*/ 13840 w 13839"/>
                <a:gd name="connsiteY3" fmla="*/ 77893 h 77892"/>
                <a:gd name="connsiteX4" fmla="*/ 13840 w 13839"/>
                <a:gd name="connsiteY4" fmla="*/ 6283 h 77892"/>
                <a:gd name="connsiteX5" fmla="*/ 13840 w 13839"/>
                <a:gd name="connsiteY5" fmla="*/ 6283 h 77892"/>
                <a:gd name="connsiteX6" fmla="*/ 13840 w 13839"/>
                <a:gd name="connsiteY6" fmla="*/ 4887 h 77892"/>
                <a:gd name="connsiteX7" fmla="*/ 13840 w 13839"/>
                <a:gd name="connsiteY7" fmla="*/ 3744 h 77892"/>
                <a:gd name="connsiteX8" fmla="*/ 13078 w 13839"/>
                <a:gd name="connsiteY8" fmla="*/ 2601 h 77892"/>
                <a:gd name="connsiteX9" fmla="*/ 12062 w 13839"/>
                <a:gd name="connsiteY9" fmla="*/ 1585 h 77892"/>
                <a:gd name="connsiteX10" fmla="*/ 7745 w 13839"/>
                <a:gd name="connsiteY10" fmla="*/ 62 h 77892"/>
                <a:gd name="connsiteX11" fmla="*/ 38 w 13839"/>
                <a:gd name="connsiteY11" fmla="*/ 5944 h 77892"/>
                <a:gd name="connsiteX12" fmla="*/ 0 w 13839"/>
                <a:gd name="connsiteY12" fmla="*/ 6283 h 7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77892">
                  <a:moveTo>
                    <a:pt x="0" y="6283"/>
                  </a:moveTo>
                  <a:lnTo>
                    <a:pt x="0" y="77893"/>
                  </a:lnTo>
                  <a:cubicBezTo>
                    <a:pt x="0" y="74084"/>
                    <a:pt x="3047" y="70973"/>
                    <a:pt x="6856" y="70910"/>
                  </a:cubicBezTo>
                  <a:cubicBezTo>
                    <a:pt x="10716" y="70910"/>
                    <a:pt x="13840" y="74033"/>
                    <a:pt x="13840" y="77893"/>
                  </a:cubicBezTo>
                  <a:lnTo>
                    <a:pt x="13840" y="6283"/>
                  </a:lnTo>
                  <a:cubicBezTo>
                    <a:pt x="13840" y="6283"/>
                    <a:pt x="13840" y="6283"/>
                    <a:pt x="13840" y="6283"/>
                  </a:cubicBezTo>
                  <a:lnTo>
                    <a:pt x="13840" y="4887"/>
                  </a:lnTo>
                  <a:lnTo>
                    <a:pt x="13840" y="3744"/>
                  </a:lnTo>
                  <a:lnTo>
                    <a:pt x="13078" y="2601"/>
                  </a:lnTo>
                  <a:cubicBezTo>
                    <a:pt x="12773" y="2232"/>
                    <a:pt x="12430" y="1891"/>
                    <a:pt x="12062" y="1585"/>
                  </a:cubicBezTo>
                  <a:cubicBezTo>
                    <a:pt x="10831" y="615"/>
                    <a:pt x="9306" y="80"/>
                    <a:pt x="7745" y="62"/>
                  </a:cubicBezTo>
                  <a:cubicBezTo>
                    <a:pt x="3987" y="-442"/>
                    <a:pt x="546" y="2191"/>
                    <a:pt x="38" y="5944"/>
                  </a:cubicBezTo>
                  <a:cubicBezTo>
                    <a:pt x="26" y="6057"/>
                    <a:pt x="12" y="6170"/>
                    <a:pt x="0" y="6283"/>
                  </a:cubicBezTo>
                  <a:close/>
                </a:path>
              </a:pathLst>
            </a:custGeom>
            <a:solidFill>
              <a:srgbClr val="000000"/>
            </a:solidFill>
            <a:ln w="12690"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09401993-6DCB-42B1-A4BF-0FEFB3A91B7A}"/>
                </a:ext>
              </a:extLst>
            </p:cNvPr>
            <p:cNvSpPr/>
            <p:nvPr/>
          </p:nvSpPr>
          <p:spPr>
            <a:xfrm>
              <a:off x="9776452" y="4991108"/>
              <a:ext cx="13841" cy="620490"/>
            </a:xfrm>
            <a:custGeom>
              <a:avLst/>
              <a:gdLst>
                <a:gd name="connsiteX0" fmla="*/ 6857 w 13841"/>
                <a:gd name="connsiteY0" fmla="*/ 613380 h 620490"/>
                <a:gd name="connsiteX1" fmla="*/ 13841 w 13841"/>
                <a:gd name="connsiteY1" fmla="*/ 620363 h 620490"/>
                <a:gd name="connsiteX2" fmla="*/ 13841 w 13841"/>
                <a:gd name="connsiteY2" fmla="*/ 6856 h 620490"/>
                <a:gd name="connsiteX3" fmla="*/ 6857 w 13841"/>
                <a:gd name="connsiteY3" fmla="*/ 0 h 620490"/>
                <a:gd name="connsiteX4" fmla="*/ 1 w 13841"/>
                <a:gd name="connsiteY4" fmla="*/ 6856 h 620490"/>
                <a:gd name="connsiteX5" fmla="*/ 1 w 13841"/>
                <a:gd name="connsiteY5" fmla="*/ 620490 h 620490"/>
                <a:gd name="connsiteX6" fmla="*/ 6857 w 13841"/>
                <a:gd name="connsiteY6" fmla="*/ 613380 h 620490"/>
                <a:gd name="connsiteX7" fmla="*/ 6857 w 13841"/>
                <a:gd name="connsiteY7" fmla="*/ 613380 h 62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1" h="620490">
                  <a:moveTo>
                    <a:pt x="6857" y="613380"/>
                  </a:moveTo>
                  <a:cubicBezTo>
                    <a:pt x="10717" y="613380"/>
                    <a:pt x="13841" y="616506"/>
                    <a:pt x="13841" y="620363"/>
                  </a:cubicBezTo>
                  <a:lnTo>
                    <a:pt x="13841" y="6856"/>
                  </a:lnTo>
                  <a:cubicBezTo>
                    <a:pt x="13778" y="3050"/>
                    <a:pt x="10667" y="-1"/>
                    <a:pt x="6857" y="0"/>
                  </a:cubicBezTo>
                  <a:cubicBezTo>
                    <a:pt x="3074" y="0"/>
                    <a:pt x="1" y="3070"/>
                    <a:pt x="1" y="6856"/>
                  </a:cubicBezTo>
                  <a:lnTo>
                    <a:pt x="1" y="620490"/>
                  </a:lnTo>
                  <a:cubicBezTo>
                    <a:pt x="-75" y="616634"/>
                    <a:pt x="2998" y="613451"/>
                    <a:pt x="6857" y="613380"/>
                  </a:cubicBezTo>
                  <a:cubicBezTo>
                    <a:pt x="6857" y="613380"/>
                    <a:pt x="6857" y="613380"/>
                    <a:pt x="6857" y="613380"/>
                  </a:cubicBezTo>
                  <a:close/>
                </a:path>
              </a:pathLst>
            </a:custGeom>
            <a:solidFill>
              <a:srgbClr val="000000"/>
            </a:solidFill>
            <a:ln w="12690"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3F06D94E-065A-47FC-893C-5A7806BBF507}"/>
                </a:ext>
              </a:extLst>
            </p:cNvPr>
            <p:cNvSpPr/>
            <p:nvPr/>
          </p:nvSpPr>
          <p:spPr>
            <a:xfrm>
              <a:off x="9776453" y="5604615"/>
              <a:ext cx="13839" cy="186896"/>
            </a:xfrm>
            <a:custGeom>
              <a:avLst/>
              <a:gdLst>
                <a:gd name="connsiteX0" fmla="*/ 0 w 13839"/>
                <a:gd name="connsiteY0" fmla="*/ 179913 h 186896"/>
                <a:gd name="connsiteX1" fmla="*/ 6856 w 13839"/>
                <a:gd name="connsiteY1" fmla="*/ 186896 h 186896"/>
                <a:gd name="connsiteX2" fmla="*/ 13840 w 13839"/>
                <a:gd name="connsiteY2" fmla="*/ 179913 h 186896"/>
                <a:gd name="connsiteX3" fmla="*/ 13840 w 13839"/>
                <a:gd name="connsiteY3" fmla="*/ 6983 h 186896"/>
                <a:gd name="connsiteX4" fmla="*/ 6856 w 13839"/>
                <a:gd name="connsiteY4" fmla="*/ 0 h 186896"/>
                <a:gd name="connsiteX5" fmla="*/ 0 w 13839"/>
                <a:gd name="connsiteY5" fmla="*/ 6983 h 186896"/>
                <a:gd name="connsiteX6" fmla="*/ 0 w 13839"/>
                <a:gd name="connsiteY6" fmla="*/ 179913 h 1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186896">
                  <a:moveTo>
                    <a:pt x="0" y="179913"/>
                  </a:moveTo>
                  <a:cubicBezTo>
                    <a:pt x="0" y="183721"/>
                    <a:pt x="3047" y="186828"/>
                    <a:pt x="6856" y="186896"/>
                  </a:cubicBezTo>
                  <a:cubicBezTo>
                    <a:pt x="10716" y="186896"/>
                    <a:pt x="13840" y="183770"/>
                    <a:pt x="13840" y="179913"/>
                  </a:cubicBezTo>
                  <a:lnTo>
                    <a:pt x="13840" y="6983"/>
                  </a:lnTo>
                  <a:cubicBezTo>
                    <a:pt x="13840" y="3126"/>
                    <a:pt x="10716" y="0"/>
                    <a:pt x="6856" y="0"/>
                  </a:cubicBezTo>
                  <a:cubicBezTo>
                    <a:pt x="3047" y="70"/>
                    <a:pt x="0" y="3176"/>
                    <a:pt x="0" y="6983"/>
                  </a:cubicBezTo>
                  <a:lnTo>
                    <a:pt x="0" y="179913"/>
                  </a:lnTo>
                  <a:close/>
                </a:path>
              </a:pathLst>
            </a:custGeom>
            <a:solidFill>
              <a:srgbClr val="000000"/>
            </a:solidFill>
            <a:ln w="12690"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495E6DF9-5694-459F-BB9A-AC18F10F5595}"/>
                </a:ext>
              </a:extLst>
            </p:cNvPr>
            <p:cNvSpPr/>
            <p:nvPr/>
          </p:nvSpPr>
          <p:spPr>
            <a:xfrm>
              <a:off x="11321132" y="6500371"/>
              <a:ext cx="13712" cy="7745"/>
            </a:xfrm>
            <a:custGeom>
              <a:avLst/>
              <a:gdLst>
                <a:gd name="connsiteX0" fmla="*/ 6857 w 13712"/>
                <a:gd name="connsiteY0" fmla="*/ 7745 h 7745"/>
                <a:gd name="connsiteX1" fmla="*/ 13713 w 13712"/>
                <a:gd name="connsiteY1" fmla="*/ 889 h 7745"/>
                <a:gd name="connsiteX2" fmla="*/ 13713 w 13712"/>
                <a:gd name="connsiteY2" fmla="*/ 0 h 7745"/>
                <a:gd name="connsiteX3" fmla="*/ 6857 w 13712"/>
                <a:gd name="connsiteY3" fmla="*/ 6856 h 7745"/>
                <a:gd name="connsiteX4" fmla="*/ 0 w 13712"/>
                <a:gd name="connsiteY4" fmla="*/ 0 h 7745"/>
                <a:gd name="connsiteX5" fmla="*/ 0 w 13712"/>
                <a:gd name="connsiteY5" fmla="*/ 1016 h 7745"/>
                <a:gd name="connsiteX6" fmla="*/ 6857 w 13712"/>
                <a:gd name="connsiteY6" fmla="*/ 7745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745">
                  <a:moveTo>
                    <a:pt x="6857" y="7745"/>
                  </a:moveTo>
                  <a:cubicBezTo>
                    <a:pt x="10640" y="7745"/>
                    <a:pt x="13713" y="4672"/>
                    <a:pt x="13713" y="889"/>
                  </a:cubicBezTo>
                  <a:lnTo>
                    <a:pt x="13713" y="0"/>
                  </a:lnTo>
                  <a:cubicBezTo>
                    <a:pt x="13713" y="3784"/>
                    <a:pt x="10640" y="6856"/>
                    <a:pt x="6857" y="6856"/>
                  </a:cubicBezTo>
                  <a:cubicBezTo>
                    <a:pt x="3073" y="6856"/>
                    <a:pt x="0" y="3784"/>
                    <a:pt x="0" y="0"/>
                  </a:cubicBezTo>
                  <a:lnTo>
                    <a:pt x="0" y="1016"/>
                  </a:lnTo>
                  <a:cubicBezTo>
                    <a:pt x="64" y="4748"/>
                    <a:pt x="3124" y="7745"/>
                    <a:pt x="6857" y="7745"/>
                  </a:cubicBezTo>
                  <a:close/>
                </a:path>
              </a:pathLst>
            </a:custGeom>
            <a:solidFill>
              <a:srgbClr val="000000"/>
            </a:solidFill>
            <a:ln w="12690"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A9DE2B00-2C32-4F7B-B97E-10439E391346}"/>
                </a:ext>
              </a:extLst>
            </p:cNvPr>
            <p:cNvSpPr/>
            <p:nvPr/>
          </p:nvSpPr>
          <p:spPr>
            <a:xfrm>
              <a:off x="9776453" y="6116802"/>
              <a:ext cx="270058" cy="13712"/>
            </a:xfrm>
            <a:custGeom>
              <a:avLst/>
              <a:gdLst>
                <a:gd name="connsiteX0" fmla="*/ 0 w 270058"/>
                <a:gd name="connsiteY0" fmla="*/ 6856 h 13712"/>
                <a:gd name="connsiteX1" fmla="*/ 6856 w 270058"/>
                <a:gd name="connsiteY1" fmla="*/ 13713 h 13712"/>
                <a:gd name="connsiteX2" fmla="*/ 270059 w 270058"/>
                <a:gd name="connsiteY2" fmla="*/ 13713 h 13712"/>
                <a:gd name="connsiteX3" fmla="*/ 263202 w 270058"/>
                <a:gd name="connsiteY3" fmla="*/ 6856 h 13712"/>
                <a:gd name="connsiteX4" fmla="*/ 270059 w 270058"/>
                <a:gd name="connsiteY4" fmla="*/ 0 h 13712"/>
                <a:gd name="connsiteX5" fmla="*/ 6856 w 270058"/>
                <a:gd name="connsiteY5" fmla="*/ 0 h 13712"/>
                <a:gd name="connsiteX6" fmla="*/ 0 w 270058"/>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058" h="13712">
                  <a:moveTo>
                    <a:pt x="0" y="6856"/>
                  </a:moveTo>
                  <a:cubicBezTo>
                    <a:pt x="0" y="10640"/>
                    <a:pt x="3073" y="13713"/>
                    <a:pt x="6856" y="13713"/>
                  </a:cubicBezTo>
                  <a:lnTo>
                    <a:pt x="270059" y="13713"/>
                  </a:lnTo>
                  <a:cubicBezTo>
                    <a:pt x="266275" y="13713"/>
                    <a:pt x="263202" y="10640"/>
                    <a:pt x="263202" y="6856"/>
                  </a:cubicBezTo>
                  <a:cubicBezTo>
                    <a:pt x="263202" y="3073"/>
                    <a:pt x="266275" y="0"/>
                    <a:pt x="270059" y="0"/>
                  </a:cubicBezTo>
                  <a:lnTo>
                    <a:pt x="6856" y="0"/>
                  </a:lnTo>
                  <a:cubicBezTo>
                    <a:pt x="3073" y="0"/>
                    <a:pt x="0" y="3073"/>
                    <a:pt x="0" y="6856"/>
                  </a:cubicBezTo>
                  <a:close/>
                </a:path>
              </a:pathLst>
            </a:custGeom>
            <a:solidFill>
              <a:srgbClr val="000000"/>
            </a:solidFill>
            <a:ln w="12690"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4DF0907A-2EBB-49E8-9605-7150EC2DD19D}"/>
                </a:ext>
              </a:extLst>
            </p:cNvPr>
            <p:cNvSpPr/>
            <p:nvPr/>
          </p:nvSpPr>
          <p:spPr>
            <a:xfrm>
              <a:off x="10205728" y="6129372"/>
              <a:ext cx="7110" cy="1143"/>
            </a:xfrm>
            <a:custGeom>
              <a:avLst/>
              <a:gdLst>
                <a:gd name="connsiteX0" fmla="*/ 0 w 7110"/>
                <a:gd name="connsiteY0" fmla="*/ 1143 h 1143"/>
                <a:gd name="connsiteX1" fmla="*/ 7110 w 7110"/>
                <a:gd name="connsiteY1" fmla="*/ 1143 h 1143"/>
                <a:gd name="connsiteX2" fmla="*/ 3555 w 7110"/>
                <a:gd name="connsiteY2" fmla="*/ 0 h 1143"/>
                <a:gd name="connsiteX3" fmla="*/ 0 w 7110"/>
                <a:gd name="connsiteY3" fmla="*/ 1143 h 1143"/>
              </a:gdLst>
              <a:ahLst/>
              <a:cxnLst>
                <a:cxn ang="0">
                  <a:pos x="connsiteX0" y="connsiteY0"/>
                </a:cxn>
                <a:cxn ang="0">
                  <a:pos x="connsiteX1" y="connsiteY1"/>
                </a:cxn>
                <a:cxn ang="0">
                  <a:pos x="connsiteX2" y="connsiteY2"/>
                </a:cxn>
                <a:cxn ang="0">
                  <a:pos x="connsiteX3" y="connsiteY3"/>
                </a:cxn>
              </a:cxnLst>
              <a:rect l="l" t="t" r="r" b="b"/>
              <a:pathLst>
                <a:path w="7110" h="1143">
                  <a:moveTo>
                    <a:pt x="0" y="1143"/>
                  </a:moveTo>
                  <a:lnTo>
                    <a:pt x="7110" y="1143"/>
                  </a:lnTo>
                  <a:cubicBezTo>
                    <a:pt x="5828" y="1155"/>
                    <a:pt x="4584" y="749"/>
                    <a:pt x="3555" y="0"/>
                  </a:cubicBezTo>
                  <a:cubicBezTo>
                    <a:pt x="2526" y="775"/>
                    <a:pt x="1283" y="1168"/>
                    <a:pt x="0" y="1143"/>
                  </a:cubicBezTo>
                  <a:close/>
                </a:path>
              </a:pathLst>
            </a:custGeom>
            <a:solidFill>
              <a:srgbClr val="000000"/>
            </a:solidFill>
            <a:ln w="12690" cap="flat">
              <a:noFill/>
              <a:prstDash val="solid"/>
              <a:miter/>
            </a:ln>
          </p:spPr>
          <p:txBody>
            <a:bodyPr rtlCol="0" anchor="ctr"/>
            <a:lstStyle/>
            <a:p>
              <a:endParaRPr lang="en-US"/>
            </a:p>
          </p:txBody>
        </p:sp>
        <p:sp>
          <p:nvSpPr>
            <p:cNvPr id="1047" name="Freeform: Shape 1046">
              <a:extLst>
                <a:ext uri="{FF2B5EF4-FFF2-40B4-BE49-F238E27FC236}">
                  <a16:creationId xmlns:a16="http://schemas.microsoft.com/office/drawing/2014/main" id="{52D7A7BA-58FC-4A79-9AB5-234AB1AE3326}"/>
                </a:ext>
              </a:extLst>
            </p:cNvPr>
            <p:cNvSpPr/>
            <p:nvPr/>
          </p:nvSpPr>
          <p:spPr>
            <a:xfrm>
              <a:off x="10205728" y="6116801"/>
              <a:ext cx="7110" cy="1016"/>
            </a:xfrm>
            <a:custGeom>
              <a:avLst/>
              <a:gdLst>
                <a:gd name="connsiteX0" fmla="*/ 0 w 7110"/>
                <a:gd name="connsiteY0" fmla="*/ 0 h 1016"/>
                <a:gd name="connsiteX1" fmla="*/ 3555 w 7110"/>
                <a:gd name="connsiteY1" fmla="*/ 1016 h 1016"/>
                <a:gd name="connsiteX2" fmla="*/ 7110 w 7110"/>
                <a:gd name="connsiteY2" fmla="*/ 0 h 1016"/>
                <a:gd name="connsiteX3" fmla="*/ 0 w 7110"/>
                <a:gd name="connsiteY3" fmla="*/ 0 h 1016"/>
              </a:gdLst>
              <a:ahLst/>
              <a:cxnLst>
                <a:cxn ang="0">
                  <a:pos x="connsiteX0" y="connsiteY0"/>
                </a:cxn>
                <a:cxn ang="0">
                  <a:pos x="connsiteX1" y="connsiteY1"/>
                </a:cxn>
                <a:cxn ang="0">
                  <a:pos x="connsiteX2" y="connsiteY2"/>
                </a:cxn>
                <a:cxn ang="0">
                  <a:pos x="connsiteX3" y="connsiteY3"/>
                </a:cxn>
              </a:cxnLst>
              <a:rect l="l" t="t" r="r" b="b"/>
              <a:pathLst>
                <a:path w="7110" h="1016">
                  <a:moveTo>
                    <a:pt x="0" y="0"/>
                  </a:moveTo>
                  <a:cubicBezTo>
                    <a:pt x="1257" y="-12"/>
                    <a:pt x="2488" y="343"/>
                    <a:pt x="3555" y="1016"/>
                  </a:cubicBezTo>
                  <a:cubicBezTo>
                    <a:pt x="4622" y="356"/>
                    <a:pt x="5853" y="13"/>
                    <a:pt x="7110" y="0"/>
                  </a:cubicBezTo>
                  <a:lnTo>
                    <a:pt x="0" y="0"/>
                  </a:lnTo>
                  <a:close/>
                </a:path>
              </a:pathLst>
            </a:custGeom>
            <a:solidFill>
              <a:srgbClr val="000000"/>
            </a:solidFill>
            <a:ln w="12690" cap="flat">
              <a:noFill/>
              <a:prstDash val="solid"/>
              <a:miter/>
            </a:ln>
          </p:spPr>
          <p:txBody>
            <a:bodyPr rtlCol="0" anchor="ctr"/>
            <a:lstStyle/>
            <a:p>
              <a:endParaRPr lang="en-US"/>
            </a:p>
          </p:txBody>
        </p:sp>
        <p:sp>
          <p:nvSpPr>
            <p:cNvPr id="1048" name="Freeform: Shape 1047">
              <a:extLst>
                <a:ext uri="{FF2B5EF4-FFF2-40B4-BE49-F238E27FC236}">
                  <a16:creationId xmlns:a16="http://schemas.microsoft.com/office/drawing/2014/main" id="{54703462-D193-4CD4-B9F2-3C006D7232DD}"/>
                </a:ext>
              </a:extLst>
            </p:cNvPr>
            <p:cNvSpPr/>
            <p:nvPr/>
          </p:nvSpPr>
          <p:spPr>
            <a:xfrm>
              <a:off x="12175620" y="6503037"/>
              <a:ext cx="12696" cy="361476"/>
            </a:xfrm>
            <a:custGeom>
              <a:avLst/>
              <a:gdLst>
                <a:gd name="connsiteX0" fmla="*/ 6602 w 12696"/>
                <a:gd name="connsiteY0" fmla="*/ 5079 h 361476"/>
                <a:gd name="connsiteX1" fmla="*/ 0 w 12696"/>
                <a:gd name="connsiteY1" fmla="*/ 0 h 361476"/>
                <a:gd name="connsiteX2" fmla="*/ 0 w 12696"/>
                <a:gd name="connsiteY2" fmla="*/ 889 h 361476"/>
                <a:gd name="connsiteX3" fmla="*/ 0 w 12696"/>
                <a:gd name="connsiteY3" fmla="*/ 1778 h 361476"/>
                <a:gd name="connsiteX4" fmla="*/ 0 w 12696"/>
                <a:gd name="connsiteY4" fmla="*/ 361476 h 361476"/>
                <a:gd name="connsiteX5" fmla="*/ 12697 w 12696"/>
                <a:gd name="connsiteY5" fmla="*/ 361476 h 361476"/>
                <a:gd name="connsiteX6" fmla="*/ 12697 w 12696"/>
                <a:gd name="connsiteY6" fmla="*/ 1397 h 361476"/>
                <a:gd name="connsiteX7" fmla="*/ 6602 w 12696"/>
                <a:gd name="connsiteY7" fmla="*/ 5079 h 36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96" h="361476">
                  <a:moveTo>
                    <a:pt x="6602" y="5079"/>
                  </a:moveTo>
                  <a:cubicBezTo>
                    <a:pt x="3517" y="5028"/>
                    <a:pt x="838" y="2958"/>
                    <a:pt x="0" y="0"/>
                  </a:cubicBezTo>
                  <a:lnTo>
                    <a:pt x="0" y="889"/>
                  </a:lnTo>
                  <a:cubicBezTo>
                    <a:pt x="0" y="889"/>
                    <a:pt x="0" y="1524"/>
                    <a:pt x="0" y="1778"/>
                  </a:cubicBezTo>
                  <a:lnTo>
                    <a:pt x="0" y="361476"/>
                  </a:lnTo>
                  <a:lnTo>
                    <a:pt x="12697" y="361476"/>
                  </a:lnTo>
                  <a:lnTo>
                    <a:pt x="12697" y="1397"/>
                  </a:lnTo>
                  <a:cubicBezTo>
                    <a:pt x="11528" y="3682"/>
                    <a:pt x="9167" y="5117"/>
                    <a:pt x="6602" y="5079"/>
                  </a:cubicBezTo>
                  <a:close/>
                </a:path>
              </a:pathLst>
            </a:custGeom>
            <a:solidFill>
              <a:srgbClr val="000000"/>
            </a:solidFill>
            <a:ln w="12690" cap="flat">
              <a:noFill/>
              <a:prstDash val="solid"/>
              <a:miter/>
            </a:ln>
          </p:spPr>
          <p:txBody>
            <a:bodyPr rtlCol="0" anchor="ctr"/>
            <a:lstStyle/>
            <a:p>
              <a:endParaRPr lang="en-US"/>
            </a:p>
          </p:txBody>
        </p:sp>
        <p:sp>
          <p:nvSpPr>
            <p:cNvPr id="1049" name="Freeform: Shape 1048">
              <a:extLst>
                <a:ext uri="{FF2B5EF4-FFF2-40B4-BE49-F238E27FC236}">
                  <a16:creationId xmlns:a16="http://schemas.microsoft.com/office/drawing/2014/main" id="{40313ABF-2B32-46F7-AA07-969EA94699A6}"/>
                </a:ext>
              </a:extLst>
            </p:cNvPr>
            <p:cNvSpPr/>
            <p:nvPr/>
          </p:nvSpPr>
          <p:spPr>
            <a:xfrm>
              <a:off x="9553245" y="5604604"/>
              <a:ext cx="123158" cy="13850"/>
            </a:xfrm>
            <a:custGeom>
              <a:avLst/>
              <a:gdLst>
                <a:gd name="connsiteX0" fmla="*/ 0 w 123158"/>
                <a:gd name="connsiteY0" fmla="*/ 6994 h 13850"/>
                <a:gd name="connsiteX1" fmla="*/ 6857 w 123158"/>
                <a:gd name="connsiteY1" fmla="*/ 13850 h 13850"/>
                <a:gd name="connsiteX2" fmla="*/ 123158 w 123158"/>
                <a:gd name="connsiteY2" fmla="*/ 13850 h 13850"/>
                <a:gd name="connsiteX3" fmla="*/ 116175 w 123158"/>
                <a:gd name="connsiteY3" fmla="*/ 6994 h 13850"/>
                <a:gd name="connsiteX4" fmla="*/ 123158 w 123158"/>
                <a:gd name="connsiteY4" fmla="*/ 11 h 13850"/>
                <a:gd name="connsiteX5" fmla="*/ 7364 w 123158"/>
                <a:gd name="connsiteY5" fmla="*/ 11 h 13850"/>
                <a:gd name="connsiteX6" fmla="*/ 13 w 123158"/>
                <a:gd name="connsiteY6" fmla="*/ 6603 h 13850"/>
                <a:gd name="connsiteX7" fmla="*/ 0 w 123158"/>
                <a:gd name="connsiteY7" fmla="*/ 6994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58" h="13850">
                  <a:moveTo>
                    <a:pt x="0" y="6994"/>
                  </a:moveTo>
                  <a:cubicBezTo>
                    <a:pt x="0" y="10780"/>
                    <a:pt x="3073" y="13850"/>
                    <a:pt x="6857" y="13850"/>
                  </a:cubicBezTo>
                  <a:lnTo>
                    <a:pt x="123158" y="13850"/>
                  </a:lnTo>
                  <a:cubicBezTo>
                    <a:pt x="119349" y="13850"/>
                    <a:pt x="116239" y="10800"/>
                    <a:pt x="116175" y="6994"/>
                  </a:cubicBezTo>
                  <a:cubicBezTo>
                    <a:pt x="116175" y="3137"/>
                    <a:pt x="119298" y="11"/>
                    <a:pt x="123158" y="11"/>
                  </a:cubicBezTo>
                  <a:lnTo>
                    <a:pt x="7364" y="11"/>
                  </a:lnTo>
                  <a:cubicBezTo>
                    <a:pt x="3517" y="-200"/>
                    <a:pt x="216" y="2752"/>
                    <a:pt x="13" y="6603"/>
                  </a:cubicBezTo>
                  <a:cubicBezTo>
                    <a:pt x="0" y="6732"/>
                    <a:pt x="0" y="6863"/>
                    <a:pt x="0" y="6994"/>
                  </a:cubicBezTo>
                  <a:close/>
                </a:path>
              </a:pathLst>
            </a:custGeom>
            <a:solidFill>
              <a:schemeClr val="accent5"/>
            </a:solidFill>
            <a:ln w="12690" cap="flat">
              <a:noFill/>
              <a:prstDash val="solid"/>
              <a:miter/>
            </a:ln>
          </p:spPr>
          <p:txBody>
            <a:bodyPr rtlCol="0" anchor="ctr"/>
            <a:lstStyle/>
            <a:p>
              <a:endParaRPr lang="en-US"/>
            </a:p>
          </p:txBody>
        </p:sp>
        <p:sp>
          <p:nvSpPr>
            <p:cNvPr id="1050" name="Freeform: Shape 1049">
              <a:extLst>
                <a:ext uri="{FF2B5EF4-FFF2-40B4-BE49-F238E27FC236}">
                  <a16:creationId xmlns:a16="http://schemas.microsoft.com/office/drawing/2014/main" id="{5D12F006-348E-4C60-B5AD-55010EFB745A}"/>
                </a:ext>
              </a:extLst>
            </p:cNvPr>
            <p:cNvSpPr/>
            <p:nvPr/>
          </p:nvSpPr>
          <p:spPr>
            <a:xfrm>
              <a:off x="9669420" y="5604615"/>
              <a:ext cx="51929" cy="13839"/>
            </a:xfrm>
            <a:custGeom>
              <a:avLst/>
              <a:gdLst>
                <a:gd name="connsiteX0" fmla="*/ 0 w 51929"/>
                <a:gd name="connsiteY0" fmla="*/ 6983 h 13839"/>
                <a:gd name="connsiteX1" fmla="*/ 6983 w 51929"/>
                <a:gd name="connsiteY1" fmla="*/ 13840 h 13839"/>
                <a:gd name="connsiteX2" fmla="*/ 45073 w 51929"/>
                <a:gd name="connsiteY2" fmla="*/ 13840 h 13839"/>
                <a:gd name="connsiteX3" fmla="*/ 51929 w 51929"/>
                <a:gd name="connsiteY3" fmla="*/ 6983 h 13839"/>
                <a:gd name="connsiteX4" fmla="*/ 45073 w 51929"/>
                <a:gd name="connsiteY4" fmla="*/ 0 h 13839"/>
                <a:gd name="connsiteX5" fmla="*/ 6983 w 51929"/>
                <a:gd name="connsiteY5" fmla="*/ 0 h 13839"/>
                <a:gd name="connsiteX6" fmla="*/ 0 w 5192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29" h="13839">
                  <a:moveTo>
                    <a:pt x="0" y="6983"/>
                  </a:moveTo>
                  <a:cubicBezTo>
                    <a:pt x="64" y="10790"/>
                    <a:pt x="3174" y="13840"/>
                    <a:pt x="6983" y="13840"/>
                  </a:cubicBezTo>
                  <a:lnTo>
                    <a:pt x="45073" y="13840"/>
                  </a:lnTo>
                  <a:cubicBezTo>
                    <a:pt x="48857" y="13840"/>
                    <a:pt x="51929" y="10769"/>
                    <a:pt x="51929" y="6983"/>
                  </a:cubicBezTo>
                  <a:cubicBezTo>
                    <a:pt x="51929" y="3176"/>
                    <a:pt x="48882" y="70"/>
                    <a:pt x="45073" y="0"/>
                  </a:cubicBezTo>
                  <a:lnTo>
                    <a:pt x="6983" y="0"/>
                  </a:lnTo>
                  <a:cubicBezTo>
                    <a:pt x="3123" y="0"/>
                    <a:pt x="0" y="3126"/>
                    <a:pt x="0" y="6983"/>
                  </a:cubicBezTo>
                  <a:close/>
                </a:path>
              </a:pathLst>
            </a:custGeom>
            <a:solidFill>
              <a:srgbClr val="000000"/>
            </a:solidFill>
            <a:ln w="12690" cap="flat">
              <a:noFill/>
              <a:prstDash val="solid"/>
              <a:miter/>
            </a:ln>
          </p:spPr>
          <p:txBody>
            <a:bodyPr rtlCol="0" anchor="ctr"/>
            <a:lstStyle/>
            <a:p>
              <a:endParaRPr lang="en-US"/>
            </a:p>
          </p:txBody>
        </p:sp>
        <p:sp>
          <p:nvSpPr>
            <p:cNvPr id="1051" name="Freeform: Shape 1050">
              <a:extLst>
                <a:ext uri="{FF2B5EF4-FFF2-40B4-BE49-F238E27FC236}">
                  <a16:creationId xmlns:a16="http://schemas.microsoft.com/office/drawing/2014/main" id="{FBFDE5C1-5F08-4130-BBB8-E76977B4EB1F}"/>
                </a:ext>
              </a:extLst>
            </p:cNvPr>
            <p:cNvSpPr/>
            <p:nvPr/>
          </p:nvSpPr>
          <p:spPr>
            <a:xfrm>
              <a:off x="12175318" y="6500244"/>
              <a:ext cx="12617" cy="7871"/>
            </a:xfrm>
            <a:custGeom>
              <a:avLst/>
              <a:gdLst>
                <a:gd name="connsiteX0" fmla="*/ 6904 w 12617"/>
                <a:gd name="connsiteY0" fmla="*/ 6856 h 7871"/>
                <a:gd name="connsiteX1" fmla="*/ 48 w 12617"/>
                <a:gd name="connsiteY1" fmla="*/ 0 h 7871"/>
                <a:gd name="connsiteX2" fmla="*/ 48 w 12617"/>
                <a:gd name="connsiteY2" fmla="*/ 1016 h 7871"/>
                <a:gd name="connsiteX3" fmla="*/ 48 w 12617"/>
                <a:gd name="connsiteY3" fmla="*/ 2793 h 7871"/>
                <a:gd name="connsiteX4" fmla="*/ 6650 w 12617"/>
                <a:gd name="connsiteY4" fmla="*/ 7872 h 7871"/>
                <a:gd name="connsiteX5" fmla="*/ 12617 w 12617"/>
                <a:gd name="connsiteY5" fmla="*/ 4190 h 7871"/>
                <a:gd name="connsiteX6" fmla="*/ 12617 w 12617"/>
                <a:gd name="connsiteY6" fmla="*/ 3174 h 7871"/>
                <a:gd name="connsiteX7" fmla="*/ 6904 w 12617"/>
                <a:gd name="connsiteY7" fmla="*/ 6856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17" h="7871">
                  <a:moveTo>
                    <a:pt x="6904" y="6856"/>
                  </a:moveTo>
                  <a:cubicBezTo>
                    <a:pt x="3120" y="6856"/>
                    <a:pt x="48" y="3783"/>
                    <a:pt x="48" y="0"/>
                  </a:cubicBezTo>
                  <a:lnTo>
                    <a:pt x="48" y="1016"/>
                  </a:lnTo>
                  <a:cubicBezTo>
                    <a:pt x="-16" y="1612"/>
                    <a:pt x="-16" y="2196"/>
                    <a:pt x="48" y="2793"/>
                  </a:cubicBezTo>
                  <a:cubicBezTo>
                    <a:pt x="885" y="5751"/>
                    <a:pt x="3564" y="7821"/>
                    <a:pt x="6650" y="7872"/>
                  </a:cubicBezTo>
                  <a:cubicBezTo>
                    <a:pt x="9177" y="7859"/>
                    <a:pt x="11475" y="6437"/>
                    <a:pt x="12617" y="4190"/>
                  </a:cubicBezTo>
                  <a:lnTo>
                    <a:pt x="12617" y="3174"/>
                  </a:lnTo>
                  <a:cubicBezTo>
                    <a:pt x="11513" y="5345"/>
                    <a:pt x="9329" y="6755"/>
                    <a:pt x="6904" y="6856"/>
                  </a:cubicBezTo>
                  <a:close/>
                </a:path>
              </a:pathLst>
            </a:custGeom>
            <a:solidFill>
              <a:srgbClr val="000000"/>
            </a:solidFill>
            <a:ln w="12690" cap="flat">
              <a:noFill/>
              <a:prstDash val="solid"/>
              <a:miter/>
            </a:ln>
          </p:spPr>
          <p:txBody>
            <a:bodyPr rtlCol="0" anchor="ctr"/>
            <a:lstStyle/>
            <a:p>
              <a:endParaRPr lang="en-US"/>
            </a:p>
          </p:txBody>
        </p:sp>
        <p:sp>
          <p:nvSpPr>
            <p:cNvPr id="1052" name="Freeform: Shape 1051">
              <a:extLst>
                <a:ext uri="{FF2B5EF4-FFF2-40B4-BE49-F238E27FC236}">
                  <a16:creationId xmlns:a16="http://schemas.microsoft.com/office/drawing/2014/main" id="{1A999C5B-70F2-404D-A43A-53DC0F9BC4AB}"/>
                </a:ext>
              </a:extLst>
            </p:cNvPr>
            <p:cNvSpPr/>
            <p:nvPr/>
          </p:nvSpPr>
          <p:spPr>
            <a:xfrm>
              <a:off x="12176128" y="6417697"/>
              <a:ext cx="12842" cy="88894"/>
            </a:xfrm>
            <a:custGeom>
              <a:avLst/>
              <a:gdLst>
                <a:gd name="connsiteX0" fmla="*/ 0 w 12842"/>
                <a:gd name="connsiteY0" fmla="*/ 4588 h 88894"/>
                <a:gd name="connsiteX1" fmla="*/ 0 w 12842"/>
                <a:gd name="connsiteY1" fmla="*/ 5858 h 88894"/>
                <a:gd name="connsiteX2" fmla="*/ 0 w 12842"/>
                <a:gd name="connsiteY2" fmla="*/ 82038 h 88894"/>
                <a:gd name="connsiteX3" fmla="*/ 6856 w 12842"/>
                <a:gd name="connsiteY3" fmla="*/ 88895 h 88894"/>
                <a:gd name="connsiteX4" fmla="*/ 12824 w 12842"/>
                <a:gd name="connsiteY4" fmla="*/ 85213 h 88894"/>
                <a:gd name="connsiteX5" fmla="*/ 12824 w 12842"/>
                <a:gd name="connsiteY5" fmla="*/ 2684 h 88894"/>
                <a:gd name="connsiteX6" fmla="*/ 12824 w 12842"/>
                <a:gd name="connsiteY6" fmla="*/ 2684 h 88894"/>
                <a:gd name="connsiteX7" fmla="*/ 12824 w 12842"/>
                <a:gd name="connsiteY7" fmla="*/ 1668 h 88894"/>
                <a:gd name="connsiteX8" fmla="*/ 11681 w 12842"/>
                <a:gd name="connsiteY8" fmla="*/ 906 h 88894"/>
                <a:gd name="connsiteX9" fmla="*/ 10538 w 12842"/>
                <a:gd name="connsiteY9" fmla="*/ 144 h 88894"/>
                <a:gd name="connsiteX10" fmla="*/ 9268 w 12842"/>
                <a:gd name="connsiteY10" fmla="*/ 144 h 88894"/>
                <a:gd name="connsiteX11" fmla="*/ 7872 w 12842"/>
                <a:gd name="connsiteY11" fmla="*/ 144 h 88894"/>
                <a:gd name="connsiteX12" fmla="*/ 0 w 12842"/>
                <a:gd name="connsiteY12" fmla="*/ 4588 h 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42" h="88894">
                  <a:moveTo>
                    <a:pt x="0" y="4588"/>
                  </a:moveTo>
                  <a:cubicBezTo>
                    <a:pt x="0" y="4588"/>
                    <a:pt x="0" y="5350"/>
                    <a:pt x="0" y="5858"/>
                  </a:cubicBezTo>
                  <a:lnTo>
                    <a:pt x="0" y="82038"/>
                  </a:lnTo>
                  <a:cubicBezTo>
                    <a:pt x="0" y="85822"/>
                    <a:pt x="3073" y="88895"/>
                    <a:pt x="6856" y="88895"/>
                  </a:cubicBezTo>
                  <a:cubicBezTo>
                    <a:pt x="9383" y="88882"/>
                    <a:pt x="11681" y="87460"/>
                    <a:pt x="12824" y="85213"/>
                  </a:cubicBezTo>
                  <a:lnTo>
                    <a:pt x="12824" y="2684"/>
                  </a:lnTo>
                  <a:lnTo>
                    <a:pt x="12824" y="2684"/>
                  </a:lnTo>
                  <a:cubicBezTo>
                    <a:pt x="12849" y="2341"/>
                    <a:pt x="12849" y="2011"/>
                    <a:pt x="12824" y="1668"/>
                  </a:cubicBezTo>
                  <a:cubicBezTo>
                    <a:pt x="12468" y="1376"/>
                    <a:pt x="12088" y="1109"/>
                    <a:pt x="11681" y="906"/>
                  </a:cubicBezTo>
                  <a:cubicBezTo>
                    <a:pt x="11681" y="906"/>
                    <a:pt x="11681" y="906"/>
                    <a:pt x="10538" y="144"/>
                  </a:cubicBezTo>
                  <a:lnTo>
                    <a:pt x="9268" y="144"/>
                  </a:lnTo>
                  <a:lnTo>
                    <a:pt x="7872" y="144"/>
                  </a:lnTo>
                  <a:cubicBezTo>
                    <a:pt x="4507" y="-554"/>
                    <a:pt x="1143" y="1338"/>
                    <a:pt x="0" y="4588"/>
                  </a:cubicBezTo>
                  <a:close/>
                </a:path>
              </a:pathLst>
            </a:custGeom>
            <a:solidFill>
              <a:srgbClr val="000000"/>
            </a:solidFill>
            <a:ln w="12690" cap="flat">
              <a:noFill/>
              <a:prstDash val="solid"/>
              <a:miter/>
            </a:ln>
          </p:spPr>
          <p:txBody>
            <a:bodyPr rtlCol="0" anchor="ctr"/>
            <a:lstStyle/>
            <a:p>
              <a:endParaRPr lang="en-US"/>
            </a:p>
          </p:txBody>
        </p:sp>
        <p:sp>
          <p:nvSpPr>
            <p:cNvPr id="1053" name="Freeform: Shape 1052">
              <a:extLst>
                <a:ext uri="{FF2B5EF4-FFF2-40B4-BE49-F238E27FC236}">
                  <a16:creationId xmlns:a16="http://schemas.microsoft.com/office/drawing/2014/main" id="{A664CCB7-CA62-4B18-A70D-6DA888B77A0A}"/>
                </a:ext>
              </a:extLst>
            </p:cNvPr>
            <p:cNvSpPr/>
            <p:nvPr/>
          </p:nvSpPr>
          <p:spPr>
            <a:xfrm>
              <a:off x="11766278" y="6501894"/>
              <a:ext cx="13712" cy="7999"/>
            </a:xfrm>
            <a:custGeom>
              <a:avLst/>
              <a:gdLst>
                <a:gd name="connsiteX0" fmla="*/ 6857 w 13712"/>
                <a:gd name="connsiteY0" fmla="*/ 6856 h 7999"/>
                <a:gd name="connsiteX1" fmla="*/ 0 w 13712"/>
                <a:gd name="connsiteY1" fmla="*/ 0 h 7999"/>
                <a:gd name="connsiteX2" fmla="*/ 0 w 13712"/>
                <a:gd name="connsiteY2" fmla="*/ 1143 h 7999"/>
                <a:gd name="connsiteX3" fmla="*/ 6857 w 13712"/>
                <a:gd name="connsiteY3" fmla="*/ 7999 h 7999"/>
                <a:gd name="connsiteX4" fmla="*/ 13713 w 13712"/>
                <a:gd name="connsiteY4" fmla="*/ 1143 h 7999"/>
                <a:gd name="connsiteX5" fmla="*/ 13713 w 13712"/>
                <a:gd name="connsiteY5" fmla="*/ 0 h 7999"/>
                <a:gd name="connsiteX6" fmla="*/ 6857 w 13712"/>
                <a:gd name="connsiteY6" fmla="*/ 6856 h 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999">
                  <a:moveTo>
                    <a:pt x="6857" y="6856"/>
                  </a:moveTo>
                  <a:cubicBezTo>
                    <a:pt x="3073" y="6856"/>
                    <a:pt x="0" y="3784"/>
                    <a:pt x="0" y="0"/>
                  </a:cubicBezTo>
                  <a:lnTo>
                    <a:pt x="0" y="1143"/>
                  </a:lnTo>
                  <a:cubicBezTo>
                    <a:pt x="0" y="4926"/>
                    <a:pt x="3073" y="7999"/>
                    <a:pt x="6857" y="7999"/>
                  </a:cubicBezTo>
                  <a:cubicBezTo>
                    <a:pt x="10640" y="7999"/>
                    <a:pt x="13713" y="4926"/>
                    <a:pt x="13713" y="1143"/>
                  </a:cubicBezTo>
                  <a:lnTo>
                    <a:pt x="13713" y="0"/>
                  </a:lnTo>
                  <a:cubicBezTo>
                    <a:pt x="13713" y="3784"/>
                    <a:pt x="10640" y="6856"/>
                    <a:pt x="6857" y="6856"/>
                  </a:cubicBezTo>
                  <a:close/>
                </a:path>
              </a:pathLst>
            </a:custGeom>
            <a:solidFill>
              <a:srgbClr val="000000"/>
            </a:solidFill>
            <a:ln w="12690" cap="flat">
              <a:noFill/>
              <a:prstDash val="solid"/>
              <a:miter/>
            </a:ln>
          </p:spPr>
          <p:txBody>
            <a:bodyPr rtlCol="0" anchor="ctr"/>
            <a:lstStyle/>
            <a:p>
              <a:endParaRPr lang="en-US"/>
            </a:p>
          </p:txBody>
        </p:sp>
        <p:sp>
          <p:nvSpPr>
            <p:cNvPr id="1054" name="Freeform: Shape 1053">
              <a:extLst>
                <a:ext uri="{FF2B5EF4-FFF2-40B4-BE49-F238E27FC236}">
                  <a16:creationId xmlns:a16="http://schemas.microsoft.com/office/drawing/2014/main" id="{B9679EE4-09C2-4A6C-AC97-DC402DE3FC2F}"/>
                </a:ext>
              </a:extLst>
            </p:cNvPr>
            <p:cNvSpPr/>
            <p:nvPr/>
          </p:nvSpPr>
          <p:spPr>
            <a:xfrm>
              <a:off x="11217909" y="6805093"/>
              <a:ext cx="13711" cy="27297"/>
            </a:xfrm>
            <a:custGeom>
              <a:avLst/>
              <a:gdLst>
                <a:gd name="connsiteX0" fmla="*/ 13712 w 13711"/>
                <a:gd name="connsiteY0" fmla="*/ 889 h 27297"/>
                <a:gd name="connsiteX1" fmla="*/ 13712 w 13711"/>
                <a:gd name="connsiteY1" fmla="*/ 0 h 27297"/>
                <a:gd name="connsiteX2" fmla="*/ 6856 w 13711"/>
                <a:gd name="connsiteY2" fmla="*/ 6856 h 27297"/>
                <a:gd name="connsiteX3" fmla="*/ 0 w 13711"/>
                <a:gd name="connsiteY3" fmla="*/ 0 h 27297"/>
                <a:gd name="connsiteX4" fmla="*/ 0 w 13711"/>
                <a:gd name="connsiteY4" fmla="*/ 20442 h 27297"/>
                <a:gd name="connsiteX5" fmla="*/ 6856 w 13711"/>
                <a:gd name="connsiteY5" fmla="*/ 27298 h 27297"/>
                <a:gd name="connsiteX6" fmla="*/ 13712 w 13711"/>
                <a:gd name="connsiteY6" fmla="*/ 20442 h 27297"/>
                <a:gd name="connsiteX7" fmla="*/ 13712 w 13711"/>
                <a:gd name="connsiteY7" fmla="*/ 1270 h 2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1" h="27297">
                  <a:moveTo>
                    <a:pt x="13712" y="889"/>
                  </a:moveTo>
                  <a:lnTo>
                    <a:pt x="13712" y="0"/>
                  </a:lnTo>
                  <a:cubicBezTo>
                    <a:pt x="13712" y="3784"/>
                    <a:pt x="10639" y="6856"/>
                    <a:pt x="6856" y="6856"/>
                  </a:cubicBezTo>
                  <a:cubicBezTo>
                    <a:pt x="3072" y="6856"/>
                    <a:pt x="0" y="3784"/>
                    <a:pt x="0" y="0"/>
                  </a:cubicBezTo>
                  <a:lnTo>
                    <a:pt x="0" y="20442"/>
                  </a:lnTo>
                  <a:cubicBezTo>
                    <a:pt x="0" y="24225"/>
                    <a:pt x="3072" y="27298"/>
                    <a:pt x="6856" y="27298"/>
                  </a:cubicBezTo>
                  <a:cubicBezTo>
                    <a:pt x="10639" y="27298"/>
                    <a:pt x="13712" y="24225"/>
                    <a:pt x="13712" y="20442"/>
                  </a:cubicBezTo>
                  <a:lnTo>
                    <a:pt x="13712" y="1270"/>
                  </a:lnTo>
                  <a:close/>
                </a:path>
              </a:pathLst>
            </a:custGeom>
            <a:solidFill>
              <a:srgbClr val="000000"/>
            </a:solidFill>
            <a:ln w="12690" cap="flat">
              <a:noFill/>
              <a:prstDash val="solid"/>
              <a:miter/>
            </a:ln>
          </p:spPr>
          <p:txBody>
            <a:bodyPr rtlCol="0" anchor="ctr"/>
            <a:lstStyle/>
            <a:p>
              <a:endParaRPr lang="en-US"/>
            </a:p>
          </p:txBody>
        </p:sp>
        <p:sp>
          <p:nvSpPr>
            <p:cNvPr id="1055" name="Freeform: Shape 1054">
              <a:extLst>
                <a:ext uri="{FF2B5EF4-FFF2-40B4-BE49-F238E27FC236}">
                  <a16:creationId xmlns:a16="http://schemas.microsoft.com/office/drawing/2014/main" id="{1F5C3D57-0FA2-42CA-AE57-18B3E2945124}"/>
                </a:ext>
              </a:extLst>
            </p:cNvPr>
            <p:cNvSpPr/>
            <p:nvPr/>
          </p:nvSpPr>
          <p:spPr>
            <a:xfrm>
              <a:off x="10058954" y="6111088"/>
              <a:ext cx="3174" cy="5713"/>
            </a:xfrm>
            <a:custGeom>
              <a:avLst/>
              <a:gdLst>
                <a:gd name="connsiteX0" fmla="*/ 3174 w 3174"/>
                <a:gd name="connsiteY0" fmla="*/ 5714 h 5713"/>
                <a:gd name="connsiteX1" fmla="*/ 0 w 3174"/>
                <a:gd name="connsiteY1" fmla="*/ 0 h 5713"/>
                <a:gd name="connsiteX2" fmla="*/ 0 w 3174"/>
                <a:gd name="connsiteY2" fmla="*/ 2032 h 5713"/>
                <a:gd name="connsiteX3" fmla="*/ 1143 w 3174"/>
                <a:gd name="connsiteY3" fmla="*/ 5714 h 5713"/>
              </a:gdLst>
              <a:ahLst/>
              <a:cxnLst>
                <a:cxn ang="0">
                  <a:pos x="connsiteX0" y="connsiteY0"/>
                </a:cxn>
                <a:cxn ang="0">
                  <a:pos x="connsiteX1" y="connsiteY1"/>
                </a:cxn>
                <a:cxn ang="0">
                  <a:pos x="connsiteX2" y="connsiteY2"/>
                </a:cxn>
                <a:cxn ang="0">
                  <a:pos x="connsiteX3" y="connsiteY3"/>
                </a:cxn>
              </a:cxnLst>
              <a:rect l="l" t="t" r="r" b="b"/>
              <a:pathLst>
                <a:path w="3174" h="5713">
                  <a:moveTo>
                    <a:pt x="3174" y="5714"/>
                  </a:moveTo>
                  <a:cubicBezTo>
                    <a:pt x="1219" y="4469"/>
                    <a:pt x="26" y="2324"/>
                    <a:pt x="0" y="0"/>
                  </a:cubicBezTo>
                  <a:lnTo>
                    <a:pt x="0" y="2032"/>
                  </a:lnTo>
                  <a:cubicBezTo>
                    <a:pt x="51" y="3339"/>
                    <a:pt x="444" y="4609"/>
                    <a:pt x="1143" y="5714"/>
                  </a:cubicBezTo>
                  <a:close/>
                </a:path>
              </a:pathLst>
            </a:custGeom>
            <a:solidFill>
              <a:srgbClr val="000000"/>
            </a:solidFill>
            <a:ln w="12690" cap="flat">
              <a:noFill/>
              <a:prstDash val="solid"/>
              <a:miter/>
            </a:ln>
          </p:spPr>
          <p:txBody>
            <a:bodyPr rtlCol="0" anchor="ctr"/>
            <a:lstStyle/>
            <a:p>
              <a:endParaRPr lang="en-US"/>
            </a:p>
          </p:txBody>
        </p:sp>
        <p:sp>
          <p:nvSpPr>
            <p:cNvPr id="1056" name="Freeform: Shape 1055">
              <a:extLst>
                <a:ext uri="{FF2B5EF4-FFF2-40B4-BE49-F238E27FC236}">
                  <a16:creationId xmlns:a16="http://schemas.microsoft.com/office/drawing/2014/main" id="{1BA98A44-EF6A-4BB3-9EB2-31C99CCEDDF4}"/>
                </a:ext>
              </a:extLst>
            </p:cNvPr>
            <p:cNvSpPr/>
            <p:nvPr/>
          </p:nvSpPr>
          <p:spPr>
            <a:xfrm>
              <a:off x="10069493" y="6111088"/>
              <a:ext cx="3301" cy="5713"/>
            </a:xfrm>
            <a:custGeom>
              <a:avLst/>
              <a:gdLst>
                <a:gd name="connsiteX0" fmla="*/ 3301 w 3301"/>
                <a:gd name="connsiteY0" fmla="*/ 2032 h 5713"/>
                <a:gd name="connsiteX1" fmla="*/ 3301 w 3301"/>
                <a:gd name="connsiteY1" fmla="*/ 0 h 5713"/>
                <a:gd name="connsiteX2" fmla="*/ 0 w 3301"/>
                <a:gd name="connsiteY2" fmla="*/ 5714 h 5713"/>
                <a:gd name="connsiteX3" fmla="*/ 2031 w 3301"/>
                <a:gd name="connsiteY3" fmla="*/ 5714 h 5713"/>
                <a:gd name="connsiteX4" fmla="*/ 3301 w 3301"/>
                <a:gd name="connsiteY4" fmla="*/ 2032 h 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 h="5713">
                  <a:moveTo>
                    <a:pt x="3301" y="2032"/>
                  </a:moveTo>
                  <a:lnTo>
                    <a:pt x="3301" y="0"/>
                  </a:lnTo>
                  <a:cubicBezTo>
                    <a:pt x="3225" y="2336"/>
                    <a:pt x="1993" y="4482"/>
                    <a:pt x="0" y="5714"/>
                  </a:cubicBezTo>
                  <a:lnTo>
                    <a:pt x="2031" y="5714"/>
                  </a:lnTo>
                  <a:cubicBezTo>
                    <a:pt x="2818" y="4647"/>
                    <a:pt x="3263" y="3365"/>
                    <a:pt x="3301" y="2032"/>
                  </a:cubicBezTo>
                  <a:close/>
                </a:path>
              </a:pathLst>
            </a:custGeom>
            <a:solidFill>
              <a:srgbClr val="000000"/>
            </a:solidFill>
            <a:ln w="12690" cap="flat">
              <a:noFill/>
              <a:prstDash val="solid"/>
              <a:miter/>
            </a:ln>
          </p:spPr>
          <p:txBody>
            <a:bodyPr rtlCol="0" anchor="ctr"/>
            <a:lstStyle/>
            <a:p>
              <a:endParaRPr lang="en-US"/>
            </a:p>
          </p:txBody>
        </p:sp>
        <p:sp>
          <p:nvSpPr>
            <p:cNvPr id="1057" name="Freeform: Shape 1056">
              <a:extLst>
                <a:ext uri="{FF2B5EF4-FFF2-40B4-BE49-F238E27FC236}">
                  <a16:creationId xmlns:a16="http://schemas.microsoft.com/office/drawing/2014/main" id="{4B44F9E1-5BDD-4E51-9438-644C66E08E34}"/>
                </a:ext>
              </a:extLst>
            </p:cNvPr>
            <p:cNvSpPr/>
            <p:nvPr/>
          </p:nvSpPr>
          <p:spPr>
            <a:xfrm>
              <a:off x="10058954" y="6087091"/>
              <a:ext cx="13839" cy="29710"/>
            </a:xfrm>
            <a:custGeom>
              <a:avLst/>
              <a:gdLst>
                <a:gd name="connsiteX0" fmla="*/ 3174 w 13839"/>
                <a:gd name="connsiteY0" fmla="*/ 29710 h 29710"/>
                <a:gd name="connsiteX1" fmla="*/ 10538 w 13839"/>
                <a:gd name="connsiteY1" fmla="*/ 29710 h 29710"/>
                <a:gd name="connsiteX2" fmla="*/ 13840 w 13839"/>
                <a:gd name="connsiteY2" fmla="*/ 23997 h 29710"/>
                <a:gd name="connsiteX3" fmla="*/ 13840 w 13839"/>
                <a:gd name="connsiteY3" fmla="*/ 6983 h 29710"/>
                <a:gd name="connsiteX4" fmla="*/ 6856 w 13839"/>
                <a:gd name="connsiteY4" fmla="*/ 0 h 29710"/>
                <a:gd name="connsiteX5" fmla="*/ 0 w 13839"/>
                <a:gd name="connsiteY5" fmla="*/ 6983 h 29710"/>
                <a:gd name="connsiteX6" fmla="*/ 0 w 13839"/>
                <a:gd name="connsiteY6" fmla="*/ 24632 h 29710"/>
                <a:gd name="connsiteX7" fmla="*/ 3174 w 13839"/>
                <a:gd name="connsiteY7" fmla="*/ 29710 h 2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9710">
                  <a:moveTo>
                    <a:pt x="3174" y="29710"/>
                  </a:moveTo>
                  <a:lnTo>
                    <a:pt x="10538" y="29710"/>
                  </a:lnTo>
                  <a:cubicBezTo>
                    <a:pt x="12532" y="28479"/>
                    <a:pt x="13763" y="26333"/>
                    <a:pt x="13840" y="23997"/>
                  </a:cubicBezTo>
                  <a:lnTo>
                    <a:pt x="13840" y="6983"/>
                  </a:lnTo>
                  <a:cubicBezTo>
                    <a:pt x="13840" y="3123"/>
                    <a:pt x="10716" y="0"/>
                    <a:pt x="6856" y="0"/>
                  </a:cubicBezTo>
                  <a:cubicBezTo>
                    <a:pt x="3047" y="64"/>
                    <a:pt x="0" y="3174"/>
                    <a:pt x="0" y="6983"/>
                  </a:cubicBezTo>
                  <a:lnTo>
                    <a:pt x="0" y="24632"/>
                  </a:lnTo>
                  <a:cubicBezTo>
                    <a:pt x="229" y="26727"/>
                    <a:pt x="1396" y="28593"/>
                    <a:pt x="3174" y="29710"/>
                  </a:cubicBezTo>
                  <a:close/>
                </a:path>
              </a:pathLst>
            </a:custGeom>
            <a:solidFill>
              <a:srgbClr val="000000"/>
            </a:solidFill>
            <a:ln w="12690" cap="flat">
              <a:noFill/>
              <a:prstDash val="solid"/>
              <a:miter/>
            </a:ln>
          </p:spPr>
          <p:txBody>
            <a:bodyPr rtlCol="0" anchor="ctr"/>
            <a:lstStyle/>
            <a:p>
              <a:endParaRPr lang="en-US"/>
            </a:p>
          </p:txBody>
        </p:sp>
        <p:sp>
          <p:nvSpPr>
            <p:cNvPr id="1058" name="Freeform: Shape 1057">
              <a:extLst>
                <a:ext uri="{FF2B5EF4-FFF2-40B4-BE49-F238E27FC236}">
                  <a16:creationId xmlns:a16="http://schemas.microsoft.com/office/drawing/2014/main" id="{15175ADB-485B-454C-8CE6-8BC7BCA928EE}"/>
                </a:ext>
              </a:extLst>
            </p:cNvPr>
            <p:cNvSpPr/>
            <p:nvPr/>
          </p:nvSpPr>
          <p:spPr>
            <a:xfrm>
              <a:off x="10066064" y="6116801"/>
              <a:ext cx="143219" cy="13713"/>
            </a:xfrm>
            <a:custGeom>
              <a:avLst/>
              <a:gdLst>
                <a:gd name="connsiteX0" fmla="*/ 139918 w 143219"/>
                <a:gd name="connsiteY0" fmla="*/ 6857 h 13713"/>
                <a:gd name="connsiteX1" fmla="*/ 143219 w 143219"/>
                <a:gd name="connsiteY1" fmla="*/ 1016 h 13713"/>
                <a:gd name="connsiteX2" fmla="*/ 139664 w 143219"/>
                <a:gd name="connsiteY2" fmla="*/ 0 h 13713"/>
                <a:gd name="connsiteX3" fmla="*/ 0 w 143219"/>
                <a:gd name="connsiteY3" fmla="*/ 0 h 13713"/>
                <a:gd name="connsiteX4" fmla="*/ 6856 w 143219"/>
                <a:gd name="connsiteY4" fmla="*/ 6857 h 13713"/>
                <a:gd name="connsiteX5" fmla="*/ 0 w 143219"/>
                <a:gd name="connsiteY5" fmla="*/ 13713 h 13713"/>
                <a:gd name="connsiteX6" fmla="*/ 139664 w 143219"/>
                <a:gd name="connsiteY6" fmla="*/ 13713 h 13713"/>
                <a:gd name="connsiteX7" fmla="*/ 143219 w 143219"/>
                <a:gd name="connsiteY7" fmla="*/ 12570 h 13713"/>
                <a:gd name="connsiteX8" fmla="*/ 139918 w 143219"/>
                <a:gd name="connsiteY8" fmla="*/ 6857 h 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19" h="13713">
                  <a:moveTo>
                    <a:pt x="139918" y="6857"/>
                  </a:moveTo>
                  <a:cubicBezTo>
                    <a:pt x="139956" y="4470"/>
                    <a:pt x="141200" y="2273"/>
                    <a:pt x="143219" y="1016"/>
                  </a:cubicBezTo>
                  <a:cubicBezTo>
                    <a:pt x="142152" y="343"/>
                    <a:pt x="140921" y="-12"/>
                    <a:pt x="139664" y="0"/>
                  </a:cubicBezTo>
                  <a:lnTo>
                    <a:pt x="0" y="0"/>
                  </a:lnTo>
                  <a:cubicBezTo>
                    <a:pt x="3783" y="0"/>
                    <a:pt x="6856" y="3073"/>
                    <a:pt x="6856" y="6857"/>
                  </a:cubicBezTo>
                  <a:cubicBezTo>
                    <a:pt x="6856" y="10640"/>
                    <a:pt x="3783" y="13713"/>
                    <a:pt x="0" y="13713"/>
                  </a:cubicBezTo>
                  <a:lnTo>
                    <a:pt x="139664" y="13713"/>
                  </a:lnTo>
                  <a:cubicBezTo>
                    <a:pt x="140946" y="13738"/>
                    <a:pt x="142190" y="13345"/>
                    <a:pt x="143219" y="12570"/>
                  </a:cubicBezTo>
                  <a:cubicBezTo>
                    <a:pt x="141175" y="11389"/>
                    <a:pt x="139918" y="9218"/>
                    <a:pt x="139918" y="6857"/>
                  </a:cubicBezTo>
                  <a:close/>
                </a:path>
              </a:pathLst>
            </a:custGeom>
            <a:solidFill>
              <a:srgbClr val="000000"/>
            </a:solidFill>
            <a:ln w="12690" cap="flat">
              <a:noFill/>
              <a:prstDash val="solid"/>
              <a:miter/>
            </a:ln>
          </p:spPr>
          <p:txBody>
            <a:bodyPr rtlCol="0" anchor="ctr"/>
            <a:lstStyle/>
            <a:p>
              <a:endParaRPr lang="en-US"/>
            </a:p>
          </p:txBody>
        </p:sp>
        <p:sp>
          <p:nvSpPr>
            <p:cNvPr id="1059" name="Freeform: Shape 1058">
              <a:extLst>
                <a:ext uri="{FF2B5EF4-FFF2-40B4-BE49-F238E27FC236}">
                  <a16:creationId xmlns:a16="http://schemas.microsoft.com/office/drawing/2014/main" id="{D31B1B71-8B51-43DF-A195-242021D6C0B9}"/>
                </a:ext>
              </a:extLst>
            </p:cNvPr>
            <p:cNvSpPr/>
            <p:nvPr/>
          </p:nvSpPr>
          <p:spPr>
            <a:xfrm>
              <a:off x="11766278" y="6501260"/>
              <a:ext cx="13712" cy="7491"/>
            </a:xfrm>
            <a:custGeom>
              <a:avLst/>
              <a:gdLst>
                <a:gd name="connsiteX0" fmla="*/ 6857 w 13712"/>
                <a:gd name="connsiteY0" fmla="*/ 6856 h 7491"/>
                <a:gd name="connsiteX1" fmla="*/ 0 w 13712"/>
                <a:gd name="connsiteY1" fmla="*/ 0 h 7491"/>
                <a:gd name="connsiteX2" fmla="*/ 0 w 13712"/>
                <a:gd name="connsiteY2" fmla="*/ 635 h 7491"/>
                <a:gd name="connsiteX3" fmla="*/ 6857 w 13712"/>
                <a:gd name="connsiteY3" fmla="*/ 7491 h 7491"/>
                <a:gd name="connsiteX4" fmla="*/ 13713 w 13712"/>
                <a:gd name="connsiteY4" fmla="*/ 635 h 7491"/>
                <a:gd name="connsiteX5" fmla="*/ 13713 w 13712"/>
                <a:gd name="connsiteY5" fmla="*/ 0 h 7491"/>
                <a:gd name="connsiteX6" fmla="*/ 6857 w 13712"/>
                <a:gd name="connsiteY6" fmla="*/ 6856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491">
                  <a:moveTo>
                    <a:pt x="6857" y="6856"/>
                  </a:moveTo>
                  <a:cubicBezTo>
                    <a:pt x="3073" y="6856"/>
                    <a:pt x="0" y="3783"/>
                    <a:pt x="0" y="0"/>
                  </a:cubicBezTo>
                  <a:lnTo>
                    <a:pt x="0" y="635"/>
                  </a:lnTo>
                  <a:cubicBezTo>
                    <a:pt x="0" y="4418"/>
                    <a:pt x="3073" y="7491"/>
                    <a:pt x="6857" y="7491"/>
                  </a:cubicBezTo>
                  <a:cubicBezTo>
                    <a:pt x="10640" y="7491"/>
                    <a:pt x="13713" y="4418"/>
                    <a:pt x="13713" y="635"/>
                  </a:cubicBezTo>
                  <a:lnTo>
                    <a:pt x="13713" y="0"/>
                  </a:lnTo>
                  <a:cubicBezTo>
                    <a:pt x="13713" y="3783"/>
                    <a:pt x="10640" y="6856"/>
                    <a:pt x="6857" y="6856"/>
                  </a:cubicBezTo>
                  <a:close/>
                </a:path>
              </a:pathLst>
            </a:custGeom>
            <a:solidFill>
              <a:srgbClr val="000000"/>
            </a:solidFill>
            <a:ln w="12690" cap="flat">
              <a:noFill/>
              <a:prstDash val="solid"/>
              <a:miter/>
            </a:ln>
          </p:spPr>
          <p:txBody>
            <a:bodyPr rtlCol="0" anchor="ctr"/>
            <a:lstStyle/>
            <a:p>
              <a:endParaRPr lang="en-US"/>
            </a:p>
          </p:txBody>
        </p:sp>
        <p:sp>
          <p:nvSpPr>
            <p:cNvPr id="1060" name="Freeform: Shape 1059">
              <a:extLst>
                <a:ext uri="{FF2B5EF4-FFF2-40B4-BE49-F238E27FC236}">
                  <a16:creationId xmlns:a16="http://schemas.microsoft.com/office/drawing/2014/main" id="{C4AE08C5-931A-41E5-8032-35B1619F9362}"/>
                </a:ext>
              </a:extLst>
            </p:cNvPr>
            <p:cNvSpPr/>
            <p:nvPr/>
          </p:nvSpPr>
          <p:spPr>
            <a:xfrm>
              <a:off x="11217909" y="6430031"/>
              <a:ext cx="13711" cy="73006"/>
            </a:xfrm>
            <a:custGeom>
              <a:avLst/>
              <a:gdLst>
                <a:gd name="connsiteX0" fmla="*/ 6856 w 13711"/>
                <a:gd name="connsiteY0" fmla="*/ 66150 h 73006"/>
                <a:gd name="connsiteX1" fmla="*/ 13712 w 13711"/>
                <a:gd name="connsiteY1" fmla="*/ 73006 h 73006"/>
                <a:gd name="connsiteX2" fmla="*/ 13712 w 13711"/>
                <a:gd name="connsiteY2" fmla="*/ 6856 h 73006"/>
                <a:gd name="connsiteX3" fmla="*/ 6856 w 13711"/>
                <a:gd name="connsiteY3" fmla="*/ 0 h 73006"/>
                <a:gd name="connsiteX4" fmla="*/ 0 w 13711"/>
                <a:gd name="connsiteY4" fmla="*/ 6856 h 73006"/>
                <a:gd name="connsiteX5" fmla="*/ 0 w 13711"/>
                <a:gd name="connsiteY5" fmla="*/ 72752 h 73006"/>
                <a:gd name="connsiteX6" fmla="*/ 6856 w 13711"/>
                <a:gd name="connsiteY6" fmla="*/ 66150 h 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73006">
                  <a:moveTo>
                    <a:pt x="6856" y="66150"/>
                  </a:moveTo>
                  <a:cubicBezTo>
                    <a:pt x="10639" y="66150"/>
                    <a:pt x="13712" y="69223"/>
                    <a:pt x="13712" y="73006"/>
                  </a:cubicBezTo>
                  <a:lnTo>
                    <a:pt x="13712" y="6856"/>
                  </a:lnTo>
                  <a:cubicBezTo>
                    <a:pt x="13712" y="3072"/>
                    <a:pt x="10639" y="0"/>
                    <a:pt x="6856" y="0"/>
                  </a:cubicBezTo>
                  <a:cubicBezTo>
                    <a:pt x="3072" y="0"/>
                    <a:pt x="0" y="3072"/>
                    <a:pt x="0" y="6856"/>
                  </a:cubicBezTo>
                  <a:lnTo>
                    <a:pt x="0" y="72752"/>
                  </a:lnTo>
                  <a:cubicBezTo>
                    <a:pt x="139" y="69070"/>
                    <a:pt x="3161" y="66150"/>
                    <a:pt x="6856" y="66150"/>
                  </a:cubicBezTo>
                  <a:close/>
                </a:path>
              </a:pathLst>
            </a:custGeom>
            <a:solidFill>
              <a:srgbClr val="000000"/>
            </a:solidFill>
            <a:ln w="12690" cap="flat">
              <a:noFill/>
              <a:prstDash val="solid"/>
              <a:miter/>
            </a:ln>
          </p:spPr>
          <p:txBody>
            <a:bodyPr rtlCol="0" anchor="ctr"/>
            <a:lstStyle/>
            <a:p>
              <a:endParaRPr lang="en-US"/>
            </a:p>
          </p:txBody>
        </p:sp>
        <p:sp>
          <p:nvSpPr>
            <p:cNvPr id="1061" name="Freeform: Shape 1060">
              <a:extLst>
                <a:ext uri="{FF2B5EF4-FFF2-40B4-BE49-F238E27FC236}">
                  <a16:creationId xmlns:a16="http://schemas.microsoft.com/office/drawing/2014/main" id="{2075CE56-15AE-4D0A-9CA0-F60942251E82}"/>
                </a:ext>
              </a:extLst>
            </p:cNvPr>
            <p:cNvSpPr/>
            <p:nvPr/>
          </p:nvSpPr>
          <p:spPr>
            <a:xfrm>
              <a:off x="11217909" y="6496181"/>
              <a:ext cx="13711" cy="315387"/>
            </a:xfrm>
            <a:custGeom>
              <a:avLst/>
              <a:gdLst>
                <a:gd name="connsiteX0" fmla="*/ 6856 w 13711"/>
                <a:gd name="connsiteY0" fmla="*/ 315387 h 315387"/>
                <a:gd name="connsiteX1" fmla="*/ 13712 w 13711"/>
                <a:gd name="connsiteY1" fmla="*/ 308531 h 315387"/>
                <a:gd name="connsiteX2" fmla="*/ 13712 w 13711"/>
                <a:gd name="connsiteY2" fmla="*/ 6856 h 315387"/>
                <a:gd name="connsiteX3" fmla="*/ 6856 w 13711"/>
                <a:gd name="connsiteY3" fmla="*/ 0 h 315387"/>
                <a:gd name="connsiteX4" fmla="*/ 0 w 13711"/>
                <a:gd name="connsiteY4" fmla="*/ 6856 h 315387"/>
                <a:gd name="connsiteX5" fmla="*/ 0 w 13711"/>
                <a:gd name="connsiteY5" fmla="*/ 308912 h 315387"/>
                <a:gd name="connsiteX6" fmla="*/ 6856 w 13711"/>
                <a:gd name="connsiteY6" fmla="*/ 315387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315387">
                  <a:moveTo>
                    <a:pt x="6856" y="315387"/>
                  </a:moveTo>
                  <a:cubicBezTo>
                    <a:pt x="10639" y="315387"/>
                    <a:pt x="13712" y="312315"/>
                    <a:pt x="13712" y="308531"/>
                  </a:cubicBezTo>
                  <a:lnTo>
                    <a:pt x="13712" y="6856"/>
                  </a:lnTo>
                  <a:cubicBezTo>
                    <a:pt x="13712" y="3073"/>
                    <a:pt x="10639" y="0"/>
                    <a:pt x="6856" y="0"/>
                  </a:cubicBezTo>
                  <a:cubicBezTo>
                    <a:pt x="3072" y="0"/>
                    <a:pt x="0" y="3073"/>
                    <a:pt x="0" y="6856"/>
                  </a:cubicBezTo>
                  <a:lnTo>
                    <a:pt x="0" y="308912"/>
                  </a:lnTo>
                  <a:cubicBezTo>
                    <a:pt x="203" y="312543"/>
                    <a:pt x="3212" y="315387"/>
                    <a:pt x="6856" y="315387"/>
                  </a:cubicBezTo>
                  <a:close/>
                </a:path>
              </a:pathLst>
            </a:custGeom>
            <a:solidFill>
              <a:srgbClr val="000000"/>
            </a:solidFill>
            <a:ln w="12690" cap="flat">
              <a:noFill/>
              <a:prstDash val="solid"/>
              <a:miter/>
            </a:ln>
          </p:spPr>
          <p:txBody>
            <a:bodyPr rtlCol="0" anchor="ctr"/>
            <a:lstStyle/>
            <a:p>
              <a:endParaRPr lang="en-US"/>
            </a:p>
          </p:txBody>
        </p:sp>
        <p:sp>
          <p:nvSpPr>
            <p:cNvPr id="1062" name="Freeform: Shape 1061">
              <a:extLst>
                <a:ext uri="{FF2B5EF4-FFF2-40B4-BE49-F238E27FC236}">
                  <a16:creationId xmlns:a16="http://schemas.microsoft.com/office/drawing/2014/main" id="{F04E9024-3025-4310-B1C2-227ADD3DB0D1}"/>
                </a:ext>
              </a:extLst>
            </p:cNvPr>
            <p:cNvSpPr/>
            <p:nvPr/>
          </p:nvSpPr>
          <p:spPr>
            <a:xfrm>
              <a:off x="10039655" y="6116802"/>
              <a:ext cx="13585" cy="13712"/>
            </a:xfrm>
            <a:custGeom>
              <a:avLst/>
              <a:gdLst>
                <a:gd name="connsiteX0" fmla="*/ 6730 w 13585"/>
                <a:gd name="connsiteY0" fmla="*/ 6856 h 13712"/>
                <a:gd name="connsiteX1" fmla="*/ 13586 w 13585"/>
                <a:gd name="connsiteY1" fmla="*/ 0 h 13712"/>
                <a:gd name="connsiteX2" fmla="*/ 6857 w 13585"/>
                <a:gd name="connsiteY2" fmla="*/ 0 h 13712"/>
                <a:gd name="connsiteX3" fmla="*/ 0 w 13585"/>
                <a:gd name="connsiteY3" fmla="*/ 6856 h 13712"/>
                <a:gd name="connsiteX4" fmla="*/ 6857 w 13585"/>
                <a:gd name="connsiteY4" fmla="*/ 13713 h 13712"/>
                <a:gd name="connsiteX5" fmla="*/ 13586 w 13585"/>
                <a:gd name="connsiteY5" fmla="*/ 13713 h 13712"/>
                <a:gd name="connsiteX6" fmla="*/ 6730 w 13585"/>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5" h="13712">
                  <a:moveTo>
                    <a:pt x="6730" y="6856"/>
                  </a:moveTo>
                  <a:cubicBezTo>
                    <a:pt x="6730" y="3073"/>
                    <a:pt x="9802" y="0"/>
                    <a:pt x="13586" y="0"/>
                  </a:cubicBezTo>
                  <a:lnTo>
                    <a:pt x="6857" y="0"/>
                  </a:lnTo>
                  <a:cubicBezTo>
                    <a:pt x="3073" y="0"/>
                    <a:pt x="0" y="3073"/>
                    <a:pt x="0" y="6856"/>
                  </a:cubicBezTo>
                  <a:cubicBezTo>
                    <a:pt x="0" y="10640"/>
                    <a:pt x="3073" y="13713"/>
                    <a:pt x="6857" y="13713"/>
                  </a:cubicBezTo>
                  <a:lnTo>
                    <a:pt x="13586" y="13713"/>
                  </a:lnTo>
                  <a:cubicBezTo>
                    <a:pt x="9802" y="13713"/>
                    <a:pt x="6730" y="10640"/>
                    <a:pt x="6730" y="6856"/>
                  </a:cubicBezTo>
                  <a:close/>
                </a:path>
              </a:pathLst>
            </a:custGeom>
            <a:solidFill>
              <a:srgbClr val="000000"/>
            </a:solidFill>
            <a:ln w="12690" cap="flat">
              <a:noFill/>
              <a:prstDash val="solid"/>
              <a:miter/>
            </a:ln>
          </p:spPr>
          <p:txBody>
            <a:bodyPr rtlCol="0" anchor="ctr"/>
            <a:lstStyle/>
            <a:p>
              <a:endParaRPr lang="en-US"/>
            </a:p>
          </p:txBody>
        </p:sp>
        <p:sp>
          <p:nvSpPr>
            <p:cNvPr id="1063" name="Freeform: Shape 1062">
              <a:extLst>
                <a:ext uri="{FF2B5EF4-FFF2-40B4-BE49-F238E27FC236}">
                  <a16:creationId xmlns:a16="http://schemas.microsoft.com/office/drawing/2014/main" id="{0D0221CC-8316-4B83-B371-A7E41680E9FA}"/>
                </a:ext>
              </a:extLst>
            </p:cNvPr>
            <p:cNvSpPr/>
            <p:nvPr/>
          </p:nvSpPr>
          <p:spPr>
            <a:xfrm>
              <a:off x="10046258" y="6116802"/>
              <a:ext cx="26536" cy="13712"/>
            </a:xfrm>
            <a:custGeom>
              <a:avLst/>
              <a:gdLst>
                <a:gd name="connsiteX0" fmla="*/ 26536 w 26536"/>
                <a:gd name="connsiteY0" fmla="*/ 6856 h 13712"/>
                <a:gd name="connsiteX1" fmla="*/ 19553 w 26536"/>
                <a:gd name="connsiteY1" fmla="*/ 0 h 13712"/>
                <a:gd name="connsiteX2" fmla="*/ 6856 w 26536"/>
                <a:gd name="connsiteY2" fmla="*/ 0 h 13712"/>
                <a:gd name="connsiteX3" fmla="*/ 0 w 26536"/>
                <a:gd name="connsiteY3" fmla="*/ 6856 h 13712"/>
                <a:gd name="connsiteX4" fmla="*/ 6856 w 26536"/>
                <a:gd name="connsiteY4" fmla="*/ 13713 h 13712"/>
                <a:gd name="connsiteX5" fmla="*/ 19553 w 26536"/>
                <a:gd name="connsiteY5" fmla="*/ 13713 h 13712"/>
                <a:gd name="connsiteX6" fmla="*/ 26536 w 26536"/>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36" h="13712">
                  <a:moveTo>
                    <a:pt x="26536" y="6856"/>
                  </a:moveTo>
                  <a:cubicBezTo>
                    <a:pt x="26473" y="3047"/>
                    <a:pt x="23362" y="0"/>
                    <a:pt x="19553" y="0"/>
                  </a:cubicBezTo>
                  <a:lnTo>
                    <a:pt x="6856" y="0"/>
                  </a:lnTo>
                  <a:cubicBezTo>
                    <a:pt x="3073" y="0"/>
                    <a:pt x="0" y="3073"/>
                    <a:pt x="0" y="6856"/>
                  </a:cubicBezTo>
                  <a:cubicBezTo>
                    <a:pt x="0" y="10640"/>
                    <a:pt x="3073" y="13713"/>
                    <a:pt x="6856" y="13713"/>
                  </a:cubicBezTo>
                  <a:lnTo>
                    <a:pt x="19553" y="13713"/>
                  </a:lnTo>
                  <a:cubicBezTo>
                    <a:pt x="23362" y="13713"/>
                    <a:pt x="26473" y="10665"/>
                    <a:pt x="26536" y="6856"/>
                  </a:cubicBezTo>
                  <a:close/>
                </a:path>
              </a:pathLst>
            </a:custGeom>
            <a:solidFill>
              <a:srgbClr val="000000"/>
            </a:solidFill>
            <a:ln w="12690" cap="flat">
              <a:noFill/>
              <a:prstDash val="solid"/>
              <a:miter/>
            </a:ln>
          </p:spPr>
          <p:txBody>
            <a:bodyPr rtlCol="0" anchor="ctr"/>
            <a:lstStyle/>
            <a:p>
              <a:endParaRPr lang="en-US"/>
            </a:p>
          </p:txBody>
        </p:sp>
        <p:sp>
          <p:nvSpPr>
            <p:cNvPr id="1064" name="Freeform: Shape 1063">
              <a:extLst>
                <a:ext uri="{FF2B5EF4-FFF2-40B4-BE49-F238E27FC236}">
                  <a16:creationId xmlns:a16="http://schemas.microsoft.com/office/drawing/2014/main" id="{98533FBF-9CEB-4C29-B6E7-5EA4194D6903}"/>
                </a:ext>
              </a:extLst>
            </p:cNvPr>
            <p:cNvSpPr/>
            <p:nvPr/>
          </p:nvSpPr>
          <p:spPr>
            <a:xfrm>
              <a:off x="10205982" y="6116802"/>
              <a:ext cx="65641" cy="13717"/>
            </a:xfrm>
            <a:custGeom>
              <a:avLst/>
              <a:gdLst>
                <a:gd name="connsiteX0" fmla="*/ 58532 w 65641"/>
                <a:gd name="connsiteY0" fmla="*/ 6856 h 13717"/>
                <a:gd name="connsiteX1" fmla="*/ 65388 w 65641"/>
                <a:gd name="connsiteY1" fmla="*/ 0 h 13717"/>
                <a:gd name="connsiteX2" fmla="*/ 6856 w 65641"/>
                <a:gd name="connsiteY2" fmla="*/ 0 h 13717"/>
                <a:gd name="connsiteX3" fmla="*/ 3301 w 65641"/>
                <a:gd name="connsiteY3" fmla="*/ 1016 h 13717"/>
                <a:gd name="connsiteX4" fmla="*/ 0 w 65641"/>
                <a:gd name="connsiteY4" fmla="*/ 6856 h 13717"/>
                <a:gd name="connsiteX5" fmla="*/ 3301 w 65641"/>
                <a:gd name="connsiteY5" fmla="*/ 12570 h 13717"/>
                <a:gd name="connsiteX6" fmla="*/ 6856 w 65641"/>
                <a:gd name="connsiteY6" fmla="*/ 13713 h 13717"/>
                <a:gd name="connsiteX7" fmla="*/ 65642 w 65641"/>
                <a:gd name="connsiteY7" fmla="*/ 13713 h 13717"/>
                <a:gd name="connsiteX8" fmla="*/ 58532 w 65641"/>
                <a:gd name="connsiteY8" fmla="*/ 7110 h 13717"/>
                <a:gd name="connsiteX9" fmla="*/ 58532 w 65641"/>
                <a:gd name="connsiteY9" fmla="*/ 6856 h 1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41" h="13717">
                  <a:moveTo>
                    <a:pt x="58532" y="6856"/>
                  </a:moveTo>
                  <a:cubicBezTo>
                    <a:pt x="58532" y="3073"/>
                    <a:pt x="61604" y="0"/>
                    <a:pt x="65388" y="0"/>
                  </a:cubicBezTo>
                  <a:lnTo>
                    <a:pt x="6856" y="0"/>
                  </a:lnTo>
                  <a:cubicBezTo>
                    <a:pt x="5599" y="13"/>
                    <a:pt x="4368" y="356"/>
                    <a:pt x="3301" y="1016"/>
                  </a:cubicBezTo>
                  <a:cubicBezTo>
                    <a:pt x="1269" y="2273"/>
                    <a:pt x="25" y="4469"/>
                    <a:pt x="0" y="6856"/>
                  </a:cubicBezTo>
                  <a:cubicBezTo>
                    <a:pt x="0" y="9218"/>
                    <a:pt x="1257" y="11389"/>
                    <a:pt x="3301" y="12570"/>
                  </a:cubicBezTo>
                  <a:cubicBezTo>
                    <a:pt x="4330" y="13319"/>
                    <a:pt x="5573" y="13725"/>
                    <a:pt x="6856" y="13713"/>
                  </a:cubicBezTo>
                  <a:lnTo>
                    <a:pt x="65642" y="13713"/>
                  </a:lnTo>
                  <a:cubicBezTo>
                    <a:pt x="61858" y="13852"/>
                    <a:pt x="58671" y="10894"/>
                    <a:pt x="58532" y="7110"/>
                  </a:cubicBezTo>
                  <a:cubicBezTo>
                    <a:pt x="58532" y="7034"/>
                    <a:pt x="58532" y="6945"/>
                    <a:pt x="58532" y="6856"/>
                  </a:cubicBezTo>
                  <a:close/>
                </a:path>
              </a:pathLst>
            </a:custGeom>
            <a:solidFill>
              <a:srgbClr val="000000"/>
            </a:solidFill>
            <a:ln w="12690" cap="flat">
              <a:noFill/>
              <a:prstDash val="solid"/>
              <a:miter/>
            </a:ln>
          </p:spPr>
          <p:txBody>
            <a:bodyPr rtlCol="0" anchor="ctr"/>
            <a:lstStyle/>
            <a:p>
              <a:endParaRPr lang="en-US"/>
            </a:p>
          </p:txBody>
        </p:sp>
        <p:sp>
          <p:nvSpPr>
            <p:cNvPr id="1065" name="Freeform: Shape 1064">
              <a:extLst>
                <a:ext uri="{FF2B5EF4-FFF2-40B4-BE49-F238E27FC236}">
                  <a16:creationId xmlns:a16="http://schemas.microsoft.com/office/drawing/2014/main" id="{7C1E3D39-F96D-4A6A-958C-1655A7FD6B32}"/>
                </a:ext>
              </a:extLst>
            </p:cNvPr>
            <p:cNvSpPr/>
            <p:nvPr/>
          </p:nvSpPr>
          <p:spPr>
            <a:xfrm>
              <a:off x="10264768" y="6116802"/>
              <a:ext cx="14473" cy="13712"/>
            </a:xfrm>
            <a:custGeom>
              <a:avLst/>
              <a:gdLst>
                <a:gd name="connsiteX0" fmla="*/ 6856 w 14473"/>
                <a:gd name="connsiteY0" fmla="*/ 0 h 13712"/>
                <a:gd name="connsiteX1" fmla="*/ 0 w 14473"/>
                <a:gd name="connsiteY1" fmla="*/ 6856 h 13712"/>
                <a:gd name="connsiteX2" fmla="*/ 6856 w 14473"/>
                <a:gd name="connsiteY2" fmla="*/ 13713 h 13712"/>
                <a:gd name="connsiteX3" fmla="*/ 14474 w 14473"/>
                <a:gd name="connsiteY3" fmla="*/ 13713 h 13712"/>
                <a:gd name="connsiteX4" fmla="*/ 7618 w 14473"/>
                <a:gd name="connsiteY4" fmla="*/ 6856 h 13712"/>
                <a:gd name="connsiteX5" fmla="*/ 14474 w 14473"/>
                <a:gd name="connsiteY5" fmla="*/ 0 h 13712"/>
                <a:gd name="connsiteX6" fmla="*/ 6856 w 14473"/>
                <a:gd name="connsiteY6" fmla="*/ 0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73" h="13712">
                  <a:moveTo>
                    <a:pt x="6856" y="0"/>
                  </a:moveTo>
                  <a:cubicBezTo>
                    <a:pt x="3073" y="0"/>
                    <a:pt x="0" y="3073"/>
                    <a:pt x="0" y="6856"/>
                  </a:cubicBezTo>
                  <a:cubicBezTo>
                    <a:pt x="0" y="10640"/>
                    <a:pt x="3073" y="13713"/>
                    <a:pt x="6856" y="13713"/>
                  </a:cubicBezTo>
                  <a:lnTo>
                    <a:pt x="14474" y="13713"/>
                  </a:lnTo>
                  <a:cubicBezTo>
                    <a:pt x="10690" y="13713"/>
                    <a:pt x="7618" y="10640"/>
                    <a:pt x="7618" y="6856"/>
                  </a:cubicBezTo>
                  <a:cubicBezTo>
                    <a:pt x="7618" y="3073"/>
                    <a:pt x="10690" y="0"/>
                    <a:pt x="14474" y="0"/>
                  </a:cubicBezTo>
                  <a:lnTo>
                    <a:pt x="6856" y="0"/>
                  </a:lnTo>
                  <a:close/>
                </a:path>
              </a:pathLst>
            </a:custGeom>
            <a:solidFill>
              <a:srgbClr val="000000"/>
            </a:solidFill>
            <a:ln w="12690" cap="flat">
              <a:noFill/>
              <a:prstDash val="solid"/>
              <a:miter/>
            </a:ln>
          </p:spPr>
          <p:txBody>
            <a:bodyPr rtlCol="0" anchor="ctr"/>
            <a:lstStyle/>
            <a:p>
              <a:endParaRPr lang="en-US"/>
            </a:p>
          </p:txBody>
        </p:sp>
        <p:sp>
          <p:nvSpPr>
            <p:cNvPr id="1066" name="Freeform: Shape 1065">
              <a:extLst>
                <a:ext uri="{FF2B5EF4-FFF2-40B4-BE49-F238E27FC236}">
                  <a16:creationId xmlns:a16="http://schemas.microsoft.com/office/drawing/2014/main" id="{E5EF370A-748E-4393-9CD3-E9B1C302C158}"/>
                </a:ext>
              </a:extLst>
            </p:cNvPr>
            <p:cNvSpPr/>
            <p:nvPr/>
          </p:nvSpPr>
          <p:spPr>
            <a:xfrm>
              <a:off x="10271624" y="6116783"/>
              <a:ext cx="165057" cy="13731"/>
            </a:xfrm>
            <a:custGeom>
              <a:avLst/>
              <a:gdLst>
                <a:gd name="connsiteX0" fmla="*/ 0 w 165057"/>
                <a:gd name="connsiteY0" fmla="*/ 6875 h 13731"/>
                <a:gd name="connsiteX1" fmla="*/ 6856 w 165057"/>
                <a:gd name="connsiteY1" fmla="*/ 13732 h 13731"/>
                <a:gd name="connsiteX2" fmla="*/ 165057 w 165057"/>
                <a:gd name="connsiteY2" fmla="*/ 13732 h 13731"/>
                <a:gd name="connsiteX3" fmla="*/ 158201 w 165057"/>
                <a:gd name="connsiteY3" fmla="*/ 6875 h 13731"/>
                <a:gd name="connsiteX4" fmla="*/ 165057 w 165057"/>
                <a:gd name="connsiteY4" fmla="*/ 19 h 13731"/>
                <a:gd name="connsiteX5" fmla="*/ 7364 w 165057"/>
                <a:gd name="connsiteY5" fmla="*/ 19 h 13731"/>
                <a:gd name="connsiteX6" fmla="*/ 26 w 165057"/>
                <a:gd name="connsiteY6" fmla="*/ 6355 h 13731"/>
                <a:gd name="connsiteX7" fmla="*/ 0 w 165057"/>
                <a:gd name="connsiteY7" fmla="*/ 6875 h 1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057" h="13731">
                  <a:moveTo>
                    <a:pt x="0" y="6875"/>
                  </a:moveTo>
                  <a:cubicBezTo>
                    <a:pt x="0" y="10659"/>
                    <a:pt x="3073" y="13732"/>
                    <a:pt x="6856" y="13732"/>
                  </a:cubicBezTo>
                  <a:lnTo>
                    <a:pt x="165057" y="13732"/>
                  </a:lnTo>
                  <a:cubicBezTo>
                    <a:pt x="161274" y="13732"/>
                    <a:pt x="158201" y="10659"/>
                    <a:pt x="158201" y="6875"/>
                  </a:cubicBezTo>
                  <a:cubicBezTo>
                    <a:pt x="158201" y="3092"/>
                    <a:pt x="161274" y="19"/>
                    <a:pt x="165057" y="19"/>
                  </a:cubicBezTo>
                  <a:lnTo>
                    <a:pt x="7364" y="19"/>
                  </a:lnTo>
                  <a:cubicBezTo>
                    <a:pt x="3593" y="-260"/>
                    <a:pt x="305" y="2571"/>
                    <a:pt x="26" y="6355"/>
                  </a:cubicBezTo>
                  <a:cubicBezTo>
                    <a:pt x="0" y="6520"/>
                    <a:pt x="0" y="6698"/>
                    <a:pt x="0" y="6875"/>
                  </a:cubicBezTo>
                  <a:close/>
                </a:path>
              </a:pathLst>
            </a:custGeom>
            <a:solidFill>
              <a:srgbClr val="000000"/>
            </a:solidFill>
            <a:ln w="12690" cap="flat">
              <a:noFill/>
              <a:prstDash val="solid"/>
              <a:miter/>
            </a:ln>
          </p:spPr>
          <p:txBody>
            <a:bodyPr rtlCol="0" anchor="ctr"/>
            <a:lstStyle/>
            <a:p>
              <a:endParaRPr lang="en-US"/>
            </a:p>
          </p:txBody>
        </p:sp>
        <p:sp>
          <p:nvSpPr>
            <p:cNvPr id="1067" name="Freeform: Shape 1066">
              <a:extLst>
                <a:ext uri="{FF2B5EF4-FFF2-40B4-BE49-F238E27FC236}">
                  <a16:creationId xmlns:a16="http://schemas.microsoft.com/office/drawing/2014/main" id="{4AF966A2-BE34-4190-9513-2A72B80ADB5E}"/>
                </a:ext>
              </a:extLst>
            </p:cNvPr>
            <p:cNvSpPr/>
            <p:nvPr/>
          </p:nvSpPr>
          <p:spPr>
            <a:xfrm>
              <a:off x="11766278" y="6500371"/>
              <a:ext cx="13712" cy="7745"/>
            </a:xfrm>
            <a:custGeom>
              <a:avLst/>
              <a:gdLst>
                <a:gd name="connsiteX0" fmla="*/ 6857 w 13712"/>
                <a:gd name="connsiteY0" fmla="*/ 7745 h 7745"/>
                <a:gd name="connsiteX1" fmla="*/ 13713 w 13712"/>
                <a:gd name="connsiteY1" fmla="*/ 889 h 7745"/>
                <a:gd name="connsiteX2" fmla="*/ 13713 w 13712"/>
                <a:gd name="connsiteY2" fmla="*/ 0 h 7745"/>
                <a:gd name="connsiteX3" fmla="*/ 6857 w 13712"/>
                <a:gd name="connsiteY3" fmla="*/ 6856 h 7745"/>
                <a:gd name="connsiteX4" fmla="*/ 0 w 13712"/>
                <a:gd name="connsiteY4" fmla="*/ 0 h 7745"/>
                <a:gd name="connsiteX5" fmla="*/ 0 w 13712"/>
                <a:gd name="connsiteY5" fmla="*/ 1016 h 7745"/>
                <a:gd name="connsiteX6" fmla="*/ 6857 w 13712"/>
                <a:gd name="connsiteY6" fmla="*/ 7745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745">
                  <a:moveTo>
                    <a:pt x="6857" y="7745"/>
                  </a:moveTo>
                  <a:cubicBezTo>
                    <a:pt x="10640" y="7745"/>
                    <a:pt x="13713" y="4672"/>
                    <a:pt x="13713" y="889"/>
                  </a:cubicBezTo>
                  <a:lnTo>
                    <a:pt x="13713" y="0"/>
                  </a:lnTo>
                  <a:cubicBezTo>
                    <a:pt x="13713" y="3784"/>
                    <a:pt x="10640" y="6856"/>
                    <a:pt x="6857" y="6856"/>
                  </a:cubicBezTo>
                  <a:cubicBezTo>
                    <a:pt x="3073" y="6856"/>
                    <a:pt x="0" y="3784"/>
                    <a:pt x="0" y="0"/>
                  </a:cubicBezTo>
                  <a:lnTo>
                    <a:pt x="0" y="1016"/>
                  </a:lnTo>
                  <a:cubicBezTo>
                    <a:pt x="64" y="4748"/>
                    <a:pt x="3124" y="7745"/>
                    <a:pt x="6857" y="7745"/>
                  </a:cubicBezTo>
                  <a:close/>
                </a:path>
              </a:pathLst>
            </a:custGeom>
            <a:solidFill>
              <a:srgbClr val="000000"/>
            </a:solidFill>
            <a:ln w="12690" cap="flat">
              <a:noFill/>
              <a:prstDash val="solid"/>
              <a:miter/>
            </a:ln>
          </p:spPr>
          <p:txBody>
            <a:bodyPr rtlCol="0" anchor="ctr"/>
            <a:lstStyle/>
            <a:p>
              <a:endParaRPr lang="en-US"/>
            </a:p>
          </p:txBody>
        </p:sp>
        <p:sp>
          <p:nvSpPr>
            <p:cNvPr id="1068" name="Freeform: Shape 1067">
              <a:extLst>
                <a:ext uri="{FF2B5EF4-FFF2-40B4-BE49-F238E27FC236}">
                  <a16:creationId xmlns:a16="http://schemas.microsoft.com/office/drawing/2014/main" id="{CD0FE8CD-F762-421F-81C0-D718133CDC06}"/>
                </a:ext>
              </a:extLst>
            </p:cNvPr>
            <p:cNvSpPr/>
            <p:nvPr/>
          </p:nvSpPr>
          <p:spPr>
            <a:xfrm>
              <a:off x="11766278" y="6416064"/>
              <a:ext cx="13712" cy="91162"/>
            </a:xfrm>
            <a:custGeom>
              <a:avLst/>
              <a:gdLst>
                <a:gd name="connsiteX0" fmla="*/ 0 w 13712"/>
                <a:gd name="connsiteY0" fmla="*/ 84306 h 91162"/>
                <a:gd name="connsiteX1" fmla="*/ 6857 w 13712"/>
                <a:gd name="connsiteY1" fmla="*/ 91163 h 91162"/>
                <a:gd name="connsiteX2" fmla="*/ 13713 w 13712"/>
                <a:gd name="connsiteY2" fmla="*/ 84306 h 91162"/>
                <a:gd name="connsiteX3" fmla="*/ 13713 w 13712"/>
                <a:gd name="connsiteY3" fmla="*/ 6856 h 91162"/>
                <a:gd name="connsiteX4" fmla="*/ 13713 w 13712"/>
                <a:gd name="connsiteY4" fmla="*/ 5713 h 91162"/>
                <a:gd name="connsiteX5" fmla="*/ 6984 w 13712"/>
                <a:gd name="connsiteY5" fmla="*/ 0 h 91162"/>
                <a:gd name="connsiteX6" fmla="*/ 127 w 13712"/>
                <a:gd name="connsiteY6" fmla="*/ 6856 h 91162"/>
                <a:gd name="connsiteX7" fmla="*/ 127 w 13712"/>
                <a:gd name="connsiteY7" fmla="*/ 84306 h 9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2" h="91162">
                  <a:moveTo>
                    <a:pt x="0" y="84306"/>
                  </a:moveTo>
                  <a:cubicBezTo>
                    <a:pt x="0" y="88090"/>
                    <a:pt x="3073" y="91163"/>
                    <a:pt x="6857" y="91163"/>
                  </a:cubicBezTo>
                  <a:cubicBezTo>
                    <a:pt x="10640" y="91163"/>
                    <a:pt x="13713" y="88090"/>
                    <a:pt x="13713" y="84306"/>
                  </a:cubicBezTo>
                  <a:lnTo>
                    <a:pt x="13713" y="6856"/>
                  </a:lnTo>
                  <a:cubicBezTo>
                    <a:pt x="13713" y="6856"/>
                    <a:pt x="13713" y="6094"/>
                    <a:pt x="13713" y="5713"/>
                  </a:cubicBezTo>
                  <a:cubicBezTo>
                    <a:pt x="13116" y="2450"/>
                    <a:pt x="10297" y="64"/>
                    <a:pt x="6984" y="0"/>
                  </a:cubicBezTo>
                  <a:cubicBezTo>
                    <a:pt x="3200" y="0"/>
                    <a:pt x="127" y="3073"/>
                    <a:pt x="127" y="6856"/>
                  </a:cubicBezTo>
                  <a:lnTo>
                    <a:pt x="127" y="84306"/>
                  </a:lnTo>
                  <a:close/>
                </a:path>
              </a:pathLst>
            </a:custGeom>
            <a:solidFill>
              <a:srgbClr val="000000"/>
            </a:solidFill>
            <a:ln w="12690" cap="flat">
              <a:noFill/>
              <a:prstDash val="solid"/>
              <a:miter/>
            </a:ln>
          </p:spPr>
          <p:txBody>
            <a:bodyPr rtlCol="0" anchor="ctr"/>
            <a:lstStyle/>
            <a:p>
              <a:endParaRPr lang="en-US"/>
            </a:p>
          </p:txBody>
        </p:sp>
        <p:sp>
          <p:nvSpPr>
            <p:cNvPr id="1069" name="Freeform: Shape 1068">
              <a:extLst>
                <a:ext uri="{FF2B5EF4-FFF2-40B4-BE49-F238E27FC236}">
                  <a16:creationId xmlns:a16="http://schemas.microsoft.com/office/drawing/2014/main" id="{1950F40C-8698-4E42-A37C-7763B3DEC2E0}"/>
                </a:ext>
              </a:extLst>
            </p:cNvPr>
            <p:cNvSpPr/>
            <p:nvPr/>
          </p:nvSpPr>
          <p:spPr>
            <a:xfrm>
              <a:off x="10430205" y="6116802"/>
              <a:ext cx="45581" cy="13712"/>
            </a:xfrm>
            <a:custGeom>
              <a:avLst/>
              <a:gdLst>
                <a:gd name="connsiteX0" fmla="*/ 0 w 45581"/>
                <a:gd name="connsiteY0" fmla="*/ 6856 h 13712"/>
                <a:gd name="connsiteX1" fmla="*/ 6857 w 45581"/>
                <a:gd name="connsiteY1" fmla="*/ 13713 h 13712"/>
                <a:gd name="connsiteX2" fmla="*/ 45581 w 45581"/>
                <a:gd name="connsiteY2" fmla="*/ 13713 h 13712"/>
                <a:gd name="connsiteX3" fmla="*/ 38725 w 45581"/>
                <a:gd name="connsiteY3" fmla="*/ 6856 h 13712"/>
                <a:gd name="connsiteX4" fmla="*/ 45581 w 45581"/>
                <a:gd name="connsiteY4" fmla="*/ 0 h 13712"/>
                <a:gd name="connsiteX5" fmla="*/ 6475 w 45581"/>
                <a:gd name="connsiteY5" fmla="*/ 0 h 13712"/>
                <a:gd name="connsiteX6" fmla="*/ 0 w 45581"/>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81" h="13712">
                  <a:moveTo>
                    <a:pt x="0" y="6856"/>
                  </a:moveTo>
                  <a:cubicBezTo>
                    <a:pt x="0" y="10640"/>
                    <a:pt x="3073" y="13713"/>
                    <a:pt x="6857" y="13713"/>
                  </a:cubicBezTo>
                  <a:lnTo>
                    <a:pt x="45581" y="13713"/>
                  </a:lnTo>
                  <a:cubicBezTo>
                    <a:pt x="41797" y="13713"/>
                    <a:pt x="38725" y="10640"/>
                    <a:pt x="38725" y="6856"/>
                  </a:cubicBezTo>
                  <a:cubicBezTo>
                    <a:pt x="38725" y="3073"/>
                    <a:pt x="41797" y="0"/>
                    <a:pt x="45581" y="0"/>
                  </a:cubicBezTo>
                  <a:lnTo>
                    <a:pt x="6475" y="0"/>
                  </a:lnTo>
                  <a:cubicBezTo>
                    <a:pt x="2844" y="203"/>
                    <a:pt x="0" y="3212"/>
                    <a:pt x="0" y="6856"/>
                  </a:cubicBezTo>
                  <a:close/>
                </a:path>
              </a:pathLst>
            </a:custGeom>
            <a:solidFill>
              <a:srgbClr val="000000"/>
            </a:solidFill>
            <a:ln w="12690" cap="flat">
              <a:noFill/>
              <a:prstDash val="solid"/>
              <a:miter/>
            </a:ln>
          </p:spPr>
          <p:txBody>
            <a:bodyPr rtlCol="0" anchor="ctr"/>
            <a:lstStyle/>
            <a:p>
              <a:endParaRPr lang="en-US"/>
            </a:p>
          </p:txBody>
        </p:sp>
        <p:sp>
          <p:nvSpPr>
            <p:cNvPr id="1070" name="Freeform: Shape 1069">
              <a:extLst>
                <a:ext uri="{FF2B5EF4-FFF2-40B4-BE49-F238E27FC236}">
                  <a16:creationId xmlns:a16="http://schemas.microsoft.com/office/drawing/2014/main" id="{16303BC1-58AC-4A7E-BD4F-80E3C0D8EA56}"/>
                </a:ext>
              </a:extLst>
            </p:cNvPr>
            <p:cNvSpPr/>
            <p:nvPr/>
          </p:nvSpPr>
          <p:spPr>
            <a:xfrm>
              <a:off x="10468804" y="6116802"/>
              <a:ext cx="10157" cy="13712"/>
            </a:xfrm>
            <a:custGeom>
              <a:avLst/>
              <a:gdLst>
                <a:gd name="connsiteX0" fmla="*/ 0 w 10157"/>
                <a:gd name="connsiteY0" fmla="*/ 6856 h 13712"/>
                <a:gd name="connsiteX1" fmla="*/ 6983 w 10157"/>
                <a:gd name="connsiteY1" fmla="*/ 13713 h 13712"/>
                <a:gd name="connsiteX2" fmla="*/ 10157 w 10157"/>
                <a:gd name="connsiteY2" fmla="*/ 13713 h 13712"/>
                <a:gd name="connsiteX3" fmla="*/ 3300 w 10157"/>
                <a:gd name="connsiteY3" fmla="*/ 6856 h 13712"/>
                <a:gd name="connsiteX4" fmla="*/ 10157 w 10157"/>
                <a:gd name="connsiteY4" fmla="*/ 0 h 13712"/>
                <a:gd name="connsiteX5" fmla="*/ 6983 w 10157"/>
                <a:gd name="connsiteY5" fmla="*/ 0 h 13712"/>
                <a:gd name="connsiteX6" fmla="*/ 0 w 10157"/>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7" h="13712">
                  <a:moveTo>
                    <a:pt x="0" y="6856"/>
                  </a:moveTo>
                  <a:cubicBezTo>
                    <a:pt x="63" y="10665"/>
                    <a:pt x="3174" y="13713"/>
                    <a:pt x="6983" y="13713"/>
                  </a:cubicBezTo>
                  <a:lnTo>
                    <a:pt x="10157" y="13713"/>
                  </a:lnTo>
                  <a:cubicBezTo>
                    <a:pt x="6373" y="13713"/>
                    <a:pt x="3300" y="10640"/>
                    <a:pt x="3300" y="6856"/>
                  </a:cubicBezTo>
                  <a:cubicBezTo>
                    <a:pt x="3300" y="3073"/>
                    <a:pt x="6373" y="0"/>
                    <a:pt x="10157" y="0"/>
                  </a:cubicBezTo>
                  <a:lnTo>
                    <a:pt x="6983" y="0"/>
                  </a:lnTo>
                  <a:cubicBezTo>
                    <a:pt x="3174" y="0"/>
                    <a:pt x="63" y="3047"/>
                    <a:pt x="0" y="6856"/>
                  </a:cubicBezTo>
                  <a:close/>
                </a:path>
              </a:pathLst>
            </a:custGeom>
            <a:solidFill>
              <a:srgbClr val="000000"/>
            </a:solidFill>
            <a:ln w="12690" cap="flat">
              <a:noFill/>
              <a:prstDash val="solid"/>
              <a:miter/>
            </a:ln>
          </p:spPr>
          <p:txBody>
            <a:bodyPr rtlCol="0" anchor="ctr"/>
            <a:lstStyle/>
            <a:p>
              <a:endParaRPr lang="en-US"/>
            </a:p>
          </p:txBody>
        </p:sp>
        <p:sp>
          <p:nvSpPr>
            <p:cNvPr id="1071" name="Freeform: Shape 1070">
              <a:extLst>
                <a:ext uri="{FF2B5EF4-FFF2-40B4-BE49-F238E27FC236}">
                  <a16:creationId xmlns:a16="http://schemas.microsoft.com/office/drawing/2014/main" id="{8CE05180-D86C-4CE9-8E59-81D3508B206C}"/>
                </a:ext>
              </a:extLst>
            </p:cNvPr>
            <p:cNvSpPr/>
            <p:nvPr/>
          </p:nvSpPr>
          <p:spPr>
            <a:xfrm>
              <a:off x="10472104" y="6117123"/>
              <a:ext cx="22314" cy="13391"/>
            </a:xfrm>
            <a:custGeom>
              <a:avLst/>
              <a:gdLst>
                <a:gd name="connsiteX0" fmla="*/ 0 w 22314"/>
                <a:gd name="connsiteY0" fmla="*/ 6535 h 13391"/>
                <a:gd name="connsiteX1" fmla="*/ 6857 w 22314"/>
                <a:gd name="connsiteY1" fmla="*/ 13391 h 13391"/>
                <a:gd name="connsiteX2" fmla="*/ 15363 w 22314"/>
                <a:gd name="connsiteY2" fmla="*/ 13391 h 13391"/>
                <a:gd name="connsiteX3" fmla="*/ 22219 w 22314"/>
                <a:gd name="connsiteY3" fmla="*/ 6535 h 13391"/>
                <a:gd name="connsiteX4" fmla="*/ 22219 w 22314"/>
                <a:gd name="connsiteY4" fmla="*/ 4504 h 13391"/>
                <a:gd name="connsiteX5" fmla="*/ 21330 w 22314"/>
                <a:gd name="connsiteY5" fmla="*/ 2599 h 13391"/>
                <a:gd name="connsiteX6" fmla="*/ 20315 w 22314"/>
                <a:gd name="connsiteY6" fmla="*/ 1456 h 13391"/>
                <a:gd name="connsiteX7" fmla="*/ 19299 w 22314"/>
                <a:gd name="connsiteY7" fmla="*/ 695 h 13391"/>
                <a:gd name="connsiteX8" fmla="*/ 18156 w 22314"/>
                <a:gd name="connsiteY8" fmla="*/ 60 h 13391"/>
                <a:gd name="connsiteX9" fmla="*/ 16633 w 22314"/>
                <a:gd name="connsiteY9" fmla="*/ 60 h 13391"/>
                <a:gd name="connsiteX10" fmla="*/ 7746 w 22314"/>
                <a:gd name="connsiteY10" fmla="*/ 60 h 13391"/>
                <a:gd name="connsiteX11" fmla="*/ 51 w 22314"/>
                <a:gd name="connsiteY11" fmla="*/ 5964 h 13391"/>
                <a:gd name="connsiteX12" fmla="*/ 0 w 22314"/>
                <a:gd name="connsiteY12" fmla="*/ 6535 h 1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14" h="13391">
                  <a:moveTo>
                    <a:pt x="0" y="6535"/>
                  </a:moveTo>
                  <a:cubicBezTo>
                    <a:pt x="0" y="10319"/>
                    <a:pt x="3073" y="13391"/>
                    <a:pt x="6857" y="13391"/>
                  </a:cubicBezTo>
                  <a:lnTo>
                    <a:pt x="15363" y="13391"/>
                  </a:lnTo>
                  <a:cubicBezTo>
                    <a:pt x="19147" y="13391"/>
                    <a:pt x="22219" y="10319"/>
                    <a:pt x="22219" y="6535"/>
                  </a:cubicBezTo>
                  <a:cubicBezTo>
                    <a:pt x="22346" y="5862"/>
                    <a:pt x="22346" y="5176"/>
                    <a:pt x="22219" y="4504"/>
                  </a:cubicBezTo>
                  <a:cubicBezTo>
                    <a:pt x="21978" y="3843"/>
                    <a:pt x="21674" y="3208"/>
                    <a:pt x="21330" y="2599"/>
                  </a:cubicBezTo>
                  <a:lnTo>
                    <a:pt x="20315" y="1456"/>
                  </a:lnTo>
                  <a:lnTo>
                    <a:pt x="19299" y="695"/>
                  </a:lnTo>
                  <a:lnTo>
                    <a:pt x="18156" y="60"/>
                  </a:lnTo>
                  <a:lnTo>
                    <a:pt x="16633" y="60"/>
                  </a:lnTo>
                  <a:lnTo>
                    <a:pt x="7746" y="60"/>
                  </a:lnTo>
                  <a:cubicBezTo>
                    <a:pt x="3987" y="-436"/>
                    <a:pt x="546" y="2205"/>
                    <a:pt x="51" y="5964"/>
                  </a:cubicBezTo>
                  <a:cubicBezTo>
                    <a:pt x="26" y="6154"/>
                    <a:pt x="13" y="6345"/>
                    <a:pt x="0" y="6535"/>
                  </a:cubicBezTo>
                  <a:close/>
                </a:path>
              </a:pathLst>
            </a:custGeom>
            <a:solidFill>
              <a:srgbClr val="000000"/>
            </a:solidFill>
            <a:ln w="12690" cap="flat">
              <a:noFill/>
              <a:prstDash val="solid"/>
              <a:miter/>
            </a:ln>
          </p:spPr>
          <p:txBody>
            <a:bodyPr rtlCol="0" anchor="ctr"/>
            <a:lstStyle/>
            <a:p>
              <a:endParaRPr lang="en-US"/>
            </a:p>
          </p:txBody>
        </p:sp>
        <p:sp>
          <p:nvSpPr>
            <p:cNvPr id="1072" name="Freeform: Shape 1071">
              <a:extLst>
                <a:ext uri="{FF2B5EF4-FFF2-40B4-BE49-F238E27FC236}">
                  <a16:creationId xmlns:a16="http://schemas.microsoft.com/office/drawing/2014/main" id="{19F704F9-85C4-4A5A-925D-81C2CA480CA8}"/>
                </a:ext>
              </a:extLst>
            </p:cNvPr>
            <p:cNvSpPr/>
            <p:nvPr/>
          </p:nvSpPr>
          <p:spPr>
            <a:xfrm>
              <a:off x="11321132" y="5844964"/>
              <a:ext cx="13712" cy="662262"/>
            </a:xfrm>
            <a:custGeom>
              <a:avLst/>
              <a:gdLst>
                <a:gd name="connsiteX0" fmla="*/ 0 w 13712"/>
                <a:gd name="connsiteY0" fmla="*/ 6856 h 662262"/>
                <a:gd name="connsiteX1" fmla="*/ 0 w 13712"/>
                <a:gd name="connsiteY1" fmla="*/ 655406 h 662262"/>
                <a:gd name="connsiteX2" fmla="*/ 6857 w 13712"/>
                <a:gd name="connsiteY2" fmla="*/ 662263 h 662262"/>
                <a:gd name="connsiteX3" fmla="*/ 13713 w 13712"/>
                <a:gd name="connsiteY3" fmla="*/ 655406 h 662262"/>
                <a:gd name="connsiteX4" fmla="*/ 13713 w 13712"/>
                <a:gd name="connsiteY4" fmla="*/ 6856 h 662262"/>
                <a:gd name="connsiteX5" fmla="*/ 6857 w 13712"/>
                <a:gd name="connsiteY5" fmla="*/ 0 h 662262"/>
                <a:gd name="connsiteX6" fmla="*/ 0 w 13712"/>
                <a:gd name="connsiteY6" fmla="*/ 6856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62262">
                  <a:moveTo>
                    <a:pt x="0" y="6856"/>
                  </a:moveTo>
                  <a:lnTo>
                    <a:pt x="0" y="655406"/>
                  </a:lnTo>
                  <a:cubicBezTo>
                    <a:pt x="0" y="659190"/>
                    <a:pt x="3073" y="662263"/>
                    <a:pt x="6857" y="662263"/>
                  </a:cubicBezTo>
                  <a:cubicBezTo>
                    <a:pt x="10640" y="662263"/>
                    <a:pt x="13713" y="659190"/>
                    <a:pt x="13713" y="655406"/>
                  </a:cubicBezTo>
                  <a:lnTo>
                    <a:pt x="13713" y="6856"/>
                  </a:lnTo>
                  <a:cubicBezTo>
                    <a:pt x="13713" y="3070"/>
                    <a:pt x="10640" y="0"/>
                    <a:pt x="6857" y="0"/>
                  </a:cubicBezTo>
                  <a:cubicBezTo>
                    <a:pt x="3073" y="0"/>
                    <a:pt x="0" y="3070"/>
                    <a:pt x="0" y="6856"/>
                  </a:cubicBezTo>
                  <a:close/>
                </a:path>
              </a:pathLst>
            </a:custGeom>
            <a:solidFill>
              <a:srgbClr val="000000"/>
            </a:solidFill>
            <a:ln w="12690" cap="flat">
              <a:noFill/>
              <a:prstDash val="solid"/>
              <a:miter/>
            </a:ln>
          </p:spPr>
          <p:txBody>
            <a:bodyPr rtlCol="0" anchor="ctr"/>
            <a:lstStyle/>
            <a:p>
              <a:endParaRPr lang="en-US"/>
            </a:p>
          </p:txBody>
        </p:sp>
        <p:sp>
          <p:nvSpPr>
            <p:cNvPr id="1073" name="Freeform: Shape 1072">
              <a:extLst>
                <a:ext uri="{FF2B5EF4-FFF2-40B4-BE49-F238E27FC236}">
                  <a16:creationId xmlns:a16="http://schemas.microsoft.com/office/drawing/2014/main" id="{22A02D41-FB2C-4160-8784-657AB61AB6BF}"/>
                </a:ext>
              </a:extLst>
            </p:cNvPr>
            <p:cNvSpPr/>
            <p:nvPr/>
          </p:nvSpPr>
          <p:spPr>
            <a:xfrm>
              <a:off x="9409392" y="6090120"/>
              <a:ext cx="13838" cy="21222"/>
            </a:xfrm>
            <a:custGeom>
              <a:avLst/>
              <a:gdLst>
                <a:gd name="connsiteX0" fmla="*/ 12950 w 13838"/>
                <a:gd name="connsiteY0" fmla="*/ 3955 h 21222"/>
                <a:gd name="connsiteX1" fmla="*/ 10919 w 13838"/>
                <a:gd name="connsiteY1" fmla="*/ 1543 h 21222"/>
                <a:gd name="connsiteX2" fmla="*/ 2539 w 13838"/>
                <a:gd name="connsiteY2" fmla="*/ 1543 h 21222"/>
                <a:gd name="connsiteX3" fmla="*/ 0 w 13838"/>
                <a:gd name="connsiteY3" fmla="*/ 6240 h 21222"/>
                <a:gd name="connsiteX4" fmla="*/ 0 w 13838"/>
                <a:gd name="connsiteY4" fmla="*/ 6240 h 21222"/>
                <a:gd name="connsiteX5" fmla="*/ 0 w 13838"/>
                <a:gd name="connsiteY5" fmla="*/ 14366 h 21222"/>
                <a:gd name="connsiteX6" fmla="*/ 6856 w 13838"/>
                <a:gd name="connsiteY6" fmla="*/ 21223 h 21222"/>
                <a:gd name="connsiteX7" fmla="*/ 13839 w 13838"/>
                <a:gd name="connsiteY7" fmla="*/ 14366 h 21222"/>
                <a:gd name="connsiteX8" fmla="*/ 13839 w 13838"/>
                <a:gd name="connsiteY8" fmla="*/ 6240 h 21222"/>
                <a:gd name="connsiteX9" fmla="*/ 12950 w 13838"/>
                <a:gd name="connsiteY9" fmla="*/ 3955 h 2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8" h="21222">
                  <a:moveTo>
                    <a:pt x="12950" y="3955"/>
                  </a:moveTo>
                  <a:cubicBezTo>
                    <a:pt x="12493" y="2990"/>
                    <a:pt x="11795" y="2152"/>
                    <a:pt x="10919" y="1543"/>
                  </a:cubicBezTo>
                  <a:cubicBezTo>
                    <a:pt x="8507" y="-514"/>
                    <a:pt x="4951" y="-514"/>
                    <a:pt x="2539" y="1543"/>
                  </a:cubicBezTo>
                  <a:cubicBezTo>
                    <a:pt x="965" y="2596"/>
                    <a:pt x="12" y="4349"/>
                    <a:pt x="0" y="6240"/>
                  </a:cubicBezTo>
                  <a:cubicBezTo>
                    <a:pt x="0" y="6240"/>
                    <a:pt x="0" y="6240"/>
                    <a:pt x="0" y="6240"/>
                  </a:cubicBezTo>
                  <a:lnTo>
                    <a:pt x="0" y="14366"/>
                  </a:lnTo>
                  <a:cubicBezTo>
                    <a:pt x="0" y="18150"/>
                    <a:pt x="3072" y="21223"/>
                    <a:pt x="6856" y="21223"/>
                  </a:cubicBezTo>
                  <a:cubicBezTo>
                    <a:pt x="10665" y="21223"/>
                    <a:pt x="13775" y="18175"/>
                    <a:pt x="13839" y="14366"/>
                  </a:cubicBezTo>
                  <a:lnTo>
                    <a:pt x="13839" y="6240"/>
                  </a:lnTo>
                  <a:cubicBezTo>
                    <a:pt x="13674" y="5440"/>
                    <a:pt x="13369" y="4666"/>
                    <a:pt x="12950" y="3955"/>
                  </a:cubicBezTo>
                  <a:close/>
                </a:path>
              </a:pathLst>
            </a:custGeom>
            <a:solidFill>
              <a:srgbClr val="000000"/>
            </a:solidFill>
            <a:ln w="12690" cap="flat">
              <a:noFill/>
              <a:prstDash val="solid"/>
              <a:miter/>
            </a:ln>
          </p:spPr>
          <p:txBody>
            <a:bodyPr rtlCol="0" anchor="ctr"/>
            <a:lstStyle/>
            <a:p>
              <a:endParaRPr lang="en-US"/>
            </a:p>
          </p:txBody>
        </p:sp>
        <p:sp>
          <p:nvSpPr>
            <p:cNvPr id="1074" name="Freeform: Shape 1073">
              <a:extLst>
                <a:ext uri="{FF2B5EF4-FFF2-40B4-BE49-F238E27FC236}">
                  <a16:creationId xmlns:a16="http://schemas.microsoft.com/office/drawing/2014/main" id="{7FCBB1DE-06AF-409D-898C-B37F1F003E6C}"/>
                </a:ext>
              </a:extLst>
            </p:cNvPr>
            <p:cNvSpPr/>
            <p:nvPr/>
          </p:nvSpPr>
          <p:spPr>
            <a:xfrm>
              <a:off x="6063178" y="6299635"/>
              <a:ext cx="437527" cy="564878"/>
            </a:xfrm>
            <a:custGeom>
              <a:avLst/>
              <a:gdLst>
                <a:gd name="connsiteX0" fmla="*/ 4190 w 437527"/>
                <a:gd name="connsiteY0" fmla="*/ 0 h 564878"/>
                <a:gd name="connsiteX1" fmla="*/ 0 w 437527"/>
                <a:gd name="connsiteY1" fmla="*/ 4063 h 564878"/>
                <a:gd name="connsiteX2" fmla="*/ 0 w 437527"/>
                <a:gd name="connsiteY2" fmla="*/ 508251 h 564878"/>
                <a:gd name="connsiteX3" fmla="*/ 28821 w 437527"/>
                <a:gd name="connsiteY3" fmla="*/ 521583 h 564878"/>
                <a:gd name="connsiteX4" fmla="*/ 41518 w 437527"/>
                <a:gd name="connsiteY4" fmla="*/ 564878 h 564878"/>
                <a:gd name="connsiteX5" fmla="*/ 437528 w 437527"/>
                <a:gd name="connsiteY5" fmla="*/ 564878 h 564878"/>
                <a:gd name="connsiteX6" fmla="*/ 437528 w 437527"/>
                <a:gd name="connsiteY6" fmla="*/ 0 h 56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527" h="564878">
                  <a:moveTo>
                    <a:pt x="4190" y="0"/>
                  </a:moveTo>
                  <a:cubicBezTo>
                    <a:pt x="3466" y="1904"/>
                    <a:pt x="1930" y="3403"/>
                    <a:pt x="0" y="4063"/>
                  </a:cubicBezTo>
                  <a:lnTo>
                    <a:pt x="0" y="508251"/>
                  </a:lnTo>
                  <a:cubicBezTo>
                    <a:pt x="762" y="508251"/>
                    <a:pt x="29075" y="520948"/>
                    <a:pt x="28821" y="521583"/>
                  </a:cubicBezTo>
                  <a:cubicBezTo>
                    <a:pt x="22092" y="536438"/>
                    <a:pt x="41518" y="564878"/>
                    <a:pt x="41518" y="564878"/>
                  </a:cubicBezTo>
                  <a:lnTo>
                    <a:pt x="437528" y="564878"/>
                  </a:lnTo>
                  <a:lnTo>
                    <a:pt x="437528" y="0"/>
                  </a:lnTo>
                  <a:close/>
                </a:path>
              </a:pathLst>
            </a:custGeom>
            <a:solidFill>
              <a:schemeClr val="accent2"/>
            </a:solidFill>
            <a:ln w="12690" cap="flat">
              <a:noFill/>
              <a:prstDash val="solid"/>
              <a:miter/>
            </a:ln>
          </p:spPr>
          <p:txBody>
            <a:bodyPr rtlCol="0" anchor="ctr"/>
            <a:lstStyle/>
            <a:p>
              <a:endParaRPr lang="en-US"/>
            </a:p>
          </p:txBody>
        </p:sp>
        <p:sp>
          <p:nvSpPr>
            <p:cNvPr id="1075" name="Freeform: Shape 1074">
              <a:extLst>
                <a:ext uri="{FF2B5EF4-FFF2-40B4-BE49-F238E27FC236}">
                  <a16:creationId xmlns:a16="http://schemas.microsoft.com/office/drawing/2014/main" id="{6241C61B-0B9D-4191-8500-DCB3264C28F8}"/>
                </a:ext>
              </a:extLst>
            </p:cNvPr>
            <p:cNvSpPr/>
            <p:nvPr/>
          </p:nvSpPr>
          <p:spPr>
            <a:xfrm>
              <a:off x="6055163" y="6803696"/>
              <a:ext cx="46231" cy="31107"/>
            </a:xfrm>
            <a:custGeom>
              <a:avLst/>
              <a:gdLst>
                <a:gd name="connsiteX0" fmla="*/ 6872 w 46231"/>
                <a:gd name="connsiteY0" fmla="*/ 7872 h 31107"/>
                <a:gd name="connsiteX1" fmla="*/ 5602 w 46231"/>
                <a:gd name="connsiteY1" fmla="*/ 6869 h 31107"/>
                <a:gd name="connsiteX2" fmla="*/ 5602 w 46231"/>
                <a:gd name="connsiteY2" fmla="*/ 6602 h 31107"/>
                <a:gd name="connsiteX3" fmla="*/ 5602 w 46231"/>
                <a:gd name="connsiteY3" fmla="*/ 0 h 31107"/>
                <a:gd name="connsiteX4" fmla="*/ 905 w 46231"/>
                <a:gd name="connsiteY4" fmla="*/ 3174 h 31107"/>
                <a:gd name="connsiteX5" fmla="*/ 143 w 46231"/>
                <a:gd name="connsiteY5" fmla="*/ 5460 h 31107"/>
                <a:gd name="connsiteX6" fmla="*/ 143 w 46231"/>
                <a:gd name="connsiteY6" fmla="*/ 7872 h 31107"/>
                <a:gd name="connsiteX7" fmla="*/ 3317 w 46231"/>
                <a:gd name="connsiteY7" fmla="*/ 12570 h 31107"/>
                <a:gd name="connsiteX8" fmla="*/ 26298 w 46231"/>
                <a:gd name="connsiteY8" fmla="*/ 25901 h 31107"/>
                <a:gd name="connsiteX9" fmla="*/ 30488 w 46231"/>
                <a:gd name="connsiteY9" fmla="*/ 28314 h 31107"/>
                <a:gd name="connsiteX10" fmla="*/ 35313 w 46231"/>
                <a:gd name="connsiteY10" fmla="*/ 31107 h 31107"/>
                <a:gd name="connsiteX11" fmla="*/ 35313 w 46231"/>
                <a:gd name="connsiteY11" fmla="*/ 26790 h 31107"/>
                <a:gd name="connsiteX12" fmla="*/ 42169 w 46231"/>
                <a:gd name="connsiteY12" fmla="*/ 19807 h 31107"/>
                <a:gd name="connsiteX13" fmla="*/ 46232 w 46231"/>
                <a:gd name="connsiteY13" fmla="*/ 21331 h 31107"/>
                <a:gd name="connsiteX14" fmla="*/ 45597 w 46231"/>
                <a:gd name="connsiteY14" fmla="*/ 21331 h 31107"/>
                <a:gd name="connsiteX15" fmla="*/ 10300 w 46231"/>
                <a:gd name="connsiteY15" fmla="*/ 762 h 31107"/>
                <a:gd name="connsiteX16" fmla="*/ 8015 w 46231"/>
                <a:gd name="connsiteY16" fmla="*/ 0 h 31107"/>
                <a:gd name="connsiteX17" fmla="*/ 8015 w 46231"/>
                <a:gd name="connsiteY17" fmla="*/ 6729 h 31107"/>
                <a:gd name="connsiteX18" fmla="*/ 6872 w 46231"/>
                <a:gd name="connsiteY18" fmla="*/ 7872 h 3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231" h="31107">
                  <a:moveTo>
                    <a:pt x="6872" y="7872"/>
                  </a:moveTo>
                  <a:cubicBezTo>
                    <a:pt x="6250" y="7948"/>
                    <a:pt x="5678" y="7504"/>
                    <a:pt x="5602" y="6869"/>
                  </a:cubicBezTo>
                  <a:cubicBezTo>
                    <a:pt x="5590" y="6780"/>
                    <a:pt x="5590" y="6691"/>
                    <a:pt x="5602" y="6602"/>
                  </a:cubicBezTo>
                  <a:lnTo>
                    <a:pt x="5602" y="0"/>
                  </a:lnTo>
                  <a:cubicBezTo>
                    <a:pt x="3634" y="279"/>
                    <a:pt x="1895" y="1447"/>
                    <a:pt x="905" y="3174"/>
                  </a:cubicBezTo>
                  <a:cubicBezTo>
                    <a:pt x="486" y="3873"/>
                    <a:pt x="219" y="4647"/>
                    <a:pt x="143" y="5460"/>
                  </a:cubicBezTo>
                  <a:cubicBezTo>
                    <a:pt x="-48" y="6247"/>
                    <a:pt x="-48" y="7085"/>
                    <a:pt x="143" y="7872"/>
                  </a:cubicBezTo>
                  <a:cubicBezTo>
                    <a:pt x="460" y="9827"/>
                    <a:pt x="1616" y="11541"/>
                    <a:pt x="3317" y="12570"/>
                  </a:cubicBezTo>
                  <a:lnTo>
                    <a:pt x="26298" y="25901"/>
                  </a:lnTo>
                  <a:lnTo>
                    <a:pt x="30488" y="28314"/>
                  </a:lnTo>
                  <a:lnTo>
                    <a:pt x="35313" y="31107"/>
                  </a:lnTo>
                  <a:lnTo>
                    <a:pt x="35313" y="26790"/>
                  </a:lnTo>
                  <a:cubicBezTo>
                    <a:pt x="35313" y="22981"/>
                    <a:pt x="38360" y="19870"/>
                    <a:pt x="42169" y="19807"/>
                  </a:cubicBezTo>
                  <a:cubicBezTo>
                    <a:pt x="43654" y="19858"/>
                    <a:pt x="45089" y="20391"/>
                    <a:pt x="46232" y="21331"/>
                  </a:cubicBezTo>
                  <a:lnTo>
                    <a:pt x="45597" y="21331"/>
                  </a:lnTo>
                  <a:lnTo>
                    <a:pt x="10300" y="762"/>
                  </a:lnTo>
                  <a:lnTo>
                    <a:pt x="8015" y="0"/>
                  </a:lnTo>
                  <a:lnTo>
                    <a:pt x="8015" y="6729"/>
                  </a:lnTo>
                  <a:cubicBezTo>
                    <a:pt x="8015" y="7364"/>
                    <a:pt x="7507" y="7872"/>
                    <a:pt x="6872" y="7872"/>
                  </a:cubicBezTo>
                  <a:close/>
                </a:path>
              </a:pathLst>
            </a:custGeom>
            <a:solidFill>
              <a:srgbClr val="000000"/>
            </a:solidFill>
            <a:ln w="12690" cap="flat">
              <a:noFill/>
              <a:prstDash val="solid"/>
              <a:miter/>
            </a:ln>
          </p:spPr>
          <p:txBody>
            <a:bodyPr rtlCol="0" anchor="ctr"/>
            <a:lstStyle/>
            <a:p>
              <a:endParaRPr lang="en-US"/>
            </a:p>
          </p:txBody>
        </p:sp>
        <p:sp>
          <p:nvSpPr>
            <p:cNvPr id="1076" name="Freeform: Shape 1075">
              <a:extLst>
                <a:ext uri="{FF2B5EF4-FFF2-40B4-BE49-F238E27FC236}">
                  <a16:creationId xmlns:a16="http://schemas.microsoft.com/office/drawing/2014/main" id="{6B058227-9861-4365-AC0E-40236CDF5FBB}"/>
                </a:ext>
              </a:extLst>
            </p:cNvPr>
            <p:cNvSpPr/>
            <p:nvPr/>
          </p:nvSpPr>
          <p:spPr>
            <a:xfrm>
              <a:off x="6090730" y="6824392"/>
              <a:ext cx="13712" cy="40629"/>
            </a:xfrm>
            <a:custGeom>
              <a:avLst/>
              <a:gdLst>
                <a:gd name="connsiteX0" fmla="*/ 13332 w 13712"/>
                <a:gd name="connsiteY0" fmla="*/ 6094 h 40629"/>
                <a:gd name="connsiteX1" fmla="*/ 13332 w 13712"/>
                <a:gd name="connsiteY1" fmla="*/ 4698 h 40629"/>
                <a:gd name="connsiteX2" fmla="*/ 12697 w 13712"/>
                <a:gd name="connsiteY2" fmla="*/ 3555 h 40629"/>
                <a:gd name="connsiteX3" fmla="*/ 12062 w 13712"/>
                <a:gd name="connsiteY3" fmla="*/ 2539 h 40629"/>
                <a:gd name="connsiteX4" fmla="*/ 10919 w 13712"/>
                <a:gd name="connsiteY4" fmla="*/ 1524 h 40629"/>
                <a:gd name="connsiteX5" fmla="*/ 6856 w 13712"/>
                <a:gd name="connsiteY5" fmla="*/ 0 h 40629"/>
                <a:gd name="connsiteX6" fmla="*/ 0 w 13712"/>
                <a:gd name="connsiteY6" fmla="*/ 6983 h 40629"/>
                <a:gd name="connsiteX7" fmla="*/ 0 w 13712"/>
                <a:gd name="connsiteY7" fmla="*/ 40630 h 40629"/>
                <a:gd name="connsiteX8" fmla="*/ 13713 w 13712"/>
                <a:gd name="connsiteY8" fmla="*/ 40630 h 40629"/>
                <a:gd name="connsiteX9" fmla="*/ 13713 w 13712"/>
                <a:gd name="connsiteY9" fmla="*/ 6094 h 40629"/>
                <a:gd name="connsiteX10" fmla="*/ 13332 w 13712"/>
                <a:gd name="connsiteY10" fmla="*/ 6094 h 4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2" h="40629">
                  <a:moveTo>
                    <a:pt x="13332" y="6094"/>
                  </a:moveTo>
                  <a:cubicBezTo>
                    <a:pt x="13332" y="6094"/>
                    <a:pt x="13332" y="5206"/>
                    <a:pt x="13332" y="4698"/>
                  </a:cubicBezTo>
                  <a:cubicBezTo>
                    <a:pt x="13167" y="4291"/>
                    <a:pt x="12951" y="3911"/>
                    <a:pt x="12697" y="3555"/>
                  </a:cubicBezTo>
                  <a:cubicBezTo>
                    <a:pt x="12557" y="3174"/>
                    <a:pt x="12341" y="2831"/>
                    <a:pt x="12062" y="2539"/>
                  </a:cubicBezTo>
                  <a:lnTo>
                    <a:pt x="10919" y="1524"/>
                  </a:lnTo>
                  <a:cubicBezTo>
                    <a:pt x="9777" y="584"/>
                    <a:pt x="8342" y="51"/>
                    <a:pt x="6856" y="0"/>
                  </a:cubicBezTo>
                  <a:cubicBezTo>
                    <a:pt x="3047" y="63"/>
                    <a:pt x="0" y="3174"/>
                    <a:pt x="0" y="6983"/>
                  </a:cubicBezTo>
                  <a:lnTo>
                    <a:pt x="0" y="40630"/>
                  </a:lnTo>
                  <a:lnTo>
                    <a:pt x="13713" y="40630"/>
                  </a:lnTo>
                  <a:lnTo>
                    <a:pt x="13713" y="6094"/>
                  </a:lnTo>
                  <a:cubicBezTo>
                    <a:pt x="13713" y="6094"/>
                    <a:pt x="13332" y="6094"/>
                    <a:pt x="13332" y="6094"/>
                  </a:cubicBezTo>
                  <a:close/>
                </a:path>
              </a:pathLst>
            </a:custGeom>
            <a:solidFill>
              <a:srgbClr val="000000"/>
            </a:solidFill>
            <a:ln w="1269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39860" y="365760"/>
            <a:ext cx="10318690" cy="1325880"/>
          </a:xfrm>
          <a:noFill/>
        </p:spPr>
        <p:txBody>
          <a:bodyPr/>
          <a:lstStyle>
            <a:lvl1pPr algn="ct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lvl1pPr>
              <a:defRPr>
                <a:solidFill>
                  <a:schemeClr val="bg1"/>
                </a:solidFill>
              </a:defRPr>
            </a:lvl1pPr>
          </a:lstStyle>
          <a:p>
            <a:r>
              <a:rPr lang="en-US"/>
              <a:t>7/1/20XX</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lvl1pPr>
              <a:defRPr>
                <a:solidFill>
                  <a:schemeClr val="bg1"/>
                </a:solidFill>
              </a:defRPr>
            </a:lvl1pPr>
          </a:lstStyle>
          <a:p>
            <a:fld id="{B5CEABB6-07DC-46E8-9B57-56EC44A396E5}" type="slidenum">
              <a:rPr lang="en-US" smtClean="0"/>
              <a:pPr/>
              <a:t>‹#›</a:t>
            </a:fld>
            <a:endParaRPr lang="en-US"/>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1764862" y="2282238"/>
            <a:ext cx="4114800" cy="822960"/>
          </a:xfrm>
        </p:spPr>
        <p:txBody>
          <a:bodyPr>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1767910" y="1854574"/>
            <a:ext cx="4114800" cy="428755"/>
          </a:xfrm>
        </p:spPr>
        <p:txBody>
          <a:bodyPr>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17" name="Text Placeholder 9">
            <a:extLst>
              <a:ext uri="{FF2B5EF4-FFF2-40B4-BE49-F238E27FC236}">
                <a16:creationId xmlns:a16="http://schemas.microsoft.com/office/drawing/2014/main" id="{92C6694F-2B95-4B4C-BA1B-C0324F61B8AE}"/>
              </a:ext>
            </a:extLst>
          </p:cNvPr>
          <p:cNvSpPr>
            <a:spLocks noGrp="1"/>
          </p:cNvSpPr>
          <p:nvPr>
            <p:ph type="body" sz="quarter" idx="16" hasCustomPrompt="1"/>
          </p:nvPr>
        </p:nvSpPr>
        <p:spPr>
          <a:xfrm>
            <a:off x="1766835" y="3529584"/>
            <a:ext cx="4114800" cy="822960"/>
          </a:xfrm>
        </p:spPr>
        <p:txBody>
          <a:bodyPr>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18" name="Text Placeholder 9">
            <a:extLst>
              <a:ext uri="{FF2B5EF4-FFF2-40B4-BE49-F238E27FC236}">
                <a16:creationId xmlns:a16="http://schemas.microsoft.com/office/drawing/2014/main" id="{90030F54-B798-4D46-A4CD-ACD5BBD57DB3}"/>
              </a:ext>
            </a:extLst>
          </p:cNvPr>
          <p:cNvSpPr>
            <a:spLocks noGrp="1"/>
          </p:cNvSpPr>
          <p:nvPr>
            <p:ph type="body" sz="quarter" idx="17" hasCustomPrompt="1"/>
          </p:nvPr>
        </p:nvSpPr>
        <p:spPr>
          <a:xfrm>
            <a:off x="1766835" y="3099816"/>
            <a:ext cx="4114800" cy="428755"/>
          </a:xfrm>
        </p:spPr>
        <p:txBody>
          <a:bodyPr>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19" name="Text Placeholder 9">
            <a:extLst>
              <a:ext uri="{FF2B5EF4-FFF2-40B4-BE49-F238E27FC236}">
                <a16:creationId xmlns:a16="http://schemas.microsoft.com/office/drawing/2014/main" id="{6BCC7FE8-95AF-4413-95CB-0BEFC63F6C3A}"/>
              </a:ext>
            </a:extLst>
          </p:cNvPr>
          <p:cNvSpPr>
            <a:spLocks noGrp="1"/>
          </p:cNvSpPr>
          <p:nvPr>
            <p:ph type="body" sz="quarter" idx="18" hasCustomPrompt="1"/>
          </p:nvPr>
        </p:nvSpPr>
        <p:spPr>
          <a:xfrm>
            <a:off x="6311403" y="2280435"/>
            <a:ext cx="4114800" cy="822960"/>
          </a:xfrm>
        </p:spPr>
        <p:txBody>
          <a:bodyPr>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22" name="Text Placeholder 9">
            <a:extLst>
              <a:ext uri="{FF2B5EF4-FFF2-40B4-BE49-F238E27FC236}">
                <a16:creationId xmlns:a16="http://schemas.microsoft.com/office/drawing/2014/main" id="{7B8F0619-4E85-42A4-85C2-D6BB13201858}"/>
              </a:ext>
            </a:extLst>
          </p:cNvPr>
          <p:cNvSpPr>
            <a:spLocks noGrp="1"/>
          </p:cNvSpPr>
          <p:nvPr>
            <p:ph type="body" sz="quarter" idx="19" hasCustomPrompt="1"/>
          </p:nvPr>
        </p:nvSpPr>
        <p:spPr>
          <a:xfrm>
            <a:off x="6311403" y="1856232"/>
            <a:ext cx="4114800" cy="428755"/>
          </a:xfrm>
        </p:spPr>
        <p:txBody>
          <a:bodyPr>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23" name="Text Placeholder 9">
            <a:extLst>
              <a:ext uri="{FF2B5EF4-FFF2-40B4-BE49-F238E27FC236}">
                <a16:creationId xmlns:a16="http://schemas.microsoft.com/office/drawing/2014/main" id="{5E79BC06-B039-47CF-9DCC-6D96D6B07850}"/>
              </a:ext>
            </a:extLst>
          </p:cNvPr>
          <p:cNvSpPr>
            <a:spLocks noGrp="1"/>
          </p:cNvSpPr>
          <p:nvPr>
            <p:ph type="body" sz="quarter" idx="20" hasCustomPrompt="1"/>
          </p:nvPr>
        </p:nvSpPr>
        <p:spPr>
          <a:xfrm>
            <a:off x="6311403" y="3529584"/>
            <a:ext cx="4114800" cy="822960"/>
          </a:xfrm>
        </p:spPr>
        <p:txBody>
          <a:bodyPr>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24" name="Text Placeholder 9">
            <a:extLst>
              <a:ext uri="{FF2B5EF4-FFF2-40B4-BE49-F238E27FC236}">
                <a16:creationId xmlns:a16="http://schemas.microsoft.com/office/drawing/2014/main" id="{521874F3-36B0-4030-9576-95D94C95A719}"/>
              </a:ext>
            </a:extLst>
          </p:cNvPr>
          <p:cNvSpPr>
            <a:spLocks noGrp="1"/>
          </p:cNvSpPr>
          <p:nvPr>
            <p:ph type="body" sz="quarter" idx="21" hasCustomPrompt="1"/>
          </p:nvPr>
        </p:nvSpPr>
        <p:spPr>
          <a:xfrm>
            <a:off x="6311403" y="3099816"/>
            <a:ext cx="4114800" cy="428755"/>
          </a:xfrm>
        </p:spPr>
        <p:txBody>
          <a:bodyPr>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a:r>
              <a:rPr lang="en-US"/>
              <a:t>CLICK TO TEXT</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lvl1pPr>
              <a:defRPr b="0">
                <a:solidFill>
                  <a:schemeClr val="bg1"/>
                </a:solidFill>
              </a:defRPr>
            </a:lvl1pPr>
          </a:lstStyle>
          <a:p>
            <a:r>
              <a:rPr lang="en-US"/>
              <a:t>Pitch deck title</a:t>
            </a:r>
          </a:p>
        </p:txBody>
      </p:sp>
    </p:spTree>
    <p:extLst>
      <p:ext uri="{BB962C8B-B14F-4D97-AF65-F5344CB8AC3E}">
        <p14:creationId xmlns:p14="http://schemas.microsoft.com/office/powerpoint/2010/main" val="3648307211"/>
      </p:ext>
    </p:extLst>
  </p:cSld>
  <p:clrMapOvr>
    <a:masterClrMapping/>
  </p:clrMapOvr>
  <p:extLst>
    <p:ext uri="{DCECCB84-F9BA-43D5-87BE-67443E8EF086}">
      <p15:sldGuideLst xmlns:p15="http://schemas.microsoft.com/office/powerpoint/2012/main">
        <p15:guide id="1" pos="3840" userDrawn="1">
          <p15:clr>
            <a:srgbClr val="FBAE40"/>
          </p15:clr>
        </p15:guide>
        <p15:guide id="2" pos="576" userDrawn="1">
          <p15:clr>
            <a:srgbClr val="FBAE40"/>
          </p15:clr>
        </p15:guide>
        <p15:guide id="3" pos="70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Product Benefits">
    <p:spTree>
      <p:nvGrpSpPr>
        <p:cNvPr id="1" name=""/>
        <p:cNvGrpSpPr/>
        <p:nvPr/>
      </p:nvGrpSpPr>
      <p:grpSpPr>
        <a:xfrm>
          <a:off x="0" y="0"/>
          <a:ext cx="0" cy="0"/>
          <a:chOff x="0" y="0"/>
          <a:chExt cx="0" cy="0"/>
        </a:xfrm>
      </p:grpSpPr>
      <p:sp>
        <p:nvSpPr>
          <p:cNvPr id="25" name="Rectangle 9">
            <a:extLst>
              <a:ext uri="{FF2B5EF4-FFF2-40B4-BE49-F238E27FC236}">
                <a16:creationId xmlns:a16="http://schemas.microsoft.com/office/drawing/2014/main" id="{1BB11DB2-95D5-40A8-A5DA-12C7BE6B1D08}"/>
              </a:ext>
            </a:extLst>
          </p:cNvPr>
          <p:cNvSpPr/>
          <p:nvPr userDrawn="1"/>
        </p:nvSpPr>
        <p:spPr>
          <a:xfrm flipH="1">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20CC67AF-EFC9-4B23-9479-0F61E17DB384}"/>
              </a:ext>
            </a:extLst>
          </p:cNvPr>
          <p:cNvCxnSpPr>
            <a:cxnSpLocks/>
          </p:cNvCxnSpPr>
          <p:nvPr userDrawn="1"/>
        </p:nvCxnSpPr>
        <p:spPr>
          <a:xfrm>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a:lstStyle>
            <a:lvl1pPr algn="ct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136374" y="2354310"/>
            <a:ext cx="1828800" cy="1315629"/>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182108" y="2356582"/>
            <a:ext cx="1828800" cy="131673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8234662" y="2352030"/>
            <a:ext cx="1828800" cy="131673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003288" y="2167999"/>
            <a:ext cx="2283712" cy="2743200"/>
          </a:xfrm>
          <a:ln w="22225">
            <a:solidFill>
              <a:schemeClr val="tx1"/>
            </a:solidFill>
          </a:ln>
        </p:spPr>
        <p:txBody>
          <a:bodyPr lIns="365760" tIns="1554480" rIns="36576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34" name="Text Placeholder 16">
            <a:extLst>
              <a:ext uri="{FF2B5EF4-FFF2-40B4-BE49-F238E27FC236}">
                <a16:creationId xmlns:a16="http://schemas.microsoft.com/office/drawing/2014/main" id="{C0972073-5297-411C-B27C-5CC1985668B9}"/>
              </a:ext>
            </a:extLst>
          </p:cNvPr>
          <p:cNvSpPr>
            <a:spLocks noGrp="1"/>
          </p:cNvSpPr>
          <p:nvPr>
            <p:ph type="body" sz="quarter" idx="20" hasCustomPrompt="1"/>
          </p:nvPr>
        </p:nvSpPr>
        <p:spPr>
          <a:xfrm>
            <a:off x="4950734" y="2172551"/>
            <a:ext cx="2283712" cy="2743200"/>
          </a:xfrm>
          <a:ln w="22225">
            <a:solidFill>
              <a:schemeClr val="tx1"/>
            </a:solidFill>
          </a:ln>
        </p:spPr>
        <p:txBody>
          <a:bodyPr lIns="365760" tIns="1554480" rIns="36576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35" name="Text Placeholder 16">
            <a:extLst>
              <a:ext uri="{FF2B5EF4-FFF2-40B4-BE49-F238E27FC236}">
                <a16:creationId xmlns:a16="http://schemas.microsoft.com/office/drawing/2014/main" id="{E7EB506B-A069-4967-8BF4-C080EC34A3FD}"/>
              </a:ext>
            </a:extLst>
          </p:cNvPr>
          <p:cNvSpPr>
            <a:spLocks noGrp="1"/>
          </p:cNvSpPr>
          <p:nvPr>
            <p:ph type="body" sz="quarter" idx="21" hasCustomPrompt="1"/>
          </p:nvPr>
        </p:nvSpPr>
        <p:spPr>
          <a:xfrm>
            <a:off x="1905000" y="2170279"/>
            <a:ext cx="2283712" cy="2743200"/>
          </a:xfrm>
          <a:ln w="22225">
            <a:solidFill>
              <a:schemeClr val="tx1"/>
            </a:solidFill>
          </a:ln>
        </p:spPr>
        <p:txBody>
          <a:bodyPr lIns="365760" tIns="1554480" rIns="36576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Tree>
    <p:extLst>
      <p:ext uri="{BB962C8B-B14F-4D97-AF65-F5344CB8AC3E}">
        <p14:creationId xmlns:p14="http://schemas.microsoft.com/office/powerpoint/2010/main" val="245902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3D039-0A18-4031-8A63-D83666B066F6}"/>
              </a:ext>
            </a:extLst>
          </p:cNvPr>
          <p:cNvSpPr>
            <a:spLocks noGrp="1"/>
          </p:cNvSpPr>
          <p:nvPr>
            <p:ph type="title" hasCustomPrompt="1"/>
          </p:nvPr>
        </p:nvSpPr>
        <p:spPr>
          <a:xfrm>
            <a:off x="831850" y="4672584"/>
            <a:ext cx="10515600" cy="1299411"/>
          </a:xfrm>
        </p:spPr>
        <p:txBody>
          <a:bodyPr anchor="b">
            <a:normAutofit/>
          </a:bodyPr>
          <a:lstStyle>
            <a:lvl1pPr>
              <a:defRPr sz="4000"/>
            </a:lvl1pPr>
          </a:lstStyle>
          <a:p>
            <a:r>
              <a:rPr lang="en-US"/>
              <a:t>CLICK TO EDIT TITLE</a:t>
            </a:r>
          </a:p>
        </p:txBody>
      </p:sp>
      <p:grpSp>
        <p:nvGrpSpPr>
          <p:cNvPr id="7" name="Picture Placeholder 795" descr="abstract colorful illustration of buildings&#10;">
            <a:extLst>
              <a:ext uri="{FF2B5EF4-FFF2-40B4-BE49-F238E27FC236}">
                <a16:creationId xmlns:a16="http://schemas.microsoft.com/office/drawing/2014/main" id="{7BF705FA-047E-4C8C-BC87-F9F921DD18D9}"/>
              </a:ext>
            </a:extLst>
          </p:cNvPr>
          <p:cNvGrpSpPr/>
          <p:nvPr userDrawn="1"/>
        </p:nvGrpSpPr>
        <p:grpSpPr>
          <a:xfrm>
            <a:off x="0" y="-381"/>
            <a:ext cx="12186285" cy="5049718"/>
            <a:chOff x="0" y="-381"/>
            <a:chExt cx="12186285" cy="5049718"/>
          </a:xfrm>
        </p:grpSpPr>
        <p:sp>
          <p:nvSpPr>
            <p:cNvPr id="9" name="Freeform: Shape 8">
              <a:extLst>
                <a:ext uri="{FF2B5EF4-FFF2-40B4-BE49-F238E27FC236}">
                  <a16:creationId xmlns:a16="http://schemas.microsoft.com/office/drawing/2014/main" id="{57A7AD16-E63F-4FE2-98A1-3C96501EEE1D}"/>
                </a:ext>
              </a:extLst>
            </p:cNvPr>
            <p:cNvSpPr/>
            <p:nvPr/>
          </p:nvSpPr>
          <p:spPr>
            <a:xfrm>
              <a:off x="9255985" y="867310"/>
              <a:ext cx="48247" cy="41518"/>
            </a:xfrm>
            <a:custGeom>
              <a:avLst/>
              <a:gdLst>
                <a:gd name="connsiteX0" fmla="*/ 47613 w 48247"/>
                <a:gd name="connsiteY0" fmla="*/ 37201 h 41518"/>
                <a:gd name="connsiteX1" fmla="*/ 47613 w 48247"/>
                <a:gd name="connsiteY1" fmla="*/ 0 h 41518"/>
                <a:gd name="connsiteX2" fmla="*/ 0 w 48247"/>
                <a:gd name="connsiteY2" fmla="*/ 36947 h 41518"/>
                <a:gd name="connsiteX3" fmla="*/ 14982 w 48247"/>
                <a:gd name="connsiteY3" fmla="*/ 41518 h 41518"/>
                <a:gd name="connsiteX4" fmla="*/ 21838 w 48247"/>
                <a:gd name="connsiteY4" fmla="*/ 38471 h 41518"/>
                <a:gd name="connsiteX5" fmla="*/ 30980 w 48247"/>
                <a:gd name="connsiteY5" fmla="*/ 41137 h 41518"/>
                <a:gd name="connsiteX6" fmla="*/ 48248 w 48247"/>
                <a:gd name="connsiteY6" fmla="*/ 38090 h 4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47" h="41518">
                  <a:moveTo>
                    <a:pt x="47613" y="37201"/>
                  </a:moveTo>
                  <a:lnTo>
                    <a:pt x="47613" y="0"/>
                  </a:lnTo>
                  <a:lnTo>
                    <a:pt x="0" y="36947"/>
                  </a:lnTo>
                  <a:lnTo>
                    <a:pt x="14982" y="41518"/>
                  </a:lnTo>
                  <a:cubicBezTo>
                    <a:pt x="16100" y="38844"/>
                    <a:pt x="19109" y="37507"/>
                    <a:pt x="21838" y="38471"/>
                  </a:cubicBezTo>
                  <a:lnTo>
                    <a:pt x="30980" y="41137"/>
                  </a:lnTo>
                  <a:lnTo>
                    <a:pt x="48248" y="38090"/>
                  </a:lnTo>
                  <a:close/>
                </a:path>
              </a:pathLst>
            </a:custGeom>
            <a:noFill/>
            <a:ln w="1269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471929EC-EFF4-46D1-881B-C9443AD24CD3}"/>
                </a:ext>
              </a:extLst>
            </p:cNvPr>
            <p:cNvSpPr/>
            <p:nvPr/>
          </p:nvSpPr>
          <p:spPr>
            <a:xfrm>
              <a:off x="7488587" y="61578"/>
              <a:ext cx="673440" cy="196544"/>
            </a:xfrm>
            <a:custGeom>
              <a:avLst/>
              <a:gdLst>
                <a:gd name="connsiteX0" fmla="*/ 22092 w 673440"/>
                <a:gd name="connsiteY0" fmla="*/ 1905 h 196544"/>
                <a:gd name="connsiteX1" fmla="*/ 22981 w 673440"/>
                <a:gd name="connsiteY1" fmla="*/ 1905 h 196544"/>
                <a:gd name="connsiteX2" fmla="*/ 24124 w 673440"/>
                <a:gd name="connsiteY2" fmla="*/ 1905 h 196544"/>
                <a:gd name="connsiteX3" fmla="*/ 25140 w 673440"/>
                <a:gd name="connsiteY3" fmla="*/ 1905 h 196544"/>
                <a:gd name="connsiteX4" fmla="*/ 26155 w 673440"/>
                <a:gd name="connsiteY4" fmla="*/ 1905 h 196544"/>
                <a:gd name="connsiteX5" fmla="*/ 27171 w 673440"/>
                <a:gd name="connsiteY5" fmla="*/ 1905 h 196544"/>
                <a:gd name="connsiteX6" fmla="*/ 27171 w 673440"/>
                <a:gd name="connsiteY6" fmla="*/ 1905 h 196544"/>
                <a:gd name="connsiteX7" fmla="*/ 28187 w 673440"/>
                <a:gd name="connsiteY7" fmla="*/ 1905 h 196544"/>
                <a:gd name="connsiteX8" fmla="*/ 28187 w 673440"/>
                <a:gd name="connsiteY8" fmla="*/ 1905 h 196544"/>
                <a:gd name="connsiteX9" fmla="*/ 28187 w 673440"/>
                <a:gd name="connsiteY9" fmla="*/ 1905 h 196544"/>
                <a:gd name="connsiteX10" fmla="*/ 28187 w 673440"/>
                <a:gd name="connsiteY10" fmla="*/ 2793 h 196544"/>
                <a:gd name="connsiteX11" fmla="*/ 28187 w 673440"/>
                <a:gd name="connsiteY11" fmla="*/ 3809 h 196544"/>
                <a:gd name="connsiteX12" fmla="*/ 28187 w 673440"/>
                <a:gd name="connsiteY12" fmla="*/ 4571 h 196544"/>
                <a:gd name="connsiteX13" fmla="*/ 28187 w 673440"/>
                <a:gd name="connsiteY13" fmla="*/ 6094 h 196544"/>
                <a:gd name="connsiteX14" fmla="*/ 673440 w 673440"/>
                <a:gd name="connsiteY14" fmla="*/ 196545 h 196544"/>
                <a:gd name="connsiteX15" fmla="*/ 23235 w 673440"/>
                <a:gd name="connsiteY15" fmla="*/ 0 h 196544"/>
                <a:gd name="connsiteX16" fmla="*/ 23235 w 673440"/>
                <a:gd name="connsiteY16" fmla="*/ 0 h 196544"/>
                <a:gd name="connsiteX17" fmla="*/ 22347 w 673440"/>
                <a:gd name="connsiteY17" fmla="*/ 0 h 196544"/>
                <a:gd name="connsiteX18" fmla="*/ 21458 w 673440"/>
                <a:gd name="connsiteY18" fmla="*/ 0 h 196544"/>
                <a:gd name="connsiteX19" fmla="*/ 0 w 673440"/>
                <a:gd name="connsiteY19" fmla="*/ 19553 h 196544"/>
                <a:gd name="connsiteX20" fmla="*/ 21331 w 673440"/>
                <a:gd name="connsiteY20" fmla="*/ 1905 h 1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440" h="196544">
                  <a:moveTo>
                    <a:pt x="22092" y="1905"/>
                  </a:moveTo>
                  <a:lnTo>
                    <a:pt x="22981" y="1905"/>
                  </a:lnTo>
                  <a:lnTo>
                    <a:pt x="24124" y="1905"/>
                  </a:lnTo>
                  <a:lnTo>
                    <a:pt x="25140" y="1905"/>
                  </a:lnTo>
                  <a:lnTo>
                    <a:pt x="26155" y="1905"/>
                  </a:lnTo>
                  <a:lnTo>
                    <a:pt x="27171" y="1905"/>
                  </a:lnTo>
                  <a:lnTo>
                    <a:pt x="27171" y="1905"/>
                  </a:lnTo>
                  <a:lnTo>
                    <a:pt x="28187" y="1905"/>
                  </a:lnTo>
                  <a:lnTo>
                    <a:pt x="28187" y="1905"/>
                  </a:lnTo>
                  <a:cubicBezTo>
                    <a:pt x="28187" y="1905"/>
                    <a:pt x="28187" y="1905"/>
                    <a:pt x="28187" y="1905"/>
                  </a:cubicBezTo>
                  <a:cubicBezTo>
                    <a:pt x="28251" y="2198"/>
                    <a:pt x="28251" y="2500"/>
                    <a:pt x="28187" y="2793"/>
                  </a:cubicBezTo>
                  <a:lnTo>
                    <a:pt x="28187" y="3809"/>
                  </a:lnTo>
                  <a:cubicBezTo>
                    <a:pt x="28187" y="3809"/>
                    <a:pt x="28187" y="3809"/>
                    <a:pt x="28187" y="4571"/>
                  </a:cubicBezTo>
                  <a:lnTo>
                    <a:pt x="28187" y="6094"/>
                  </a:lnTo>
                  <a:lnTo>
                    <a:pt x="673440" y="196545"/>
                  </a:lnTo>
                  <a:lnTo>
                    <a:pt x="23235" y="0"/>
                  </a:lnTo>
                  <a:lnTo>
                    <a:pt x="23235" y="0"/>
                  </a:lnTo>
                  <a:lnTo>
                    <a:pt x="22347" y="0"/>
                  </a:lnTo>
                  <a:lnTo>
                    <a:pt x="21458" y="0"/>
                  </a:lnTo>
                  <a:lnTo>
                    <a:pt x="0" y="19553"/>
                  </a:lnTo>
                  <a:lnTo>
                    <a:pt x="21331" y="1905"/>
                  </a:lnTo>
                  <a:close/>
                </a:path>
              </a:pathLst>
            </a:custGeom>
            <a:noFill/>
            <a:ln w="1269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6837BE3-D50F-49DD-9524-105C61069821}"/>
                </a:ext>
              </a:extLst>
            </p:cNvPr>
            <p:cNvSpPr/>
            <p:nvPr/>
          </p:nvSpPr>
          <p:spPr>
            <a:xfrm>
              <a:off x="7455321" y="78337"/>
              <a:ext cx="52819" cy="59039"/>
            </a:xfrm>
            <a:custGeom>
              <a:avLst/>
              <a:gdLst>
                <a:gd name="connsiteX0" fmla="*/ 0 w 52819"/>
                <a:gd name="connsiteY0" fmla="*/ 43042 h 59039"/>
                <a:gd name="connsiteX1" fmla="*/ 52819 w 52819"/>
                <a:gd name="connsiteY1" fmla="*/ 59040 h 59039"/>
                <a:gd name="connsiteX2" fmla="*/ 52819 w 52819"/>
                <a:gd name="connsiteY2" fmla="*/ 0 h 59039"/>
                <a:gd name="connsiteX3" fmla="*/ 0 w 52819"/>
                <a:gd name="connsiteY3" fmla="*/ 43042 h 59039"/>
              </a:gdLst>
              <a:ahLst/>
              <a:cxnLst>
                <a:cxn ang="0">
                  <a:pos x="connsiteX0" y="connsiteY0"/>
                </a:cxn>
                <a:cxn ang="0">
                  <a:pos x="connsiteX1" y="connsiteY1"/>
                </a:cxn>
                <a:cxn ang="0">
                  <a:pos x="connsiteX2" y="connsiteY2"/>
                </a:cxn>
                <a:cxn ang="0">
                  <a:pos x="connsiteX3" y="connsiteY3"/>
                </a:cxn>
              </a:cxnLst>
              <a:rect l="l" t="t" r="r" b="b"/>
              <a:pathLst>
                <a:path w="52819" h="59039">
                  <a:moveTo>
                    <a:pt x="0" y="43042"/>
                  </a:moveTo>
                  <a:lnTo>
                    <a:pt x="52819" y="59040"/>
                  </a:lnTo>
                  <a:lnTo>
                    <a:pt x="52819" y="0"/>
                  </a:lnTo>
                  <a:lnTo>
                    <a:pt x="0" y="43042"/>
                  </a:lnTo>
                  <a:close/>
                </a:path>
              </a:pathLst>
            </a:custGeom>
            <a:noFill/>
            <a:ln w="1269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96CB0C7-73C9-4B92-88CA-FE7D026ED481}"/>
                </a:ext>
              </a:extLst>
            </p:cNvPr>
            <p:cNvSpPr/>
            <p:nvPr/>
          </p:nvSpPr>
          <p:spPr>
            <a:xfrm>
              <a:off x="9859719" y="4389884"/>
              <a:ext cx="952261" cy="268535"/>
            </a:xfrm>
            <a:custGeom>
              <a:avLst/>
              <a:gdLst>
                <a:gd name="connsiteX0" fmla="*/ 952262 w 952261"/>
                <a:gd name="connsiteY0" fmla="*/ 268535 h 268535"/>
                <a:gd name="connsiteX1" fmla="*/ 475750 w 952261"/>
                <a:gd name="connsiteY1" fmla="*/ 116175 h 268535"/>
                <a:gd name="connsiteX2" fmla="*/ 162900 w 952261"/>
                <a:gd name="connsiteY2" fmla="*/ 21711 h 268535"/>
                <a:gd name="connsiteX3" fmla="*/ 159345 w 952261"/>
                <a:gd name="connsiteY3" fmla="*/ 16506 h 268535"/>
                <a:gd name="connsiteX4" fmla="*/ 0 w 952261"/>
                <a:gd name="connsiteY4" fmla="*/ 0 h 268535"/>
                <a:gd name="connsiteX5" fmla="*/ 133698 w 952261"/>
                <a:gd name="connsiteY5" fmla="*/ 38090 h 268535"/>
                <a:gd name="connsiteX6" fmla="*/ 133698 w 952261"/>
                <a:gd name="connsiteY6" fmla="*/ 38090 h 268535"/>
                <a:gd name="connsiteX7" fmla="*/ 134587 w 952261"/>
                <a:gd name="connsiteY7" fmla="*/ 38090 h 268535"/>
                <a:gd name="connsiteX8" fmla="*/ 135475 w 952261"/>
                <a:gd name="connsiteY8" fmla="*/ 38725 h 268535"/>
                <a:gd name="connsiteX9" fmla="*/ 135475 w 952261"/>
                <a:gd name="connsiteY9" fmla="*/ 38725 h 268535"/>
                <a:gd name="connsiteX10" fmla="*/ 135475 w 952261"/>
                <a:gd name="connsiteY10" fmla="*/ 38725 h 268535"/>
                <a:gd name="connsiteX11" fmla="*/ 135475 w 952261"/>
                <a:gd name="connsiteY11" fmla="*/ 39614 h 268535"/>
                <a:gd name="connsiteX12" fmla="*/ 135475 w 952261"/>
                <a:gd name="connsiteY12" fmla="*/ 40503 h 268535"/>
                <a:gd name="connsiteX13" fmla="*/ 135475 w 952261"/>
                <a:gd name="connsiteY13" fmla="*/ 41391 h 268535"/>
                <a:gd name="connsiteX14" fmla="*/ 135475 w 952261"/>
                <a:gd name="connsiteY14" fmla="*/ 42407 h 268535"/>
                <a:gd name="connsiteX15" fmla="*/ 135475 w 952261"/>
                <a:gd name="connsiteY15" fmla="*/ 42407 h 26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2261" h="268535">
                  <a:moveTo>
                    <a:pt x="952262" y="268535"/>
                  </a:moveTo>
                  <a:lnTo>
                    <a:pt x="475750" y="116175"/>
                  </a:lnTo>
                  <a:lnTo>
                    <a:pt x="162900" y="21711"/>
                  </a:lnTo>
                  <a:cubicBezTo>
                    <a:pt x="160628" y="21051"/>
                    <a:pt x="159130" y="18867"/>
                    <a:pt x="159345" y="16506"/>
                  </a:cubicBezTo>
                  <a:lnTo>
                    <a:pt x="0" y="0"/>
                  </a:lnTo>
                  <a:lnTo>
                    <a:pt x="133698" y="38090"/>
                  </a:lnTo>
                  <a:lnTo>
                    <a:pt x="133698" y="38090"/>
                  </a:lnTo>
                  <a:lnTo>
                    <a:pt x="134587" y="38090"/>
                  </a:lnTo>
                  <a:lnTo>
                    <a:pt x="135475" y="38725"/>
                  </a:lnTo>
                  <a:lnTo>
                    <a:pt x="135475" y="38725"/>
                  </a:lnTo>
                  <a:lnTo>
                    <a:pt x="135475" y="38725"/>
                  </a:lnTo>
                  <a:cubicBezTo>
                    <a:pt x="135500" y="39017"/>
                    <a:pt x="135500" y="39322"/>
                    <a:pt x="135475" y="39614"/>
                  </a:cubicBezTo>
                  <a:cubicBezTo>
                    <a:pt x="135526" y="39906"/>
                    <a:pt x="135526" y="40210"/>
                    <a:pt x="135475" y="40503"/>
                  </a:cubicBezTo>
                  <a:cubicBezTo>
                    <a:pt x="135538" y="40795"/>
                    <a:pt x="135538" y="41099"/>
                    <a:pt x="135475" y="41391"/>
                  </a:cubicBezTo>
                  <a:cubicBezTo>
                    <a:pt x="135538" y="41722"/>
                    <a:pt x="135538" y="42077"/>
                    <a:pt x="135475" y="42407"/>
                  </a:cubicBezTo>
                  <a:lnTo>
                    <a:pt x="135475" y="42407"/>
                  </a:lnTo>
                  <a:close/>
                </a:path>
              </a:pathLst>
            </a:custGeom>
            <a:noFill/>
            <a:ln w="1269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0EB8F1C-0D8E-4E0F-BD64-E9093BCEC615}"/>
                </a:ext>
              </a:extLst>
            </p:cNvPr>
            <p:cNvSpPr/>
            <p:nvPr/>
          </p:nvSpPr>
          <p:spPr>
            <a:xfrm>
              <a:off x="8608447" y="3870208"/>
              <a:ext cx="51549" cy="49897"/>
            </a:xfrm>
            <a:custGeom>
              <a:avLst/>
              <a:gdLst>
                <a:gd name="connsiteX0" fmla="*/ 48502 w 51549"/>
                <a:gd name="connsiteY0" fmla="*/ 9142 h 49897"/>
                <a:gd name="connsiteX1" fmla="*/ 48502 w 51549"/>
                <a:gd name="connsiteY1" fmla="*/ 9142 h 49897"/>
                <a:gd name="connsiteX2" fmla="*/ 49518 w 51549"/>
                <a:gd name="connsiteY2" fmla="*/ 9142 h 49897"/>
                <a:gd name="connsiteX3" fmla="*/ 50660 w 51549"/>
                <a:gd name="connsiteY3" fmla="*/ 9142 h 49897"/>
                <a:gd name="connsiteX4" fmla="*/ 51549 w 51549"/>
                <a:gd name="connsiteY4" fmla="*/ 9142 h 49897"/>
                <a:gd name="connsiteX5" fmla="*/ 51549 w 51549"/>
                <a:gd name="connsiteY5" fmla="*/ 635 h 49897"/>
                <a:gd name="connsiteX6" fmla="*/ 51549 w 51549"/>
                <a:gd name="connsiteY6" fmla="*/ 635 h 49897"/>
                <a:gd name="connsiteX7" fmla="*/ 49771 w 51549"/>
                <a:gd name="connsiteY7" fmla="*/ 635 h 49897"/>
                <a:gd name="connsiteX8" fmla="*/ 47613 w 51549"/>
                <a:gd name="connsiteY8" fmla="*/ 0 h 49897"/>
                <a:gd name="connsiteX9" fmla="*/ 0 w 51549"/>
                <a:gd name="connsiteY9" fmla="*/ 49898 h 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49" h="49897">
                  <a:moveTo>
                    <a:pt x="48502" y="9142"/>
                  </a:moveTo>
                  <a:lnTo>
                    <a:pt x="48502" y="9142"/>
                  </a:lnTo>
                  <a:lnTo>
                    <a:pt x="49518" y="9142"/>
                  </a:lnTo>
                  <a:lnTo>
                    <a:pt x="50660" y="9142"/>
                  </a:lnTo>
                  <a:lnTo>
                    <a:pt x="51549" y="9142"/>
                  </a:lnTo>
                  <a:lnTo>
                    <a:pt x="51549" y="635"/>
                  </a:lnTo>
                  <a:lnTo>
                    <a:pt x="51549" y="635"/>
                  </a:lnTo>
                  <a:cubicBezTo>
                    <a:pt x="50965" y="762"/>
                    <a:pt x="50356" y="762"/>
                    <a:pt x="49771" y="635"/>
                  </a:cubicBezTo>
                  <a:lnTo>
                    <a:pt x="47613" y="0"/>
                  </a:lnTo>
                  <a:lnTo>
                    <a:pt x="0" y="49898"/>
                  </a:lnTo>
                  <a:close/>
                </a:path>
              </a:pathLst>
            </a:custGeom>
            <a:noFill/>
            <a:ln w="1269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594D8640-E626-45FA-B2CF-0222166C2F42}"/>
                </a:ext>
              </a:extLst>
            </p:cNvPr>
            <p:cNvSpPr/>
            <p:nvPr/>
          </p:nvSpPr>
          <p:spPr>
            <a:xfrm>
              <a:off x="6086476" y="2354602"/>
              <a:ext cx="3458361" cy="1058651"/>
            </a:xfrm>
            <a:custGeom>
              <a:avLst/>
              <a:gdLst>
                <a:gd name="connsiteX0" fmla="*/ 3121388 w 3458361"/>
                <a:gd name="connsiteY0" fmla="*/ 956951 h 1058651"/>
                <a:gd name="connsiteX1" fmla="*/ 3121388 w 3458361"/>
                <a:gd name="connsiteY1" fmla="*/ 956951 h 1058651"/>
                <a:gd name="connsiteX2" fmla="*/ 3120245 w 3458361"/>
                <a:gd name="connsiteY2" fmla="*/ 956316 h 1058651"/>
                <a:gd name="connsiteX3" fmla="*/ 3119483 w 3458361"/>
                <a:gd name="connsiteY3" fmla="*/ 956316 h 1058651"/>
                <a:gd name="connsiteX4" fmla="*/ 3119483 w 3458361"/>
                <a:gd name="connsiteY4" fmla="*/ 955554 h 1058651"/>
                <a:gd name="connsiteX5" fmla="*/ 3119483 w 3458361"/>
                <a:gd name="connsiteY5" fmla="*/ 954792 h 1058651"/>
                <a:gd name="connsiteX6" fmla="*/ 3119483 w 3458361"/>
                <a:gd name="connsiteY6" fmla="*/ 953903 h 1058651"/>
                <a:gd name="connsiteX7" fmla="*/ 3119483 w 3458361"/>
                <a:gd name="connsiteY7" fmla="*/ 952888 h 1058651"/>
                <a:gd name="connsiteX8" fmla="*/ 3119483 w 3458361"/>
                <a:gd name="connsiteY8" fmla="*/ 952888 h 1058651"/>
                <a:gd name="connsiteX9" fmla="*/ 3119483 w 3458361"/>
                <a:gd name="connsiteY9" fmla="*/ 331384 h 1058651"/>
                <a:gd name="connsiteX10" fmla="*/ 3119483 w 3458361"/>
                <a:gd name="connsiteY10" fmla="*/ 331384 h 1058651"/>
                <a:gd name="connsiteX11" fmla="*/ 3119483 w 3458361"/>
                <a:gd name="connsiteY11" fmla="*/ 330495 h 1058651"/>
                <a:gd name="connsiteX12" fmla="*/ 3119483 w 3458361"/>
                <a:gd name="connsiteY12" fmla="*/ 330495 h 1058651"/>
                <a:gd name="connsiteX13" fmla="*/ 3119483 w 3458361"/>
                <a:gd name="connsiteY13" fmla="*/ 330495 h 1058651"/>
                <a:gd name="connsiteX14" fmla="*/ 3119483 w 3458361"/>
                <a:gd name="connsiteY14" fmla="*/ 330495 h 1058651"/>
                <a:gd name="connsiteX15" fmla="*/ 3119483 w 3458361"/>
                <a:gd name="connsiteY15" fmla="*/ 329733 h 1058651"/>
                <a:gd name="connsiteX16" fmla="*/ 3119483 w 3458361"/>
                <a:gd name="connsiteY16" fmla="*/ 329733 h 1058651"/>
                <a:gd name="connsiteX17" fmla="*/ 3238579 w 3458361"/>
                <a:gd name="connsiteY17" fmla="*/ 232604 h 1058651"/>
                <a:gd name="connsiteX18" fmla="*/ 2857675 w 3458361"/>
                <a:gd name="connsiteY18" fmla="*/ 117699 h 1058651"/>
                <a:gd name="connsiteX19" fmla="*/ 2857675 w 3458361"/>
                <a:gd name="connsiteY19" fmla="*/ 565638 h 1058651"/>
                <a:gd name="connsiteX20" fmla="*/ 2857675 w 3458361"/>
                <a:gd name="connsiteY20" fmla="*/ 565638 h 1058651"/>
                <a:gd name="connsiteX21" fmla="*/ 2857675 w 3458361"/>
                <a:gd name="connsiteY21" fmla="*/ 566781 h 1058651"/>
                <a:gd name="connsiteX22" fmla="*/ 2857675 w 3458361"/>
                <a:gd name="connsiteY22" fmla="*/ 567543 h 1058651"/>
                <a:gd name="connsiteX23" fmla="*/ 2857675 w 3458361"/>
                <a:gd name="connsiteY23" fmla="*/ 567543 h 1058651"/>
                <a:gd name="connsiteX24" fmla="*/ 2856913 w 3458361"/>
                <a:gd name="connsiteY24" fmla="*/ 568432 h 1058651"/>
                <a:gd name="connsiteX25" fmla="*/ 2856913 w 3458361"/>
                <a:gd name="connsiteY25" fmla="*/ 568432 h 1058651"/>
                <a:gd name="connsiteX26" fmla="*/ 2602976 w 3458361"/>
                <a:gd name="connsiteY26" fmla="*/ 774753 h 1058651"/>
                <a:gd name="connsiteX27" fmla="*/ 2602976 w 3458361"/>
                <a:gd name="connsiteY27" fmla="*/ 774753 h 1058651"/>
                <a:gd name="connsiteX28" fmla="*/ 2602976 w 3458361"/>
                <a:gd name="connsiteY28" fmla="*/ 774753 h 1058651"/>
                <a:gd name="connsiteX29" fmla="*/ 2600056 w 3458361"/>
                <a:gd name="connsiteY29" fmla="*/ 775642 h 1058651"/>
                <a:gd name="connsiteX30" fmla="*/ 2598406 w 3458361"/>
                <a:gd name="connsiteY30" fmla="*/ 775642 h 1058651"/>
                <a:gd name="connsiteX31" fmla="*/ 28060 w 3458361"/>
                <a:gd name="connsiteY31" fmla="*/ 0 h 1058651"/>
                <a:gd name="connsiteX32" fmla="*/ 28060 w 3458361"/>
                <a:gd name="connsiteY32" fmla="*/ 0 h 1058651"/>
                <a:gd name="connsiteX33" fmla="*/ 28949 w 3458361"/>
                <a:gd name="connsiteY33" fmla="*/ 0 h 1058651"/>
                <a:gd name="connsiteX34" fmla="*/ 28949 w 3458361"/>
                <a:gd name="connsiteY34" fmla="*/ 0 h 1058651"/>
                <a:gd name="connsiteX35" fmla="*/ 28949 w 3458361"/>
                <a:gd name="connsiteY35" fmla="*/ 0 h 1058651"/>
                <a:gd name="connsiteX36" fmla="*/ 28949 w 3458361"/>
                <a:gd name="connsiteY36" fmla="*/ 0 h 1058651"/>
                <a:gd name="connsiteX37" fmla="*/ 28949 w 3458361"/>
                <a:gd name="connsiteY37" fmla="*/ 762 h 1058651"/>
                <a:gd name="connsiteX38" fmla="*/ 28949 w 3458361"/>
                <a:gd name="connsiteY38" fmla="*/ 762 h 1058651"/>
                <a:gd name="connsiteX39" fmla="*/ 28949 w 3458361"/>
                <a:gd name="connsiteY39" fmla="*/ 1524 h 1058651"/>
                <a:gd name="connsiteX40" fmla="*/ 28949 w 3458361"/>
                <a:gd name="connsiteY40" fmla="*/ 2412 h 1058651"/>
                <a:gd name="connsiteX41" fmla="*/ 28949 w 3458361"/>
                <a:gd name="connsiteY41" fmla="*/ 2412 h 1058651"/>
                <a:gd name="connsiteX42" fmla="*/ 28949 w 3458361"/>
                <a:gd name="connsiteY42" fmla="*/ 623408 h 1058651"/>
                <a:gd name="connsiteX43" fmla="*/ 28949 w 3458361"/>
                <a:gd name="connsiteY43" fmla="*/ 623408 h 1058651"/>
                <a:gd name="connsiteX44" fmla="*/ 28949 w 3458361"/>
                <a:gd name="connsiteY44" fmla="*/ 624424 h 1058651"/>
                <a:gd name="connsiteX45" fmla="*/ 28949 w 3458361"/>
                <a:gd name="connsiteY45" fmla="*/ 625186 h 1058651"/>
                <a:gd name="connsiteX46" fmla="*/ 28314 w 3458361"/>
                <a:gd name="connsiteY46" fmla="*/ 625948 h 1058651"/>
                <a:gd name="connsiteX47" fmla="*/ 27679 w 3458361"/>
                <a:gd name="connsiteY47" fmla="*/ 626836 h 1058651"/>
                <a:gd name="connsiteX48" fmla="*/ 27679 w 3458361"/>
                <a:gd name="connsiteY48" fmla="*/ 626836 h 1058651"/>
                <a:gd name="connsiteX49" fmla="*/ 0 w 3458361"/>
                <a:gd name="connsiteY49" fmla="*/ 649563 h 1058651"/>
                <a:gd name="connsiteX50" fmla="*/ 955309 w 3458361"/>
                <a:gd name="connsiteY50" fmla="*/ 747582 h 1058651"/>
                <a:gd name="connsiteX51" fmla="*/ 955309 w 3458361"/>
                <a:gd name="connsiteY51" fmla="*/ 634073 h 1058651"/>
                <a:gd name="connsiteX52" fmla="*/ 955309 w 3458361"/>
                <a:gd name="connsiteY52" fmla="*/ 633439 h 1058651"/>
                <a:gd name="connsiteX53" fmla="*/ 955309 w 3458361"/>
                <a:gd name="connsiteY53" fmla="*/ 632677 h 1058651"/>
                <a:gd name="connsiteX54" fmla="*/ 955309 w 3458361"/>
                <a:gd name="connsiteY54" fmla="*/ 632677 h 1058651"/>
                <a:gd name="connsiteX55" fmla="*/ 955309 w 3458361"/>
                <a:gd name="connsiteY55" fmla="*/ 632677 h 1058651"/>
                <a:gd name="connsiteX56" fmla="*/ 955309 w 3458361"/>
                <a:gd name="connsiteY56" fmla="*/ 631788 h 1058651"/>
                <a:gd name="connsiteX57" fmla="*/ 955309 w 3458361"/>
                <a:gd name="connsiteY57" fmla="*/ 631153 h 1058651"/>
                <a:gd name="connsiteX58" fmla="*/ 955309 w 3458361"/>
                <a:gd name="connsiteY58" fmla="*/ 631153 h 1058651"/>
                <a:gd name="connsiteX59" fmla="*/ 1167473 w 3458361"/>
                <a:gd name="connsiteY59" fmla="*/ 412389 h 1058651"/>
                <a:gd name="connsiteX60" fmla="*/ 1167473 w 3458361"/>
                <a:gd name="connsiteY60" fmla="*/ 412389 h 1058651"/>
                <a:gd name="connsiteX61" fmla="*/ 1167473 w 3458361"/>
                <a:gd name="connsiteY61" fmla="*/ 412389 h 1058651"/>
                <a:gd name="connsiteX62" fmla="*/ 1168362 w 3458361"/>
                <a:gd name="connsiteY62" fmla="*/ 412389 h 1058651"/>
                <a:gd name="connsiteX63" fmla="*/ 1169251 w 3458361"/>
                <a:gd name="connsiteY63" fmla="*/ 412389 h 1058651"/>
                <a:gd name="connsiteX64" fmla="*/ 1170266 w 3458361"/>
                <a:gd name="connsiteY64" fmla="*/ 412389 h 1058651"/>
                <a:gd name="connsiteX65" fmla="*/ 1176107 w 3458361"/>
                <a:gd name="connsiteY65" fmla="*/ 412389 h 1058651"/>
                <a:gd name="connsiteX66" fmla="*/ 1758637 w 3458361"/>
                <a:gd name="connsiteY66" fmla="*/ 545070 h 1058651"/>
                <a:gd name="connsiteX67" fmla="*/ 1758637 w 3458361"/>
                <a:gd name="connsiteY67" fmla="*/ 545070 h 1058651"/>
                <a:gd name="connsiteX68" fmla="*/ 1758637 w 3458361"/>
                <a:gd name="connsiteY68" fmla="*/ 545070 h 1058651"/>
                <a:gd name="connsiteX69" fmla="*/ 1758637 w 3458361"/>
                <a:gd name="connsiteY69" fmla="*/ 545070 h 1058651"/>
                <a:gd name="connsiteX70" fmla="*/ 1759399 w 3458361"/>
                <a:gd name="connsiteY70" fmla="*/ 545070 h 1058651"/>
                <a:gd name="connsiteX71" fmla="*/ 1759399 w 3458361"/>
                <a:gd name="connsiteY71" fmla="*/ 545070 h 1058651"/>
                <a:gd name="connsiteX72" fmla="*/ 1759399 w 3458361"/>
                <a:gd name="connsiteY72" fmla="*/ 545070 h 1058651"/>
                <a:gd name="connsiteX73" fmla="*/ 1759399 w 3458361"/>
                <a:gd name="connsiteY73" fmla="*/ 545070 h 1058651"/>
                <a:gd name="connsiteX74" fmla="*/ 1759399 w 3458361"/>
                <a:gd name="connsiteY74" fmla="*/ 545070 h 1058651"/>
                <a:gd name="connsiteX75" fmla="*/ 1759399 w 3458361"/>
                <a:gd name="connsiteY75" fmla="*/ 545704 h 1058651"/>
                <a:gd name="connsiteX76" fmla="*/ 1759399 w 3458361"/>
                <a:gd name="connsiteY76" fmla="*/ 546466 h 1058651"/>
                <a:gd name="connsiteX77" fmla="*/ 1759399 w 3458361"/>
                <a:gd name="connsiteY77" fmla="*/ 753550 h 1058651"/>
                <a:gd name="connsiteX78" fmla="*/ 1759399 w 3458361"/>
                <a:gd name="connsiteY78" fmla="*/ 753550 h 1058651"/>
                <a:gd name="connsiteX79" fmla="*/ 1759399 w 3458361"/>
                <a:gd name="connsiteY79" fmla="*/ 754692 h 1058651"/>
                <a:gd name="connsiteX80" fmla="*/ 1759399 w 3458361"/>
                <a:gd name="connsiteY80" fmla="*/ 755454 h 1058651"/>
                <a:gd name="connsiteX81" fmla="*/ 1759399 w 3458361"/>
                <a:gd name="connsiteY81" fmla="*/ 756089 h 1058651"/>
                <a:gd name="connsiteX82" fmla="*/ 1758765 w 3458361"/>
                <a:gd name="connsiteY82" fmla="*/ 756978 h 1058651"/>
                <a:gd name="connsiteX83" fmla="*/ 1758765 w 3458361"/>
                <a:gd name="connsiteY83" fmla="*/ 756978 h 1058651"/>
                <a:gd name="connsiteX84" fmla="*/ 1722070 w 3458361"/>
                <a:gd name="connsiteY84" fmla="*/ 792528 h 1058651"/>
                <a:gd name="connsiteX85" fmla="*/ 1722070 w 3458361"/>
                <a:gd name="connsiteY85" fmla="*/ 792528 h 1058651"/>
                <a:gd name="connsiteX86" fmla="*/ 1683345 w 3458361"/>
                <a:gd name="connsiteY86" fmla="*/ 823889 h 1058651"/>
                <a:gd name="connsiteX87" fmla="*/ 2973724 w 3458361"/>
                <a:gd name="connsiteY87" fmla="*/ 956189 h 1058651"/>
                <a:gd name="connsiteX88" fmla="*/ 2974866 w 3458361"/>
                <a:gd name="connsiteY88" fmla="*/ 956189 h 1058651"/>
                <a:gd name="connsiteX89" fmla="*/ 3057904 w 3458361"/>
                <a:gd name="connsiteY89" fmla="*/ 981582 h 1058651"/>
                <a:gd name="connsiteX90" fmla="*/ 3458361 w 3458361"/>
                <a:gd name="connsiteY90" fmla="*/ 1058651 h 105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458361" h="1058651">
                  <a:moveTo>
                    <a:pt x="3121388" y="956951"/>
                  </a:moveTo>
                  <a:lnTo>
                    <a:pt x="3121388" y="956951"/>
                  </a:lnTo>
                  <a:lnTo>
                    <a:pt x="3120245" y="956316"/>
                  </a:lnTo>
                  <a:lnTo>
                    <a:pt x="3119483" y="956316"/>
                  </a:lnTo>
                  <a:lnTo>
                    <a:pt x="3119483" y="955554"/>
                  </a:lnTo>
                  <a:lnTo>
                    <a:pt x="3119483" y="954792"/>
                  </a:lnTo>
                  <a:cubicBezTo>
                    <a:pt x="3119483" y="954792"/>
                    <a:pt x="3119483" y="954158"/>
                    <a:pt x="3119483" y="953903"/>
                  </a:cubicBezTo>
                  <a:cubicBezTo>
                    <a:pt x="3119433" y="953561"/>
                    <a:pt x="3119433" y="953218"/>
                    <a:pt x="3119483" y="952888"/>
                  </a:cubicBezTo>
                  <a:lnTo>
                    <a:pt x="3119483" y="952888"/>
                  </a:lnTo>
                  <a:lnTo>
                    <a:pt x="3119483" y="331384"/>
                  </a:lnTo>
                  <a:lnTo>
                    <a:pt x="3119483" y="331384"/>
                  </a:lnTo>
                  <a:cubicBezTo>
                    <a:pt x="3119483" y="331384"/>
                    <a:pt x="3119483" y="331384"/>
                    <a:pt x="3119483" y="330495"/>
                  </a:cubicBezTo>
                  <a:cubicBezTo>
                    <a:pt x="3119483" y="329607"/>
                    <a:pt x="3119483" y="330495"/>
                    <a:pt x="3119483" y="330495"/>
                  </a:cubicBezTo>
                  <a:lnTo>
                    <a:pt x="3119483" y="330495"/>
                  </a:lnTo>
                  <a:lnTo>
                    <a:pt x="3119483" y="330495"/>
                  </a:lnTo>
                  <a:lnTo>
                    <a:pt x="3119483" y="329733"/>
                  </a:lnTo>
                  <a:lnTo>
                    <a:pt x="3119483" y="329733"/>
                  </a:lnTo>
                  <a:lnTo>
                    <a:pt x="3238579" y="232604"/>
                  </a:lnTo>
                  <a:lnTo>
                    <a:pt x="2857675" y="117699"/>
                  </a:lnTo>
                  <a:lnTo>
                    <a:pt x="2857675" y="565638"/>
                  </a:lnTo>
                  <a:lnTo>
                    <a:pt x="2857675" y="565638"/>
                  </a:lnTo>
                  <a:cubicBezTo>
                    <a:pt x="2857738" y="566019"/>
                    <a:pt x="2857738" y="566400"/>
                    <a:pt x="2857675" y="566781"/>
                  </a:cubicBezTo>
                  <a:cubicBezTo>
                    <a:pt x="2857738" y="567035"/>
                    <a:pt x="2857738" y="567289"/>
                    <a:pt x="2857675" y="567543"/>
                  </a:cubicBezTo>
                  <a:lnTo>
                    <a:pt x="2857675" y="567543"/>
                  </a:lnTo>
                  <a:lnTo>
                    <a:pt x="2856913" y="568432"/>
                  </a:lnTo>
                  <a:lnTo>
                    <a:pt x="2856913" y="568432"/>
                  </a:lnTo>
                  <a:lnTo>
                    <a:pt x="2602976" y="774753"/>
                  </a:lnTo>
                  <a:lnTo>
                    <a:pt x="2602976" y="774753"/>
                  </a:lnTo>
                  <a:lnTo>
                    <a:pt x="2602976" y="774753"/>
                  </a:lnTo>
                  <a:cubicBezTo>
                    <a:pt x="2602100" y="775312"/>
                    <a:pt x="2601097" y="775616"/>
                    <a:pt x="2600056" y="775642"/>
                  </a:cubicBezTo>
                  <a:lnTo>
                    <a:pt x="2598406" y="775642"/>
                  </a:lnTo>
                  <a:lnTo>
                    <a:pt x="28060" y="0"/>
                  </a:lnTo>
                  <a:lnTo>
                    <a:pt x="28060" y="0"/>
                  </a:lnTo>
                  <a:lnTo>
                    <a:pt x="28949" y="0"/>
                  </a:lnTo>
                  <a:lnTo>
                    <a:pt x="28949" y="0"/>
                  </a:lnTo>
                  <a:lnTo>
                    <a:pt x="28949" y="0"/>
                  </a:lnTo>
                  <a:cubicBezTo>
                    <a:pt x="28949" y="0"/>
                    <a:pt x="28949" y="0"/>
                    <a:pt x="28949" y="0"/>
                  </a:cubicBezTo>
                  <a:cubicBezTo>
                    <a:pt x="28987" y="254"/>
                    <a:pt x="28987" y="508"/>
                    <a:pt x="28949" y="762"/>
                  </a:cubicBezTo>
                  <a:lnTo>
                    <a:pt x="28949" y="762"/>
                  </a:lnTo>
                  <a:lnTo>
                    <a:pt x="28949" y="1524"/>
                  </a:lnTo>
                  <a:cubicBezTo>
                    <a:pt x="28949" y="1524"/>
                    <a:pt x="28949" y="1524"/>
                    <a:pt x="28949" y="2412"/>
                  </a:cubicBezTo>
                  <a:lnTo>
                    <a:pt x="28949" y="2412"/>
                  </a:lnTo>
                  <a:lnTo>
                    <a:pt x="28949" y="623408"/>
                  </a:lnTo>
                  <a:lnTo>
                    <a:pt x="28949" y="623408"/>
                  </a:lnTo>
                  <a:cubicBezTo>
                    <a:pt x="29025" y="623738"/>
                    <a:pt x="29025" y="624094"/>
                    <a:pt x="28949" y="624424"/>
                  </a:cubicBezTo>
                  <a:cubicBezTo>
                    <a:pt x="28949" y="624424"/>
                    <a:pt x="28949" y="624424"/>
                    <a:pt x="28949" y="625186"/>
                  </a:cubicBezTo>
                  <a:lnTo>
                    <a:pt x="28314" y="625948"/>
                  </a:lnTo>
                  <a:lnTo>
                    <a:pt x="27679" y="626836"/>
                  </a:lnTo>
                  <a:lnTo>
                    <a:pt x="27679" y="626836"/>
                  </a:lnTo>
                  <a:lnTo>
                    <a:pt x="0" y="649563"/>
                  </a:lnTo>
                  <a:lnTo>
                    <a:pt x="955309" y="747582"/>
                  </a:lnTo>
                  <a:lnTo>
                    <a:pt x="955309" y="634073"/>
                  </a:lnTo>
                  <a:cubicBezTo>
                    <a:pt x="955245" y="633870"/>
                    <a:pt x="955245" y="633642"/>
                    <a:pt x="955309" y="633439"/>
                  </a:cubicBezTo>
                  <a:lnTo>
                    <a:pt x="955309" y="632677"/>
                  </a:lnTo>
                  <a:lnTo>
                    <a:pt x="955309" y="632677"/>
                  </a:lnTo>
                  <a:lnTo>
                    <a:pt x="955309" y="632677"/>
                  </a:lnTo>
                  <a:cubicBezTo>
                    <a:pt x="955283" y="632385"/>
                    <a:pt x="955283" y="632080"/>
                    <a:pt x="955309" y="631788"/>
                  </a:cubicBezTo>
                  <a:lnTo>
                    <a:pt x="955309" y="631153"/>
                  </a:lnTo>
                  <a:lnTo>
                    <a:pt x="955309" y="631153"/>
                  </a:lnTo>
                  <a:lnTo>
                    <a:pt x="1167473" y="412389"/>
                  </a:lnTo>
                  <a:lnTo>
                    <a:pt x="1167473" y="412389"/>
                  </a:lnTo>
                  <a:lnTo>
                    <a:pt x="1167473" y="412389"/>
                  </a:lnTo>
                  <a:cubicBezTo>
                    <a:pt x="1167765" y="412326"/>
                    <a:pt x="1168070" y="412326"/>
                    <a:pt x="1168362" y="412389"/>
                  </a:cubicBezTo>
                  <a:lnTo>
                    <a:pt x="1169251" y="412389"/>
                  </a:lnTo>
                  <a:lnTo>
                    <a:pt x="1170266" y="412389"/>
                  </a:lnTo>
                  <a:lnTo>
                    <a:pt x="1176107" y="412389"/>
                  </a:lnTo>
                  <a:lnTo>
                    <a:pt x="1758637" y="545070"/>
                  </a:lnTo>
                  <a:lnTo>
                    <a:pt x="1758637" y="545070"/>
                  </a:lnTo>
                  <a:lnTo>
                    <a:pt x="1758637" y="545070"/>
                  </a:lnTo>
                  <a:lnTo>
                    <a:pt x="1758637" y="545070"/>
                  </a:lnTo>
                  <a:lnTo>
                    <a:pt x="1759399" y="545070"/>
                  </a:lnTo>
                  <a:lnTo>
                    <a:pt x="1759399" y="545070"/>
                  </a:lnTo>
                  <a:lnTo>
                    <a:pt x="1759399" y="545070"/>
                  </a:lnTo>
                  <a:lnTo>
                    <a:pt x="1759399" y="545070"/>
                  </a:lnTo>
                  <a:lnTo>
                    <a:pt x="1759399" y="545070"/>
                  </a:lnTo>
                  <a:cubicBezTo>
                    <a:pt x="1759399" y="545070"/>
                    <a:pt x="1759399" y="545070"/>
                    <a:pt x="1759399" y="545704"/>
                  </a:cubicBezTo>
                  <a:cubicBezTo>
                    <a:pt x="1759463" y="545958"/>
                    <a:pt x="1759463" y="546212"/>
                    <a:pt x="1759399" y="546466"/>
                  </a:cubicBezTo>
                  <a:lnTo>
                    <a:pt x="1759399" y="753550"/>
                  </a:lnTo>
                  <a:lnTo>
                    <a:pt x="1759399" y="753550"/>
                  </a:lnTo>
                  <a:cubicBezTo>
                    <a:pt x="1759463" y="753930"/>
                    <a:pt x="1759463" y="754311"/>
                    <a:pt x="1759399" y="754692"/>
                  </a:cubicBezTo>
                  <a:lnTo>
                    <a:pt x="1759399" y="755454"/>
                  </a:lnTo>
                  <a:lnTo>
                    <a:pt x="1759399" y="756089"/>
                  </a:lnTo>
                  <a:lnTo>
                    <a:pt x="1758765" y="756978"/>
                  </a:lnTo>
                  <a:lnTo>
                    <a:pt x="1758765" y="756978"/>
                  </a:lnTo>
                  <a:lnTo>
                    <a:pt x="1722070" y="792528"/>
                  </a:lnTo>
                  <a:lnTo>
                    <a:pt x="1722070" y="792528"/>
                  </a:lnTo>
                  <a:lnTo>
                    <a:pt x="1683345" y="823889"/>
                  </a:lnTo>
                  <a:lnTo>
                    <a:pt x="2973724" y="956189"/>
                  </a:lnTo>
                  <a:lnTo>
                    <a:pt x="2974866" y="956189"/>
                  </a:lnTo>
                  <a:lnTo>
                    <a:pt x="3057904" y="981582"/>
                  </a:lnTo>
                  <a:lnTo>
                    <a:pt x="3458361" y="1058651"/>
                  </a:lnTo>
                  <a:close/>
                </a:path>
              </a:pathLst>
            </a:custGeom>
            <a:noFill/>
            <a:ln w="1269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32FC6E7-6EDD-45D6-AA60-1EA980E6A680}"/>
                </a:ext>
              </a:extLst>
            </p:cNvPr>
            <p:cNvSpPr/>
            <p:nvPr/>
          </p:nvSpPr>
          <p:spPr>
            <a:xfrm>
              <a:off x="4131800" y="1144733"/>
              <a:ext cx="1399951" cy="1034908"/>
            </a:xfrm>
            <a:custGeom>
              <a:avLst/>
              <a:gdLst>
                <a:gd name="connsiteX0" fmla="*/ 630778 w 1399951"/>
                <a:gd name="connsiteY0" fmla="*/ 101701 h 1034908"/>
                <a:gd name="connsiteX1" fmla="*/ 630778 w 1399951"/>
                <a:gd name="connsiteY1" fmla="*/ 511423 h 1034908"/>
                <a:gd name="connsiteX2" fmla="*/ 630778 w 1399951"/>
                <a:gd name="connsiteY2" fmla="*/ 511423 h 1034908"/>
                <a:gd name="connsiteX3" fmla="*/ 630778 w 1399951"/>
                <a:gd name="connsiteY3" fmla="*/ 512439 h 1034908"/>
                <a:gd name="connsiteX4" fmla="*/ 630778 w 1399951"/>
                <a:gd name="connsiteY4" fmla="*/ 513328 h 1034908"/>
                <a:gd name="connsiteX5" fmla="*/ 630778 w 1399951"/>
                <a:gd name="connsiteY5" fmla="*/ 513963 h 1034908"/>
                <a:gd name="connsiteX6" fmla="*/ 630016 w 1399951"/>
                <a:gd name="connsiteY6" fmla="*/ 514851 h 1034908"/>
                <a:gd name="connsiteX7" fmla="*/ 630016 w 1399951"/>
                <a:gd name="connsiteY7" fmla="*/ 514851 h 1034908"/>
                <a:gd name="connsiteX8" fmla="*/ 356908 w 1399951"/>
                <a:gd name="connsiteY8" fmla="*/ 736917 h 1034908"/>
                <a:gd name="connsiteX9" fmla="*/ 356908 w 1399951"/>
                <a:gd name="connsiteY9" fmla="*/ 736917 h 1034908"/>
                <a:gd name="connsiteX10" fmla="*/ 356908 w 1399951"/>
                <a:gd name="connsiteY10" fmla="*/ 736917 h 1034908"/>
                <a:gd name="connsiteX11" fmla="*/ 354114 w 1399951"/>
                <a:gd name="connsiteY11" fmla="*/ 737806 h 1034908"/>
                <a:gd name="connsiteX12" fmla="*/ 352464 w 1399951"/>
                <a:gd name="connsiteY12" fmla="*/ 737806 h 1034908"/>
                <a:gd name="connsiteX13" fmla="*/ 0 w 1399951"/>
                <a:gd name="connsiteY13" fmla="*/ 631280 h 1034908"/>
                <a:gd name="connsiteX14" fmla="*/ 0 w 1399951"/>
                <a:gd name="connsiteY14" fmla="*/ 631280 h 1034908"/>
                <a:gd name="connsiteX15" fmla="*/ 762 w 1399951"/>
                <a:gd name="connsiteY15" fmla="*/ 631280 h 1034908"/>
                <a:gd name="connsiteX16" fmla="*/ 762 w 1399951"/>
                <a:gd name="connsiteY16" fmla="*/ 631280 h 1034908"/>
                <a:gd name="connsiteX17" fmla="*/ 762 w 1399951"/>
                <a:gd name="connsiteY17" fmla="*/ 631280 h 1034908"/>
                <a:gd name="connsiteX18" fmla="*/ 762 w 1399951"/>
                <a:gd name="connsiteY18" fmla="*/ 631280 h 1034908"/>
                <a:gd name="connsiteX19" fmla="*/ 762 w 1399951"/>
                <a:gd name="connsiteY19" fmla="*/ 631280 h 1034908"/>
                <a:gd name="connsiteX20" fmla="*/ 762 w 1399951"/>
                <a:gd name="connsiteY20" fmla="*/ 631280 h 1034908"/>
                <a:gd name="connsiteX21" fmla="*/ 762 w 1399951"/>
                <a:gd name="connsiteY21" fmla="*/ 632042 h 1034908"/>
                <a:gd name="connsiteX22" fmla="*/ 762 w 1399951"/>
                <a:gd name="connsiteY22" fmla="*/ 632804 h 1034908"/>
                <a:gd name="connsiteX23" fmla="*/ 762 w 1399951"/>
                <a:gd name="connsiteY23" fmla="*/ 632804 h 1034908"/>
                <a:gd name="connsiteX24" fmla="*/ 762 w 1399951"/>
                <a:gd name="connsiteY24" fmla="*/ 776911 h 1034908"/>
                <a:gd name="connsiteX25" fmla="*/ 161630 w 1399951"/>
                <a:gd name="connsiteY25" fmla="*/ 825794 h 1034908"/>
                <a:gd name="connsiteX26" fmla="*/ 161630 w 1399951"/>
                <a:gd name="connsiteY26" fmla="*/ 825794 h 1034908"/>
                <a:gd name="connsiteX27" fmla="*/ 162392 w 1399951"/>
                <a:gd name="connsiteY27" fmla="*/ 825794 h 1034908"/>
                <a:gd name="connsiteX28" fmla="*/ 163027 w 1399951"/>
                <a:gd name="connsiteY28" fmla="*/ 825794 h 1034908"/>
                <a:gd name="connsiteX29" fmla="*/ 163027 w 1399951"/>
                <a:gd name="connsiteY29" fmla="*/ 825794 h 1034908"/>
                <a:gd name="connsiteX30" fmla="*/ 163027 w 1399951"/>
                <a:gd name="connsiteY30" fmla="*/ 825794 h 1034908"/>
                <a:gd name="connsiteX31" fmla="*/ 163027 w 1399951"/>
                <a:gd name="connsiteY31" fmla="*/ 826428 h 1034908"/>
                <a:gd name="connsiteX32" fmla="*/ 163027 w 1399951"/>
                <a:gd name="connsiteY32" fmla="*/ 826428 h 1034908"/>
                <a:gd name="connsiteX33" fmla="*/ 163027 w 1399951"/>
                <a:gd name="connsiteY33" fmla="*/ 826428 h 1034908"/>
                <a:gd name="connsiteX34" fmla="*/ 163027 w 1399951"/>
                <a:gd name="connsiteY34" fmla="*/ 827190 h 1034908"/>
                <a:gd name="connsiteX35" fmla="*/ 163027 w 1399951"/>
                <a:gd name="connsiteY35" fmla="*/ 827952 h 1034908"/>
                <a:gd name="connsiteX36" fmla="*/ 163027 w 1399951"/>
                <a:gd name="connsiteY36" fmla="*/ 827952 h 1034908"/>
                <a:gd name="connsiteX37" fmla="*/ 163027 w 1399951"/>
                <a:gd name="connsiteY37" fmla="*/ 906037 h 1034908"/>
                <a:gd name="connsiteX38" fmla="*/ 388269 w 1399951"/>
                <a:gd name="connsiteY38" fmla="*/ 730187 h 1034908"/>
                <a:gd name="connsiteX39" fmla="*/ 388269 w 1399951"/>
                <a:gd name="connsiteY39" fmla="*/ 730187 h 1034908"/>
                <a:gd name="connsiteX40" fmla="*/ 389284 w 1399951"/>
                <a:gd name="connsiteY40" fmla="*/ 730187 h 1034908"/>
                <a:gd name="connsiteX41" fmla="*/ 390173 w 1399951"/>
                <a:gd name="connsiteY41" fmla="*/ 730187 h 1034908"/>
                <a:gd name="connsiteX42" fmla="*/ 393094 w 1399951"/>
                <a:gd name="connsiteY42" fmla="*/ 730187 h 1034908"/>
                <a:gd name="connsiteX43" fmla="*/ 1399952 w 1399951"/>
                <a:gd name="connsiteY43" fmla="*/ 1034908 h 1034908"/>
                <a:gd name="connsiteX44" fmla="*/ 913791 w 1399951"/>
                <a:gd name="connsiteY44" fmla="*/ 886738 h 1034908"/>
                <a:gd name="connsiteX45" fmla="*/ 913791 w 1399951"/>
                <a:gd name="connsiteY45" fmla="*/ 886738 h 1034908"/>
                <a:gd name="connsiteX46" fmla="*/ 912902 w 1399951"/>
                <a:gd name="connsiteY46" fmla="*/ 886738 h 1034908"/>
                <a:gd name="connsiteX47" fmla="*/ 912013 w 1399951"/>
                <a:gd name="connsiteY47" fmla="*/ 886738 h 1034908"/>
                <a:gd name="connsiteX48" fmla="*/ 911378 w 1399951"/>
                <a:gd name="connsiteY48" fmla="*/ 886103 h 1034908"/>
                <a:gd name="connsiteX49" fmla="*/ 911378 w 1399951"/>
                <a:gd name="connsiteY49" fmla="*/ 885341 h 1034908"/>
                <a:gd name="connsiteX50" fmla="*/ 911378 w 1399951"/>
                <a:gd name="connsiteY50" fmla="*/ 884453 h 1034908"/>
                <a:gd name="connsiteX51" fmla="*/ 911378 w 1399951"/>
                <a:gd name="connsiteY51" fmla="*/ 883437 h 1034908"/>
                <a:gd name="connsiteX52" fmla="*/ 911378 w 1399951"/>
                <a:gd name="connsiteY52" fmla="*/ 883437 h 1034908"/>
                <a:gd name="connsiteX53" fmla="*/ 911378 w 1399951"/>
                <a:gd name="connsiteY53" fmla="*/ 261044 h 1034908"/>
                <a:gd name="connsiteX54" fmla="*/ 911378 w 1399951"/>
                <a:gd name="connsiteY54" fmla="*/ 261044 h 1034908"/>
                <a:gd name="connsiteX55" fmla="*/ 911378 w 1399951"/>
                <a:gd name="connsiteY55" fmla="*/ 260282 h 1034908"/>
                <a:gd name="connsiteX56" fmla="*/ 911378 w 1399951"/>
                <a:gd name="connsiteY56" fmla="*/ 259648 h 1034908"/>
                <a:gd name="connsiteX57" fmla="*/ 911378 w 1399951"/>
                <a:gd name="connsiteY57" fmla="*/ 259648 h 1034908"/>
                <a:gd name="connsiteX58" fmla="*/ 911378 w 1399951"/>
                <a:gd name="connsiteY58" fmla="*/ 259648 h 1034908"/>
                <a:gd name="connsiteX59" fmla="*/ 911378 w 1399951"/>
                <a:gd name="connsiteY59" fmla="*/ 258886 h 1034908"/>
                <a:gd name="connsiteX60" fmla="*/ 911378 w 1399951"/>
                <a:gd name="connsiteY60" fmla="*/ 258886 h 1034908"/>
                <a:gd name="connsiteX61" fmla="*/ 1108814 w 1399951"/>
                <a:gd name="connsiteY61" fmla="*/ 97003 h 1034908"/>
                <a:gd name="connsiteX62" fmla="*/ 921535 w 1399951"/>
                <a:gd name="connsiteY62" fmla="*/ 40249 h 1034908"/>
                <a:gd name="connsiteX63" fmla="*/ 921535 w 1399951"/>
                <a:gd name="connsiteY63" fmla="*/ 40249 h 1034908"/>
                <a:gd name="connsiteX64" fmla="*/ 920393 w 1399951"/>
                <a:gd name="connsiteY64" fmla="*/ 40249 h 1034908"/>
                <a:gd name="connsiteX65" fmla="*/ 919631 w 1399951"/>
                <a:gd name="connsiteY65" fmla="*/ 40249 h 1034908"/>
                <a:gd name="connsiteX66" fmla="*/ 919631 w 1399951"/>
                <a:gd name="connsiteY66" fmla="*/ 39487 h 1034908"/>
                <a:gd name="connsiteX67" fmla="*/ 918996 w 1399951"/>
                <a:gd name="connsiteY67" fmla="*/ 38725 h 1034908"/>
                <a:gd name="connsiteX68" fmla="*/ 918996 w 1399951"/>
                <a:gd name="connsiteY68" fmla="*/ 37963 h 1034908"/>
                <a:gd name="connsiteX69" fmla="*/ 918996 w 1399951"/>
                <a:gd name="connsiteY69" fmla="*/ 36947 h 1034908"/>
                <a:gd name="connsiteX70" fmla="*/ 918996 w 1399951"/>
                <a:gd name="connsiteY70" fmla="*/ 0 h 1034908"/>
                <a:gd name="connsiteX71" fmla="*/ 748605 w 1399951"/>
                <a:gd name="connsiteY71" fmla="*/ 137632 h 1034908"/>
                <a:gd name="connsiteX72" fmla="*/ 748605 w 1399951"/>
                <a:gd name="connsiteY72" fmla="*/ 137632 h 1034908"/>
                <a:gd name="connsiteX73" fmla="*/ 748605 w 1399951"/>
                <a:gd name="connsiteY73" fmla="*/ 137632 h 1034908"/>
                <a:gd name="connsiteX74" fmla="*/ 745811 w 1399951"/>
                <a:gd name="connsiteY74" fmla="*/ 138394 h 1034908"/>
                <a:gd name="connsiteX75" fmla="*/ 744034 w 1399951"/>
                <a:gd name="connsiteY75" fmla="*/ 138394 h 103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99951" h="1034908">
                  <a:moveTo>
                    <a:pt x="630778" y="101701"/>
                  </a:moveTo>
                  <a:lnTo>
                    <a:pt x="630778" y="511423"/>
                  </a:lnTo>
                  <a:lnTo>
                    <a:pt x="630778" y="511423"/>
                  </a:lnTo>
                  <a:cubicBezTo>
                    <a:pt x="630829" y="511753"/>
                    <a:pt x="630829" y="512109"/>
                    <a:pt x="630778" y="512439"/>
                  </a:cubicBezTo>
                  <a:cubicBezTo>
                    <a:pt x="630778" y="512439"/>
                    <a:pt x="630778" y="513074"/>
                    <a:pt x="630778" y="513328"/>
                  </a:cubicBezTo>
                  <a:lnTo>
                    <a:pt x="630778" y="513963"/>
                  </a:lnTo>
                  <a:cubicBezTo>
                    <a:pt x="630600" y="514318"/>
                    <a:pt x="630334" y="514623"/>
                    <a:pt x="630016" y="514851"/>
                  </a:cubicBezTo>
                  <a:lnTo>
                    <a:pt x="630016" y="514851"/>
                  </a:lnTo>
                  <a:lnTo>
                    <a:pt x="356908" y="736917"/>
                  </a:lnTo>
                  <a:lnTo>
                    <a:pt x="356908" y="736917"/>
                  </a:lnTo>
                  <a:lnTo>
                    <a:pt x="356908" y="736917"/>
                  </a:lnTo>
                  <a:cubicBezTo>
                    <a:pt x="356095" y="737501"/>
                    <a:pt x="355117" y="737806"/>
                    <a:pt x="354114" y="737806"/>
                  </a:cubicBezTo>
                  <a:lnTo>
                    <a:pt x="352464" y="737806"/>
                  </a:lnTo>
                  <a:lnTo>
                    <a:pt x="0" y="631280"/>
                  </a:lnTo>
                  <a:lnTo>
                    <a:pt x="0" y="631280"/>
                  </a:lnTo>
                  <a:lnTo>
                    <a:pt x="762" y="631280"/>
                  </a:lnTo>
                  <a:lnTo>
                    <a:pt x="762" y="631280"/>
                  </a:lnTo>
                  <a:lnTo>
                    <a:pt x="762" y="631280"/>
                  </a:lnTo>
                  <a:cubicBezTo>
                    <a:pt x="762" y="631280"/>
                    <a:pt x="762" y="631280"/>
                    <a:pt x="762" y="631280"/>
                  </a:cubicBezTo>
                  <a:lnTo>
                    <a:pt x="762" y="631280"/>
                  </a:lnTo>
                  <a:lnTo>
                    <a:pt x="762" y="631280"/>
                  </a:lnTo>
                  <a:lnTo>
                    <a:pt x="762" y="632042"/>
                  </a:lnTo>
                  <a:cubicBezTo>
                    <a:pt x="762" y="632042"/>
                    <a:pt x="762" y="632042"/>
                    <a:pt x="762" y="632804"/>
                  </a:cubicBezTo>
                  <a:lnTo>
                    <a:pt x="762" y="632804"/>
                  </a:lnTo>
                  <a:lnTo>
                    <a:pt x="762" y="776911"/>
                  </a:lnTo>
                  <a:lnTo>
                    <a:pt x="161630" y="825794"/>
                  </a:lnTo>
                  <a:lnTo>
                    <a:pt x="161630" y="825794"/>
                  </a:lnTo>
                  <a:lnTo>
                    <a:pt x="162392" y="825794"/>
                  </a:lnTo>
                  <a:lnTo>
                    <a:pt x="163027" y="825794"/>
                  </a:lnTo>
                  <a:lnTo>
                    <a:pt x="163027" y="825794"/>
                  </a:lnTo>
                  <a:lnTo>
                    <a:pt x="163027" y="825794"/>
                  </a:lnTo>
                  <a:cubicBezTo>
                    <a:pt x="163065" y="826009"/>
                    <a:pt x="163065" y="826213"/>
                    <a:pt x="163027" y="826428"/>
                  </a:cubicBezTo>
                  <a:lnTo>
                    <a:pt x="163027" y="826428"/>
                  </a:lnTo>
                  <a:lnTo>
                    <a:pt x="163027" y="826428"/>
                  </a:lnTo>
                  <a:cubicBezTo>
                    <a:pt x="163027" y="826428"/>
                    <a:pt x="163027" y="826428"/>
                    <a:pt x="163027" y="827190"/>
                  </a:cubicBezTo>
                  <a:cubicBezTo>
                    <a:pt x="163027" y="827952"/>
                    <a:pt x="163027" y="827190"/>
                    <a:pt x="163027" y="827952"/>
                  </a:cubicBezTo>
                  <a:lnTo>
                    <a:pt x="163027" y="827952"/>
                  </a:lnTo>
                  <a:lnTo>
                    <a:pt x="163027" y="906037"/>
                  </a:lnTo>
                  <a:lnTo>
                    <a:pt x="388269" y="730187"/>
                  </a:lnTo>
                  <a:lnTo>
                    <a:pt x="388269" y="730187"/>
                  </a:lnTo>
                  <a:lnTo>
                    <a:pt x="389284" y="730187"/>
                  </a:lnTo>
                  <a:lnTo>
                    <a:pt x="390173" y="730187"/>
                  </a:lnTo>
                  <a:lnTo>
                    <a:pt x="393094" y="730187"/>
                  </a:lnTo>
                  <a:lnTo>
                    <a:pt x="1399952" y="1034908"/>
                  </a:lnTo>
                  <a:lnTo>
                    <a:pt x="913791" y="886738"/>
                  </a:lnTo>
                  <a:lnTo>
                    <a:pt x="913791" y="886738"/>
                  </a:lnTo>
                  <a:lnTo>
                    <a:pt x="912902" y="886738"/>
                  </a:lnTo>
                  <a:lnTo>
                    <a:pt x="912013" y="886738"/>
                  </a:lnTo>
                  <a:cubicBezTo>
                    <a:pt x="912013" y="886738"/>
                    <a:pt x="912013" y="886738"/>
                    <a:pt x="911378" y="886103"/>
                  </a:cubicBezTo>
                  <a:lnTo>
                    <a:pt x="911378" y="885341"/>
                  </a:lnTo>
                  <a:cubicBezTo>
                    <a:pt x="911327" y="885049"/>
                    <a:pt x="911327" y="884744"/>
                    <a:pt x="911378" y="884453"/>
                  </a:cubicBezTo>
                  <a:cubicBezTo>
                    <a:pt x="911302" y="884122"/>
                    <a:pt x="911302" y="883767"/>
                    <a:pt x="911378" y="883437"/>
                  </a:cubicBezTo>
                  <a:lnTo>
                    <a:pt x="911378" y="883437"/>
                  </a:lnTo>
                  <a:lnTo>
                    <a:pt x="911378" y="261044"/>
                  </a:lnTo>
                  <a:lnTo>
                    <a:pt x="911378" y="261044"/>
                  </a:lnTo>
                  <a:cubicBezTo>
                    <a:pt x="911315" y="260790"/>
                    <a:pt x="911315" y="260536"/>
                    <a:pt x="911378" y="260282"/>
                  </a:cubicBezTo>
                  <a:cubicBezTo>
                    <a:pt x="911302" y="260079"/>
                    <a:pt x="911302" y="259851"/>
                    <a:pt x="911378" y="259648"/>
                  </a:cubicBezTo>
                  <a:lnTo>
                    <a:pt x="911378" y="259648"/>
                  </a:lnTo>
                  <a:lnTo>
                    <a:pt x="911378" y="259648"/>
                  </a:lnTo>
                  <a:cubicBezTo>
                    <a:pt x="911340" y="259394"/>
                    <a:pt x="911340" y="259140"/>
                    <a:pt x="911378" y="258886"/>
                  </a:cubicBezTo>
                  <a:lnTo>
                    <a:pt x="911378" y="258886"/>
                  </a:lnTo>
                  <a:lnTo>
                    <a:pt x="1108814" y="97003"/>
                  </a:lnTo>
                  <a:lnTo>
                    <a:pt x="921535" y="40249"/>
                  </a:lnTo>
                  <a:lnTo>
                    <a:pt x="921535" y="40249"/>
                  </a:lnTo>
                  <a:lnTo>
                    <a:pt x="920393" y="40249"/>
                  </a:lnTo>
                  <a:lnTo>
                    <a:pt x="919631" y="40249"/>
                  </a:lnTo>
                  <a:lnTo>
                    <a:pt x="919631" y="39487"/>
                  </a:lnTo>
                  <a:cubicBezTo>
                    <a:pt x="919631" y="39487"/>
                    <a:pt x="919631" y="39487"/>
                    <a:pt x="918996" y="38725"/>
                  </a:cubicBezTo>
                  <a:cubicBezTo>
                    <a:pt x="918361" y="37963"/>
                    <a:pt x="918996" y="38725"/>
                    <a:pt x="918996" y="37963"/>
                  </a:cubicBezTo>
                  <a:cubicBezTo>
                    <a:pt x="918958" y="37625"/>
                    <a:pt x="918958" y="37285"/>
                    <a:pt x="918996" y="36947"/>
                  </a:cubicBezTo>
                  <a:lnTo>
                    <a:pt x="918996" y="0"/>
                  </a:lnTo>
                  <a:lnTo>
                    <a:pt x="748605" y="137632"/>
                  </a:lnTo>
                  <a:lnTo>
                    <a:pt x="748605" y="137632"/>
                  </a:lnTo>
                  <a:lnTo>
                    <a:pt x="748605" y="137632"/>
                  </a:lnTo>
                  <a:cubicBezTo>
                    <a:pt x="747754" y="138127"/>
                    <a:pt x="746789" y="138394"/>
                    <a:pt x="745811" y="138394"/>
                  </a:cubicBezTo>
                  <a:lnTo>
                    <a:pt x="744034" y="138394"/>
                  </a:lnTo>
                  <a:close/>
                </a:path>
              </a:pathLst>
            </a:custGeom>
            <a:noFill/>
            <a:ln w="1269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5873C672-C0CC-4550-A694-CEB71DC6BEA7}"/>
                </a:ext>
              </a:extLst>
            </p:cNvPr>
            <p:cNvSpPr/>
            <p:nvPr/>
          </p:nvSpPr>
          <p:spPr>
            <a:xfrm>
              <a:off x="4272354" y="2091654"/>
              <a:ext cx="1022221" cy="308021"/>
            </a:xfrm>
            <a:custGeom>
              <a:avLst/>
              <a:gdLst>
                <a:gd name="connsiteX0" fmla="*/ 2540 w 1022221"/>
                <a:gd name="connsiteY0" fmla="*/ 0 h 308021"/>
                <a:gd name="connsiteX1" fmla="*/ 0 w 1022221"/>
                <a:gd name="connsiteY1" fmla="*/ 3682 h 308021"/>
                <a:gd name="connsiteX2" fmla="*/ 0 w 1022221"/>
                <a:gd name="connsiteY2" fmla="*/ 3682 h 308021"/>
                <a:gd name="connsiteX3" fmla="*/ 889 w 1022221"/>
                <a:gd name="connsiteY3" fmla="*/ 3682 h 308021"/>
                <a:gd name="connsiteX4" fmla="*/ 889 w 1022221"/>
                <a:gd name="connsiteY4" fmla="*/ 3682 h 308021"/>
                <a:gd name="connsiteX5" fmla="*/ 889 w 1022221"/>
                <a:gd name="connsiteY5" fmla="*/ 4317 h 308021"/>
                <a:gd name="connsiteX6" fmla="*/ 1524 w 1022221"/>
                <a:gd name="connsiteY6" fmla="*/ 5206 h 308021"/>
                <a:gd name="connsiteX7" fmla="*/ 1524 w 1022221"/>
                <a:gd name="connsiteY7" fmla="*/ 6221 h 308021"/>
                <a:gd name="connsiteX8" fmla="*/ 1524 w 1022221"/>
                <a:gd name="connsiteY8" fmla="*/ 6983 h 308021"/>
                <a:gd name="connsiteX9" fmla="*/ 1524 w 1022221"/>
                <a:gd name="connsiteY9" fmla="*/ 8507 h 308021"/>
                <a:gd name="connsiteX10" fmla="*/ 1022222 w 1022221"/>
                <a:gd name="connsiteY10" fmla="*/ 308022 h 30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2221" h="308021">
                  <a:moveTo>
                    <a:pt x="2540" y="0"/>
                  </a:moveTo>
                  <a:lnTo>
                    <a:pt x="0" y="3682"/>
                  </a:lnTo>
                  <a:lnTo>
                    <a:pt x="0" y="3682"/>
                  </a:lnTo>
                  <a:lnTo>
                    <a:pt x="889" y="3682"/>
                  </a:lnTo>
                  <a:lnTo>
                    <a:pt x="889" y="3682"/>
                  </a:lnTo>
                  <a:cubicBezTo>
                    <a:pt x="927" y="3898"/>
                    <a:pt x="927" y="4101"/>
                    <a:pt x="889" y="4317"/>
                  </a:cubicBezTo>
                  <a:cubicBezTo>
                    <a:pt x="1168" y="4558"/>
                    <a:pt x="1384" y="4863"/>
                    <a:pt x="1524" y="5206"/>
                  </a:cubicBezTo>
                  <a:cubicBezTo>
                    <a:pt x="1524" y="5206"/>
                    <a:pt x="1524" y="5840"/>
                    <a:pt x="1524" y="6221"/>
                  </a:cubicBezTo>
                  <a:cubicBezTo>
                    <a:pt x="1524" y="6602"/>
                    <a:pt x="1524" y="6221"/>
                    <a:pt x="1524" y="6983"/>
                  </a:cubicBezTo>
                  <a:lnTo>
                    <a:pt x="1524" y="8507"/>
                  </a:lnTo>
                  <a:lnTo>
                    <a:pt x="1022222" y="308022"/>
                  </a:lnTo>
                  <a:close/>
                </a:path>
              </a:pathLst>
            </a:custGeom>
            <a:noFill/>
            <a:ln w="1269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E67F33A4-DD76-40B0-B695-84B8BCB5C602}"/>
                </a:ext>
              </a:extLst>
            </p:cNvPr>
            <p:cNvSpPr/>
            <p:nvPr/>
          </p:nvSpPr>
          <p:spPr>
            <a:xfrm>
              <a:off x="10842707" y="1661743"/>
              <a:ext cx="32250" cy="36185"/>
            </a:xfrm>
            <a:custGeom>
              <a:avLst/>
              <a:gdLst>
                <a:gd name="connsiteX0" fmla="*/ 0 w 32250"/>
                <a:gd name="connsiteY0" fmla="*/ 36185 h 36185"/>
                <a:gd name="connsiteX1" fmla="*/ 32250 w 32250"/>
                <a:gd name="connsiteY1" fmla="*/ 10030 h 36185"/>
                <a:gd name="connsiteX2" fmla="*/ 0 w 32250"/>
                <a:gd name="connsiteY2" fmla="*/ 0 h 36185"/>
                <a:gd name="connsiteX3" fmla="*/ 0 w 32250"/>
                <a:gd name="connsiteY3" fmla="*/ 36185 h 36185"/>
              </a:gdLst>
              <a:ahLst/>
              <a:cxnLst>
                <a:cxn ang="0">
                  <a:pos x="connsiteX0" y="connsiteY0"/>
                </a:cxn>
                <a:cxn ang="0">
                  <a:pos x="connsiteX1" y="connsiteY1"/>
                </a:cxn>
                <a:cxn ang="0">
                  <a:pos x="connsiteX2" y="connsiteY2"/>
                </a:cxn>
                <a:cxn ang="0">
                  <a:pos x="connsiteX3" y="connsiteY3"/>
                </a:cxn>
              </a:cxnLst>
              <a:rect l="l" t="t" r="r" b="b"/>
              <a:pathLst>
                <a:path w="32250" h="36185">
                  <a:moveTo>
                    <a:pt x="0" y="36185"/>
                  </a:moveTo>
                  <a:lnTo>
                    <a:pt x="32250" y="10030"/>
                  </a:lnTo>
                  <a:lnTo>
                    <a:pt x="0" y="0"/>
                  </a:lnTo>
                  <a:lnTo>
                    <a:pt x="0" y="36185"/>
                  </a:lnTo>
                  <a:close/>
                </a:path>
              </a:pathLst>
            </a:custGeom>
            <a:noFill/>
            <a:ln w="1269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901F002-FB9B-4006-841E-6A3AE949463D}"/>
                </a:ext>
              </a:extLst>
            </p:cNvPr>
            <p:cNvSpPr/>
            <p:nvPr/>
          </p:nvSpPr>
          <p:spPr>
            <a:xfrm>
              <a:off x="11963075" y="789480"/>
              <a:ext cx="164677" cy="224731"/>
            </a:xfrm>
            <a:custGeom>
              <a:avLst/>
              <a:gdLst>
                <a:gd name="connsiteX0" fmla="*/ 0 w 164677"/>
                <a:gd name="connsiteY0" fmla="*/ 224732 h 224731"/>
                <a:gd name="connsiteX1" fmla="*/ 164677 w 164677"/>
                <a:gd name="connsiteY1" fmla="*/ 90401 h 224731"/>
                <a:gd name="connsiteX2" fmla="*/ 164677 w 164677"/>
                <a:gd name="connsiteY2" fmla="*/ 0 h 224731"/>
                <a:gd name="connsiteX3" fmla="*/ 0 w 164677"/>
                <a:gd name="connsiteY3" fmla="*/ 134331 h 224731"/>
                <a:gd name="connsiteX4" fmla="*/ 0 w 164677"/>
                <a:gd name="connsiteY4" fmla="*/ 224732 h 22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77" h="224731">
                  <a:moveTo>
                    <a:pt x="0" y="224732"/>
                  </a:moveTo>
                  <a:lnTo>
                    <a:pt x="164677" y="90401"/>
                  </a:lnTo>
                  <a:lnTo>
                    <a:pt x="164677" y="0"/>
                  </a:lnTo>
                  <a:lnTo>
                    <a:pt x="0" y="134331"/>
                  </a:lnTo>
                  <a:lnTo>
                    <a:pt x="0" y="224732"/>
                  </a:lnTo>
                  <a:close/>
                </a:path>
              </a:pathLst>
            </a:custGeom>
            <a:solidFill>
              <a:schemeClr val="tx2"/>
            </a:solidFill>
            <a:ln w="1269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05BA584-9B01-4869-AA6B-F2C6E0939E91}"/>
                </a:ext>
              </a:extLst>
            </p:cNvPr>
            <p:cNvSpPr/>
            <p:nvPr/>
          </p:nvSpPr>
          <p:spPr>
            <a:xfrm>
              <a:off x="11042936" y="650197"/>
              <a:ext cx="907315" cy="365284"/>
            </a:xfrm>
            <a:custGeom>
              <a:avLst/>
              <a:gdLst>
                <a:gd name="connsiteX0" fmla="*/ 0 w 907315"/>
                <a:gd name="connsiteY0" fmla="*/ 76942 h 365284"/>
                <a:gd name="connsiteX1" fmla="*/ 837990 w 907315"/>
                <a:gd name="connsiteY1" fmla="*/ 329987 h 365284"/>
                <a:gd name="connsiteX2" fmla="*/ 837990 w 907315"/>
                <a:gd name="connsiteY2" fmla="*/ 329987 h 365284"/>
                <a:gd name="connsiteX3" fmla="*/ 838879 w 907315"/>
                <a:gd name="connsiteY3" fmla="*/ 329987 h 365284"/>
                <a:gd name="connsiteX4" fmla="*/ 839768 w 907315"/>
                <a:gd name="connsiteY4" fmla="*/ 329987 h 365284"/>
                <a:gd name="connsiteX5" fmla="*/ 839768 w 907315"/>
                <a:gd name="connsiteY5" fmla="*/ 329987 h 365284"/>
                <a:gd name="connsiteX6" fmla="*/ 839768 w 907315"/>
                <a:gd name="connsiteY6" fmla="*/ 329987 h 365284"/>
                <a:gd name="connsiteX7" fmla="*/ 839768 w 907315"/>
                <a:gd name="connsiteY7" fmla="*/ 330876 h 365284"/>
                <a:gd name="connsiteX8" fmla="*/ 839768 w 907315"/>
                <a:gd name="connsiteY8" fmla="*/ 331765 h 365284"/>
                <a:gd name="connsiteX9" fmla="*/ 839768 w 907315"/>
                <a:gd name="connsiteY9" fmla="*/ 332654 h 365284"/>
                <a:gd name="connsiteX10" fmla="*/ 839768 w 907315"/>
                <a:gd name="connsiteY10" fmla="*/ 333669 h 365284"/>
                <a:gd name="connsiteX11" fmla="*/ 839768 w 907315"/>
                <a:gd name="connsiteY11" fmla="*/ 333669 h 365284"/>
                <a:gd name="connsiteX12" fmla="*/ 838499 w 907315"/>
                <a:gd name="connsiteY12" fmla="*/ 335574 h 365284"/>
                <a:gd name="connsiteX13" fmla="*/ 834816 w 907315"/>
                <a:gd name="connsiteY13" fmla="*/ 338621 h 365284"/>
                <a:gd name="connsiteX14" fmla="*/ 834816 w 907315"/>
                <a:gd name="connsiteY14" fmla="*/ 343700 h 365284"/>
                <a:gd name="connsiteX15" fmla="*/ 836594 w 907315"/>
                <a:gd name="connsiteY15" fmla="*/ 343700 h 365284"/>
                <a:gd name="connsiteX16" fmla="*/ 907315 w 907315"/>
                <a:gd name="connsiteY16" fmla="*/ 365284 h 365284"/>
                <a:gd name="connsiteX17" fmla="*/ 907315 w 907315"/>
                <a:gd name="connsiteY17" fmla="*/ 274884 h 365284"/>
                <a:gd name="connsiteX18" fmla="*/ 0 w 907315"/>
                <a:gd name="connsiteY18" fmla="*/ 0 h 36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7315" h="365284">
                  <a:moveTo>
                    <a:pt x="0" y="76942"/>
                  </a:moveTo>
                  <a:lnTo>
                    <a:pt x="837990" y="329987"/>
                  </a:lnTo>
                  <a:lnTo>
                    <a:pt x="837990" y="329987"/>
                  </a:lnTo>
                  <a:lnTo>
                    <a:pt x="838879" y="329987"/>
                  </a:lnTo>
                  <a:lnTo>
                    <a:pt x="839768" y="329987"/>
                  </a:lnTo>
                  <a:lnTo>
                    <a:pt x="839768" y="329987"/>
                  </a:lnTo>
                  <a:lnTo>
                    <a:pt x="839768" y="329987"/>
                  </a:lnTo>
                  <a:cubicBezTo>
                    <a:pt x="839794" y="330283"/>
                    <a:pt x="839794" y="330580"/>
                    <a:pt x="839768" y="330876"/>
                  </a:cubicBezTo>
                  <a:cubicBezTo>
                    <a:pt x="839819" y="331169"/>
                    <a:pt x="839819" y="331472"/>
                    <a:pt x="839768" y="331765"/>
                  </a:cubicBezTo>
                  <a:cubicBezTo>
                    <a:pt x="839832" y="332058"/>
                    <a:pt x="839832" y="332360"/>
                    <a:pt x="839768" y="332654"/>
                  </a:cubicBezTo>
                  <a:cubicBezTo>
                    <a:pt x="839832" y="332989"/>
                    <a:pt x="839832" y="333334"/>
                    <a:pt x="839768" y="333669"/>
                  </a:cubicBezTo>
                  <a:lnTo>
                    <a:pt x="839768" y="333669"/>
                  </a:lnTo>
                  <a:cubicBezTo>
                    <a:pt x="839540" y="334416"/>
                    <a:pt x="839096" y="335079"/>
                    <a:pt x="838499" y="335574"/>
                  </a:cubicBezTo>
                  <a:lnTo>
                    <a:pt x="834816" y="338621"/>
                  </a:lnTo>
                  <a:lnTo>
                    <a:pt x="834816" y="343700"/>
                  </a:lnTo>
                  <a:lnTo>
                    <a:pt x="836594" y="343700"/>
                  </a:lnTo>
                  <a:lnTo>
                    <a:pt x="907315" y="365284"/>
                  </a:lnTo>
                  <a:lnTo>
                    <a:pt x="907315" y="274884"/>
                  </a:lnTo>
                  <a:lnTo>
                    <a:pt x="0" y="0"/>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86AD136-6C3D-494A-9596-E2864CCDE17F}"/>
                </a:ext>
              </a:extLst>
            </p:cNvPr>
            <p:cNvSpPr/>
            <p:nvPr/>
          </p:nvSpPr>
          <p:spPr>
            <a:xfrm>
              <a:off x="11048142" y="506216"/>
              <a:ext cx="1074532" cy="409849"/>
            </a:xfrm>
            <a:custGeom>
              <a:avLst/>
              <a:gdLst>
                <a:gd name="connsiteX0" fmla="*/ 1074532 w 1074532"/>
                <a:gd name="connsiteY0" fmla="*/ 274249 h 409849"/>
                <a:gd name="connsiteX1" fmla="*/ 166201 w 1074532"/>
                <a:gd name="connsiteY1" fmla="*/ 0 h 409849"/>
                <a:gd name="connsiteX2" fmla="*/ 0 w 1074532"/>
                <a:gd name="connsiteY2" fmla="*/ 135093 h 409849"/>
                <a:gd name="connsiteX3" fmla="*/ 908331 w 1074532"/>
                <a:gd name="connsiteY3" fmla="*/ 409850 h 409849"/>
                <a:gd name="connsiteX4" fmla="*/ 1074532 w 1074532"/>
                <a:gd name="connsiteY4" fmla="*/ 274249 h 409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532" h="409849">
                  <a:moveTo>
                    <a:pt x="1074532" y="274249"/>
                  </a:moveTo>
                  <a:lnTo>
                    <a:pt x="166201" y="0"/>
                  </a:lnTo>
                  <a:lnTo>
                    <a:pt x="0" y="135093"/>
                  </a:lnTo>
                  <a:lnTo>
                    <a:pt x="908331" y="409850"/>
                  </a:lnTo>
                  <a:lnTo>
                    <a:pt x="1074532" y="274249"/>
                  </a:lnTo>
                  <a:close/>
                </a:path>
              </a:pathLst>
            </a:custGeom>
            <a:solidFill>
              <a:schemeClr val="accent4"/>
            </a:solidFill>
            <a:ln w="1269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EA5E247-E28E-4EE5-9A81-610BD9FAAC44}"/>
                </a:ext>
              </a:extLst>
            </p:cNvPr>
            <p:cNvSpPr/>
            <p:nvPr/>
          </p:nvSpPr>
          <p:spPr>
            <a:xfrm>
              <a:off x="11748626" y="993135"/>
              <a:ext cx="129507" cy="195275"/>
            </a:xfrm>
            <a:custGeom>
              <a:avLst/>
              <a:gdLst>
                <a:gd name="connsiteX0" fmla="*/ 0 w 129507"/>
                <a:gd name="connsiteY0" fmla="*/ 105383 h 195275"/>
                <a:gd name="connsiteX1" fmla="*/ 0 w 129507"/>
                <a:gd name="connsiteY1" fmla="*/ 195275 h 195275"/>
                <a:gd name="connsiteX2" fmla="*/ 125825 w 129507"/>
                <a:gd name="connsiteY2" fmla="*/ 93702 h 195275"/>
                <a:gd name="connsiteX3" fmla="*/ 125825 w 129507"/>
                <a:gd name="connsiteY3" fmla="*/ 8380 h 195275"/>
                <a:gd name="connsiteX4" fmla="*/ 125825 w 129507"/>
                <a:gd name="connsiteY4" fmla="*/ 7491 h 195275"/>
                <a:gd name="connsiteX5" fmla="*/ 125825 w 129507"/>
                <a:gd name="connsiteY5" fmla="*/ 6729 h 195275"/>
                <a:gd name="connsiteX6" fmla="*/ 125825 w 129507"/>
                <a:gd name="connsiteY6" fmla="*/ 6729 h 195275"/>
                <a:gd name="connsiteX7" fmla="*/ 125825 w 129507"/>
                <a:gd name="connsiteY7" fmla="*/ 5840 h 195275"/>
                <a:gd name="connsiteX8" fmla="*/ 125825 w 129507"/>
                <a:gd name="connsiteY8" fmla="*/ 5079 h 195275"/>
                <a:gd name="connsiteX9" fmla="*/ 126714 w 129507"/>
                <a:gd name="connsiteY9" fmla="*/ 5079 h 195275"/>
                <a:gd name="connsiteX10" fmla="*/ 127476 w 129507"/>
                <a:gd name="connsiteY10" fmla="*/ 5079 h 195275"/>
                <a:gd name="connsiteX11" fmla="*/ 128492 w 129507"/>
                <a:gd name="connsiteY11" fmla="*/ 5079 h 195275"/>
                <a:gd name="connsiteX12" fmla="*/ 129508 w 129507"/>
                <a:gd name="connsiteY12" fmla="*/ 5079 h 195275"/>
                <a:gd name="connsiteX13" fmla="*/ 129508 w 129507"/>
                <a:gd name="connsiteY13" fmla="*/ 5079 h 195275"/>
                <a:gd name="connsiteX14" fmla="*/ 129508 w 129507"/>
                <a:gd name="connsiteY14" fmla="*/ 0 h 1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507" h="195275">
                  <a:moveTo>
                    <a:pt x="0" y="105383"/>
                  </a:moveTo>
                  <a:lnTo>
                    <a:pt x="0" y="195275"/>
                  </a:lnTo>
                  <a:lnTo>
                    <a:pt x="125825" y="93702"/>
                  </a:lnTo>
                  <a:lnTo>
                    <a:pt x="125825" y="8380"/>
                  </a:lnTo>
                  <a:cubicBezTo>
                    <a:pt x="125825" y="8380"/>
                    <a:pt x="125825" y="8380"/>
                    <a:pt x="125825" y="7491"/>
                  </a:cubicBezTo>
                  <a:cubicBezTo>
                    <a:pt x="125762" y="7241"/>
                    <a:pt x="125762" y="6979"/>
                    <a:pt x="125825" y="6729"/>
                  </a:cubicBezTo>
                  <a:lnTo>
                    <a:pt x="125825" y="6729"/>
                  </a:lnTo>
                  <a:cubicBezTo>
                    <a:pt x="125762" y="6437"/>
                    <a:pt x="125762" y="6133"/>
                    <a:pt x="125825" y="5840"/>
                  </a:cubicBezTo>
                  <a:cubicBezTo>
                    <a:pt x="125863" y="5588"/>
                    <a:pt x="125863" y="5331"/>
                    <a:pt x="125825" y="5079"/>
                  </a:cubicBezTo>
                  <a:lnTo>
                    <a:pt x="126714" y="5079"/>
                  </a:lnTo>
                  <a:lnTo>
                    <a:pt x="127476" y="5079"/>
                  </a:lnTo>
                  <a:lnTo>
                    <a:pt x="128492" y="5079"/>
                  </a:lnTo>
                  <a:lnTo>
                    <a:pt x="129508" y="5079"/>
                  </a:lnTo>
                  <a:lnTo>
                    <a:pt x="129508" y="5079"/>
                  </a:lnTo>
                  <a:lnTo>
                    <a:pt x="129508" y="0"/>
                  </a:lnTo>
                  <a:close/>
                </a:path>
              </a:pathLst>
            </a:custGeom>
            <a:solidFill>
              <a:srgbClr val="C6E3D1"/>
            </a:solidFill>
            <a:ln w="1269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34662BB-E5C8-42DE-97C9-E383F32D6C75}"/>
                </a:ext>
              </a:extLst>
            </p:cNvPr>
            <p:cNvSpPr/>
            <p:nvPr/>
          </p:nvSpPr>
          <p:spPr>
            <a:xfrm>
              <a:off x="10786334" y="811953"/>
              <a:ext cx="951499" cy="380647"/>
            </a:xfrm>
            <a:custGeom>
              <a:avLst/>
              <a:gdLst>
                <a:gd name="connsiteX0" fmla="*/ 0 w 951499"/>
                <a:gd name="connsiteY0" fmla="*/ 93194 h 380647"/>
                <a:gd name="connsiteX1" fmla="*/ 951499 w 951499"/>
                <a:gd name="connsiteY1" fmla="*/ 380647 h 380647"/>
                <a:gd name="connsiteX2" fmla="*/ 951499 w 951499"/>
                <a:gd name="connsiteY2" fmla="*/ 287834 h 380647"/>
                <a:gd name="connsiteX3" fmla="*/ 0 w 951499"/>
                <a:gd name="connsiteY3" fmla="*/ 0 h 380647"/>
                <a:gd name="connsiteX4" fmla="*/ 0 w 951499"/>
                <a:gd name="connsiteY4" fmla="*/ 93194 h 38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499" h="380647">
                  <a:moveTo>
                    <a:pt x="0" y="93194"/>
                  </a:moveTo>
                  <a:lnTo>
                    <a:pt x="951499" y="380647"/>
                  </a:lnTo>
                  <a:lnTo>
                    <a:pt x="951499" y="287834"/>
                  </a:lnTo>
                  <a:lnTo>
                    <a:pt x="0" y="0"/>
                  </a:lnTo>
                  <a:lnTo>
                    <a:pt x="0" y="93194"/>
                  </a:lnTo>
                  <a:close/>
                </a:path>
              </a:pathLst>
            </a:custGeom>
            <a:solidFill>
              <a:schemeClr val="accent3"/>
            </a:solidFill>
            <a:ln w="1269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8DB7B94-538C-4186-BE5E-0E06336361B7}"/>
                </a:ext>
              </a:extLst>
            </p:cNvPr>
            <p:cNvSpPr/>
            <p:nvPr/>
          </p:nvSpPr>
          <p:spPr>
            <a:xfrm>
              <a:off x="10793697" y="712411"/>
              <a:ext cx="1075548" cy="378361"/>
            </a:xfrm>
            <a:custGeom>
              <a:avLst/>
              <a:gdLst>
                <a:gd name="connsiteX0" fmla="*/ 1075548 w 1075548"/>
                <a:gd name="connsiteY0" fmla="*/ 274376 h 378361"/>
                <a:gd name="connsiteX1" fmla="*/ 242129 w 1075548"/>
                <a:gd name="connsiteY1" fmla="*/ 22981 h 378361"/>
                <a:gd name="connsiteX2" fmla="*/ 242129 w 1075548"/>
                <a:gd name="connsiteY2" fmla="*/ 22981 h 378361"/>
                <a:gd name="connsiteX3" fmla="*/ 242129 w 1075548"/>
                <a:gd name="connsiteY3" fmla="*/ 22981 h 378361"/>
                <a:gd name="connsiteX4" fmla="*/ 166582 w 1075548"/>
                <a:gd name="connsiteY4" fmla="*/ 0 h 378361"/>
                <a:gd name="connsiteX5" fmla="*/ 0 w 1075548"/>
                <a:gd name="connsiteY5" fmla="*/ 91416 h 378361"/>
                <a:gd name="connsiteX6" fmla="*/ 948199 w 1075548"/>
                <a:gd name="connsiteY6" fmla="*/ 378362 h 378361"/>
                <a:gd name="connsiteX7" fmla="*/ 1075548 w 1075548"/>
                <a:gd name="connsiteY7" fmla="*/ 274376 h 37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5548" h="378361">
                  <a:moveTo>
                    <a:pt x="1075548" y="274376"/>
                  </a:moveTo>
                  <a:lnTo>
                    <a:pt x="242129" y="22981"/>
                  </a:lnTo>
                  <a:lnTo>
                    <a:pt x="242129" y="22981"/>
                  </a:lnTo>
                  <a:lnTo>
                    <a:pt x="242129" y="22981"/>
                  </a:lnTo>
                  <a:lnTo>
                    <a:pt x="166582" y="0"/>
                  </a:lnTo>
                  <a:lnTo>
                    <a:pt x="0" y="91416"/>
                  </a:lnTo>
                  <a:lnTo>
                    <a:pt x="948199" y="378362"/>
                  </a:lnTo>
                  <a:lnTo>
                    <a:pt x="1075548" y="274376"/>
                  </a:lnTo>
                  <a:close/>
                </a:path>
              </a:pathLst>
            </a:custGeom>
            <a:solidFill>
              <a:schemeClr val="accent3"/>
            </a:solidFill>
            <a:ln w="1269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33BF829-4588-4357-8DA4-3122164C6EF1}"/>
                </a:ext>
              </a:extLst>
            </p:cNvPr>
            <p:cNvSpPr/>
            <p:nvPr/>
          </p:nvSpPr>
          <p:spPr>
            <a:xfrm>
              <a:off x="11335725" y="412387"/>
              <a:ext cx="850179" cy="370743"/>
            </a:xfrm>
            <a:custGeom>
              <a:avLst/>
              <a:gdLst>
                <a:gd name="connsiteX0" fmla="*/ 0 w 850179"/>
                <a:gd name="connsiteY0" fmla="*/ 93194 h 370743"/>
                <a:gd name="connsiteX1" fmla="*/ 850180 w 850179"/>
                <a:gd name="connsiteY1" fmla="*/ 370744 h 370743"/>
                <a:gd name="connsiteX2" fmla="*/ 850180 w 850179"/>
                <a:gd name="connsiteY2" fmla="*/ 277677 h 370743"/>
                <a:gd name="connsiteX3" fmla="*/ 0 w 850179"/>
                <a:gd name="connsiteY3" fmla="*/ 0 h 370743"/>
                <a:gd name="connsiteX4" fmla="*/ 0 w 850179"/>
                <a:gd name="connsiteY4" fmla="*/ 93194 h 37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179" h="370743">
                  <a:moveTo>
                    <a:pt x="0" y="93194"/>
                  </a:moveTo>
                  <a:lnTo>
                    <a:pt x="850180" y="370744"/>
                  </a:lnTo>
                  <a:lnTo>
                    <a:pt x="850180" y="277677"/>
                  </a:lnTo>
                  <a:lnTo>
                    <a:pt x="0" y="0"/>
                  </a:lnTo>
                  <a:lnTo>
                    <a:pt x="0" y="93194"/>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5E6FBF7D-44DD-4685-AF50-09701F4B2945}"/>
                </a:ext>
              </a:extLst>
            </p:cNvPr>
            <p:cNvSpPr/>
            <p:nvPr/>
          </p:nvSpPr>
          <p:spPr>
            <a:xfrm>
              <a:off x="11340677" y="268407"/>
              <a:ext cx="845227" cy="411246"/>
            </a:xfrm>
            <a:custGeom>
              <a:avLst/>
              <a:gdLst>
                <a:gd name="connsiteX0" fmla="*/ 0 w 845227"/>
                <a:gd name="connsiteY0" fmla="*/ 135220 h 411246"/>
                <a:gd name="connsiteX1" fmla="*/ 845228 w 845227"/>
                <a:gd name="connsiteY1" fmla="*/ 411246 h 411246"/>
                <a:gd name="connsiteX2" fmla="*/ 845228 w 845227"/>
                <a:gd name="connsiteY2" fmla="*/ 221304 h 411246"/>
                <a:gd name="connsiteX3" fmla="*/ 166328 w 845227"/>
                <a:gd name="connsiteY3" fmla="*/ 0 h 411246"/>
                <a:gd name="connsiteX4" fmla="*/ 0 w 845227"/>
                <a:gd name="connsiteY4" fmla="*/ 135220 h 411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227" h="411246">
                  <a:moveTo>
                    <a:pt x="0" y="135220"/>
                  </a:moveTo>
                  <a:lnTo>
                    <a:pt x="845228" y="411246"/>
                  </a:lnTo>
                  <a:lnTo>
                    <a:pt x="845228" y="221304"/>
                  </a:lnTo>
                  <a:lnTo>
                    <a:pt x="166328" y="0"/>
                  </a:lnTo>
                  <a:lnTo>
                    <a:pt x="0" y="135220"/>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E8BA6A63-110F-495E-B533-4EB7824E09BA}"/>
                </a:ext>
              </a:extLst>
            </p:cNvPr>
            <p:cNvSpPr/>
            <p:nvPr/>
          </p:nvSpPr>
          <p:spPr>
            <a:xfrm>
              <a:off x="8815405" y="-1"/>
              <a:ext cx="639793" cy="531230"/>
            </a:xfrm>
            <a:custGeom>
              <a:avLst/>
              <a:gdLst>
                <a:gd name="connsiteX0" fmla="*/ 0 w 639793"/>
                <a:gd name="connsiteY0" fmla="*/ 531230 h 531230"/>
                <a:gd name="connsiteX1" fmla="*/ 302058 w 639793"/>
                <a:gd name="connsiteY1" fmla="*/ 285803 h 531230"/>
                <a:gd name="connsiteX2" fmla="*/ 302058 w 639793"/>
                <a:gd name="connsiteY2" fmla="*/ 285803 h 531230"/>
                <a:gd name="connsiteX3" fmla="*/ 639793 w 639793"/>
                <a:gd name="connsiteY3" fmla="*/ 0 h 531230"/>
                <a:gd name="connsiteX4" fmla="*/ 533267 w 639793"/>
                <a:gd name="connsiteY4" fmla="*/ 0 h 531230"/>
                <a:gd name="connsiteX5" fmla="*/ 0 w 639793"/>
                <a:gd name="connsiteY5" fmla="*/ 451241 h 531230"/>
                <a:gd name="connsiteX6" fmla="*/ 0 w 639793"/>
                <a:gd name="connsiteY6" fmla="*/ 531230 h 5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793" h="531230">
                  <a:moveTo>
                    <a:pt x="0" y="531230"/>
                  </a:moveTo>
                  <a:lnTo>
                    <a:pt x="302058" y="285803"/>
                  </a:lnTo>
                  <a:lnTo>
                    <a:pt x="302058" y="285803"/>
                  </a:lnTo>
                  <a:lnTo>
                    <a:pt x="639793" y="0"/>
                  </a:lnTo>
                  <a:lnTo>
                    <a:pt x="533267" y="0"/>
                  </a:lnTo>
                  <a:lnTo>
                    <a:pt x="0" y="451241"/>
                  </a:lnTo>
                  <a:lnTo>
                    <a:pt x="0" y="531230"/>
                  </a:lnTo>
                  <a:close/>
                </a:path>
              </a:pathLst>
            </a:custGeom>
            <a:solidFill>
              <a:schemeClr val="accent5"/>
            </a:solidFill>
            <a:ln w="1269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E6288EF-B81E-430C-B3BD-9D00CE047AC0}"/>
                </a:ext>
              </a:extLst>
            </p:cNvPr>
            <p:cNvSpPr/>
            <p:nvPr/>
          </p:nvSpPr>
          <p:spPr>
            <a:xfrm>
              <a:off x="7524138" y="-1"/>
              <a:ext cx="1808662" cy="443495"/>
            </a:xfrm>
            <a:custGeom>
              <a:avLst/>
              <a:gdLst>
                <a:gd name="connsiteX0" fmla="*/ 1284538 w 1808662"/>
                <a:gd name="connsiteY0" fmla="*/ 443496 h 443495"/>
                <a:gd name="connsiteX1" fmla="*/ 1808663 w 1808662"/>
                <a:gd name="connsiteY1" fmla="*/ 0 h 443495"/>
                <a:gd name="connsiteX2" fmla="*/ 67420 w 1808662"/>
                <a:gd name="connsiteY2" fmla="*/ 0 h 443495"/>
                <a:gd name="connsiteX3" fmla="*/ 0 w 1808662"/>
                <a:gd name="connsiteY3" fmla="*/ 54977 h 443495"/>
                <a:gd name="connsiteX4" fmla="*/ 1284538 w 1808662"/>
                <a:gd name="connsiteY4" fmla="*/ 443496 h 443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662" h="443495">
                  <a:moveTo>
                    <a:pt x="1284538" y="443496"/>
                  </a:moveTo>
                  <a:lnTo>
                    <a:pt x="1808663" y="0"/>
                  </a:lnTo>
                  <a:lnTo>
                    <a:pt x="67420" y="0"/>
                  </a:lnTo>
                  <a:lnTo>
                    <a:pt x="0" y="54977"/>
                  </a:lnTo>
                  <a:lnTo>
                    <a:pt x="1284538" y="443496"/>
                  </a:lnTo>
                  <a:close/>
                </a:path>
              </a:pathLst>
            </a:custGeom>
            <a:solidFill>
              <a:schemeClr val="accent4"/>
            </a:solidFill>
            <a:ln w="1269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8666E31F-FDCC-4F05-9517-E681592869DD}"/>
                </a:ext>
              </a:extLst>
            </p:cNvPr>
            <p:cNvSpPr/>
            <p:nvPr/>
          </p:nvSpPr>
          <p:spPr>
            <a:xfrm>
              <a:off x="7518932" y="68815"/>
              <a:ext cx="1285680" cy="460382"/>
            </a:xfrm>
            <a:custGeom>
              <a:avLst/>
              <a:gdLst>
                <a:gd name="connsiteX0" fmla="*/ 645253 w 1285680"/>
                <a:gd name="connsiteY0" fmla="*/ 190070 h 460382"/>
                <a:gd name="connsiteX1" fmla="*/ 0 w 1285680"/>
                <a:gd name="connsiteY1" fmla="*/ 0 h 460382"/>
                <a:gd name="connsiteX2" fmla="*/ 0 w 1285680"/>
                <a:gd name="connsiteY2" fmla="*/ 71863 h 460382"/>
                <a:gd name="connsiteX3" fmla="*/ 1285681 w 1285680"/>
                <a:gd name="connsiteY3" fmla="*/ 460383 h 460382"/>
                <a:gd name="connsiteX4" fmla="*/ 1285681 w 1285680"/>
                <a:gd name="connsiteY4" fmla="*/ 383821 h 460382"/>
                <a:gd name="connsiteX5" fmla="*/ 645253 w 1285680"/>
                <a:gd name="connsiteY5" fmla="*/ 190070 h 46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680" h="460382">
                  <a:moveTo>
                    <a:pt x="645253" y="190070"/>
                  </a:moveTo>
                  <a:lnTo>
                    <a:pt x="0" y="0"/>
                  </a:lnTo>
                  <a:lnTo>
                    <a:pt x="0" y="71863"/>
                  </a:lnTo>
                  <a:lnTo>
                    <a:pt x="1285681" y="460383"/>
                  </a:lnTo>
                  <a:lnTo>
                    <a:pt x="1285681" y="383821"/>
                  </a:lnTo>
                  <a:lnTo>
                    <a:pt x="645253" y="190070"/>
                  </a:lnTo>
                  <a:close/>
                </a:path>
              </a:pathLst>
            </a:custGeom>
            <a:solidFill>
              <a:schemeClr val="accent4"/>
            </a:solidFill>
            <a:ln w="1269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816975EB-AEAF-477A-B6A7-7D3E099D21C3}"/>
                </a:ext>
              </a:extLst>
            </p:cNvPr>
            <p:cNvSpPr/>
            <p:nvPr/>
          </p:nvSpPr>
          <p:spPr>
            <a:xfrm>
              <a:off x="10967390" y="-1"/>
              <a:ext cx="234383" cy="190704"/>
            </a:xfrm>
            <a:custGeom>
              <a:avLst/>
              <a:gdLst>
                <a:gd name="connsiteX0" fmla="*/ 0 w 234383"/>
                <a:gd name="connsiteY0" fmla="*/ 190705 h 190704"/>
                <a:gd name="connsiteX1" fmla="*/ 234384 w 234383"/>
                <a:gd name="connsiteY1" fmla="*/ 0 h 190704"/>
                <a:gd name="connsiteX2" fmla="*/ 123286 w 234383"/>
                <a:gd name="connsiteY2" fmla="*/ 0 h 190704"/>
                <a:gd name="connsiteX3" fmla="*/ 0 w 234383"/>
                <a:gd name="connsiteY3" fmla="*/ 100304 h 190704"/>
                <a:gd name="connsiteX4" fmla="*/ 0 w 234383"/>
                <a:gd name="connsiteY4" fmla="*/ 190705 h 19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83" h="190704">
                  <a:moveTo>
                    <a:pt x="0" y="190705"/>
                  </a:moveTo>
                  <a:lnTo>
                    <a:pt x="234384" y="0"/>
                  </a:lnTo>
                  <a:lnTo>
                    <a:pt x="123286" y="0"/>
                  </a:lnTo>
                  <a:lnTo>
                    <a:pt x="0" y="100304"/>
                  </a:lnTo>
                  <a:lnTo>
                    <a:pt x="0" y="190705"/>
                  </a:lnTo>
                  <a:close/>
                </a:path>
              </a:pathLst>
            </a:custGeom>
            <a:solidFill>
              <a:srgbClr val="61B3B2"/>
            </a:solidFill>
            <a:ln w="1269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43D73A9-014B-4361-98CB-5AC445567D49}"/>
                </a:ext>
              </a:extLst>
            </p:cNvPr>
            <p:cNvSpPr/>
            <p:nvPr/>
          </p:nvSpPr>
          <p:spPr>
            <a:xfrm>
              <a:off x="10465485" y="-1"/>
              <a:ext cx="490986" cy="194894"/>
            </a:xfrm>
            <a:custGeom>
              <a:avLst/>
              <a:gdLst>
                <a:gd name="connsiteX0" fmla="*/ 490986 w 490986"/>
                <a:gd name="connsiteY0" fmla="*/ 194894 h 194894"/>
                <a:gd name="connsiteX1" fmla="*/ 490986 w 490986"/>
                <a:gd name="connsiteY1" fmla="*/ 101574 h 194894"/>
                <a:gd name="connsiteX2" fmla="*/ 154266 w 490986"/>
                <a:gd name="connsiteY2" fmla="*/ 0 h 194894"/>
                <a:gd name="connsiteX3" fmla="*/ 0 w 490986"/>
                <a:gd name="connsiteY3" fmla="*/ 0 h 194894"/>
                <a:gd name="connsiteX4" fmla="*/ 0 w 490986"/>
                <a:gd name="connsiteY4" fmla="*/ 46724 h 194894"/>
                <a:gd name="connsiteX5" fmla="*/ 490986 w 490986"/>
                <a:gd name="connsiteY5" fmla="*/ 194894 h 19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0986" h="194894">
                  <a:moveTo>
                    <a:pt x="490986" y="194894"/>
                  </a:moveTo>
                  <a:lnTo>
                    <a:pt x="490986" y="101574"/>
                  </a:lnTo>
                  <a:lnTo>
                    <a:pt x="154266" y="0"/>
                  </a:lnTo>
                  <a:lnTo>
                    <a:pt x="0" y="0"/>
                  </a:lnTo>
                  <a:lnTo>
                    <a:pt x="0" y="46724"/>
                  </a:lnTo>
                  <a:lnTo>
                    <a:pt x="490986" y="194894"/>
                  </a:lnTo>
                  <a:close/>
                </a:path>
              </a:pathLst>
            </a:custGeom>
            <a:solidFill>
              <a:schemeClr val="accent3"/>
            </a:solidFill>
            <a:ln w="12690"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93E642E-3823-4BC1-AB1B-51DB5783F9C9}"/>
                </a:ext>
              </a:extLst>
            </p:cNvPr>
            <p:cNvSpPr/>
            <p:nvPr/>
          </p:nvSpPr>
          <p:spPr>
            <a:xfrm>
              <a:off x="10654032" y="-1"/>
              <a:ext cx="420391" cy="92558"/>
            </a:xfrm>
            <a:custGeom>
              <a:avLst/>
              <a:gdLst>
                <a:gd name="connsiteX0" fmla="*/ 420392 w 420391"/>
                <a:gd name="connsiteY0" fmla="*/ 0 h 92558"/>
                <a:gd name="connsiteX1" fmla="*/ 0 w 420391"/>
                <a:gd name="connsiteY1" fmla="*/ 0 h 92558"/>
                <a:gd name="connsiteX2" fmla="*/ 306629 w 420391"/>
                <a:gd name="connsiteY2" fmla="*/ 92559 h 92558"/>
                <a:gd name="connsiteX3" fmla="*/ 420392 w 420391"/>
                <a:gd name="connsiteY3" fmla="*/ 0 h 92558"/>
              </a:gdLst>
              <a:ahLst/>
              <a:cxnLst>
                <a:cxn ang="0">
                  <a:pos x="connsiteX0" y="connsiteY0"/>
                </a:cxn>
                <a:cxn ang="0">
                  <a:pos x="connsiteX1" y="connsiteY1"/>
                </a:cxn>
                <a:cxn ang="0">
                  <a:pos x="connsiteX2" y="connsiteY2"/>
                </a:cxn>
                <a:cxn ang="0">
                  <a:pos x="connsiteX3" y="connsiteY3"/>
                </a:cxn>
              </a:cxnLst>
              <a:rect l="l" t="t" r="r" b="b"/>
              <a:pathLst>
                <a:path w="420391" h="92558">
                  <a:moveTo>
                    <a:pt x="420392" y="0"/>
                  </a:moveTo>
                  <a:lnTo>
                    <a:pt x="0" y="0"/>
                  </a:lnTo>
                  <a:lnTo>
                    <a:pt x="306629" y="92559"/>
                  </a:lnTo>
                  <a:lnTo>
                    <a:pt x="420392" y="0"/>
                  </a:lnTo>
                  <a:close/>
                </a:path>
              </a:pathLst>
            </a:custGeom>
            <a:solidFill>
              <a:schemeClr val="accent2"/>
            </a:solidFill>
            <a:ln w="1269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4E303B1-5E6E-4B95-866A-EC0C834D5A8F}"/>
                </a:ext>
              </a:extLst>
            </p:cNvPr>
            <p:cNvSpPr/>
            <p:nvPr/>
          </p:nvSpPr>
          <p:spPr>
            <a:xfrm>
              <a:off x="9703802" y="-1"/>
              <a:ext cx="718894" cy="483998"/>
            </a:xfrm>
            <a:custGeom>
              <a:avLst/>
              <a:gdLst>
                <a:gd name="connsiteX0" fmla="*/ 85195 w 718894"/>
                <a:gd name="connsiteY0" fmla="*/ 483998 h 483998"/>
                <a:gd name="connsiteX1" fmla="*/ 718894 w 718894"/>
                <a:gd name="connsiteY1" fmla="*/ 0 h 483998"/>
                <a:gd name="connsiteX2" fmla="*/ 600306 w 718894"/>
                <a:gd name="connsiteY2" fmla="*/ 0 h 483998"/>
                <a:gd name="connsiteX3" fmla="*/ 0 w 718894"/>
                <a:gd name="connsiteY3" fmla="*/ 458097 h 483998"/>
                <a:gd name="connsiteX4" fmla="*/ 85195 w 718894"/>
                <a:gd name="connsiteY4" fmla="*/ 483998 h 483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894" h="483998">
                  <a:moveTo>
                    <a:pt x="85195" y="483998"/>
                  </a:moveTo>
                  <a:lnTo>
                    <a:pt x="718894" y="0"/>
                  </a:lnTo>
                  <a:lnTo>
                    <a:pt x="600306" y="0"/>
                  </a:lnTo>
                  <a:lnTo>
                    <a:pt x="0" y="458097"/>
                  </a:lnTo>
                  <a:lnTo>
                    <a:pt x="85195" y="483998"/>
                  </a:lnTo>
                  <a:close/>
                </a:path>
              </a:pathLst>
            </a:custGeom>
            <a:solidFill>
              <a:schemeClr val="accent4"/>
            </a:solidFill>
            <a:ln w="12690"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344A627B-1A0A-4DAB-8BDE-6D28147997FB}"/>
                </a:ext>
              </a:extLst>
            </p:cNvPr>
            <p:cNvSpPr/>
            <p:nvPr/>
          </p:nvSpPr>
          <p:spPr>
            <a:xfrm>
              <a:off x="9160886" y="555860"/>
              <a:ext cx="415059" cy="342811"/>
            </a:xfrm>
            <a:custGeom>
              <a:avLst/>
              <a:gdLst>
                <a:gd name="connsiteX0" fmla="*/ 142712 w 415059"/>
                <a:gd name="connsiteY0" fmla="*/ 298627 h 342811"/>
                <a:gd name="connsiteX1" fmla="*/ 142712 w 415059"/>
                <a:gd name="connsiteY1" fmla="*/ 223462 h 342811"/>
                <a:gd name="connsiteX2" fmla="*/ 142712 w 415059"/>
                <a:gd name="connsiteY2" fmla="*/ 223462 h 342811"/>
                <a:gd name="connsiteX3" fmla="*/ 142712 w 415059"/>
                <a:gd name="connsiteY3" fmla="*/ 222700 h 342811"/>
                <a:gd name="connsiteX4" fmla="*/ 142712 w 415059"/>
                <a:gd name="connsiteY4" fmla="*/ 222065 h 342811"/>
                <a:gd name="connsiteX5" fmla="*/ 142712 w 415059"/>
                <a:gd name="connsiteY5" fmla="*/ 222065 h 342811"/>
                <a:gd name="connsiteX6" fmla="*/ 142712 w 415059"/>
                <a:gd name="connsiteY6" fmla="*/ 222065 h 342811"/>
                <a:gd name="connsiteX7" fmla="*/ 142712 w 415059"/>
                <a:gd name="connsiteY7" fmla="*/ 222065 h 342811"/>
                <a:gd name="connsiteX8" fmla="*/ 142712 w 415059"/>
                <a:gd name="connsiteY8" fmla="*/ 221304 h 342811"/>
                <a:gd name="connsiteX9" fmla="*/ 142712 w 415059"/>
                <a:gd name="connsiteY9" fmla="*/ 221304 h 342811"/>
                <a:gd name="connsiteX10" fmla="*/ 142712 w 415059"/>
                <a:gd name="connsiteY10" fmla="*/ 221304 h 342811"/>
                <a:gd name="connsiteX11" fmla="*/ 415059 w 415059"/>
                <a:gd name="connsiteY11" fmla="*/ 0 h 342811"/>
                <a:gd name="connsiteX12" fmla="*/ 0 w 415059"/>
                <a:gd name="connsiteY12" fmla="*/ 317418 h 342811"/>
                <a:gd name="connsiteX13" fmla="*/ 85576 w 415059"/>
                <a:gd name="connsiteY13" fmla="*/ 342811 h 34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059" h="342811">
                  <a:moveTo>
                    <a:pt x="142712" y="298627"/>
                  </a:moveTo>
                  <a:lnTo>
                    <a:pt x="142712" y="223462"/>
                  </a:lnTo>
                  <a:lnTo>
                    <a:pt x="142712" y="223462"/>
                  </a:lnTo>
                  <a:cubicBezTo>
                    <a:pt x="142661" y="223211"/>
                    <a:pt x="142661" y="222952"/>
                    <a:pt x="142712" y="222700"/>
                  </a:cubicBezTo>
                  <a:lnTo>
                    <a:pt x="142712" y="222065"/>
                  </a:lnTo>
                  <a:lnTo>
                    <a:pt x="142712" y="222065"/>
                  </a:lnTo>
                  <a:lnTo>
                    <a:pt x="142712" y="222065"/>
                  </a:lnTo>
                  <a:lnTo>
                    <a:pt x="142712" y="222065"/>
                  </a:lnTo>
                  <a:lnTo>
                    <a:pt x="142712" y="221304"/>
                  </a:lnTo>
                  <a:lnTo>
                    <a:pt x="142712" y="221304"/>
                  </a:lnTo>
                  <a:lnTo>
                    <a:pt x="142712" y="221304"/>
                  </a:lnTo>
                  <a:lnTo>
                    <a:pt x="415059" y="0"/>
                  </a:lnTo>
                  <a:lnTo>
                    <a:pt x="0" y="317418"/>
                  </a:lnTo>
                  <a:lnTo>
                    <a:pt x="85576" y="342811"/>
                  </a:lnTo>
                  <a:close/>
                </a:path>
              </a:pathLst>
            </a:custGeom>
            <a:solidFill>
              <a:schemeClr val="accent4"/>
            </a:solidFill>
            <a:ln w="12690"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D63DE44F-A407-4D71-BB36-C4D065D2EEAE}"/>
                </a:ext>
              </a:extLst>
            </p:cNvPr>
            <p:cNvSpPr/>
            <p:nvPr/>
          </p:nvSpPr>
          <p:spPr>
            <a:xfrm>
              <a:off x="9287092" y="907051"/>
              <a:ext cx="2896399" cy="899180"/>
            </a:xfrm>
            <a:custGeom>
              <a:avLst/>
              <a:gdLst>
                <a:gd name="connsiteX0" fmla="*/ 438675 w 2896399"/>
                <a:gd name="connsiteY0" fmla="*/ 128618 h 899180"/>
                <a:gd name="connsiteX1" fmla="*/ 19680 w 2896399"/>
                <a:gd name="connsiteY1" fmla="*/ 1651 h 899180"/>
                <a:gd name="connsiteX2" fmla="*/ 19680 w 2896399"/>
                <a:gd name="connsiteY2" fmla="*/ 1651 h 899180"/>
                <a:gd name="connsiteX3" fmla="*/ 18664 w 2896399"/>
                <a:gd name="connsiteY3" fmla="*/ 1651 h 899180"/>
                <a:gd name="connsiteX4" fmla="*/ 17902 w 2896399"/>
                <a:gd name="connsiteY4" fmla="*/ 1651 h 899180"/>
                <a:gd name="connsiteX5" fmla="*/ 17267 w 2896399"/>
                <a:gd name="connsiteY5" fmla="*/ 762 h 899180"/>
                <a:gd name="connsiteX6" fmla="*/ 17267 w 2896399"/>
                <a:gd name="connsiteY6" fmla="*/ 0 h 899180"/>
                <a:gd name="connsiteX7" fmla="*/ 17267 w 2896399"/>
                <a:gd name="connsiteY7" fmla="*/ 0 h 899180"/>
                <a:gd name="connsiteX8" fmla="*/ 0 w 2896399"/>
                <a:gd name="connsiteY8" fmla="*/ 3047 h 899180"/>
                <a:gd name="connsiteX9" fmla="*/ 1552567 w 2896399"/>
                <a:gd name="connsiteY9" fmla="*/ 472825 h 899180"/>
                <a:gd name="connsiteX10" fmla="*/ 1552567 w 2896399"/>
                <a:gd name="connsiteY10" fmla="*/ 472825 h 899180"/>
                <a:gd name="connsiteX11" fmla="*/ 1552567 w 2896399"/>
                <a:gd name="connsiteY11" fmla="*/ 472825 h 899180"/>
                <a:gd name="connsiteX12" fmla="*/ 1552567 w 2896399"/>
                <a:gd name="connsiteY12" fmla="*/ 472825 h 899180"/>
                <a:gd name="connsiteX13" fmla="*/ 1553203 w 2896399"/>
                <a:gd name="connsiteY13" fmla="*/ 472825 h 899180"/>
                <a:gd name="connsiteX14" fmla="*/ 1553203 w 2896399"/>
                <a:gd name="connsiteY14" fmla="*/ 472825 h 899180"/>
                <a:gd name="connsiteX15" fmla="*/ 1553203 w 2896399"/>
                <a:gd name="connsiteY15" fmla="*/ 472825 h 899180"/>
                <a:gd name="connsiteX16" fmla="*/ 1553203 w 2896399"/>
                <a:gd name="connsiteY16" fmla="*/ 472825 h 899180"/>
                <a:gd name="connsiteX17" fmla="*/ 1553203 w 2896399"/>
                <a:gd name="connsiteY17" fmla="*/ 472825 h 899180"/>
                <a:gd name="connsiteX18" fmla="*/ 1553203 w 2896399"/>
                <a:gd name="connsiteY18" fmla="*/ 472825 h 899180"/>
                <a:gd name="connsiteX19" fmla="*/ 1553203 w 2896399"/>
                <a:gd name="connsiteY19" fmla="*/ 473587 h 899180"/>
                <a:gd name="connsiteX20" fmla="*/ 1553203 w 2896399"/>
                <a:gd name="connsiteY20" fmla="*/ 474222 h 899180"/>
                <a:gd name="connsiteX21" fmla="*/ 1553203 w 2896399"/>
                <a:gd name="connsiteY21" fmla="*/ 474222 h 899180"/>
                <a:gd name="connsiteX22" fmla="*/ 1553203 w 2896399"/>
                <a:gd name="connsiteY22" fmla="*/ 639279 h 899180"/>
                <a:gd name="connsiteX23" fmla="*/ 1686773 w 2896399"/>
                <a:gd name="connsiteY23" fmla="*/ 680416 h 899180"/>
                <a:gd name="connsiteX24" fmla="*/ 1817297 w 2896399"/>
                <a:gd name="connsiteY24" fmla="*/ 574653 h 899180"/>
                <a:gd name="connsiteX25" fmla="*/ 1817931 w 2896399"/>
                <a:gd name="connsiteY25" fmla="*/ 574653 h 899180"/>
                <a:gd name="connsiteX26" fmla="*/ 1818820 w 2896399"/>
                <a:gd name="connsiteY26" fmla="*/ 574653 h 899180"/>
                <a:gd name="connsiteX27" fmla="*/ 1819709 w 2896399"/>
                <a:gd name="connsiteY27" fmla="*/ 574653 h 899180"/>
                <a:gd name="connsiteX28" fmla="*/ 1822629 w 2896399"/>
                <a:gd name="connsiteY28" fmla="*/ 574653 h 899180"/>
                <a:gd name="connsiteX29" fmla="*/ 2896400 w 2896399"/>
                <a:gd name="connsiteY29" fmla="*/ 899181 h 899180"/>
                <a:gd name="connsiteX30" fmla="*/ 2896400 w 2896399"/>
                <a:gd name="connsiteY30" fmla="*/ 871756 h 899180"/>
                <a:gd name="connsiteX31" fmla="*/ 519681 w 2896399"/>
                <a:gd name="connsiteY31" fmla="*/ 153122 h 899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96399" h="899180">
                  <a:moveTo>
                    <a:pt x="438675" y="128618"/>
                  </a:moveTo>
                  <a:lnTo>
                    <a:pt x="19680" y="1651"/>
                  </a:lnTo>
                  <a:lnTo>
                    <a:pt x="19680" y="1651"/>
                  </a:lnTo>
                  <a:cubicBezTo>
                    <a:pt x="19350" y="1719"/>
                    <a:pt x="18994" y="1719"/>
                    <a:pt x="18664" y="1651"/>
                  </a:cubicBezTo>
                  <a:cubicBezTo>
                    <a:pt x="18664" y="1651"/>
                    <a:pt x="18029" y="1651"/>
                    <a:pt x="17902" y="1651"/>
                  </a:cubicBezTo>
                  <a:cubicBezTo>
                    <a:pt x="17623" y="1409"/>
                    <a:pt x="17407" y="1105"/>
                    <a:pt x="17267" y="762"/>
                  </a:cubicBezTo>
                  <a:cubicBezTo>
                    <a:pt x="17267" y="762"/>
                    <a:pt x="17267" y="762"/>
                    <a:pt x="17267" y="0"/>
                  </a:cubicBezTo>
                  <a:lnTo>
                    <a:pt x="17267" y="0"/>
                  </a:lnTo>
                  <a:lnTo>
                    <a:pt x="0" y="3047"/>
                  </a:lnTo>
                  <a:lnTo>
                    <a:pt x="1552567" y="472825"/>
                  </a:lnTo>
                  <a:lnTo>
                    <a:pt x="1552567" y="472825"/>
                  </a:lnTo>
                  <a:lnTo>
                    <a:pt x="1552567" y="472825"/>
                  </a:lnTo>
                  <a:lnTo>
                    <a:pt x="1552567" y="472825"/>
                  </a:lnTo>
                  <a:lnTo>
                    <a:pt x="1553203" y="472825"/>
                  </a:lnTo>
                  <a:lnTo>
                    <a:pt x="1553203" y="472825"/>
                  </a:lnTo>
                  <a:lnTo>
                    <a:pt x="1553203" y="472825"/>
                  </a:lnTo>
                  <a:lnTo>
                    <a:pt x="1553203" y="472825"/>
                  </a:lnTo>
                  <a:lnTo>
                    <a:pt x="1553203" y="472825"/>
                  </a:lnTo>
                  <a:cubicBezTo>
                    <a:pt x="1553203" y="472825"/>
                    <a:pt x="1553203" y="472825"/>
                    <a:pt x="1553203" y="472825"/>
                  </a:cubicBezTo>
                  <a:cubicBezTo>
                    <a:pt x="1553203" y="472825"/>
                    <a:pt x="1553203" y="472825"/>
                    <a:pt x="1553203" y="473587"/>
                  </a:cubicBezTo>
                  <a:lnTo>
                    <a:pt x="1553203" y="474222"/>
                  </a:lnTo>
                  <a:lnTo>
                    <a:pt x="1553203" y="474222"/>
                  </a:lnTo>
                  <a:lnTo>
                    <a:pt x="1553203" y="639279"/>
                  </a:lnTo>
                  <a:lnTo>
                    <a:pt x="1686773" y="680416"/>
                  </a:lnTo>
                  <a:lnTo>
                    <a:pt x="1817297" y="574653"/>
                  </a:lnTo>
                  <a:lnTo>
                    <a:pt x="1817931" y="574653"/>
                  </a:lnTo>
                  <a:lnTo>
                    <a:pt x="1818820" y="574653"/>
                  </a:lnTo>
                  <a:lnTo>
                    <a:pt x="1819709" y="574653"/>
                  </a:lnTo>
                  <a:lnTo>
                    <a:pt x="1822629" y="574653"/>
                  </a:lnTo>
                  <a:lnTo>
                    <a:pt x="2896400" y="899181"/>
                  </a:lnTo>
                  <a:lnTo>
                    <a:pt x="2896400" y="871756"/>
                  </a:lnTo>
                  <a:lnTo>
                    <a:pt x="519681" y="153122"/>
                  </a:lnTo>
                  <a:close/>
                </a:path>
              </a:pathLst>
            </a:custGeom>
            <a:solidFill>
              <a:schemeClr val="accent4"/>
            </a:solidFill>
            <a:ln w="1269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6E8F3D64-67BF-4284-82FE-B241E1EA25A3}"/>
                </a:ext>
              </a:extLst>
            </p:cNvPr>
            <p:cNvSpPr/>
            <p:nvPr/>
          </p:nvSpPr>
          <p:spPr>
            <a:xfrm>
              <a:off x="10842707" y="1558138"/>
              <a:ext cx="124302" cy="106144"/>
            </a:xfrm>
            <a:custGeom>
              <a:avLst/>
              <a:gdLst>
                <a:gd name="connsiteX0" fmla="*/ 41392 w 124302"/>
                <a:gd name="connsiteY0" fmla="*/ 106144 h 106144"/>
                <a:gd name="connsiteX1" fmla="*/ 124302 w 124302"/>
                <a:gd name="connsiteY1" fmla="*/ 38344 h 106144"/>
                <a:gd name="connsiteX2" fmla="*/ 0 w 124302"/>
                <a:gd name="connsiteY2" fmla="*/ 0 h 106144"/>
                <a:gd name="connsiteX3" fmla="*/ 0 w 124302"/>
                <a:gd name="connsiteY3" fmla="*/ 93194 h 106144"/>
                <a:gd name="connsiteX4" fmla="*/ 41392 w 124302"/>
                <a:gd name="connsiteY4" fmla="*/ 106144 h 106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02" h="106144">
                  <a:moveTo>
                    <a:pt x="41392" y="106144"/>
                  </a:moveTo>
                  <a:lnTo>
                    <a:pt x="124302" y="38344"/>
                  </a:lnTo>
                  <a:lnTo>
                    <a:pt x="0" y="0"/>
                  </a:lnTo>
                  <a:lnTo>
                    <a:pt x="0" y="93194"/>
                  </a:lnTo>
                  <a:lnTo>
                    <a:pt x="41392" y="106144"/>
                  </a:lnTo>
                  <a:close/>
                </a:path>
              </a:pathLst>
            </a:custGeom>
            <a:solidFill>
              <a:schemeClr val="accent5">
                <a:lumMod val="75000"/>
              </a:schemeClr>
            </a:solidFill>
            <a:ln w="12690"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143087F-C8BE-45F7-BEBE-B7FA7C191D2A}"/>
                </a:ext>
              </a:extLst>
            </p:cNvPr>
            <p:cNvSpPr/>
            <p:nvPr/>
          </p:nvSpPr>
          <p:spPr>
            <a:xfrm>
              <a:off x="6453923" y="90399"/>
              <a:ext cx="2323518" cy="788592"/>
            </a:xfrm>
            <a:custGeom>
              <a:avLst/>
              <a:gdLst>
                <a:gd name="connsiteX0" fmla="*/ 0 w 2323518"/>
                <a:gd name="connsiteY0" fmla="*/ 0 h 788592"/>
                <a:gd name="connsiteX1" fmla="*/ 0 w 2323518"/>
                <a:gd name="connsiteY1" fmla="*/ 93194 h 788592"/>
                <a:gd name="connsiteX2" fmla="*/ 2240736 w 2323518"/>
                <a:gd name="connsiteY2" fmla="*/ 788592 h 788592"/>
                <a:gd name="connsiteX3" fmla="*/ 2323519 w 2323518"/>
                <a:gd name="connsiteY3" fmla="*/ 721173 h 788592"/>
                <a:gd name="connsiteX4" fmla="*/ 0 w 2323518"/>
                <a:gd name="connsiteY4" fmla="*/ 0 h 78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3518" h="788592">
                  <a:moveTo>
                    <a:pt x="0" y="0"/>
                  </a:moveTo>
                  <a:lnTo>
                    <a:pt x="0" y="93194"/>
                  </a:lnTo>
                  <a:lnTo>
                    <a:pt x="2240736" y="788592"/>
                  </a:lnTo>
                  <a:lnTo>
                    <a:pt x="2323519" y="721173"/>
                  </a:lnTo>
                  <a:lnTo>
                    <a:pt x="0" y="0"/>
                  </a:lnTo>
                  <a:close/>
                </a:path>
              </a:pathLst>
            </a:custGeom>
            <a:solidFill>
              <a:schemeClr val="accent5"/>
            </a:solidFill>
            <a:ln w="12690"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65A5DD7-1AC1-4B89-A143-4ACABF6F55BC}"/>
                </a:ext>
              </a:extLst>
            </p:cNvPr>
            <p:cNvSpPr/>
            <p:nvPr/>
          </p:nvSpPr>
          <p:spPr>
            <a:xfrm>
              <a:off x="6459001" y="-1"/>
              <a:ext cx="3828346" cy="868454"/>
            </a:xfrm>
            <a:custGeom>
              <a:avLst/>
              <a:gdLst>
                <a:gd name="connsiteX0" fmla="*/ 2327201 w 3828346"/>
                <a:gd name="connsiteY0" fmla="*/ 804082 h 868454"/>
                <a:gd name="connsiteX1" fmla="*/ 2366561 w 3828346"/>
                <a:gd name="connsiteY1" fmla="*/ 771960 h 868454"/>
                <a:gd name="connsiteX2" fmla="*/ 2366561 w 3828346"/>
                <a:gd name="connsiteY2" fmla="*/ 771960 h 868454"/>
                <a:gd name="connsiteX3" fmla="*/ 2367577 w 3828346"/>
                <a:gd name="connsiteY3" fmla="*/ 771960 h 868454"/>
                <a:gd name="connsiteX4" fmla="*/ 2368593 w 3828346"/>
                <a:gd name="connsiteY4" fmla="*/ 771960 h 868454"/>
                <a:gd name="connsiteX5" fmla="*/ 2371386 w 3828346"/>
                <a:gd name="connsiteY5" fmla="*/ 771960 h 868454"/>
                <a:gd name="connsiteX6" fmla="*/ 2690584 w 3828346"/>
                <a:gd name="connsiteY6" fmla="*/ 868455 h 868454"/>
                <a:gd name="connsiteX7" fmla="*/ 3828347 w 3828346"/>
                <a:gd name="connsiteY7" fmla="*/ 0 h 868454"/>
                <a:gd name="connsiteX8" fmla="*/ 3025527 w 3828346"/>
                <a:gd name="connsiteY8" fmla="*/ 0 h 868454"/>
                <a:gd name="connsiteX9" fmla="*/ 2665952 w 3828346"/>
                <a:gd name="connsiteY9" fmla="*/ 292913 h 868454"/>
                <a:gd name="connsiteX10" fmla="*/ 2665952 w 3828346"/>
                <a:gd name="connsiteY10" fmla="*/ 292913 h 868454"/>
                <a:gd name="connsiteX11" fmla="*/ 2360086 w 3828346"/>
                <a:gd name="connsiteY11" fmla="*/ 541388 h 868454"/>
                <a:gd name="connsiteX12" fmla="*/ 2356404 w 3828346"/>
                <a:gd name="connsiteY12" fmla="*/ 542657 h 868454"/>
                <a:gd name="connsiteX13" fmla="*/ 2352468 w 3828346"/>
                <a:gd name="connsiteY13" fmla="*/ 541007 h 868454"/>
                <a:gd name="connsiteX14" fmla="*/ 2352468 w 3828346"/>
                <a:gd name="connsiteY14" fmla="*/ 541007 h 868454"/>
                <a:gd name="connsiteX15" fmla="*/ 2351198 w 3828346"/>
                <a:gd name="connsiteY15" fmla="*/ 541007 h 868454"/>
                <a:gd name="connsiteX16" fmla="*/ 2349548 w 3828346"/>
                <a:gd name="connsiteY16" fmla="*/ 541007 h 868454"/>
                <a:gd name="connsiteX17" fmla="*/ 1052821 w 3828346"/>
                <a:gd name="connsiteY17" fmla="*/ 148932 h 868454"/>
                <a:gd name="connsiteX18" fmla="*/ 984131 w 3828346"/>
                <a:gd name="connsiteY18" fmla="*/ 128110 h 868454"/>
                <a:gd name="connsiteX19" fmla="*/ 984131 w 3828346"/>
                <a:gd name="connsiteY19" fmla="*/ 128110 h 868454"/>
                <a:gd name="connsiteX20" fmla="*/ 891064 w 3828346"/>
                <a:gd name="connsiteY20" fmla="*/ 99796 h 868454"/>
                <a:gd name="connsiteX21" fmla="*/ 891064 w 3828346"/>
                <a:gd name="connsiteY21" fmla="*/ 99796 h 868454"/>
                <a:gd name="connsiteX22" fmla="*/ 890302 w 3828346"/>
                <a:gd name="connsiteY22" fmla="*/ 99796 h 868454"/>
                <a:gd name="connsiteX23" fmla="*/ 889286 w 3828346"/>
                <a:gd name="connsiteY23" fmla="*/ 99034 h 868454"/>
                <a:gd name="connsiteX24" fmla="*/ 889286 w 3828346"/>
                <a:gd name="connsiteY24" fmla="*/ 99034 h 868454"/>
                <a:gd name="connsiteX25" fmla="*/ 889286 w 3828346"/>
                <a:gd name="connsiteY25" fmla="*/ 99034 h 868454"/>
                <a:gd name="connsiteX26" fmla="*/ 889286 w 3828346"/>
                <a:gd name="connsiteY26" fmla="*/ 98146 h 868454"/>
                <a:gd name="connsiteX27" fmla="*/ 889286 w 3828346"/>
                <a:gd name="connsiteY27" fmla="*/ 97257 h 868454"/>
                <a:gd name="connsiteX28" fmla="*/ 889286 w 3828346"/>
                <a:gd name="connsiteY28" fmla="*/ 96368 h 868454"/>
                <a:gd name="connsiteX29" fmla="*/ 889286 w 3828346"/>
                <a:gd name="connsiteY29" fmla="*/ 95352 h 868454"/>
                <a:gd name="connsiteX30" fmla="*/ 889286 w 3828346"/>
                <a:gd name="connsiteY30" fmla="*/ 95352 h 868454"/>
                <a:gd name="connsiteX31" fmla="*/ 889286 w 3828346"/>
                <a:gd name="connsiteY31" fmla="*/ 95352 h 868454"/>
                <a:gd name="connsiteX32" fmla="*/ 889286 w 3828346"/>
                <a:gd name="connsiteY32" fmla="*/ 94590 h 868454"/>
                <a:gd name="connsiteX33" fmla="*/ 890048 w 3828346"/>
                <a:gd name="connsiteY33" fmla="*/ 93702 h 868454"/>
                <a:gd name="connsiteX34" fmla="*/ 890048 w 3828346"/>
                <a:gd name="connsiteY34" fmla="*/ 93702 h 868454"/>
                <a:gd name="connsiteX35" fmla="*/ 1001652 w 3828346"/>
                <a:gd name="connsiteY35" fmla="*/ 0 h 868454"/>
                <a:gd name="connsiteX36" fmla="*/ 100178 w 3828346"/>
                <a:gd name="connsiteY36" fmla="*/ 0 h 868454"/>
                <a:gd name="connsiteX37" fmla="*/ 0 w 3828346"/>
                <a:gd name="connsiteY37" fmla="*/ 81640 h 86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28346" h="868454">
                  <a:moveTo>
                    <a:pt x="2327201" y="804082"/>
                  </a:moveTo>
                  <a:lnTo>
                    <a:pt x="2366561" y="771960"/>
                  </a:lnTo>
                  <a:lnTo>
                    <a:pt x="2366561" y="771960"/>
                  </a:lnTo>
                  <a:lnTo>
                    <a:pt x="2367577" y="771960"/>
                  </a:lnTo>
                  <a:lnTo>
                    <a:pt x="2368593" y="771960"/>
                  </a:lnTo>
                  <a:lnTo>
                    <a:pt x="2371386" y="771960"/>
                  </a:lnTo>
                  <a:lnTo>
                    <a:pt x="2690584" y="868455"/>
                  </a:lnTo>
                  <a:lnTo>
                    <a:pt x="3828347" y="0"/>
                  </a:lnTo>
                  <a:lnTo>
                    <a:pt x="3025527" y="0"/>
                  </a:lnTo>
                  <a:lnTo>
                    <a:pt x="2665952" y="292913"/>
                  </a:lnTo>
                  <a:lnTo>
                    <a:pt x="2665952" y="292913"/>
                  </a:lnTo>
                  <a:lnTo>
                    <a:pt x="2360086" y="541388"/>
                  </a:lnTo>
                  <a:cubicBezTo>
                    <a:pt x="2359032" y="542203"/>
                    <a:pt x="2357738" y="542648"/>
                    <a:pt x="2356404" y="542657"/>
                  </a:cubicBezTo>
                  <a:cubicBezTo>
                    <a:pt x="2354931" y="542623"/>
                    <a:pt x="2353522" y="542034"/>
                    <a:pt x="2352468" y="541007"/>
                  </a:cubicBezTo>
                  <a:lnTo>
                    <a:pt x="2352468" y="541007"/>
                  </a:lnTo>
                  <a:lnTo>
                    <a:pt x="2351198" y="541007"/>
                  </a:lnTo>
                  <a:lnTo>
                    <a:pt x="2349548" y="541007"/>
                  </a:lnTo>
                  <a:lnTo>
                    <a:pt x="1052821" y="148932"/>
                  </a:lnTo>
                  <a:lnTo>
                    <a:pt x="984131" y="128110"/>
                  </a:lnTo>
                  <a:lnTo>
                    <a:pt x="984131" y="128110"/>
                  </a:lnTo>
                  <a:lnTo>
                    <a:pt x="891064" y="99796"/>
                  </a:lnTo>
                  <a:lnTo>
                    <a:pt x="891064" y="99796"/>
                  </a:lnTo>
                  <a:lnTo>
                    <a:pt x="890302" y="99796"/>
                  </a:lnTo>
                  <a:cubicBezTo>
                    <a:pt x="889908" y="99616"/>
                    <a:pt x="889565" y="99357"/>
                    <a:pt x="889286" y="99034"/>
                  </a:cubicBezTo>
                  <a:lnTo>
                    <a:pt x="889286" y="99034"/>
                  </a:lnTo>
                  <a:lnTo>
                    <a:pt x="889286" y="99034"/>
                  </a:lnTo>
                  <a:cubicBezTo>
                    <a:pt x="889222" y="98742"/>
                    <a:pt x="889222" y="98438"/>
                    <a:pt x="889286" y="98146"/>
                  </a:cubicBezTo>
                  <a:cubicBezTo>
                    <a:pt x="889235" y="97852"/>
                    <a:pt x="889235" y="97550"/>
                    <a:pt x="889286" y="97257"/>
                  </a:cubicBezTo>
                  <a:cubicBezTo>
                    <a:pt x="889286" y="97257"/>
                    <a:pt x="889286" y="96622"/>
                    <a:pt x="889286" y="96368"/>
                  </a:cubicBezTo>
                  <a:cubicBezTo>
                    <a:pt x="889235" y="96032"/>
                    <a:pt x="889235" y="95688"/>
                    <a:pt x="889286" y="95352"/>
                  </a:cubicBezTo>
                  <a:lnTo>
                    <a:pt x="889286" y="95352"/>
                  </a:lnTo>
                  <a:cubicBezTo>
                    <a:pt x="889286" y="95352"/>
                    <a:pt x="889286" y="95352"/>
                    <a:pt x="889286" y="95352"/>
                  </a:cubicBezTo>
                  <a:lnTo>
                    <a:pt x="889286" y="94590"/>
                  </a:lnTo>
                  <a:lnTo>
                    <a:pt x="890048" y="93702"/>
                  </a:lnTo>
                  <a:lnTo>
                    <a:pt x="890048" y="93702"/>
                  </a:lnTo>
                  <a:lnTo>
                    <a:pt x="1001652" y="0"/>
                  </a:lnTo>
                  <a:lnTo>
                    <a:pt x="100178" y="0"/>
                  </a:lnTo>
                  <a:lnTo>
                    <a:pt x="0" y="81640"/>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88FDC72-B927-4931-BA76-18F5D71220FA}"/>
                </a:ext>
              </a:extLst>
            </p:cNvPr>
            <p:cNvSpPr/>
            <p:nvPr/>
          </p:nvSpPr>
          <p:spPr>
            <a:xfrm>
              <a:off x="7362634" y="-1"/>
              <a:ext cx="212798" cy="117825"/>
            </a:xfrm>
            <a:custGeom>
              <a:avLst/>
              <a:gdLst>
                <a:gd name="connsiteX0" fmla="*/ 80879 w 212798"/>
                <a:gd name="connsiteY0" fmla="*/ 117825 h 117825"/>
                <a:gd name="connsiteX1" fmla="*/ 125952 w 212798"/>
                <a:gd name="connsiteY1" fmla="*/ 81132 h 117825"/>
                <a:gd name="connsiteX2" fmla="*/ 147283 w 212798"/>
                <a:gd name="connsiteY2" fmla="*/ 60436 h 117825"/>
                <a:gd name="connsiteX3" fmla="*/ 147283 w 212798"/>
                <a:gd name="connsiteY3" fmla="*/ 60436 h 117825"/>
                <a:gd name="connsiteX4" fmla="*/ 147283 w 212798"/>
                <a:gd name="connsiteY4" fmla="*/ 60436 h 117825"/>
                <a:gd name="connsiteX5" fmla="*/ 147283 w 212798"/>
                <a:gd name="connsiteY5" fmla="*/ 59548 h 117825"/>
                <a:gd name="connsiteX6" fmla="*/ 147283 w 212798"/>
                <a:gd name="connsiteY6" fmla="*/ 58659 h 117825"/>
                <a:gd name="connsiteX7" fmla="*/ 147283 w 212798"/>
                <a:gd name="connsiteY7" fmla="*/ 57770 h 117825"/>
                <a:gd name="connsiteX8" fmla="*/ 147283 w 212798"/>
                <a:gd name="connsiteY8" fmla="*/ 56754 h 117825"/>
                <a:gd name="connsiteX9" fmla="*/ 147283 w 212798"/>
                <a:gd name="connsiteY9" fmla="*/ 55104 h 117825"/>
                <a:gd name="connsiteX10" fmla="*/ 147283 w 212798"/>
                <a:gd name="connsiteY10" fmla="*/ 54215 h 117825"/>
                <a:gd name="connsiteX11" fmla="*/ 147918 w 212798"/>
                <a:gd name="connsiteY11" fmla="*/ 53453 h 117825"/>
                <a:gd name="connsiteX12" fmla="*/ 147918 w 212798"/>
                <a:gd name="connsiteY12" fmla="*/ 53453 h 117825"/>
                <a:gd name="connsiteX13" fmla="*/ 212799 w 212798"/>
                <a:gd name="connsiteY13" fmla="*/ 0 h 117825"/>
                <a:gd name="connsiteX14" fmla="*/ 114271 w 212798"/>
                <a:gd name="connsiteY14" fmla="*/ 0 h 117825"/>
                <a:gd name="connsiteX15" fmla="*/ 0 w 212798"/>
                <a:gd name="connsiteY15" fmla="*/ 93194 h 11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798" h="117825">
                  <a:moveTo>
                    <a:pt x="80879" y="117825"/>
                  </a:moveTo>
                  <a:lnTo>
                    <a:pt x="125952" y="81132"/>
                  </a:lnTo>
                  <a:lnTo>
                    <a:pt x="147283" y="60436"/>
                  </a:lnTo>
                  <a:lnTo>
                    <a:pt x="147283" y="60436"/>
                  </a:lnTo>
                  <a:lnTo>
                    <a:pt x="147283" y="60436"/>
                  </a:lnTo>
                  <a:lnTo>
                    <a:pt x="147283" y="59548"/>
                  </a:lnTo>
                  <a:cubicBezTo>
                    <a:pt x="147232" y="59254"/>
                    <a:pt x="147232" y="58952"/>
                    <a:pt x="147283" y="58659"/>
                  </a:cubicBezTo>
                  <a:cubicBezTo>
                    <a:pt x="147232" y="58365"/>
                    <a:pt x="147232" y="58064"/>
                    <a:pt x="147283" y="57770"/>
                  </a:cubicBezTo>
                  <a:cubicBezTo>
                    <a:pt x="147156" y="57443"/>
                    <a:pt x="147156" y="57081"/>
                    <a:pt x="147283" y="56754"/>
                  </a:cubicBezTo>
                  <a:lnTo>
                    <a:pt x="147283" y="55104"/>
                  </a:lnTo>
                  <a:lnTo>
                    <a:pt x="147283" y="54215"/>
                  </a:lnTo>
                  <a:lnTo>
                    <a:pt x="147918" y="53453"/>
                  </a:lnTo>
                  <a:lnTo>
                    <a:pt x="147918" y="53453"/>
                  </a:lnTo>
                  <a:lnTo>
                    <a:pt x="212799" y="0"/>
                  </a:lnTo>
                  <a:lnTo>
                    <a:pt x="114271" y="0"/>
                  </a:lnTo>
                  <a:lnTo>
                    <a:pt x="0" y="93194"/>
                  </a:lnTo>
                  <a:close/>
                </a:path>
              </a:pathLst>
            </a:custGeom>
            <a:solidFill>
              <a:schemeClr val="accent5">
                <a:lumMod val="75000"/>
              </a:schemeClr>
            </a:solidFill>
            <a:ln w="12690"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854548CB-2B8B-453E-9085-F94459939F2F}"/>
                </a:ext>
              </a:extLst>
            </p:cNvPr>
            <p:cNvSpPr/>
            <p:nvPr/>
          </p:nvSpPr>
          <p:spPr>
            <a:xfrm>
              <a:off x="10803728" y="1747446"/>
              <a:ext cx="1265872" cy="808018"/>
            </a:xfrm>
            <a:custGeom>
              <a:avLst/>
              <a:gdLst>
                <a:gd name="connsiteX0" fmla="*/ 0 w 1265872"/>
                <a:gd name="connsiteY0" fmla="*/ 0 h 808018"/>
                <a:gd name="connsiteX1" fmla="*/ 0 w 1265872"/>
                <a:gd name="connsiteY1" fmla="*/ 75926 h 808018"/>
                <a:gd name="connsiteX2" fmla="*/ 0 w 1265872"/>
                <a:gd name="connsiteY2" fmla="*/ 403882 h 808018"/>
                <a:gd name="connsiteX3" fmla="*/ 1265873 w 1265872"/>
                <a:gd name="connsiteY3" fmla="*/ 808018 h 808018"/>
                <a:gd name="connsiteX4" fmla="*/ 1265873 w 1265872"/>
                <a:gd name="connsiteY4" fmla="*/ 404644 h 808018"/>
                <a:gd name="connsiteX5" fmla="*/ 0 w 1265872"/>
                <a:gd name="connsiteY5" fmla="*/ 0 h 8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2" h="808018">
                  <a:moveTo>
                    <a:pt x="0" y="0"/>
                  </a:moveTo>
                  <a:lnTo>
                    <a:pt x="0" y="75926"/>
                  </a:lnTo>
                  <a:lnTo>
                    <a:pt x="0" y="403882"/>
                  </a:lnTo>
                  <a:lnTo>
                    <a:pt x="1265873" y="808018"/>
                  </a:lnTo>
                  <a:lnTo>
                    <a:pt x="1265873" y="404644"/>
                  </a:lnTo>
                  <a:lnTo>
                    <a:pt x="0" y="0"/>
                  </a:lnTo>
                  <a:close/>
                </a:path>
              </a:pathLst>
            </a:custGeom>
            <a:solidFill>
              <a:schemeClr val="accent4"/>
            </a:solidFill>
            <a:ln w="12690"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F11A9D8D-D79C-4384-9337-0BC9CD9F4958}"/>
                </a:ext>
              </a:extLst>
            </p:cNvPr>
            <p:cNvSpPr/>
            <p:nvPr/>
          </p:nvSpPr>
          <p:spPr>
            <a:xfrm>
              <a:off x="12080394" y="2155391"/>
              <a:ext cx="105510" cy="435370"/>
            </a:xfrm>
            <a:custGeom>
              <a:avLst/>
              <a:gdLst>
                <a:gd name="connsiteX0" fmla="*/ 0 w 105510"/>
                <a:gd name="connsiteY0" fmla="*/ 403501 h 435370"/>
                <a:gd name="connsiteX1" fmla="*/ 105511 w 105510"/>
                <a:gd name="connsiteY1" fmla="*/ 435370 h 435370"/>
                <a:gd name="connsiteX2" fmla="*/ 105511 w 105510"/>
                <a:gd name="connsiteY2" fmla="*/ 31869 h 435370"/>
                <a:gd name="connsiteX3" fmla="*/ 0 w 105510"/>
                <a:gd name="connsiteY3" fmla="*/ 0 h 435370"/>
                <a:gd name="connsiteX4" fmla="*/ 0 w 105510"/>
                <a:gd name="connsiteY4" fmla="*/ 403501 h 43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10" h="435370">
                  <a:moveTo>
                    <a:pt x="0" y="403501"/>
                  </a:moveTo>
                  <a:lnTo>
                    <a:pt x="105511" y="435370"/>
                  </a:lnTo>
                  <a:lnTo>
                    <a:pt x="105511" y="31869"/>
                  </a:lnTo>
                  <a:lnTo>
                    <a:pt x="0" y="0"/>
                  </a:lnTo>
                  <a:lnTo>
                    <a:pt x="0" y="403501"/>
                  </a:lnTo>
                  <a:close/>
                </a:path>
              </a:pathLst>
            </a:custGeom>
            <a:solidFill>
              <a:schemeClr val="accent1">
                <a:lumMod val="75000"/>
              </a:schemeClr>
            </a:solidFill>
            <a:ln w="12690"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E68E2740-746D-4E2A-8BF1-82514DEB4C5D}"/>
                </a:ext>
              </a:extLst>
            </p:cNvPr>
            <p:cNvSpPr/>
            <p:nvPr/>
          </p:nvSpPr>
          <p:spPr>
            <a:xfrm>
              <a:off x="10808679" y="1492369"/>
              <a:ext cx="1377225" cy="650579"/>
            </a:xfrm>
            <a:custGeom>
              <a:avLst/>
              <a:gdLst>
                <a:gd name="connsiteX0" fmla="*/ 172423 w 1377225"/>
                <a:gd name="connsiteY0" fmla="*/ 105890 h 650579"/>
                <a:gd name="connsiteX1" fmla="*/ 172423 w 1377225"/>
                <a:gd name="connsiteY1" fmla="*/ 105890 h 650579"/>
                <a:gd name="connsiteX2" fmla="*/ 80371 w 1377225"/>
                <a:gd name="connsiteY2" fmla="*/ 181182 h 650579"/>
                <a:gd name="connsiteX3" fmla="*/ 80371 w 1377225"/>
                <a:gd name="connsiteY3" fmla="*/ 181182 h 650579"/>
                <a:gd name="connsiteX4" fmla="*/ 80371 w 1377225"/>
                <a:gd name="connsiteY4" fmla="*/ 181182 h 650579"/>
                <a:gd name="connsiteX5" fmla="*/ 32250 w 1377225"/>
                <a:gd name="connsiteY5" fmla="*/ 220288 h 650579"/>
                <a:gd name="connsiteX6" fmla="*/ 0 w 1377225"/>
                <a:gd name="connsiteY6" fmla="*/ 246316 h 650579"/>
                <a:gd name="connsiteX7" fmla="*/ 1265112 w 1377225"/>
                <a:gd name="connsiteY7" fmla="*/ 650579 h 650579"/>
                <a:gd name="connsiteX8" fmla="*/ 1377225 w 1377225"/>
                <a:gd name="connsiteY8" fmla="*/ 559417 h 650579"/>
                <a:gd name="connsiteX9" fmla="*/ 1377225 w 1377225"/>
                <a:gd name="connsiteY9" fmla="*/ 324655 h 650579"/>
                <a:gd name="connsiteX10" fmla="*/ 302947 w 1377225"/>
                <a:gd name="connsiteY10" fmla="*/ 0 h 650579"/>
                <a:gd name="connsiteX11" fmla="*/ 172423 w 1377225"/>
                <a:gd name="connsiteY11" fmla="*/ 105890 h 65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7225" h="650579">
                  <a:moveTo>
                    <a:pt x="172423" y="105890"/>
                  </a:moveTo>
                  <a:lnTo>
                    <a:pt x="172423" y="105890"/>
                  </a:lnTo>
                  <a:lnTo>
                    <a:pt x="80371" y="181182"/>
                  </a:lnTo>
                  <a:lnTo>
                    <a:pt x="80371" y="181182"/>
                  </a:lnTo>
                  <a:lnTo>
                    <a:pt x="80371" y="181182"/>
                  </a:lnTo>
                  <a:lnTo>
                    <a:pt x="32250" y="220288"/>
                  </a:lnTo>
                  <a:lnTo>
                    <a:pt x="0" y="246316"/>
                  </a:lnTo>
                  <a:lnTo>
                    <a:pt x="1265112" y="650579"/>
                  </a:lnTo>
                  <a:lnTo>
                    <a:pt x="1377225" y="559417"/>
                  </a:lnTo>
                  <a:lnTo>
                    <a:pt x="1377225" y="324655"/>
                  </a:lnTo>
                  <a:lnTo>
                    <a:pt x="302947" y="0"/>
                  </a:lnTo>
                  <a:lnTo>
                    <a:pt x="172423" y="105890"/>
                  </a:lnTo>
                  <a:close/>
                </a:path>
              </a:pathLst>
            </a:custGeom>
            <a:solidFill>
              <a:schemeClr val="accent5">
                <a:lumMod val="75000"/>
              </a:schemeClr>
            </a:solidFill>
            <a:ln w="1269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1D035A0E-C739-44A5-A218-106270665C55}"/>
                </a:ext>
              </a:extLst>
            </p:cNvPr>
            <p:cNvSpPr/>
            <p:nvPr/>
          </p:nvSpPr>
          <p:spPr>
            <a:xfrm>
              <a:off x="12085599" y="2064991"/>
              <a:ext cx="100305" cy="111985"/>
            </a:xfrm>
            <a:custGeom>
              <a:avLst/>
              <a:gdLst>
                <a:gd name="connsiteX0" fmla="*/ 100305 w 100305"/>
                <a:gd name="connsiteY0" fmla="*/ 111985 h 111985"/>
                <a:gd name="connsiteX1" fmla="*/ 100305 w 100305"/>
                <a:gd name="connsiteY1" fmla="*/ 0 h 111985"/>
                <a:gd name="connsiteX2" fmla="*/ 0 w 100305"/>
                <a:gd name="connsiteY2" fmla="*/ 81640 h 111985"/>
                <a:gd name="connsiteX3" fmla="*/ 100305 w 100305"/>
                <a:gd name="connsiteY3" fmla="*/ 111985 h 111985"/>
              </a:gdLst>
              <a:ahLst/>
              <a:cxnLst>
                <a:cxn ang="0">
                  <a:pos x="connsiteX0" y="connsiteY0"/>
                </a:cxn>
                <a:cxn ang="0">
                  <a:pos x="connsiteX1" y="connsiteY1"/>
                </a:cxn>
                <a:cxn ang="0">
                  <a:pos x="connsiteX2" y="connsiteY2"/>
                </a:cxn>
                <a:cxn ang="0">
                  <a:pos x="connsiteX3" y="connsiteY3"/>
                </a:cxn>
              </a:cxnLst>
              <a:rect l="l" t="t" r="r" b="b"/>
              <a:pathLst>
                <a:path w="100305" h="111985">
                  <a:moveTo>
                    <a:pt x="100305" y="111985"/>
                  </a:moveTo>
                  <a:lnTo>
                    <a:pt x="100305" y="0"/>
                  </a:lnTo>
                  <a:lnTo>
                    <a:pt x="0" y="81640"/>
                  </a:lnTo>
                  <a:lnTo>
                    <a:pt x="100305" y="111985"/>
                  </a:lnTo>
                  <a:close/>
                </a:path>
              </a:pathLst>
            </a:custGeom>
            <a:solidFill>
              <a:srgbClr val="F9AA19"/>
            </a:solidFill>
            <a:ln w="1269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FF46255-EE03-40AD-880C-91B6D6752115}"/>
                </a:ext>
              </a:extLst>
            </p:cNvPr>
            <p:cNvSpPr/>
            <p:nvPr/>
          </p:nvSpPr>
          <p:spPr>
            <a:xfrm>
              <a:off x="10467389" y="1392319"/>
              <a:ext cx="362748" cy="651848"/>
            </a:xfrm>
            <a:custGeom>
              <a:avLst/>
              <a:gdLst>
                <a:gd name="connsiteX0" fmla="*/ 325547 w 362748"/>
                <a:gd name="connsiteY0" fmla="*/ 348144 h 651848"/>
                <a:gd name="connsiteX1" fmla="*/ 325547 w 362748"/>
                <a:gd name="connsiteY1" fmla="*/ 347255 h 651848"/>
                <a:gd name="connsiteX2" fmla="*/ 325547 w 362748"/>
                <a:gd name="connsiteY2" fmla="*/ 347255 h 651848"/>
                <a:gd name="connsiteX3" fmla="*/ 325547 w 362748"/>
                <a:gd name="connsiteY3" fmla="*/ 347255 h 651848"/>
                <a:gd name="connsiteX4" fmla="*/ 325547 w 362748"/>
                <a:gd name="connsiteY4" fmla="*/ 347255 h 651848"/>
                <a:gd name="connsiteX5" fmla="*/ 325547 w 362748"/>
                <a:gd name="connsiteY5" fmla="*/ 346620 h 651848"/>
                <a:gd name="connsiteX6" fmla="*/ 325547 w 362748"/>
                <a:gd name="connsiteY6" fmla="*/ 345858 h 651848"/>
                <a:gd name="connsiteX7" fmla="*/ 325547 w 362748"/>
                <a:gd name="connsiteY7" fmla="*/ 345858 h 651848"/>
                <a:gd name="connsiteX8" fmla="*/ 362748 w 362748"/>
                <a:gd name="connsiteY8" fmla="*/ 315767 h 651848"/>
                <a:gd name="connsiteX9" fmla="*/ 362748 w 362748"/>
                <a:gd name="connsiteY9" fmla="*/ 0 h 651848"/>
                <a:gd name="connsiteX10" fmla="*/ 0 w 362748"/>
                <a:gd name="connsiteY10" fmla="*/ 249617 h 651848"/>
                <a:gd name="connsiteX11" fmla="*/ 0 w 362748"/>
                <a:gd name="connsiteY11" fmla="*/ 651849 h 651848"/>
                <a:gd name="connsiteX12" fmla="*/ 323769 w 362748"/>
                <a:gd name="connsiteY12" fmla="*/ 428768 h 651848"/>
                <a:gd name="connsiteX13" fmla="*/ 323769 w 362748"/>
                <a:gd name="connsiteY13" fmla="*/ 348525 h 65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748" h="651848">
                  <a:moveTo>
                    <a:pt x="325547" y="348144"/>
                  </a:moveTo>
                  <a:cubicBezTo>
                    <a:pt x="325471" y="347852"/>
                    <a:pt x="325471" y="347547"/>
                    <a:pt x="325547" y="347255"/>
                  </a:cubicBezTo>
                  <a:lnTo>
                    <a:pt x="325547" y="347255"/>
                  </a:lnTo>
                  <a:lnTo>
                    <a:pt x="325547" y="347255"/>
                  </a:lnTo>
                  <a:lnTo>
                    <a:pt x="325547" y="347255"/>
                  </a:lnTo>
                  <a:lnTo>
                    <a:pt x="325547" y="346620"/>
                  </a:lnTo>
                  <a:lnTo>
                    <a:pt x="325547" y="345858"/>
                  </a:lnTo>
                  <a:lnTo>
                    <a:pt x="325547" y="345858"/>
                  </a:lnTo>
                  <a:lnTo>
                    <a:pt x="362748" y="315767"/>
                  </a:lnTo>
                  <a:lnTo>
                    <a:pt x="362748" y="0"/>
                  </a:lnTo>
                  <a:lnTo>
                    <a:pt x="0" y="249617"/>
                  </a:lnTo>
                  <a:lnTo>
                    <a:pt x="0" y="651849"/>
                  </a:lnTo>
                  <a:lnTo>
                    <a:pt x="323769" y="428768"/>
                  </a:lnTo>
                  <a:lnTo>
                    <a:pt x="323769" y="348525"/>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03FF085-A91E-4F8B-AFC8-391A74F89DD1}"/>
                </a:ext>
              </a:extLst>
            </p:cNvPr>
            <p:cNvSpPr/>
            <p:nvPr/>
          </p:nvSpPr>
          <p:spPr>
            <a:xfrm>
              <a:off x="8503317" y="1051920"/>
              <a:ext cx="1955057" cy="995040"/>
            </a:xfrm>
            <a:custGeom>
              <a:avLst/>
              <a:gdLst>
                <a:gd name="connsiteX0" fmla="*/ 0 w 1955057"/>
                <a:gd name="connsiteY0" fmla="*/ 403882 h 995040"/>
                <a:gd name="connsiteX1" fmla="*/ 1955058 w 1955057"/>
                <a:gd name="connsiteY1" fmla="*/ 995041 h 995040"/>
                <a:gd name="connsiteX2" fmla="*/ 1955058 w 1955057"/>
                <a:gd name="connsiteY2" fmla="*/ 591159 h 995040"/>
                <a:gd name="connsiteX3" fmla="*/ 0 w 1955057"/>
                <a:gd name="connsiteY3" fmla="*/ 0 h 995040"/>
                <a:gd name="connsiteX4" fmla="*/ 0 w 1955057"/>
                <a:gd name="connsiteY4" fmla="*/ 403882 h 995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057" h="995040">
                  <a:moveTo>
                    <a:pt x="0" y="403882"/>
                  </a:moveTo>
                  <a:lnTo>
                    <a:pt x="1955058" y="995041"/>
                  </a:lnTo>
                  <a:lnTo>
                    <a:pt x="1955058" y="591159"/>
                  </a:lnTo>
                  <a:lnTo>
                    <a:pt x="0" y="0"/>
                  </a:lnTo>
                  <a:lnTo>
                    <a:pt x="0" y="403882"/>
                  </a:lnTo>
                  <a:close/>
                </a:path>
              </a:pathLst>
            </a:custGeom>
            <a:solidFill>
              <a:schemeClr val="accent1"/>
            </a:solidFill>
            <a:ln w="1269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D11CB389-99D9-4A8C-836A-0905092CCE6C}"/>
                </a:ext>
              </a:extLst>
            </p:cNvPr>
            <p:cNvSpPr/>
            <p:nvPr/>
          </p:nvSpPr>
          <p:spPr>
            <a:xfrm>
              <a:off x="8509030" y="781354"/>
              <a:ext cx="2316790" cy="852710"/>
            </a:xfrm>
            <a:custGeom>
              <a:avLst/>
              <a:gdLst>
                <a:gd name="connsiteX0" fmla="*/ 2316790 w 2316790"/>
                <a:gd name="connsiteY0" fmla="*/ 602586 h 852710"/>
                <a:gd name="connsiteX1" fmla="*/ 764857 w 2316790"/>
                <a:gd name="connsiteY1" fmla="*/ 133696 h 852710"/>
                <a:gd name="connsiteX2" fmla="*/ 761238 w 2316790"/>
                <a:gd name="connsiteY2" fmla="*/ 128122 h 852710"/>
                <a:gd name="connsiteX3" fmla="*/ 761429 w 2316790"/>
                <a:gd name="connsiteY3" fmla="*/ 127475 h 852710"/>
                <a:gd name="connsiteX4" fmla="*/ 761429 w 2316790"/>
                <a:gd name="connsiteY4" fmla="*/ 127475 h 852710"/>
                <a:gd name="connsiteX5" fmla="*/ 746954 w 2316790"/>
                <a:gd name="connsiteY5" fmla="*/ 122904 h 852710"/>
                <a:gd name="connsiteX6" fmla="*/ 744415 w 2316790"/>
                <a:gd name="connsiteY6" fmla="*/ 124809 h 852710"/>
                <a:gd name="connsiteX7" fmla="*/ 744415 w 2316790"/>
                <a:gd name="connsiteY7" fmla="*/ 124809 h 852710"/>
                <a:gd name="connsiteX8" fmla="*/ 741114 w 2316790"/>
                <a:gd name="connsiteY8" fmla="*/ 125951 h 852710"/>
                <a:gd name="connsiteX9" fmla="*/ 739463 w 2316790"/>
                <a:gd name="connsiteY9" fmla="*/ 125951 h 852710"/>
                <a:gd name="connsiteX10" fmla="*/ 641824 w 2316790"/>
                <a:gd name="connsiteY10" fmla="*/ 96368 h 852710"/>
                <a:gd name="connsiteX11" fmla="*/ 322627 w 2316790"/>
                <a:gd name="connsiteY11" fmla="*/ 0 h 852710"/>
                <a:gd name="connsiteX12" fmla="*/ 283266 w 2316790"/>
                <a:gd name="connsiteY12" fmla="*/ 32123 h 852710"/>
                <a:gd name="connsiteX13" fmla="*/ 283266 w 2316790"/>
                <a:gd name="connsiteY13" fmla="*/ 32123 h 852710"/>
                <a:gd name="connsiteX14" fmla="*/ 190452 w 2316790"/>
                <a:gd name="connsiteY14" fmla="*/ 107414 h 852710"/>
                <a:gd name="connsiteX15" fmla="*/ 190452 w 2316790"/>
                <a:gd name="connsiteY15" fmla="*/ 107414 h 852710"/>
                <a:gd name="connsiteX16" fmla="*/ 0 w 2316790"/>
                <a:gd name="connsiteY16" fmla="*/ 262314 h 852710"/>
                <a:gd name="connsiteX17" fmla="*/ 1953788 w 2316790"/>
                <a:gd name="connsiteY17" fmla="*/ 852711 h 85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16790" h="852710">
                  <a:moveTo>
                    <a:pt x="2316790" y="602586"/>
                  </a:moveTo>
                  <a:lnTo>
                    <a:pt x="764857" y="133696"/>
                  </a:lnTo>
                  <a:cubicBezTo>
                    <a:pt x="762318" y="133155"/>
                    <a:pt x="760705" y="130661"/>
                    <a:pt x="761238" y="128122"/>
                  </a:cubicBezTo>
                  <a:cubicBezTo>
                    <a:pt x="761290" y="127903"/>
                    <a:pt x="761352" y="127686"/>
                    <a:pt x="761429" y="127475"/>
                  </a:cubicBezTo>
                  <a:lnTo>
                    <a:pt x="761429" y="127475"/>
                  </a:lnTo>
                  <a:lnTo>
                    <a:pt x="746954" y="122904"/>
                  </a:lnTo>
                  <a:lnTo>
                    <a:pt x="744415" y="124809"/>
                  </a:lnTo>
                  <a:lnTo>
                    <a:pt x="744415" y="124809"/>
                  </a:lnTo>
                  <a:cubicBezTo>
                    <a:pt x="743463" y="125525"/>
                    <a:pt x="742307" y="125925"/>
                    <a:pt x="741114" y="125951"/>
                  </a:cubicBezTo>
                  <a:lnTo>
                    <a:pt x="739463" y="125951"/>
                  </a:lnTo>
                  <a:lnTo>
                    <a:pt x="641824" y="96368"/>
                  </a:lnTo>
                  <a:lnTo>
                    <a:pt x="322627" y="0"/>
                  </a:lnTo>
                  <a:lnTo>
                    <a:pt x="283266" y="32123"/>
                  </a:lnTo>
                  <a:lnTo>
                    <a:pt x="283266" y="32123"/>
                  </a:lnTo>
                  <a:lnTo>
                    <a:pt x="190452" y="107414"/>
                  </a:lnTo>
                  <a:lnTo>
                    <a:pt x="190452" y="107414"/>
                  </a:lnTo>
                  <a:lnTo>
                    <a:pt x="0" y="262314"/>
                  </a:lnTo>
                  <a:lnTo>
                    <a:pt x="1953788" y="852711"/>
                  </a:lnTo>
                  <a:close/>
                </a:path>
              </a:pathLst>
            </a:custGeom>
            <a:solidFill>
              <a:schemeClr val="accent3"/>
            </a:solidFill>
            <a:ln w="1269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1B50107-7E38-4078-ACDF-FE5CF69187B3}"/>
                </a:ext>
              </a:extLst>
            </p:cNvPr>
            <p:cNvSpPr/>
            <p:nvPr/>
          </p:nvSpPr>
          <p:spPr>
            <a:xfrm>
              <a:off x="9732751" y="610964"/>
              <a:ext cx="421407" cy="439052"/>
            </a:xfrm>
            <a:custGeom>
              <a:avLst/>
              <a:gdLst>
                <a:gd name="connsiteX0" fmla="*/ 0 w 421407"/>
                <a:gd name="connsiteY0" fmla="*/ 416452 h 439052"/>
                <a:gd name="connsiteX1" fmla="*/ 74657 w 421407"/>
                <a:gd name="connsiteY1" fmla="*/ 439052 h 439052"/>
                <a:gd name="connsiteX2" fmla="*/ 421408 w 421407"/>
                <a:gd name="connsiteY2" fmla="*/ 194641 h 439052"/>
                <a:gd name="connsiteX3" fmla="*/ 421408 w 421407"/>
                <a:gd name="connsiteY3" fmla="*/ 0 h 439052"/>
                <a:gd name="connsiteX4" fmla="*/ 0 w 421407"/>
                <a:gd name="connsiteY4" fmla="*/ 297230 h 439052"/>
                <a:gd name="connsiteX5" fmla="*/ 0 w 421407"/>
                <a:gd name="connsiteY5" fmla="*/ 416452 h 43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07" h="439052">
                  <a:moveTo>
                    <a:pt x="0" y="416452"/>
                  </a:moveTo>
                  <a:lnTo>
                    <a:pt x="74657" y="439052"/>
                  </a:lnTo>
                  <a:lnTo>
                    <a:pt x="421408" y="194641"/>
                  </a:lnTo>
                  <a:lnTo>
                    <a:pt x="421408" y="0"/>
                  </a:lnTo>
                  <a:lnTo>
                    <a:pt x="0" y="297230"/>
                  </a:lnTo>
                  <a:lnTo>
                    <a:pt x="0" y="416452"/>
                  </a:lnTo>
                  <a:close/>
                </a:path>
              </a:pathLst>
            </a:custGeom>
            <a:solidFill>
              <a:schemeClr val="accent2"/>
            </a:solidFill>
            <a:ln w="1269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9C63C0D7-B219-4650-BD9F-85C0A9099DBC}"/>
                </a:ext>
              </a:extLst>
            </p:cNvPr>
            <p:cNvSpPr/>
            <p:nvPr/>
          </p:nvSpPr>
          <p:spPr>
            <a:xfrm>
              <a:off x="9314390" y="786178"/>
              <a:ext cx="407568" cy="238063"/>
            </a:xfrm>
            <a:custGeom>
              <a:avLst/>
              <a:gdLst>
                <a:gd name="connsiteX0" fmla="*/ 0 w 407568"/>
                <a:gd name="connsiteY0" fmla="*/ 0 h 238063"/>
                <a:gd name="connsiteX1" fmla="*/ 0 w 407568"/>
                <a:gd name="connsiteY1" fmla="*/ 70594 h 238063"/>
                <a:gd name="connsiteX2" fmla="*/ 0 w 407568"/>
                <a:gd name="connsiteY2" fmla="*/ 114778 h 238063"/>
                <a:gd name="connsiteX3" fmla="*/ 407569 w 407568"/>
                <a:gd name="connsiteY3" fmla="*/ 238063 h 238063"/>
                <a:gd name="connsiteX4" fmla="*/ 407569 w 407568"/>
                <a:gd name="connsiteY4" fmla="*/ 123158 h 238063"/>
                <a:gd name="connsiteX5" fmla="*/ 0 w 407568"/>
                <a:gd name="connsiteY5" fmla="*/ 0 h 23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568" h="238063">
                  <a:moveTo>
                    <a:pt x="0" y="0"/>
                  </a:moveTo>
                  <a:lnTo>
                    <a:pt x="0" y="70594"/>
                  </a:lnTo>
                  <a:lnTo>
                    <a:pt x="0" y="114778"/>
                  </a:lnTo>
                  <a:lnTo>
                    <a:pt x="407569" y="238063"/>
                  </a:lnTo>
                  <a:lnTo>
                    <a:pt x="407569" y="123158"/>
                  </a:lnTo>
                  <a:lnTo>
                    <a:pt x="0" y="0"/>
                  </a:lnTo>
                  <a:close/>
                </a:path>
              </a:pathLst>
            </a:custGeom>
            <a:solidFill>
              <a:schemeClr val="accent3"/>
            </a:solidFill>
            <a:ln w="1269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C100B5B8-B03B-4DF2-9B89-2F7A76C95E86}"/>
                </a:ext>
              </a:extLst>
            </p:cNvPr>
            <p:cNvSpPr/>
            <p:nvPr/>
          </p:nvSpPr>
          <p:spPr>
            <a:xfrm>
              <a:off x="9319596" y="467618"/>
              <a:ext cx="828594" cy="432703"/>
            </a:xfrm>
            <a:custGeom>
              <a:avLst/>
              <a:gdLst>
                <a:gd name="connsiteX0" fmla="*/ 0 w 828594"/>
                <a:gd name="connsiteY0" fmla="*/ 309800 h 432703"/>
                <a:gd name="connsiteX1" fmla="*/ 406806 w 828594"/>
                <a:gd name="connsiteY1" fmla="*/ 432704 h 432703"/>
                <a:gd name="connsiteX2" fmla="*/ 828595 w 828594"/>
                <a:gd name="connsiteY2" fmla="*/ 135093 h 432703"/>
                <a:gd name="connsiteX3" fmla="*/ 468894 w 828594"/>
                <a:gd name="connsiteY3" fmla="*/ 26536 h 432703"/>
                <a:gd name="connsiteX4" fmla="*/ 381032 w 828594"/>
                <a:gd name="connsiteY4" fmla="*/ 0 h 432703"/>
                <a:gd name="connsiteX5" fmla="*/ 0 w 828594"/>
                <a:gd name="connsiteY5" fmla="*/ 309800 h 43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594" h="432703">
                  <a:moveTo>
                    <a:pt x="0" y="309800"/>
                  </a:moveTo>
                  <a:lnTo>
                    <a:pt x="406806" y="432704"/>
                  </a:lnTo>
                  <a:lnTo>
                    <a:pt x="828595" y="135093"/>
                  </a:lnTo>
                  <a:lnTo>
                    <a:pt x="468894" y="26536"/>
                  </a:lnTo>
                  <a:lnTo>
                    <a:pt x="381032" y="0"/>
                  </a:lnTo>
                  <a:lnTo>
                    <a:pt x="0" y="309800"/>
                  </a:lnTo>
                  <a:close/>
                </a:path>
              </a:pathLst>
            </a:custGeom>
            <a:solidFill>
              <a:schemeClr val="tx2"/>
            </a:solidFill>
            <a:ln w="1269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A572B2F5-B5B9-4B2A-844A-048DB789EDD9}"/>
                </a:ext>
              </a:extLst>
            </p:cNvPr>
            <p:cNvSpPr/>
            <p:nvPr/>
          </p:nvSpPr>
          <p:spPr>
            <a:xfrm>
              <a:off x="7875967" y="739582"/>
              <a:ext cx="125698" cy="192608"/>
            </a:xfrm>
            <a:custGeom>
              <a:avLst/>
              <a:gdLst>
                <a:gd name="connsiteX0" fmla="*/ 0 w 125698"/>
                <a:gd name="connsiteY0" fmla="*/ 192609 h 192608"/>
                <a:gd name="connsiteX1" fmla="*/ 125699 w 125698"/>
                <a:gd name="connsiteY1" fmla="*/ 90401 h 192608"/>
                <a:gd name="connsiteX2" fmla="*/ 125699 w 125698"/>
                <a:gd name="connsiteY2" fmla="*/ 0 h 192608"/>
                <a:gd name="connsiteX3" fmla="*/ 0 w 125698"/>
                <a:gd name="connsiteY3" fmla="*/ 102335 h 192608"/>
                <a:gd name="connsiteX4" fmla="*/ 0 w 125698"/>
                <a:gd name="connsiteY4" fmla="*/ 192609 h 19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98" h="192608">
                  <a:moveTo>
                    <a:pt x="0" y="192609"/>
                  </a:moveTo>
                  <a:lnTo>
                    <a:pt x="125699" y="90401"/>
                  </a:lnTo>
                  <a:lnTo>
                    <a:pt x="125699" y="0"/>
                  </a:lnTo>
                  <a:lnTo>
                    <a:pt x="0" y="102335"/>
                  </a:lnTo>
                  <a:lnTo>
                    <a:pt x="0" y="192609"/>
                  </a:lnTo>
                  <a:close/>
                </a:path>
              </a:pathLst>
            </a:custGeom>
            <a:solidFill>
              <a:schemeClr val="accent4"/>
            </a:solidFill>
            <a:ln w="1269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5FC8FC9-FF4B-4BD4-8951-A066400B94AF}"/>
                </a:ext>
              </a:extLst>
            </p:cNvPr>
            <p:cNvSpPr/>
            <p:nvPr/>
          </p:nvSpPr>
          <p:spPr>
            <a:xfrm>
              <a:off x="6286706" y="366044"/>
              <a:ext cx="1578469" cy="570335"/>
            </a:xfrm>
            <a:custGeom>
              <a:avLst/>
              <a:gdLst>
                <a:gd name="connsiteX0" fmla="*/ 0 w 1578469"/>
                <a:gd name="connsiteY0" fmla="*/ 93194 h 570335"/>
                <a:gd name="connsiteX1" fmla="*/ 1578469 w 1578469"/>
                <a:gd name="connsiteY1" fmla="*/ 570336 h 570335"/>
                <a:gd name="connsiteX2" fmla="*/ 1578469 w 1578469"/>
                <a:gd name="connsiteY2" fmla="*/ 477142 h 570335"/>
                <a:gd name="connsiteX3" fmla="*/ 0 w 1578469"/>
                <a:gd name="connsiteY3" fmla="*/ 0 h 570335"/>
                <a:gd name="connsiteX4" fmla="*/ 0 w 1578469"/>
                <a:gd name="connsiteY4" fmla="*/ 93194 h 57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469" h="570335">
                  <a:moveTo>
                    <a:pt x="0" y="93194"/>
                  </a:moveTo>
                  <a:lnTo>
                    <a:pt x="1578469" y="570336"/>
                  </a:lnTo>
                  <a:lnTo>
                    <a:pt x="1578469" y="477142"/>
                  </a:lnTo>
                  <a:lnTo>
                    <a:pt x="0" y="0"/>
                  </a:lnTo>
                  <a:lnTo>
                    <a:pt x="0" y="93194"/>
                  </a:lnTo>
                  <a:close/>
                </a:path>
              </a:pathLst>
            </a:custGeom>
            <a:solidFill>
              <a:schemeClr val="accent5"/>
            </a:solidFill>
            <a:ln w="1269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FCF52FB1-B0C2-4068-A938-3367DD564E4F}"/>
                </a:ext>
              </a:extLst>
            </p:cNvPr>
            <p:cNvSpPr/>
            <p:nvPr/>
          </p:nvSpPr>
          <p:spPr>
            <a:xfrm>
              <a:off x="5353235" y="370742"/>
              <a:ext cx="922678" cy="851821"/>
            </a:xfrm>
            <a:custGeom>
              <a:avLst/>
              <a:gdLst>
                <a:gd name="connsiteX0" fmla="*/ 0 w 922678"/>
                <a:gd name="connsiteY0" fmla="*/ 796718 h 851821"/>
                <a:gd name="connsiteX1" fmla="*/ 0 w 922678"/>
                <a:gd name="connsiteY1" fmla="*/ 839379 h 851821"/>
                <a:gd name="connsiteX2" fmla="*/ 40884 w 922678"/>
                <a:gd name="connsiteY2" fmla="*/ 851822 h 851821"/>
                <a:gd name="connsiteX3" fmla="*/ 922678 w 922678"/>
                <a:gd name="connsiteY3" fmla="*/ 90020 h 851821"/>
                <a:gd name="connsiteX4" fmla="*/ 922678 w 922678"/>
                <a:gd name="connsiteY4" fmla="*/ 0 h 851821"/>
                <a:gd name="connsiteX5" fmla="*/ 0 w 922678"/>
                <a:gd name="connsiteY5" fmla="*/ 796718 h 85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678" h="851821">
                  <a:moveTo>
                    <a:pt x="0" y="796718"/>
                  </a:moveTo>
                  <a:lnTo>
                    <a:pt x="0" y="839379"/>
                  </a:lnTo>
                  <a:lnTo>
                    <a:pt x="40884" y="851822"/>
                  </a:lnTo>
                  <a:lnTo>
                    <a:pt x="922678" y="90020"/>
                  </a:lnTo>
                  <a:lnTo>
                    <a:pt x="922678" y="0"/>
                  </a:lnTo>
                  <a:lnTo>
                    <a:pt x="0" y="796718"/>
                  </a:lnTo>
                  <a:close/>
                </a:path>
              </a:pathLst>
            </a:custGeom>
            <a:solidFill>
              <a:srgbClr val="C5E3E3"/>
            </a:solidFill>
            <a:ln w="1269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AC827B8-E15F-41CD-9791-661C4FC3CCC9}"/>
                </a:ext>
              </a:extLst>
            </p:cNvPr>
            <p:cNvSpPr/>
            <p:nvPr/>
          </p:nvSpPr>
          <p:spPr>
            <a:xfrm>
              <a:off x="5066033" y="177752"/>
              <a:ext cx="2930173" cy="981963"/>
            </a:xfrm>
            <a:custGeom>
              <a:avLst/>
              <a:gdLst>
                <a:gd name="connsiteX0" fmla="*/ 280473 w 2930173"/>
                <a:gd name="connsiteY0" fmla="*/ 981963 h 981963"/>
                <a:gd name="connsiteX1" fmla="*/ 1211531 w 2930173"/>
                <a:gd name="connsiteY1" fmla="*/ 177754 h 981963"/>
                <a:gd name="connsiteX2" fmla="*/ 1211531 w 2930173"/>
                <a:gd name="connsiteY2" fmla="*/ 177754 h 981963"/>
                <a:gd name="connsiteX3" fmla="*/ 1212166 w 2930173"/>
                <a:gd name="connsiteY3" fmla="*/ 177754 h 981963"/>
                <a:gd name="connsiteX4" fmla="*/ 1213055 w 2930173"/>
                <a:gd name="connsiteY4" fmla="*/ 177754 h 981963"/>
                <a:gd name="connsiteX5" fmla="*/ 1213055 w 2930173"/>
                <a:gd name="connsiteY5" fmla="*/ 177754 h 981963"/>
                <a:gd name="connsiteX6" fmla="*/ 1213943 w 2930173"/>
                <a:gd name="connsiteY6" fmla="*/ 177754 h 981963"/>
                <a:gd name="connsiteX7" fmla="*/ 1216737 w 2930173"/>
                <a:gd name="connsiteY7" fmla="*/ 177754 h 981963"/>
                <a:gd name="connsiteX8" fmla="*/ 2803206 w 2930173"/>
                <a:gd name="connsiteY8" fmla="*/ 656293 h 981963"/>
                <a:gd name="connsiteX9" fmla="*/ 2930174 w 2930173"/>
                <a:gd name="connsiteY9" fmla="*/ 552815 h 981963"/>
                <a:gd name="connsiteX10" fmla="*/ 1102465 w 2930173"/>
                <a:gd name="connsiteY10" fmla="*/ 0 h 981963"/>
                <a:gd name="connsiteX11" fmla="*/ 107161 w 2930173"/>
                <a:gd name="connsiteY11" fmla="*/ 809923 h 981963"/>
                <a:gd name="connsiteX12" fmla="*/ 107161 w 2930173"/>
                <a:gd name="connsiteY12" fmla="*/ 809923 h 981963"/>
                <a:gd name="connsiteX13" fmla="*/ 0 w 2930173"/>
                <a:gd name="connsiteY13" fmla="*/ 897022 h 9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173" h="981963">
                  <a:moveTo>
                    <a:pt x="280473" y="981963"/>
                  </a:moveTo>
                  <a:lnTo>
                    <a:pt x="1211531" y="177754"/>
                  </a:lnTo>
                  <a:lnTo>
                    <a:pt x="1211531" y="177754"/>
                  </a:lnTo>
                  <a:lnTo>
                    <a:pt x="1212166" y="177754"/>
                  </a:lnTo>
                  <a:lnTo>
                    <a:pt x="1213055" y="177754"/>
                  </a:lnTo>
                  <a:lnTo>
                    <a:pt x="1213055" y="177754"/>
                  </a:lnTo>
                  <a:lnTo>
                    <a:pt x="1213943" y="177754"/>
                  </a:lnTo>
                  <a:lnTo>
                    <a:pt x="1216737" y="177754"/>
                  </a:lnTo>
                  <a:lnTo>
                    <a:pt x="2803206" y="656293"/>
                  </a:lnTo>
                  <a:lnTo>
                    <a:pt x="2930174" y="552815"/>
                  </a:lnTo>
                  <a:lnTo>
                    <a:pt x="1102465" y="0"/>
                  </a:lnTo>
                  <a:lnTo>
                    <a:pt x="107161" y="809923"/>
                  </a:lnTo>
                  <a:lnTo>
                    <a:pt x="107161" y="809923"/>
                  </a:lnTo>
                  <a:lnTo>
                    <a:pt x="0" y="897022"/>
                  </a:lnTo>
                  <a:close/>
                </a:path>
              </a:pathLst>
            </a:custGeom>
            <a:solidFill>
              <a:schemeClr val="accent1"/>
            </a:solidFill>
            <a:ln w="1269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2BB10766-3194-4FED-BF02-A8F194A1C80B}"/>
                </a:ext>
              </a:extLst>
            </p:cNvPr>
            <p:cNvSpPr/>
            <p:nvPr/>
          </p:nvSpPr>
          <p:spPr>
            <a:xfrm>
              <a:off x="5059938" y="1085440"/>
              <a:ext cx="281996" cy="148805"/>
            </a:xfrm>
            <a:custGeom>
              <a:avLst/>
              <a:gdLst>
                <a:gd name="connsiteX0" fmla="*/ 189945 w 281996"/>
                <a:gd name="connsiteY0" fmla="*/ 148805 h 148805"/>
                <a:gd name="connsiteX1" fmla="*/ 237177 w 281996"/>
                <a:gd name="connsiteY1" fmla="*/ 110715 h 148805"/>
                <a:gd name="connsiteX2" fmla="*/ 237177 w 281996"/>
                <a:gd name="connsiteY2" fmla="*/ 110715 h 148805"/>
                <a:gd name="connsiteX3" fmla="*/ 238193 w 281996"/>
                <a:gd name="connsiteY3" fmla="*/ 110715 h 148805"/>
                <a:gd name="connsiteX4" fmla="*/ 241875 w 281996"/>
                <a:gd name="connsiteY4" fmla="*/ 110715 h 148805"/>
                <a:gd name="connsiteX5" fmla="*/ 281997 w 281996"/>
                <a:gd name="connsiteY5" fmla="*/ 123412 h 148805"/>
                <a:gd name="connsiteX6" fmla="*/ 281997 w 281996"/>
                <a:gd name="connsiteY6" fmla="*/ 85322 h 148805"/>
                <a:gd name="connsiteX7" fmla="*/ 0 w 281996"/>
                <a:gd name="connsiteY7" fmla="*/ 0 h 148805"/>
                <a:gd name="connsiteX8" fmla="*/ 0 w 281996"/>
                <a:gd name="connsiteY8" fmla="*/ 93194 h 14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96" h="148805">
                  <a:moveTo>
                    <a:pt x="189945" y="148805"/>
                  </a:moveTo>
                  <a:lnTo>
                    <a:pt x="237177" y="110715"/>
                  </a:lnTo>
                  <a:lnTo>
                    <a:pt x="237177" y="110715"/>
                  </a:lnTo>
                  <a:lnTo>
                    <a:pt x="238193" y="110715"/>
                  </a:lnTo>
                  <a:lnTo>
                    <a:pt x="241875" y="110715"/>
                  </a:lnTo>
                  <a:lnTo>
                    <a:pt x="281997" y="123412"/>
                  </a:lnTo>
                  <a:lnTo>
                    <a:pt x="281997" y="85322"/>
                  </a:lnTo>
                  <a:lnTo>
                    <a:pt x="0" y="0"/>
                  </a:lnTo>
                  <a:lnTo>
                    <a:pt x="0" y="93194"/>
                  </a:lnTo>
                  <a:close/>
                </a:path>
              </a:pathLst>
            </a:custGeom>
            <a:solidFill>
              <a:schemeClr val="tx2"/>
            </a:solidFill>
            <a:ln w="1269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8D5399D4-A249-41F9-A76B-A2B3871FD809}"/>
                </a:ext>
              </a:extLst>
            </p:cNvPr>
            <p:cNvSpPr/>
            <p:nvPr/>
          </p:nvSpPr>
          <p:spPr>
            <a:xfrm>
              <a:off x="9854259" y="2390407"/>
              <a:ext cx="1740226" cy="683844"/>
            </a:xfrm>
            <a:custGeom>
              <a:avLst/>
              <a:gdLst>
                <a:gd name="connsiteX0" fmla="*/ 1032886 w 1740226"/>
                <a:gd name="connsiteY0" fmla="*/ 514217 h 683844"/>
                <a:gd name="connsiteX1" fmla="*/ 1450739 w 1740226"/>
                <a:gd name="connsiteY1" fmla="*/ 641184 h 683844"/>
                <a:gd name="connsiteX2" fmla="*/ 1450739 w 1740226"/>
                <a:gd name="connsiteY2" fmla="*/ 641184 h 683844"/>
                <a:gd name="connsiteX3" fmla="*/ 1451501 w 1740226"/>
                <a:gd name="connsiteY3" fmla="*/ 641184 h 683844"/>
                <a:gd name="connsiteX4" fmla="*/ 1452263 w 1740226"/>
                <a:gd name="connsiteY4" fmla="*/ 641184 h 683844"/>
                <a:gd name="connsiteX5" fmla="*/ 1452263 w 1740226"/>
                <a:gd name="connsiteY5" fmla="*/ 641184 h 683844"/>
                <a:gd name="connsiteX6" fmla="*/ 1452263 w 1740226"/>
                <a:gd name="connsiteY6" fmla="*/ 641184 h 683844"/>
                <a:gd name="connsiteX7" fmla="*/ 1452263 w 1740226"/>
                <a:gd name="connsiteY7" fmla="*/ 641945 h 683844"/>
                <a:gd name="connsiteX8" fmla="*/ 1452263 w 1740226"/>
                <a:gd name="connsiteY8" fmla="*/ 641945 h 683844"/>
                <a:gd name="connsiteX9" fmla="*/ 1452263 w 1740226"/>
                <a:gd name="connsiteY9" fmla="*/ 642707 h 683844"/>
                <a:gd name="connsiteX10" fmla="*/ 1452263 w 1740226"/>
                <a:gd name="connsiteY10" fmla="*/ 643469 h 683844"/>
                <a:gd name="connsiteX11" fmla="*/ 1452263 w 1740226"/>
                <a:gd name="connsiteY11" fmla="*/ 683845 h 683844"/>
                <a:gd name="connsiteX12" fmla="*/ 1740227 w 1740226"/>
                <a:gd name="connsiteY12" fmla="*/ 449717 h 683844"/>
                <a:gd name="connsiteX13" fmla="*/ 248350 w 1740226"/>
                <a:gd name="connsiteY13" fmla="*/ 0 h 683844"/>
                <a:gd name="connsiteX14" fmla="*/ 206196 w 1740226"/>
                <a:gd name="connsiteY14" fmla="*/ 34281 h 683844"/>
                <a:gd name="connsiteX15" fmla="*/ 0 w 1740226"/>
                <a:gd name="connsiteY15" fmla="*/ 202004 h 68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0226" h="683844">
                  <a:moveTo>
                    <a:pt x="1032886" y="514217"/>
                  </a:moveTo>
                  <a:lnTo>
                    <a:pt x="1450739" y="641184"/>
                  </a:lnTo>
                  <a:lnTo>
                    <a:pt x="1450739" y="641184"/>
                  </a:lnTo>
                  <a:cubicBezTo>
                    <a:pt x="1450739" y="641184"/>
                    <a:pt x="1450739" y="641184"/>
                    <a:pt x="1451501" y="641184"/>
                  </a:cubicBezTo>
                  <a:lnTo>
                    <a:pt x="1452263" y="641184"/>
                  </a:lnTo>
                  <a:lnTo>
                    <a:pt x="1452263" y="641184"/>
                  </a:lnTo>
                  <a:cubicBezTo>
                    <a:pt x="1452263" y="641184"/>
                    <a:pt x="1452263" y="641184"/>
                    <a:pt x="1452263" y="641184"/>
                  </a:cubicBezTo>
                  <a:lnTo>
                    <a:pt x="1452263" y="641945"/>
                  </a:lnTo>
                  <a:lnTo>
                    <a:pt x="1452263" y="641945"/>
                  </a:lnTo>
                  <a:cubicBezTo>
                    <a:pt x="1452263" y="641945"/>
                    <a:pt x="1452263" y="641945"/>
                    <a:pt x="1452263" y="642707"/>
                  </a:cubicBezTo>
                  <a:cubicBezTo>
                    <a:pt x="1452263" y="643469"/>
                    <a:pt x="1452263" y="642707"/>
                    <a:pt x="1452263" y="643469"/>
                  </a:cubicBezTo>
                  <a:lnTo>
                    <a:pt x="1452263" y="683845"/>
                  </a:lnTo>
                  <a:lnTo>
                    <a:pt x="1740227" y="449717"/>
                  </a:lnTo>
                  <a:lnTo>
                    <a:pt x="248350" y="0"/>
                  </a:lnTo>
                  <a:lnTo>
                    <a:pt x="206196" y="34281"/>
                  </a:lnTo>
                  <a:lnTo>
                    <a:pt x="0" y="202004"/>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5709E6D-E0D2-4AC0-AAE0-11017863EA92}"/>
                </a:ext>
              </a:extLst>
            </p:cNvPr>
            <p:cNvSpPr/>
            <p:nvPr/>
          </p:nvSpPr>
          <p:spPr>
            <a:xfrm>
              <a:off x="11308680" y="2845330"/>
              <a:ext cx="496826" cy="353730"/>
            </a:xfrm>
            <a:custGeom>
              <a:avLst/>
              <a:gdLst>
                <a:gd name="connsiteX0" fmla="*/ 0 w 496826"/>
                <a:gd name="connsiteY0" fmla="*/ 312466 h 353730"/>
                <a:gd name="connsiteX1" fmla="*/ 135476 w 496826"/>
                <a:gd name="connsiteY1" fmla="*/ 353730 h 353730"/>
                <a:gd name="connsiteX2" fmla="*/ 496827 w 496826"/>
                <a:gd name="connsiteY2" fmla="*/ 59674 h 353730"/>
                <a:gd name="connsiteX3" fmla="*/ 299773 w 496826"/>
                <a:gd name="connsiteY3" fmla="*/ 0 h 353730"/>
                <a:gd name="connsiteX4" fmla="*/ 0 w 496826"/>
                <a:gd name="connsiteY4" fmla="*/ 243777 h 353730"/>
                <a:gd name="connsiteX5" fmla="*/ 0 w 496826"/>
                <a:gd name="connsiteY5" fmla="*/ 312466 h 35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826" h="353730">
                  <a:moveTo>
                    <a:pt x="0" y="312466"/>
                  </a:moveTo>
                  <a:lnTo>
                    <a:pt x="135476" y="353730"/>
                  </a:lnTo>
                  <a:lnTo>
                    <a:pt x="496827" y="59674"/>
                  </a:lnTo>
                  <a:lnTo>
                    <a:pt x="299773" y="0"/>
                  </a:lnTo>
                  <a:lnTo>
                    <a:pt x="0" y="243777"/>
                  </a:lnTo>
                  <a:lnTo>
                    <a:pt x="0" y="312466"/>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D36426AF-7BB3-46D5-B9F7-1F30C736A494}"/>
                </a:ext>
              </a:extLst>
            </p:cNvPr>
            <p:cNvSpPr/>
            <p:nvPr/>
          </p:nvSpPr>
          <p:spPr>
            <a:xfrm>
              <a:off x="9214974" y="2692716"/>
              <a:ext cx="1411124" cy="930414"/>
            </a:xfrm>
            <a:custGeom>
              <a:avLst/>
              <a:gdLst>
                <a:gd name="connsiteX0" fmla="*/ 0 w 1411124"/>
                <a:gd name="connsiteY0" fmla="*/ 0 h 930414"/>
                <a:gd name="connsiteX1" fmla="*/ 0 w 1411124"/>
                <a:gd name="connsiteY1" fmla="*/ 610711 h 930414"/>
                <a:gd name="connsiteX2" fmla="*/ 423439 w 1411124"/>
                <a:gd name="connsiteY2" fmla="*/ 738821 h 930414"/>
                <a:gd name="connsiteX3" fmla="*/ 1320089 w 1411124"/>
                <a:gd name="connsiteY3" fmla="*/ 911369 h 930414"/>
                <a:gd name="connsiteX4" fmla="*/ 1320089 w 1411124"/>
                <a:gd name="connsiteY4" fmla="*/ 911369 h 930414"/>
                <a:gd name="connsiteX5" fmla="*/ 1320216 w 1411124"/>
                <a:gd name="connsiteY5" fmla="*/ 911369 h 930414"/>
                <a:gd name="connsiteX6" fmla="*/ 1411125 w 1411124"/>
                <a:gd name="connsiteY6" fmla="*/ 930414 h 930414"/>
                <a:gd name="connsiteX7" fmla="*/ 1411125 w 1411124"/>
                <a:gd name="connsiteY7" fmla="*/ 426482 h 930414"/>
                <a:gd name="connsiteX8" fmla="*/ 0 w 1411124"/>
                <a:gd name="connsiteY8" fmla="*/ 0 h 9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124" h="930414">
                  <a:moveTo>
                    <a:pt x="0" y="0"/>
                  </a:moveTo>
                  <a:lnTo>
                    <a:pt x="0" y="610711"/>
                  </a:lnTo>
                  <a:lnTo>
                    <a:pt x="423439" y="738821"/>
                  </a:lnTo>
                  <a:lnTo>
                    <a:pt x="1320089" y="911369"/>
                  </a:lnTo>
                  <a:lnTo>
                    <a:pt x="1320089" y="911369"/>
                  </a:lnTo>
                  <a:lnTo>
                    <a:pt x="1320216" y="911369"/>
                  </a:lnTo>
                  <a:lnTo>
                    <a:pt x="1411125" y="930414"/>
                  </a:lnTo>
                  <a:lnTo>
                    <a:pt x="1411125" y="426482"/>
                  </a:lnTo>
                  <a:lnTo>
                    <a:pt x="0" y="0"/>
                  </a:lnTo>
                  <a:close/>
                </a:path>
              </a:pathLst>
            </a:custGeom>
            <a:solidFill>
              <a:schemeClr val="accent5">
                <a:lumMod val="75000"/>
              </a:schemeClr>
            </a:solidFill>
            <a:ln w="1269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B1F43FF8-7888-4C0A-9374-7A344D8D8242}"/>
                </a:ext>
              </a:extLst>
            </p:cNvPr>
            <p:cNvSpPr/>
            <p:nvPr/>
          </p:nvSpPr>
          <p:spPr>
            <a:xfrm>
              <a:off x="10636892" y="3122372"/>
              <a:ext cx="407567" cy="588492"/>
            </a:xfrm>
            <a:custGeom>
              <a:avLst/>
              <a:gdLst>
                <a:gd name="connsiteX0" fmla="*/ 0 w 407567"/>
                <a:gd name="connsiteY0" fmla="*/ 503044 h 588492"/>
                <a:gd name="connsiteX1" fmla="*/ 407568 w 407567"/>
                <a:gd name="connsiteY1" fmla="*/ 588492 h 588492"/>
                <a:gd name="connsiteX2" fmla="*/ 407568 w 407567"/>
                <a:gd name="connsiteY2" fmla="*/ 123158 h 588492"/>
                <a:gd name="connsiteX3" fmla="*/ 0 w 407567"/>
                <a:gd name="connsiteY3" fmla="*/ 0 h 588492"/>
                <a:gd name="connsiteX4" fmla="*/ 0 w 407567"/>
                <a:gd name="connsiteY4" fmla="*/ 503044 h 58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67" h="588492">
                  <a:moveTo>
                    <a:pt x="0" y="503044"/>
                  </a:moveTo>
                  <a:lnTo>
                    <a:pt x="407568" y="588492"/>
                  </a:lnTo>
                  <a:lnTo>
                    <a:pt x="407568" y="123158"/>
                  </a:lnTo>
                  <a:lnTo>
                    <a:pt x="0" y="0"/>
                  </a:lnTo>
                  <a:lnTo>
                    <a:pt x="0" y="503044"/>
                  </a:lnTo>
                  <a:close/>
                </a:path>
              </a:pathLst>
            </a:custGeom>
            <a:solidFill>
              <a:schemeClr val="tx2"/>
            </a:solidFill>
            <a:ln w="1269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AFE2214C-D2A6-4064-80B4-801301A77711}"/>
                </a:ext>
              </a:extLst>
            </p:cNvPr>
            <p:cNvSpPr/>
            <p:nvPr/>
          </p:nvSpPr>
          <p:spPr>
            <a:xfrm>
              <a:off x="9220053" y="2485252"/>
              <a:ext cx="1654777" cy="624804"/>
            </a:xfrm>
            <a:custGeom>
              <a:avLst/>
              <a:gdLst>
                <a:gd name="connsiteX0" fmla="*/ 1410237 w 1654777"/>
                <a:gd name="connsiteY0" fmla="*/ 624805 h 624804"/>
                <a:gd name="connsiteX1" fmla="*/ 1654777 w 1654777"/>
                <a:gd name="connsiteY1" fmla="*/ 425974 h 624804"/>
                <a:gd name="connsiteX2" fmla="*/ 622017 w 1654777"/>
                <a:gd name="connsiteY2" fmla="*/ 113889 h 624804"/>
                <a:gd name="connsiteX3" fmla="*/ 503302 w 1654777"/>
                <a:gd name="connsiteY3" fmla="*/ 78085 h 624804"/>
                <a:gd name="connsiteX4" fmla="*/ 244668 w 1654777"/>
                <a:gd name="connsiteY4" fmla="*/ 0 h 624804"/>
                <a:gd name="connsiteX5" fmla="*/ 119096 w 1654777"/>
                <a:gd name="connsiteY5" fmla="*/ 101701 h 624804"/>
                <a:gd name="connsiteX6" fmla="*/ 119096 w 1654777"/>
                <a:gd name="connsiteY6" fmla="*/ 101701 h 624804"/>
                <a:gd name="connsiteX7" fmla="*/ 0 w 1654777"/>
                <a:gd name="connsiteY7" fmla="*/ 198703 h 624804"/>
                <a:gd name="connsiteX8" fmla="*/ 1410237 w 1654777"/>
                <a:gd name="connsiteY8" fmla="*/ 624805 h 62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4777" h="624804">
                  <a:moveTo>
                    <a:pt x="1410237" y="624805"/>
                  </a:moveTo>
                  <a:lnTo>
                    <a:pt x="1654777" y="425974"/>
                  </a:lnTo>
                  <a:lnTo>
                    <a:pt x="622017" y="113889"/>
                  </a:lnTo>
                  <a:lnTo>
                    <a:pt x="503302" y="78085"/>
                  </a:lnTo>
                  <a:lnTo>
                    <a:pt x="244668" y="0"/>
                  </a:lnTo>
                  <a:lnTo>
                    <a:pt x="119096" y="101701"/>
                  </a:lnTo>
                  <a:lnTo>
                    <a:pt x="119096" y="101701"/>
                  </a:lnTo>
                  <a:lnTo>
                    <a:pt x="0" y="198703"/>
                  </a:lnTo>
                  <a:lnTo>
                    <a:pt x="1410237" y="624805"/>
                  </a:lnTo>
                  <a:close/>
                </a:path>
              </a:pathLst>
            </a:custGeom>
            <a:solidFill>
              <a:schemeClr val="accent5">
                <a:lumMod val="75000"/>
              </a:schemeClr>
            </a:solidFill>
            <a:ln w="1269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E3792C80-3C4E-4A5E-B28A-A845906AD7BE}"/>
                </a:ext>
              </a:extLst>
            </p:cNvPr>
            <p:cNvSpPr/>
            <p:nvPr/>
          </p:nvSpPr>
          <p:spPr>
            <a:xfrm>
              <a:off x="10642097" y="2914908"/>
              <a:ext cx="650712" cy="321607"/>
            </a:xfrm>
            <a:custGeom>
              <a:avLst/>
              <a:gdLst>
                <a:gd name="connsiteX0" fmla="*/ 0 w 650712"/>
                <a:gd name="connsiteY0" fmla="*/ 198703 h 321607"/>
                <a:gd name="connsiteX1" fmla="*/ 406553 w 650712"/>
                <a:gd name="connsiteY1" fmla="*/ 321608 h 321607"/>
                <a:gd name="connsiteX2" fmla="*/ 650712 w 650712"/>
                <a:gd name="connsiteY2" fmla="*/ 122777 h 321607"/>
                <a:gd name="connsiteX3" fmla="*/ 244541 w 650712"/>
                <a:gd name="connsiteY3" fmla="*/ 0 h 321607"/>
                <a:gd name="connsiteX4" fmla="*/ 0 w 650712"/>
                <a:gd name="connsiteY4" fmla="*/ 198703 h 3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712" h="321607">
                  <a:moveTo>
                    <a:pt x="0" y="198703"/>
                  </a:moveTo>
                  <a:lnTo>
                    <a:pt x="406553" y="321608"/>
                  </a:lnTo>
                  <a:lnTo>
                    <a:pt x="650712" y="122777"/>
                  </a:lnTo>
                  <a:lnTo>
                    <a:pt x="244541" y="0"/>
                  </a:lnTo>
                  <a:lnTo>
                    <a:pt x="0" y="198703"/>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128138C-11B0-43A7-A30B-05BF0531FB38}"/>
                </a:ext>
              </a:extLst>
            </p:cNvPr>
            <p:cNvSpPr/>
            <p:nvPr/>
          </p:nvSpPr>
          <p:spPr>
            <a:xfrm>
              <a:off x="8690722" y="2310164"/>
              <a:ext cx="243017" cy="805732"/>
            </a:xfrm>
            <a:custGeom>
              <a:avLst/>
              <a:gdLst>
                <a:gd name="connsiteX0" fmla="*/ 243017 w 243017"/>
                <a:gd name="connsiteY0" fmla="*/ 608172 h 805732"/>
                <a:gd name="connsiteX1" fmla="*/ 243017 w 243017"/>
                <a:gd name="connsiteY1" fmla="*/ 153249 h 805732"/>
                <a:gd name="connsiteX2" fmla="*/ 243017 w 243017"/>
                <a:gd name="connsiteY2" fmla="*/ 0 h 805732"/>
                <a:gd name="connsiteX3" fmla="*/ 0 w 243017"/>
                <a:gd name="connsiteY3" fmla="*/ 197434 h 805732"/>
                <a:gd name="connsiteX4" fmla="*/ 0 w 243017"/>
                <a:gd name="connsiteY4" fmla="*/ 805733 h 805732"/>
                <a:gd name="connsiteX5" fmla="*/ 243017 w 243017"/>
                <a:gd name="connsiteY5" fmla="*/ 608172 h 80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017" h="805732">
                  <a:moveTo>
                    <a:pt x="243017" y="608172"/>
                  </a:moveTo>
                  <a:lnTo>
                    <a:pt x="243017" y="153249"/>
                  </a:lnTo>
                  <a:lnTo>
                    <a:pt x="243017" y="0"/>
                  </a:lnTo>
                  <a:lnTo>
                    <a:pt x="0" y="197434"/>
                  </a:lnTo>
                  <a:lnTo>
                    <a:pt x="0" y="805733"/>
                  </a:lnTo>
                  <a:lnTo>
                    <a:pt x="243017" y="608172"/>
                  </a:lnTo>
                  <a:close/>
                </a:path>
              </a:pathLst>
            </a:custGeom>
            <a:solidFill>
              <a:schemeClr val="accent3"/>
            </a:solidFill>
            <a:ln w="1269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2AC1C2C-D1E2-466C-8690-445361687299}"/>
                </a:ext>
              </a:extLst>
            </p:cNvPr>
            <p:cNvSpPr/>
            <p:nvPr/>
          </p:nvSpPr>
          <p:spPr>
            <a:xfrm>
              <a:off x="5052701" y="1412507"/>
              <a:ext cx="3627228" cy="1707579"/>
            </a:xfrm>
            <a:custGeom>
              <a:avLst/>
              <a:gdLst>
                <a:gd name="connsiteX0" fmla="*/ 3627229 w 3627228"/>
                <a:gd name="connsiteY0" fmla="*/ 1707580 h 1707579"/>
                <a:gd name="connsiteX1" fmla="*/ 3627229 w 3627228"/>
                <a:gd name="connsiteY1" fmla="*/ 1096487 h 1707579"/>
                <a:gd name="connsiteX2" fmla="*/ 0 w 3627228"/>
                <a:gd name="connsiteY2" fmla="*/ 0 h 1707579"/>
                <a:gd name="connsiteX3" fmla="*/ 0 w 3627228"/>
                <a:gd name="connsiteY3" fmla="*/ 610712 h 1707579"/>
                <a:gd name="connsiteX4" fmla="*/ 3627229 w 3627228"/>
                <a:gd name="connsiteY4" fmla="*/ 1707580 h 1707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7228" h="1707579">
                  <a:moveTo>
                    <a:pt x="3627229" y="1707580"/>
                  </a:moveTo>
                  <a:lnTo>
                    <a:pt x="3627229" y="1096487"/>
                  </a:lnTo>
                  <a:lnTo>
                    <a:pt x="0" y="0"/>
                  </a:lnTo>
                  <a:lnTo>
                    <a:pt x="0" y="610712"/>
                  </a:lnTo>
                  <a:lnTo>
                    <a:pt x="3627229" y="1707580"/>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33F8A04A-6162-40E6-957C-C9311B0E8024}"/>
                </a:ext>
              </a:extLst>
            </p:cNvPr>
            <p:cNvSpPr/>
            <p:nvPr/>
          </p:nvSpPr>
          <p:spPr>
            <a:xfrm>
              <a:off x="5057780" y="1205043"/>
              <a:ext cx="3870880" cy="1294809"/>
            </a:xfrm>
            <a:custGeom>
              <a:avLst/>
              <a:gdLst>
                <a:gd name="connsiteX0" fmla="*/ 288345 w 3870880"/>
                <a:gd name="connsiteY0" fmla="*/ 13204 h 1294809"/>
                <a:gd name="connsiteX1" fmla="*/ 288345 w 3870880"/>
                <a:gd name="connsiteY1" fmla="*/ 13204 h 1294809"/>
                <a:gd name="connsiteX2" fmla="*/ 244160 w 3870880"/>
                <a:gd name="connsiteY2" fmla="*/ 0 h 1294809"/>
                <a:gd name="connsiteX3" fmla="*/ 197055 w 3870880"/>
                <a:gd name="connsiteY3" fmla="*/ 38344 h 1294809"/>
                <a:gd name="connsiteX4" fmla="*/ 197055 w 3870880"/>
                <a:gd name="connsiteY4" fmla="*/ 38344 h 1294809"/>
                <a:gd name="connsiteX5" fmla="*/ 0 w 3870880"/>
                <a:gd name="connsiteY5" fmla="*/ 198703 h 1294809"/>
                <a:gd name="connsiteX6" fmla="*/ 3626341 w 3870880"/>
                <a:gd name="connsiteY6" fmla="*/ 1294810 h 1294809"/>
                <a:gd name="connsiteX7" fmla="*/ 3870881 w 3870880"/>
                <a:gd name="connsiteY7" fmla="*/ 1096107 h 1294809"/>
                <a:gd name="connsiteX8" fmla="*/ 2700107 w 3870880"/>
                <a:gd name="connsiteY8" fmla="*/ 742376 h 1294809"/>
                <a:gd name="connsiteX9" fmla="*/ 335958 w 3870880"/>
                <a:gd name="connsiteY9" fmla="*/ 27806 h 1294809"/>
                <a:gd name="connsiteX10" fmla="*/ 335958 w 3870880"/>
                <a:gd name="connsiteY10" fmla="*/ 27806 h 1294809"/>
                <a:gd name="connsiteX11" fmla="*/ 335958 w 3870880"/>
                <a:gd name="connsiteY11" fmla="*/ 27806 h 1294809"/>
                <a:gd name="connsiteX12" fmla="*/ 288345 w 3870880"/>
                <a:gd name="connsiteY12" fmla="*/ 13204 h 129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70880" h="1294809">
                  <a:moveTo>
                    <a:pt x="288345" y="13204"/>
                  </a:moveTo>
                  <a:lnTo>
                    <a:pt x="288345" y="13204"/>
                  </a:lnTo>
                  <a:lnTo>
                    <a:pt x="244160" y="0"/>
                  </a:lnTo>
                  <a:lnTo>
                    <a:pt x="197055" y="38344"/>
                  </a:lnTo>
                  <a:lnTo>
                    <a:pt x="197055" y="38344"/>
                  </a:lnTo>
                  <a:lnTo>
                    <a:pt x="0" y="198703"/>
                  </a:lnTo>
                  <a:lnTo>
                    <a:pt x="3626341" y="1294810"/>
                  </a:lnTo>
                  <a:lnTo>
                    <a:pt x="3870881" y="1096107"/>
                  </a:lnTo>
                  <a:lnTo>
                    <a:pt x="2700107" y="742376"/>
                  </a:lnTo>
                  <a:lnTo>
                    <a:pt x="335958" y="27806"/>
                  </a:lnTo>
                  <a:lnTo>
                    <a:pt x="335958" y="27806"/>
                  </a:lnTo>
                  <a:lnTo>
                    <a:pt x="335958" y="27806"/>
                  </a:lnTo>
                  <a:lnTo>
                    <a:pt x="288345" y="13204"/>
                  </a:lnTo>
                  <a:close/>
                </a:path>
              </a:pathLst>
            </a:custGeom>
            <a:solidFill>
              <a:schemeClr val="accent4"/>
            </a:solidFill>
            <a:ln w="1269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AEAD2648-7479-42E4-B9FE-284285F37837}"/>
                </a:ext>
              </a:extLst>
            </p:cNvPr>
            <p:cNvSpPr/>
            <p:nvPr/>
          </p:nvSpPr>
          <p:spPr>
            <a:xfrm>
              <a:off x="4489470" y="1046080"/>
              <a:ext cx="262316" cy="821222"/>
            </a:xfrm>
            <a:custGeom>
              <a:avLst/>
              <a:gdLst>
                <a:gd name="connsiteX0" fmla="*/ 262316 w 262316"/>
                <a:gd name="connsiteY0" fmla="*/ 607918 h 821222"/>
                <a:gd name="connsiteX1" fmla="*/ 262316 w 262316"/>
                <a:gd name="connsiteY1" fmla="*/ 193244 h 821222"/>
                <a:gd name="connsiteX2" fmla="*/ 262316 w 262316"/>
                <a:gd name="connsiteY2" fmla="*/ 0 h 821222"/>
                <a:gd name="connsiteX3" fmla="*/ 0 w 262316"/>
                <a:gd name="connsiteY3" fmla="*/ 213305 h 821222"/>
                <a:gd name="connsiteX4" fmla="*/ 0 w 262316"/>
                <a:gd name="connsiteY4" fmla="*/ 821223 h 821222"/>
                <a:gd name="connsiteX5" fmla="*/ 262316 w 262316"/>
                <a:gd name="connsiteY5" fmla="*/ 607918 h 82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316" h="821222">
                  <a:moveTo>
                    <a:pt x="262316" y="607918"/>
                  </a:moveTo>
                  <a:lnTo>
                    <a:pt x="262316" y="193244"/>
                  </a:lnTo>
                  <a:lnTo>
                    <a:pt x="262316" y="0"/>
                  </a:lnTo>
                  <a:lnTo>
                    <a:pt x="0" y="213305"/>
                  </a:lnTo>
                  <a:lnTo>
                    <a:pt x="0" y="821223"/>
                  </a:lnTo>
                  <a:lnTo>
                    <a:pt x="262316" y="607918"/>
                  </a:lnTo>
                  <a:close/>
                </a:path>
              </a:pathLst>
            </a:custGeom>
            <a:solidFill>
              <a:srgbClr val="F59994"/>
            </a:solidFill>
            <a:ln w="1269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2C782FA3-5093-45E2-BFFF-532EB3228FCF}"/>
                </a:ext>
              </a:extLst>
            </p:cNvPr>
            <p:cNvSpPr/>
            <p:nvPr/>
          </p:nvSpPr>
          <p:spPr>
            <a:xfrm>
              <a:off x="893094" y="176864"/>
              <a:ext cx="3585583" cy="1694502"/>
            </a:xfrm>
            <a:custGeom>
              <a:avLst/>
              <a:gdLst>
                <a:gd name="connsiteX0" fmla="*/ 1734386 w 3585583"/>
                <a:gd name="connsiteY0" fmla="*/ 1135212 h 1694502"/>
                <a:gd name="connsiteX1" fmla="*/ 3585583 w 3585583"/>
                <a:gd name="connsiteY1" fmla="*/ 1694502 h 1694502"/>
                <a:gd name="connsiteX2" fmla="*/ 3585583 w 3585583"/>
                <a:gd name="connsiteY2" fmla="*/ 1083918 h 1694502"/>
                <a:gd name="connsiteX3" fmla="*/ 0 w 3585583"/>
                <a:gd name="connsiteY3" fmla="*/ 0 h 1694502"/>
                <a:gd name="connsiteX4" fmla="*/ 0 w 3585583"/>
                <a:gd name="connsiteY4" fmla="*/ 599031 h 1694502"/>
                <a:gd name="connsiteX5" fmla="*/ 1734386 w 3585583"/>
                <a:gd name="connsiteY5" fmla="*/ 1135212 h 1694502"/>
                <a:gd name="connsiteX6" fmla="*/ 1734386 w 3585583"/>
                <a:gd name="connsiteY6" fmla="*/ 1135212 h 16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583" h="1694502">
                  <a:moveTo>
                    <a:pt x="1734386" y="1135212"/>
                  </a:moveTo>
                  <a:lnTo>
                    <a:pt x="3585583" y="1694502"/>
                  </a:lnTo>
                  <a:lnTo>
                    <a:pt x="3585583" y="1083918"/>
                  </a:lnTo>
                  <a:lnTo>
                    <a:pt x="0" y="0"/>
                  </a:lnTo>
                  <a:lnTo>
                    <a:pt x="0" y="599031"/>
                  </a:lnTo>
                  <a:lnTo>
                    <a:pt x="1734386" y="1135212"/>
                  </a:lnTo>
                  <a:lnTo>
                    <a:pt x="1734386" y="1135212"/>
                  </a:lnTo>
                  <a:close/>
                </a:path>
              </a:pathLst>
            </a:custGeom>
            <a:solidFill>
              <a:schemeClr val="accent4"/>
            </a:solidFill>
            <a:ln w="1269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59B33DD2-5437-4831-B700-D9322300D06D}"/>
                </a:ext>
              </a:extLst>
            </p:cNvPr>
            <p:cNvSpPr/>
            <p:nvPr/>
          </p:nvSpPr>
          <p:spPr>
            <a:xfrm>
              <a:off x="898300" y="-1"/>
              <a:ext cx="3848280" cy="1251641"/>
            </a:xfrm>
            <a:custGeom>
              <a:avLst/>
              <a:gdLst>
                <a:gd name="connsiteX0" fmla="*/ 3584441 w 3848280"/>
                <a:gd name="connsiteY0" fmla="*/ 1251641 h 1251641"/>
                <a:gd name="connsiteX1" fmla="*/ 3848281 w 3848280"/>
                <a:gd name="connsiteY1" fmla="*/ 1037194 h 1251641"/>
                <a:gd name="connsiteX2" fmla="*/ 3159732 w 3848280"/>
                <a:gd name="connsiteY2" fmla="*/ 828968 h 1251641"/>
                <a:gd name="connsiteX3" fmla="*/ 3159732 w 3848280"/>
                <a:gd name="connsiteY3" fmla="*/ 828968 h 1251641"/>
                <a:gd name="connsiteX4" fmla="*/ 2740864 w 3848280"/>
                <a:gd name="connsiteY4" fmla="*/ 702509 h 1251641"/>
                <a:gd name="connsiteX5" fmla="*/ 2740864 w 3848280"/>
                <a:gd name="connsiteY5" fmla="*/ 702509 h 1251641"/>
                <a:gd name="connsiteX6" fmla="*/ 2593708 w 3848280"/>
                <a:gd name="connsiteY6" fmla="*/ 657943 h 1251641"/>
                <a:gd name="connsiteX7" fmla="*/ 1339515 w 3848280"/>
                <a:gd name="connsiteY7" fmla="*/ 278693 h 1251641"/>
                <a:gd name="connsiteX8" fmla="*/ 417726 w 3848280"/>
                <a:gd name="connsiteY8" fmla="*/ 0 h 1251641"/>
                <a:gd name="connsiteX9" fmla="*/ 206577 w 3848280"/>
                <a:gd name="connsiteY9" fmla="*/ 0 h 1251641"/>
                <a:gd name="connsiteX10" fmla="*/ 0 w 3848280"/>
                <a:gd name="connsiteY10" fmla="*/ 167977 h 1251641"/>
                <a:gd name="connsiteX11" fmla="*/ 3584441 w 3848280"/>
                <a:gd name="connsiteY11" fmla="*/ 1251641 h 125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48280" h="1251641">
                  <a:moveTo>
                    <a:pt x="3584441" y="1251641"/>
                  </a:moveTo>
                  <a:lnTo>
                    <a:pt x="3848281" y="1037194"/>
                  </a:lnTo>
                  <a:lnTo>
                    <a:pt x="3159732" y="828968"/>
                  </a:lnTo>
                  <a:lnTo>
                    <a:pt x="3159732" y="828968"/>
                  </a:lnTo>
                  <a:lnTo>
                    <a:pt x="2740864" y="702509"/>
                  </a:lnTo>
                  <a:lnTo>
                    <a:pt x="2740864" y="702509"/>
                  </a:lnTo>
                  <a:lnTo>
                    <a:pt x="2593708" y="657943"/>
                  </a:lnTo>
                  <a:lnTo>
                    <a:pt x="1339515" y="278693"/>
                  </a:lnTo>
                  <a:lnTo>
                    <a:pt x="417726" y="0"/>
                  </a:lnTo>
                  <a:lnTo>
                    <a:pt x="206577" y="0"/>
                  </a:lnTo>
                  <a:lnTo>
                    <a:pt x="0" y="167977"/>
                  </a:lnTo>
                  <a:lnTo>
                    <a:pt x="3584441" y="1251641"/>
                  </a:lnTo>
                  <a:close/>
                </a:path>
              </a:pathLst>
            </a:custGeom>
            <a:solidFill>
              <a:schemeClr val="accent2"/>
            </a:solidFill>
            <a:ln w="1269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13CFE724-0F78-4869-966B-049B20C10B76}"/>
                </a:ext>
              </a:extLst>
            </p:cNvPr>
            <p:cNvSpPr/>
            <p:nvPr/>
          </p:nvSpPr>
          <p:spPr>
            <a:xfrm>
              <a:off x="7764997" y="1699579"/>
              <a:ext cx="1953533" cy="877850"/>
            </a:xfrm>
            <a:custGeom>
              <a:avLst/>
              <a:gdLst>
                <a:gd name="connsiteX0" fmla="*/ 1176107 w 1953533"/>
                <a:gd name="connsiteY0" fmla="*/ 594968 h 877850"/>
                <a:gd name="connsiteX1" fmla="*/ 1176107 w 1953533"/>
                <a:gd name="connsiteY1" fmla="*/ 594968 h 877850"/>
                <a:gd name="connsiteX2" fmla="*/ 1176869 w 1953533"/>
                <a:gd name="connsiteY2" fmla="*/ 594968 h 877850"/>
                <a:gd name="connsiteX3" fmla="*/ 1177631 w 1953533"/>
                <a:gd name="connsiteY3" fmla="*/ 594968 h 877850"/>
                <a:gd name="connsiteX4" fmla="*/ 1177631 w 1953533"/>
                <a:gd name="connsiteY4" fmla="*/ 594968 h 877850"/>
                <a:gd name="connsiteX5" fmla="*/ 1177631 w 1953533"/>
                <a:gd name="connsiteY5" fmla="*/ 594968 h 877850"/>
                <a:gd name="connsiteX6" fmla="*/ 1177631 w 1953533"/>
                <a:gd name="connsiteY6" fmla="*/ 594968 h 877850"/>
                <a:gd name="connsiteX7" fmla="*/ 1177631 w 1953533"/>
                <a:gd name="connsiteY7" fmla="*/ 595729 h 877850"/>
                <a:gd name="connsiteX8" fmla="*/ 1177631 w 1953533"/>
                <a:gd name="connsiteY8" fmla="*/ 595729 h 877850"/>
                <a:gd name="connsiteX9" fmla="*/ 1177631 w 1953533"/>
                <a:gd name="connsiteY9" fmla="*/ 596618 h 877850"/>
                <a:gd name="connsiteX10" fmla="*/ 1177631 w 1953533"/>
                <a:gd name="connsiteY10" fmla="*/ 597380 h 877850"/>
                <a:gd name="connsiteX11" fmla="*/ 1177631 w 1953533"/>
                <a:gd name="connsiteY11" fmla="*/ 597380 h 877850"/>
                <a:gd name="connsiteX12" fmla="*/ 1177631 w 1953533"/>
                <a:gd name="connsiteY12" fmla="*/ 758120 h 877850"/>
                <a:gd name="connsiteX13" fmla="*/ 1569327 w 1953533"/>
                <a:gd name="connsiteY13" fmla="*/ 877850 h 877850"/>
                <a:gd name="connsiteX14" fmla="*/ 1694899 w 1953533"/>
                <a:gd name="connsiteY14" fmla="*/ 776277 h 877850"/>
                <a:gd name="connsiteX15" fmla="*/ 1694899 w 1953533"/>
                <a:gd name="connsiteY15" fmla="*/ 776277 h 877850"/>
                <a:gd name="connsiteX16" fmla="*/ 1695915 w 1953533"/>
                <a:gd name="connsiteY16" fmla="*/ 776277 h 877850"/>
                <a:gd name="connsiteX17" fmla="*/ 1696804 w 1953533"/>
                <a:gd name="connsiteY17" fmla="*/ 776277 h 877850"/>
                <a:gd name="connsiteX18" fmla="*/ 1699597 w 1953533"/>
                <a:gd name="connsiteY18" fmla="*/ 776277 h 877850"/>
                <a:gd name="connsiteX19" fmla="*/ 1953533 w 1953533"/>
                <a:gd name="connsiteY19" fmla="*/ 853219 h 877850"/>
                <a:gd name="connsiteX20" fmla="*/ 1953533 w 1953533"/>
                <a:gd name="connsiteY20" fmla="*/ 590651 h 877850"/>
                <a:gd name="connsiteX21" fmla="*/ 0 w 1953533"/>
                <a:gd name="connsiteY21" fmla="*/ 0 h 877850"/>
                <a:gd name="connsiteX22" fmla="*/ 0 w 1953533"/>
                <a:gd name="connsiteY22" fmla="*/ 239587 h 877850"/>
                <a:gd name="connsiteX23" fmla="*/ 1175853 w 1953533"/>
                <a:gd name="connsiteY23" fmla="*/ 595095 h 8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3533" h="877850">
                  <a:moveTo>
                    <a:pt x="1176107" y="594968"/>
                  </a:moveTo>
                  <a:lnTo>
                    <a:pt x="1176107" y="594968"/>
                  </a:lnTo>
                  <a:lnTo>
                    <a:pt x="1176869" y="594968"/>
                  </a:lnTo>
                  <a:lnTo>
                    <a:pt x="1177631" y="594968"/>
                  </a:lnTo>
                  <a:lnTo>
                    <a:pt x="1177631" y="594968"/>
                  </a:lnTo>
                  <a:lnTo>
                    <a:pt x="1177631" y="594968"/>
                  </a:lnTo>
                  <a:lnTo>
                    <a:pt x="1177631" y="594968"/>
                  </a:lnTo>
                  <a:lnTo>
                    <a:pt x="1177631" y="595729"/>
                  </a:lnTo>
                  <a:lnTo>
                    <a:pt x="1177631" y="595729"/>
                  </a:lnTo>
                  <a:cubicBezTo>
                    <a:pt x="1177631" y="595729"/>
                    <a:pt x="1177631" y="596364"/>
                    <a:pt x="1177631" y="596618"/>
                  </a:cubicBezTo>
                  <a:cubicBezTo>
                    <a:pt x="1177631" y="596872"/>
                    <a:pt x="1177631" y="596618"/>
                    <a:pt x="1177631" y="597380"/>
                  </a:cubicBezTo>
                  <a:lnTo>
                    <a:pt x="1177631" y="597380"/>
                  </a:lnTo>
                  <a:lnTo>
                    <a:pt x="1177631" y="758120"/>
                  </a:lnTo>
                  <a:lnTo>
                    <a:pt x="1569327" y="877850"/>
                  </a:lnTo>
                  <a:lnTo>
                    <a:pt x="1694899" y="776277"/>
                  </a:lnTo>
                  <a:lnTo>
                    <a:pt x="1694899" y="776277"/>
                  </a:lnTo>
                  <a:lnTo>
                    <a:pt x="1695915" y="776277"/>
                  </a:lnTo>
                  <a:lnTo>
                    <a:pt x="1696804" y="776277"/>
                  </a:lnTo>
                  <a:lnTo>
                    <a:pt x="1699597" y="776277"/>
                  </a:lnTo>
                  <a:lnTo>
                    <a:pt x="1953533" y="853219"/>
                  </a:lnTo>
                  <a:lnTo>
                    <a:pt x="1953533" y="590651"/>
                  </a:lnTo>
                  <a:lnTo>
                    <a:pt x="0" y="0"/>
                  </a:lnTo>
                  <a:lnTo>
                    <a:pt x="0" y="239587"/>
                  </a:lnTo>
                  <a:lnTo>
                    <a:pt x="1175853" y="595095"/>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2150121-89D0-4AC9-8F16-FA142C7D4304}"/>
                </a:ext>
              </a:extLst>
            </p:cNvPr>
            <p:cNvSpPr/>
            <p:nvPr/>
          </p:nvSpPr>
          <p:spPr>
            <a:xfrm>
              <a:off x="9730465" y="2028170"/>
              <a:ext cx="320976" cy="560686"/>
            </a:xfrm>
            <a:custGeom>
              <a:avLst/>
              <a:gdLst>
                <a:gd name="connsiteX0" fmla="*/ 111986 w 320976"/>
                <a:gd name="connsiteY0" fmla="*/ 560686 h 560686"/>
                <a:gd name="connsiteX1" fmla="*/ 320976 w 320976"/>
                <a:gd name="connsiteY1" fmla="*/ 390677 h 560686"/>
                <a:gd name="connsiteX2" fmla="*/ 320976 w 320976"/>
                <a:gd name="connsiteY2" fmla="*/ 0 h 560686"/>
                <a:gd name="connsiteX3" fmla="*/ 0 w 320976"/>
                <a:gd name="connsiteY3" fmla="*/ 260663 h 560686"/>
                <a:gd name="connsiteX4" fmla="*/ 0 w 320976"/>
                <a:gd name="connsiteY4" fmla="*/ 526913 h 560686"/>
                <a:gd name="connsiteX5" fmla="*/ 111986 w 320976"/>
                <a:gd name="connsiteY5" fmla="*/ 560686 h 56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976" h="560686">
                  <a:moveTo>
                    <a:pt x="111986" y="560686"/>
                  </a:moveTo>
                  <a:lnTo>
                    <a:pt x="320976" y="390677"/>
                  </a:lnTo>
                  <a:lnTo>
                    <a:pt x="320976" y="0"/>
                  </a:lnTo>
                  <a:lnTo>
                    <a:pt x="0" y="260663"/>
                  </a:lnTo>
                  <a:lnTo>
                    <a:pt x="0" y="526913"/>
                  </a:lnTo>
                  <a:lnTo>
                    <a:pt x="111986" y="560686"/>
                  </a:lnTo>
                  <a:close/>
                </a:path>
              </a:pathLst>
            </a:custGeom>
            <a:solidFill>
              <a:schemeClr val="accent4"/>
            </a:solidFill>
            <a:ln w="1269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D352C1A-4000-4100-8835-75B8B1C23C3E}"/>
                </a:ext>
              </a:extLst>
            </p:cNvPr>
            <p:cNvSpPr/>
            <p:nvPr/>
          </p:nvSpPr>
          <p:spPr>
            <a:xfrm>
              <a:off x="7769313" y="1415935"/>
              <a:ext cx="2277048" cy="865153"/>
            </a:xfrm>
            <a:custGeom>
              <a:avLst/>
              <a:gdLst>
                <a:gd name="connsiteX0" fmla="*/ 2277049 w 2277048"/>
                <a:gd name="connsiteY0" fmla="*/ 603220 h 865153"/>
                <a:gd name="connsiteX1" fmla="*/ 281489 w 2277048"/>
                <a:gd name="connsiteY1" fmla="*/ 0 h 865153"/>
                <a:gd name="connsiteX2" fmla="*/ 0 w 2277048"/>
                <a:gd name="connsiteY2" fmla="*/ 274503 h 865153"/>
                <a:gd name="connsiteX3" fmla="*/ 1954549 w 2277048"/>
                <a:gd name="connsiteY3" fmla="*/ 865154 h 865153"/>
                <a:gd name="connsiteX4" fmla="*/ 2277049 w 2277048"/>
                <a:gd name="connsiteY4" fmla="*/ 603220 h 865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048" h="865153">
                  <a:moveTo>
                    <a:pt x="2277049" y="603220"/>
                  </a:moveTo>
                  <a:lnTo>
                    <a:pt x="281489" y="0"/>
                  </a:lnTo>
                  <a:lnTo>
                    <a:pt x="0" y="274503"/>
                  </a:lnTo>
                  <a:lnTo>
                    <a:pt x="1954549" y="865154"/>
                  </a:lnTo>
                  <a:lnTo>
                    <a:pt x="2277049" y="603220"/>
                  </a:lnTo>
                  <a:close/>
                </a:path>
              </a:pathLst>
            </a:custGeom>
            <a:solidFill>
              <a:schemeClr val="accent4"/>
            </a:solidFill>
            <a:ln w="1269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AE48A8A-0D1F-4DE4-B1FB-95599D960B15}"/>
                </a:ext>
              </a:extLst>
            </p:cNvPr>
            <p:cNvSpPr/>
            <p:nvPr/>
          </p:nvSpPr>
          <p:spPr>
            <a:xfrm>
              <a:off x="7809943" y="2915670"/>
              <a:ext cx="28187" cy="216732"/>
            </a:xfrm>
            <a:custGeom>
              <a:avLst/>
              <a:gdLst>
                <a:gd name="connsiteX0" fmla="*/ 28187 w 28187"/>
                <a:gd name="connsiteY0" fmla="*/ 193625 h 216732"/>
                <a:gd name="connsiteX1" fmla="*/ 28187 w 28187"/>
                <a:gd name="connsiteY1" fmla="*/ 0 h 216732"/>
                <a:gd name="connsiteX2" fmla="*/ 0 w 28187"/>
                <a:gd name="connsiteY2" fmla="*/ 22854 h 216732"/>
                <a:gd name="connsiteX3" fmla="*/ 0 w 28187"/>
                <a:gd name="connsiteY3" fmla="*/ 216733 h 216732"/>
                <a:gd name="connsiteX4" fmla="*/ 28187 w 28187"/>
                <a:gd name="connsiteY4" fmla="*/ 193625 h 2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87" h="216732">
                  <a:moveTo>
                    <a:pt x="28187" y="193625"/>
                  </a:moveTo>
                  <a:lnTo>
                    <a:pt x="28187" y="0"/>
                  </a:lnTo>
                  <a:lnTo>
                    <a:pt x="0" y="22854"/>
                  </a:lnTo>
                  <a:lnTo>
                    <a:pt x="0" y="216733"/>
                  </a:lnTo>
                  <a:lnTo>
                    <a:pt x="28187" y="193625"/>
                  </a:lnTo>
                  <a:close/>
                </a:path>
              </a:pathLst>
            </a:custGeom>
            <a:solidFill>
              <a:srgbClr val="F49838"/>
            </a:solidFill>
            <a:ln w="1269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D63A8FDD-A0EC-4115-92B1-9CCC7402F490}"/>
                </a:ext>
              </a:extLst>
            </p:cNvPr>
            <p:cNvSpPr/>
            <p:nvPr/>
          </p:nvSpPr>
          <p:spPr>
            <a:xfrm>
              <a:off x="7575814" y="2947285"/>
              <a:ext cx="223337" cy="229683"/>
            </a:xfrm>
            <a:custGeom>
              <a:avLst/>
              <a:gdLst>
                <a:gd name="connsiteX0" fmla="*/ 223338 w 223337"/>
                <a:gd name="connsiteY0" fmla="*/ 0 h 229683"/>
                <a:gd name="connsiteX1" fmla="*/ 0 w 223337"/>
                <a:gd name="connsiteY1" fmla="*/ 181690 h 229683"/>
                <a:gd name="connsiteX2" fmla="*/ 0 w 223337"/>
                <a:gd name="connsiteY2" fmla="*/ 211400 h 229683"/>
                <a:gd name="connsiteX3" fmla="*/ 179279 w 223337"/>
                <a:gd name="connsiteY3" fmla="*/ 229683 h 229683"/>
                <a:gd name="connsiteX4" fmla="*/ 223338 w 223337"/>
                <a:gd name="connsiteY4" fmla="*/ 194006 h 229683"/>
                <a:gd name="connsiteX5" fmla="*/ 223338 w 223337"/>
                <a:gd name="connsiteY5" fmla="*/ 0 h 22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337" h="229683">
                  <a:moveTo>
                    <a:pt x="223338" y="0"/>
                  </a:moveTo>
                  <a:lnTo>
                    <a:pt x="0" y="181690"/>
                  </a:lnTo>
                  <a:lnTo>
                    <a:pt x="0" y="211400"/>
                  </a:lnTo>
                  <a:lnTo>
                    <a:pt x="179279" y="229683"/>
                  </a:lnTo>
                  <a:lnTo>
                    <a:pt x="223338" y="194006"/>
                  </a:lnTo>
                  <a:lnTo>
                    <a:pt x="223338" y="0"/>
                  </a:lnTo>
                  <a:close/>
                </a:path>
              </a:pathLst>
            </a:custGeom>
            <a:solidFill>
              <a:schemeClr val="accent2"/>
            </a:solidFill>
            <a:ln w="1269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3B0B500-5E50-446D-9425-D2FC54804D65}"/>
                </a:ext>
              </a:extLst>
            </p:cNvPr>
            <p:cNvSpPr/>
            <p:nvPr/>
          </p:nvSpPr>
          <p:spPr>
            <a:xfrm>
              <a:off x="7398440" y="2808383"/>
              <a:ext cx="433850" cy="122396"/>
            </a:xfrm>
            <a:custGeom>
              <a:avLst/>
              <a:gdLst>
                <a:gd name="connsiteX0" fmla="*/ 433850 w 433850"/>
                <a:gd name="connsiteY0" fmla="*/ 98907 h 122396"/>
                <a:gd name="connsiteX1" fmla="*/ 0 w 433850"/>
                <a:gd name="connsiteY1" fmla="*/ 0 h 122396"/>
                <a:gd name="connsiteX2" fmla="*/ 404902 w 433850"/>
                <a:gd name="connsiteY2" fmla="*/ 122396 h 122396"/>
                <a:gd name="connsiteX3" fmla="*/ 433850 w 433850"/>
                <a:gd name="connsiteY3" fmla="*/ 98907 h 122396"/>
              </a:gdLst>
              <a:ahLst/>
              <a:cxnLst>
                <a:cxn ang="0">
                  <a:pos x="connsiteX0" y="connsiteY0"/>
                </a:cxn>
                <a:cxn ang="0">
                  <a:pos x="connsiteX1" y="connsiteY1"/>
                </a:cxn>
                <a:cxn ang="0">
                  <a:pos x="connsiteX2" y="connsiteY2"/>
                </a:cxn>
                <a:cxn ang="0">
                  <a:pos x="connsiteX3" y="connsiteY3"/>
                </a:cxn>
              </a:cxnLst>
              <a:rect l="l" t="t" r="r" b="b"/>
              <a:pathLst>
                <a:path w="433850" h="122396">
                  <a:moveTo>
                    <a:pt x="433850" y="98907"/>
                  </a:moveTo>
                  <a:lnTo>
                    <a:pt x="0" y="0"/>
                  </a:lnTo>
                  <a:lnTo>
                    <a:pt x="404902" y="122396"/>
                  </a:lnTo>
                  <a:lnTo>
                    <a:pt x="433850" y="98907"/>
                  </a:lnTo>
                  <a:close/>
                </a:path>
              </a:pathLst>
            </a:custGeom>
            <a:solidFill>
              <a:srgbClr val="C5E3E3"/>
            </a:solidFill>
            <a:ln w="1269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73DF05FA-63E1-425C-87D2-A0B475C37243}"/>
                </a:ext>
              </a:extLst>
            </p:cNvPr>
            <p:cNvSpPr/>
            <p:nvPr/>
          </p:nvSpPr>
          <p:spPr>
            <a:xfrm>
              <a:off x="7058545" y="2777784"/>
              <a:ext cx="735526" cy="343572"/>
            </a:xfrm>
            <a:custGeom>
              <a:avLst/>
              <a:gdLst>
                <a:gd name="connsiteX0" fmla="*/ 735527 w 735526"/>
                <a:gd name="connsiteY0" fmla="*/ 160486 h 343572"/>
                <a:gd name="connsiteX1" fmla="*/ 204165 w 735526"/>
                <a:gd name="connsiteY1" fmla="*/ 0 h 343572"/>
                <a:gd name="connsiteX2" fmla="*/ 0 w 735526"/>
                <a:gd name="connsiteY2" fmla="*/ 210511 h 343572"/>
                <a:gd name="connsiteX3" fmla="*/ 510413 w 735526"/>
                <a:gd name="connsiteY3" fmla="*/ 343573 h 343572"/>
                <a:gd name="connsiteX4" fmla="*/ 735527 w 735526"/>
                <a:gd name="connsiteY4" fmla="*/ 160486 h 343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526" h="343572">
                  <a:moveTo>
                    <a:pt x="735527" y="160486"/>
                  </a:moveTo>
                  <a:lnTo>
                    <a:pt x="204165" y="0"/>
                  </a:lnTo>
                  <a:lnTo>
                    <a:pt x="0" y="210511"/>
                  </a:lnTo>
                  <a:lnTo>
                    <a:pt x="510413" y="343573"/>
                  </a:lnTo>
                  <a:lnTo>
                    <a:pt x="735527" y="160486"/>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7233227F-3FCC-4B16-B257-073FA0B30118}"/>
                </a:ext>
              </a:extLst>
            </p:cNvPr>
            <p:cNvSpPr/>
            <p:nvPr/>
          </p:nvSpPr>
          <p:spPr>
            <a:xfrm>
              <a:off x="5054606" y="505454"/>
              <a:ext cx="352590" cy="381281"/>
            </a:xfrm>
            <a:custGeom>
              <a:avLst/>
              <a:gdLst>
                <a:gd name="connsiteX0" fmla="*/ 116684 w 352590"/>
                <a:gd name="connsiteY0" fmla="*/ 323766 h 381281"/>
                <a:gd name="connsiteX1" fmla="*/ 116684 w 352590"/>
                <a:gd name="connsiteY1" fmla="*/ 323766 h 381281"/>
                <a:gd name="connsiteX2" fmla="*/ 117319 w 352590"/>
                <a:gd name="connsiteY2" fmla="*/ 323766 h 381281"/>
                <a:gd name="connsiteX3" fmla="*/ 118207 w 352590"/>
                <a:gd name="connsiteY3" fmla="*/ 323766 h 381281"/>
                <a:gd name="connsiteX4" fmla="*/ 118207 w 352590"/>
                <a:gd name="connsiteY4" fmla="*/ 323766 h 381281"/>
                <a:gd name="connsiteX5" fmla="*/ 118207 w 352590"/>
                <a:gd name="connsiteY5" fmla="*/ 323766 h 381281"/>
                <a:gd name="connsiteX6" fmla="*/ 118207 w 352590"/>
                <a:gd name="connsiteY6" fmla="*/ 323766 h 381281"/>
                <a:gd name="connsiteX7" fmla="*/ 118207 w 352590"/>
                <a:gd name="connsiteY7" fmla="*/ 324401 h 381281"/>
                <a:gd name="connsiteX8" fmla="*/ 118207 w 352590"/>
                <a:gd name="connsiteY8" fmla="*/ 324401 h 381281"/>
                <a:gd name="connsiteX9" fmla="*/ 118207 w 352590"/>
                <a:gd name="connsiteY9" fmla="*/ 324401 h 381281"/>
                <a:gd name="connsiteX10" fmla="*/ 118207 w 352590"/>
                <a:gd name="connsiteY10" fmla="*/ 325290 h 381281"/>
                <a:gd name="connsiteX11" fmla="*/ 118207 w 352590"/>
                <a:gd name="connsiteY11" fmla="*/ 325290 h 381281"/>
                <a:gd name="connsiteX12" fmla="*/ 118207 w 352590"/>
                <a:gd name="connsiteY12" fmla="*/ 381282 h 381281"/>
                <a:gd name="connsiteX13" fmla="*/ 352591 w 352590"/>
                <a:gd name="connsiteY13" fmla="*/ 190831 h 381281"/>
                <a:gd name="connsiteX14" fmla="*/ 352591 w 352590"/>
                <a:gd name="connsiteY14" fmla="*/ 0 h 381281"/>
                <a:gd name="connsiteX15" fmla="*/ 0 w 352590"/>
                <a:gd name="connsiteY15" fmla="*/ 288596 h 38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590" h="381281">
                  <a:moveTo>
                    <a:pt x="116684" y="323766"/>
                  </a:moveTo>
                  <a:lnTo>
                    <a:pt x="116684" y="323766"/>
                  </a:lnTo>
                  <a:cubicBezTo>
                    <a:pt x="116887" y="323713"/>
                    <a:pt x="117116" y="323713"/>
                    <a:pt x="117319" y="323766"/>
                  </a:cubicBezTo>
                  <a:lnTo>
                    <a:pt x="118207" y="323766"/>
                  </a:lnTo>
                  <a:lnTo>
                    <a:pt x="118207" y="323766"/>
                  </a:lnTo>
                  <a:lnTo>
                    <a:pt x="118207" y="323766"/>
                  </a:lnTo>
                  <a:cubicBezTo>
                    <a:pt x="118207" y="323766"/>
                    <a:pt x="118207" y="323766"/>
                    <a:pt x="118207" y="323766"/>
                  </a:cubicBezTo>
                  <a:lnTo>
                    <a:pt x="118207" y="324401"/>
                  </a:lnTo>
                  <a:lnTo>
                    <a:pt x="118207" y="324401"/>
                  </a:lnTo>
                  <a:cubicBezTo>
                    <a:pt x="118207" y="324401"/>
                    <a:pt x="118207" y="324401"/>
                    <a:pt x="118207" y="324401"/>
                  </a:cubicBezTo>
                  <a:cubicBezTo>
                    <a:pt x="118207" y="324401"/>
                    <a:pt x="118207" y="324401"/>
                    <a:pt x="118207" y="325290"/>
                  </a:cubicBezTo>
                  <a:lnTo>
                    <a:pt x="118207" y="325290"/>
                  </a:lnTo>
                  <a:lnTo>
                    <a:pt x="118207" y="381282"/>
                  </a:lnTo>
                  <a:lnTo>
                    <a:pt x="352591" y="190831"/>
                  </a:lnTo>
                  <a:lnTo>
                    <a:pt x="352591" y="0"/>
                  </a:lnTo>
                  <a:lnTo>
                    <a:pt x="0" y="288596"/>
                  </a:lnTo>
                  <a:close/>
                </a:path>
              </a:pathLst>
            </a:custGeom>
            <a:solidFill>
              <a:srgbClr val="C6E3D1"/>
            </a:solidFill>
            <a:ln w="1269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B058CE51-253C-4EE0-BC37-C552FE79F6AF}"/>
                </a:ext>
              </a:extLst>
            </p:cNvPr>
            <p:cNvSpPr/>
            <p:nvPr/>
          </p:nvSpPr>
          <p:spPr>
            <a:xfrm>
              <a:off x="4882183" y="844837"/>
              <a:ext cx="280854" cy="423054"/>
            </a:xfrm>
            <a:custGeom>
              <a:avLst/>
              <a:gdLst>
                <a:gd name="connsiteX0" fmla="*/ 0 w 280854"/>
                <a:gd name="connsiteY0" fmla="*/ 229049 h 423054"/>
                <a:gd name="connsiteX1" fmla="*/ 0 w 280854"/>
                <a:gd name="connsiteY1" fmla="*/ 423054 h 423054"/>
                <a:gd name="connsiteX2" fmla="*/ 167471 w 280854"/>
                <a:gd name="connsiteY2" fmla="*/ 286692 h 423054"/>
                <a:gd name="connsiteX3" fmla="*/ 167471 w 280854"/>
                <a:gd name="connsiteY3" fmla="*/ 231842 h 423054"/>
                <a:gd name="connsiteX4" fmla="*/ 167471 w 280854"/>
                <a:gd name="connsiteY4" fmla="*/ 231842 h 423054"/>
                <a:gd name="connsiteX5" fmla="*/ 167471 w 280854"/>
                <a:gd name="connsiteY5" fmla="*/ 231080 h 423054"/>
                <a:gd name="connsiteX6" fmla="*/ 167471 w 280854"/>
                <a:gd name="connsiteY6" fmla="*/ 231080 h 423054"/>
                <a:gd name="connsiteX7" fmla="*/ 167471 w 280854"/>
                <a:gd name="connsiteY7" fmla="*/ 231080 h 423054"/>
                <a:gd name="connsiteX8" fmla="*/ 167471 w 280854"/>
                <a:gd name="connsiteY8" fmla="*/ 231080 h 423054"/>
                <a:gd name="connsiteX9" fmla="*/ 167471 w 280854"/>
                <a:gd name="connsiteY9" fmla="*/ 230445 h 423054"/>
                <a:gd name="connsiteX10" fmla="*/ 168106 w 280854"/>
                <a:gd name="connsiteY10" fmla="*/ 229683 h 423054"/>
                <a:gd name="connsiteX11" fmla="*/ 168106 w 280854"/>
                <a:gd name="connsiteY11" fmla="*/ 229683 h 423054"/>
                <a:gd name="connsiteX12" fmla="*/ 280854 w 280854"/>
                <a:gd name="connsiteY12" fmla="*/ 138394 h 423054"/>
                <a:gd name="connsiteX13" fmla="*/ 280854 w 280854"/>
                <a:gd name="connsiteY13" fmla="*/ 0 h 42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854" h="423054">
                  <a:moveTo>
                    <a:pt x="0" y="229049"/>
                  </a:moveTo>
                  <a:lnTo>
                    <a:pt x="0" y="423054"/>
                  </a:lnTo>
                  <a:lnTo>
                    <a:pt x="167471" y="286692"/>
                  </a:lnTo>
                  <a:lnTo>
                    <a:pt x="167471" y="231842"/>
                  </a:lnTo>
                  <a:lnTo>
                    <a:pt x="167471" y="231842"/>
                  </a:lnTo>
                  <a:cubicBezTo>
                    <a:pt x="167471" y="231842"/>
                    <a:pt x="167471" y="231842"/>
                    <a:pt x="167471" y="231080"/>
                  </a:cubicBezTo>
                  <a:cubicBezTo>
                    <a:pt x="167471" y="230318"/>
                    <a:pt x="167471" y="231080"/>
                    <a:pt x="167471" y="231080"/>
                  </a:cubicBezTo>
                  <a:lnTo>
                    <a:pt x="167471" y="231080"/>
                  </a:lnTo>
                  <a:lnTo>
                    <a:pt x="167471" y="231080"/>
                  </a:lnTo>
                  <a:lnTo>
                    <a:pt x="167471" y="230445"/>
                  </a:lnTo>
                  <a:lnTo>
                    <a:pt x="168106" y="229683"/>
                  </a:lnTo>
                  <a:lnTo>
                    <a:pt x="168106" y="229683"/>
                  </a:lnTo>
                  <a:lnTo>
                    <a:pt x="280854" y="138394"/>
                  </a:lnTo>
                  <a:lnTo>
                    <a:pt x="280854" y="0"/>
                  </a:lnTo>
                  <a:close/>
                </a:path>
              </a:pathLst>
            </a:custGeom>
            <a:solidFill>
              <a:srgbClr val="F59994"/>
            </a:solidFill>
            <a:ln w="1269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BB04D98B-D5E0-4EAD-A698-302F023F5FB4}"/>
                </a:ext>
              </a:extLst>
            </p:cNvPr>
            <p:cNvSpPr/>
            <p:nvPr/>
          </p:nvSpPr>
          <p:spPr>
            <a:xfrm>
              <a:off x="4762579" y="1039351"/>
              <a:ext cx="108811" cy="232476"/>
            </a:xfrm>
            <a:custGeom>
              <a:avLst/>
              <a:gdLst>
                <a:gd name="connsiteX0" fmla="*/ 108812 w 108811"/>
                <a:gd name="connsiteY0" fmla="*/ 232477 h 232476"/>
                <a:gd name="connsiteX1" fmla="*/ 108812 w 108811"/>
                <a:gd name="connsiteY1" fmla="*/ 35805 h 232476"/>
                <a:gd name="connsiteX2" fmla="*/ 0 w 108811"/>
                <a:gd name="connsiteY2" fmla="*/ 0 h 232476"/>
                <a:gd name="connsiteX3" fmla="*/ 0 w 108811"/>
                <a:gd name="connsiteY3" fmla="*/ 196545 h 232476"/>
                <a:gd name="connsiteX4" fmla="*/ 108812 w 108811"/>
                <a:gd name="connsiteY4" fmla="*/ 232477 h 23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11" h="232476">
                  <a:moveTo>
                    <a:pt x="108812" y="232477"/>
                  </a:moveTo>
                  <a:lnTo>
                    <a:pt x="108812" y="35805"/>
                  </a:lnTo>
                  <a:lnTo>
                    <a:pt x="0" y="0"/>
                  </a:lnTo>
                  <a:lnTo>
                    <a:pt x="0" y="196545"/>
                  </a:lnTo>
                  <a:lnTo>
                    <a:pt x="108812" y="232477"/>
                  </a:lnTo>
                  <a:close/>
                </a:path>
              </a:pathLst>
            </a:custGeom>
            <a:solidFill>
              <a:schemeClr val="accent1">
                <a:lumMod val="75000"/>
              </a:schemeClr>
            </a:solidFill>
            <a:ln w="1269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0FD4389-9DF3-437D-82D7-DFE84AFC39F3}"/>
                </a:ext>
              </a:extLst>
            </p:cNvPr>
            <p:cNvSpPr/>
            <p:nvPr/>
          </p:nvSpPr>
          <p:spPr>
            <a:xfrm>
              <a:off x="4070475" y="254060"/>
              <a:ext cx="1334690" cy="812462"/>
            </a:xfrm>
            <a:custGeom>
              <a:avLst/>
              <a:gdLst>
                <a:gd name="connsiteX0" fmla="*/ 971815 w 1334690"/>
                <a:gd name="connsiteY0" fmla="*/ 546593 h 812462"/>
                <a:gd name="connsiteX1" fmla="*/ 971815 w 1334690"/>
                <a:gd name="connsiteY1" fmla="*/ 546593 h 812462"/>
                <a:gd name="connsiteX2" fmla="*/ 970926 w 1334690"/>
                <a:gd name="connsiteY2" fmla="*/ 546593 h 812462"/>
                <a:gd name="connsiteX3" fmla="*/ 970164 w 1334690"/>
                <a:gd name="connsiteY3" fmla="*/ 545831 h 812462"/>
                <a:gd name="connsiteX4" fmla="*/ 970164 w 1334690"/>
                <a:gd name="connsiteY4" fmla="*/ 545831 h 812462"/>
                <a:gd name="connsiteX5" fmla="*/ 970164 w 1334690"/>
                <a:gd name="connsiteY5" fmla="*/ 545831 h 812462"/>
                <a:gd name="connsiteX6" fmla="*/ 970164 w 1334690"/>
                <a:gd name="connsiteY6" fmla="*/ 544943 h 812462"/>
                <a:gd name="connsiteX7" fmla="*/ 970164 w 1334690"/>
                <a:gd name="connsiteY7" fmla="*/ 544054 h 812462"/>
                <a:gd name="connsiteX8" fmla="*/ 970164 w 1334690"/>
                <a:gd name="connsiteY8" fmla="*/ 543165 h 812462"/>
                <a:gd name="connsiteX9" fmla="*/ 970164 w 1334690"/>
                <a:gd name="connsiteY9" fmla="*/ 542149 h 812462"/>
                <a:gd name="connsiteX10" fmla="*/ 970164 w 1334690"/>
                <a:gd name="connsiteY10" fmla="*/ 542149 h 812462"/>
                <a:gd name="connsiteX11" fmla="*/ 970164 w 1334690"/>
                <a:gd name="connsiteY11" fmla="*/ 542149 h 812462"/>
                <a:gd name="connsiteX12" fmla="*/ 970164 w 1334690"/>
                <a:gd name="connsiteY12" fmla="*/ 541261 h 812462"/>
                <a:gd name="connsiteX13" fmla="*/ 970799 w 1334690"/>
                <a:gd name="connsiteY13" fmla="*/ 540499 h 812462"/>
                <a:gd name="connsiteX14" fmla="*/ 970799 w 1334690"/>
                <a:gd name="connsiteY14" fmla="*/ 540499 h 812462"/>
                <a:gd name="connsiteX15" fmla="*/ 1334690 w 1334690"/>
                <a:gd name="connsiteY15" fmla="*/ 244665 h 812462"/>
                <a:gd name="connsiteX16" fmla="*/ 1025396 w 1334690"/>
                <a:gd name="connsiteY16" fmla="*/ 151218 h 812462"/>
                <a:gd name="connsiteX17" fmla="*/ 1025396 w 1334690"/>
                <a:gd name="connsiteY17" fmla="*/ 151218 h 812462"/>
                <a:gd name="connsiteX18" fmla="*/ 966736 w 1334690"/>
                <a:gd name="connsiteY18" fmla="*/ 133315 h 812462"/>
                <a:gd name="connsiteX19" fmla="*/ 966736 w 1334690"/>
                <a:gd name="connsiteY19" fmla="*/ 133315 h 812462"/>
                <a:gd name="connsiteX20" fmla="*/ 965848 w 1334690"/>
                <a:gd name="connsiteY20" fmla="*/ 133315 h 812462"/>
                <a:gd name="connsiteX21" fmla="*/ 964832 w 1334690"/>
                <a:gd name="connsiteY21" fmla="*/ 132681 h 812462"/>
                <a:gd name="connsiteX22" fmla="*/ 964832 w 1334690"/>
                <a:gd name="connsiteY22" fmla="*/ 132681 h 812462"/>
                <a:gd name="connsiteX23" fmla="*/ 964832 w 1334690"/>
                <a:gd name="connsiteY23" fmla="*/ 132681 h 812462"/>
                <a:gd name="connsiteX24" fmla="*/ 964832 w 1334690"/>
                <a:gd name="connsiteY24" fmla="*/ 131792 h 812462"/>
                <a:gd name="connsiteX25" fmla="*/ 964832 w 1334690"/>
                <a:gd name="connsiteY25" fmla="*/ 130903 h 812462"/>
                <a:gd name="connsiteX26" fmla="*/ 964832 w 1334690"/>
                <a:gd name="connsiteY26" fmla="*/ 130014 h 812462"/>
                <a:gd name="connsiteX27" fmla="*/ 964832 w 1334690"/>
                <a:gd name="connsiteY27" fmla="*/ 128999 h 812462"/>
                <a:gd name="connsiteX28" fmla="*/ 964832 w 1334690"/>
                <a:gd name="connsiteY28" fmla="*/ 128364 h 812462"/>
                <a:gd name="connsiteX29" fmla="*/ 964832 w 1334690"/>
                <a:gd name="connsiteY29" fmla="*/ 128364 h 812462"/>
                <a:gd name="connsiteX30" fmla="*/ 964832 w 1334690"/>
                <a:gd name="connsiteY30" fmla="*/ 127475 h 812462"/>
                <a:gd name="connsiteX31" fmla="*/ 965467 w 1334690"/>
                <a:gd name="connsiteY31" fmla="*/ 126840 h 812462"/>
                <a:gd name="connsiteX32" fmla="*/ 965467 w 1334690"/>
                <a:gd name="connsiteY32" fmla="*/ 126840 h 812462"/>
                <a:gd name="connsiteX33" fmla="*/ 1017016 w 1334690"/>
                <a:gd name="connsiteY33" fmla="*/ 85068 h 812462"/>
                <a:gd name="connsiteX34" fmla="*/ 735908 w 1334690"/>
                <a:gd name="connsiteY34" fmla="*/ 0 h 812462"/>
                <a:gd name="connsiteX35" fmla="*/ 0 w 1334690"/>
                <a:gd name="connsiteY35" fmla="*/ 547355 h 812462"/>
                <a:gd name="connsiteX36" fmla="*/ 805106 w 1334690"/>
                <a:gd name="connsiteY36" fmla="*/ 812462 h 812462"/>
                <a:gd name="connsiteX37" fmla="*/ 1088626 w 1334690"/>
                <a:gd name="connsiteY37" fmla="*/ 582144 h 81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4690" h="812462">
                  <a:moveTo>
                    <a:pt x="971815" y="546593"/>
                  </a:moveTo>
                  <a:lnTo>
                    <a:pt x="971815" y="546593"/>
                  </a:lnTo>
                  <a:lnTo>
                    <a:pt x="970926" y="546593"/>
                  </a:lnTo>
                  <a:lnTo>
                    <a:pt x="970164" y="545831"/>
                  </a:lnTo>
                  <a:lnTo>
                    <a:pt x="970164" y="545831"/>
                  </a:lnTo>
                  <a:lnTo>
                    <a:pt x="970164" y="545831"/>
                  </a:lnTo>
                  <a:cubicBezTo>
                    <a:pt x="970139" y="545536"/>
                    <a:pt x="970139" y="545238"/>
                    <a:pt x="970164" y="544943"/>
                  </a:cubicBezTo>
                  <a:cubicBezTo>
                    <a:pt x="970114" y="544649"/>
                    <a:pt x="970114" y="544347"/>
                    <a:pt x="970164" y="544054"/>
                  </a:cubicBezTo>
                  <a:cubicBezTo>
                    <a:pt x="970101" y="543761"/>
                    <a:pt x="970101" y="543458"/>
                    <a:pt x="970164" y="543165"/>
                  </a:cubicBezTo>
                  <a:cubicBezTo>
                    <a:pt x="970101" y="542830"/>
                    <a:pt x="970101" y="542485"/>
                    <a:pt x="970164" y="542149"/>
                  </a:cubicBezTo>
                  <a:lnTo>
                    <a:pt x="970164" y="542149"/>
                  </a:lnTo>
                  <a:lnTo>
                    <a:pt x="970164" y="542149"/>
                  </a:lnTo>
                  <a:lnTo>
                    <a:pt x="970164" y="541261"/>
                  </a:lnTo>
                  <a:lnTo>
                    <a:pt x="970799" y="540499"/>
                  </a:lnTo>
                  <a:lnTo>
                    <a:pt x="970799" y="540499"/>
                  </a:lnTo>
                  <a:lnTo>
                    <a:pt x="1334690" y="244665"/>
                  </a:lnTo>
                  <a:lnTo>
                    <a:pt x="1025396" y="151218"/>
                  </a:lnTo>
                  <a:lnTo>
                    <a:pt x="1025396" y="151218"/>
                  </a:lnTo>
                  <a:lnTo>
                    <a:pt x="966736" y="133315"/>
                  </a:lnTo>
                  <a:lnTo>
                    <a:pt x="966736" y="133315"/>
                  </a:lnTo>
                  <a:cubicBezTo>
                    <a:pt x="966444" y="133385"/>
                    <a:pt x="966140" y="133385"/>
                    <a:pt x="965848" y="133315"/>
                  </a:cubicBezTo>
                  <a:lnTo>
                    <a:pt x="964832" y="132681"/>
                  </a:lnTo>
                  <a:lnTo>
                    <a:pt x="964832" y="132681"/>
                  </a:lnTo>
                  <a:lnTo>
                    <a:pt x="964832" y="132681"/>
                  </a:lnTo>
                  <a:cubicBezTo>
                    <a:pt x="964806" y="132385"/>
                    <a:pt x="964806" y="132088"/>
                    <a:pt x="964832" y="131792"/>
                  </a:cubicBezTo>
                  <a:cubicBezTo>
                    <a:pt x="964756" y="131500"/>
                    <a:pt x="964756" y="131195"/>
                    <a:pt x="964832" y="130903"/>
                  </a:cubicBezTo>
                  <a:cubicBezTo>
                    <a:pt x="964756" y="130611"/>
                    <a:pt x="964756" y="130306"/>
                    <a:pt x="964832" y="130014"/>
                  </a:cubicBezTo>
                  <a:cubicBezTo>
                    <a:pt x="964768" y="129679"/>
                    <a:pt x="964768" y="129334"/>
                    <a:pt x="964832" y="128999"/>
                  </a:cubicBezTo>
                  <a:cubicBezTo>
                    <a:pt x="964768" y="128792"/>
                    <a:pt x="964768" y="128571"/>
                    <a:pt x="964832" y="128364"/>
                  </a:cubicBezTo>
                  <a:lnTo>
                    <a:pt x="964832" y="128364"/>
                  </a:lnTo>
                  <a:cubicBezTo>
                    <a:pt x="964857" y="128068"/>
                    <a:pt x="964857" y="127771"/>
                    <a:pt x="964832" y="127475"/>
                  </a:cubicBezTo>
                  <a:lnTo>
                    <a:pt x="965467" y="126840"/>
                  </a:lnTo>
                  <a:lnTo>
                    <a:pt x="965467" y="126840"/>
                  </a:lnTo>
                  <a:lnTo>
                    <a:pt x="1017016" y="85068"/>
                  </a:lnTo>
                  <a:lnTo>
                    <a:pt x="735908" y="0"/>
                  </a:lnTo>
                  <a:lnTo>
                    <a:pt x="0" y="547355"/>
                  </a:lnTo>
                  <a:lnTo>
                    <a:pt x="805106" y="812462"/>
                  </a:lnTo>
                  <a:lnTo>
                    <a:pt x="1088626" y="582144"/>
                  </a:lnTo>
                  <a:close/>
                </a:path>
              </a:pathLst>
            </a:custGeom>
            <a:solidFill>
              <a:schemeClr val="accent5"/>
            </a:solidFill>
            <a:ln w="1269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7137B7E-CC39-4742-A4A4-E5858925324C}"/>
                </a:ext>
              </a:extLst>
            </p:cNvPr>
            <p:cNvSpPr/>
            <p:nvPr/>
          </p:nvSpPr>
          <p:spPr>
            <a:xfrm>
              <a:off x="5048638" y="343952"/>
              <a:ext cx="42661" cy="47612"/>
            </a:xfrm>
            <a:custGeom>
              <a:avLst/>
              <a:gdLst>
                <a:gd name="connsiteX0" fmla="*/ 42661 w 42661"/>
                <a:gd name="connsiteY0" fmla="*/ 47613 h 47612"/>
                <a:gd name="connsiteX1" fmla="*/ 42661 w 42661"/>
                <a:gd name="connsiteY1" fmla="*/ 0 h 47612"/>
                <a:gd name="connsiteX2" fmla="*/ 0 w 42661"/>
                <a:gd name="connsiteY2" fmla="*/ 34535 h 47612"/>
                <a:gd name="connsiteX3" fmla="*/ 42661 w 42661"/>
                <a:gd name="connsiteY3" fmla="*/ 47613 h 47612"/>
              </a:gdLst>
              <a:ahLst/>
              <a:cxnLst>
                <a:cxn ang="0">
                  <a:pos x="connsiteX0" y="connsiteY0"/>
                </a:cxn>
                <a:cxn ang="0">
                  <a:pos x="connsiteX1" y="connsiteY1"/>
                </a:cxn>
                <a:cxn ang="0">
                  <a:pos x="connsiteX2" y="connsiteY2"/>
                </a:cxn>
                <a:cxn ang="0">
                  <a:pos x="connsiteX3" y="connsiteY3"/>
                </a:cxn>
              </a:cxnLst>
              <a:rect l="l" t="t" r="r" b="b"/>
              <a:pathLst>
                <a:path w="42661" h="47612">
                  <a:moveTo>
                    <a:pt x="42661" y="47613"/>
                  </a:moveTo>
                  <a:lnTo>
                    <a:pt x="42661" y="0"/>
                  </a:lnTo>
                  <a:lnTo>
                    <a:pt x="0" y="34535"/>
                  </a:lnTo>
                  <a:lnTo>
                    <a:pt x="42661" y="47613"/>
                  </a:lnTo>
                  <a:close/>
                </a:path>
              </a:pathLst>
            </a:custGeom>
            <a:solidFill>
              <a:srgbClr val="F9AA19"/>
            </a:solidFill>
            <a:ln w="1269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4D736712-57B5-46C1-AD29-F08B2DD62863}"/>
                </a:ext>
              </a:extLst>
            </p:cNvPr>
            <p:cNvSpPr/>
            <p:nvPr/>
          </p:nvSpPr>
          <p:spPr>
            <a:xfrm>
              <a:off x="3674334" y="-1"/>
              <a:ext cx="300279" cy="102970"/>
            </a:xfrm>
            <a:custGeom>
              <a:avLst/>
              <a:gdLst>
                <a:gd name="connsiteX0" fmla="*/ 173692 w 300279"/>
                <a:gd name="connsiteY0" fmla="*/ 102970 h 102970"/>
                <a:gd name="connsiteX1" fmla="*/ 300280 w 300279"/>
                <a:gd name="connsiteY1" fmla="*/ 0 h 102970"/>
                <a:gd name="connsiteX2" fmla="*/ 61833 w 300279"/>
                <a:gd name="connsiteY2" fmla="*/ 0 h 102970"/>
                <a:gd name="connsiteX3" fmla="*/ 0 w 300279"/>
                <a:gd name="connsiteY3" fmla="*/ 50279 h 102970"/>
                <a:gd name="connsiteX4" fmla="*/ 173692 w 300279"/>
                <a:gd name="connsiteY4" fmla="*/ 102970 h 102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79" h="102970">
                  <a:moveTo>
                    <a:pt x="173692" y="102970"/>
                  </a:moveTo>
                  <a:lnTo>
                    <a:pt x="300280" y="0"/>
                  </a:lnTo>
                  <a:lnTo>
                    <a:pt x="61833" y="0"/>
                  </a:lnTo>
                  <a:lnTo>
                    <a:pt x="0" y="50279"/>
                  </a:lnTo>
                  <a:lnTo>
                    <a:pt x="173692" y="102970"/>
                  </a:lnTo>
                  <a:close/>
                </a:path>
              </a:pathLst>
            </a:custGeom>
            <a:solidFill>
              <a:srgbClr val="61B3B2"/>
            </a:solidFill>
            <a:ln w="1269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ADB1E902-957C-432E-A655-5212063BE441}"/>
                </a:ext>
              </a:extLst>
            </p:cNvPr>
            <p:cNvSpPr/>
            <p:nvPr/>
          </p:nvSpPr>
          <p:spPr>
            <a:xfrm>
              <a:off x="3499245" y="176864"/>
              <a:ext cx="535298" cy="515359"/>
            </a:xfrm>
            <a:custGeom>
              <a:avLst/>
              <a:gdLst>
                <a:gd name="connsiteX0" fmla="*/ 0 w 535298"/>
                <a:gd name="connsiteY0" fmla="*/ 472952 h 515359"/>
                <a:gd name="connsiteX1" fmla="*/ 140300 w 535298"/>
                <a:gd name="connsiteY1" fmla="*/ 515359 h 515359"/>
                <a:gd name="connsiteX2" fmla="*/ 535298 w 535298"/>
                <a:gd name="connsiteY2" fmla="*/ 193879 h 515359"/>
                <a:gd name="connsiteX3" fmla="*/ 535298 w 535298"/>
                <a:gd name="connsiteY3" fmla="*/ 0 h 515359"/>
                <a:gd name="connsiteX4" fmla="*/ 0 w 535298"/>
                <a:gd name="connsiteY4" fmla="*/ 435370 h 515359"/>
                <a:gd name="connsiteX5" fmla="*/ 0 w 535298"/>
                <a:gd name="connsiteY5" fmla="*/ 472952 h 51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98" h="515359">
                  <a:moveTo>
                    <a:pt x="0" y="472952"/>
                  </a:moveTo>
                  <a:lnTo>
                    <a:pt x="140300" y="515359"/>
                  </a:lnTo>
                  <a:lnTo>
                    <a:pt x="535298" y="193879"/>
                  </a:lnTo>
                  <a:lnTo>
                    <a:pt x="535298" y="0"/>
                  </a:lnTo>
                  <a:lnTo>
                    <a:pt x="0" y="435370"/>
                  </a:lnTo>
                  <a:lnTo>
                    <a:pt x="0" y="472952"/>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10D9BE6D-3DA9-4C7F-8501-580B7155DA8F}"/>
                </a:ext>
              </a:extLst>
            </p:cNvPr>
            <p:cNvSpPr/>
            <p:nvPr/>
          </p:nvSpPr>
          <p:spPr>
            <a:xfrm>
              <a:off x="2244925" y="237935"/>
              <a:ext cx="1243399" cy="408579"/>
            </a:xfrm>
            <a:custGeom>
              <a:avLst/>
              <a:gdLst>
                <a:gd name="connsiteX0" fmla="*/ 1243400 w 1243399"/>
                <a:gd name="connsiteY0" fmla="*/ 375696 h 408579"/>
                <a:gd name="connsiteX1" fmla="*/ 0 w 1243399"/>
                <a:gd name="connsiteY1" fmla="*/ 0 h 408579"/>
                <a:gd name="connsiteX2" fmla="*/ 0 w 1243399"/>
                <a:gd name="connsiteY2" fmla="*/ 32504 h 408579"/>
                <a:gd name="connsiteX3" fmla="*/ 1243400 w 1243399"/>
                <a:gd name="connsiteY3" fmla="*/ 408580 h 408579"/>
                <a:gd name="connsiteX4" fmla="*/ 1243400 w 1243399"/>
                <a:gd name="connsiteY4" fmla="*/ 375696 h 40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399" h="408579">
                  <a:moveTo>
                    <a:pt x="1243400" y="375696"/>
                  </a:moveTo>
                  <a:lnTo>
                    <a:pt x="0" y="0"/>
                  </a:lnTo>
                  <a:lnTo>
                    <a:pt x="0" y="32504"/>
                  </a:lnTo>
                  <a:lnTo>
                    <a:pt x="1243400" y="408580"/>
                  </a:lnTo>
                  <a:lnTo>
                    <a:pt x="1243400" y="375696"/>
                  </a:lnTo>
                  <a:close/>
                </a:path>
              </a:pathLst>
            </a:custGeom>
            <a:solidFill>
              <a:schemeClr val="accent4"/>
            </a:solidFill>
            <a:ln w="1269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15E84ABF-BA9F-42BF-AC32-440FFAA3AE76}"/>
                </a:ext>
              </a:extLst>
            </p:cNvPr>
            <p:cNvSpPr/>
            <p:nvPr/>
          </p:nvSpPr>
          <p:spPr>
            <a:xfrm>
              <a:off x="2250131" y="-1"/>
              <a:ext cx="1779332" cy="604490"/>
            </a:xfrm>
            <a:custGeom>
              <a:avLst/>
              <a:gdLst>
                <a:gd name="connsiteX0" fmla="*/ 1242384 w 1779332"/>
                <a:gd name="connsiteY0" fmla="*/ 604490 h 604490"/>
                <a:gd name="connsiteX1" fmla="*/ 1779333 w 1779332"/>
                <a:gd name="connsiteY1" fmla="*/ 167850 h 604490"/>
                <a:gd name="connsiteX2" fmla="*/ 1597007 w 1779332"/>
                <a:gd name="connsiteY2" fmla="*/ 113128 h 604490"/>
                <a:gd name="connsiteX3" fmla="*/ 1597007 w 1779332"/>
                <a:gd name="connsiteY3" fmla="*/ 113128 h 604490"/>
                <a:gd name="connsiteX4" fmla="*/ 1411887 w 1779332"/>
                <a:gd name="connsiteY4" fmla="*/ 57008 h 604490"/>
                <a:gd name="connsiteX5" fmla="*/ 1411887 w 1779332"/>
                <a:gd name="connsiteY5" fmla="*/ 57008 h 604490"/>
                <a:gd name="connsiteX6" fmla="*/ 1410998 w 1779332"/>
                <a:gd name="connsiteY6" fmla="*/ 57008 h 604490"/>
                <a:gd name="connsiteX7" fmla="*/ 1409982 w 1779332"/>
                <a:gd name="connsiteY7" fmla="*/ 56246 h 604490"/>
                <a:gd name="connsiteX8" fmla="*/ 1409982 w 1779332"/>
                <a:gd name="connsiteY8" fmla="*/ 56246 h 604490"/>
                <a:gd name="connsiteX9" fmla="*/ 1409982 w 1779332"/>
                <a:gd name="connsiteY9" fmla="*/ 56246 h 604490"/>
                <a:gd name="connsiteX10" fmla="*/ 1409982 w 1779332"/>
                <a:gd name="connsiteY10" fmla="*/ 55358 h 604490"/>
                <a:gd name="connsiteX11" fmla="*/ 1409982 w 1779332"/>
                <a:gd name="connsiteY11" fmla="*/ 54469 h 604490"/>
                <a:gd name="connsiteX12" fmla="*/ 1409982 w 1779332"/>
                <a:gd name="connsiteY12" fmla="*/ 53580 h 604490"/>
                <a:gd name="connsiteX13" fmla="*/ 1409982 w 1779332"/>
                <a:gd name="connsiteY13" fmla="*/ 52564 h 604490"/>
                <a:gd name="connsiteX14" fmla="*/ 1409982 w 1779332"/>
                <a:gd name="connsiteY14" fmla="*/ 50787 h 604490"/>
                <a:gd name="connsiteX15" fmla="*/ 1409982 w 1779332"/>
                <a:gd name="connsiteY15" fmla="*/ 50787 h 604490"/>
                <a:gd name="connsiteX16" fmla="*/ 1409982 w 1779332"/>
                <a:gd name="connsiteY16" fmla="*/ 49898 h 604490"/>
                <a:gd name="connsiteX17" fmla="*/ 1410617 w 1779332"/>
                <a:gd name="connsiteY17" fmla="*/ 49136 h 604490"/>
                <a:gd name="connsiteX18" fmla="*/ 1410617 w 1779332"/>
                <a:gd name="connsiteY18" fmla="*/ 49136 h 604490"/>
                <a:gd name="connsiteX19" fmla="*/ 1470038 w 1779332"/>
                <a:gd name="connsiteY19" fmla="*/ 0 h 604490"/>
                <a:gd name="connsiteX20" fmla="*/ 281616 w 1779332"/>
                <a:gd name="connsiteY20" fmla="*/ 0 h 604490"/>
                <a:gd name="connsiteX21" fmla="*/ 0 w 1779332"/>
                <a:gd name="connsiteY21" fmla="*/ 229176 h 60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79332" h="604490">
                  <a:moveTo>
                    <a:pt x="1242384" y="604490"/>
                  </a:moveTo>
                  <a:lnTo>
                    <a:pt x="1779333" y="167850"/>
                  </a:lnTo>
                  <a:lnTo>
                    <a:pt x="1597007" y="113128"/>
                  </a:lnTo>
                  <a:lnTo>
                    <a:pt x="1597007" y="113128"/>
                  </a:lnTo>
                  <a:lnTo>
                    <a:pt x="1411887" y="57008"/>
                  </a:lnTo>
                  <a:lnTo>
                    <a:pt x="1411887" y="57008"/>
                  </a:lnTo>
                  <a:lnTo>
                    <a:pt x="1410998" y="57008"/>
                  </a:lnTo>
                  <a:lnTo>
                    <a:pt x="1409982" y="56246"/>
                  </a:lnTo>
                  <a:lnTo>
                    <a:pt x="1409982" y="56246"/>
                  </a:lnTo>
                  <a:lnTo>
                    <a:pt x="1409982" y="56246"/>
                  </a:lnTo>
                  <a:lnTo>
                    <a:pt x="1409982" y="55358"/>
                  </a:lnTo>
                  <a:cubicBezTo>
                    <a:pt x="1409932" y="55064"/>
                    <a:pt x="1409932" y="54763"/>
                    <a:pt x="1409982" y="54469"/>
                  </a:cubicBezTo>
                  <a:cubicBezTo>
                    <a:pt x="1409919" y="54176"/>
                    <a:pt x="1409919" y="53873"/>
                    <a:pt x="1409982" y="53580"/>
                  </a:cubicBezTo>
                  <a:cubicBezTo>
                    <a:pt x="1409906" y="53245"/>
                    <a:pt x="1409906" y="52899"/>
                    <a:pt x="1409982" y="52564"/>
                  </a:cubicBezTo>
                  <a:lnTo>
                    <a:pt x="1409982" y="50787"/>
                  </a:lnTo>
                  <a:lnTo>
                    <a:pt x="1409982" y="50787"/>
                  </a:lnTo>
                  <a:lnTo>
                    <a:pt x="1409982" y="49898"/>
                  </a:lnTo>
                  <a:lnTo>
                    <a:pt x="1410617" y="49136"/>
                  </a:lnTo>
                  <a:lnTo>
                    <a:pt x="1410617" y="49136"/>
                  </a:lnTo>
                  <a:lnTo>
                    <a:pt x="1470038" y="0"/>
                  </a:lnTo>
                  <a:lnTo>
                    <a:pt x="281616" y="0"/>
                  </a:lnTo>
                  <a:lnTo>
                    <a:pt x="0" y="229176"/>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A6ECF1D3-AF31-425C-9895-683D6AF092EE}"/>
                </a:ext>
              </a:extLst>
            </p:cNvPr>
            <p:cNvSpPr/>
            <p:nvPr/>
          </p:nvSpPr>
          <p:spPr>
            <a:xfrm>
              <a:off x="8655044" y="4010507"/>
              <a:ext cx="86719" cy="160994"/>
            </a:xfrm>
            <a:custGeom>
              <a:avLst/>
              <a:gdLst>
                <a:gd name="connsiteX0" fmla="*/ 0 w 86719"/>
                <a:gd name="connsiteY0" fmla="*/ 70594 h 160994"/>
                <a:gd name="connsiteX1" fmla="*/ 0 w 86719"/>
                <a:gd name="connsiteY1" fmla="*/ 160994 h 160994"/>
                <a:gd name="connsiteX2" fmla="*/ 86720 w 86719"/>
                <a:gd name="connsiteY2" fmla="*/ 90274 h 160994"/>
                <a:gd name="connsiteX3" fmla="*/ 86720 w 86719"/>
                <a:gd name="connsiteY3" fmla="*/ 48882 h 160994"/>
                <a:gd name="connsiteX4" fmla="*/ 86720 w 86719"/>
                <a:gd name="connsiteY4" fmla="*/ 0 h 160994"/>
                <a:gd name="connsiteX5" fmla="*/ 0 w 86719"/>
                <a:gd name="connsiteY5" fmla="*/ 70594 h 16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19" h="160994">
                  <a:moveTo>
                    <a:pt x="0" y="70594"/>
                  </a:moveTo>
                  <a:lnTo>
                    <a:pt x="0" y="160994"/>
                  </a:lnTo>
                  <a:lnTo>
                    <a:pt x="86720" y="90274"/>
                  </a:lnTo>
                  <a:lnTo>
                    <a:pt x="86720" y="48882"/>
                  </a:lnTo>
                  <a:lnTo>
                    <a:pt x="86720" y="0"/>
                  </a:lnTo>
                  <a:lnTo>
                    <a:pt x="0" y="70594"/>
                  </a:lnTo>
                  <a:close/>
                </a:path>
              </a:pathLst>
            </a:custGeom>
            <a:solidFill>
              <a:schemeClr val="accent5">
                <a:lumMod val="75000"/>
              </a:schemeClr>
            </a:solidFill>
            <a:ln w="1269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47256726-B7C1-4AB8-805E-5FD1C8D16C19}"/>
                </a:ext>
              </a:extLst>
            </p:cNvPr>
            <p:cNvSpPr/>
            <p:nvPr/>
          </p:nvSpPr>
          <p:spPr>
            <a:xfrm>
              <a:off x="8259030" y="3987526"/>
              <a:ext cx="385094" cy="188546"/>
            </a:xfrm>
            <a:custGeom>
              <a:avLst/>
              <a:gdLst>
                <a:gd name="connsiteX0" fmla="*/ 0 w 385094"/>
                <a:gd name="connsiteY0" fmla="*/ 93067 h 188546"/>
                <a:gd name="connsiteX1" fmla="*/ 385095 w 385094"/>
                <a:gd name="connsiteY1" fmla="*/ 188546 h 188546"/>
                <a:gd name="connsiteX2" fmla="*/ 385095 w 385094"/>
                <a:gd name="connsiteY2" fmla="*/ 95098 h 188546"/>
                <a:gd name="connsiteX3" fmla="*/ 0 w 385094"/>
                <a:gd name="connsiteY3" fmla="*/ 0 h 188546"/>
                <a:gd name="connsiteX4" fmla="*/ 0 w 385094"/>
                <a:gd name="connsiteY4" fmla="*/ 93067 h 18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94" h="188546">
                  <a:moveTo>
                    <a:pt x="0" y="93067"/>
                  </a:moveTo>
                  <a:lnTo>
                    <a:pt x="385095" y="188546"/>
                  </a:lnTo>
                  <a:lnTo>
                    <a:pt x="385095" y="95098"/>
                  </a:lnTo>
                  <a:lnTo>
                    <a:pt x="0" y="0"/>
                  </a:lnTo>
                  <a:lnTo>
                    <a:pt x="0" y="93067"/>
                  </a:lnTo>
                  <a:close/>
                </a:path>
              </a:pathLst>
            </a:custGeom>
            <a:solidFill>
              <a:schemeClr val="accent5"/>
            </a:solidFill>
            <a:ln w="1269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1E731EA2-E8C0-4855-BD36-B2BD56975040}"/>
                </a:ext>
              </a:extLst>
            </p:cNvPr>
            <p:cNvSpPr/>
            <p:nvPr/>
          </p:nvSpPr>
          <p:spPr>
            <a:xfrm>
              <a:off x="8265760" y="3814469"/>
              <a:ext cx="470924" cy="261425"/>
            </a:xfrm>
            <a:custGeom>
              <a:avLst/>
              <a:gdLst>
                <a:gd name="connsiteX0" fmla="*/ 470925 w 470924"/>
                <a:gd name="connsiteY0" fmla="*/ 187023 h 261425"/>
                <a:gd name="connsiteX1" fmla="*/ 393474 w 470924"/>
                <a:gd name="connsiteY1" fmla="*/ 163407 h 261425"/>
                <a:gd name="connsiteX2" fmla="*/ 393474 w 470924"/>
                <a:gd name="connsiteY2" fmla="*/ 163407 h 261425"/>
                <a:gd name="connsiteX3" fmla="*/ 312850 w 470924"/>
                <a:gd name="connsiteY3" fmla="*/ 139283 h 261425"/>
                <a:gd name="connsiteX4" fmla="*/ 312850 w 470924"/>
                <a:gd name="connsiteY4" fmla="*/ 139283 h 261425"/>
                <a:gd name="connsiteX5" fmla="*/ 312088 w 470924"/>
                <a:gd name="connsiteY5" fmla="*/ 139283 h 261425"/>
                <a:gd name="connsiteX6" fmla="*/ 311072 w 470924"/>
                <a:gd name="connsiteY6" fmla="*/ 138648 h 261425"/>
                <a:gd name="connsiteX7" fmla="*/ 311072 w 470924"/>
                <a:gd name="connsiteY7" fmla="*/ 138648 h 261425"/>
                <a:gd name="connsiteX8" fmla="*/ 311072 w 470924"/>
                <a:gd name="connsiteY8" fmla="*/ 138648 h 261425"/>
                <a:gd name="connsiteX9" fmla="*/ 311072 w 470924"/>
                <a:gd name="connsiteY9" fmla="*/ 137759 h 261425"/>
                <a:gd name="connsiteX10" fmla="*/ 311072 w 470924"/>
                <a:gd name="connsiteY10" fmla="*/ 136870 h 261425"/>
                <a:gd name="connsiteX11" fmla="*/ 311072 w 470924"/>
                <a:gd name="connsiteY11" fmla="*/ 135982 h 261425"/>
                <a:gd name="connsiteX12" fmla="*/ 311072 w 470924"/>
                <a:gd name="connsiteY12" fmla="*/ 134966 h 261425"/>
                <a:gd name="connsiteX13" fmla="*/ 311072 w 470924"/>
                <a:gd name="connsiteY13" fmla="*/ 134966 h 261425"/>
                <a:gd name="connsiteX14" fmla="*/ 311072 w 470924"/>
                <a:gd name="connsiteY14" fmla="*/ 134966 h 261425"/>
                <a:gd name="connsiteX15" fmla="*/ 311072 w 470924"/>
                <a:gd name="connsiteY15" fmla="*/ 134204 h 261425"/>
                <a:gd name="connsiteX16" fmla="*/ 311707 w 470924"/>
                <a:gd name="connsiteY16" fmla="*/ 133442 h 261425"/>
                <a:gd name="connsiteX17" fmla="*/ 311707 w 470924"/>
                <a:gd name="connsiteY17" fmla="*/ 133442 h 261425"/>
                <a:gd name="connsiteX18" fmla="*/ 344465 w 470924"/>
                <a:gd name="connsiteY18" fmla="*/ 106526 h 261425"/>
                <a:gd name="connsiteX19" fmla="*/ 392078 w 470924"/>
                <a:gd name="connsiteY19" fmla="*/ 56628 h 261425"/>
                <a:gd name="connsiteX20" fmla="*/ 204800 w 470924"/>
                <a:gd name="connsiteY20" fmla="*/ 0 h 261425"/>
                <a:gd name="connsiteX21" fmla="*/ 0 w 470924"/>
                <a:gd name="connsiteY21" fmla="*/ 166708 h 261425"/>
                <a:gd name="connsiteX22" fmla="*/ 383571 w 470924"/>
                <a:gd name="connsiteY22" fmla="*/ 261425 h 2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0924" h="261425">
                  <a:moveTo>
                    <a:pt x="470925" y="187023"/>
                  </a:moveTo>
                  <a:lnTo>
                    <a:pt x="393474" y="163407"/>
                  </a:lnTo>
                  <a:lnTo>
                    <a:pt x="393474" y="163407"/>
                  </a:lnTo>
                  <a:lnTo>
                    <a:pt x="312850" y="139283"/>
                  </a:lnTo>
                  <a:lnTo>
                    <a:pt x="312850" y="139283"/>
                  </a:lnTo>
                  <a:lnTo>
                    <a:pt x="312088" y="139283"/>
                  </a:lnTo>
                  <a:lnTo>
                    <a:pt x="311072" y="138648"/>
                  </a:lnTo>
                  <a:lnTo>
                    <a:pt x="311072" y="138648"/>
                  </a:lnTo>
                  <a:lnTo>
                    <a:pt x="311072" y="138648"/>
                  </a:lnTo>
                  <a:cubicBezTo>
                    <a:pt x="311009" y="138356"/>
                    <a:pt x="311009" y="138051"/>
                    <a:pt x="311072" y="137759"/>
                  </a:cubicBezTo>
                  <a:cubicBezTo>
                    <a:pt x="311072" y="137759"/>
                    <a:pt x="311072" y="137759"/>
                    <a:pt x="311072" y="136870"/>
                  </a:cubicBezTo>
                  <a:cubicBezTo>
                    <a:pt x="311072" y="135982"/>
                    <a:pt x="311072" y="136870"/>
                    <a:pt x="311072" y="135982"/>
                  </a:cubicBezTo>
                  <a:cubicBezTo>
                    <a:pt x="311072" y="135093"/>
                    <a:pt x="311072" y="135347"/>
                    <a:pt x="311072" y="134966"/>
                  </a:cubicBezTo>
                  <a:cubicBezTo>
                    <a:pt x="311072" y="134585"/>
                    <a:pt x="311072" y="134966"/>
                    <a:pt x="311072" y="134966"/>
                  </a:cubicBezTo>
                  <a:lnTo>
                    <a:pt x="311072" y="134966"/>
                  </a:lnTo>
                  <a:lnTo>
                    <a:pt x="311072" y="134204"/>
                  </a:lnTo>
                  <a:cubicBezTo>
                    <a:pt x="311072" y="134204"/>
                    <a:pt x="311072" y="133570"/>
                    <a:pt x="311707" y="133442"/>
                  </a:cubicBezTo>
                  <a:lnTo>
                    <a:pt x="311707" y="133442"/>
                  </a:lnTo>
                  <a:lnTo>
                    <a:pt x="344465" y="106526"/>
                  </a:lnTo>
                  <a:lnTo>
                    <a:pt x="392078" y="56628"/>
                  </a:lnTo>
                  <a:lnTo>
                    <a:pt x="204800" y="0"/>
                  </a:lnTo>
                  <a:lnTo>
                    <a:pt x="0" y="166708"/>
                  </a:lnTo>
                  <a:lnTo>
                    <a:pt x="383571" y="261425"/>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BBD158FE-6B1E-4BE1-9C49-933EADFAA8F5}"/>
                </a:ext>
              </a:extLst>
            </p:cNvPr>
            <p:cNvSpPr/>
            <p:nvPr/>
          </p:nvSpPr>
          <p:spPr>
            <a:xfrm>
              <a:off x="8590418" y="3894078"/>
              <a:ext cx="64753" cy="72370"/>
            </a:xfrm>
            <a:custGeom>
              <a:avLst/>
              <a:gdLst>
                <a:gd name="connsiteX0" fmla="*/ 64753 w 64753"/>
                <a:gd name="connsiteY0" fmla="*/ 72371 h 72370"/>
                <a:gd name="connsiteX1" fmla="*/ 64753 w 64753"/>
                <a:gd name="connsiteY1" fmla="*/ 0 h 72370"/>
                <a:gd name="connsiteX2" fmla="*/ 0 w 64753"/>
                <a:gd name="connsiteY2" fmla="*/ 53072 h 72370"/>
                <a:gd name="connsiteX3" fmla="*/ 64753 w 64753"/>
                <a:gd name="connsiteY3" fmla="*/ 72371 h 72370"/>
              </a:gdLst>
              <a:ahLst/>
              <a:cxnLst>
                <a:cxn ang="0">
                  <a:pos x="connsiteX0" y="connsiteY0"/>
                </a:cxn>
                <a:cxn ang="0">
                  <a:pos x="connsiteX1" y="connsiteY1"/>
                </a:cxn>
                <a:cxn ang="0">
                  <a:pos x="connsiteX2" y="connsiteY2"/>
                </a:cxn>
                <a:cxn ang="0">
                  <a:pos x="connsiteX3" y="connsiteY3"/>
                </a:cxn>
              </a:cxnLst>
              <a:rect l="l" t="t" r="r" b="b"/>
              <a:pathLst>
                <a:path w="64753" h="72370">
                  <a:moveTo>
                    <a:pt x="64753" y="72371"/>
                  </a:moveTo>
                  <a:lnTo>
                    <a:pt x="64753" y="0"/>
                  </a:lnTo>
                  <a:lnTo>
                    <a:pt x="0" y="53072"/>
                  </a:lnTo>
                  <a:lnTo>
                    <a:pt x="64753" y="72371"/>
                  </a:lnTo>
                  <a:close/>
                </a:path>
              </a:pathLst>
            </a:custGeom>
            <a:solidFill>
              <a:srgbClr val="F39891"/>
            </a:solidFill>
            <a:ln w="1269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D1A91F2B-815B-4BE9-B9DC-E243F1A615B9}"/>
                </a:ext>
              </a:extLst>
            </p:cNvPr>
            <p:cNvSpPr/>
            <p:nvPr/>
          </p:nvSpPr>
          <p:spPr>
            <a:xfrm>
              <a:off x="4133197" y="1989064"/>
              <a:ext cx="154393" cy="215082"/>
            </a:xfrm>
            <a:custGeom>
              <a:avLst/>
              <a:gdLst>
                <a:gd name="connsiteX0" fmla="*/ 141697 w 154393"/>
                <a:gd name="connsiteY0" fmla="*/ 102589 h 215082"/>
                <a:gd name="connsiteX1" fmla="*/ 134714 w 154393"/>
                <a:gd name="connsiteY1" fmla="*/ 100558 h 215082"/>
                <a:gd name="connsiteX2" fmla="*/ 131095 w 154393"/>
                <a:gd name="connsiteY2" fmla="*/ 94984 h 215082"/>
                <a:gd name="connsiteX3" fmla="*/ 131285 w 154393"/>
                <a:gd name="connsiteY3" fmla="*/ 94336 h 215082"/>
                <a:gd name="connsiteX4" fmla="*/ 138142 w 154393"/>
                <a:gd name="connsiteY4" fmla="*/ 91162 h 215082"/>
                <a:gd name="connsiteX5" fmla="*/ 141062 w 154393"/>
                <a:gd name="connsiteY5" fmla="*/ 92051 h 215082"/>
                <a:gd name="connsiteX6" fmla="*/ 154393 w 154393"/>
                <a:gd name="connsiteY6" fmla="*/ 81259 h 215082"/>
                <a:gd name="connsiteX7" fmla="*/ 154393 w 154393"/>
                <a:gd name="connsiteY7" fmla="*/ 80624 h 215082"/>
                <a:gd name="connsiteX8" fmla="*/ 153759 w 154393"/>
                <a:gd name="connsiteY8" fmla="*/ 79735 h 215082"/>
                <a:gd name="connsiteX9" fmla="*/ 153759 w 154393"/>
                <a:gd name="connsiteY9" fmla="*/ 78720 h 215082"/>
                <a:gd name="connsiteX10" fmla="*/ 153759 w 154393"/>
                <a:gd name="connsiteY10" fmla="*/ 77958 h 215082"/>
                <a:gd name="connsiteX11" fmla="*/ 153759 w 154393"/>
                <a:gd name="connsiteY11" fmla="*/ 0 h 215082"/>
                <a:gd name="connsiteX12" fmla="*/ 0 w 154393"/>
                <a:gd name="connsiteY12" fmla="*/ 124682 h 215082"/>
                <a:gd name="connsiteX13" fmla="*/ 0 w 154393"/>
                <a:gd name="connsiteY13" fmla="*/ 215082 h 215082"/>
                <a:gd name="connsiteX14" fmla="*/ 132936 w 154393"/>
                <a:gd name="connsiteY14" fmla="*/ 106779 h 215082"/>
                <a:gd name="connsiteX15" fmla="*/ 133698 w 154393"/>
                <a:gd name="connsiteY15" fmla="*/ 106779 h 215082"/>
                <a:gd name="connsiteX16" fmla="*/ 134586 w 154393"/>
                <a:gd name="connsiteY16" fmla="*/ 106779 h 215082"/>
                <a:gd name="connsiteX17" fmla="*/ 135856 w 154393"/>
                <a:gd name="connsiteY17" fmla="*/ 106779 h 215082"/>
                <a:gd name="connsiteX18" fmla="*/ 136618 w 154393"/>
                <a:gd name="connsiteY18" fmla="*/ 106779 h 215082"/>
                <a:gd name="connsiteX19" fmla="*/ 138014 w 154393"/>
                <a:gd name="connsiteY19" fmla="*/ 106779 h 215082"/>
                <a:gd name="connsiteX20" fmla="*/ 138650 w 154393"/>
                <a:gd name="connsiteY20" fmla="*/ 106779 h 215082"/>
                <a:gd name="connsiteX21" fmla="*/ 139284 w 154393"/>
                <a:gd name="connsiteY21" fmla="*/ 106779 h 21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4393" h="215082">
                  <a:moveTo>
                    <a:pt x="141697" y="102589"/>
                  </a:moveTo>
                  <a:lnTo>
                    <a:pt x="134714" y="100558"/>
                  </a:lnTo>
                  <a:cubicBezTo>
                    <a:pt x="132174" y="100012"/>
                    <a:pt x="130561" y="97523"/>
                    <a:pt x="131095" y="94984"/>
                  </a:cubicBezTo>
                  <a:cubicBezTo>
                    <a:pt x="131146" y="94768"/>
                    <a:pt x="131209" y="94552"/>
                    <a:pt x="131285" y="94336"/>
                  </a:cubicBezTo>
                  <a:cubicBezTo>
                    <a:pt x="132441" y="91708"/>
                    <a:pt x="135386" y="90337"/>
                    <a:pt x="138142" y="91162"/>
                  </a:cubicBezTo>
                  <a:lnTo>
                    <a:pt x="141062" y="92051"/>
                  </a:lnTo>
                  <a:lnTo>
                    <a:pt x="154393" y="81259"/>
                  </a:lnTo>
                  <a:cubicBezTo>
                    <a:pt x="154355" y="81043"/>
                    <a:pt x="154355" y="80840"/>
                    <a:pt x="154393" y="80624"/>
                  </a:cubicBezTo>
                  <a:cubicBezTo>
                    <a:pt x="154114" y="80383"/>
                    <a:pt x="153898" y="80078"/>
                    <a:pt x="153759" y="79735"/>
                  </a:cubicBezTo>
                  <a:cubicBezTo>
                    <a:pt x="153759" y="79735"/>
                    <a:pt x="153759" y="79100"/>
                    <a:pt x="153759" y="78720"/>
                  </a:cubicBezTo>
                  <a:cubicBezTo>
                    <a:pt x="153759" y="78339"/>
                    <a:pt x="153759" y="78720"/>
                    <a:pt x="153759" y="77958"/>
                  </a:cubicBezTo>
                  <a:lnTo>
                    <a:pt x="153759" y="0"/>
                  </a:lnTo>
                  <a:lnTo>
                    <a:pt x="0" y="124682"/>
                  </a:lnTo>
                  <a:lnTo>
                    <a:pt x="0" y="215082"/>
                  </a:lnTo>
                  <a:lnTo>
                    <a:pt x="132936" y="106779"/>
                  </a:lnTo>
                  <a:lnTo>
                    <a:pt x="133698" y="106779"/>
                  </a:lnTo>
                  <a:lnTo>
                    <a:pt x="134586" y="106779"/>
                  </a:lnTo>
                  <a:lnTo>
                    <a:pt x="135856" y="106779"/>
                  </a:lnTo>
                  <a:lnTo>
                    <a:pt x="136618" y="106779"/>
                  </a:lnTo>
                  <a:lnTo>
                    <a:pt x="138014" y="106779"/>
                  </a:lnTo>
                  <a:lnTo>
                    <a:pt x="138650" y="106779"/>
                  </a:lnTo>
                  <a:lnTo>
                    <a:pt x="139284" y="106779"/>
                  </a:lnTo>
                  <a:close/>
                </a:path>
              </a:pathLst>
            </a:custGeom>
            <a:solidFill>
              <a:srgbClr val="FBDFC0"/>
            </a:solidFill>
            <a:ln w="1269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D568247A-1C2D-4319-B8F5-B1B3FB76FC06}"/>
                </a:ext>
              </a:extLst>
            </p:cNvPr>
            <p:cNvSpPr/>
            <p:nvPr/>
          </p:nvSpPr>
          <p:spPr>
            <a:xfrm>
              <a:off x="4132435" y="1934976"/>
              <a:ext cx="148679" cy="165565"/>
            </a:xfrm>
            <a:custGeom>
              <a:avLst/>
              <a:gdLst>
                <a:gd name="connsiteX0" fmla="*/ 0 w 148679"/>
                <a:gd name="connsiteY0" fmla="*/ 165565 h 165565"/>
                <a:gd name="connsiteX1" fmla="*/ 148680 w 148679"/>
                <a:gd name="connsiteY1" fmla="*/ 45073 h 165565"/>
                <a:gd name="connsiteX2" fmla="*/ 0 w 148679"/>
                <a:gd name="connsiteY2" fmla="*/ 0 h 165565"/>
                <a:gd name="connsiteX3" fmla="*/ 0 w 148679"/>
                <a:gd name="connsiteY3" fmla="*/ 165565 h 165565"/>
              </a:gdLst>
              <a:ahLst/>
              <a:cxnLst>
                <a:cxn ang="0">
                  <a:pos x="connsiteX0" y="connsiteY0"/>
                </a:cxn>
                <a:cxn ang="0">
                  <a:pos x="connsiteX1" y="connsiteY1"/>
                </a:cxn>
                <a:cxn ang="0">
                  <a:pos x="connsiteX2" y="connsiteY2"/>
                </a:cxn>
                <a:cxn ang="0">
                  <a:pos x="connsiteX3" y="connsiteY3"/>
                </a:cxn>
              </a:cxnLst>
              <a:rect l="l" t="t" r="r" b="b"/>
              <a:pathLst>
                <a:path w="148679" h="165565">
                  <a:moveTo>
                    <a:pt x="0" y="165565"/>
                  </a:moveTo>
                  <a:lnTo>
                    <a:pt x="148680" y="45073"/>
                  </a:lnTo>
                  <a:lnTo>
                    <a:pt x="0" y="0"/>
                  </a:lnTo>
                  <a:lnTo>
                    <a:pt x="0" y="165565"/>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DEB40538-96AA-498C-BFC8-4B42E6FDE105}"/>
                </a:ext>
              </a:extLst>
            </p:cNvPr>
            <p:cNvSpPr/>
            <p:nvPr/>
          </p:nvSpPr>
          <p:spPr>
            <a:xfrm>
              <a:off x="5864536" y="2370092"/>
              <a:ext cx="242636" cy="686002"/>
            </a:xfrm>
            <a:custGeom>
              <a:avLst/>
              <a:gdLst>
                <a:gd name="connsiteX0" fmla="*/ 242636 w 242636"/>
                <a:gd name="connsiteY0" fmla="*/ 0 h 686002"/>
                <a:gd name="connsiteX1" fmla="*/ 0 w 242636"/>
                <a:gd name="connsiteY1" fmla="*/ 197434 h 686002"/>
                <a:gd name="connsiteX2" fmla="*/ 0 w 242636"/>
                <a:gd name="connsiteY2" fmla="*/ 686003 h 686002"/>
                <a:gd name="connsiteX3" fmla="*/ 31361 w 242636"/>
                <a:gd name="connsiteY3" fmla="*/ 619980 h 686002"/>
                <a:gd name="connsiteX4" fmla="*/ 31361 w 242636"/>
                <a:gd name="connsiteY4" fmla="*/ 619980 h 686002"/>
                <a:gd name="connsiteX5" fmla="*/ 31361 w 242636"/>
                <a:gd name="connsiteY5" fmla="*/ 619218 h 686002"/>
                <a:gd name="connsiteX6" fmla="*/ 32123 w 242636"/>
                <a:gd name="connsiteY6" fmla="*/ 618457 h 686002"/>
                <a:gd name="connsiteX7" fmla="*/ 32123 w 242636"/>
                <a:gd name="connsiteY7" fmla="*/ 618457 h 686002"/>
                <a:gd name="connsiteX8" fmla="*/ 33392 w 242636"/>
                <a:gd name="connsiteY8" fmla="*/ 617822 h 686002"/>
                <a:gd name="connsiteX9" fmla="*/ 35678 w 242636"/>
                <a:gd name="connsiteY9" fmla="*/ 617822 h 686002"/>
                <a:gd name="connsiteX10" fmla="*/ 208355 w 242636"/>
                <a:gd name="connsiteY10" fmla="*/ 635470 h 686002"/>
                <a:gd name="connsiteX11" fmla="*/ 241366 w 242636"/>
                <a:gd name="connsiteY11" fmla="*/ 608553 h 68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636" h="686002">
                  <a:moveTo>
                    <a:pt x="242636" y="0"/>
                  </a:moveTo>
                  <a:lnTo>
                    <a:pt x="0" y="197434"/>
                  </a:lnTo>
                  <a:lnTo>
                    <a:pt x="0" y="686003"/>
                  </a:lnTo>
                  <a:lnTo>
                    <a:pt x="31361" y="619980"/>
                  </a:lnTo>
                  <a:lnTo>
                    <a:pt x="31361" y="619980"/>
                  </a:lnTo>
                  <a:cubicBezTo>
                    <a:pt x="31323" y="619726"/>
                    <a:pt x="31323" y="619472"/>
                    <a:pt x="31361" y="619218"/>
                  </a:cubicBezTo>
                  <a:lnTo>
                    <a:pt x="32123" y="618457"/>
                  </a:lnTo>
                  <a:cubicBezTo>
                    <a:pt x="32123" y="618457"/>
                    <a:pt x="32123" y="618457"/>
                    <a:pt x="32123" y="618457"/>
                  </a:cubicBezTo>
                  <a:lnTo>
                    <a:pt x="33392" y="617822"/>
                  </a:lnTo>
                  <a:lnTo>
                    <a:pt x="35678" y="617822"/>
                  </a:lnTo>
                  <a:lnTo>
                    <a:pt x="208355" y="635470"/>
                  </a:lnTo>
                  <a:lnTo>
                    <a:pt x="241366" y="608553"/>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997AA30-9185-4BA8-B58F-F64514EB009A}"/>
                </a:ext>
              </a:extLst>
            </p:cNvPr>
            <p:cNvSpPr/>
            <p:nvPr/>
          </p:nvSpPr>
          <p:spPr>
            <a:xfrm>
              <a:off x="4275021" y="2101049"/>
              <a:ext cx="1577961" cy="1069316"/>
            </a:xfrm>
            <a:custGeom>
              <a:avLst/>
              <a:gdLst>
                <a:gd name="connsiteX0" fmla="*/ 1547743 w 1577961"/>
                <a:gd name="connsiteY0" fmla="*/ 1043288 h 1069316"/>
                <a:gd name="connsiteX1" fmla="*/ 1547743 w 1577961"/>
                <a:gd name="connsiteY1" fmla="*/ 1042400 h 1069316"/>
                <a:gd name="connsiteX2" fmla="*/ 1547743 w 1577961"/>
                <a:gd name="connsiteY2" fmla="*/ 1042400 h 1069316"/>
                <a:gd name="connsiteX3" fmla="*/ 1547743 w 1577961"/>
                <a:gd name="connsiteY3" fmla="*/ 1042400 h 1069316"/>
                <a:gd name="connsiteX4" fmla="*/ 1577961 w 1577961"/>
                <a:gd name="connsiteY4" fmla="*/ 978916 h 1069316"/>
                <a:gd name="connsiteX5" fmla="*/ 1577961 w 1577961"/>
                <a:gd name="connsiteY5" fmla="*/ 467874 h 1069316"/>
                <a:gd name="connsiteX6" fmla="*/ 1019555 w 1577961"/>
                <a:gd name="connsiteY6" fmla="*/ 298627 h 1069316"/>
                <a:gd name="connsiteX7" fmla="*/ 0 w 1577961"/>
                <a:gd name="connsiteY7" fmla="*/ 0 h 1069316"/>
                <a:gd name="connsiteX8" fmla="*/ 0 w 1577961"/>
                <a:gd name="connsiteY8" fmla="*/ 601316 h 1069316"/>
                <a:gd name="connsiteX9" fmla="*/ 1547743 w 1577961"/>
                <a:gd name="connsiteY9" fmla="*/ 1069317 h 1069316"/>
                <a:gd name="connsiteX10" fmla="*/ 1547743 w 1577961"/>
                <a:gd name="connsiteY10" fmla="*/ 1043923 h 106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7961" h="1069316">
                  <a:moveTo>
                    <a:pt x="1547743" y="1043288"/>
                  </a:moveTo>
                  <a:lnTo>
                    <a:pt x="1547743" y="1042400"/>
                  </a:lnTo>
                  <a:cubicBezTo>
                    <a:pt x="1547743" y="1042400"/>
                    <a:pt x="1547743" y="1042400"/>
                    <a:pt x="1547743" y="1042400"/>
                  </a:cubicBezTo>
                  <a:lnTo>
                    <a:pt x="1547743" y="1042400"/>
                  </a:lnTo>
                  <a:lnTo>
                    <a:pt x="1577961" y="978916"/>
                  </a:lnTo>
                  <a:lnTo>
                    <a:pt x="1577961" y="467874"/>
                  </a:lnTo>
                  <a:lnTo>
                    <a:pt x="1019555" y="298627"/>
                  </a:lnTo>
                  <a:lnTo>
                    <a:pt x="0" y="0"/>
                  </a:lnTo>
                  <a:lnTo>
                    <a:pt x="0" y="601316"/>
                  </a:lnTo>
                  <a:lnTo>
                    <a:pt x="1547743" y="1069317"/>
                  </a:lnTo>
                  <a:lnTo>
                    <a:pt x="1547743" y="1043923"/>
                  </a:lnTo>
                  <a:close/>
                </a:path>
              </a:pathLst>
            </a:custGeom>
            <a:solidFill>
              <a:schemeClr val="accent4"/>
            </a:solidFill>
            <a:ln w="1269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1F37F5D-B020-49BD-AD1E-CCDA22054BAE}"/>
                </a:ext>
              </a:extLst>
            </p:cNvPr>
            <p:cNvSpPr/>
            <p:nvPr/>
          </p:nvSpPr>
          <p:spPr>
            <a:xfrm>
              <a:off x="4275528" y="1884189"/>
              <a:ext cx="1826184" cy="675972"/>
            </a:xfrm>
            <a:custGeom>
              <a:avLst/>
              <a:gdLst>
                <a:gd name="connsiteX0" fmla="*/ 1826185 w 1826184"/>
                <a:gd name="connsiteY0" fmla="*/ 477396 h 675972"/>
                <a:gd name="connsiteX1" fmla="*/ 248731 w 1826184"/>
                <a:gd name="connsiteY1" fmla="*/ 0 h 675972"/>
                <a:gd name="connsiteX2" fmla="*/ 20188 w 1826184"/>
                <a:gd name="connsiteY2" fmla="*/ 186515 h 675972"/>
                <a:gd name="connsiteX3" fmla="*/ 20188 w 1826184"/>
                <a:gd name="connsiteY3" fmla="*/ 186515 h 675972"/>
                <a:gd name="connsiteX4" fmla="*/ 18664 w 1826184"/>
                <a:gd name="connsiteY4" fmla="*/ 187403 h 675972"/>
                <a:gd name="connsiteX5" fmla="*/ 16887 w 1826184"/>
                <a:gd name="connsiteY5" fmla="*/ 187403 h 675972"/>
                <a:gd name="connsiteX6" fmla="*/ 14728 w 1826184"/>
                <a:gd name="connsiteY6" fmla="*/ 187403 h 675972"/>
                <a:gd name="connsiteX7" fmla="*/ 14728 w 1826184"/>
                <a:gd name="connsiteY7" fmla="*/ 187403 h 675972"/>
                <a:gd name="connsiteX8" fmla="*/ 13332 w 1826184"/>
                <a:gd name="connsiteY8" fmla="*/ 186515 h 675972"/>
                <a:gd name="connsiteX9" fmla="*/ 13332 w 1826184"/>
                <a:gd name="connsiteY9" fmla="*/ 186515 h 675972"/>
                <a:gd name="connsiteX10" fmla="*/ 0 w 1826184"/>
                <a:gd name="connsiteY10" fmla="*/ 197307 h 675972"/>
                <a:gd name="connsiteX11" fmla="*/ 1583294 w 1826184"/>
                <a:gd name="connsiteY11" fmla="*/ 675973 h 67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6184" h="675972">
                  <a:moveTo>
                    <a:pt x="1826185" y="477396"/>
                  </a:moveTo>
                  <a:lnTo>
                    <a:pt x="248731" y="0"/>
                  </a:lnTo>
                  <a:lnTo>
                    <a:pt x="20188" y="186515"/>
                  </a:lnTo>
                  <a:lnTo>
                    <a:pt x="20188" y="186515"/>
                  </a:lnTo>
                  <a:cubicBezTo>
                    <a:pt x="19731" y="186883"/>
                    <a:pt x="19210" y="187188"/>
                    <a:pt x="18664" y="187403"/>
                  </a:cubicBezTo>
                  <a:lnTo>
                    <a:pt x="16887" y="187403"/>
                  </a:lnTo>
                  <a:cubicBezTo>
                    <a:pt x="16176" y="187530"/>
                    <a:pt x="15439" y="187530"/>
                    <a:pt x="14728" y="187403"/>
                  </a:cubicBezTo>
                  <a:lnTo>
                    <a:pt x="14728" y="187403"/>
                  </a:lnTo>
                  <a:cubicBezTo>
                    <a:pt x="14220" y="187188"/>
                    <a:pt x="13751" y="186883"/>
                    <a:pt x="13332" y="186515"/>
                  </a:cubicBezTo>
                  <a:lnTo>
                    <a:pt x="13332" y="186515"/>
                  </a:lnTo>
                  <a:lnTo>
                    <a:pt x="0" y="197307"/>
                  </a:lnTo>
                  <a:lnTo>
                    <a:pt x="1583294" y="675973"/>
                  </a:lnTo>
                  <a:close/>
                </a:path>
              </a:pathLst>
            </a:custGeom>
            <a:solidFill>
              <a:schemeClr val="accent3"/>
            </a:solidFill>
            <a:ln w="1269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017E5A53-ACBB-42C2-A9C5-5277FF5420EF}"/>
                </a:ext>
              </a:extLst>
            </p:cNvPr>
            <p:cNvSpPr/>
            <p:nvPr/>
          </p:nvSpPr>
          <p:spPr>
            <a:xfrm>
              <a:off x="3879007" y="1791504"/>
              <a:ext cx="242636" cy="805732"/>
            </a:xfrm>
            <a:custGeom>
              <a:avLst/>
              <a:gdLst>
                <a:gd name="connsiteX0" fmla="*/ 242636 w 242636"/>
                <a:gd name="connsiteY0" fmla="*/ 136616 h 805732"/>
                <a:gd name="connsiteX1" fmla="*/ 242636 w 242636"/>
                <a:gd name="connsiteY1" fmla="*/ 0 h 805732"/>
                <a:gd name="connsiteX2" fmla="*/ 0 w 242636"/>
                <a:gd name="connsiteY2" fmla="*/ 197434 h 805732"/>
                <a:gd name="connsiteX3" fmla="*/ 0 w 242636"/>
                <a:gd name="connsiteY3" fmla="*/ 805733 h 805732"/>
                <a:gd name="connsiteX4" fmla="*/ 242636 w 242636"/>
                <a:gd name="connsiteY4" fmla="*/ 608172 h 805732"/>
                <a:gd name="connsiteX5" fmla="*/ 242636 w 242636"/>
                <a:gd name="connsiteY5" fmla="*/ 423689 h 805732"/>
                <a:gd name="connsiteX6" fmla="*/ 242636 w 242636"/>
                <a:gd name="connsiteY6" fmla="*/ 320084 h 805732"/>
                <a:gd name="connsiteX7" fmla="*/ 242636 w 242636"/>
                <a:gd name="connsiteY7" fmla="*/ 136616 h 80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636" h="805732">
                  <a:moveTo>
                    <a:pt x="242636" y="136616"/>
                  </a:moveTo>
                  <a:lnTo>
                    <a:pt x="242636" y="0"/>
                  </a:lnTo>
                  <a:lnTo>
                    <a:pt x="0" y="197434"/>
                  </a:lnTo>
                  <a:lnTo>
                    <a:pt x="0" y="805733"/>
                  </a:lnTo>
                  <a:lnTo>
                    <a:pt x="242636" y="608172"/>
                  </a:lnTo>
                  <a:lnTo>
                    <a:pt x="242636" y="423689"/>
                  </a:lnTo>
                  <a:lnTo>
                    <a:pt x="242636" y="320084"/>
                  </a:lnTo>
                  <a:lnTo>
                    <a:pt x="242636" y="136616"/>
                  </a:lnTo>
                  <a:close/>
                </a:path>
              </a:pathLst>
            </a:custGeom>
            <a:solidFill>
              <a:schemeClr val="tx2"/>
            </a:solidFill>
            <a:ln w="1269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119C9D8C-C212-4896-81A4-1BA270F20C33}"/>
                </a:ext>
              </a:extLst>
            </p:cNvPr>
            <p:cNvSpPr/>
            <p:nvPr/>
          </p:nvSpPr>
          <p:spPr>
            <a:xfrm>
              <a:off x="617192" y="1007863"/>
              <a:ext cx="3251022" cy="1593563"/>
            </a:xfrm>
            <a:custGeom>
              <a:avLst/>
              <a:gdLst>
                <a:gd name="connsiteX0" fmla="*/ 0 w 3251022"/>
                <a:gd name="connsiteY0" fmla="*/ 610585 h 1593563"/>
                <a:gd name="connsiteX1" fmla="*/ 3251022 w 3251022"/>
                <a:gd name="connsiteY1" fmla="*/ 1593563 h 1593563"/>
                <a:gd name="connsiteX2" fmla="*/ 3251022 w 3251022"/>
                <a:gd name="connsiteY2" fmla="*/ 982471 h 1593563"/>
                <a:gd name="connsiteX3" fmla="*/ 0 w 3251022"/>
                <a:gd name="connsiteY3" fmla="*/ 0 h 1593563"/>
                <a:gd name="connsiteX4" fmla="*/ 0 w 3251022"/>
                <a:gd name="connsiteY4" fmla="*/ 610585 h 159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022" h="1593563">
                  <a:moveTo>
                    <a:pt x="0" y="610585"/>
                  </a:moveTo>
                  <a:lnTo>
                    <a:pt x="3251022" y="1593563"/>
                  </a:lnTo>
                  <a:lnTo>
                    <a:pt x="3251022" y="982471"/>
                  </a:lnTo>
                  <a:lnTo>
                    <a:pt x="0" y="0"/>
                  </a:lnTo>
                  <a:lnTo>
                    <a:pt x="0" y="610585"/>
                  </a:lnTo>
                  <a:close/>
                </a:path>
              </a:pathLst>
            </a:custGeom>
            <a:solidFill>
              <a:schemeClr val="accent5"/>
            </a:solidFill>
            <a:ln w="1269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2824080C-3ECC-4E41-BB3C-8332116D2123}"/>
                </a:ext>
              </a:extLst>
            </p:cNvPr>
            <p:cNvSpPr/>
            <p:nvPr/>
          </p:nvSpPr>
          <p:spPr>
            <a:xfrm>
              <a:off x="622398" y="784147"/>
              <a:ext cx="3494166" cy="1197045"/>
            </a:xfrm>
            <a:custGeom>
              <a:avLst/>
              <a:gdLst>
                <a:gd name="connsiteX0" fmla="*/ 3494166 w 3494166"/>
                <a:gd name="connsiteY0" fmla="*/ 998342 h 1197045"/>
                <a:gd name="connsiteX1" fmla="*/ 2002289 w 3494166"/>
                <a:gd name="connsiteY1" fmla="*/ 537452 h 1197045"/>
                <a:gd name="connsiteX2" fmla="*/ 2001781 w 3494166"/>
                <a:gd name="connsiteY2" fmla="*/ 537198 h 1197045"/>
                <a:gd name="connsiteX3" fmla="*/ 2001654 w 3494166"/>
                <a:gd name="connsiteY3" fmla="*/ 537198 h 1197045"/>
                <a:gd name="connsiteX4" fmla="*/ 2001654 w 3494166"/>
                <a:gd name="connsiteY4" fmla="*/ 537198 h 1197045"/>
                <a:gd name="connsiteX5" fmla="*/ 2001654 w 3494166"/>
                <a:gd name="connsiteY5" fmla="*/ 537198 h 1197045"/>
                <a:gd name="connsiteX6" fmla="*/ 263840 w 3494166"/>
                <a:gd name="connsiteY6" fmla="*/ 0 h 1197045"/>
                <a:gd name="connsiteX7" fmla="*/ 0 w 3494166"/>
                <a:gd name="connsiteY7" fmla="*/ 214955 h 1197045"/>
                <a:gd name="connsiteX8" fmla="*/ 3250006 w 3494166"/>
                <a:gd name="connsiteY8" fmla="*/ 1197045 h 1197045"/>
                <a:gd name="connsiteX9" fmla="*/ 3494166 w 3494166"/>
                <a:gd name="connsiteY9" fmla="*/ 998342 h 119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4166" h="1197045">
                  <a:moveTo>
                    <a:pt x="3494166" y="998342"/>
                  </a:moveTo>
                  <a:lnTo>
                    <a:pt x="2002289" y="537452"/>
                  </a:lnTo>
                  <a:lnTo>
                    <a:pt x="2001781" y="537198"/>
                  </a:lnTo>
                  <a:lnTo>
                    <a:pt x="2001654" y="537198"/>
                  </a:lnTo>
                  <a:lnTo>
                    <a:pt x="2001654" y="537198"/>
                  </a:lnTo>
                  <a:lnTo>
                    <a:pt x="2001654" y="537198"/>
                  </a:lnTo>
                  <a:lnTo>
                    <a:pt x="263840" y="0"/>
                  </a:lnTo>
                  <a:lnTo>
                    <a:pt x="0" y="214955"/>
                  </a:lnTo>
                  <a:lnTo>
                    <a:pt x="3250006" y="1197045"/>
                  </a:lnTo>
                  <a:lnTo>
                    <a:pt x="3494166" y="998342"/>
                  </a:lnTo>
                  <a:close/>
                </a:path>
              </a:pathLst>
            </a:custGeom>
            <a:solidFill>
              <a:schemeClr val="accent5"/>
            </a:solidFill>
            <a:ln w="1269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672DE4E8-6A11-4EFA-BA87-7412B18193E3}"/>
                </a:ext>
              </a:extLst>
            </p:cNvPr>
            <p:cNvSpPr/>
            <p:nvPr/>
          </p:nvSpPr>
          <p:spPr>
            <a:xfrm>
              <a:off x="7054355" y="2997310"/>
              <a:ext cx="510666" cy="160232"/>
            </a:xfrm>
            <a:custGeom>
              <a:avLst/>
              <a:gdLst>
                <a:gd name="connsiteX0" fmla="*/ 0 w 510666"/>
                <a:gd name="connsiteY0" fmla="*/ 0 h 160232"/>
                <a:gd name="connsiteX1" fmla="*/ 0 w 510666"/>
                <a:gd name="connsiteY1" fmla="*/ 108049 h 160232"/>
                <a:gd name="connsiteX2" fmla="*/ 510667 w 510666"/>
                <a:gd name="connsiteY2" fmla="*/ 160232 h 160232"/>
                <a:gd name="connsiteX3" fmla="*/ 510667 w 510666"/>
                <a:gd name="connsiteY3" fmla="*/ 133188 h 160232"/>
                <a:gd name="connsiteX4" fmla="*/ 0 w 510666"/>
                <a:gd name="connsiteY4" fmla="*/ 0 h 160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666" h="160232">
                  <a:moveTo>
                    <a:pt x="0" y="0"/>
                  </a:moveTo>
                  <a:lnTo>
                    <a:pt x="0" y="108049"/>
                  </a:lnTo>
                  <a:lnTo>
                    <a:pt x="510667" y="160232"/>
                  </a:lnTo>
                  <a:lnTo>
                    <a:pt x="510667" y="133188"/>
                  </a:lnTo>
                  <a:lnTo>
                    <a:pt x="0" y="0"/>
                  </a:lnTo>
                  <a:close/>
                </a:path>
              </a:pathLst>
            </a:custGeom>
            <a:solidFill>
              <a:schemeClr val="accent1">
                <a:lumMod val="75000"/>
              </a:schemeClr>
            </a:solidFill>
            <a:ln w="1269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43293CA4-CE6D-4F7C-85CE-24836ED615F6}"/>
                </a:ext>
              </a:extLst>
            </p:cNvPr>
            <p:cNvSpPr/>
            <p:nvPr/>
          </p:nvSpPr>
          <p:spPr>
            <a:xfrm>
              <a:off x="8661519" y="3833261"/>
              <a:ext cx="1164933" cy="547100"/>
            </a:xfrm>
            <a:custGeom>
              <a:avLst/>
              <a:gdLst>
                <a:gd name="connsiteX0" fmla="*/ 4444 w 1164933"/>
                <a:gd name="connsiteY0" fmla="*/ 0 h 547100"/>
                <a:gd name="connsiteX1" fmla="*/ 4444 w 1164933"/>
                <a:gd name="connsiteY1" fmla="*/ 31361 h 547100"/>
                <a:gd name="connsiteX2" fmla="*/ 4444 w 1164933"/>
                <a:gd name="connsiteY2" fmla="*/ 32250 h 547100"/>
                <a:gd name="connsiteX3" fmla="*/ 4444 w 1164933"/>
                <a:gd name="connsiteY3" fmla="*/ 33012 h 547100"/>
                <a:gd name="connsiteX4" fmla="*/ 4444 w 1164933"/>
                <a:gd name="connsiteY4" fmla="*/ 33012 h 547100"/>
                <a:gd name="connsiteX5" fmla="*/ 2794 w 1164933"/>
                <a:gd name="connsiteY5" fmla="*/ 35170 h 547100"/>
                <a:gd name="connsiteX6" fmla="*/ 2794 w 1164933"/>
                <a:gd name="connsiteY6" fmla="*/ 35170 h 547100"/>
                <a:gd name="connsiteX7" fmla="*/ 0 w 1164933"/>
                <a:gd name="connsiteY7" fmla="*/ 35932 h 547100"/>
                <a:gd name="connsiteX8" fmla="*/ 0 w 1164933"/>
                <a:gd name="connsiteY8" fmla="*/ 44438 h 547100"/>
                <a:gd name="connsiteX9" fmla="*/ 0 w 1164933"/>
                <a:gd name="connsiteY9" fmla="*/ 44438 h 547100"/>
                <a:gd name="connsiteX10" fmla="*/ 1143 w 1164933"/>
                <a:gd name="connsiteY10" fmla="*/ 44438 h 547100"/>
                <a:gd name="connsiteX11" fmla="*/ 2032 w 1164933"/>
                <a:gd name="connsiteY11" fmla="*/ 44438 h 547100"/>
                <a:gd name="connsiteX12" fmla="*/ 2667 w 1164933"/>
                <a:gd name="connsiteY12" fmla="*/ 44438 h 547100"/>
                <a:gd name="connsiteX13" fmla="*/ 3682 w 1164933"/>
                <a:gd name="connsiteY13" fmla="*/ 45073 h 547100"/>
                <a:gd name="connsiteX14" fmla="*/ 3682 w 1164933"/>
                <a:gd name="connsiteY14" fmla="*/ 45073 h 547100"/>
                <a:gd name="connsiteX15" fmla="*/ 3682 w 1164933"/>
                <a:gd name="connsiteY15" fmla="*/ 45073 h 547100"/>
                <a:gd name="connsiteX16" fmla="*/ 3682 w 1164933"/>
                <a:gd name="connsiteY16" fmla="*/ 46089 h 547100"/>
                <a:gd name="connsiteX17" fmla="*/ 3682 w 1164933"/>
                <a:gd name="connsiteY17" fmla="*/ 47105 h 547100"/>
                <a:gd name="connsiteX18" fmla="*/ 3682 w 1164933"/>
                <a:gd name="connsiteY18" fmla="*/ 47866 h 547100"/>
                <a:gd name="connsiteX19" fmla="*/ 3682 w 1164933"/>
                <a:gd name="connsiteY19" fmla="*/ 134585 h 547100"/>
                <a:gd name="connsiteX20" fmla="*/ 86592 w 1164933"/>
                <a:gd name="connsiteY20" fmla="*/ 159979 h 547100"/>
                <a:gd name="connsiteX21" fmla="*/ 86592 w 1164933"/>
                <a:gd name="connsiteY21" fmla="*/ 159979 h 547100"/>
                <a:gd name="connsiteX22" fmla="*/ 87354 w 1164933"/>
                <a:gd name="connsiteY22" fmla="*/ 159979 h 547100"/>
                <a:gd name="connsiteX23" fmla="*/ 88116 w 1164933"/>
                <a:gd name="connsiteY23" fmla="*/ 159979 h 547100"/>
                <a:gd name="connsiteX24" fmla="*/ 88116 w 1164933"/>
                <a:gd name="connsiteY24" fmla="*/ 159979 h 547100"/>
                <a:gd name="connsiteX25" fmla="*/ 88116 w 1164933"/>
                <a:gd name="connsiteY25" fmla="*/ 159979 h 547100"/>
                <a:gd name="connsiteX26" fmla="*/ 88116 w 1164933"/>
                <a:gd name="connsiteY26" fmla="*/ 159979 h 547100"/>
                <a:gd name="connsiteX27" fmla="*/ 88116 w 1164933"/>
                <a:gd name="connsiteY27" fmla="*/ 160740 h 547100"/>
                <a:gd name="connsiteX28" fmla="*/ 88116 w 1164933"/>
                <a:gd name="connsiteY28" fmla="*/ 160740 h 547100"/>
                <a:gd name="connsiteX29" fmla="*/ 88116 w 1164933"/>
                <a:gd name="connsiteY29" fmla="*/ 161502 h 547100"/>
                <a:gd name="connsiteX30" fmla="*/ 88116 w 1164933"/>
                <a:gd name="connsiteY30" fmla="*/ 162264 h 547100"/>
                <a:gd name="connsiteX31" fmla="*/ 88116 w 1164933"/>
                <a:gd name="connsiteY31" fmla="*/ 218891 h 547100"/>
                <a:gd name="connsiteX32" fmla="*/ 1164934 w 1164933"/>
                <a:gd name="connsiteY32" fmla="*/ 547101 h 547100"/>
                <a:gd name="connsiteX33" fmla="*/ 1164934 w 1164933"/>
                <a:gd name="connsiteY33" fmla="*/ 350302 h 54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64933" h="547100">
                  <a:moveTo>
                    <a:pt x="4444" y="0"/>
                  </a:moveTo>
                  <a:lnTo>
                    <a:pt x="4444" y="31361"/>
                  </a:lnTo>
                  <a:cubicBezTo>
                    <a:pt x="4444" y="31361"/>
                    <a:pt x="4444" y="31996"/>
                    <a:pt x="4444" y="32250"/>
                  </a:cubicBezTo>
                  <a:cubicBezTo>
                    <a:pt x="4444" y="32504"/>
                    <a:pt x="4444" y="32250"/>
                    <a:pt x="4444" y="33012"/>
                  </a:cubicBezTo>
                  <a:lnTo>
                    <a:pt x="4444" y="33012"/>
                  </a:lnTo>
                  <a:cubicBezTo>
                    <a:pt x="4114" y="33875"/>
                    <a:pt x="3542" y="34624"/>
                    <a:pt x="2794" y="35170"/>
                  </a:cubicBezTo>
                  <a:lnTo>
                    <a:pt x="2794" y="35170"/>
                  </a:lnTo>
                  <a:cubicBezTo>
                    <a:pt x="1930" y="35614"/>
                    <a:pt x="978" y="35881"/>
                    <a:pt x="0" y="35932"/>
                  </a:cubicBezTo>
                  <a:lnTo>
                    <a:pt x="0" y="44438"/>
                  </a:lnTo>
                  <a:lnTo>
                    <a:pt x="0" y="44438"/>
                  </a:lnTo>
                  <a:lnTo>
                    <a:pt x="1143" y="44438"/>
                  </a:lnTo>
                  <a:lnTo>
                    <a:pt x="2032" y="44438"/>
                  </a:lnTo>
                  <a:cubicBezTo>
                    <a:pt x="2032" y="44438"/>
                    <a:pt x="2032" y="44438"/>
                    <a:pt x="2667" y="44438"/>
                  </a:cubicBezTo>
                  <a:lnTo>
                    <a:pt x="3682" y="45073"/>
                  </a:lnTo>
                  <a:lnTo>
                    <a:pt x="3682" y="45073"/>
                  </a:lnTo>
                  <a:lnTo>
                    <a:pt x="3682" y="45073"/>
                  </a:lnTo>
                  <a:cubicBezTo>
                    <a:pt x="3721" y="45416"/>
                    <a:pt x="3721" y="45746"/>
                    <a:pt x="3682" y="46089"/>
                  </a:cubicBezTo>
                  <a:lnTo>
                    <a:pt x="3682" y="47105"/>
                  </a:lnTo>
                  <a:cubicBezTo>
                    <a:pt x="3682" y="47105"/>
                    <a:pt x="3682" y="47105"/>
                    <a:pt x="3682" y="47866"/>
                  </a:cubicBezTo>
                  <a:lnTo>
                    <a:pt x="3682" y="134585"/>
                  </a:lnTo>
                  <a:lnTo>
                    <a:pt x="86592" y="159979"/>
                  </a:lnTo>
                  <a:lnTo>
                    <a:pt x="86592" y="159979"/>
                  </a:lnTo>
                  <a:lnTo>
                    <a:pt x="87354" y="159979"/>
                  </a:lnTo>
                  <a:lnTo>
                    <a:pt x="88116" y="159979"/>
                  </a:lnTo>
                  <a:lnTo>
                    <a:pt x="88116" y="159979"/>
                  </a:lnTo>
                  <a:lnTo>
                    <a:pt x="88116" y="159979"/>
                  </a:lnTo>
                  <a:cubicBezTo>
                    <a:pt x="88116" y="159979"/>
                    <a:pt x="88116" y="159979"/>
                    <a:pt x="88116" y="159979"/>
                  </a:cubicBezTo>
                  <a:lnTo>
                    <a:pt x="88116" y="160740"/>
                  </a:lnTo>
                  <a:lnTo>
                    <a:pt x="88116" y="160740"/>
                  </a:lnTo>
                  <a:lnTo>
                    <a:pt x="88116" y="161502"/>
                  </a:lnTo>
                  <a:cubicBezTo>
                    <a:pt x="88116" y="161502"/>
                    <a:pt x="88116" y="161502"/>
                    <a:pt x="88116" y="162264"/>
                  </a:cubicBezTo>
                  <a:lnTo>
                    <a:pt x="88116" y="218891"/>
                  </a:lnTo>
                  <a:lnTo>
                    <a:pt x="1164934" y="547101"/>
                  </a:lnTo>
                  <a:lnTo>
                    <a:pt x="1164934" y="350302"/>
                  </a:lnTo>
                  <a:close/>
                </a:path>
              </a:pathLst>
            </a:custGeom>
            <a:solidFill>
              <a:schemeClr val="accent1">
                <a:lumMod val="75000"/>
              </a:schemeClr>
            </a:solidFill>
            <a:ln w="1269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00F1CE69-AE4C-4B0B-BE72-60D73A336D54}"/>
                </a:ext>
              </a:extLst>
            </p:cNvPr>
            <p:cNvSpPr/>
            <p:nvPr/>
          </p:nvSpPr>
          <p:spPr>
            <a:xfrm>
              <a:off x="5833556" y="3150178"/>
              <a:ext cx="3068949" cy="638517"/>
            </a:xfrm>
            <a:custGeom>
              <a:avLst/>
              <a:gdLst>
                <a:gd name="connsiteX0" fmla="*/ 0 w 3068949"/>
                <a:gd name="connsiteY0" fmla="*/ 0 h 638517"/>
                <a:gd name="connsiteX1" fmla="*/ 0 w 3068949"/>
                <a:gd name="connsiteY1" fmla="*/ 27044 h 638517"/>
                <a:gd name="connsiteX2" fmla="*/ 0 w 3068949"/>
                <a:gd name="connsiteY2" fmla="*/ 197053 h 638517"/>
                <a:gd name="connsiteX3" fmla="*/ 2865292 w 3068949"/>
                <a:gd name="connsiteY3" fmla="*/ 638517 h 638517"/>
                <a:gd name="connsiteX4" fmla="*/ 3068949 w 3068949"/>
                <a:gd name="connsiteY4" fmla="*/ 473079 h 638517"/>
                <a:gd name="connsiteX5" fmla="*/ 0 w 3068949"/>
                <a:gd name="connsiteY5" fmla="*/ 0 h 63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8949" h="638517">
                  <a:moveTo>
                    <a:pt x="0" y="0"/>
                  </a:moveTo>
                  <a:lnTo>
                    <a:pt x="0" y="27044"/>
                  </a:lnTo>
                  <a:lnTo>
                    <a:pt x="0" y="197053"/>
                  </a:lnTo>
                  <a:lnTo>
                    <a:pt x="2865292" y="638517"/>
                  </a:lnTo>
                  <a:lnTo>
                    <a:pt x="3068949" y="473079"/>
                  </a:lnTo>
                  <a:lnTo>
                    <a:pt x="0" y="0"/>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33F33F3-FFC2-4DDE-BE0A-527A573E8EA1}"/>
                </a:ext>
              </a:extLst>
            </p:cNvPr>
            <p:cNvSpPr/>
            <p:nvPr/>
          </p:nvSpPr>
          <p:spPr>
            <a:xfrm>
              <a:off x="10335469" y="4506567"/>
              <a:ext cx="758888" cy="229302"/>
            </a:xfrm>
            <a:custGeom>
              <a:avLst/>
              <a:gdLst>
                <a:gd name="connsiteX0" fmla="*/ 476511 w 758888"/>
                <a:gd name="connsiteY0" fmla="*/ 151852 h 229302"/>
                <a:gd name="connsiteX1" fmla="*/ 758889 w 758888"/>
                <a:gd name="connsiteY1" fmla="*/ 229302 h 229302"/>
                <a:gd name="connsiteX2" fmla="*/ 0 w 758888"/>
                <a:gd name="connsiteY2" fmla="*/ 0 h 229302"/>
                <a:gd name="connsiteX3" fmla="*/ 476511 w 758888"/>
                <a:gd name="connsiteY3" fmla="*/ 151852 h 229302"/>
              </a:gdLst>
              <a:ahLst/>
              <a:cxnLst>
                <a:cxn ang="0">
                  <a:pos x="connsiteX0" y="connsiteY0"/>
                </a:cxn>
                <a:cxn ang="0">
                  <a:pos x="connsiteX1" y="connsiteY1"/>
                </a:cxn>
                <a:cxn ang="0">
                  <a:pos x="connsiteX2" y="connsiteY2"/>
                </a:cxn>
                <a:cxn ang="0">
                  <a:pos x="connsiteX3" y="connsiteY3"/>
                </a:cxn>
              </a:cxnLst>
              <a:rect l="l" t="t" r="r" b="b"/>
              <a:pathLst>
                <a:path w="758888" h="229302">
                  <a:moveTo>
                    <a:pt x="476511" y="151852"/>
                  </a:moveTo>
                  <a:lnTo>
                    <a:pt x="758889" y="229302"/>
                  </a:lnTo>
                  <a:lnTo>
                    <a:pt x="0" y="0"/>
                  </a:lnTo>
                  <a:lnTo>
                    <a:pt x="476511" y="151852"/>
                  </a:lnTo>
                  <a:close/>
                </a:path>
              </a:pathLst>
            </a:custGeom>
            <a:solidFill>
              <a:srgbClr val="F59994"/>
            </a:solidFill>
            <a:ln w="1269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FC69BE9E-209A-44C9-A643-31AB33338516}"/>
                </a:ext>
              </a:extLst>
            </p:cNvPr>
            <p:cNvSpPr/>
            <p:nvPr/>
          </p:nvSpPr>
          <p:spPr>
            <a:xfrm>
              <a:off x="9835722" y="4184705"/>
              <a:ext cx="1764858" cy="708603"/>
            </a:xfrm>
            <a:custGeom>
              <a:avLst/>
              <a:gdLst>
                <a:gd name="connsiteX0" fmla="*/ 1524 w 1764858"/>
                <a:gd name="connsiteY0" fmla="*/ 199211 h 708603"/>
                <a:gd name="connsiteX1" fmla="*/ 23997 w 1764858"/>
                <a:gd name="connsiteY1" fmla="*/ 205687 h 708603"/>
                <a:gd name="connsiteX2" fmla="*/ 183342 w 1764858"/>
                <a:gd name="connsiteY2" fmla="*/ 222192 h 708603"/>
                <a:gd name="connsiteX3" fmla="*/ 183342 w 1764858"/>
                <a:gd name="connsiteY3" fmla="*/ 221177 h 708603"/>
                <a:gd name="connsiteX4" fmla="*/ 190199 w 1764858"/>
                <a:gd name="connsiteY4" fmla="*/ 218129 h 708603"/>
                <a:gd name="connsiteX5" fmla="*/ 1444391 w 1764858"/>
                <a:gd name="connsiteY5" fmla="*/ 596999 h 708603"/>
                <a:gd name="connsiteX6" fmla="*/ 1444391 w 1764858"/>
                <a:gd name="connsiteY6" fmla="*/ 596999 h 708603"/>
                <a:gd name="connsiteX7" fmla="*/ 1445407 w 1764858"/>
                <a:gd name="connsiteY7" fmla="*/ 596999 h 708603"/>
                <a:gd name="connsiteX8" fmla="*/ 1446169 w 1764858"/>
                <a:gd name="connsiteY8" fmla="*/ 596999 h 708603"/>
                <a:gd name="connsiteX9" fmla="*/ 1446169 w 1764858"/>
                <a:gd name="connsiteY9" fmla="*/ 596999 h 708603"/>
                <a:gd name="connsiteX10" fmla="*/ 1446169 w 1764858"/>
                <a:gd name="connsiteY10" fmla="*/ 596999 h 708603"/>
                <a:gd name="connsiteX11" fmla="*/ 1446169 w 1764858"/>
                <a:gd name="connsiteY11" fmla="*/ 597761 h 708603"/>
                <a:gd name="connsiteX12" fmla="*/ 1446169 w 1764858"/>
                <a:gd name="connsiteY12" fmla="*/ 598650 h 708603"/>
                <a:gd name="connsiteX13" fmla="*/ 1446169 w 1764858"/>
                <a:gd name="connsiteY13" fmla="*/ 599538 h 708603"/>
                <a:gd name="connsiteX14" fmla="*/ 1446169 w 1764858"/>
                <a:gd name="connsiteY14" fmla="*/ 600554 h 708603"/>
                <a:gd name="connsiteX15" fmla="*/ 1446169 w 1764858"/>
                <a:gd name="connsiteY15" fmla="*/ 601189 h 708603"/>
                <a:gd name="connsiteX16" fmla="*/ 1446169 w 1764858"/>
                <a:gd name="connsiteY16" fmla="*/ 601189 h 708603"/>
                <a:gd name="connsiteX17" fmla="*/ 1444772 w 1764858"/>
                <a:gd name="connsiteY17" fmla="*/ 603094 h 708603"/>
                <a:gd name="connsiteX18" fmla="*/ 1441217 w 1764858"/>
                <a:gd name="connsiteY18" fmla="*/ 606141 h 708603"/>
                <a:gd name="connsiteX19" fmla="*/ 1441217 w 1764858"/>
                <a:gd name="connsiteY19" fmla="*/ 615409 h 708603"/>
                <a:gd name="connsiteX20" fmla="*/ 1442867 w 1764858"/>
                <a:gd name="connsiteY20" fmla="*/ 615409 h 708603"/>
                <a:gd name="connsiteX21" fmla="*/ 1764859 w 1764858"/>
                <a:gd name="connsiteY21" fmla="*/ 708603 h 708603"/>
                <a:gd name="connsiteX22" fmla="*/ 1764859 w 1764858"/>
                <a:gd name="connsiteY22" fmla="*/ 511804 h 708603"/>
                <a:gd name="connsiteX23" fmla="*/ 0 w 1764858"/>
                <a:gd name="connsiteY23" fmla="*/ 0 h 70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4858" h="708603">
                  <a:moveTo>
                    <a:pt x="1524" y="199211"/>
                  </a:moveTo>
                  <a:lnTo>
                    <a:pt x="23997" y="205687"/>
                  </a:lnTo>
                  <a:lnTo>
                    <a:pt x="183342" y="222192"/>
                  </a:lnTo>
                  <a:cubicBezTo>
                    <a:pt x="183292" y="221862"/>
                    <a:pt x="183292" y="221507"/>
                    <a:pt x="183342" y="221177"/>
                  </a:cubicBezTo>
                  <a:cubicBezTo>
                    <a:pt x="184498" y="218549"/>
                    <a:pt x="187469" y="217228"/>
                    <a:pt x="190199" y="218129"/>
                  </a:cubicBezTo>
                  <a:lnTo>
                    <a:pt x="1444391" y="596999"/>
                  </a:lnTo>
                  <a:lnTo>
                    <a:pt x="1444391" y="596999"/>
                  </a:lnTo>
                  <a:lnTo>
                    <a:pt x="1445407" y="596999"/>
                  </a:lnTo>
                  <a:lnTo>
                    <a:pt x="1446169" y="596999"/>
                  </a:lnTo>
                  <a:lnTo>
                    <a:pt x="1446169" y="596999"/>
                  </a:lnTo>
                  <a:lnTo>
                    <a:pt x="1446169" y="596999"/>
                  </a:lnTo>
                  <a:cubicBezTo>
                    <a:pt x="1446169" y="596999"/>
                    <a:pt x="1446169" y="596999"/>
                    <a:pt x="1446169" y="597761"/>
                  </a:cubicBezTo>
                  <a:cubicBezTo>
                    <a:pt x="1446169" y="598523"/>
                    <a:pt x="1446169" y="598396"/>
                    <a:pt x="1446169" y="598650"/>
                  </a:cubicBezTo>
                  <a:cubicBezTo>
                    <a:pt x="1446232" y="598942"/>
                    <a:pt x="1446232" y="599246"/>
                    <a:pt x="1446169" y="599538"/>
                  </a:cubicBezTo>
                  <a:cubicBezTo>
                    <a:pt x="1446232" y="599869"/>
                    <a:pt x="1446232" y="600224"/>
                    <a:pt x="1446169" y="600554"/>
                  </a:cubicBezTo>
                  <a:cubicBezTo>
                    <a:pt x="1446232" y="600757"/>
                    <a:pt x="1446232" y="600986"/>
                    <a:pt x="1446169" y="601189"/>
                  </a:cubicBezTo>
                  <a:lnTo>
                    <a:pt x="1446169" y="601189"/>
                  </a:lnTo>
                  <a:cubicBezTo>
                    <a:pt x="1445940" y="601964"/>
                    <a:pt x="1445445" y="602649"/>
                    <a:pt x="1444772" y="603094"/>
                  </a:cubicBezTo>
                  <a:lnTo>
                    <a:pt x="1441217" y="606141"/>
                  </a:lnTo>
                  <a:lnTo>
                    <a:pt x="1441217" y="615409"/>
                  </a:lnTo>
                  <a:lnTo>
                    <a:pt x="1442867" y="615409"/>
                  </a:lnTo>
                  <a:lnTo>
                    <a:pt x="1764859" y="708603"/>
                  </a:lnTo>
                  <a:lnTo>
                    <a:pt x="1764859" y="511804"/>
                  </a:lnTo>
                  <a:lnTo>
                    <a:pt x="0" y="0"/>
                  </a:lnTo>
                  <a:close/>
                </a:path>
              </a:pathLst>
            </a:custGeom>
            <a:solidFill>
              <a:schemeClr val="accent3"/>
            </a:solidFill>
            <a:ln w="1269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6FD68C00-9475-46D5-9199-D48BF24D2B87}"/>
                </a:ext>
              </a:extLst>
            </p:cNvPr>
            <p:cNvSpPr/>
            <p:nvPr/>
          </p:nvSpPr>
          <p:spPr>
            <a:xfrm>
              <a:off x="5835968" y="2997310"/>
              <a:ext cx="4550795" cy="1177492"/>
            </a:xfrm>
            <a:custGeom>
              <a:avLst/>
              <a:gdLst>
                <a:gd name="connsiteX0" fmla="*/ 4550796 w 4550795"/>
                <a:gd name="connsiteY0" fmla="*/ 724601 h 1177492"/>
                <a:gd name="connsiteX1" fmla="*/ 3304984 w 4550795"/>
                <a:gd name="connsiteY1" fmla="*/ 348398 h 1177492"/>
                <a:gd name="connsiteX2" fmla="*/ 3304984 w 4550795"/>
                <a:gd name="connsiteY2" fmla="*/ 348398 h 1177492"/>
                <a:gd name="connsiteX3" fmla="*/ 3222073 w 4550795"/>
                <a:gd name="connsiteY3" fmla="*/ 323004 h 1177492"/>
                <a:gd name="connsiteX4" fmla="*/ 1920268 w 4550795"/>
                <a:gd name="connsiteY4" fmla="*/ 189562 h 1177492"/>
                <a:gd name="connsiteX5" fmla="*/ 1733878 w 4550795"/>
                <a:gd name="connsiteY5" fmla="*/ 170517 h 1177492"/>
                <a:gd name="connsiteX6" fmla="*/ 1212293 w 4550795"/>
                <a:gd name="connsiteY6" fmla="*/ 117191 h 1177492"/>
                <a:gd name="connsiteX7" fmla="*/ 238954 w 4550795"/>
                <a:gd name="connsiteY7" fmla="*/ 17394 h 1177492"/>
                <a:gd name="connsiteX8" fmla="*/ 68055 w 4550795"/>
                <a:gd name="connsiteY8" fmla="*/ 0 h 1177492"/>
                <a:gd name="connsiteX9" fmla="*/ 27933 w 4550795"/>
                <a:gd name="connsiteY9" fmla="*/ 84433 h 1177492"/>
                <a:gd name="connsiteX10" fmla="*/ 27933 w 4550795"/>
                <a:gd name="connsiteY10" fmla="*/ 84433 h 1177492"/>
                <a:gd name="connsiteX11" fmla="*/ 0 w 4550795"/>
                <a:gd name="connsiteY11" fmla="*/ 143219 h 1177492"/>
                <a:gd name="connsiteX12" fmla="*/ 3079488 w 4550795"/>
                <a:gd name="connsiteY12" fmla="*/ 617948 h 1177492"/>
                <a:gd name="connsiteX13" fmla="*/ 3080122 w 4550795"/>
                <a:gd name="connsiteY13" fmla="*/ 617948 h 1177492"/>
                <a:gd name="connsiteX14" fmla="*/ 3081138 w 4550795"/>
                <a:gd name="connsiteY14" fmla="*/ 617948 h 1177492"/>
                <a:gd name="connsiteX15" fmla="*/ 3082027 w 4550795"/>
                <a:gd name="connsiteY15" fmla="*/ 617948 h 1177492"/>
                <a:gd name="connsiteX16" fmla="*/ 3082027 w 4550795"/>
                <a:gd name="connsiteY16" fmla="*/ 617948 h 1177492"/>
                <a:gd name="connsiteX17" fmla="*/ 3082027 w 4550795"/>
                <a:gd name="connsiteY17" fmla="*/ 617948 h 1177492"/>
                <a:gd name="connsiteX18" fmla="*/ 3082027 w 4550795"/>
                <a:gd name="connsiteY18" fmla="*/ 618837 h 1177492"/>
                <a:gd name="connsiteX19" fmla="*/ 3082027 w 4550795"/>
                <a:gd name="connsiteY19" fmla="*/ 619726 h 1177492"/>
                <a:gd name="connsiteX20" fmla="*/ 3082027 w 4550795"/>
                <a:gd name="connsiteY20" fmla="*/ 620615 h 1177492"/>
                <a:gd name="connsiteX21" fmla="*/ 3082027 w 4550795"/>
                <a:gd name="connsiteY21" fmla="*/ 622139 h 1177492"/>
                <a:gd name="connsiteX22" fmla="*/ 3080377 w 4550795"/>
                <a:gd name="connsiteY22" fmla="*/ 624678 h 1177492"/>
                <a:gd name="connsiteX23" fmla="*/ 3080377 w 4550795"/>
                <a:gd name="connsiteY23" fmla="*/ 624678 h 1177492"/>
                <a:gd name="connsiteX24" fmla="*/ 2868086 w 4550795"/>
                <a:gd name="connsiteY24" fmla="*/ 800273 h 1177492"/>
                <a:gd name="connsiteX25" fmla="*/ 2835074 w 4550795"/>
                <a:gd name="connsiteY25" fmla="*/ 827190 h 1177492"/>
                <a:gd name="connsiteX26" fmla="*/ 3994675 w 4550795"/>
                <a:gd name="connsiteY26" fmla="*/ 1177492 h 117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50795" h="1177492">
                  <a:moveTo>
                    <a:pt x="4550796" y="724601"/>
                  </a:moveTo>
                  <a:lnTo>
                    <a:pt x="3304984" y="348398"/>
                  </a:lnTo>
                  <a:lnTo>
                    <a:pt x="3304984" y="348398"/>
                  </a:lnTo>
                  <a:lnTo>
                    <a:pt x="3222073" y="323004"/>
                  </a:lnTo>
                  <a:lnTo>
                    <a:pt x="1920268" y="189562"/>
                  </a:lnTo>
                  <a:lnTo>
                    <a:pt x="1733878" y="170517"/>
                  </a:lnTo>
                  <a:lnTo>
                    <a:pt x="1212293" y="117191"/>
                  </a:lnTo>
                  <a:lnTo>
                    <a:pt x="238954" y="17394"/>
                  </a:lnTo>
                  <a:lnTo>
                    <a:pt x="68055" y="0"/>
                  </a:lnTo>
                  <a:lnTo>
                    <a:pt x="27933" y="84433"/>
                  </a:lnTo>
                  <a:lnTo>
                    <a:pt x="27933" y="84433"/>
                  </a:lnTo>
                  <a:lnTo>
                    <a:pt x="0" y="143219"/>
                  </a:lnTo>
                  <a:lnTo>
                    <a:pt x="3079488" y="617948"/>
                  </a:lnTo>
                  <a:lnTo>
                    <a:pt x="3080122" y="617948"/>
                  </a:lnTo>
                  <a:lnTo>
                    <a:pt x="3081138" y="617948"/>
                  </a:lnTo>
                  <a:cubicBezTo>
                    <a:pt x="3081431" y="617885"/>
                    <a:pt x="3081735" y="617885"/>
                    <a:pt x="3082027" y="617948"/>
                  </a:cubicBezTo>
                  <a:lnTo>
                    <a:pt x="3082027" y="617948"/>
                  </a:lnTo>
                  <a:lnTo>
                    <a:pt x="3082027" y="617948"/>
                  </a:lnTo>
                  <a:cubicBezTo>
                    <a:pt x="3082065" y="618241"/>
                    <a:pt x="3082065" y="618545"/>
                    <a:pt x="3082027" y="618837"/>
                  </a:cubicBezTo>
                  <a:cubicBezTo>
                    <a:pt x="3082091" y="619129"/>
                    <a:pt x="3082091" y="619434"/>
                    <a:pt x="3082027" y="619726"/>
                  </a:cubicBezTo>
                  <a:cubicBezTo>
                    <a:pt x="3081976" y="620018"/>
                    <a:pt x="3081976" y="620323"/>
                    <a:pt x="3082027" y="620615"/>
                  </a:cubicBezTo>
                  <a:lnTo>
                    <a:pt x="3082027" y="622139"/>
                  </a:lnTo>
                  <a:cubicBezTo>
                    <a:pt x="3081773" y="623141"/>
                    <a:pt x="3081190" y="624043"/>
                    <a:pt x="3080377" y="624678"/>
                  </a:cubicBezTo>
                  <a:lnTo>
                    <a:pt x="3080377" y="624678"/>
                  </a:lnTo>
                  <a:lnTo>
                    <a:pt x="2868086" y="800273"/>
                  </a:lnTo>
                  <a:lnTo>
                    <a:pt x="2835074" y="827190"/>
                  </a:lnTo>
                  <a:lnTo>
                    <a:pt x="3994675" y="1177492"/>
                  </a:lnTo>
                  <a:close/>
                </a:path>
              </a:pathLst>
            </a:custGeom>
            <a:solidFill>
              <a:schemeClr val="accent5">
                <a:lumMod val="75000"/>
              </a:schemeClr>
            </a:solidFill>
            <a:ln w="1269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34E4848C-69F7-4A89-957C-F518EB45FE72}"/>
                </a:ext>
              </a:extLst>
            </p:cNvPr>
            <p:cNvSpPr/>
            <p:nvPr/>
          </p:nvSpPr>
          <p:spPr>
            <a:xfrm>
              <a:off x="9235797" y="3363991"/>
              <a:ext cx="1286569" cy="350428"/>
            </a:xfrm>
            <a:custGeom>
              <a:avLst/>
              <a:gdLst>
                <a:gd name="connsiteX0" fmla="*/ 0 w 1286569"/>
                <a:gd name="connsiteY0" fmla="*/ 0 h 350428"/>
                <a:gd name="connsiteX1" fmla="*/ 1160236 w 1286569"/>
                <a:gd name="connsiteY1" fmla="*/ 350429 h 350428"/>
                <a:gd name="connsiteX2" fmla="*/ 1286570 w 1286569"/>
                <a:gd name="connsiteY2" fmla="*/ 247712 h 350428"/>
                <a:gd name="connsiteX3" fmla="*/ 400204 w 1286569"/>
                <a:gd name="connsiteY3" fmla="*/ 77069 h 350428"/>
                <a:gd name="connsiteX4" fmla="*/ 0 w 1286569"/>
                <a:gd name="connsiteY4" fmla="*/ 0 h 350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569" h="350428">
                  <a:moveTo>
                    <a:pt x="0" y="0"/>
                  </a:moveTo>
                  <a:lnTo>
                    <a:pt x="1160236" y="350429"/>
                  </a:lnTo>
                  <a:lnTo>
                    <a:pt x="1286570" y="247712"/>
                  </a:lnTo>
                  <a:lnTo>
                    <a:pt x="400204" y="77069"/>
                  </a:lnTo>
                  <a:lnTo>
                    <a:pt x="0" y="0"/>
                  </a:lnTo>
                  <a:close/>
                </a:path>
              </a:pathLst>
            </a:custGeom>
            <a:solidFill>
              <a:srgbClr val="C5E3E3"/>
            </a:solidFill>
            <a:ln w="1269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34B9893-DA6D-44A3-8276-2500C282F762}"/>
                </a:ext>
              </a:extLst>
            </p:cNvPr>
            <p:cNvSpPr/>
            <p:nvPr/>
          </p:nvSpPr>
          <p:spPr>
            <a:xfrm>
              <a:off x="10407841" y="3614242"/>
              <a:ext cx="1759399" cy="580239"/>
            </a:xfrm>
            <a:custGeom>
              <a:avLst/>
              <a:gdLst>
                <a:gd name="connsiteX0" fmla="*/ 640809 w 1759399"/>
                <a:gd name="connsiteY0" fmla="*/ 107541 h 580239"/>
                <a:gd name="connsiteX1" fmla="*/ 640809 w 1759399"/>
                <a:gd name="connsiteY1" fmla="*/ 107541 h 580239"/>
                <a:gd name="connsiteX2" fmla="*/ 222449 w 1759399"/>
                <a:gd name="connsiteY2" fmla="*/ 19807 h 580239"/>
                <a:gd name="connsiteX3" fmla="*/ 127604 w 1759399"/>
                <a:gd name="connsiteY3" fmla="*/ 0 h 580239"/>
                <a:gd name="connsiteX4" fmla="*/ 0 w 1759399"/>
                <a:gd name="connsiteY4" fmla="*/ 103732 h 580239"/>
                <a:gd name="connsiteX5" fmla="*/ 1576565 w 1759399"/>
                <a:gd name="connsiteY5" fmla="*/ 580239 h 580239"/>
                <a:gd name="connsiteX6" fmla="*/ 1759399 w 1759399"/>
                <a:gd name="connsiteY6" fmla="*/ 341795 h 580239"/>
                <a:gd name="connsiteX7" fmla="*/ 783394 w 1759399"/>
                <a:gd name="connsiteY7" fmla="*/ 137505 h 580239"/>
                <a:gd name="connsiteX8" fmla="*/ 783394 w 1759399"/>
                <a:gd name="connsiteY8" fmla="*/ 137505 h 580239"/>
                <a:gd name="connsiteX9" fmla="*/ 640809 w 1759399"/>
                <a:gd name="connsiteY9" fmla="*/ 107541 h 58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9399" h="580239">
                  <a:moveTo>
                    <a:pt x="640809" y="107541"/>
                  </a:moveTo>
                  <a:lnTo>
                    <a:pt x="640809" y="107541"/>
                  </a:lnTo>
                  <a:lnTo>
                    <a:pt x="222449" y="19807"/>
                  </a:lnTo>
                  <a:lnTo>
                    <a:pt x="127604" y="0"/>
                  </a:lnTo>
                  <a:lnTo>
                    <a:pt x="0" y="103732"/>
                  </a:lnTo>
                  <a:lnTo>
                    <a:pt x="1576565" y="580239"/>
                  </a:lnTo>
                  <a:lnTo>
                    <a:pt x="1759399" y="341795"/>
                  </a:lnTo>
                  <a:lnTo>
                    <a:pt x="783394" y="137505"/>
                  </a:lnTo>
                  <a:lnTo>
                    <a:pt x="783394" y="137505"/>
                  </a:lnTo>
                  <a:lnTo>
                    <a:pt x="640809" y="107541"/>
                  </a:lnTo>
                  <a:close/>
                </a:path>
              </a:pathLst>
            </a:custGeom>
            <a:solidFill>
              <a:schemeClr val="accent5"/>
            </a:solidFill>
            <a:ln w="1269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E56F51D7-1296-4479-8279-F59754D1D103}"/>
                </a:ext>
              </a:extLst>
            </p:cNvPr>
            <p:cNvSpPr/>
            <p:nvPr/>
          </p:nvSpPr>
          <p:spPr>
            <a:xfrm>
              <a:off x="9842451" y="3725466"/>
              <a:ext cx="2135606" cy="964060"/>
            </a:xfrm>
            <a:custGeom>
              <a:avLst/>
              <a:gdLst>
                <a:gd name="connsiteX0" fmla="*/ 0 w 2135606"/>
                <a:gd name="connsiteY0" fmla="*/ 452891 h 964060"/>
                <a:gd name="connsiteX1" fmla="*/ 1762954 w 2135606"/>
                <a:gd name="connsiteY1" fmla="*/ 964061 h 964060"/>
                <a:gd name="connsiteX2" fmla="*/ 2135606 w 2135606"/>
                <a:gd name="connsiteY2" fmla="*/ 477396 h 964060"/>
                <a:gd name="connsiteX3" fmla="*/ 556121 w 2135606"/>
                <a:gd name="connsiteY3" fmla="*/ 0 h 964060"/>
                <a:gd name="connsiteX4" fmla="*/ 0 w 2135606"/>
                <a:gd name="connsiteY4" fmla="*/ 452891 h 964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5606" h="964060">
                  <a:moveTo>
                    <a:pt x="0" y="452891"/>
                  </a:moveTo>
                  <a:lnTo>
                    <a:pt x="1762954" y="964061"/>
                  </a:lnTo>
                  <a:lnTo>
                    <a:pt x="2135606" y="477396"/>
                  </a:lnTo>
                  <a:lnTo>
                    <a:pt x="556121" y="0"/>
                  </a:lnTo>
                  <a:lnTo>
                    <a:pt x="0" y="452891"/>
                  </a:lnTo>
                  <a:close/>
                </a:path>
              </a:pathLst>
            </a:custGeom>
            <a:solidFill>
              <a:schemeClr val="accent5"/>
            </a:solidFill>
            <a:ln w="1269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82B7A8A8-7AB8-4765-95E4-10A2D73DE5CC}"/>
                </a:ext>
              </a:extLst>
            </p:cNvPr>
            <p:cNvSpPr/>
            <p:nvPr/>
          </p:nvSpPr>
          <p:spPr>
            <a:xfrm>
              <a:off x="11450123" y="2915797"/>
              <a:ext cx="359954" cy="383186"/>
            </a:xfrm>
            <a:custGeom>
              <a:avLst/>
              <a:gdLst>
                <a:gd name="connsiteX0" fmla="*/ 62977 w 359954"/>
                <a:gd name="connsiteY0" fmla="*/ 319576 h 383186"/>
                <a:gd name="connsiteX1" fmla="*/ 62088 w 359954"/>
                <a:gd name="connsiteY1" fmla="*/ 319576 h 383186"/>
                <a:gd name="connsiteX2" fmla="*/ 61199 w 359954"/>
                <a:gd name="connsiteY2" fmla="*/ 319576 h 383186"/>
                <a:gd name="connsiteX3" fmla="*/ 61199 w 359954"/>
                <a:gd name="connsiteY3" fmla="*/ 319576 h 383186"/>
                <a:gd name="connsiteX4" fmla="*/ 61199 w 359954"/>
                <a:gd name="connsiteY4" fmla="*/ 319576 h 383186"/>
                <a:gd name="connsiteX5" fmla="*/ 60437 w 359954"/>
                <a:gd name="connsiteY5" fmla="*/ 318560 h 383186"/>
                <a:gd name="connsiteX6" fmla="*/ 60437 w 359954"/>
                <a:gd name="connsiteY6" fmla="*/ 317799 h 383186"/>
                <a:gd name="connsiteX7" fmla="*/ 60437 w 359954"/>
                <a:gd name="connsiteY7" fmla="*/ 316783 h 383186"/>
                <a:gd name="connsiteX8" fmla="*/ 60437 w 359954"/>
                <a:gd name="connsiteY8" fmla="*/ 315767 h 383186"/>
                <a:gd name="connsiteX9" fmla="*/ 60437 w 359954"/>
                <a:gd name="connsiteY9" fmla="*/ 315005 h 383186"/>
                <a:gd name="connsiteX10" fmla="*/ 60437 w 359954"/>
                <a:gd name="connsiteY10" fmla="*/ 315005 h 383186"/>
                <a:gd name="connsiteX11" fmla="*/ 60437 w 359954"/>
                <a:gd name="connsiteY11" fmla="*/ 314243 h 383186"/>
                <a:gd name="connsiteX12" fmla="*/ 60437 w 359954"/>
                <a:gd name="connsiteY12" fmla="*/ 313355 h 383186"/>
                <a:gd name="connsiteX13" fmla="*/ 60437 w 359954"/>
                <a:gd name="connsiteY13" fmla="*/ 313355 h 383186"/>
                <a:gd name="connsiteX14" fmla="*/ 359955 w 359954"/>
                <a:gd name="connsiteY14" fmla="*/ 46089 h 383186"/>
                <a:gd name="connsiteX15" fmla="*/ 359955 w 359954"/>
                <a:gd name="connsiteY15" fmla="*/ 0 h 383186"/>
                <a:gd name="connsiteX16" fmla="*/ 0 w 359954"/>
                <a:gd name="connsiteY16" fmla="*/ 292786 h 383186"/>
                <a:gd name="connsiteX17" fmla="*/ 0 w 359954"/>
                <a:gd name="connsiteY17" fmla="*/ 383186 h 383186"/>
                <a:gd name="connsiteX18" fmla="*/ 60691 w 359954"/>
                <a:gd name="connsiteY18" fmla="*/ 333543 h 383186"/>
                <a:gd name="connsiteX19" fmla="*/ 61326 w 359954"/>
                <a:gd name="connsiteY19" fmla="*/ 333543 h 383186"/>
                <a:gd name="connsiteX20" fmla="*/ 62341 w 359954"/>
                <a:gd name="connsiteY20" fmla="*/ 333543 h 383186"/>
                <a:gd name="connsiteX21" fmla="*/ 63357 w 359954"/>
                <a:gd name="connsiteY21" fmla="*/ 333543 h 383186"/>
                <a:gd name="connsiteX22" fmla="*/ 64246 w 359954"/>
                <a:gd name="connsiteY22" fmla="*/ 333543 h 383186"/>
                <a:gd name="connsiteX23" fmla="*/ 64246 w 359954"/>
                <a:gd name="connsiteY23" fmla="*/ 323258 h 383186"/>
                <a:gd name="connsiteX24" fmla="*/ 62468 w 359954"/>
                <a:gd name="connsiteY24" fmla="*/ 323258 h 3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954" h="383186">
                  <a:moveTo>
                    <a:pt x="62977" y="319576"/>
                  </a:moveTo>
                  <a:lnTo>
                    <a:pt x="62088" y="319576"/>
                  </a:lnTo>
                  <a:lnTo>
                    <a:pt x="61199" y="319576"/>
                  </a:lnTo>
                  <a:lnTo>
                    <a:pt x="61199" y="319576"/>
                  </a:lnTo>
                  <a:cubicBezTo>
                    <a:pt x="61199" y="319576"/>
                    <a:pt x="61199" y="319576"/>
                    <a:pt x="61199" y="319576"/>
                  </a:cubicBezTo>
                  <a:lnTo>
                    <a:pt x="60437" y="318560"/>
                  </a:lnTo>
                  <a:cubicBezTo>
                    <a:pt x="60373" y="318306"/>
                    <a:pt x="60373" y="318053"/>
                    <a:pt x="60437" y="317799"/>
                  </a:cubicBezTo>
                  <a:cubicBezTo>
                    <a:pt x="60386" y="317469"/>
                    <a:pt x="60386" y="317113"/>
                    <a:pt x="60437" y="316783"/>
                  </a:cubicBezTo>
                  <a:cubicBezTo>
                    <a:pt x="60437" y="316783"/>
                    <a:pt x="60437" y="316148"/>
                    <a:pt x="60437" y="315767"/>
                  </a:cubicBezTo>
                  <a:cubicBezTo>
                    <a:pt x="60437" y="315386"/>
                    <a:pt x="60437" y="315767"/>
                    <a:pt x="60437" y="315005"/>
                  </a:cubicBezTo>
                  <a:lnTo>
                    <a:pt x="60437" y="315005"/>
                  </a:lnTo>
                  <a:lnTo>
                    <a:pt x="60437" y="314243"/>
                  </a:lnTo>
                  <a:lnTo>
                    <a:pt x="60437" y="313355"/>
                  </a:lnTo>
                  <a:lnTo>
                    <a:pt x="60437" y="313355"/>
                  </a:lnTo>
                  <a:lnTo>
                    <a:pt x="359955" y="46089"/>
                  </a:lnTo>
                  <a:lnTo>
                    <a:pt x="359955" y="0"/>
                  </a:lnTo>
                  <a:lnTo>
                    <a:pt x="0" y="292786"/>
                  </a:lnTo>
                  <a:lnTo>
                    <a:pt x="0" y="383186"/>
                  </a:lnTo>
                  <a:lnTo>
                    <a:pt x="60691" y="333543"/>
                  </a:lnTo>
                  <a:lnTo>
                    <a:pt x="61326" y="333543"/>
                  </a:lnTo>
                  <a:lnTo>
                    <a:pt x="62341" y="333543"/>
                  </a:lnTo>
                  <a:lnTo>
                    <a:pt x="63357" y="333543"/>
                  </a:lnTo>
                  <a:lnTo>
                    <a:pt x="64246" y="333543"/>
                  </a:lnTo>
                  <a:lnTo>
                    <a:pt x="64246" y="323258"/>
                  </a:lnTo>
                  <a:lnTo>
                    <a:pt x="62468" y="323258"/>
                  </a:lnTo>
                  <a:close/>
                </a:path>
              </a:pathLst>
            </a:custGeom>
            <a:solidFill>
              <a:schemeClr val="accent1">
                <a:lumMod val="75000"/>
              </a:schemeClr>
            </a:solidFill>
            <a:ln w="1269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581FFEFC-08ED-441C-97A2-5D04FB2AE90A}"/>
                </a:ext>
              </a:extLst>
            </p:cNvPr>
            <p:cNvSpPr/>
            <p:nvPr/>
          </p:nvSpPr>
          <p:spPr>
            <a:xfrm>
              <a:off x="11308680" y="3168207"/>
              <a:ext cx="131285" cy="133188"/>
            </a:xfrm>
            <a:custGeom>
              <a:avLst/>
              <a:gdLst>
                <a:gd name="connsiteX0" fmla="*/ 0 w 131285"/>
                <a:gd name="connsiteY0" fmla="*/ 93194 h 133188"/>
                <a:gd name="connsiteX1" fmla="*/ 131286 w 131285"/>
                <a:gd name="connsiteY1" fmla="*/ 133188 h 133188"/>
                <a:gd name="connsiteX2" fmla="*/ 131286 w 131285"/>
                <a:gd name="connsiteY2" fmla="*/ 39995 h 133188"/>
                <a:gd name="connsiteX3" fmla="*/ 0 w 131285"/>
                <a:gd name="connsiteY3" fmla="*/ 0 h 133188"/>
                <a:gd name="connsiteX4" fmla="*/ 0 w 131285"/>
                <a:gd name="connsiteY4" fmla="*/ 93194 h 13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85" h="133188">
                  <a:moveTo>
                    <a:pt x="0" y="93194"/>
                  </a:moveTo>
                  <a:lnTo>
                    <a:pt x="131286" y="133188"/>
                  </a:lnTo>
                  <a:lnTo>
                    <a:pt x="131286" y="39995"/>
                  </a:lnTo>
                  <a:lnTo>
                    <a:pt x="0" y="0"/>
                  </a:lnTo>
                  <a:lnTo>
                    <a:pt x="0" y="93194"/>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E2FD590C-CADB-44AF-8B9D-649C10D4B189}"/>
                </a:ext>
              </a:extLst>
            </p:cNvPr>
            <p:cNvSpPr/>
            <p:nvPr/>
          </p:nvSpPr>
          <p:spPr>
            <a:xfrm>
              <a:off x="11055379" y="3046700"/>
              <a:ext cx="242509" cy="694890"/>
            </a:xfrm>
            <a:custGeom>
              <a:avLst/>
              <a:gdLst>
                <a:gd name="connsiteX0" fmla="*/ 242510 w 242509"/>
                <a:gd name="connsiteY0" fmla="*/ 40249 h 694890"/>
                <a:gd name="connsiteX1" fmla="*/ 242510 w 242509"/>
                <a:gd name="connsiteY1" fmla="*/ 0 h 694890"/>
                <a:gd name="connsiteX2" fmla="*/ 0 w 242509"/>
                <a:gd name="connsiteY2" fmla="*/ 197561 h 694890"/>
                <a:gd name="connsiteX3" fmla="*/ 0 w 242509"/>
                <a:gd name="connsiteY3" fmla="*/ 666450 h 694890"/>
                <a:gd name="connsiteX4" fmla="*/ 135476 w 242509"/>
                <a:gd name="connsiteY4" fmla="*/ 694891 h 694890"/>
                <a:gd name="connsiteX5" fmla="*/ 242510 w 242509"/>
                <a:gd name="connsiteY5" fmla="*/ 607791 h 694890"/>
                <a:gd name="connsiteX6" fmla="*/ 242510 w 242509"/>
                <a:gd name="connsiteY6" fmla="*/ 218256 h 694890"/>
                <a:gd name="connsiteX7" fmla="*/ 242510 w 242509"/>
                <a:gd name="connsiteY7" fmla="*/ 114651 h 694890"/>
                <a:gd name="connsiteX8" fmla="*/ 242510 w 242509"/>
                <a:gd name="connsiteY8" fmla="*/ 40249 h 6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509" h="694890">
                  <a:moveTo>
                    <a:pt x="242510" y="40249"/>
                  </a:moveTo>
                  <a:lnTo>
                    <a:pt x="242510" y="0"/>
                  </a:lnTo>
                  <a:lnTo>
                    <a:pt x="0" y="197561"/>
                  </a:lnTo>
                  <a:lnTo>
                    <a:pt x="0" y="666450"/>
                  </a:lnTo>
                  <a:lnTo>
                    <a:pt x="135476" y="694891"/>
                  </a:lnTo>
                  <a:lnTo>
                    <a:pt x="242510" y="607791"/>
                  </a:lnTo>
                  <a:lnTo>
                    <a:pt x="242510" y="218256"/>
                  </a:lnTo>
                  <a:lnTo>
                    <a:pt x="242510" y="114651"/>
                  </a:lnTo>
                  <a:lnTo>
                    <a:pt x="242510" y="40249"/>
                  </a:lnTo>
                  <a:close/>
                </a:path>
              </a:pathLst>
            </a:custGeom>
            <a:solidFill>
              <a:schemeClr val="accent3"/>
            </a:solidFill>
            <a:ln w="1269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72D10EC6-9A04-40FB-8C36-B169719F57C1}"/>
                </a:ext>
              </a:extLst>
            </p:cNvPr>
            <p:cNvSpPr/>
            <p:nvPr/>
          </p:nvSpPr>
          <p:spPr>
            <a:xfrm>
              <a:off x="11520463" y="3252767"/>
              <a:ext cx="665441" cy="395883"/>
            </a:xfrm>
            <a:custGeom>
              <a:avLst/>
              <a:gdLst>
                <a:gd name="connsiteX0" fmla="*/ 665441 w 665441"/>
                <a:gd name="connsiteY0" fmla="*/ 395883 h 395883"/>
                <a:gd name="connsiteX1" fmla="*/ 665441 w 665441"/>
                <a:gd name="connsiteY1" fmla="*/ 202131 h 395883"/>
                <a:gd name="connsiteX2" fmla="*/ 0 w 665441"/>
                <a:gd name="connsiteY2" fmla="*/ 0 h 395883"/>
                <a:gd name="connsiteX3" fmla="*/ 0 w 665441"/>
                <a:gd name="connsiteY3" fmla="*/ 181690 h 395883"/>
                <a:gd name="connsiteX4" fmla="*/ 665441 w 665441"/>
                <a:gd name="connsiteY4" fmla="*/ 395883 h 39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441" h="395883">
                  <a:moveTo>
                    <a:pt x="665441" y="395883"/>
                  </a:moveTo>
                  <a:lnTo>
                    <a:pt x="665441" y="202131"/>
                  </a:lnTo>
                  <a:lnTo>
                    <a:pt x="0" y="0"/>
                  </a:lnTo>
                  <a:lnTo>
                    <a:pt x="0" y="181690"/>
                  </a:lnTo>
                  <a:lnTo>
                    <a:pt x="665441" y="395883"/>
                  </a:lnTo>
                  <a:close/>
                </a:path>
              </a:pathLst>
            </a:custGeom>
            <a:solidFill>
              <a:schemeClr val="accent4"/>
            </a:solidFill>
            <a:ln w="1269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75B6FCDB-4041-434C-B4CF-3FEC71AAAF06}"/>
                </a:ext>
              </a:extLst>
            </p:cNvPr>
            <p:cNvSpPr/>
            <p:nvPr/>
          </p:nvSpPr>
          <p:spPr>
            <a:xfrm>
              <a:off x="11525035" y="2716078"/>
              <a:ext cx="660869" cy="725489"/>
            </a:xfrm>
            <a:custGeom>
              <a:avLst/>
              <a:gdLst>
                <a:gd name="connsiteX0" fmla="*/ 294820 w 660869"/>
                <a:gd name="connsiteY0" fmla="*/ 249490 h 725489"/>
                <a:gd name="connsiteX1" fmla="*/ 294820 w 660869"/>
                <a:gd name="connsiteY1" fmla="*/ 249490 h 725489"/>
                <a:gd name="connsiteX2" fmla="*/ 0 w 660869"/>
                <a:gd name="connsiteY2" fmla="*/ 512693 h 725489"/>
                <a:gd name="connsiteX3" fmla="*/ 660870 w 660869"/>
                <a:gd name="connsiteY3" fmla="*/ 725490 h 725489"/>
                <a:gd name="connsiteX4" fmla="*/ 660870 w 660869"/>
                <a:gd name="connsiteY4" fmla="*/ 26282 h 725489"/>
                <a:gd name="connsiteX5" fmla="*/ 573896 w 660869"/>
                <a:gd name="connsiteY5" fmla="*/ 0 h 725489"/>
                <a:gd name="connsiteX6" fmla="*/ 294820 w 660869"/>
                <a:gd name="connsiteY6" fmla="*/ 249490 h 72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869" h="725489">
                  <a:moveTo>
                    <a:pt x="294820" y="249490"/>
                  </a:moveTo>
                  <a:lnTo>
                    <a:pt x="294820" y="249490"/>
                  </a:lnTo>
                  <a:lnTo>
                    <a:pt x="0" y="512693"/>
                  </a:lnTo>
                  <a:lnTo>
                    <a:pt x="660870" y="725490"/>
                  </a:lnTo>
                  <a:lnTo>
                    <a:pt x="660870" y="26282"/>
                  </a:lnTo>
                  <a:lnTo>
                    <a:pt x="573896" y="0"/>
                  </a:lnTo>
                  <a:lnTo>
                    <a:pt x="294820" y="249490"/>
                  </a:lnTo>
                  <a:close/>
                </a:path>
              </a:pathLst>
            </a:custGeom>
            <a:solidFill>
              <a:schemeClr val="accent5">
                <a:lumMod val="75000"/>
              </a:schemeClr>
            </a:solidFill>
            <a:ln w="1269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BBB9A4F2-7D89-47C9-ABC7-6B6A4A3411B4}"/>
                </a:ext>
              </a:extLst>
            </p:cNvPr>
            <p:cNvSpPr/>
            <p:nvPr/>
          </p:nvSpPr>
          <p:spPr>
            <a:xfrm>
              <a:off x="11992024" y="3968480"/>
              <a:ext cx="178898" cy="423308"/>
            </a:xfrm>
            <a:custGeom>
              <a:avLst/>
              <a:gdLst>
                <a:gd name="connsiteX0" fmla="*/ 0 w 178898"/>
                <a:gd name="connsiteY0" fmla="*/ 423308 h 423308"/>
                <a:gd name="connsiteX1" fmla="*/ 178899 w 178898"/>
                <a:gd name="connsiteY1" fmla="*/ 189943 h 423308"/>
                <a:gd name="connsiteX2" fmla="*/ 178899 w 178898"/>
                <a:gd name="connsiteY2" fmla="*/ 0 h 423308"/>
                <a:gd name="connsiteX3" fmla="*/ 0 w 178898"/>
                <a:gd name="connsiteY3" fmla="*/ 233366 h 423308"/>
                <a:gd name="connsiteX4" fmla="*/ 0 w 178898"/>
                <a:gd name="connsiteY4" fmla="*/ 423308 h 423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98" h="423308">
                  <a:moveTo>
                    <a:pt x="0" y="423308"/>
                  </a:moveTo>
                  <a:lnTo>
                    <a:pt x="178899" y="189943"/>
                  </a:lnTo>
                  <a:lnTo>
                    <a:pt x="178899" y="0"/>
                  </a:lnTo>
                  <a:lnTo>
                    <a:pt x="0" y="233366"/>
                  </a:lnTo>
                  <a:lnTo>
                    <a:pt x="0" y="423308"/>
                  </a:lnTo>
                  <a:close/>
                </a:path>
              </a:pathLst>
            </a:custGeom>
            <a:solidFill>
              <a:schemeClr val="accent1"/>
            </a:solidFill>
            <a:ln w="1269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1DC62CE4-3C17-49E5-BF01-327900A5B94E}"/>
                </a:ext>
              </a:extLst>
            </p:cNvPr>
            <p:cNvSpPr/>
            <p:nvPr/>
          </p:nvSpPr>
          <p:spPr>
            <a:xfrm>
              <a:off x="11613024" y="4215939"/>
              <a:ext cx="368080" cy="670767"/>
            </a:xfrm>
            <a:custGeom>
              <a:avLst/>
              <a:gdLst>
                <a:gd name="connsiteX0" fmla="*/ 0 w 368080"/>
                <a:gd name="connsiteY0" fmla="*/ 480825 h 670767"/>
                <a:gd name="connsiteX1" fmla="*/ 0 w 368080"/>
                <a:gd name="connsiteY1" fmla="*/ 670767 h 670767"/>
                <a:gd name="connsiteX2" fmla="*/ 368081 w 368080"/>
                <a:gd name="connsiteY2" fmla="*/ 189943 h 670767"/>
                <a:gd name="connsiteX3" fmla="*/ 368081 w 368080"/>
                <a:gd name="connsiteY3" fmla="*/ 0 h 670767"/>
                <a:gd name="connsiteX4" fmla="*/ 0 w 368080"/>
                <a:gd name="connsiteY4" fmla="*/ 480825 h 67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80" h="670767">
                  <a:moveTo>
                    <a:pt x="0" y="480825"/>
                  </a:moveTo>
                  <a:lnTo>
                    <a:pt x="0" y="670767"/>
                  </a:lnTo>
                  <a:lnTo>
                    <a:pt x="368081" y="189943"/>
                  </a:lnTo>
                  <a:lnTo>
                    <a:pt x="368081" y="0"/>
                  </a:lnTo>
                  <a:lnTo>
                    <a:pt x="0" y="480825"/>
                  </a:lnTo>
                  <a:close/>
                </a:path>
              </a:pathLst>
            </a:custGeom>
            <a:solidFill>
              <a:schemeClr val="accent1">
                <a:lumMod val="75000"/>
              </a:schemeClr>
            </a:solidFill>
            <a:ln w="1269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E480EC70-7403-49A0-A35B-1452169E40ED}"/>
                </a:ext>
              </a:extLst>
            </p:cNvPr>
            <p:cNvSpPr/>
            <p:nvPr/>
          </p:nvSpPr>
          <p:spPr>
            <a:xfrm>
              <a:off x="11108452" y="4794528"/>
              <a:ext cx="168740" cy="227525"/>
            </a:xfrm>
            <a:custGeom>
              <a:avLst/>
              <a:gdLst>
                <a:gd name="connsiteX0" fmla="*/ 0 w 168740"/>
                <a:gd name="connsiteY0" fmla="*/ 137125 h 227525"/>
                <a:gd name="connsiteX1" fmla="*/ 0 w 168740"/>
                <a:gd name="connsiteY1" fmla="*/ 227525 h 227525"/>
                <a:gd name="connsiteX2" fmla="*/ 165059 w 168740"/>
                <a:gd name="connsiteY2" fmla="*/ 93194 h 227525"/>
                <a:gd name="connsiteX3" fmla="*/ 165059 w 168740"/>
                <a:gd name="connsiteY3" fmla="*/ 12697 h 227525"/>
                <a:gd name="connsiteX4" fmla="*/ 165059 w 168740"/>
                <a:gd name="connsiteY4" fmla="*/ 11935 h 227525"/>
                <a:gd name="connsiteX5" fmla="*/ 165059 w 168740"/>
                <a:gd name="connsiteY5" fmla="*/ 10919 h 227525"/>
                <a:gd name="connsiteX6" fmla="*/ 165059 w 168740"/>
                <a:gd name="connsiteY6" fmla="*/ 10158 h 227525"/>
                <a:gd name="connsiteX7" fmla="*/ 165059 w 168740"/>
                <a:gd name="connsiteY7" fmla="*/ 9269 h 227525"/>
                <a:gd name="connsiteX8" fmla="*/ 165821 w 168740"/>
                <a:gd name="connsiteY8" fmla="*/ 9269 h 227525"/>
                <a:gd name="connsiteX9" fmla="*/ 166709 w 168740"/>
                <a:gd name="connsiteY9" fmla="*/ 9269 h 227525"/>
                <a:gd name="connsiteX10" fmla="*/ 167597 w 168740"/>
                <a:gd name="connsiteY10" fmla="*/ 9269 h 227525"/>
                <a:gd name="connsiteX11" fmla="*/ 168741 w 168740"/>
                <a:gd name="connsiteY11" fmla="*/ 9269 h 227525"/>
                <a:gd name="connsiteX12" fmla="*/ 168741 w 168740"/>
                <a:gd name="connsiteY12" fmla="*/ 9269 h 227525"/>
                <a:gd name="connsiteX13" fmla="*/ 168741 w 168740"/>
                <a:gd name="connsiteY13" fmla="*/ 0 h 22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740" h="227525">
                  <a:moveTo>
                    <a:pt x="0" y="137125"/>
                  </a:moveTo>
                  <a:lnTo>
                    <a:pt x="0" y="227525"/>
                  </a:lnTo>
                  <a:lnTo>
                    <a:pt x="165059" y="93194"/>
                  </a:lnTo>
                  <a:lnTo>
                    <a:pt x="165059" y="12697"/>
                  </a:lnTo>
                  <a:cubicBezTo>
                    <a:pt x="165008" y="12443"/>
                    <a:pt x="165008" y="12189"/>
                    <a:pt x="165059" y="11935"/>
                  </a:cubicBezTo>
                  <a:lnTo>
                    <a:pt x="165059" y="10919"/>
                  </a:lnTo>
                  <a:lnTo>
                    <a:pt x="165059" y="10158"/>
                  </a:lnTo>
                  <a:lnTo>
                    <a:pt x="165059" y="9269"/>
                  </a:lnTo>
                  <a:lnTo>
                    <a:pt x="165821" y="9269"/>
                  </a:lnTo>
                  <a:lnTo>
                    <a:pt x="166709" y="9269"/>
                  </a:lnTo>
                  <a:lnTo>
                    <a:pt x="167597" y="9269"/>
                  </a:lnTo>
                  <a:lnTo>
                    <a:pt x="168741" y="9269"/>
                  </a:lnTo>
                  <a:lnTo>
                    <a:pt x="168741" y="9269"/>
                  </a:lnTo>
                  <a:lnTo>
                    <a:pt x="168741" y="0"/>
                  </a:lnTo>
                  <a:close/>
                </a:path>
              </a:pathLst>
            </a:custGeom>
            <a:solidFill>
              <a:schemeClr val="accent5">
                <a:lumMod val="75000"/>
              </a:schemeClr>
            </a:solidFill>
            <a:ln w="1269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FB7E7588-F35A-41AF-B055-BCAE58CF1A61}"/>
                </a:ext>
              </a:extLst>
            </p:cNvPr>
            <p:cNvSpPr/>
            <p:nvPr/>
          </p:nvSpPr>
          <p:spPr>
            <a:xfrm>
              <a:off x="9834579" y="4572590"/>
              <a:ext cx="1263079" cy="453780"/>
            </a:xfrm>
            <a:custGeom>
              <a:avLst/>
              <a:gdLst>
                <a:gd name="connsiteX0" fmla="*/ 0 w 1263079"/>
                <a:gd name="connsiteY0" fmla="*/ 93320 h 453780"/>
                <a:gd name="connsiteX1" fmla="*/ 1263080 w 1263079"/>
                <a:gd name="connsiteY1" fmla="*/ 453780 h 453780"/>
                <a:gd name="connsiteX2" fmla="*/ 1263080 w 1263079"/>
                <a:gd name="connsiteY2" fmla="*/ 360459 h 453780"/>
                <a:gd name="connsiteX3" fmla="*/ 0 w 1263079"/>
                <a:gd name="connsiteY3" fmla="*/ 0 h 453780"/>
                <a:gd name="connsiteX4" fmla="*/ 0 w 1263079"/>
                <a:gd name="connsiteY4" fmla="*/ 93320 h 45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79" h="453780">
                  <a:moveTo>
                    <a:pt x="0" y="93320"/>
                  </a:moveTo>
                  <a:lnTo>
                    <a:pt x="1263080" y="453780"/>
                  </a:lnTo>
                  <a:lnTo>
                    <a:pt x="1263080" y="360459"/>
                  </a:lnTo>
                  <a:lnTo>
                    <a:pt x="0" y="0"/>
                  </a:lnTo>
                  <a:lnTo>
                    <a:pt x="0" y="93320"/>
                  </a:lnTo>
                  <a:close/>
                </a:path>
              </a:pathLst>
            </a:custGeom>
            <a:solidFill>
              <a:schemeClr val="accent3"/>
            </a:solidFill>
            <a:ln w="1269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FD2DEDF1-49BF-4697-A190-1CD5CEAA9E1A}"/>
                </a:ext>
              </a:extLst>
            </p:cNvPr>
            <p:cNvSpPr/>
            <p:nvPr/>
          </p:nvSpPr>
          <p:spPr>
            <a:xfrm>
              <a:off x="9839912" y="4435084"/>
              <a:ext cx="1428138" cy="489076"/>
            </a:xfrm>
            <a:custGeom>
              <a:avLst/>
              <a:gdLst>
                <a:gd name="connsiteX0" fmla="*/ 1428139 w 1428138"/>
                <a:gd name="connsiteY0" fmla="*/ 353222 h 489076"/>
                <a:gd name="connsiteX1" fmla="*/ 1254446 w 1428138"/>
                <a:gd name="connsiteY1" fmla="*/ 300785 h 489076"/>
                <a:gd name="connsiteX2" fmla="*/ 972069 w 1428138"/>
                <a:gd name="connsiteY2" fmla="*/ 223335 h 489076"/>
                <a:gd name="connsiteX3" fmla="*/ 157060 w 1428138"/>
                <a:gd name="connsiteY3" fmla="*/ 0 h 489076"/>
                <a:gd name="connsiteX4" fmla="*/ 157060 w 1428138"/>
                <a:gd name="connsiteY4" fmla="*/ 0 h 489076"/>
                <a:gd name="connsiteX5" fmla="*/ 155663 w 1428138"/>
                <a:gd name="connsiteY5" fmla="*/ 2032 h 489076"/>
                <a:gd name="connsiteX6" fmla="*/ 0 w 1428138"/>
                <a:gd name="connsiteY6" fmla="*/ 128999 h 489076"/>
                <a:gd name="connsiteX7" fmla="*/ 1261938 w 1428138"/>
                <a:gd name="connsiteY7" fmla="*/ 489077 h 4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138" h="489076">
                  <a:moveTo>
                    <a:pt x="1428139" y="353222"/>
                  </a:moveTo>
                  <a:lnTo>
                    <a:pt x="1254446" y="300785"/>
                  </a:lnTo>
                  <a:lnTo>
                    <a:pt x="972069" y="223335"/>
                  </a:lnTo>
                  <a:lnTo>
                    <a:pt x="157060" y="0"/>
                  </a:lnTo>
                  <a:lnTo>
                    <a:pt x="157060" y="0"/>
                  </a:lnTo>
                  <a:cubicBezTo>
                    <a:pt x="156717" y="749"/>
                    <a:pt x="156248" y="1435"/>
                    <a:pt x="155663" y="2032"/>
                  </a:cubicBezTo>
                  <a:lnTo>
                    <a:pt x="0" y="128999"/>
                  </a:lnTo>
                  <a:lnTo>
                    <a:pt x="1261938" y="489077"/>
                  </a:lnTo>
                  <a:close/>
                </a:path>
              </a:pathLst>
            </a:custGeom>
            <a:solidFill>
              <a:schemeClr val="accent6">
                <a:lumMod val="60000"/>
                <a:lumOff val="40000"/>
              </a:schemeClr>
            </a:solidFill>
            <a:ln w="1269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E1F78A74-5DC9-43F2-8D75-381C43AC9512}"/>
                </a:ext>
              </a:extLst>
            </p:cNvPr>
            <p:cNvSpPr/>
            <p:nvPr/>
          </p:nvSpPr>
          <p:spPr>
            <a:xfrm>
              <a:off x="7602858" y="945903"/>
              <a:ext cx="145378" cy="208479"/>
            </a:xfrm>
            <a:custGeom>
              <a:avLst/>
              <a:gdLst>
                <a:gd name="connsiteX0" fmla="*/ 0 w 145378"/>
                <a:gd name="connsiteY0" fmla="*/ 208480 h 208479"/>
                <a:gd name="connsiteX1" fmla="*/ 145379 w 145378"/>
                <a:gd name="connsiteY1" fmla="*/ 90401 h 208479"/>
                <a:gd name="connsiteX2" fmla="*/ 145379 w 145378"/>
                <a:gd name="connsiteY2" fmla="*/ 0 h 208479"/>
                <a:gd name="connsiteX3" fmla="*/ 0 w 145378"/>
                <a:gd name="connsiteY3" fmla="*/ 118079 h 208479"/>
                <a:gd name="connsiteX4" fmla="*/ 0 w 145378"/>
                <a:gd name="connsiteY4" fmla="*/ 208480 h 20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378" h="208479">
                  <a:moveTo>
                    <a:pt x="0" y="208480"/>
                  </a:moveTo>
                  <a:lnTo>
                    <a:pt x="145379" y="90401"/>
                  </a:lnTo>
                  <a:lnTo>
                    <a:pt x="145379" y="0"/>
                  </a:lnTo>
                  <a:lnTo>
                    <a:pt x="0" y="118079"/>
                  </a:lnTo>
                  <a:lnTo>
                    <a:pt x="0" y="208480"/>
                  </a:lnTo>
                  <a:close/>
                </a:path>
              </a:pathLst>
            </a:custGeom>
            <a:solidFill>
              <a:schemeClr val="accent4"/>
            </a:solidFill>
            <a:ln w="1269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48F3AF70-F18B-4E50-B3E6-CB1FA59B1D9F}"/>
                </a:ext>
              </a:extLst>
            </p:cNvPr>
            <p:cNvSpPr/>
            <p:nvPr/>
          </p:nvSpPr>
          <p:spPr>
            <a:xfrm>
              <a:off x="6390311" y="702126"/>
              <a:ext cx="1201754" cy="456446"/>
            </a:xfrm>
            <a:custGeom>
              <a:avLst/>
              <a:gdLst>
                <a:gd name="connsiteX0" fmla="*/ 0 w 1201754"/>
                <a:gd name="connsiteY0" fmla="*/ 93194 h 456446"/>
                <a:gd name="connsiteX1" fmla="*/ 1201755 w 1201754"/>
                <a:gd name="connsiteY1" fmla="*/ 456447 h 456446"/>
                <a:gd name="connsiteX2" fmla="*/ 1201755 w 1201754"/>
                <a:gd name="connsiteY2" fmla="*/ 363126 h 456446"/>
                <a:gd name="connsiteX3" fmla="*/ 0 w 1201754"/>
                <a:gd name="connsiteY3" fmla="*/ 0 h 456446"/>
                <a:gd name="connsiteX4" fmla="*/ 0 w 1201754"/>
                <a:gd name="connsiteY4" fmla="*/ 93194 h 456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54" h="456446">
                  <a:moveTo>
                    <a:pt x="0" y="93194"/>
                  </a:moveTo>
                  <a:lnTo>
                    <a:pt x="1201755" y="456447"/>
                  </a:lnTo>
                  <a:lnTo>
                    <a:pt x="1201755" y="363126"/>
                  </a:lnTo>
                  <a:lnTo>
                    <a:pt x="0" y="0"/>
                  </a:lnTo>
                  <a:lnTo>
                    <a:pt x="0" y="93194"/>
                  </a:lnTo>
                  <a:close/>
                </a:path>
              </a:pathLst>
            </a:custGeom>
            <a:solidFill>
              <a:schemeClr val="accent4"/>
            </a:solidFill>
            <a:ln w="1269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7A0DFA79-1168-4ADA-A8A2-D2D189F27B69}"/>
                </a:ext>
              </a:extLst>
            </p:cNvPr>
            <p:cNvSpPr/>
            <p:nvPr/>
          </p:nvSpPr>
          <p:spPr>
            <a:xfrm>
              <a:off x="6395390" y="574017"/>
              <a:ext cx="1347767" cy="482220"/>
            </a:xfrm>
            <a:custGeom>
              <a:avLst/>
              <a:gdLst>
                <a:gd name="connsiteX0" fmla="*/ 1347768 w 1347767"/>
                <a:gd name="connsiteY0" fmla="*/ 362872 h 482220"/>
                <a:gd name="connsiteX1" fmla="*/ 146521 w 1347767"/>
                <a:gd name="connsiteY1" fmla="*/ 0 h 482220"/>
                <a:gd name="connsiteX2" fmla="*/ 0 w 1347767"/>
                <a:gd name="connsiteY2" fmla="*/ 119349 h 482220"/>
                <a:gd name="connsiteX3" fmla="*/ 1200739 w 1347767"/>
                <a:gd name="connsiteY3" fmla="*/ 482221 h 482220"/>
                <a:gd name="connsiteX4" fmla="*/ 1347768 w 1347767"/>
                <a:gd name="connsiteY4" fmla="*/ 362872 h 482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767" h="482220">
                  <a:moveTo>
                    <a:pt x="1347768" y="362872"/>
                  </a:moveTo>
                  <a:lnTo>
                    <a:pt x="146521" y="0"/>
                  </a:lnTo>
                  <a:lnTo>
                    <a:pt x="0" y="119349"/>
                  </a:lnTo>
                  <a:lnTo>
                    <a:pt x="1200739" y="482221"/>
                  </a:lnTo>
                  <a:lnTo>
                    <a:pt x="1347768" y="362872"/>
                  </a:lnTo>
                  <a:close/>
                </a:path>
              </a:pathLst>
            </a:custGeom>
            <a:solidFill>
              <a:schemeClr val="tx2">
                <a:lumMod val="10000"/>
                <a:lumOff val="90000"/>
              </a:schemeClr>
            </a:solidFill>
            <a:ln w="1269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4FD0293D-8146-4853-AEA8-7C4EEE5CE287}"/>
                </a:ext>
              </a:extLst>
            </p:cNvPr>
            <p:cNvSpPr/>
            <p:nvPr/>
          </p:nvSpPr>
          <p:spPr>
            <a:xfrm>
              <a:off x="12043827" y="1235769"/>
              <a:ext cx="142077" cy="136235"/>
            </a:xfrm>
            <a:custGeom>
              <a:avLst/>
              <a:gdLst>
                <a:gd name="connsiteX0" fmla="*/ 0 w 142077"/>
                <a:gd name="connsiteY0" fmla="*/ 93194 h 136235"/>
                <a:gd name="connsiteX1" fmla="*/ 142078 w 142077"/>
                <a:gd name="connsiteY1" fmla="*/ 136236 h 136235"/>
                <a:gd name="connsiteX2" fmla="*/ 142078 w 142077"/>
                <a:gd name="connsiteY2" fmla="*/ 42915 h 136235"/>
                <a:gd name="connsiteX3" fmla="*/ 0 w 142077"/>
                <a:gd name="connsiteY3" fmla="*/ 0 h 136235"/>
                <a:gd name="connsiteX4" fmla="*/ 0 w 142077"/>
                <a:gd name="connsiteY4" fmla="*/ 93194 h 136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7" h="136235">
                  <a:moveTo>
                    <a:pt x="0" y="93194"/>
                  </a:moveTo>
                  <a:lnTo>
                    <a:pt x="142078" y="136236"/>
                  </a:lnTo>
                  <a:lnTo>
                    <a:pt x="142078" y="42915"/>
                  </a:lnTo>
                  <a:lnTo>
                    <a:pt x="0" y="0"/>
                  </a:lnTo>
                  <a:lnTo>
                    <a:pt x="0" y="93194"/>
                  </a:lnTo>
                  <a:close/>
                </a:path>
              </a:pathLst>
            </a:custGeom>
            <a:solidFill>
              <a:schemeClr val="tx2"/>
            </a:solidFill>
            <a:ln w="1269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C6BC126D-98E6-4AD7-842B-1B07FF24A390}"/>
                </a:ext>
              </a:extLst>
            </p:cNvPr>
            <p:cNvSpPr/>
            <p:nvPr/>
          </p:nvSpPr>
          <p:spPr>
            <a:xfrm>
              <a:off x="12048905" y="1155018"/>
              <a:ext cx="136999" cy="113381"/>
            </a:xfrm>
            <a:custGeom>
              <a:avLst/>
              <a:gdLst>
                <a:gd name="connsiteX0" fmla="*/ 0 w 136999"/>
                <a:gd name="connsiteY0" fmla="*/ 71990 h 113381"/>
                <a:gd name="connsiteX1" fmla="*/ 136999 w 136999"/>
                <a:gd name="connsiteY1" fmla="*/ 113382 h 113381"/>
                <a:gd name="connsiteX2" fmla="*/ 136999 w 136999"/>
                <a:gd name="connsiteY2" fmla="*/ 14728 h 113381"/>
                <a:gd name="connsiteX3" fmla="*/ 88370 w 136999"/>
                <a:gd name="connsiteY3" fmla="*/ 0 h 113381"/>
                <a:gd name="connsiteX4" fmla="*/ 0 w 136999"/>
                <a:gd name="connsiteY4" fmla="*/ 71990 h 11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99" h="113381">
                  <a:moveTo>
                    <a:pt x="0" y="71990"/>
                  </a:moveTo>
                  <a:lnTo>
                    <a:pt x="136999" y="113382"/>
                  </a:lnTo>
                  <a:lnTo>
                    <a:pt x="136999" y="14728"/>
                  </a:lnTo>
                  <a:lnTo>
                    <a:pt x="88370" y="0"/>
                  </a:lnTo>
                  <a:lnTo>
                    <a:pt x="0" y="71990"/>
                  </a:lnTo>
                  <a:close/>
                </a:path>
              </a:pathLst>
            </a:custGeom>
            <a:solidFill>
              <a:srgbClr val="F9AA19"/>
            </a:solidFill>
            <a:ln w="1269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6C3A4C7E-5E2A-4A4D-97C5-F1EC6CB8E2BB}"/>
                </a:ext>
              </a:extLst>
            </p:cNvPr>
            <p:cNvSpPr/>
            <p:nvPr/>
          </p:nvSpPr>
          <p:spPr>
            <a:xfrm>
              <a:off x="11324298" y="-1"/>
              <a:ext cx="861606" cy="261806"/>
            </a:xfrm>
            <a:custGeom>
              <a:avLst/>
              <a:gdLst>
                <a:gd name="connsiteX0" fmla="*/ 0 w 861606"/>
                <a:gd name="connsiteY0" fmla="*/ 0 h 261806"/>
                <a:gd name="connsiteX1" fmla="*/ 0 w 861606"/>
                <a:gd name="connsiteY1" fmla="*/ 1397 h 261806"/>
                <a:gd name="connsiteX2" fmla="*/ 861606 w 861606"/>
                <a:gd name="connsiteY2" fmla="*/ 261806 h 261806"/>
                <a:gd name="connsiteX3" fmla="*/ 861606 w 861606"/>
                <a:gd name="connsiteY3" fmla="*/ 65134 h 261806"/>
                <a:gd name="connsiteX4" fmla="*/ 646395 w 861606"/>
                <a:gd name="connsiteY4" fmla="*/ 0 h 261806"/>
                <a:gd name="connsiteX5" fmla="*/ 0 w 861606"/>
                <a:gd name="connsiteY5" fmla="*/ 0 h 26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606" h="261806">
                  <a:moveTo>
                    <a:pt x="0" y="0"/>
                  </a:moveTo>
                  <a:lnTo>
                    <a:pt x="0" y="1397"/>
                  </a:lnTo>
                  <a:lnTo>
                    <a:pt x="861606" y="261806"/>
                  </a:lnTo>
                  <a:lnTo>
                    <a:pt x="861606" y="65134"/>
                  </a:lnTo>
                  <a:lnTo>
                    <a:pt x="646395" y="0"/>
                  </a:lnTo>
                  <a:lnTo>
                    <a:pt x="0" y="0"/>
                  </a:lnTo>
                  <a:close/>
                </a:path>
              </a:pathLst>
            </a:custGeom>
            <a:solidFill>
              <a:schemeClr val="accent1">
                <a:lumMod val="60000"/>
                <a:lumOff val="40000"/>
              </a:schemeClr>
            </a:solidFill>
            <a:ln w="1269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E42C93A2-308B-4606-859C-8A0FB8D801D6}"/>
                </a:ext>
              </a:extLst>
            </p:cNvPr>
            <p:cNvSpPr/>
            <p:nvPr/>
          </p:nvSpPr>
          <p:spPr>
            <a:xfrm>
              <a:off x="12004848" y="-1"/>
              <a:ext cx="181056" cy="54722"/>
            </a:xfrm>
            <a:custGeom>
              <a:avLst/>
              <a:gdLst>
                <a:gd name="connsiteX0" fmla="*/ 0 w 181056"/>
                <a:gd name="connsiteY0" fmla="*/ 0 h 54722"/>
                <a:gd name="connsiteX1" fmla="*/ 181057 w 181056"/>
                <a:gd name="connsiteY1" fmla="*/ 54723 h 54722"/>
                <a:gd name="connsiteX2" fmla="*/ 181057 w 181056"/>
                <a:gd name="connsiteY2" fmla="*/ 0 h 54722"/>
                <a:gd name="connsiteX3" fmla="*/ 0 w 181056"/>
                <a:gd name="connsiteY3" fmla="*/ 0 h 54722"/>
              </a:gdLst>
              <a:ahLst/>
              <a:cxnLst>
                <a:cxn ang="0">
                  <a:pos x="connsiteX0" y="connsiteY0"/>
                </a:cxn>
                <a:cxn ang="0">
                  <a:pos x="connsiteX1" y="connsiteY1"/>
                </a:cxn>
                <a:cxn ang="0">
                  <a:pos x="connsiteX2" y="connsiteY2"/>
                </a:cxn>
                <a:cxn ang="0">
                  <a:pos x="connsiteX3" y="connsiteY3"/>
                </a:cxn>
              </a:cxnLst>
              <a:rect l="l" t="t" r="r" b="b"/>
              <a:pathLst>
                <a:path w="181056" h="54722">
                  <a:moveTo>
                    <a:pt x="0" y="0"/>
                  </a:moveTo>
                  <a:lnTo>
                    <a:pt x="181057" y="54723"/>
                  </a:lnTo>
                  <a:lnTo>
                    <a:pt x="181057" y="0"/>
                  </a:lnTo>
                  <a:lnTo>
                    <a:pt x="0" y="0"/>
                  </a:lnTo>
                  <a:close/>
                </a:path>
              </a:pathLst>
            </a:custGeom>
            <a:solidFill>
              <a:schemeClr val="accent2"/>
            </a:solidFill>
            <a:ln w="1269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D45A4D78-8724-4633-B31D-D220615F534B}"/>
                </a:ext>
              </a:extLst>
            </p:cNvPr>
            <p:cNvSpPr/>
            <p:nvPr/>
          </p:nvSpPr>
          <p:spPr>
            <a:xfrm>
              <a:off x="6533278" y="3538570"/>
              <a:ext cx="45073" cy="157311"/>
            </a:xfrm>
            <a:custGeom>
              <a:avLst/>
              <a:gdLst>
                <a:gd name="connsiteX0" fmla="*/ 0 w 45073"/>
                <a:gd name="connsiteY0" fmla="*/ 157312 h 157311"/>
                <a:gd name="connsiteX1" fmla="*/ 45074 w 45073"/>
                <a:gd name="connsiteY1" fmla="*/ 83163 h 157311"/>
                <a:gd name="connsiteX2" fmla="*/ 45074 w 45073"/>
                <a:gd name="connsiteY2" fmla="*/ 0 h 157311"/>
                <a:gd name="connsiteX3" fmla="*/ 0 w 45073"/>
                <a:gd name="connsiteY3" fmla="*/ 74530 h 157311"/>
                <a:gd name="connsiteX4" fmla="*/ 0 w 45073"/>
                <a:gd name="connsiteY4" fmla="*/ 157312 h 157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3" h="157311">
                  <a:moveTo>
                    <a:pt x="0" y="157312"/>
                  </a:moveTo>
                  <a:lnTo>
                    <a:pt x="45074" y="83163"/>
                  </a:lnTo>
                  <a:lnTo>
                    <a:pt x="45074" y="0"/>
                  </a:lnTo>
                  <a:lnTo>
                    <a:pt x="0" y="74530"/>
                  </a:lnTo>
                  <a:lnTo>
                    <a:pt x="0" y="157312"/>
                  </a:lnTo>
                  <a:close/>
                </a:path>
              </a:pathLst>
            </a:custGeom>
            <a:solidFill>
              <a:srgbClr val="0A4054"/>
            </a:solidFill>
            <a:ln w="1269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2281381E-C89E-4016-A372-92B5B3D563E7}"/>
                </a:ext>
              </a:extLst>
            </p:cNvPr>
            <p:cNvSpPr/>
            <p:nvPr/>
          </p:nvSpPr>
          <p:spPr>
            <a:xfrm>
              <a:off x="5724871" y="3482070"/>
              <a:ext cx="797614" cy="227017"/>
            </a:xfrm>
            <a:custGeom>
              <a:avLst/>
              <a:gdLst>
                <a:gd name="connsiteX0" fmla="*/ 0 w 797614"/>
                <a:gd name="connsiteY0" fmla="*/ 93575 h 227017"/>
                <a:gd name="connsiteX1" fmla="*/ 797615 w 797614"/>
                <a:gd name="connsiteY1" fmla="*/ 227017 h 227017"/>
                <a:gd name="connsiteX2" fmla="*/ 797615 w 797614"/>
                <a:gd name="connsiteY2" fmla="*/ 133823 h 227017"/>
                <a:gd name="connsiteX3" fmla="*/ 0 w 797614"/>
                <a:gd name="connsiteY3" fmla="*/ 0 h 227017"/>
                <a:gd name="connsiteX4" fmla="*/ 0 w 797614"/>
                <a:gd name="connsiteY4" fmla="*/ 93575 h 227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614" h="227017">
                  <a:moveTo>
                    <a:pt x="0" y="93575"/>
                  </a:moveTo>
                  <a:lnTo>
                    <a:pt x="797615" y="227017"/>
                  </a:lnTo>
                  <a:lnTo>
                    <a:pt x="797615" y="133823"/>
                  </a:lnTo>
                  <a:lnTo>
                    <a:pt x="0" y="0"/>
                  </a:lnTo>
                  <a:lnTo>
                    <a:pt x="0" y="93575"/>
                  </a:lnTo>
                  <a:close/>
                </a:path>
              </a:pathLst>
            </a:custGeom>
            <a:solidFill>
              <a:schemeClr val="tx2"/>
            </a:solidFill>
            <a:ln w="1269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70387604-3597-4829-8336-217DCACEECD2}"/>
                </a:ext>
              </a:extLst>
            </p:cNvPr>
            <p:cNvSpPr/>
            <p:nvPr/>
          </p:nvSpPr>
          <p:spPr>
            <a:xfrm>
              <a:off x="5728299" y="3373513"/>
              <a:ext cx="847259" cy="232857"/>
            </a:xfrm>
            <a:custGeom>
              <a:avLst/>
              <a:gdLst>
                <a:gd name="connsiteX0" fmla="*/ 68944 w 847259"/>
                <a:gd name="connsiteY0" fmla="*/ 0 h 232857"/>
                <a:gd name="connsiteX1" fmla="*/ 0 w 847259"/>
                <a:gd name="connsiteY1" fmla="*/ 99161 h 232857"/>
                <a:gd name="connsiteX2" fmla="*/ 796725 w 847259"/>
                <a:gd name="connsiteY2" fmla="*/ 232858 h 232857"/>
                <a:gd name="connsiteX3" fmla="*/ 847259 w 847259"/>
                <a:gd name="connsiteY3" fmla="*/ 149440 h 232857"/>
                <a:gd name="connsiteX4" fmla="*/ 68944 w 847259"/>
                <a:gd name="connsiteY4" fmla="*/ 0 h 2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259" h="232857">
                  <a:moveTo>
                    <a:pt x="68944" y="0"/>
                  </a:moveTo>
                  <a:lnTo>
                    <a:pt x="0" y="99161"/>
                  </a:lnTo>
                  <a:lnTo>
                    <a:pt x="796725" y="232858"/>
                  </a:lnTo>
                  <a:lnTo>
                    <a:pt x="847259" y="149440"/>
                  </a:lnTo>
                  <a:lnTo>
                    <a:pt x="68944" y="0"/>
                  </a:lnTo>
                  <a:close/>
                </a:path>
              </a:pathLst>
            </a:custGeom>
            <a:solidFill>
              <a:schemeClr val="accent5">
                <a:lumMod val="75000"/>
              </a:schemeClr>
            </a:solidFill>
            <a:ln w="1269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6E09BF83-6658-45ED-93A4-A465AB69519D}"/>
                </a:ext>
              </a:extLst>
            </p:cNvPr>
            <p:cNvSpPr/>
            <p:nvPr/>
          </p:nvSpPr>
          <p:spPr>
            <a:xfrm>
              <a:off x="4079743" y="2955664"/>
              <a:ext cx="165185" cy="224604"/>
            </a:xfrm>
            <a:custGeom>
              <a:avLst/>
              <a:gdLst>
                <a:gd name="connsiteX0" fmla="*/ 0 w 165185"/>
                <a:gd name="connsiteY0" fmla="*/ 224605 h 224604"/>
                <a:gd name="connsiteX1" fmla="*/ 165185 w 165185"/>
                <a:gd name="connsiteY1" fmla="*/ 90401 h 224604"/>
                <a:gd name="connsiteX2" fmla="*/ 165185 w 165185"/>
                <a:gd name="connsiteY2" fmla="*/ 0 h 224604"/>
                <a:gd name="connsiteX3" fmla="*/ 0 w 165185"/>
                <a:gd name="connsiteY3" fmla="*/ 134204 h 224604"/>
                <a:gd name="connsiteX4" fmla="*/ 0 w 165185"/>
                <a:gd name="connsiteY4" fmla="*/ 224605 h 224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85" h="224604">
                  <a:moveTo>
                    <a:pt x="0" y="224605"/>
                  </a:moveTo>
                  <a:lnTo>
                    <a:pt x="165185" y="90401"/>
                  </a:lnTo>
                  <a:lnTo>
                    <a:pt x="165185" y="0"/>
                  </a:lnTo>
                  <a:lnTo>
                    <a:pt x="0" y="134204"/>
                  </a:lnTo>
                  <a:lnTo>
                    <a:pt x="0" y="224605"/>
                  </a:lnTo>
                  <a:close/>
                </a:path>
              </a:pathLst>
            </a:custGeom>
            <a:solidFill>
              <a:srgbClr val="0A4054"/>
            </a:solidFill>
            <a:ln w="1269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EC3D3BFB-5CE0-4C28-BCB4-E8753DDDED1C}"/>
                </a:ext>
              </a:extLst>
            </p:cNvPr>
            <p:cNvSpPr/>
            <p:nvPr/>
          </p:nvSpPr>
          <p:spPr>
            <a:xfrm>
              <a:off x="0" y="2069561"/>
              <a:ext cx="4068951" cy="1115278"/>
            </a:xfrm>
            <a:custGeom>
              <a:avLst/>
              <a:gdLst>
                <a:gd name="connsiteX0" fmla="*/ 0 w 4068951"/>
                <a:gd name="connsiteY0" fmla="*/ 93321 h 1115278"/>
                <a:gd name="connsiteX1" fmla="*/ 4068952 w 4068951"/>
                <a:gd name="connsiteY1" fmla="*/ 1115279 h 1115278"/>
                <a:gd name="connsiteX2" fmla="*/ 4068952 w 4068951"/>
                <a:gd name="connsiteY2" fmla="*/ 1021958 h 1115278"/>
                <a:gd name="connsiteX3" fmla="*/ 0 w 4068951"/>
                <a:gd name="connsiteY3" fmla="*/ 0 h 1115278"/>
                <a:gd name="connsiteX4" fmla="*/ 0 w 4068951"/>
                <a:gd name="connsiteY4" fmla="*/ 93321 h 1115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951" h="1115278">
                  <a:moveTo>
                    <a:pt x="0" y="93321"/>
                  </a:moveTo>
                  <a:lnTo>
                    <a:pt x="4068952" y="1115279"/>
                  </a:lnTo>
                  <a:lnTo>
                    <a:pt x="4068952" y="1021958"/>
                  </a:lnTo>
                  <a:lnTo>
                    <a:pt x="0" y="0"/>
                  </a:lnTo>
                  <a:lnTo>
                    <a:pt x="0" y="93321"/>
                  </a:lnTo>
                  <a:close/>
                </a:path>
              </a:pathLst>
            </a:custGeom>
            <a:solidFill>
              <a:schemeClr val="accent5"/>
            </a:solidFill>
            <a:ln w="1269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4065A481-F236-4760-9027-7EB057B4EB30}"/>
                </a:ext>
              </a:extLst>
            </p:cNvPr>
            <p:cNvSpPr/>
            <p:nvPr/>
          </p:nvSpPr>
          <p:spPr>
            <a:xfrm>
              <a:off x="0" y="1880381"/>
              <a:ext cx="4239343" cy="1201869"/>
            </a:xfrm>
            <a:custGeom>
              <a:avLst/>
              <a:gdLst>
                <a:gd name="connsiteX0" fmla="*/ 4239343 w 4239343"/>
                <a:gd name="connsiteY0" fmla="*/ 1066650 h 1201869"/>
                <a:gd name="connsiteX1" fmla="*/ 0 w 4239343"/>
                <a:gd name="connsiteY1" fmla="*/ 0 h 1201869"/>
                <a:gd name="connsiteX2" fmla="*/ 0 w 4239343"/>
                <a:gd name="connsiteY2" fmla="*/ 179023 h 1201869"/>
                <a:gd name="connsiteX3" fmla="*/ 4073015 w 4239343"/>
                <a:gd name="connsiteY3" fmla="*/ 1201870 h 1201869"/>
                <a:gd name="connsiteX4" fmla="*/ 4239343 w 4239343"/>
                <a:gd name="connsiteY4" fmla="*/ 1066650 h 1201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343" h="1201869">
                  <a:moveTo>
                    <a:pt x="4239343" y="1066650"/>
                  </a:moveTo>
                  <a:lnTo>
                    <a:pt x="0" y="0"/>
                  </a:lnTo>
                  <a:lnTo>
                    <a:pt x="0" y="179023"/>
                  </a:lnTo>
                  <a:lnTo>
                    <a:pt x="4073015" y="1201870"/>
                  </a:lnTo>
                  <a:lnTo>
                    <a:pt x="4239343" y="1066650"/>
                  </a:lnTo>
                  <a:close/>
                </a:path>
              </a:pathLst>
            </a:custGeom>
            <a:solidFill>
              <a:schemeClr val="tx2"/>
            </a:solidFill>
            <a:ln w="1269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34291ACA-4B81-420D-A9F6-ED589F9A7F8F}"/>
                </a:ext>
              </a:extLst>
            </p:cNvPr>
            <p:cNvSpPr/>
            <p:nvPr/>
          </p:nvSpPr>
          <p:spPr>
            <a:xfrm>
              <a:off x="5454556" y="3308125"/>
              <a:ext cx="83544" cy="195656"/>
            </a:xfrm>
            <a:custGeom>
              <a:avLst/>
              <a:gdLst>
                <a:gd name="connsiteX0" fmla="*/ 0 w 83544"/>
                <a:gd name="connsiteY0" fmla="*/ 195656 h 195656"/>
                <a:gd name="connsiteX1" fmla="*/ 83545 w 83544"/>
                <a:gd name="connsiteY1" fmla="*/ 86338 h 195656"/>
                <a:gd name="connsiteX2" fmla="*/ 83545 w 83544"/>
                <a:gd name="connsiteY2" fmla="*/ 0 h 195656"/>
                <a:gd name="connsiteX3" fmla="*/ 0 w 83544"/>
                <a:gd name="connsiteY3" fmla="*/ 109319 h 195656"/>
                <a:gd name="connsiteX4" fmla="*/ 0 w 83544"/>
                <a:gd name="connsiteY4" fmla="*/ 195656 h 19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44" h="195656">
                  <a:moveTo>
                    <a:pt x="0" y="195656"/>
                  </a:moveTo>
                  <a:lnTo>
                    <a:pt x="83545" y="86338"/>
                  </a:lnTo>
                  <a:lnTo>
                    <a:pt x="83545" y="0"/>
                  </a:lnTo>
                  <a:lnTo>
                    <a:pt x="0" y="109319"/>
                  </a:lnTo>
                  <a:lnTo>
                    <a:pt x="0" y="195656"/>
                  </a:lnTo>
                  <a:close/>
                </a:path>
              </a:pathLst>
            </a:custGeom>
            <a:solidFill>
              <a:schemeClr val="accent5">
                <a:lumMod val="75000"/>
              </a:schemeClr>
            </a:solidFill>
            <a:ln w="1269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12A9F120-74F2-4332-AB35-9A23478D7676}"/>
                </a:ext>
              </a:extLst>
            </p:cNvPr>
            <p:cNvSpPr/>
            <p:nvPr/>
          </p:nvSpPr>
          <p:spPr>
            <a:xfrm>
              <a:off x="4375325" y="3226358"/>
              <a:ext cx="1068437" cy="287072"/>
            </a:xfrm>
            <a:custGeom>
              <a:avLst/>
              <a:gdLst>
                <a:gd name="connsiteX0" fmla="*/ 0 w 1068437"/>
                <a:gd name="connsiteY0" fmla="*/ 93575 h 287072"/>
                <a:gd name="connsiteX1" fmla="*/ 1068438 w 1068437"/>
                <a:gd name="connsiteY1" fmla="*/ 287073 h 287072"/>
                <a:gd name="connsiteX2" fmla="*/ 1068438 w 1068437"/>
                <a:gd name="connsiteY2" fmla="*/ 193625 h 287072"/>
                <a:gd name="connsiteX3" fmla="*/ 0 w 1068437"/>
                <a:gd name="connsiteY3" fmla="*/ 0 h 287072"/>
                <a:gd name="connsiteX4" fmla="*/ 0 w 1068437"/>
                <a:gd name="connsiteY4" fmla="*/ 93575 h 287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437" h="287072">
                  <a:moveTo>
                    <a:pt x="0" y="93575"/>
                  </a:moveTo>
                  <a:lnTo>
                    <a:pt x="1068438" y="287073"/>
                  </a:lnTo>
                  <a:lnTo>
                    <a:pt x="1068438" y="193625"/>
                  </a:lnTo>
                  <a:lnTo>
                    <a:pt x="0" y="0"/>
                  </a:lnTo>
                  <a:lnTo>
                    <a:pt x="0" y="93575"/>
                  </a:lnTo>
                  <a:close/>
                </a:path>
              </a:pathLst>
            </a:custGeom>
            <a:solidFill>
              <a:srgbClr val="509498"/>
            </a:solidFill>
            <a:ln w="1269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47A06EB5-C4AB-40D2-A860-AF6D5D122E5D}"/>
                </a:ext>
              </a:extLst>
            </p:cNvPr>
            <p:cNvSpPr/>
            <p:nvPr/>
          </p:nvSpPr>
          <p:spPr>
            <a:xfrm>
              <a:off x="4379642" y="3070316"/>
              <a:ext cx="1154903" cy="340144"/>
            </a:xfrm>
            <a:custGeom>
              <a:avLst/>
              <a:gdLst>
                <a:gd name="connsiteX0" fmla="*/ 126206 w 1154903"/>
                <a:gd name="connsiteY0" fmla="*/ 0 h 340144"/>
                <a:gd name="connsiteX1" fmla="*/ 0 w 1154903"/>
                <a:gd name="connsiteY1" fmla="*/ 146901 h 340144"/>
                <a:gd name="connsiteX2" fmla="*/ 1067041 w 1154903"/>
                <a:gd name="connsiteY2" fmla="*/ 340144 h 340144"/>
                <a:gd name="connsiteX3" fmla="*/ 1154903 w 1154903"/>
                <a:gd name="connsiteY3" fmla="*/ 225112 h 340144"/>
                <a:gd name="connsiteX4" fmla="*/ 126206 w 1154903"/>
                <a:gd name="connsiteY4" fmla="*/ 0 h 34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903" h="340144">
                  <a:moveTo>
                    <a:pt x="126206" y="0"/>
                  </a:moveTo>
                  <a:lnTo>
                    <a:pt x="0" y="146901"/>
                  </a:lnTo>
                  <a:lnTo>
                    <a:pt x="1067041" y="340144"/>
                  </a:lnTo>
                  <a:lnTo>
                    <a:pt x="1154903" y="225112"/>
                  </a:lnTo>
                  <a:lnTo>
                    <a:pt x="126206" y="0"/>
                  </a:lnTo>
                  <a:close/>
                </a:path>
              </a:pathLst>
            </a:custGeom>
            <a:solidFill>
              <a:schemeClr val="accent1">
                <a:lumMod val="75000"/>
              </a:schemeClr>
            </a:solidFill>
            <a:ln w="1269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E01D7054-1F65-41E2-A78C-5B2E67F5BF6A}"/>
                </a:ext>
              </a:extLst>
            </p:cNvPr>
            <p:cNvSpPr/>
            <p:nvPr/>
          </p:nvSpPr>
          <p:spPr>
            <a:xfrm>
              <a:off x="11961170" y="879880"/>
              <a:ext cx="175724" cy="149059"/>
            </a:xfrm>
            <a:custGeom>
              <a:avLst/>
              <a:gdLst>
                <a:gd name="connsiteX0" fmla="*/ 166582 w 175724"/>
                <a:gd name="connsiteY0" fmla="*/ 2158 h 149059"/>
                <a:gd name="connsiteX1" fmla="*/ 166582 w 175724"/>
                <a:gd name="connsiteY1" fmla="*/ 0 h 149059"/>
                <a:gd name="connsiteX2" fmla="*/ 1524 w 175724"/>
                <a:gd name="connsiteY2" fmla="*/ 134331 h 149059"/>
                <a:gd name="connsiteX3" fmla="*/ 1524 w 175724"/>
                <a:gd name="connsiteY3" fmla="*/ 145250 h 149059"/>
                <a:gd name="connsiteX4" fmla="*/ 1524 w 175724"/>
                <a:gd name="connsiteY4" fmla="*/ 146012 h 149059"/>
                <a:gd name="connsiteX5" fmla="*/ 1524 w 175724"/>
                <a:gd name="connsiteY5" fmla="*/ 146901 h 149059"/>
                <a:gd name="connsiteX6" fmla="*/ 1524 w 175724"/>
                <a:gd name="connsiteY6" fmla="*/ 146901 h 149059"/>
                <a:gd name="connsiteX7" fmla="*/ 0 w 175724"/>
                <a:gd name="connsiteY7" fmla="*/ 149059 h 149059"/>
                <a:gd name="connsiteX8" fmla="*/ 0 w 175724"/>
                <a:gd name="connsiteY8" fmla="*/ 149059 h 149059"/>
                <a:gd name="connsiteX9" fmla="*/ 175724 w 175724"/>
                <a:gd name="connsiteY9" fmla="*/ 5840 h 149059"/>
                <a:gd name="connsiteX10" fmla="*/ 175724 w 175724"/>
                <a:gd name="connsiteY10" fmla="*/ 5840 h 149059"/>
                <a:gd name="connsiteX11" fmla="*/ 168004 w 175724"/>
                <a:gd name="connsiteY11" fmla="*/ 5528 h 149059"/>
                <a:gd name="connsiteX12" fmla="*/ 166582 w 175724"/>
                <a:gd name="connsiteY12" fmla="*/ 2285 h 14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24" h="149059">
                  <a:moveTo>
                    <a:pt x="166582" y="2158"/>
                  </a:moveTo>
                  <a:lnTo>
                    <a:pt x="166582" y="0"/>
                  </a:lnTo>
                  <a:lnTo>
                    <a:pt x="1524" y="134331"/>
                  </a:lnTo>
                  <a:lnTo>
                    <a:pt x="1524" y="145250"/>
                  </a:lnTo>
                  <a:cubicBezTo>
                    <a:pt x="1524" y="145250"/>
                    <a:pt x="1524" y="145250"/>
                    <a:pt x="1524" y="146012"/>
                  </a:cubicBezTo>
                  <a:cubicBezTo>
                    <a:pt x="1524" y="146774"/>
                    <a:pt x="1524" y="146012"/>
                    <a:pt x="1524" y="146901"/>
                  </a:cubicBezTo>
                  <a:lnTo>
                    <a:pt x="1524" y="146901"/>
                  </a:lnTo>
                  <a:cubicBezTo>
                    <a:pt x="1207" y="147739"/>
                    <a:pt x="686" y="148483"/>
                    <a:pt x="0" y="149059"/>
                  </a:cubicBezTo>
                  <a:lnTo>
                    <a:pt x="0" y="149059"/>
                  </a:lnTo>
                  <a:lnTo>
                    <a:pt x="175724" y="5840"/>
                  </a:lnTo>
                  <a:lnTo>
                    <a:pt x="175724" y="5840"/>
                  </a:lnTo>
                  <a:cubicBezTo>
                    <a:pt x="173502" y="7885"/>
                    <a:pt x="170049" y="7745"/>
                    <a:pt x="168004" y="5528"/>
                  </a:cubicBezTo>
                  <a:cubicBezTo>
                    <a:pt x="167192" y="4636"/>
                    <a:pt x="166684" y="3495"/>
                    <a:pt x="166582" y="2285"/>
                  </a:cubicBezTo>
                  <a:close/>
                </a:path>
              </a:pathLst>
            </a:custGeom>
            <a:solidFill>
              <a:srgbClr val="000000"/>
            </a:solidFill>
            <a:ln w="1269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953666B4-A596-4916-8AD3-5BE5557EF157}"/>
                </a:ext>
              </a:extLst>
            </p:cNvPr>
            <p:cNvSpPr/>
            <p:nvPr/>
          </p:nvSpPr>
          <p:spPr>
            <a:xfrm>
              <a:off x="11874521" y="999737"/>
              <a:ext cx="56" cy="888"/>
            </a:xfrm>
            <a:custGeom>
              <a:avLst/>
              <a:gdLst>
                <a:gd name="connsiteX0" fmla="*/ 57 w 56"/>
                <a:gd name="connsiteY0" fmla="*/ 889 h 888"/>
                <a:gd name="connsiteX1" fmla="*/ 57 w 56"/>
                <a:gd name="connsiteY1" fmla="*/ 0 h 888"/>
                <a:gd name="connsiteX2" fmla="*/ 57 w 56"/>
                <a:gd name="connsiteY2" fmla="*/ 0 h 888"/>
                <a:gd name="connsiteX3" fmla="*/ 57 w 56"/>
                <a:gd name="connsiteY3" fmla="*/ 889 h 888"/>
              </a:gdLst>
              <a:ahLst/>
              <a:cxnLst>
                <a:cxn ang="0">
                  <a:pos x="connsiteX0" y="connsiteY0"/>
                </a:cxn>
                <a:cxn ang="0">
                  <a:pos x="connsiteX1" y="connsiteY1"/>
                </a:cxn>
                <a:cxn ang="0">
                  <a:pos x="connsiteX2" y="connsiteY2"/>
                </a:cxn>
                <a:cxn ang="0">
                  <a:pos x="connsiteX3" y="connsiteY3"/>
                </a:cxn>
              </a:cxnLst>
              <a:rect l="l" t="t" r="r" b="b"/>
              <a:pathLst>
                <a:path w="56" h="888">
                  <a:moveTo>
                    <a:pt x="57" y="889"/>
                  </a:moveTo>
                  <a:cubicBezTo>
                    <a:pt x="7" y="596"/>
                    <a:pt x="7" y="293"/>
                    <a:pt x="57" y="0"/>
                  </a:cubicBezTo>
                  <a:lnTo>
                    <a:pt x="57" y="0"/>
                  </a:lnTo>
                  <a:cubicBezTo>
                    <a:pt x="-19" y="291"/>
                    <a:pt x="-19" y="598"/>
                    <a:pt x="57" y="889"/>
                  </a:cubicBezTo>
                  <a:close/>
                </a:path>
              </a:pathLst>
            </a:custGeom>
            <a:solidFill>
              <a:srgbClr val="000000"/>
            </a:solidFill>
            <a:ln w="1269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94776344-58FA-4857-90EC-26787F7B63EA}"/>
                </a:ext>
              </a:extLst>
            </p:cNvPr>
            <p:cNvSpPr/>
            <p:nvPr/>
          </p:nvSpPr>
          <p:spPr>
            <a:xfrm>
              <a:off x="11962821" y="1025892"/>
              <a:ext cx="9" cy="888"/>
            </a:xfrm>
            <a:custGeom>
              <a:avLst/>
              <a:gdLst>
                <a:gd name="connsiteX0" fmla="*/ 0 w 9"/>
                <a:gd name="connsiteY0" fmla="*/ 889 h 888"/>
                <a:gd name="connsiteX1" fmla="*/ 0 w 9"/>
                <a:gd name="connsiteY1" fmla="*/ 0 h 888"/>
                <a:gd name="connsiteX2" fmla="*/ 0 w 9"/>
                <a:gd name="connsiteY2" fmla="*/ 889 h 888"/>
              </a:gdLst>
              <a:ahLst/>
              <a:cxnLst>
                <a:cxn ang="0">
                  <a:pos x="connsiteX0" y="connsiteY0"/>
                </a:cxn>
                <a:cxn ang="0">
                  <a:pos x="connsiteX1" y="connsiteY1"/>
                </a:cxn>
                <a:cxn ang="0">
                  <a:pos x="connsiteX2" y="connsiteY2"/>
                </a:cxn>
              </a:cxnLst>
              <a:rect l="l" t="t" r="r" b="b"/>
              <a:pathLst>
                <a:path w="9" h="888">
                  <a:moveTo>
                    <a:pt x="0" y="889"/>
                  </a:moveTo>
                  <a:cubicBezTo>
                    <a:pt x="0" y="889"/>
                    <a:pt x="0" y="254"/>
                    <a:pt x="0" y="0"/>
                  </a:cubicBezTo>
                  <a:cubicBezTo>
                    <a:pt x="12" y="296"/>
                    <a:pt x="12" y="593"/>
                    <a:pt x="0" y="889"/>
                  </a:cubicBezTo>
                  <a:close/>
                </a:path>
              </a:pathLst>
            </a:custGeom>
            <a:solidFill>
              <a:srgbClr val="000000"/>
            </a:solidFill>
            <a:ln w="1269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E0E411B9-FEC7-4B16-90FF-7D51A886355B}"/>
                </a:ext>
              </a:extLst>
            </p:cNvPr>
            <p:cNvSpPr/>
            <p:nvPr/>
          </p:nvSpPr>
          <p:spPr>
            <a:xfrm>
              <a:off x="11880672" y="996817"/>
              <a:ext cx="77069" cy="33145"/>
            </a:xfrm>
            <a:custGeom>
              <a:avLst/>
              <a:gdLst>
                <a:gd name="connsiteX0" fmla="*/ 71610 w 77069"/>
                <a:gd name="connsiteY0" fmla="*/ 28314 h 33145"/>
                <a:gd name="connsiteX1" fmla="*/ 71610 w 77069"/>
                <a:gd name="connsiteY1" fmla="*/ 21584 h 33145"/>
                <a:gd name="connsiteX2" fmla="*/ 889 w 77069"/>
                <a:gd name="connsiteY2" fmla="*/ 0 h 33145"/>
                <a:gd name="connsiteX3" fmla="*/ 0 w 77069"/>
                <a:gd name="connsiteY3" fmla="*/ 0 h 33145"/>
                <a:gd name="connsiteX4" fmla="*/ 4571 w 77069"/>
                <a:gd name="connsiteY4" fmla="*/ 4825 h 33145"/>
                <a:gd name="connsiteX5" fmla="*/ 4571 w 77069"/>
                <a:gd name="connsiteY5" fmla="*/ 11554 h 33145"/>
                <a:gd name="connsiteX6" fmla="*/ 75293 w 77069"/>
                <a:gd name="connsiteY6" fmla="*/ 33138 h 33145"/>
                <a:gd name="connsiteX7" fmla="*/ 77070 w 77069"/>
                <a:gd name="connsiteY7" fmla="*/ 33138 h 33145"/>
                <a:gd name="connsiteX8" fmla="*/ 71610 w 77069"/>
                <a:gd name="connsiteY8" fmla="*/ 28314 h 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69" h="33145">
                  <a:moveTo>
                    <a:pt x="71610" y="28314"/>
                  </a:moveTo>
                  <a:lnTo>
                    <a:pt x="71610" y="21584"/>
                  </a:lnTo>
                  <a:lnTo>
                    <a:pt x="889" y="0"/>
                  </a:lnTo>
                  <a:lnTo>
                    <a:pt x="0" y="0"/>
                  </a:lnTo>
                  <a:cubicBezTo>
                    <a:pt x="2515" y="250"/>
                    <a:pt x="4457" y="2304"/>
                    <a:pt x="4571" y="4825"/>
                  </a:cubicBezTo>
                  <a:lnTo>
                    <a:pt x="4571" y="11554"/>
                  </a:lnTo>
                  <a:lnTo>
                    <a:pt x="75293" y="33138"/>
                  </a:lnTo>
                  <a:lnTo>
                    <a:pt x="77070" y="33138"/>
                  </a:lnTo>
                  <a:cubicBezTo>
                    <a:pt x="74239" y="33284"/>
                    <a:pt x="71813" y="31140"/>
                    <a:pt x="71610" y="28314"/>
                  </a:cubicBezTo>
                  <a:close/>
                </a:path>
              </a:pathLst>
            </a:custGeom>
            <a:solidFill>
              <a:srgbClr val="000000"/>
            </a:solidFill>
            <a:ln w="1269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2ACBD197-2961-4E11-ABB5-BCBCDBE47006}"/>
                </a:ext>
              </a:extLst>
            </p:cNvPr>
            <p:cNvSpPr/>
            <p:nvPr/>
          </p:nvSpPr>
          <p:spPr>
            <a:xfrm>
              <a:off x="11033540" y="63978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5063F80A-4C87-4195-AD2B-CEC83299DCC1}"/>
                </a:ext>
              </a:extLst>
            </p:cNvPr>
            <p:cNvSpPr/>
            <p:nvPr/>
          </p:nvSpPr>
          <p:spPr>
            <a:xfrm>
              <a:off x="11032652" y="641309"/>
              <a:ext cx="12696" cy="56"/>
            </a:xfrm>
            <a:custGeom>
              <a:avLst/>
              <a:gdLst>
                <a:gd name="connsiteX0" fmla="*/ 0 w 12696"/>
                <a:gd name="connsiteY0" fmla="*/ 0 h 56"/>
                <a:gd name="connsiteX1" fmla="*/ 0 w 12696"/>
                <a:gd name="connsiteY1" fmla="*/ 0 h 56"/>
                <a:gd name="connsiteX2" fmla="*/ 0 w 12696"/>
                <a:gd name="connsiteY2" fmla="*/ 0 h 56"/>
                <a:gd name="connsiteX3" fmla="*/ 0 w 12696"/>
                <a:gd name="connsiteY3" fmla="*/ 0 h 56"/>
              </a:gdLst>
              <a:ahLst/>
              <a:cxnLst>
                <a:cxn ang="0">
                  <a:pos x="connsiteX0" y="connsiteY0"/>
                </a:cxn>
                <a:cxn ang="0">
                  <a:pos x="connsiteX1" y="connsiteY1"/>
                </a:cxn>
                <a:cxn ang="0">
                  <a:pos x="connsiteX2" y="connsiteY2"/>
                </a:cxn>
                <a:cxn ang="0">
                  <a:pos x="connsiteX3" y="connsiteY3"/>
                </a:cxn>
              </a:cxnLst>
              <a:rect l="l" t="t" r="r" b="b"/>
              <a:pathLst>
                <a:path w="12696" h="56">
                  <a:moveTo>
                    <a:pt x="0" y="0"/>
                  </a:moveTo>
                  <a:lnTo>
                    <a:pt x="0" y="0"/>
                  </a:lnTo>
                  <a:lnTo>
                    <a:pt x="0" y="0"/>
                  </a:lnTo>
                  <a:cubicBezTo>
                    <a:pt x="0" y="0"/>
                    <a:pt x="0" y="127"/>
                    <a:pt x="0" y="0"/>
                  </a:cubicBezTo>
                  <a:close/>
                </a:path>
              </a:pathLst>
            </a:custGeom>
            <a:solidFill>
              <a:srgbClr val="000000"/>
            </a:solidFill>
            <a:ln w="1269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B6304405-AE17-4E1F-BB7D-F78DF9B8946B}"/>
                </a:ext>
              </a:extLst>
            </p:cNvPr>
            <p:cNvSpPr/>
            <p:nvPr/>
          </p:nvSpPr>
          <p:spPr>
            <a:xfrm>
              <a:off x="11034048" y="644737"/>
              <a:ext cx="8887" cy="82401"/>
            </a:xfrm>
            <a:custGeom>
              <a:avLst/>
              <a:gdLst>
                <a:gd name="connsiteX0" fmla="*/ 5206 w 8887"/>
                <a:gd name="connsiteY0" fmla="*/ 81259 h 82401"/>
                <a:gd name="connsiteX1" fmla="*/ 8888 w 8887"/>
                <a:gd name="connsiteY1" fmla="*/ 82402 h 82401"/>
                <a:gd name="connsiteX2" fmla="*/ 8888 w 8887"/>
                <a:gd name="connsiteY2" fmla="*/ 5460 h 82401"/>
                <a:gd name="connsiteX3" fmla="*/ 1778 w 8887"/>
                <a:gd name="connsiteY3" fmla="*/ 3301 h 82401"/>
                <a:gd name="connsiteX4" fmla="*/ 1778 w 8887"/>
                <a:gd name="connsiteY4" fmla="*/ 3301 h 82401"/>
                <a:gd name="connsiteX5" fmla="*/ 1016 w 8887"/>
                <a:gd name="connsiteY5" fmla="*/ 3301 h 82401"/>
                <a:gd name="connsiteX6" fmla="*/ 0 w 8887"/>
                <a:gd name="connsiteY6" fmla="*/ 2666 h 82401"/>
                <a:gd name="connsiteX7" fmla="*/ 0 w 8887"/>
                <a:gd name="connsiteY7" fmla="*/ 2666 h 82401"/>
                <a:gd name="connsiteX8" fmla="*/ 0 w 8887"/>
                <a:gd name="connsiteY8" fmla="*/ 2666 h 82401"/>
                <a:gd name="connsiteX9" fmla="*/ 0 w 8887"/>
                <a:gd name="connsiteY9" fmla="*/ 1778 h 82401"/>
                <a:gd name="connsiteX10" fmla="*/ 0 w 8887"/>
                <a:gd name="connsiteY10" fmla="*/ 889 h 82401"/>
                <a:gd name="connsiteX11" fmla="*/ 0 w 8887"/>
                <a:gd name="connsiteY11" fmla="*/ 0 h 82401"/>
                <a:gd name="connsiteX12" fmla="*/ 0 w 8887"/>
                <a:gd name="connsiteY12" fmla="*/ 0 h 82401"/>
                <a:gd name="connsiteX13" fmla="*/ 0 w 8887"/>
                <a:gd name="connsiteY13" fmla="*/ 0 h 82401"/>
                <a:gd name="connsiteX14" fmla="*/ 0 w 8887"/>
                <a:gd name="connsiteY14" fmla="*/ 78974 h 82401"/>
                <a:gd name="connsiteX15" fmla="*/ 7110 w 8887"/>
                <a:gd name="connsiteY15" fmla="*/ 81132 h 8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87" h="82401">
                  <a:moveTo>
                    <a:pt x="5206" y="81259"/>
                  </a:moveTo>
                  <a:lnTo>
                    <a:pt x="8888" y="82402"/>
                  </a:lnTo>
                  <a:lnTo>
                    <a:pt x="8888" y="5460"/>
                  </a:lnTo>
                  <a:lnTo>
                    <a:pt x="1778" y="3301"/>
                  </a:lnTo>
                  <a:lnTo>
                    <a:pt x="1778" y="3301"/>
                  </a:lnTo>
                  <a:lnTo>
                    <a:pt x="1016" y="3301"/>
                  </a:lnTo>
                  <a:lnTo>
                    <a:pt x="0" y="2666"/>
                  </a:lnTo>
                  <a:lnTo>
                    <a:pt x="0" y="2666"/>
                  </a:lnTo>
                  <a:lnTo>
                    <a:pt x="0" y="2666"/>
                  </a:lnTo>
                  <a:lnTo>
                    <a:pt x="0" y="1778"/>
                  </a:lnTo>
                  <a:lnTo>
                    <a:pt x="0" y="889"/>
                  </a:lnTo>
                  <a:cubicBezTo>
                    <a:pt x="0" y="889"/>
                    <a:pt x="0" y="889"/>
                    <a:pt x="0" y="0"/>
                  </a:cubicBezTo>
                  <a:lnTo>
                    <a:pt x="0" y="0"/>
                  </a:lnTo>
                  <a:lnTo>
                    <a:pt x="0" y="0"/>
                  </a:lnTo>
                  <a:lnTo>
                    <a:pt x="0" y="78974"/>
                  </a:lnTo>
                  <a:lnTo>
                    <a:pt x="7110" y="81132"/>
                  </a:lnTo>
                  <a:close/>
                </a:path>
              </a:pathLst>
            </a:custGeom>
            <a:solidFill>
              <a:srgbClr val="000000"/>
            </a:solidFill>
            <a:ln w="1269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72331784-45BE-4C94-8034-1128DD3D2BDE}"/>
                </a:ext>
              </a:extLst>
            </p:cNvPr>
            <p:cNvSpPr/>
            <p:nvPr/>
          </p:nvSpPr>
          <p:spPr>
            <a:xfrm>
              <a:off x="11952410" y="923557"/>
              <a:ext cx="10538" cy="106404"/>
            </a:xfrm>
            <a:custGeom>
              <a:avLst/>
              <a:gdLst>
                <a:gd name="connsiteX0" fmla="*/ 10539 w 10538"/>
                <a:gd name="connsiteY0" fmla="*/ 102336 h 106404"/>
                <a:gd name="connsiteX1" fmla="*/ 10539 w 10538"/>
                <a:gd name="connsiteY1" fmla="*/ 101574 h 106404"/>
                <a:gd name="connsiteX2" fmla="*/ 10539 w 10538"/>
                <a:gd name="connsiteY2" fmla="*/ 0 h 106404"/>
                <a:gd name="connsiteX3" fmla="*/ 8761 w 10538"/>
                <a:gd name="connsiteY3" fmla="*/ 1397 h 106404"/>
                <a:gd name="connsiteX4" fmla="*/ 8761 w 10538"/>
                <a:gd name="connsiteY4" fmla="*/ 1397 h 106404"/>
                <a:gd name="connsiteX5" fmla="*/ 5460 w 10538"/>
                <a:gd name="connsiteY5" fmla="*/ 2539 h 106404"/>
                <a:gd name="connsiteX6" fmla="*/ 3682 w 10538"/>
                <a:gd name="connsiteY6" fmla="*/ 2539 h 106404"/>
                <a:gd name="connsiteX7" fmla="*/ 0 w 10538"/>
                <a:gd name="connsiteY7" fmla="*/ 1397 h 106404"/>
                <a:gd name="connsiteX8" fmla="*/ 0 w 10538"/>
                <a:gd name="connsiteY8" fmla="*/ 101447 h 106404"/>
                <a:gd name="connsiteX9" fmla="*/ 5447 w 10538"/>
                <a:gd name="connsiteY9" fmla="*/ 106398 h 106404"/>
                <a:gd name="connsiteX10" fmla="*/ 5460 w 10538"/>
                <a:gd name="connsiteY10" fmla="*/ 106398 h 106404"/>
                <a:gd name="connsiteX11" fmla="*/ 8253 w 10538"/>
                <a:gd name="connsiteY11" fmla="*/ 105637 h 106404"/>
                <a:gd name="connsiteX12" fmla="*/ 8253 w 10538"/>
                <a:gd name="connsiteY12" fmla="*/ 105637 h 106404"/>
                <a:gd name="connsiteX13" fmla="*/ 8253 w 10538"/>
                <a:gd name="connsiteY13" fmla="*/ 105637 h 106404"/>
                <a:gd name="connsiteX14" fmla="*/ 9777 w 10538"/>
                <a:gd name="connsiteY14" fmla="*/ 103478 h 106404"/>
                <a:gd name="connsiteX15" fmla="*/ 10539 w 10538"/>
                <a:gd name="connsiteY15" fmla="*/ 102336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404">
                  <a:moveTo>
                    <a:pt x="10539" y="102336"/>
                  </a:moveTo>
                  <a:cubicBezTo>
                    <a:pt x="10539" y="102336"/>
                    <a:pt x="10539" y="102336"/>
                    <a:pt x="10539" y="101574"/>
                  </a:cubicBezTo>
                  <a:lnTo>
                    <a:pt x="10539" y="0"/>
                  </a:lnTo>
                  <a:lnTo>
                    <a:pt x="8761" y="1397"/>
                  </a:lnTo>
                  <a:lnTo>
                    <a:pt x="8761" y="1397"/>
                  </a:lnTo>
                  <a:cubicBezTo>
                    <a:pt x="7822" y="2129"/>
                    <a:pt x="6653" y="2530"/>
                    <a:pt x="5460" y="2539"/>
                  </a:cubicBezTo>
                  <a:cubicBezTo>
                    <a:pt x="4876" y="2663"/>
                    <a:pt x="4266" y="2663"/>
                    <a:pt x="3682" y="2539"/>
                  </a:cubicBezTo>
                  <a:lnTo>
                    <a:pt x="0" y="1397"/>
                  </a:lnTo>
                  <a:lnTo>
                    <a:pt x="0" y="101447"/>
                  </a:lnTo>
                  <a:cubicBezTo>
                    <a:pt x="139" y="104319"/>
                    <a:pt x="2577" y="106536"/>
                    <a:pt x="5447" y="106398"/>
                  </a:cubicBezTo>
                  <a:cubicBezTo>
                    <a:pt x="5447" y="106398"/>
                    <a:pt x="5460" y="106398"/>
                    <a:pt x="5460" y="106398"/>
                  </a:cubicBezTo>
                  <a:cubicBezTo>
                    <a:pt x="6438" y="106343"/>
                    <a:pt x="7390" y="106084"/>
                    <a:pt x="8253" y="105637"/>
                  </a:cubicBezTo>
                  <a:lnTo>
                    <a:pt x="8253" y="105637"/>
                  </a:lnTo>
                  <a:lnTo>
                    <a:pt x="8253" y="105637"/>
                  </a:lnTo>
                  <a:cubicBezTo>
                    <a:pt x="8938" y="105060"/>
                    <a:pt x="9459" y="104316"/>
                    <a:pt x="9777" y="103478"/>
                  </a:cubicBezTo>
                  <a:cubicBezTo>
                    <a:pt x="10069" y="103119"/>
                    <a:pt x="10322" y="102737"/>
                    <a:pt x="10539" y="102336"/>
                  </a:cubicBezTo>
                  <a:close/>
                </a:path>
              </a:pathLst>
            </a:custGeom>
            <a:solidFill>
              <a:srgbClr val="000000"/>
            </a:solidFill>
            <a:ln w="1269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464A28B9-3C0E-4C0E-A729-219B2806116D}"/>
                </a:ext>
              </a:extLst>
            </p:cNvPr>
            <p:cNvSpPr/>
            <p:nvPr/>
          </p:nvSpPr>
          <p:spPr>
            <a:xfrm>
              <a:off x="11032477" y="640928"/>
              <a:ext cx="47" cy="761"/>
            </a:xfrm>
            <a:custGeom>
              <a:avLst/>
              <a:gdLst>
                <a:gd name="connsiteX0" fmla="*/ 48 w 47"/>
                <a:gd name="connsiteY0" fmla="*/ 762 h 761"/>
                <a:gd name="connsiteX1" fmla="*/ 48 w 47"/>
                <a:gd name="connsiteY1" fmla="*/ 762 h 761"/>
                <a:gd name="connsiteX2" fmla="*/ 48 w 47"/>
                <a:gd name="connsiteY2" fmla="*/ 762 h 761"/>
                <a:gd name="connsiteX3" fmla="*/ 48 w 47"/>
                <a:gd name="connsiteY3" fmla="*/ 0 h 761"/>
              </a:gdLst>
              <a:ahLst/>
              <a:cxnLst>
                <a:cxn ang="0">
                  <a:pos x="connsiteX0" y="connsiteY0"/>
                </a:cxn>
                <a:cxn ang="0">
                  <a:pos x="connsiteX1" y="connsiteY1"/>
                </a:cxn>
                <a:cxn ang="0">
                  <a:pos x="connsiteX2" y="connsiteY2"/>
                </a:cxn>
                <a:cxn ang="0">
                  <a:pos x="connsiteX3" y="connsiteY3"/>
                </a:cxn>
              </a:cxnLst>
              <a:rect l="l" t="t" r="r" b="b"/>
              <a:pathLst>
                <a:path w="47" h="761">
                  <a:moveTo>
                    <a:pt x="48" y="762"/>
                  </a:moveTo>
                  <a:lnTo>
                    <a:pt x="48" y="762"/>
                  </a:lnTo>
                  <a:lnTo>
                    <a:pt x="48" y="762"/>
                  </a:lnTo>
                  <a:cubicBezTo>
                    <a:pt x="-16" y="512"/>
                    <a:pt x="-16" y="250"/>
                    <a:pt x="48" y="0"/>
                  </a:cubicBezTo>
                  <a:close/>
                </a:path>
              </a:pathLst>
            </a:custGeom>
            <a:solidFill>
              <a:srgbClr val="000000"/>
            </a:solidFill>
            <a:ln w="1269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CD3DD2DC-C2A4-4790-A402-26C6AAA5BB45}"/>
                </a:ext>
              </a:extLst>
            </p:cNvPr>
            <p:cNvSpPr/>
            <p:nvPr/>
          </p:nvSpPr>
          <p:spPr>
            <a:xfrm>
              <a:off x="11033540" y="639912"/>
              <a:ext cx="761" cy="761"/>
            </a:xfrm>
            <a:custGeom>
              <a:avLst/>
              <a:gdLst>
                <a:gd name="connsiteX0" fmla="*/ 0 w 761"/>
                <a:gd name="connsiteY0" fmla="*/ 127 h 761"/>
                <a:gd name="connsiteX1" fmla="*/ 0 w 761"/>
                <a:gd name="connsiteY1" fmla="*/ 762 h 761"/>
                <a:gd name="connsiteX2" fmla="*/ 762 w 761"/>
                <a:gd name="connsiteY2" fmla="*/ 0 h 761"/>
              </a:gdLst>
              <a:ahLst/>
              <a:cxnLst>
                <a:cxn ang="0">
                  <a:pos x="connsiteX0" y="connsiteY0"/>
                </a:cxn>
                <a:cxn ang="0">
                  <a:pos x="connsiteX1" y="connsiteY1"/>
                </a:cxn>
                <a:cxn ang="0">
                  <a:pos x="connsiteX2" y="connsiteY2"/>
                </a:cxn>
              </a:cxnLst>
              <a:rect l="l" t="t" r="r" b="b"/>
              <a:pathLst>
                <a:path w="761" h="761">
                  <a:moveTo>
                    <a:pt x="0" y="127"/>
                  </a:moveTo>
                  <a:lnTo>
                    <a:pt x="0" y="762"/>
                  </a:lnTo>
                  <a:lnTo>
                    <a:pt x="762" y="0"/>
                  </a:lnTo>
                  <a:close/>
                </a:path>
              </a:pathLst>
            </a:custGeom>
            <a:solidFill>
              <a:srgbClr val="000000"/>
            </a:solidFill>
            <a:ln w="1269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B6456170-C604-40ED-8451-ADB539D3D070}"/>
                </a:ext>
              </a:extLst>
            </p:cNvPr>
            <p:cNvSpPr/>
            <p:nvPr/>
          </p:nvSpPr>
          <p:spPr>
            <a:xfrm>
              <a:off x="11957742" y="925334"/>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2" y="733"/>
                    <a:pt x="1193" y="1134"/>
                    <a:pt x="0" y="1143"/>
                  </a:cubicBezTo>
                  <a:cubicBezTo>
                    <a:pt x="1193" y="1134"/>
                    <a:pt x="2362" y="733"/>
                    <a:pt x="3301" y="0"/>
                  </a:cubicBezTo>
                  <a:close/>
                </a:path>
              </a:pathLst>
            </a:custGeom>
            <a:solidFill>
              <a:srgbClr val="000000"/>
            </a:solidFill>
            <a:ln w="1269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C8DCC89A-1D0F-4655-8311-541AC9D27D3B}"/>
                </a:ext>
              </a:extLst>
            </p:cNvPr>
            <p:cNvSpPr/>
            <p:nvPr/>
          </p:nvSpPr>
          <p:spPr>
            <a:xfrm>
              <a:off x="11035572" y="641309"/>
              <a:ext cx="921917" cy="285260"/>
            </a:xfrm>
            <a:custGeom>
              <a:avLst/>
              <a:gdLst>
                <a:gd name="connsiteX0" fmla="*/ 918489 w 921917"/>
                <a:gd name="connsiteY0" fmla="*/ 276661 h 285260"/>
                <a:gd name="connsiteX1" fmla="*/ 920901 w 921917"/>
                <a:gd name="connsiteY1" fmla="*/ 274757 h 285260"/>
                <a:gd name="connsiteX2" fmla="*/ 12571 w 921917"/>
                <a:gd name="connsiteY2" fmla="*/ 0 h 285260"/>
                <a:gd name="connsiteX3" fmla="*/ 5587 w 921917"/>
                <a:gd name="connsiteY3" fmla="*/ 5714 h 285260"/>
                <a:gd name="connsiteX4" fmla="*/ 2032 w 921917"/>
                <a:gd name="connsiteY4" fmla="*/ 6983 h 285260"/>
                <a:gd name="connsiteX5" fmla="*/ 0 w 921917"/>
                <a:gd name="connsiteY5" fmla="*/ 6983 h 285260"/>
                <a:gd name="connsiteX6" fmla="*/ 0 w 921917"/>
                <a:gd name="connsiteY6" fmla="*/ 6983 h 285260"/>
                <a:gd name="connsiteX7" fmla="*/ 7110 w 921917"/>
                <a:gd name="connsiteY7" fmla="*/ 9142 h 285260"/>
                <a:gd name="connsiteX8" fmla="*/ 916458 w 921917"/>
                <a:gd name="connsiteY8" fmla="*/ 284025 h 285260"/>
                <a:gd name="connsiteX9" fmla="*/ 920139 w 921917"/>
                <a:gd name="connsiteY9" fmla="*/ 285168 h 285260"/>
                <a:gd name="connsiteX10" fmla="*/ 921917 w 921917"/>
                <a:gd name="connsiteY10" fmla="*/ 285168 h 285260"/>
                <a:gd name="connsiteX11" fmla="*/ 917854 w 921917"/>
                <a:gd name="connsiteY11" fmla="*/ 283517 h 285260"/>
                <a:gd name="connsiteX12" fmla="*/ 918019 w 921917"/>
                <a:gd name="connsiteY12" fmla="*/ 277055 h 285260"/>
                <a:gd name="connsiteX13" fmla="*/ 918489 w 921917"/>
                <a:gd name="connsiteY13" fmla="*/ 276661 h 28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1917" h="285260">
                  <a:moveTo>
                    <a:pt x="918489" y="276661"/>
                  </a:moveTo>
                  <a:lnTo>
                    <a:pt x="920901" y="274757"/>
                  </a:lnTo>
                  <a:lnTo>
                    <a:pt x="12571" y="0"/>
                  </a:lnTo>
                  <a:lnTo>
                    <a:pt x="5587" y="5714"/>
                  </a:lnTo>
                  <a:cubicBezTo>
                    <a:pt x="4571" y="6502"/>
                    <a:pt x="3327" y="6946"/>
                    <a:pt x="2032" y="6983"/>
                  </a:cubicBezTo>
                  <a:cubicBezTo>
                    <a:pt x="1359" y="7054"/>
                    <a:pt x="673" y="7054"/>
                    <a:pt x="0" y="6983"/>
                  </a:cubicBezTo>
                  <a:lnTo>
                    <a:pt x="0" y="6983"/>
                  </a:lnTo>
                  <a:lnTo>
                    <a:pt x="7110" y="9142"/>
                  </a:lnTo>
                  <a:lnTo>
                    <a:pt x="916458" y="284025"/>
                  </a:lnTo>
                  <a:lnTo>
                    <a:pt x="920139" y="285168"/>
                  </a:lnTo>
                  <a:cubicBezTo>
                    <a:pt x="920724" y="285291"/>
                    <a:pt x="921333" y="285291"/>
                    <a:pt x="921917" y="285168"/>
                  </a:cubicBezTo>
                  <a:cubicBezTo>
                    <a:pt x="920394" y="285226"/>
                    <a:pt x="918908" y="284625"/>
                    <a:pt x="917854" y="283517"/>
                  </a:cubicBezTo>
                  <a:cubicBezTo>
                    <a:pt x="916114" y="281689"/>
                    <a:pt x="916190" y="278796"/>
                    <a:pt x="918019" y="277055"/>
                  </a:cubicBezTo>
                  <a:cubicBezTo>
                    <a:pt x="918159" y="276914"/>
                    <a:pt x="918324" y="276782"/>
                    <a:pt x="918489" y="276661"/>
                  </a:cubicBezTo>
                  <a:close/>
                </a:path>
              </a:pathLst>
            </a:custGeom>
            <a:solidFill>
              <a:srgbClr val="000000"/>
            </a:solidFill>
            <a:ln w="1269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97E7D9B1-CB9C-447E-B062-8570B31D7C1E}"/>
                </a:ext>
              </a:extLst>
            </p:cNvPr>
            <p:cNvSpPr/>
            <p:nvPr/>
          </p:nvSpPr>
          <p:spPr>
            <a:xfrm>
              <a:off x="11032271" y="496821"/>
              <a:ext cx="180548" cy="150001"/>
            </a:xfrm>
            <a:custGeom>
              <a:avLst/>
              <a:gdLst>
                <a:gd name="connsiteX0" fmla="*/ 0 w 180548"/>
                <a:gd name="connsiteY0" fmla="*/ 147536 h 150001"/>
                <a:gd name="connsiteX1" fmla="*/ 0 w 180548"/>
                <a:gd name="connsiteY1" fmla="*/ 148424 h 150001"/>
                <a:gd name="connsiteX2" fmla="*/ 0 w 180548"/>
                <a:gd name="connsiteY2" fmla="*/ 149313 h 150001"/>
                <a:gd name="connsiteX3" fmla="*/ 0 w 180548"/>
                <a:gd name="connsiteY3" fmla="*/ 149313 h 150001"/>
                <a:gd name="connsiteX4" fmla="*/ 0 w 180548"/>
                <a:gd name="connsiteY4" fmla="*/ 149313 h 150001"/>
                <a:gd name="connsiteX5" fmla="*/ 1015 w 180548"/>
                <a:gd name="connsiteY5" fmla="*/ 149948 h 150001"/>
                <a:gd name="connsiteX6" fmla="*/ 1777 w 180548"/>
                <a:gd name="connsiteY6" fmla="*/ 149948 h 150001"/>
                <a:gd name="connsiteX7" fmla="*/ 3809 w 180548"/>
                <a:gd name="connsiteY7" fmla="*/ 149948 h 150001"/>
                <a:gd name="connsiteX8" fmla="*/ 7364 w 180548"/>
                <a:gd name="connsiteY8" fmla="*/ 148678 h 150001"/>
                <a:gd name="connsiteX9" fmla="*/ 14347 w 180548"/>
                <a:gd name="connsiteY9" fmla="*/ 142965 h 150001"/>
                <a:gd name="connsiteX10" fmla="*/ 180548 w 180548"/>
                <a:gd name="connsiteY10" fmla="*/ 7872 h 150001"/>
                <a:gd name="connsiteX11" fmla="*/ 179025 w 180548"/>
                <a:gd name="connsiteY11" fmla="*/ 8507 h 150001"/>
                <a:gd name="connsiteX12" fmla="*/ 175559 w 180548"/>
                <a:gd name="connsiteY12" fmla="*/ 2423 h 150001"/>
                <a:gd name="connsiteX13" fmla="*/ 175597 w 180548"/>
                <a:gd name="connsiteY13" fmla="*/ 2285 h 150001"/>
                <a:gd name="connsiteX14" fmla="*/ 177628 w 180548"/>
                <a:gd name="connsiteY14" fmla="*/ 0 h 150001"/>
                <a:gd name="connsiteX15" fmla="*/ 177628 w 180548"/>
                <a:gd name="connsiteY15" fmla="*/ 0 h 150001"/>
                <a:gd name="connsiteX16" fmla="*/ 1269 w 180548"/>
                <a:gd name="connsiteY16" fmla="*/ 142838 h 150001"/>
                <a:gd name="connsiteX17" fmla="*/ 1269 w 180548"/>
                <a:gd name="connsiteY17" fmla="*/ 142838 h 150001"/>
                <a:gd name="connsiteX18" fmla="*/ 508 w 180548"/>
                <a:gd name="connsiteY18" fmla="*/ 143600 h 150001"/>
                <a:gd name="connsiteX19" fmla="*/ 508 w 180548"/>
                <a:gd name="connsiteY19" fmla="*/ 143600 h 150001"/>
                <a:gd name="connsiteX20" fmla="*/ 508 w 180548"/>
                <a:gd name="connsiteY20" fmla="*/ 143600 h 150001"/>
                <a:gd name="connsiteX21" fmla="*/ 508 w 180548"/>
                <a:gd name="connsiteY21" fmla="*/ 144362 h 150001"/>
                <a:gd name="connsiteX22" fmla="*/ 508 w 180548"/>
                <a:gd name="connsiteY22" fmla="*/ 145250 h 150001"/>
                <a:gd name="connsiteX23" fmla="*/ 508 w 180548"/>
                <a:gd name="connsiteY23" fmla="*/ 145250 h 150001"/>
                <a:gd name="connsiteX24" fmla="*/ 0 w 180548"/>
                <a:gd name="connsiteY24" fmla="*/ 147536 h 1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0548" h="150001">
                  <a:moveTo>
                    <a:pt x="0" y="147536"/>
                  </a:moveTo>
                  <a:lnTo>
                    <a:pt x="0" y="148424"/>
                  </a:lnTo>
                  <a:lnTo>
                    <a:pt x="0" y="149313"/>
                  </a:lnTo>
                  <a:lnTo>
                    <a:pt x="0" y="149313"/>
                  </a:lnTo>
                  <a:lnTo>
                    <a:pt x="0" y="149313"/>
                  </a:lnTo>
                  <a:lnTo>
                    <a:pt x="1015" y="149948"/>
                  </a:lnTo>
                  <a:lnTo>
                    <a:pt x="1777" y="149948"/>
                  </a:lnTo>
                  <a:cubicBezTo>
                    <a:pt x="2450" y="150019"/>
                    <a:pt x="3135" y="150019"/>
                    <a:pt x="3809" y="149948"/>
                  </a:cubicBezTo>
                  <a:cubicBezTo>
                    <a:pt x="5104" y="149911"/>
                    <a:pt x="6348" y="149467"/>
                    <a:pt x="7364" y="148678"/>
                  </a:cubicBezTo>
                  <a:lnTo>
                    <a:pt x="14347" y="142965"/>
                  </a:lnTo>
                  <a:lnTo>
                    <a:pt x="180548" y="7872"/>
                  </a:lnTo>
                  <a:lnTo>
                    <a:pt x="179025" y="8507"/>
                  </a:lnTo>
                  <a:cubicBezTo>
                    <a:pt x="176384" y="7784"/>
                    <a:pt x="174835" y="5061"/>
                    <a:pt x="175559" y="2423"/>
                  </a:cubicBezTo>
                  <a:cubicBezTo>
                    <a:pt x="175572" y="2377"/>
                    <a:pt x="175584" y="2331"/>
                    <a:pt x="175597" y="2285"/>
                  </a:cubicBezTo>
                  <a:cubicBezTo>
                    <a:pt x="175978" y="1308"/>
                    <a:pt x="176702" y="498"/>
                    <a:pt x="177628" y="0"/>
                  </a:cubicBezTo>
                  <a:lnTo>
                    <a:pt x="177628" y="0"/>
                  </a:lnTo>
                  <a:lnTo>
                    <a:pt x="1269" y="142838"/>
                  </a:lnTo>
                  <a:lnTo>
                    <a:pt x="1269" y="142838"/>
                  </a:lnTo>
                  <a:lnTo>
                    <a:pt x="508" y="143600"/>
                  </a:lnTo>
                  <a:lnTo>
                    <a:pt x="508" y="143600"/>
                  </a:lnTo>
                  <a:cubicBezTo>
                    <a:pt x="508" y="143600"/>
                    <a:pt x="508" y="143600"/>
                    <a:pt x="508" y="143600"/>
                  </a:cubicBezTo>
                  <a:cubicBezTo>
                    <a:pt x="444" y="143850"/>
                    <a:pt x="444" y="144111"/>
                    <a:pt x="508" y="144362"/>
                  </a:cubicBezTo>
                  <a:cubicBezTo>
                    <a:pt x="470" y="144656"/>
                    <a:pt x="470" y="144956"/>
                    <a:pt x="508" y="145250"/>
                  </a:cubicBezTo>
                  <a:lnTo>
                    <a:pt x="508" y="145250"/>
                  </a:lnTo>
                  <a:cubicBezTo>
                    <a:pt x="508" y="145250"/>
                    <a:pt x="0" y="147155"/>
                    <a:pt x="0" y="147536"/>
                  </a:cubicBezTo>
                  <a:close/>
                </a:path>
              </a:pathLst>
            </a:custGeom>
            <a:solidFill>
              <a:srgbClr val="000000"/>
            </a:solidFill>
            <a:ln w="1269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0EA9FB88-00D2-4189-9399-1AF62AC6729D}"/>
                </a:ext>
              </a:extLst>
            </p:cNvPr>
            <p:cNvSpPr/>
            <p:nvPr/>
          </p:nvSpPr>
          <p:spPr>
            <a:xfrm>
              <a:off x="12138164" y="77830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EFA24A1E-AB57-48A0-A504-E00A7FA13BE3}"/>
                </a:ext>
              </a:extLst>
            </p:cNvPr>
            <p:cNvSpPr/>
            <p:nvPr/>
          </p:nvSpPr>
          <p:spPr>
            <a:xfrm>
              <a:off x="11207136" y="496059"/>
              <a:ext cx="922139" cy="284406"/>
            </a:xfrm>
            <a:custGeom>
              <a:avLst/>
              <a:gdLst>
                <a:gd name="connsiteX0" fmla="*/ 4160 w 922139"/>
                <a:gd name="connsiteY0" fmla="*/ 9269 h 284406"/>
                <a:gd name="connsiteX1" fmla="*/ 7207 w 922139"/>
                <a:gd name="connsiteY1" fmla="*/ 10157 h 284406"/>
                <a:gd name="connsiteX2" fmla="*/ 915538 w 922139"/>
                <a:gd name="connsiteY2" fmla="*/ 284406 h 284406"/>
                <a:gd name="connsiteX3" fmla="*/ 922140 w 922139"/>
                <a:gd name="connsiteY3" fmla="*/ 279074 h 284406"/>
                <a:gd name="connsiteX4" fmla="*/ 802282 w 922139"/>
                <a:gd name="connsiteY4" fmla="*/ 240349 h 284406"/>
                <a:gd name="connsiteX5" fmla="*/ 7588 w 922139"/>
                <a:gd name="connsiteY5" fmla="*/ 0 h 284406"/>
                <a:gd name="connsiteX6" fmla="*/ 4160 w 922139"/>
                <a:gd name="connsiteY6" fmla="*/ 0 h 284406"/>
                <a:gd name="connsiteX7" fmla="*/ 3398 w 922139"/>
                <a:gd name="connsiteY7" fmla="*/ 0 h 284406"/>
                <a:gd name="connsiteX8" fmla="*/ 2255 w 922139"/>
                <a:gd name="connsiteY8" fmla="*/ 635 h 284406"/>
                <a:gd name="connsiteX9" fmla="*/ 224 w 922139"/>
                <a:gd name="connsiteY9" fmla="*/ 2920 h 284406"/>
                <a:gd name="connsiteX10" fmla="*/ 3499 w 922139"/>
                <a:gd name="connsiteY10" fmla="*/ 9112 h 284406"/>
                <a:gd name="connsiteX11" fmla="*/ 4160 w 922139"/>
                <a:gd name="connsiteY11" fmla="*/ 9269 h 28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139" h="284406">
                  <a:moveTo>
                    <a:pt x="4160" y="9269"/>
                  </a:moveTo>
                  <a:lnTo>
                    <a:pt x="7207" y="10157"/>
                  </a:lnTo>
                  <a:lnTo>
                    <a:pt x="915538" y="284406"/>
                  </a:lnTo>
                  <a:lnTo>
                    <a:pt x="922140" y="279074"/>
                  </a:lnTo>
                  <a:lnTo>
                    <a:pt x="802282" y="240349"/>
                  </a:lnTo>
                  <a:lnTo>
                    <a:pt x="7588" y="0"/>
                  </a:lnTo>
                  <a:lnTo>
                    <a:pt x="4160" y="0"/>
                  </a:lnTo>
                  <a:lnTo>
                    <a:pt x="3398" y="0"/>
                  </a:lnTo>
                  <a:lnTo>
                    <a:pt x="2255" y="635"/>
                  </a:lnTo>
                  <a:cubicBezTo>
                    <a:pt x="1328" y="1133"/>
                    <a:pt x="604" y="1943"/>
                    <a:pt x="224" y="2920"/>
                  </a:cubicBezTo>
                  <a:cubicBezTo>
                    <a:pt x="-589" y="5533"/>
                    <a:pt x="884" y="8306"/>
                    <a:pt x="3499" y="9112"/>
                  </a:cubicBezTo>
                  <a:cubicBezTo>
                    <a:pt x="3716" y="9180"/>
                    <a:pt x="3931" y="9232"/>
                    <a:pt x="4160" y="9269"/>
                  </a:cubicBezTo>
                  <a:close/>
                </a:path>
              </a:pathLst>
            </a:custGeom>
            <a:solidFill>
              <a:srgbClr val="000000"/>
            </a:solidFill>
            <a:ln w="1269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FAB0CA94-EFA7-4C89-8BDC-7A3760A00776}"/>
                </a:ext>
              </a:extLst>
            </p:cNvPr>
            <p:cNvSpPr/>
            <p:nvPr/>
          </p:nvSpPr>
          <p:spPr>
            <a:xfrm>
              <a:off x="12127372" y="778180"/>
              <a:ext cx="10814" cy="108860"/>
            </a:xfrm>
            <a:custGeom>
              <a:avLst/>
              <a:gdLst>
                <a:gd name="connsiteX0" fmla="*/ 10792 w 10814"/>
                <a:gd name="connsiteY0" fmla="*/ 0 h 108860"/>
                <a:gd name="connsiteX1" fmla="*/ 9141 w 10814"/>
                <a:gd name="connsiteY1" fmla="*/ 3936 h 108860"/>
                <a:gd name="connsiteX2" fmla="*/ 0 w 10814"/>
                <a:gd name="connsiteY2" fmla="*/ 11300 h 108860"/>
                <a:gd name="connsiteX3" fmla="*/ 0 w 10814"/>
                <a:gd name="connsiteY3" fmla="*/ 103859 h 108860"/>
                <a:gd name="connsiteX4" fmla="*/ 5904 w 10814"/>
                <a:gd name="connsiteY4" fmla="*/ 108841 h 108860"/>
                <a:gd name="connsiteX5" fmla="*/ 9141 w 10814"/>
                <a:gd name="connsiteY5" fmla="*/ 107414 h 108860"/>
                <a:gd name="connsiteX6" fmla="*/ 9903 w 10814"/>
                <a:gd name="connsiteY6" fmla="*/ 106525 h 108860"/>
                <a:gd name="connsiteX7" fmla="*/ 9903 w 10814"/>
                <a:gd name="connsiteY7" fmla="*/ 105890 h 108860"/>
                <a:gd name="connsiteX8" fmla="*/ 9903 w 10814"/>
                <a:gd name="connsiteY8" fmla="*/ 105129 h 108860"/>
                <a:gd name="connsiteX9" fmla="*/ 9903 w 10814"/>
                <a:gd name="connsiteY9" fmla="*/ 103986 h 108860"/>
                <a:gd name="connsiteX10" fmla="*/ 9903 w 10814"/>
                <a:gd name="connsiteY10" fmla="*/ 103986 h 108860"/>
                <a:gd name="connsiteX11" fmla="*/ 9903 w 10814"/>
                <a:gd name="connsiteY11" fmla="*/ 127 h 10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14" h="108860">
                  <a:moveTo>
                    <a:pt x="10792" y="0"/>
                  </a:moveTo>
                  <a:cubicBezTo>
                    <a:pt x="10945" y="1507"/>
                    <a:pt x="10322" y="2991"/>
                    <a:pt x="9141" y="3936"/>
                  </a:cubicBezTo>
                  <a:lnTo>
                    <a:pt x="0" y="11300"/>
                  </a:lnTo>
                  <a:lnTo>
                    <a:pt x="0" y="103859"/>
                  </a:lnTo>
                  <a:cubicBezTo>
                    <a:pt x="253" y="106863"/>
                    <a:pt x="2894" y="109094"/>
                    <a:pt x="5904" y="108841"/>
                  </a:cubicBezTo>
                  <a:cubicBezTo>
                    <a:pt x="7110" y="108740"/>
                    <a:pt x="8252" y="108237"/>
                    <a:pt x="9141" y="107414"/>
                  </a:cubicBezTo>
                  <a:lnTo>
                    <a:pt x="9903" y="106525"/>
                  </a:lnTo>
                  <a:lnTo>
                    <a:pt x="9903" y="105890"/>
                  </a:lnTo>
                  <a:cubicBezTo>
                    <a:pt x="9903" y="105890"/>
                    <a:pt x="9903" y="105890"/>
                    <a:pt x="9903" y="105129"/>
                  </a:cubicBezTo>
                  <a:cubicBezTo>
                    <a:pt x="9903" y="104367"/>
                    <a:pt x="9903" y="104367"/>
                    <a:pt x="9903" y="103986"/>
                  </a:cubicBezTo>
                  <a:lnTo>
                    <a:pt x="9903" y="103986"/>
                  </a:lnTo>
                  <a:lnTo>
                    <a:pt x="9903" y="127"/>
                  </a:lnTo>
                  <a:close/>
                </a:path>
              </a:pathLst>
            </a:custGeom>
            <a:solidFill>
              <a:srgbClr val="000000"/>
            </a:solidFill>
            <a:ln w="1269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0235A45D-7292-4954-A589-8A9DBF84BF96}"/>
                </a:ext>
              </a:extLst>
            </p:cNvPr>
            <p:cNvSpPr/>
            <p:nvPr/>
          </p:nvSpPr>
          <p:spPr>
            <a:xfrm>
              <a:off x="11952515" y="775259"/>
              <a:ext cx="186560" cy="151221"/>
            </a:xfrm>
            <a:custGeom>
              <a:avLst/>
              <a:gdLst>
                <a:gd name="connsiteX0" fmla="*/ 3958 w 186560"/>
                <a:gd name="connsiteY0" fmla="*/ 140806 h 151221"/>
                <a:gd name="connsiteX1" fmla="*/ 1545 w 186560"/>
                <a:gd name="connsiteY1" fmla="*/ 142711 h 151221"/>
                <a:gd name="connsiteX2" fmla="*/ 1139 w 186560"/>
                <a:gd name="connsiteY2" fmla="*/ 149162 h 151221"/>
                <a:gd name="connsiteX3" fmla="*/ 1545 w 186560"/>
                <a:gd name="connsiteY3" fmla="*/ 149567 h 151221"/>
                <a:gd name="connsiteX4" fmla="*/ 5608 w 186560"/>
                <a:gd name="connsiteY4" fmla="*/ 151218 h 151221"/>
                <a:gd name="connsiteX5" fmla="*/ 8910 w 186560"/>
                <a:gd name="connsiteY5" fmla="*/ 150075 h 151221"/>
                <a:gd name="connsiteX6" fmla="*/ 8910 w 186560"/>
                <a:gd name="connsiteY6" fmla="*/ 150075 h 151221"/>
                <a:gd name="connsiteX7" fmla="*/ 10687 w 186560"/>
                <a:gd name="connsiteY7" fmla="*/ 148678 h 151221"/>
                <a:gd name="connsiteX8" fmla="*/ 175745 w 186560"/>
                <a:gd name="connsiteY8" fmla="*/ 14347 h 151221"/>
                <a:gd name="connsiteX9" fmla="*/ 184888 w 186560"/>
                <a:gd name="connsiteY9" fmla="*/ 6983 h 151221"/>
                <a:gd name="connsiteX10" fmla="*/ 186538 w 186560"/>
                <a:gd name="connsiteY10" fmla="*/ 3047 h 151221"/>
                <a:gd name="connsiteX11" fmla="*/ 177270 w 186560"/>
                <a:gd name="connsiteY11" fmla="*/ 0 h 151221"/>
                <a:gd name="connsiteX12" fmla="*/ 170667 w 186560"/>
                <a:gd name="connsiteY12" fmla="*/ 5333 h 15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560" h="151221">
                  <a:moveTo>
                    <a:pt x="3958" y="140806"/>
                  </a:moveTo>
                  <a:lnTo>
                    <a:pt x="1545" y="142711"/>
                  </a:lnTo>
                  <a:cubicBezTo>
                    <a:pt x="-346" y="144381"/>
                    <a:pt x="-525" y="147269"/>
                    <a:pt x="1139" y="149162"/>
                  </a:cubicBezTo>
                  <a:cubicBezTo>
                    <a:pt x="1266" y="149306"/>
                    <a:pt x="1406" y="149441"/>
                    <a:pt x="1545" y="149567"/>
                  </a:cubicBezTo>
                  <a:cubicBezTo>
                    <a:pt x="2599" y="150674"/>
                    <a:pt x="4085" y="151276"/>
                    <a:pt x="5608" y="151218"/>
                  </a:cubicBezTo>
                  <a:cubicBezTo>
                    <a:pt x="6802" y="151209"/>
                    <a:pt x="7970" y="150808"/>
                    <a:pt x="8910" y="150075"/>
                  </a:cubicBezTo>
                  <a:lnTo>
                    <a:pt x="8910" y="150075"/>
                  </a:lnTo>
                  <a:lnTo>
                    <a:pt x="10687" y="148678"/>
                  </a:lnTo>
                  <a:lnTo>
                    <a:pt x="175745" y="14347"/>
                  </a:lnTo>
                  <a:lnTo>
                    <a:pt x="184888" y="6983"/>
                  </a:lnTo>
                  <a:cubicBezTo>
                    <a:pt x="186069" y="6039"/>
                    <a:pt x="186690" y="4554"/>
                    <a:pt x="186538" y="3047"/>
                  </a:cubicBezTo>
                  <a:lnTo>
                    <a:pt x="177270" y="0"/>
                  </a:lnTo>
                  <a:lnTo>
                    <a:pt x="170667" y="5333"/>
                  </a:lnTo>
                  <a:close/>
                </a:path>
              </a:pathLst>
            </a:custGeom>
            <a:solidFill>
              <a:srgbClr val="000000"/>
            </a:solidFill>
            <a:ln w="1269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8D7218BD-31F9-4D3F-AD5C-E4A634ADF552}"/>
                </a:ext>
              </a:extLst>
            </p:cNvPr>
            <p:cNvSpPr/>
            <p:nvPr/>
          </p:nvSpPr>
          <p:spPr>
            <a:xfrm>
              <a:off x="11328360" y="506089"/>
              <a:ext cx="857544" cy="287961"/>
            </a:xfrm>
            <a:custGeom>
              <a:avLst/>
              <a:gdLst>
                <a:gd name="connsiteX0" fmla="*/ 7364 w 857544"/>
                <a:gd name="connsiteY0" fmla="*/ 2920 h 287961"/>
                <a:gd name="connsiteX1" fmla="*/ 2032 w 857544"/>
                <a:gd name="connsiteY1" fmla="*/ 7872 h 287961"/>
                <a:gd name="connsiteX2" fmla="*/ 0 w 857544"/>
                <a:gd name="connsiteY2" fmla="*/ 7872 h 287961"/>
                <a:gd name="connsiteX3" fmla="*/ 0 w 857544"/>
                <a:gd name="connsiteY3" fmla="*/ 7872 h 287961"/>
                <a:gd name="connsiteX4" fmla="*/ 681058 w 857544"/>
                <a:gd name="connsiteY4" fmla="*/ 230318 h 287961"/>
                <a:gd name="connsiteX5" fmla="*/ 800916 w 857544"/>
                <a:gd name="connsiteY5" fmla="*/ 269551 h 287961"/>
                <a:gd name="connsiteX6" fmla="*/ 810185 w 857544"/>
                <a:gd name="connsiteY6" fmla="*/ 272598 h 287961"/>
                <a:gd name="connsiteX7" fmla="*/ 810185 w 857544"/>
                <a:gd name="connsiteY7" fmla="*/ 272598 h 287961"/>
                <a:gd name="connsiteX8" fmla="*/ 857544 w 857544"/>
                <a:gd name="connsiteY8" fmla="*/ 287961 h 287961"/>
                <a:gd name="connsiteX9" fmla="*/ 857544 w 857544"/>
                <a:gd name="connsiteY9" fmla="*/ 277550 h 287961"/>
                <a:gd name="connsiteX10" fmla="*/ 6857 w 857544"/>
                <a:gd name="connsiteY10" fmla="*/ 0 h 28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544" h="287961">
                  <a:moveTo>
                    <a:pt x="7364" y="2920"/>
                  </a:moveTo>
                  <a:cubicBezTo>
                    <a:pt x="7225" y="5745"/>
                    <a:pt x="4864" y="7944"/>
                    <a:pt x="2032" y="7872"/>
                  </a:cubicBezTo>
                  <a:cubicBezTo>
                    <a:pt x="1359" y="7943"/>
                    <a:pt x="673" y="7943"/>
                    <a:pt x="0" y="7872"/>
                  </a:cubicBezTo>
                  <a:lnTo>
                    <a:pt x="0" y="7872"/>
                  </a:lnTo>
                  <a:lnTo>
                    <a:pt x="681058" y="230318"/>
                  </a:lnTo>
                  <a:lnTo>
                    <a:pt x="800916" y="269551"/>
                  </a:lnTo>
                  <a:lnTo>
                    <a:pt x="810185" y="272598"/>
                  </a:lnTo>
                  <a:lnTo>
                    <a:pt x="810185" y="272598"/>
                  </a:lnTo>
                  <a:lnTo>
                    <a:pt x="857544" y="287961"/>
                  </a:lnTo>
                  <a:lnTo>
                    <a:pt x="857544" y="277550"/>
                  </a:lnTo>
                  <a:lnTo>
                    <a:pt x="6857" y="0"/>
                  </a:lnTo>
                  <a:close/>
                </a:path>
              </a:pathLst>
            </a:custGeom>
            <a:solidFill>
              <a:srgbClr val="000000"/>
            </a:solidFill>
            <a:ln w="1269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4CE79885-A50E-4F7F-A19A-948E4EA8CA4C}"/>
                </a:ext>
              </a:extLst>
            </p:cNvPr>
            <p:cNvSpPr/>
            <p:nvPr/>
          </p:nvSpPr>
          <p:spPr>
            <a:xfrm>
              <a:off x="11325567" y="40350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C65FFB63-3D12-429D-B05E-76857913FD6C}"/>
                </a:ext>
              </a:extLst>
            </p:cNvPr>
            <p:cNvSpPr/>
            <p:nvPr/>
          </p:nvSpPr>
          <p:spPr>
            <a:xfrm>
              <a:off x="11325949" y="402738"/>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CC86956C-8D82-472D-94A9-6F83A2F14D20}"/>
                </a:ext>
              </a:extLst>
            </p:cNvPr>
            <p:cNvSpPr/>
            <p:nvPr/>
          </p:nvSpPr>
          <p:spPr>
            <a:xfrm>
              <a:off x="11326710" y="40184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9A83197A-33F0-4E85-BAFD-685D62CFB943}"/>
                </a:ext>
              </a:extLst>
            </p:cNvPr>
            <p:cNvSpPr/>
            <p:nvPr/>
          </p:nvSpPr>
          <p:spPr>
            <a:xfrm>
              <a:off x="11326526" y="406547"/>
              <a:ext cx="9198" cy="107721"/>
            </a:xfrm>
            <a:custGeom>
              <a:avLst/>
              <a:gdLst>
                <a:gd name="connsiteX0" fmla="*/ 9199 w 9198"/>
                <a:gd name="connsiteY0" fmla="*/ 102462 h 107721"/>
                <a:gd name="connsiteX1" fmla="*/ 9199 w 9198"/>
                <a:gd name="connsiteY1" fmla="*/ 5840 h 107721"/>
                <a:gd name="connsiteX2" fmla="*/ 1962 w 9198"/>
                <a:gd name="connsiteY2" fmla="*/ 3555 h 107721"/>
                <a:gd name="connsiteX3" fmla="*/ 1962 w 9198"/>
                <a:gd name="connsiteY3" fmla="*/ 3555 h 107721"/>
                <a:gd name="connsiteX4" fmla="*/ 1200 w 9198"/>
                <a:gd name="connsiteY4" fmla="*/ 3555 h 107721"/>
                <a:gd name="connsiteX5" fmla="*/ 58 w 9198"/>
                <a:gd name="connsiteY5" fmla="*/ 2793 h 107721"/>
                <a:gd name="connsiteX6" fmla="*/ 58 w 9198"/>
                <a:gd name="connsiteY6" fmla="*/ 2793 h 107721"/>
                <a:gd name="connsiteX7" fmla="*/ 58 w 9198"/>
                <a:gd name="connsiteY7" fmla="*/ 2793 h 107721"/>
                <a:gd name="connsiteX8" fmla="*/ 58 w 9198"/>
                <a:gd name="connsiteY8" fmla="*/ 1904 h 107721"/>
                <a:gd name="connsiteX9" fmla="*/ 58 w 9198"/>
                <a:gd name="connsiteY9" fmla="*/ 889 h 107721"/>
                <a:gd name="connsiteX10" fmla="*/ 58 w 9198"/>
                <a:gd name="connsiteY10" fmla="*/ 0 h 107721"/>
                <a:gd name="connsiteX11" fmla="*/ 58 w 9198"/>
                <a:gd name="connsiteY11" fmla="*/ 0 h 107721"/>
                <a:gd name="connsiteX12" fmla="*/ 58 w 9198"/>
                <a:gd name="connsiteY12" fmla="*/ 103605 h 107721"/>
                <a:gd name="connsiteX13" fmla="*/ 58 w 9198"/>
                <a:gd name="connsiteY13" fmla="*/ 103605 h 107721"/>
                <a:gd name="connsiteX14" fmla="*/ 58 w 9198"/>
                <a:gd name="connsiteY14" fmla="*/ 104621 h 107721"/>
                <a:gd name="connsiteX15" fmla="*/ 58 w 9198"/>
                <a:gd name="connsiteY15" fmla="*/ 105510 h 107721"/>
                <a:gd name="connsiteX16" fmla="*/ 58 w 9198"/>
                <a:gd name="connsiteY16" fmla="*/ 106271 h 107721"/>
                <a:gd name="connsiteX17" fmla="*/ 58 w 9198"/>
                <a:gd name="connsiteY17" fmla="*/ 107033 h 107721"/>
                <a:gd name="connsiteX18" fmla="*/ 946 w 9198"/>
                <a:gd name="connsiteY18" fmla="*/ 107033 h 107721"/>
                <a:gd name="connsiteX19" fmla="*/ 1835 w 9198"/>
                <a:gd name="connsiteY19" fmla="*/ 107668 h 107721"/>
                <a:gd name="connsiteX20" fmla="*/ 3866 w 9198"/>
                <a:gd name="connsiteY20" fmla="*/ 107668 h 107721"/>
                <a:gd name="connsiteX21" fmla="*/ 9199 w 9198"/>
                <a:gd name="connsiteY21" fmla="*/ 102591 h 107721"/>
                <a:gd name="connsiteX22" fmla="*/ 9199 w 9198"/>
                <a:gd name="connsiteY22" fmla="*/ 102462 h 10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98" h="107721">
                  <a:moveTo>
                    <a:pt x="9199" y="102462"/>
                  </a:moveTo>
                  <a:lnTo>
                    <a:pt x="9199" y="5840"/>
                  </a:lnTo>
                  <a:lnTo>
                    <a:pt x="1962" y="3555"/>
                  </a:lnTo>
                  <a:lnTo>
                    <a:pt x="1962" y="3555"/>
                  </a:lnTo>
                  <a:lnTo>
                    <a:pt x="1200" y="3555"/>
                  </a:lnTo>
                  <a:lnTo>
                    <a:pt x="58" y="2793"/>
                  </a:lnTo>
                  <a:lnTo>
                    <a:pt x="58" y="2793"/>
                  </a:lnTo>
                  <a:lnTo>
                    <a:pt x="58" y="2793"/>
                  </a:lnTo>
                  <a:lnTo>
                    <a:pt x="58" y="1904"/>
                  </a:lnTo>
                  <a:cubicBezTo>
                    <a:pt x="6" y="1568"/>
                    <a:pt x="6" y="1225"/>
                    <a:pt x="58" y="889"/>
                  </a:cubicBezTo>
                  <a:cubicBezTo>
                    <a:pt x="44" y="593"/>
                    <a:pt x="44" y="296"/>
                    <a:pt x="58" y="0"/>
                  </a:cubicBezTo>
                  <a:lnTo>
                    <a:pt x="58" y="0"/>
                  </a:lnTo>
                  <a:lnTo>
                    <a:pt x="58" y="103605"/>
                  </a:lnTo>
                  <a:lnTo>
                    <a:pt x="58" y="103605"/>
                  </a:lnTo>
                  <a:cubicBezTo>
                    <a:pt x="-19" y="103940"/>
                    <a:pt x="-19" y="104286"/>
                    <a:pt x="58" y="104621"/>
                  </a:cubicBezTo>
                  <a:cubicBezTo>
                    <a:pt x="58" y="104621"/>
                    <a:pt x="58" y="104621"/>
                    <a:pt x="58" y="105510"/>
                  </a:cubicBezTo>
                  <a:lnTo>
                    <a:pt x="58" y="106271"/>
                  </a:lnTo>
                  <a:cubicBezTo>
                    <a:pt x="20" y="106524"/>
                    <a:pt x="20" y="106781"/>
                    <a:pt x="58" y="107033"/>
                  </a:cubicBezTo>
                  <a:lnTo>
                    <a:pt x="946" y="107033"/>
                  </a:lnTo>
                  <a:cubicBezTo>
                    <a:pt x="1187" y="107314"/>
                    <a:pt x="1492" y="107531"/>
                    <a:pt x="1835" y="107668"/>
                  </a:cubicBezTo>
                  <a:cubicBezTo>
                    <a:pt x="2508" y="107739"/>
                    <a:pt x="3194" y="107739"/>
                    <a:pt x="3866" y="107668"/>
                  </a:cubicBezTo>
                  <a:cubicBezTo>
                    <a:pt x="6736" y="107738"/>
                    <a:pt x="9123" y="105465"/>
                    <a:pt x="9199" y="102591"/>
                  </a:cubicBezTo>
                  <a:cubicBezTo>
                    <a:pt x="9199" y="102547"/>
                    <a:pt x="9199" y="102506"/>
                    <a:pt x="9199" y="102462"/>
                  </a:cubicBezTo>
                  <a:close/>
                </a:path>
              </a:pathLst>
            </a:custGeom>
            <a:solidFill>
              <a:srgbClr val="000000"/>
            </a:solidFill>
            <a:ln w="1269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D5ABC49-13E3-4869-B2FD-E86CA8B5A760}"/>
                </a:ext>
              </a:extLst>
            </p:cNvPr>
            <p:cNvSpPr/>
            <p:nvPr/>
          </p:nvSpPr>
          <p:spPr>
            <a:xfrm>
              <a:off x="11325520" y="403500"/>
              <a:ext cx="47" cy="761"/>
            </a:xfrm>
            <a:custGeom>
              <a:avLst/>
              <a:gdLst>
                <a:gd name="connsiteX0" fmla="*/ 48 w 47"/>
                <a:gd name="connsiteY0" fmla="*/ 127 h 761"/>
                <a:gd name="connsiteX1" fmla="*/ 48 w 47"/>
                <a:gd name="connsiteY1" fmla="*/ 127 h 761"/>
                <a:gd name="connsiteX2" fmla="*/ 48 w 47"/>
                <a:gd name="connsiteY2" fmla="*/ 762 h 761"/>
                <a:gd name="connsiteX3" fmla="*/ 48 w 47"/>
                <a:gd name="connsiteY3" fmla="*/ 0 h 761"/>
              </a:gdLst>
              <a:ahLst/>
              <a:cxnLst>
                <a:cxn ang="0">
                  <a:pos x="connsiteX0" y="connsiteY0"/>
                </a:cxn>
                <a:cxn ang="0">
                  <a:pos x="connsiteX1" y="connsiteY1"/>
                </a:cxn>
                <a:cxn ang="0">
                  <a:pos x="connsiteX2" y="connsiteY2"/>
                </a:cxn>
                <a:cxn ang="0">
                  <a:pos x="connsiteX3" y="connsiteY3"/>
                </a:cxn>
              </a:cxnLst>
              <a:rect l="l" t="t" r="r" b="b"/>
              <a:pathLst>
                <a:path w="47" h="761">
                  <a:moveTo>
                    <a:pt x="48" y="127"/>
                  </a:moveTo>
                  <a:lnTo>
                    <a:pt x="48" y="127"/>
                  </a:lnTo>
                  <a:cubicBezTo>
                    <a:pt x="-16" y="334"/>
                    <a:pt x="-16" y="555"/>
                    <a:pt x="48" y="762"/>
                  </a:cubicBezTo>
                  <a:cubicBezTo>
                    <a:pt x="-3" y="510"/>
                    <a:pt x="-3" y="251"/>
                    <a:pt x="48" y="0"/>
                  </a:cubicBezTo>
                  <a:close/>
                </a:path>
              </a:pathLst>
            </a:custGeom>
            <a:solidFill>
              <a:srgbClr val="000000"/>
            </a:solidFill>
            <a:ln w="1269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E398FAD1-7827-4C89-9363-CF661565A63D}"/>
                </a:ext>
              </a:extLst>
            </p:cNvPr>
            <p:cNvSpPr/>
            <p:nvPr/>
          </p:nvSpPr>
          <p:spPr>
            <a:xfrm>
              <a:off x="11326555" y="401976"/>
              <a:ext cx="28" cy="761"/>
            </a:xfrm>
            <a:custGeom>
              <a:avLst/>
              <a:gdLst>
                <a:gd name="connsiteX0" fmla="*/ 28 w 28"/>
                <a:gd name="connsiteY0" fmla="*/ 0 h 761"/>
                <a:gd name="connsiteX1" fmla="*/ 28 w 28"/>
                <a:gd name="connsiteY1" fmla="*/ 0 h 761"/>
                <a:gd name="connsiteX2" fmla="*/ 28 w 28"/>
                <a:gd name="connsiteY2" fmla="*/ 762 h 761"/>
                <a:gd name="connsiteX3" fmla="*/ 28 w 28"/>
                <a:gd name="connsiteY3" fmla="*/ 762 h 761"/>
              </a:gdLst>
              <a:ahLst/>
              <a:cxnLst>
                <a:cxn ang="0">
                  <a:pos x="connsiteX0" y="connsiteY0"/>
                </a:cxn>
                <a:cxn ang="0">
                  <a:pos x="connsiteX1" y="connsiteY1"/>
                </a:cxn>
                <a:cxn ang="0">
                  <a:pos x="connsiteX2" y="connsiteY2"/>
                </a:cxn>
                <a:cxn ang="0">
                  <a:pos x="connsiteX3" y="connsiteY3"/>
                </a:cxn>
              </a:cxnLst>
              <a:rect l="l" t="t" r="r" b="b"/>
              <a:pathLst>
                <a:path w="28" h="761">
                  <a:moveTo>
                    <a:pt x="28" y="0"/>
                  </a:moveTo>
                  <a:lnTo>
                    <a:pt x="28" y="0"/>
                  </a:lnTo>
                  <a:cubicBezTo>
                    <a:pt x="-9" y="253"/>
                    <a:pt x="-9" y="509"/>
                    <a:pt x="28" y="762"/>
                  </a:cubicBezTo>
                  <a:lnTo>
                    <a:pt x="28" y="762"/>
                  </a:lnTo>
                  <a:close/>
                </a:path>
              </a:pathLst>
            </a:custGeom>
            <a:solidFill>
              <a:srgbClr val="000000"/>
            </a:solidFill>
            <a:ln w="1269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DBEBD132-C173-4AB5-839A-16A97F1C8F51}"/>
                </a:ext>
              </a:extLst>
            </p:cNvPr>
            <p:cNvSpPr/>
            <p:nvPr/>
          </p:nvSpPr>
          <p:spPr>
            <a:xfrm>
              <a:off x="11328360" y="403627"/>
              <a:ext cx="857924" cy="286691"/>
            </a:xfrm>
            <a:custGeom>
              <a:avLst/>
              <a:gdLst>
                <a:gd name="connsiteX0" fmla="*/ 5587 w 857924"/>
                <a:gd name="connsiteY0" fmla="*/ 5460 h 286691"/>
                <a:gd name="connsiteX1" fmla="*/ 2032 w 857924"/>
                <a:gd name="connsiteY1" fmla="*/ 6729 h 286691"/>
                <a:gd name="connsiteX2" fmla="*/ 0 w 857924"/>
                <a:gd name="connsiteY2" fmla="*/ 6729 h 286691"/>
                <a:gd name="connsiteX3" fmla="*/ 0 w 857924"/>
                <a:gd name="connsiteY3" fmla="*/ 6729 h 286691"/>
                <a:gd name="connsiteX4" fmla="*/ 7237 w 857924"/>
                <a:gd name="connsiteY4" fmla="*/ 9015 h 286691"/>
                <a:gd name="connsiteX5" fmla="*/ 857925 w 857924"/>
                <a:gd name="connsiteY5" fmla="*/ 286692 h 286691"/>
                <a:gd name="connsiteX6" fmla="*/ 857925 w 857924"/>
                <a:gd name="connsiteY6" fmla="*/ 276280 h 286691"/>
                <a:gd name="connsiteX7" fmla="*/ 12316 w 857924"/>
                <a:gd name="connsiteY7" fmla="*/ 0 h 2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924" h="286691">
                  <a:moveTo>
                    <a:pt x="5587" y="5460"/>
                  </a:moveTo>
                  <a:cubicBezTo>
                    <a:pt x="4596" y="6303"/>
                    <a:pt x="3327" y="6753"/>
                    <a:pt x="2032" y="6729"/>
                  </a:cubicBezTo>
                  <a:cubicBezTo>
                    <a:pt x="1359" y="6863"/>
                    <a:pt x="673" y="6863"/>
                    <a:pt x="0" y="6729"/>
                  </a:cubicBezTo>
                  <a:lnTo>
                    <a:pt x="0" y="6729"/>
                  </a:lnTo>
                  <a:lnTo>
                    <a:pt x="7237" y="9015"/>
                  </a:lnTo>
                  <a:lnTo>
                    <a:pt x="857925" y="286692"/>
                  </a:lnTo>
                  <a:lnTo>
                    <a:pt x="857925" y="276280"/>
                  </a:lnTo>
                  <a:lnTo>
                    <a:pt x="12316" y="0"/>
                  </a:lnTo>
                  <a:close/>
                </a:path>
              </a:pathLst>
            </a:custGeom>
            <a:solidFill>
              <a:srgbClr val="000000"/>
            </a:solidFill>
            <a:ln w="1269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418D651-AE33-4EB0-9A45-F5EA72B499E0}"/>
                </a:ext>
              </a:extLst>
            </p:cNvPr>
            <p:cNvSpPr/>
            <p:nvPr/>
          </p:nvSpPr>
          <p:spPr>
            <a:xfrm>
              <a:off x="11325529" y="257488"/>
              <a:ext cx="180586" cy="151571"/>
            </a:xfrm>
            <a:custGeom>
              <a:avLst/>
              <a:gdLst>
                <a:gd name="connsiteX0" fmla="*/ 38 w 180586"/>
                <a:gd name="connsiteY0" fmla="*/ 148805 h 151571"/>
                <a:gd name="connsiteX1" fmla="*/ 38 w 180586"/>
                <a:gd name="connsiteY1" fmla="*/ 149821 h 151571"/>
                <a:gd name="connsiteX2" fmla="*/ 38 w 180586"/>
                <a:gd name="connsiteY2" fmla="*/ 150710 h 151571"/>
                <a:gd name="connsiteX3" fmla="*/ 38 w 180586"/>
                <a:gd name="connsiteY3" fmla="*/ 150710 h 151571"/>
                <a:gd name="connsiteX4" fmla="*/ 38 w 180586"/>
                <a:gd name="connsiteY4" fmla="*/ 150710 h 151571"/>
                <a:gd name="connsiteX5" fmla="*/ 1181 w 180586"/>
                <a:gd name="connsiteY5" fmla="*/ 151472 h 151571"/>
                <a:gd name="connsiteX6" fmla="*/ 1943 w 180586"/>
                <a:gd name="connsiteY6" fmla="*/ 151472 h 151571"/>
                <a:gd name="connsiteX7" fmla="*/ 3974 w 180586"/>
                <a:gd name="connsiteY7" fmla="*/ 151472 h 151571"/>
                <a:gd name="connsiteX8" fmla="*/ 7530 w 180586"/>
                <a:gd name="connsiteY8" fmla="*/ 150202 h 151571"/>
                <a:gd name="connsiteX9" fmla="*/ 14259 w 180586"/>
                <a:gd name="connsiteY9" fmla="*/ 144742 h 151571"/>
                <a:gd name="connsiteX10" fmla="*/ 180587 w 180586"/>
                <a:gd name="connsiteY10" fmla="*/ 9523 h 151571"/>
                <a:gd name="connsiteX11" fmla="*/ 177667 w 180586"/>
                <a:gd name="connsiteY11" fmla="*/ 8507 h 151571"/>
                <a:gd name="connsiteX12" fmla="*/ 174200 w 180586"/>
                <a:gd name="connsiteY12" fmla="*/ 2843 h 151571"/>
                <a:gd name="connsiteX13" fmla="*/ 174366 w 180586"/>
                <a:gd name="connsiteY13" fmla="*/ 2285 h 151571"/>
                <a:gd name="connsiteX14" fmla="*/ 176397 w 180586"/>
                <a:gd name="connsiteY14" fmla="*/ 0 h 151571"/>
                <a:gd name="connsiteX15" fmla="*/ 176397 w 180586"/>
                <a:gd name="connsiteY15" fmla="*/ 0 h 151571"/>
                <a:gd name="connsiteX16" fmla="*/ 1181 w 180586"/>
                <a:gd name="connsiteY16" fmla="*/ 144235 h 151571"/>
                <a:gd name="connsiteX17" fmla="*/ 1181 w 180586"/>
                <a:gd name="connsiteY17" fmla="*/ 144235 h 151571"/>
                <a:gd name="connsiteX18" fmla="*/ 546 w 180586"/>
                <a:gd name="connsiteY18" fmla="*/ 144996 h 151571"/>
                <a:gd name="connsiteX19" fmla="*/ 546 w 180586"/>
                <a:gd name="connsiteY19" fmla="*/ 144996 h 151571"/>
                <a:gd name="connsiteX20" fmla="*/ 546 w 180586"/>
                <a:gd name="connsiteY20" fmla="*/ 145758 h 151571"/>
                <a:gd name="connsiteX21" fmla="*/ 546 w 180586"/>
                <a:gd name="connsiteY21" fmla="*/ 145758 h 151571"/>
                <a:gd name="connsiteX22" fmla="*/ 546 w 180586"/>
                <a:gd name="connsiteY22" fmla="*/ 146520 h 151571"/>
                <a:gd name="connsiteX23" fmla="*/ 546 w 180586"/>
                <a:gd name="connsiteY23" fmla="*/ 147409 h 151571"/>
                <a:gd name="connsiteX24" fmla="*/ 546 w 180586"/>
                <a:gd name="connsiteY24" fmla="*/ 147409 h 151571"/>
                <a:gd name="connsiteX25" fmla="*/ 38 w 180586"/>
                <a:gd name="connsiteY25" fmla="*/ 148805 h 15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0586" h="151571">
                  <a:moveTo>
                    <a:pt x="38" y="148805"/>
                  </a:moveTo>
                  <a:cubicBezTo>
                    <a:pt x="-13" y="149142"/>
                    <a:pt x="-13" y="149485"/>
                    <a:pt x="38" y="149821"/>
                  </a:cubicBezTo>
                  <a:lnTo>
                    <a:pt x="38" y="150710"/>
                  </a:lnTo>
                  <a:lnTo>
                    <a:pt x="38" y="150710"/>
                  </a:lnTo>
                  <a:lnTo>
                    <a:pt x="38" y="150710"/>
                  </a:lnTo>
                  <a:lnTo>
                    <a:pt x="1181" y="151472"/>
                  </a:lnTo>
                  <a:lnTo>
                    <a:pt x="1943" y="151472"/>
                  </a:lnTo>
                  <a:cubicBezTo>
                    <a:pt x="2616" y="151605"/>
                    <a:pt x="3302" y="151605"/>
                    <a:pt x="3974" y="151472"/>
                  </a:cubicBezTo>
                  <a:cubicBezTo>
                    <a:pt x="5269" y="151496"/>
                    <a:pt x="6539" y="151045"/>
                    <a:pt x="7530" y="150202"/>
                  </a:cubicBezTo>
                  <a:lnTo>
                    <a:pt x="14259" y="144742"/>
                  </a:lnTo>
                  <a:lnTo>
                    <a:pt x="180587" y="9523"/>
                  </a:lnTo>
                  <a:lnTo>
                    <a:pt x="177667" y="8507"/>
                  </a:lnTo>
                  <a:cubicBezTo>
                    <a:pt x="175140" y="7901"/>
                    <a:pt x="173591" y="5366"/>
                    <a:pt x="174200" y="2843"/>
                  </a:cubicBezTo>
                  <a:cubicBezTo>
                    <a:pt x="174238" y="2654"/>
                    <a:pt x="174302" y="2467"/>
                    <a:pt x="174366" y="2285"/>
                  </a:cubicBezTo>
                  <a:cubicBezTo>
                    <a:pt x="174747" y="1308"/>
                    <a:pt x="175471" y="498"/>
                    <a:pt x="176397" y="0"/>
                  </a:cubicBezTo>
                  <a:lnTo>
                    <a:pt x="176397" y="0"/>
                  </a:lnTo>
                  <a:lnTo>
                    <a:pt x="1181" y="144235"/>
                  </a:lnTo>
                  <a:lnTo>
                    <a:pt x="1181" y="144235"/>
                  </a:lnTo>
                  <a:lnTo>
                    <a:pt x="546" y="144996"/>
                  </a:lnTo>
                  <a:lnTo>
                    <a:pt x="546" y="144996"/>
                  </a:lnTo>
                  <a:lnTo>
                    <a:pt x="546" y="145758"/>
                  </a:lnTo>
                  <a:lnTo>
                    <a:pt x="546" y="145758"/>
                  </a:lnTo>
                  <a:cubicBezTo>
                    <a:pt x="496" y="146010"/>
                    <a:pt x="496" y="146269"/>
                    <a:pt x="546" y="146520"/>
                  </a:cubicBezTo>
                  <a:cubicBezTo>
                    <a:pt x="496" y="146813"/>
                    <a:pt x="496" y="147115"/>
                    <a:pt x="546" y="147409"/>
                  </a:cubicBezTo>
                  <a:lnTo>
                    <a:pt x="546" y="147409"/>
                  </a:lnTo>
                  <a:cubicBezTo>
                    <a:pt x="331" y="147858"/>
                    <a:pt x="165" y="148325"/>
                    <a:pt x="38" y="148805"/>
                  </a:cubicBezTo>
                  <a:close/>
                </a:path>
              </a:pathLst>
            </a:custGeom>
            <a:solidFill>
              <a:srgbClr val="000000"/>
            </a:solidFill>
            <a:ln w="1269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A82096B4-B837-4BDB-A5B4-F36B23FB29D2}"/>
                </a:ext>
              </a:extLst>
            </p:cNvPr>
            <p:cNvSpPr/>
            <p:nvPr/>
          </p:nvSpPr>
          <p:spPr>
            <a:xfrm>
              <a:off x="11499974" y="257996"/>
              <a:ext cx="685422" cy="231460"/>
            </a:xfrm>
            <a:custGeom>
              <a:avLst/>
              <a:gdLst>
                <a:gd name="connsiteX0" fmla="*/ 6905 w 685422"/>
                <a:gd name="connsiteY0" fmla="*/ 0 h 231460"/>
                <a:gd name="connsiteX1" fmla="*/ 5889 w 685422"/>
                <a:gd name="connsiteY1" fmla="*/ 0 h 231460"/>
                <a:gd name="connsiteX2" fmla="*/ 4746 w 685422"/>
                <a:gd name="connsiteY2" fmla="*/ 0 h 231460"/>
                <a:gd name="connsiteX3" fmla="*/ 3349 w 685422"/>
                <a:gd name="connsiteY3" fmla="*/ 0 h 231460"/>
                <a:gd name="connsiteX4" fmla="*/ 2333 w 685422"/>
                <a:gd name="connsiteY4" fmla="*/ 635 h 231460"/>
                <a:gd name="connsiteX5" fmla="*/ 302 w 685422"/>
                <a:gd name="connsiteY5" fmla="*/ 2920 h 231460"/>
                <a:gd name="connsiteX6" fmla="*/ 3045 w 685422"/>
                <a:gd name="connsiteY6" fmla="*/ 8970 h 231460"/>
                <a:gd name="connsiteX7" fmla="*/ 3603 w 685422"/>
                <a:gd name="connsiteY7" fmla="*/ 9142 h 231460"/>
                <a:gd name="connsiteX8" fmla="*/ 6524 w 685422"/>
                <a:gd name="connsiteY8" fmla="*/ 10157 h 231460"/>
                <a:gd name="connsiteX9" fmla="*/ 685422 w 685422"/>
                <a:gd name="connsiteY9" fmla="*/ 231461 h 231460"/>
                <a:gd name="connsiteX10" fmla="*/ 685422 w 685422"/>
                <a:gd name="connsiteY10" fmla="*/ 221050 h 231460"/>
                <a:gd name="connsiteX11" fmla="*/ 7667 w 685422"/>
                <a:gd name="connsiteY11" fmla="*/ 127 h 23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422" h="231460">
                  <a:moveTo>
                    <a:pt x="6905" y="0"/>
                  </a:moveTo>
                  <a:lnTo>
                    <a:pt x="5889" y="0"/>
                  </a:lnTo>
                  <a:lnTo>
                    <a:pt x="4746" y="0"/>
                  </a:lnTo>
                  <a:lnTo>
                    <a:pt x="3349" y="0"/>
                  </a:lnTo>
                  <a:lnTo>
                    <a:pt x="2333" y="635"/>
                  </a:lnTo>
                  <a:cubicBezTo>
                    <a:pt x="1407" y="1133"/>
                    <a:pt x="683" y="1943"/>
                    <a:pt x="302" y="2920"/>
                  </a:cubicBezTo>
                  <a:cubicBezTo>
                    <a:pt x="-612" y="5349"/>
                    <a:pt x="619" y="8057"/>
                    <a:pt x="3045" y="8970"/>
                  </a:cubicBezTo>
                  <a:cubicBezTo>
                    <a:pt x="3222" y="9039"/>
                    <a:pt x="3413" y="9096"/>
                    <a:pt x="3603" y="9142"/>
                  </a:cubicBezTo>
                  <a:lnTo>
                    <a:pt x="6524" y="10157"/>
                  </a:lnTo>
                  <a:lnTo>
                    <a:pt x="685422" y="231461"/>
                  </a:lnTo>
                  <a:lnTo>
                    <a:pt x="685422" y="221050"/>
                  </a:lnTo>
                  <a:lnTo>
                    <a:pt x="7667" y="127"/>
                  </a:lnTo>
                  <a:close/>
                </a:path>
              </a:pathLst>
            </a:custGeom>
            <a:solidFill>
              <a:srgbClr val="000000"/>
            </a:solidFill>
            <a:ln w="1269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963F9AA-C91C-4E34-AE88-6E7BBE0BE2F2}"/>
                </a:ext>
              </a:extLst>
            </p:cNvPr>
            <p:cNvSpPr/>
            <p:nvPr/>
          </p:nvSpPr>
          <p:spPr>
            <a:xfrm>
              <a:off x="11746975" y="1086202"/>
              <a:ext cx="136363" cy="116174"/>
            </a:xfrm>
            <a:custGeom>
              <a:avLst/>
              <a:gdLst>
                <a:gd name="connsiteX0" fmla="*/ 127476 w 136363"/>
                <a:gd name="connsiteY0" fmla="*/ 2158 h 116174"/>
                <a:gd name="connsiteX1" fmla="*/ 127476 w 136363"/>
                <a:gd name="connsiteY1" fmla="*/ 0 h 116174"/>
                <a:gd name="connsiteX2" fmla="*/ 1651 w 136363"/>
                <a:gd name="connsiteY2" fmla="*/ 101574 h 116174"/>
                <a:gd name="connsiteX3" fmla="*/ 1651 w 136363"/>
                <a:gd name="connsiteY3" fmla="*/ 112620 h 116174"/>
                <a:gd name="connsiteX4" fmla="*/ 1651 w 136363"/>
                <a:gd name="connsiteY4" fmla="*/ 113382 h 116174"/>
                <a:gd name="connsiteX5" fmla="*/ 1651 w 136363"/>
                <a:gd name="connsiteY5" fmla="*/ 114143 h 116174"/>
                <a:gd name="connsiteX6" fmla="*/ 1651 w 136363"/>
                <a:gd name="connsiteY6" fmla="*/ 114143 h 116174"/>
                <a:gd name="connsiteX7" fmla="*/ 0 w 136363"/>
                <a:gd name="connsiteY7" fmla="*/ 116175 h 116174"/>
                <a:gd name="connsiteX8" fmla="*/ 0 w 136363"/>
                <a:gd name="connsiteY8" fmla="*/ 116175 h 116174"/>
                <a:gd name="connsiteX9" fmla="*/ 136364 w 136363"/>
                <a:gd name="connsiteY9" fmla="*/ 5713 h 116174"/>
                <a:gd name="connsiteX10" fmla="*/ 136364 w 136363"/>
                <a:gd name="connsiteY10" fmla="*/ 5713 h 116174"/>
                <a:gd name="connsiteX11" fmla="*/ 132682 w 136363"/>
                <a:gd name="connsiteY11" fmla="*/ 7110 h 116174"/>
                <a:gd name="connsiteX12" fmla="*/ 127476 w 136363"/>
                <a:gd name="connsiteY12" fmla="*/ 2162 h 116174"/>
                <a:gd name="connsiteX13" fmla="*/ 127476 w 136363"/>
                <a:gd name="connsiteY13" fmla="*/ 2158 h 11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363" h="116174">
                  <a:moveTo>
                    <a:pt x="127476" y="2158"/>
                  </a:moveTo>
                  <a:lnTo>
                    <a:pt x="127476" y="0"/>
                  </a:lnTo>
                  <a:lnTo>
                    <a:pt x="1651" y="101574"/>
                  </a:lnTo>
                  <a:lnTo>
                    <a:pt x="1651" y="112620"/>
                  </a:lnTo>
                  <a:cubicBezTo>
                    <a:pt x="1651" y="112620"/>
                    <a:pt x="1651" y="112620"/>
                    <a:pt x="1651" y="113382"/>
                  </a:cubicBezTo>
                  <a:cubicBezTo>
                    <a:pt x="1651" y="114143"/>
                    <a:pt x="1651" y="113382"/>
                    <a:pt x="1651" y="114143"/>
                  </a:cubicBezTo>
                  <a:lnTo>
                    <a:pt x="1651" y="114143"/>
                  </a:lnTo>
                  <a:cubicBezTo>
                    <a:pt x="1333" y="114980"/>
                    <a:pt x="749" y="115691"/>
                    <a:pt x="0" y="116175"/>
                  </a:cubicBezTo>
                  <a:lnTo>
                    <a:pt x="0" y="116175"/>
                  </a:lnTo>
                  <a:lnTo>
                    <a:pt x="136364" y="5713"/>
                  </a:lnTo>
                  <a:lnTo>
                    <a:pt x="136364" y="5713"/>
                  </a:lnTo>
                  <a:cubicBezTo>
                    <a:pt x="135361" y="6631"/>
                    <a:pt x="134040" y="7132"/>
                    <a:pt x="132682" y="7110"/>
                  </a:cubicBezTo>
                  <a:cubicBezTo>
                    <a:pt x="129876" y="7181"/>
                    <a:pt x="127553" y="4966"/>
                    <a:pt x="127476" y="2162"/>
                  </a:cubicBezTo>
                  <a:cubicBezTo>
                    <a:pt x="127476" y="2161"/>
                    <a:pt x="127476" y="2160"/>
                    <a:pt x="127476" y="2158"/>
                  </a:cubicBezTo>
                  <a:close/>
                </a:path>
              </a:pathLst>
            </a:custGeom>
            <a:solidFill>
              <a:srgbClr val="000000"/>
            </a:solidFill>
            <a:ln w="1269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6842B70-9210-4084-993D-FB22172A9B8D}"/>
                </a:ext>
              </a:extLst>
            </p:cNvPr>
            <p:cNvSpPr/>
            <p:nvPr/>
          </p:nvSpPr>
          <p:spPr>
            <a:xfrm>
              <a:off x="10778969" y="905147"/>
              <a:ext cx="964069" cy="299261"/>
            </a:xfrm>
            <a:custGeom>
              <a:avLst/>
              <a:gdLst>
                <a:gd name="connsiteX0" fmla="*/ 958864 w 964069"/>
                <a:gd name="connsiteY0" fmla="*/ 294310 h 299261"/>
                <a:gd name="connsiteX1" fmla="*/ 958864 w 964069"/>
                <a:gd name="connsiteY1" fmla="*/ 287453 h 299261"/>
                <a:gd name="connsiteX2" fmla="*/ 7364 w 964069"/>
                <a:gd name="connsiteY2" fmla="*/ 0 h 299261"/>
                <a:gd name="connsiteX3" fmla="*/ 7364 w 964069"/>
                <a:gd name="connsiteY3" fmla="*/ 3555 h 299261"/>
                <a:gd name="connsiteX4" fmla="*/ 1917 w 964069"/>
                <a:gd name="connsiteY4" fmla="*/ 8507 h 299261"/>
                <a:gd name="connsiteX5" fmla="*/ 1904 w 964069"/>
                <a:gd name="connsiteY5" fmla="*/ 8507 h 299261"/>
                <a:gd name="connsiteX6" fmla="*/ 0 w 964069"/>
                <a:gd name="connsiteY6" fmla="*/ 8507 h 299261"/>
                <a:gd name="connsiteX7" fmla="*/ 0 w 964069"/>
                <a:gd name="connsiteY7" fmla="*/ 8507 h 299261"/>
                <a:gd name="connsiteX8" fmla="*/ 962292 w 964069"/>
                <a:gd name="connsiteY8" fmla="*/ 299261 h 299261"/>
                <a:gd name="connsiteX9" fmla="*/ 964070 w 964069"/>
                <a:gd name="connsiteY9" fmla="*/ 299261 h 299261"/>
                <a:gd name="connsiteX10" fmla="*/ 958864 w 964069"/>
                <a:gd name="connsiteY10" fmla="*/ 294310 h 29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069" h="299261">
                  <a:moveTo>
                    <a:pt x="958864" y="294310"/>
                  </a:moveTo>
                  <a:lnTo>
                    <a:pt x="958864" y="287453"/>
                  </a:lnTo>
                  <a:lnTo>
                    <a:pt x="7364" y="0"/>
                  </a:lnTo>
                  <a:lnTo>
                    <a:pt x="7364" y="3555"/>
                  </a:lnTo>
                  <a:cubicBezTo>
                    <a:pt x="7224" y="6427"/>
                    <a:pt x="4787" y="8644"/>
                    <a:pt x="1917" y="8507"/>
                  </a:cubicBezTo>
                  <a:cubicBezTo>
                    <a:pt x="1917" y="8507"/>
                    <a:pt x="1904" y="8507"/>
                    <a:pt x="1904" y="8507"/>
                  </a:cubicBezTo>
                  <a:cubicBezTo>
                    <a:pt x="1269" y="8627"/>
                    <a:pt x="635" y="8627"/>
                    <a:pt x="0" y="8507"/>
                  </a:cubicBezTo>
                  <a:lnTo>
                    <a:pt x="0" y="8507"/>
                  </a:lnTo>
                  <a:lnTo>
                    <a:pt x="962292" y="299261"/>
                  </a:lnTo>
                  <a:lnTo>
                    <a:pt x="964070" y="299261"/>
                  </a:lnTo>
                  <a:cubicBezTo>
                    <a:pt x="961289" y="299265"/>
                    <a:pt x="959004" y="297085"/>
                    <a:pt x="958864" y="294310"/>
                  </a:cubicBezTo>
                  <a:close/>
                </a:path>
              </a:pathLst>
            </a:custGeom>
            <a:solidFill>
              <a:srgbClr val="000000"/>
            </a:solidFill>
            <a:ln w="1269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A8944ACC-A728-44B2-9CC8-054F16A1C311}"/>
                </a:ext>
              </a:extLst>
            </p:cNvPr>
            <p:cNvSpPr/>
            <p:nvPr/>
          </p:nvSpPr>
          <p:spPr>
            <a:xfrm>
              <a:off x="11748372" y="1199906"/>
              <a:ext cx="12696" cy="1201"/>
            </a:xfrm>
            <a:custGeom>
              <a:avLst/>
              <a:gdLst>
                <a:gd name="connsiteX0" fmla="*/ 0 w 12696"/>
                <a:gd name="connsiteY0" fmla="*/ 1074 h 1201"/>
                <a:gd name="connsiteX1" fmla="*/ 0 w 12696"/>
                <a:gd name="connsiteY1" fmla="*/ 312 h 1201"/>
                <a:gd name="connsiteX2" fmla="*/ 0 w 12696"/>
                <a:gd name="connsiteY2" fmla="*/ 1201 h 1201"/>
              </a:gdLst>
              <a:ahLst/>
              <a:cxnLst>
                <a:cxn ang="0">
                  <a:pos x="connsiteX0" y="connsiteY0"/>
                </a:cxn>
                <a:cxn ang="0">
                  <a:pos x="connsiteX1" y="connsiteY1"/>
                </a:cxn>
                <a:cxn ang="0">
                  <a:pos x="connsiteX2" y="connsiteY2"/>
                </a:cxn>
              </a:cxnLst>
              <a:rect l="l" t="t" r="r" b="b"/>
              <a:pathLst>
                <a:path w="12696" h="1201">
                  <a:moveTo>
                    <a:pt x="0" y="1074"/>
                  </a:moveTo>
                  <a:cubicBezTo>
                    <a:pt x="0" y="1074"/>
                    <a:pt x="0" y="1074"/>
                    <a:pt x="0" y="312"/>
                  </a:cubicBezTo>
                  <a:cubicBezTo>
                    <a:pt x="0" y="-449"/>
                    <a:pt x="0" y="312"/>
                    <a:pt x="0" y="1201"/>
                  </a:cubicBezTo>
                  <a:close/>
                </a:path>
              </a:pathLst>
            </a:custGeom>
            <a:solidFill>
              <a:srgbClr val="000000"/>
            </a:solidFill>
            <a:ln w="1269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C3072DF1-FCAA-4133-B527-EE15F88B4F7E}"/>
                </a:ext>
              </a:extLst>
            </p:cNvPr>
            <p:cNvSpPr/>
            <p:nvPr/>
          </p:nvSpPr>
          <p:spPr>
            <a:xfrm>
              <a:off x="10776937" y="801288"/>
              <a:ext cx="761" cy="12696"/>
            </a:xfrm>
            <a:custGeom>
              <a:avLst/>
              <a:gdLst>
                <a:gd name="connsiteX0" fmla="*/ 762 w 761"/>
                <a:gd name="connsiteY0" fmla="*/ 0 h 12696"/>
                <a:gd name="connsiteX1" fmla="*/ 0 w 761"/>
                <a:gd name="connsiteY1" fmla="*/ 0 h 12696"/>
                <a:gd name="connsiteX2" fmla="*/ 635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635" y="0"/>
                  </a:lnTo>
                  <a:close/>
                </a:path>
              </a:pathLst>
            </a:custGeom>
            <a:solidFill>
              <a:srgbClr val="000000"/>
            </a:solidFill>
            <a:ln w="1269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76411618-997C-439C-BB0F-C93C76112992}"/>
                </a:ext>
              </a:extLst>
            </p:cNvPr>
            <p:cNvSpPr/>
            <p:nvPr/>
          </p:nvSpPr>
          <p:spPr>
            <a:xfrm>
              <a:off x="10776255" y="802811"/>
              <a:ext cx="47" cy="634"/>
            </a:xfrm>
            <a:custGeom>
              <a:avLst/>
              <a:gdLst>
                <a:gd name="connsiteX0" fmla="*/ 48 w 47"/>
                <a:gd name="connsiteY0" fmla="*/ 0 h 634"/>
                <a:gd name="connsiteX1" fmla="*/ 48 w 47"/>
                <a:gd name="connsiteY1" fmla="*/ 635 h 634"/>
                <a:gd name="connsiteX2" fmla="*/ 48 w 47"/>
                <a:gd name="connsiteY2" fmla="*/ 635 h 634"/>
              </a:gdLst>
              <a:ahLst/>
              <a:cxnLst>
                <a:cxn ang="0">
                  <a:pos x="connsiteX0" y="connsiteY0"/>
                </a:cxn>
                <a:cxn ang="0">
                  <a:pos x="connsiteX1" y="connsiteY1"/>
                </a:cxn>
                <a:cxn ang="0">
                  <a:pos x="connsiteX2" y="connsiteY2"/>
                </a:cxn>
              </a:cxnLst>
              <a:rect l="l" t="t" r="r" b="b"/>
              <a:pathLst>
                <a:path w="47" h="634">
                  <a:moveTo>
                    <a:pt x="48" y="0"/>
                  </a:moveTo>
                  <a:cubicBezTo>
                    <a:pt x="-16" y="207"/>
                    <a:pt x="-16" y="428"/>
                    <a:pt x="48" y="635"/>
                  </a:cubicBezTo>
                  <a:lnTo>
                    <a:pt x="48" y="635"/>
                  </a:lnTo>
                  <a:close/>
                </a:path>
              </a:pathLst>
            </a:custGeom>
            <a:solidFill>
              <a:srgbClr val="000000"/>
            </a:solidFill>
            <a:ln w="1269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11873E69-665D-448A-9E07-A54FF5377D87}"/>
                </a:ext>
              </a:extLst>
            </p:cNvPr>
            <p:cNvSpPr/>
            <p:nvPr/>
          </p:nvSpPr>
          <p:spPr>
            <a:xfrm>
              <a:off x="10777135" y="806620"/>
              <a:ext cx="9199" cy="107250"/>
            </a:xfrm>
            <a:custGeom>
              <a:avLst/>
              <a:gdLst>
                <a:gd name="connsiteX0" fmla="*/ 9199 w 9199"/>
                <a:gd name="connsiteY0" fmla="*/ 102082 h 107250"/>
                <a:gd name="connsiteX1" fmla="*/ 9199 w 9199"/>
                <a:gd name="connsiteY1" fmla="*/ 5967 h 107250"/>
                <a:gd name="connsiteX2" fmla="*/ 2088 w 9199"/>
                <a:gd name="connsiteY2" fmla="*/ 3809 h 107250"/>
                <a:gd name="connsiteX3" fmla="*/ 2088 w 9199"/>
                <a:gd name="connsiteY3" fmla="*/ 3809 h 107250"/>
                <a:gd name="connsiteX4" fmla="*/ 1326 w 9199"/>
                <a:gd name="connsiteY4" fmla="*/ 3809 h 107250"/>
                <a:gd name="connsiteX5" fmla="*/ 57 w 9199"/>
                <a:gd name="connsiteY5" fmla="*/ 2666 h 107250"/>
                <a:gd name="connsiteX6" fmla="*/ 57 w 9199"/>
                <a:gd name="connsiteY6" fmla="*/ 2666 h 107250"/>
                <a:gd name="connsiteX7" fmla="*/ 57 w 9199"/>
                <a:gd name="connsiteY7" fmla="*/ 2666 h 107250"/>
                <a:gd name="connsiteX8" fmla="*/ 57 w 9199"/>
                <a:gd name="connsiteY8" fmla="*/ 1778 h 107250"/>
                <a:gd name="connsiteX9" fmla="*/ 57 w 9199"/>
                <a:gd name="connsiteY9" fmla="*/ 762 h 107250"/>
                <a:gd name="connsiteX10" fmla="*/ 57 w 9199"/>
                <a:gd name="connsiteY10" fmla="*/ 0 h 107250"/>
                <a:gd name="connsiteX11" fmla="*/ 57 w 9199"/>
                <a:gd name="connsiteY11" fmla="*/ 0 h 107250"/>
                <a:gd name="connsiteX12" fmla="*/ 57 w 9199"/>
                <a:gd name="connsiteY12" fmla="*/ 103859 h 107250"/>
                <a:gd name="connsiteX13" fmla="*/ 57 w 9199"/>
                <a:gd name="connsiteY13" fmla="*/ 104748 h 107250"/>
                <a:gd name="connsiteX14" fmla="*/ 57 w 9199"/>
                <a:gd name="connsiteY14" fmla="*/ 105637 h 107250"/>
                <a:gd name="connsiteX15" fmla="*/ 57 w 9199"/>
                <a:gd name="connsiteY15" fmla="*/ 106398 h 107250"/>
                <a:gd name="connsiteX16" fmla="*/ 57 w 9199"/>
                <a:gd name="connsiteY16" fmla="*/ 107160 h 107250"/>
                <a:gd name="connsiteX17" fmla="*/ 946 w 9199"/>
                <a:gd name="connsiteY17" fmla="*/ 107160 h 107250"/>
                <a:gd name="connsiteX18" fmla="*/ 1835 w 9199"/>
                <a:gd name="connsiteY18" fmla="*/ 107160 h 107250"/>
                <a:gd name="connsiteX19" fmla="*/ 3739 w 9199"/>
                <a:gd name="connsiteY19" fmla="*/ 107160 h 107250"/>
                <a:gd name="connsiteX20" fmla="*/ 9199 w 9199"/>
                <a:gd name="connsiteY20" fmla="*/ 102216 h 107250"/>
                <a:gd name="connsiteX21" fmla="*/ 9199 w 9199"/>
                <a:gd name="connsiteY21" fmla="*/ 102082 h 1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99" h="107250">
                  <a:moveTo>
                    <a:pt x="9199" y="102082"/>
                  </a:moveTo>
                  <a:lnTo>
                    <a:pt x="9199" y="5967"/>
                  </a:lnTo>
                  <a:lnTo>
                    <a:pt x="2088" y="3809"/>
                  </a:lnTo>
                  <a:lnTo>
                    <a:pt x="2088" y="3809"/>
                  </a:lnTo>
                  <a:lnTo>
                    <a:pt x="1326" y="3809"/>
                  </a:lnTo>
                  <a:cubicBezTo>
                    <a:pt x="844" y="3494"/>
                    <a:pt x="425" y="3108"/>
                    <a:pt x="57" y="2666"/>
                  </a:cubicBezTo>
                  <a:lnTo>
                    <a:pt x="57" y="2666"/>
                  </a:lnTo>
                  <a:lnTo>
                    <a:pt x="57" y="2666"/>
                  </a:lnTo>
                  <a:lnTo>
                    <a:pt x="57" y="1778"/>
                  </a:lnTo>
                  <a:cubicBezTo>
                    <a:pt x="57" y="1778"/>
                    <a:pt x="57" y="1143"/>
                    <a:pt x="57" y="762"/>
                  </a:cubicBezTo>
                  <a:cubicBezTo>
                    <a:pt x="-7" y="512"/>
                    <a:pt x="-7" y="250"/>
                    <a:pt x="57" y="0"/>
                  </a:cubicBezTo>
                  <a:lnTo>
                    <a:pt x="57" y="0"/>
                  </a:lnTo>
                  <a:lnTo>
                    <a:pt x="57" y="103859"/>
                  </a:lnTo>
                  <a:cubicBezTo>
                    <a:pt x="7" y="104152"/>
                    <a:pt x="7" y="104455"/>
                    <a:pt x="57" y="104748"/>
                  </a:cubicBezTo>
                  <a:cubicBezTo>
                    <a:pt x="-19" y="105040"/>
                    <a:pt x="-19" y="105345"/>
                    <a:pt x="57" y="105637"/>
                  </a:cubicBezTo>
                  <a:lnTo>
                    <a:pt x="57" y="106398"/>
                  </a:lnTo>
                  <a:lnTo>
                    <a:pt x="57" y="107160"/>
                  </a:lnTo>
                  <a:lnTo>
                    <a:pt x="946" y="107160"/>
                  </a:lnTo>
                  <a:lnTo>
                    <a:pt x="1835" y="107160"/>
                  </a:lnTo>
                  <a:cubicBezTo>
                    <a:pt x="2469" y="107281"/>
                    <a:pt x="3104" y="107281"/>
                    <a:pt x="3739" y="107160"/>
                  </a:cubicBezTo>
                  <a:cubicBezTo>
                    <a:pt x="6608" y="107301"/>
                    <a:pt x="9059" y="105088"/>
                    <a:pt x="9199" y="102216"/>
                  </a:cubicBezTo>
                  <a:cubicBezTo>
                    <a:pt x="9199" y="102172"/>
                    <a:pt x="9199" y="102126"/>
                    <a:pt x="9199" y="102082"/>
                  </a:cubicBezTo>
                  <a:close/>
                </a:path>
              </a:pathLst>
            </a:custGeom>
            <a:solidFill>
              <a:srgbClr val="000000"/>
            </a:solidFill>
            <a:ln w="1269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5FF70C8D-D3E2-4CD2-9A8D-25CCE931256E}"/>
                </a:ext>
              </a:extLst>
            </p:cNvPr>
            <p:cNvSpPr/>
            <p:nvPr/>
          </p:nvSpPr>
          <p:spPr>
            <a:xfrm>
              <a:off x="11737960" y="1097883"/>
              <a:ext cx="10538" cy="105897"/>
            </a:xfrm>
            <a:custGeom>
              <a:avLst/>
              <a:gdLst>
                <a:gd name="connsiteX0" fmla="*/ 10539 w 10538"/>
                <a:gd name="connsiteY0" fmla="*/ 102335 h 105897"/>
                <a:gd name="connsiteX1" fmla="*/ 10539 w 10538"/>
                <a:gd name="connsiteY1" fmla="*/ 101574 h 105897"/>
                <a:gd name="connsiteX2" fmla="*/ 10539 w 10538"/>
                <a:gd name="connsiteY2" fmla="*/ 0 h 105897"/>
                <a:gd name="connsiteX3" fmla="*/ 8761 w 10538"/>
                <a:gd name="connsiteY3" fmla="*/ 1397 h 105897"/>
                <a:gd name="connsiteX4" fmla="*/ 8761 w 10538"/>
                <a:gd name="connsiteY4" fmla="*/ 1397 h 105897"/>
                <a:gd name="connsiteX5" fmla="*/ 5460 w 10538"/>
                <a:gd name="connsiteY5" fmla="*/ 2539 h 105897"/>
                <a:gd name="connsiteX6" fmla="*/ 3683 w 10538"/>
                <a:gd name="connsiteY6" fmla="*/ 2539 h 105897"/>
                <a:gd name="connsiteX7" fmla="*/ 0 w 10538"/>
                <a:gd name="connsiteY7" fmla="*/ 1397 h 105897"/>
                <a:gd name="connsiteX8" fmla="*/ 0 w 10538"/>
                <a:gd name="connsiteY8" fmla="*/ 101066 h 105897"/>
                <a:gd name="connsiteX9" fmla="*/ 5460 w 10538"/>
                <a:gd name="connsiteY9" fmla="*/ 105890 h 105897"/>
                <a:gd name="connsiteX10" fmla="*/ 8253 w 10538"/>
                <a:gd name="connsiteY10" fmla="*/ 105129 h 105897"/>
                <a:gd name="connsiteX11" fmla="*/ 8253 w 10538"/>
                <a:gd name="connsiteY11" fmla="*/ 105129 h 105897"/>
                <a:gd name="connsiteX12" fmla="*/ 8253 w 10538"/>
                <a:gd name="connsiteY12" fmla="*/ 105129 h 105897"/>
                <a:gd name="connsiteX13" fmla="*/ 9904 w 10538"/>
                <a:gd name="connsiteY13" fmla="*/ 103097 h 105897"/>
                <a:gd name="connsiteX14" fmla="*/ 10539 w 10538"/>
                <a:gd name="connsiteY14" fmla="*/ 102335 h 10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8" h="105897">
                  <a:moveTo>
                    <a:pt x="10539" y="102335"/>
                  </a:moveTo>
                  <a:cubicBezTo>
                    <a:pt x="10539" y="102335"/>
                    <a:pt x="10539" y="102335"/>
                    <a:pt x="10539" y="101574"/>
                  </a:cubicBezTo>
                  <a:lnTo>
                    <a:pt x="10539" y="0"/>
                  </a:lnTo>
                  <a:lnTo>
                    <a:pt x="8761" y="1397"/>
                  </a:lnTo>
                  <a:lnTo>
                    <a:pt x="8761" y="1397"/>
                  </a:lnTo>
                  <a:cubicBezTo>
                    <a:pt x="7784" y="2073"/>
                    <a:pt x="6641" y="2468"/>
                    <a:pt x="5460" y="2539"/>
                  </a:cubicBezTo>
                  <a:lnTo>
                    <a:pt x="3683" y="2539"/>
                  </a:lnTo>
                  <a:lnTo>
                    <a:pt x="0" y="1397"/>
                  </a:lnTo>
                  <a:lnTo>
                    <a:pt x="0" y="101066"/>
                  </a:lnTo>
                  <a:cubicBezTo>
                    <a:pt x="203" y="103892"/>
                    <a:pt x="2629" y="106037"/>
                    <a:pt x="5460" y="105890"/>
                  </a:cubicBezTo>
                  <a:cubicBezTo>
                    <a:pt x="6438" y="105893"/>
                    <a:pt x="7402" y="105629"/>
                    <a:pt x="8253" y="105129"/>
                  </a:cubicBezTo>
                  <a:lnTo>
                    <a:pt x="8253" y="105129"/>
                  </a:lnTo>
                  <a:lnTo>
                    <a:pt x="8253" y="105129"/>
                  </a:lnTo>
                  <a:cubicBezTo>
                    <a:pt x="9003" y="104645"/>
                    <a:pt x="9586" y="103933"/>
                    <a:pt x="9904" y="103097"/>
                  </a:cubicBezTo>
                  <a:cubicBezTo>
                    <a:pt x="9904" y="103097"/>
                    <a:pt x="10411" y="102589"/>
                    <a:pt x="10539" y="102335"/>
                  </a:cubicBezTo>
                  <a:close/>
                </a:path>
              </a:pathLst>
            </a:custGeom>
            <a:solidFill>
              <a:srgbClr val="000000"/>
            </a:solidFill>
            <a:ln w="1269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3B38EAE1-602A-475C-81A6-52CA3782D593}"/>
                </a:ext>
              </a:extLst>
            </p:cNvPr>
            <p:cNvSpPr/>
            <p:nvPr/>
          </p:nvSpPr>
          <p:spPr>
            <a:xfrm>
              <a:off x="10776937" y="801161"/>
              <a:ext cx="888" cy="634"/>
            </a:xfrm>
            <a:custGeom>
              <a:avLst/>
              <a:gdLst>
                <a:gd name="connsiteX0" fmla="*/ 0 w 888"/>
                <a:gd name="connsiteY0" fmla="*/ 635 h 634"/>
                <a:gd name="connsiteX1" fmla="*/ 0 w 888"/>
                <a:gd name="connsiteY1" fmla="*/ 635 h 634"/>
                <a:gd name="connsiteX2" fmla="*/ 889 w 888"/>
                <a:gd name="connsiteY2" fmla="*/ 0 h 634"/>
              </a:gdLst>
              <a:ahLst/>
              <a:cxnLst>
                <a:cxn ang="0">
                  <a:pos x="connsiteX0" y="connsiteY0"/>
                </a:cxn>
                <a:cxn ang="0">
                  <a:pos x="connsiteX1" y="connsiteY1"/>
                </a:cxn>
                <a:cxn ang="0">
                  <a:pos x="connsiteX2" y="connsiteY2"/>
                </a:cxn>
              </a:cxnLst>
              <a:rect l="l" t="t" r="r" b="b"/>
              <a:pathLst>
                <a:path w="888" h="634">
                  <a:moveTo>
                    <a:pt x="0" y="635"/>
                  </a:moveTo>
                  <a:lnTo>
                    <a:pt x="0" y="635"/>
                  </a:lnTo>
                  <a:lnTo>
                    <a:pt x="889" y="0"/>
                  </a:lnTo>
                  <a:close/>
                </a:path>
              </a:pathLst>
            </a:custGeom>
            <a:solidFill>
              <a:srgbClr val="000000"/>
            </a:solidFill>
            <a:ln w="1269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53961FEB-87EF-44CE-8718-F0A84FDD5C82}"/>
                </a:ext>
              </a:extLst>
            </p:cNvPr>
            <p:cNvSpPr/>
            <p:nvPr/>
          </p:nvSpPr>
          <p:spPr>
            <a:xfrm>
              <a:off x="10775874" y="802557"/>
              <a:ext cx="47" cy="888"/>
            </a:xfrm>
            <a:custGeom>
              <a:avLst/>
              <a:gdLst>
                <a:gd name="connsiteX0" fmla="*/ 48 w 47"/>
                <a:gd name="connsiteY0" fmla="*/ 889 h 888"/>
                <a:gd name="connsiteX1" fmla="*/ 48 w 47"/>
                <a:gd name="connsiteY1" fmla="*/ 889 h 888"/>
                <a:gd name="connsiteX2" fmla="*/ 48 w 47"/>
                <a:gd name="connsiteY2" fmla="*/ 889 h 888"/>
                <a:gd name="connsiteX3" fmla="*/ 48 w 47"/>
                <a:gd name="connsiteY3" fmla="*/ 0 h 888"/>
              </a:gdLst>
              <a:ahLst/>
              <a:cxnLst>
                <a:cxn ang="0">
                  <a:pos x="connsiteX0" y="connsiteY0"/>
                </a:cxn>
                <a:cxn ang="0">
                  <a:pos x="connsiteX1" y="connsiteY1"/>
                </a:cxn>
                <a:cxn ang="0">
                  <a:pos x="connsiteX2" y="connsiteY2"/>
                </a:cxn>
                <a:cxn ang="0">
                  <a:pos x="connsiteX3" y="connsiteY3"/>
                </a:cxn>
              </a:cxnLst>
              <a:rect l="l" t="t" r="r" b="b"/>
              <a:pathLst>
                <a:path w="47" h="888">
                  <a:moveTo>
                    <a:pt x="48" y="889"/>
                  </a:moveTo>
                  <a:lnTo>
                    <a:pt x="48" y="889"/>
                  </a:lnTo>
                  <a:lnTo>
                    <a:pt x="48" y="889"/>
                  </a:lnTo>
                  <a:cubicBezTo>
                    <a:pt x="-16" y="597"/>
                    <a:pt x="-16" y="292"/>
                    <a:pt x="48" y="0"/>
                  </a:cubicBezTo>
                  <a:close/>
                </a:path>
              </a:pathLst>
            </a:custGeom>
            <a:solidFill>
              <a:srgbClr val="000000"/>
            </a:solidFill>
            <a:ln w="1269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3297B546-2764-42D6-B15C-0F67EC6CD51E}"/>
                </a:ext>
              </a:extLst>
            </p:cNvPr>
            <p:cNvSpPr/>
            <p:nvPr/>
          </p:nvSpPr>
          <p:spPr>
            <a:xfrm>
              <a:off x="10778715" y="803827"/>
              <a:ext cx="964069" cy="297360"/>
            </a:xfrm>
            <a:custGeom>
              <a:avLst/>
              <a:gdLst>
                <a:gd name="connsiteX0" fmla="*/ 960896 w 964069"/>
                <a:gd name="connsiteY0" fmla="*/ 288850 h 297360"/>
                <a:gd name="connsiteX1" fmla="*/ 963181 w 964069"/>
                <a:gd name="connsiteY1" fmla="*/ 286946 h 297360"/>
                <a:gd name="connsiteX2" fmla="*/ 14982 w 964069"/>
                <a:gd name="connsiteY2" fmla="*/ 0 h 297360"/>
                <a:gd name="connsiteX3" fmla="*/ 4952 w 964069"/>
                <a:gd name="connsiteY3" fmla="*/ 5460 h 297360"/>
                <a:gd name="connsiteX4" fmla="*/ 2158 w 964069"/>
                <a:gd name="connsiteY4" fmla="*/ 6221 h 297360"/>
                <a:gd name="connsiteX5" fmla="*/ 0 w 964069"/>
                <a:gd name="connsiteY5" fmla="*/ 6221 h 297360"/>
                <a:gd name="connsiteX6" fmla="*/ 0 w 964069"/>
                <a:gd name="connsiteY6" fmla="*/ 6221 h 297360"/>
                <a:gd name="connsiteX7" fmla="*/ 7110 w 964069"/>
                <a:gd name="connsiteY7" fmla="*/ 8380 h 297360"/>
                <a:gd name="connsiteX8" fmla="*/ 958610 w 964069"/>
                <a:gd name="connsiteY8" fmla="*/ 296214 h 297360"/>
                <a:gd name="connsiteX9" fmla="*/ 962292 w 964069"/>
                <a:gd name="connsiteY9" fmla="*/ 297357 h 297360"/>
                <a:gd name="connsiteX10" fmla="*/ 964070 w 964069"/>
                <a:gd name="connsiteY10" fmla="*/ 297357 h 297360"/>
                <a:gd name="connsiteX11" fmla="*/ 960007 w 964069"/>
                <a:gd name="connsiteY11" fmla="*/ 295706 h 297360"/>
                <a:gd name="connsiteX12" fmla="*/ 960375 w 964069"/>
                <a:gd name="connsiteY12" fmla="*/ 289252 h 297360"/>
                <a:gd name="connsiteX13" fmla="*/ 960896 w 964069"/>
                <a:gd name="connsiteY13" fmla="*/ 288850 h 29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069" h="297360">
                  <a:moveTo>
                    <a:pt x="960896" y="288850"/>
                  </a:moveTo>
                  <a:lnTo>
                    <a:pt x="963181" y="286946"/>
                  </a:lnTo>
                  <a:lnTo>
                    <a:pt x="14982" y="0"/>
                  </a:lnTo>
                  <a:lnTo>
                    <a:pt x="4952" y="5460"/>
                  </a:lnTo>
                  <a:cubicBezTo>
                    <a:pt x="4101" y="5960"/>
                    <a:pt x="3136" y="6224"/>
                    <a:pt x="2158" y="6221"/>
                  </a:cubicBezTo>
                  <a:cubicBezTo>
                    <a:pt x="1448" y="6352"/>
                    <a:pt x="711" y="6352"/>
                    <a:pt x="0" y="6221"/>
                  </a:cubicBezTo>
                  <a:lnTo>
                    <a:pt x="0" y="6221"/>
                  </a:lnTo>
                  <a:lnTo>
                    <a:pt x="7110" y="8380"/>
                  </a:lnTo>
                  <a:lnTo>
                    <a:pt x="958610" y="296214"/>
                  </a:lnTo>
                  <a:lnTo>
                    <a:pt x="962292" y="297357"/>
                  </a:lnTo>
                  <a:lnTo>
                    <a:pt x="964070" y="297357"/>
                  </a:lnTo>
                  <a:cubicBezTo>
                    <a:pt x="962546" y="297415"/>
                    <a:pt x="961061" y="296813"/>
                    <a:pt x="960007" y="295706"/>
                  </a:cubicBezTo>
                  <a:cubicBezTo>
                    <a:pt x="958331" y="293823"/>
                    <a:pt x="958496" y="290934"/>
                    <a:pt x="960375" y="289252"/>
                  </a:cubicBezTo>
                  <a:cubicBezTo>
                    <a:pt x="960540" y="289107"/>
                    <a:pt x="960718" y="288972"/>
                    <a:pt x="960896" y="288850"/>
                  </a:cubicBezTo>
                  <a:close/>
                </a:path>
              </a:pathLst>
            </a:custGeom>
            <a:solidFill>
              <a:srgbClr val="000000"/>
            </a:solidFill>
            <a:ln w="1269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EFBF8CA1-46A3-4CA9-8BDA-3C76C48E12F0}"/>
                </a:ext>
              </a:extLst>
            </p:cNvPr>
            <p:cNvSpPr/>
            <p:nvPr/>
          </p:nvSpPr>
          <p:spPr>
            <a:xfrm>
              <a:off x="11743293" y="1100041"/>
              <a:ext cx="3300" cy="1142"/>
            </a:xfrm>
            <a:custGeom>
              <a:avLst/>
              <a:gdLst>
                <a:gd name="connsiteX0" fmla="*/ 3301 w 3300"/>
                <a:gd name="connsiteY0" fmla="*/ 0 h 1142"/>
                <a:gd name="connsiteX1" fmla="*/ 0 w 3300"/>
                <a:gd name="connsiteY1" fmla="*/ 1143 h 1142"/>
                <a:gd name="connsiteX2" fmla="*/ 3301 w 3300"/>
                <a:gd name="connsiteY2" fmla="*/ 0 h 1142"/>
              </a:gdLst>
              <a:ahLst/>
              <a:cxnLst>
                <a:cxn ang="0">
                  <a:pos x="connsiteX0" y="connsiteY0"/>
                </a:cxn>
                <a:cxn ang="0">
                  <a:pos x="connsiteX1" y="connsiteY1"/>
                </a:cxn>
                <a:cxn ang="0">
                  <a:pos x="connsiteX2" y="connsiteY2"/>
                </a:cxn>
              </a:cxnLst>
              <a:rect l="l" t="t" r="r" b="b"/>
              <a:pathLst>
                <a:path w="3300" h="1142">
                  <a:moveTo>
                    <a:pt x="3301" y="0"/>
                  </a:moveTo>
                  <a:cubicBezTo>
                    <a:pt x="2361" y="733"/>
                    <a:pt x="1193" y="1134"/>
                    <a:pt x="0" y="1143"/>
                  </a:cubicBezTo>
                  <a:cubicBezTo>
                    <a:pt x="1180" y="1072"/>
                    <a:pt x="2323" y="675"/>
                    <a:pt x="3301" y="0"/>
                  </a:cubicBezTo>
                  <a:close/>
                </a:path>
              </a:pathLst>
            </a:custGeom>
            <a:solidFill>
              <a:srgbClr val="000000"/>
            </a:solidFill>
            <a:ln w="1269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6794B9B4-9219-46D5-A187-2066755623E5}"/>
                </a:ext>
              </a:extLst>
            </p:cNvPr>
            <p:cNvSpPr/>
            <p:nvPr/>
          </p:nvSpPr>
          <p:spPr>
            <a:xfrm>
              <a:off x="10774750" y="701364"/>
              <a:ext cx="184386" cy="107385"/>
            </a:xfrm>
            <a:custGeom>
              <a:avLst/>
              <a:gdLst>
                <a:gd name="connsiteX0" fmla="*/ 790 w 184386"/>
                <a:gd name="connsiteY0" fmla="*/ 104240 h 107385"/>
                <a:gd name="connsiteX1" fmla="*/ 790 w 184386"/>
                <a:gd name="connsiteY1" fmla="*/ 105256 h 107385"/>
                <a:gd name="connsiteX2" fmla="*/ 790 w 184386"/>
                <a:gd name="connsiteY2" fmla="*/ 106144 h 107385"/>
                <a:gd name="connsiteX3" fmla="*/ 790 w 184386"/>
                <a:gd name="connsiteY3" fmla="*/ 106144 h 107385"/>
                <a:gd name="connsiteX4" fmla="*/ 790 w 184386"/>
                <a:gd name="connsiteY4" fmla="*/ 106144 h 107385"/>
                <a:gd name="connsiteX5" fmla="*/ 2061 w 184386"/>
                <a:gd name="connsiteY5" fmla="*/ 107287 h 107385"/>
                <a:gd name="connsiteX6" fmla="*/ 2822 w 184386"/>
                <a:gd name="connsiteY6" fmla="*/ 107287 h 107385"/>
                <a:gd name="connsiteX7" fmla="*/ 4981 w 184386"/>
                <a:gd name="connsiteY7" fmla="*/ 107287 h 107385"/>
                <a:gd name="connsiteX8" fmla="*/ 7773 w 184386"/>
                <a:gd name="connsiteY8" fmla="*/ 106525 h 107385"/>
                <a:gd name="connsiteX9" fmla="*/ 17804 w 184386"/>
                <a:gd name="connsiteY9" fmla="*/ 101066 h 107385"/>
                <a:gd name="connsiteX10" fmla="*/ 184387 w 184386"/>
                <a:gd name="connsiteY10" fmla="*/ 9649 h 107385"/>
                <a:gd name="connsiteX11" fmla="*/ 181974 w 184386"/>
                <a:gd name="connsiteY11" fmla="*/ 8888 h 107385"/>
                <a:gd name="connsiteX12" fmla="*/ 178584 w 184386"/>
                <a:gd name="connsiteY12" fmla="*/ 2968 h 107385"/>
                <a:gd name="connsiteX13" fmla="*/ 178673 w 184386"/>
                <a:gd name="connsiteY13" fmla="*/ 2666 h 107385"/>
                <a:gd name="connsiteX14" fmla="*/ 181085 w 184386"/>
                <a:gd name="connsiteY14" fmla="*/ 0 h 107385"/>
                <a:gd name="connsiteX15" fmla="*/ 181085 w 184386"/>
                <a:gd name="connsiteY15" fmla="*/ 0 h 107385"/>
                <a:gd name="connsiteX16" fmla="*/ 2314 w 184386"/>
                <a:gd name="connsiteY16" fmla="*/ 98146 h 107385"/>
                <a:gd name="connsiteX17" fmla="*/ 2314 w 184386"/>
                <a:gd name="connsiteY17" fmla="*/ 98146 h 107385"/>
                <a:gd name="connsiteX18" fmla="*/ 2314 w 184386"/>
                <a:gd name="connsiteY18" fmla="*/ 98146 h 107385"/>
                <a:gd name="connsiteX19" fmla="*/ 1425 w 184386"/>
                <a:gd name="connsiteY19" fmla="*/ 98780 h 107385"/>
                <a:gd name="connsiteX20" fmla="*/ 1425 w 184386"/>
                <a:gd name="connsiteY20" fmla="*/ 99542 h 107385"/>
                <a:gd name="connsiteX21" fmla="*/ 1425 w 184386"/>
                <a:gd name="connsiteY21" fmla="*/ 99542 h 107385"/>
                <a:gd name="connsiteX22" fmla="*/ 1425 w 184386"/>
                <a:gd name="connsiteY22" fmla="*/ 100431 h 107385"/>
                <a:gd name="connsiteX23" fmla="*/ 1425 w 184386"/>
                <a:gd name="connsiteY23" fmla="*/ 101193 h 107385"/>
                <a:gd name="connsiteX24" fmla="*/ 1425 w 184386"/>
                <a:gd name="connsiteY24" fmla="*/ 101193 h 107385"/>
                <a:gd name="connsiteX25" fmla="*/ 16 w 184386"/>
                <a:gd name="connsiteY25" fmla="*/ 103049 h 107385"/>
                <a:gd name="connsiteX26" fmla="*/ 790 w 184386"/>
                <a:gd name="connsiteY26" fmla="*/ 104240 h 10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386" h="107385">
                  <a:moveTo>
                    <a:pt x="790" y="104240"/>
                  </a:moveTo>
                  <a:cubicBezTo>
                    <a:pt x="790" y="104240"/>
                    <a:pt x="790" y="104240"/>
                    <a:pt x="790" y="105256"/>
                  </a:cubicBezTo>
                  <a:lnTo>
                    <a:pt x="790" y="106144"/>
                  </a:lnTo>
                  <a:lnTo>
                    <a:pt x="790" y="106144"/>
                  </a:lnTo>
                  <a:lnTo>
                    <a:pt x="790" y="106144"/>
                  </a:lnTo>
                  <a:cubicBezTo>
                    <a:pt x="1158" y="106586"/>
                    <a:pt x="1578" y="106972"/>
                    <a:pt x="2061" y="107287"/>
                  </a:cubicBezTo>
                  <a:lnTo>
                    <a:pt x="2822" y="107287"/>
                  </a:lnTo>
                  <a:cubicBezTo>
                    <a:pt x="3533" y="107418"/>
                    <a:pt x="4269" y="107418"/>
                    <a:pt x="4981" y="107287"/>
                  </a:cubicBezTo>
                  <a:cubicBezTo>
                    <a:pt x="5958" y="107290"/>
                    <a:pt x="6923" y="107026"/>
                    <a:pt x="7773" y="106525"/>
                  </a:cubicBezTo>
                  <a:lnTo>
                    <a:pt x="17804" y="101066"/>
                  </a:lnTo>
                  <a:lnTo>
                    <a:pt x="184387" y="9649"/>
                  </a:lnTo>
                  <a:lnTo>
                    <a:pt x="181974" y="8888"/>
                  </a:lnTo>
                  <a:cubicBezTo>
                    <a:pt x="179397" y="8191"/>
                    <a:pt x="177886" y="5540"/>
                    <a:pt x="178584" y="2968"/>
                  </a:cubicBezTo>
                  <a:cubicBezTo>
                    <a:pt x="178609" y="2867"/>
                    <a:pt x="178635" y="2765"/>
                    <a:pt x="178673" y="2666"/>
                  </a:cubicBezTo>
                  <a:cubicBezTo>
                    <a:pt x="179079" y="1485"/>
                    <a:pt x="179956" y="522"/>
                    <a:pt x="181085" y="0"/>
                  </a:cubicBezTo>
                  <a:lnTo>
                    <a:pt x="181085" y="0"/>
                  </a:lnTo>
                  <a:lnTo>
                    <a:pt x="2314" y="98146"/>
                  </a:lnTo>
                  <a:lnTo>
                    <a:pt x="2314" y="98146"/>
                  </a:lnTo>
                  <a:lnTo>
                    <a:pt x="2314" y="98146"/>
                  </a:lnTo>
                  <a:lnTo>
                    <a:pt x="1425" y="98780"/>
                  </a:lnTo>
                  <a:lnTo>
                    <a:pt x="1425" y="99542"/>
                  </a:lnTo>
                  <a:lnTo>
                    <a:pt x="1425" y="99542"/>
                  </a:lnTo>
                  <a:cubicBezTo>
                    <a:pt x="1349" y="99834"/>
                    <a:pt x="1349" y="100139"/>
                    <a:pt x="1425" y="100431"/>
                  </a:cubicBezTo>
                  <a:cubicBezTo>
                    <a:pt x="1362" y="100681"/>
                    <a:pt x="1362" y="100943"/>
                    <a:pt x="1425" y="101193"/>
                  </a:cubicBezTo>
                  <a:lnTo>
                    <a:pt x="1425" y="101193"/>
                  </a:lnTo>
                  <a:cubicBezTo>
                    <a:pt x="524" y="101315"/>
                    <a:pt x="-111" y="102146"/>
                    <a:pt x="16" y="103049"/>
                  </a:cubicBezTo>
                  <a:cubicBezTo>
                    <a:pt x="80" y="103544"/>
                    <a:pt x="359" y="103981"/>
                    <a:pt x="790" y="104240"/>
                  </a:cubicBezTo>
                  <a:close/>
                </a:path>
              </a:pathLst>
            </a:custGeom>
            <a:solidFill>
              <a:srgbClr val="000000"/>
            </a:solidFill>
            <a:ln w="1269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ED232E0E-A989-4B41-AB17-E3BF607A66E0}"/>
                </a:ext>
              </a:extLst>
            </p:cNvPr>
            <p:cNvSpPr/>
            <p:nvPr/>
          </p:nvSpPr>
          <p:spPr>
            <a:xfrm>
              <a:off x="11884228" y="981581"/>
              <a:ext cx="12696" cy="761"/>
            </a:xfrm>
            <a:custGeom>
              <a:avLst/>
              <a:gdLst>
                <a:gd name="connsiteX0" fmla="*/ 0 w 12696"/>
                <a:gd name="connsiteY0" fmla="*/ 0 h 761"/>
                <a:gd name="connsiteX1" fmla="*/ 0 w 12696"/>
                <a:gd name="connsiteY1" fmla="*/ 0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0"/>
                  </a:lnTo>
                  <a:lnTo>
                    <a:pt x="0" y="762"/>
                  </a:lnTo>
                  <a:close/>
                </a:path>
              </a:pathLst>
            </a:custGeom>
            <a:solidFill>
              <a:srgbClr val="000000"/>
            </a:solidFill>
            <a:ln w="1269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0D767C8C-A387-457D-9BA9-548F14ED4E61}"/>
                </a:ext>
              </a:extLst>
            </p:cNvPr>
            <p:cNvSpPr/>
            <p:nvPr/>
          </p:nvSpPr>
          <p:spPr>
            <a:xfrm>
              <a:off x="11738446" y="986532"/>
              <a:ext cx="146288" cy="114909"/>
            </a:xfrm>
            <a:custGeom>
              <a:avLst/>
              <a:gdLst>
                <a:gd name="connsiteX0" fmla="*/ 145019 w 146288"/>
                <a:gd name="connsiteY0" fmla="*/ 1905 h 114909"/>
                <a:gd name="connsiteX1" fmla="*/ 146289 w 146288"/>
                <a:gd name="connsiteY1" fmla="*/ 0 h 114909"/>
                <a:gd name="connsiteX2" fmla="*/ 141338 w 146288"/>
                <a:gd name="connsiteY2" fmla="*/ 3174 h 114909"/>
                <a:gd name="connsiteX3" fmla="*/ 139687 w 146288"/>
                <a:gd name="connsiteY3" fmla="*/ 3174 h 114909"/>
                <a:gd name="connsiteX4" fmla="*/ 130799 w 146288"/>
                <a:gd name="connsiteY4" fmla="*/ 508 h 114909"/>
                <a:gd name="connsiteX5" fmla="*/ 3831 w 146288"/>
                <a:gd name="connsiteY5" fmla="*/ 104494 h 114909"/>
                <a:gd name="connsiteX6" fmla="*/ 1545 w 146288"/>
                <a:gd name="connsiteY6" fmla="*/ 106398 h 114909"/>
                <a:gd name="connsiteX7" fmla="*/ 1139 w 146288"/>
                <a:gd name="connsiteY7" fmla="*/ 112850 h 114909"/>
                <a:gd name="connsiteX8" fmla="*/ 1545 w 146288"/>
                <a:gd name="connsiteY8" fmla="*/ 113255 h 114909"/>
                <a:gd name="connsiteX9" fmla="*/ 5609 w 146288"/>
                <a:gd name="connsiteY9" fmla="*/ 114905 h 114909"/>
                <a:gd name="connsiteX10" fmla="*/ 8909 w 146288"/>
                <a:gd name="connsiteY10" fmla="*/ 113763 h 114909"/>
                <a:gd name="connsiteX11" fmla="*/ 8909 w 146288"/>
                <a:gd name="connsiteY11" fmla="*/ 113763 h 114909"/>
                <a:gd name="connsiteX12" fmla="*/ 10687 w 146288"/>
                <a:gd name="connsiteY12" fmla="*/ 112366 h 114909"/>
                <a:gd name="connsiteX13" fmla="*/ 141845 w 146288"/>
                <a:gd name="connsiteY13" fmla="*/ 5333 h 11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288" h="114909">
                  <a:moveTo>
                    <a:pt x="145019" y="1905"/>
                  </a:moveTo>
                  <a:cubicBezTo>
                    <a:pt x="145616" y="1409"/>
                    <a:pt x="146060" y="747"/>
                    <a:pt x="146289" y="0"/>
                  </a:cubicBezTo>
                  <a:cubicBezTo>
                    <a:pt x="145426" y="1955"/>
                    <a:pt x="143470" y="3205"/>
                    <a:pt x="141338" y="3174"/>
                  </a:cubicBezTo>
                  <a:cubicBezTo>
                    <a:pt x="140791" y="3295"/>
                    <a:pt x="140233" y="3295"/>
                    <a:pt x="139687" y="3174"/>
                  </a:cubicBezTo>
                  <a:lnTo>
                    <a:pt x="130799" y="508"/>
                  </a:lnTo>
                  <a:lnTo>
                    <a:pt x="3831" y="104494"/>
                  </a:lnTo>
                  <a:lnTo>
                    <a:pt x="1545" y="106398"/>
                  </a:lnTo>
                  <a:cubicBezTo>
                    <a:pt x="-346" y="108068"/>
                    <a:pt x="-524" y="110957"/>
                    <a:pt x="1139" y="112850"/>
                  </a:cubicBezTo>
                  <a:cubicBezTo>
                    <a:pt x="1266" y="112993"/>
                    <a:pt x="1406" y="113129"/>
                    <a:pt x="1545" y="113255"/>
                  </a:cubicBezTo>
                  <a:cubicBezTo>
                    <a:pt x="2599" y="114362"/>
                    <a:pt x="4085" y="114964"/>
                    <a:pt x="5609" y="114905"/>
                  </a:cubicBezTo>
                  <a:cubicBezTo>
                    <a:pt x="6802" y="114896"/>
                    <a:pt x="7970" y="114495"/>
                    <a:pt x="8909" y="113763"/>
                  </a:cubicBezTo>
                  <a:lnTo>
                    <a:pt x="8909" y="113763"/>
                  </a:lnTo>
                  <a:lnTo>
                    <a:pt x="10687" y="112366"/>
                  </a:lnTo>
                  <a:lnTo>
                    <a:pt x="141845" y="5333"/>
                  </a:lnTo>
                  <a:close/>
                </a:path>
              </a:pathLst>
            </a:custGeom>
            <a:solidFill>
              <a:srgbClr val="000000"/>
            </a:solidFill>
            <a:ln w="12690"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B478C04C-D8B7-478E-9BFB-7D046C9B17A2}"/>
                </a:ext>
              </a:extLst>
            </p:cNvPr>
            <p:cNvSpPr/>
            <p:nvPr/>
          </p:nvSpPr>
          <p:spPr>
            <a:xfrm>
              <a:off x="9117463" y="-1"/>
              <a:ext cx="351320" cy="285802"/>
            </a:xfrm>
            <a:custGeom>
              <a:avLst/>
              <a:gdLst>
                <a:gd name="connsiteX0" fmla="*/ 0 w 351320"/>
                <a:gd name="connsiteY0" fmla="*/ 285803 h 285802"/>
                <a:gd name="connsiteX1" fmla="*/ 0 w 351320"/>
                <a:gd name="connsiteY1" fmla="*/ 285676 h 285802"/>
                <a:gd name="connsiteX2" fmla="*/ 351321 w 351320"/>
                <a:gd name="connsiteY2" fmla="*/ 0 h 285802"/>
                <a:gd name="connsiteX3" fmla="*/ 337735 w 351320"/>
                <a:gd name="connsiteY3" fmla="*/ 0 h 285802"/>
                <a:gd name="connsiteX4" fmla="*/ 0 w 351320"/>
                <a:gd name="connsiteY4" fmla="*/ 285803 h 285802"/>
                <a:gd name="connsiteX5" fmla="*/ 0 w 351320"/>
                <a:gd name="connsiteY5" fmla="*/ 285803 h 28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320" h="285802">
                  <a:moveTo>
                    <a:pt x="0" y="285803"/>
                  </a:moveTo>
                  <a:lnTo>
                    <a:pt x="0" y="285676"/>
                  </a:lnTo>
                  <a:lnTo>
                    <a:pt x="351321" y="0"/>
                  </a:lnTo>
                  <a:lnTo>
                    <a:pt x="337735" y="0"/>
                  </a:lnTo>
                  <a:lnTo>
                    <a:pt x="0" y="285803"/>
                  </a:lnTo>
                  <a:lnTo>
                    <a:pt x="0" y="285803"/>
                  </a:lnTo>
                  <a:close/>
                </a:path>
              </a:pathLst>
            </a:custGeom>
            <a:solidFill>
              <a:srgbClr val="000000"/>
            </a:solidFill>
            <a:ln w="12690"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5084A66F-AB4C-442B-A3B6-1DA97F8A121D}"/>
                </a:ext>
              </a:extLst>
            </p:cNvPr>
            <p:cNvSpPr/>
            <p:nvPr/>
          </p:nvSpPr>
          <p:spPr>
            <a:xfrm>
              <a:off x="9124827" y="292911"/>
              <a:ext cx="127" cy="126"/>
            </a:xfrm>
            <a:custGeom>
              <a:avLst/>
              <a:gdLst>
                <a:gd name="connsiteX0" fmla="*/ 0 w 127"/>
                <a:gd name="connsiteY0" fmla="*/ 127 h 126"/>
                <a:gd name="connsiteX1" fmla="*/ 127 w 127"/>
                <a:gd name="connsiteY1" fmla="*/ 0 h 126"/>
                <a:gd name="connsiteX2" fmla="*/ 0 w 127"/>
                <a:gd name="connsiteY2" fmla="*/ 127 h 126"/>
                <a:gd name="connsiteX3" fmla="*/ 0 w 127"/>
                <a:gd name="connsiteY3" fmla="*/ 127 h 126"/>
              </a:gdLst>
              <a:ahLst/>
              <a:cxnLst>
                <a:cxn ang="0">
                  <a:pos x="connsiteX0" y="connsiteY0"/>
                </a:cxn>
                <a:cxn ang="0">
                  <a:pos x="connsiteX1" y="connsiteY1"/>
                </a:cxn>
                <a:cxn ang="0">
                  <a:pos x="connsiteX2" y="connsiteY2"/>
                </a:cxn>
                <a:cxn ang="0">
                  <a:pos x="connsiteX3" y="connsiteY3"/>
                </a:cxn>
              </a:cxnLst>
              <a:rect l="l" t="t" r="r" b="b"/>
              <a:pathLst>
                <a:path w="127" h="126">
                  <a:moveTo>
                    <a:pt x="0" y="127"/>
                  </a:moveTo>
                  <a:lnTo>
                    <a:pt x="127" y="0"/>
                  </a:lnTo>
                  <a:lnTo>
                    <a:pt x="0" y="127"/>
                  </a:lnTo>
                  <a:lnTo>
                    <a:pt x="0" y="127"/>
                  </a:lnTo>
                  <a:close/>
                </a:path>
              </a:pathLst>
            </a:custGeom>
            <a:solidFill>
              <a:srgbClr val="000000"/>
            </a:solidFill>
            <a:ln w="12690"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44E91779-8561-4905-9AC9-3C26C32FAE16}"/>
                </a:ext>
              </a:extLst>
            </p:cNvPr>
            <p:cNvSpPr/>
            <p:nvPr/>
          </p:nvSpPr>
          <p:spPr>
            <a:xfrm>
              <a:off x="8808676" y="-1"/>
              <a:ext cx="539995" cy="449971"/>
            </a:xfrm>
            <a:custGeom>
              <a:avLst/>
              <a:gdLst>
                <a:gd name="connsiteX0" fmla="*/ 2920 w 539995"/>
                <a:gd name="connsiteY0" fmla="*/ 444385 h 449971"/>
                <a:gd name="connsiteX1" fmla="*/ 2920 w 539995"/>
                <a:gd name="connsiteY1" fmla="*/ 444385 h 449971"/>
                <a:gd name="connsiteX2" fmla="*/ 3936 w 539995"/>
                <a:gd name="connsiteY2" fmla="*/ 444385 h 449971"/>
                <a:gd name="connsiteX3" fmla="*/ 4698 w 539995"/>
                <a:gd name="connsiteY3" fmla="*/ 444385 h 449971"/>
                <a:gd name="connsiteX4" fmla="*/ 5332 w 539995"/>
                <a:gd name="connsiteY4" fmla="*/ 445146 h 449971"/>
                <a:gd name="connsiteX5" fmla="*/ 5332 w 539995"/>
                <a:gd name="connsiteY5" fmla="*/ 445908 h 449971"/>
                <a:gd name="connsiteX6" fmla="*/ 5332 w 539995"/>
                <a:gd name="connsiteY6" fmla="*/ 446797 h 449971"/>
                <a:gd name="connsiteX7" fmla="*/ 5332 w 539995"/>
                <a:gd name="connsiteY7" fmla="*/ 447813 h 449971"/>
                <a:gd name="connsiteX8" fmla="*/ 5332 w 539995"/>
                <a:gd name="connsiteY8" fmla="*/ 447813 h 449971"/>
                <a:gd name="connsiteX9" fmla="*/ 5332 w 539995"/>
                <a:gd name="connsiteY9" fmla="*/ 449971 h 449971"/>
                <a:gd name="connsiteX10" fmla="*/ 539996 w 539995"/>
                <a:gd name="connsiteY10" fmla="*/ 0 h 449971"/>
                <a:gd name="connsiteX11" fmla="*/ 524125 w 539995"/>
                <a:gd name="connsiteY11" fmla="*/ 0 h 449971"/>
                <a:gd name="connsiteX12" fmla="*/ 0 w 539995"/>
                <a:gd name="connsiteY12" fmla="*/ 443496 h 44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995" h="449971">
                  <a:moveTo>
                    <a:pt x="2920" y="444385"/>
                  </a:moveTo>
                  <a:lnTo>
                    <a:pt x="2920" y="444385"/>
                  </a:lnTo>
                  <a:lnTo>
                    <a:pt x="3936" y="444385"/>
                  </a:lnTo>
                  <a:lnTo>
                    <a:pt x="4698" y="444385"/>
                  </a:lnTo>
                  <a:lnTo>
                    <a:pt x="5332" y="445146"/>
                  </a:lnTo>
                  <a:lnTo>
                    <a:pt x="5332" y="445908"/>
                  </a:lnTo>
                  <a:cubicBezTo>
                    <a:pt x="5332" y="445908"/>
                    <a:pt x="5332" y="445908"/>
                    <a:pt x="5332" y="446797"/>
                  </a:cubicBezTo>
                  <a:cubicBezTo>
                    <a:pt x="5332" y="447686"/>
                    <a:pt x="5332" y="446797"/>
                    <a:pt x="5332" y="447813"/>
                  </a:cubicBezTo>
                  <a:lnTo>
                    <a:pt x="5332" y="447813"/>
                  </a:lnTo>
                  <a:lnTo>
                    <a:pt x="5332" y="449971"/>
                  </a:lnTo>
                  <a:lnTo>
                    <a:pt x="539996" y="0"/>
                  </a:lnTo>
                  <a:lnTo>
                    <a:pt x="524125" y="0"/>
                  </a:lnTo>
                  <a:lnTo>
                    <a:pt x="0" y="443496"/>
                  </a:lnTo>
                  <a:close/>
                </a:path>
              </a:pathLst>
            </a:custGeom>
            <a:solidFill>
              <a:srgbClr val="000000"/>
            </a:solidFill>
            <a:ln w="12690" cap="flat">
              <a:no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1C5D6871-ABCD-4E10-9823-24E2D54F4555}"/>
                </a:ext>
              </a:extLst>
            </p:cNvPr>
            <p:cNvSpPr/>
            <p:nvPr/>
          </p:nvSpPr>
          <p:spPr>
            <a:xfrm>
              <a:off x="8809945" y="541005"/>
              <a:ext cx="1269" cy="55"/>
            </a:xfrm>
            <a:custGeom>
              <a:avLst/>
              <a:gdLst>
                <a:gd name="connsiteX0" fmla="*/ 0 w 1269"/>
                <a:gd name="connsiteY0" fmla="*/ 0 h 55"/>
                <a:gd name="connsiteX1" fmla="*/ 1269 w 1269"/>
                <a:gd name="connsiteY1" fmla="*/ 0 h 55"/>
                <a:gd name="connsiteX2" fmla="*/ 1269 w 1269"/>
                <a:gd name="connsiteY2" fmla="*/ 0 h 55"/>
                <a:gd name="connsiteX3" fmla="*/ 0 w 1269"/>
                <a:gd name="connsiteY3" fmla="*/ 0 h 55"/>
              </a:gdLst>
              <a:ahLst/>
              <a:cxnLst>
                <a:cxn ang="0">
                  <a:pos x="connsiteX0" y="connsiteY0"/>
                </a:cxn>
                <a:cxn ang="0">
                  <a:pos x="connsiteX1" y="connsiteY1"/>
                </a:cxn>
                <a:cxn ang="0">
                  <a:pos x="connsiteX2" y="connsiteY2"/>
                </a:cxn>
                <a:cxn ang="0">
                  <a:pos x="connsiteX3" y="connsiteY3"/>
                </a:cxn>
              </a:cxnLst>
              <a:rect l="l" t="t" r="r" b="b"/>
              <a:pathLst>
                <a:path w="1269" h="55">
                  <a:moveTo>
                    <a:pt x="0" y="0"/>
                  </a:moveTo>
                  <a:lnTo>
                    <a:pt x="1269" y="0"/>
                  </a:lnTo>
                  <a:lnTo>
                    <a:pt x="1269" y="0"/>
                  </a:lnTo>
                  <a:cubicBezTo>
                    <a:pt x="851" y="74"/>
                    <a:pt x="419" y="74"/>
                    <a:pt x="0" y="0"/>
                  </a:cubicBezTo>
                  <a:close/>
                </a:path>
              </a:pathLst>
            </a:custGeom>
            <a:solidFill>
              <a:srgbClr val="000000"/>
            </a:solidFill>
            <a:ln w="12690" cap="flat">
              <a:no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88FE69FF-D4CA-4A96-A6F8-D8D7D32EFB04}"/>
                </a:ext>
              </a:extLst>
            </p:cNvPr>
            <p:cNvSpPr/>
            <p:nvPr/>
          </p:nvSpPr>
          <p:spPr>
            <a:xfrm>
              <a:off x="8804613" y="449081"/>
              <a:ext cx="10887" cy="83290"/>
            </a:xfrm>
            <a:custGeom>
              <a:avLst/>
              <a:gdLst>
                <a:gd name="connsiteX0" fmla="*/ 5332 w 10887"/>
                <a:gd name="connsiteY0" fmla="*/ 4952 h 83290"/>
                <a:gd name="connsiteX1" fmla="*/ 3682 w 10887"/>
                <a:gd name="connsiteY1" fmla="*/ 4952 h 83290"/>
                <a:gd name="connsiteX2" fmla="*/ 0 w 10887"/>
                <a:gd name="connsiteY2" fmla="*/ 3809 h 83290"/>
                <a:gd name="connsiteX3" fmla="*/ 0 w 10887"/>
                <a:gd name="connsiteY3" fmla="*/ 79989 h 83290"/>
                <a:gd name="connsiteX4" fmla="*/ 7110 w 10887"/>
                <a:gd name="connsiteY4" fmla="*/ 82148 h 83290"/>
                <a:gd name="connsiteX5" fmla="*/ 9141 w 10887"/>
                <a:gd name="connsiteY5" fmla="*/ 83290 h 83290"/>
                <a:gd name="connsiteX6" fmla="*/ 10792 w 10887"/>
                <a:gd name="connsiteY6" fmla="*/ 82021 h 83290"/>
                <a:gd name="connsiteX7" fmla="*/ 10792 w 10887"/>
                <a:gd name="connsiteY7" fmla="*/ 0 h 83290"/>
                <a:gd name="connsiteX8" fmla="*/ 10792 w 10887"/>
                <a:gd name="connsiteY8" fmla="*/ 0 h 83290"/>
                <a:gd name="connsiteX9" fmla="*/ 10792 w 10887"/>
                <a:gd name="connsiteY9" fmla="*/ 1651 h 83290"/>
                <a:gd name="connsiteX10" fmla="*/ 5332 w 10887"/>
                <a:gd name="connsiteY10" fmla="*/ 4952 h 8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7" h="83290">
                  <a:moveTo>
                    <a:pt x="5332" y="4952"/>
                  </a:moveTo>
                  <a:lnTo>
                    <a:pt x="3682" y="4952"/>
                  </a:lnTo>
                  <a:lnTo>
                    <a:pt x="0" y="3809"/>
                  </a:lnTo>
                  <a:lnTo>
                    <a:pt x="0" y="79989"/>
                  </a:lnTo>
                  <a:lnTo>
                    <a:pt x="7110" y="82148"/>
                  </a:lnTo>
                  <a:cubicBezTo>
                    <a:pt x="7846" y="82403"/>
                    <a:pt x="8545" y="82790"/>
                    <a:pt x="9141" y="83290"/>
                  </a:cubicBezTo>
                  <a:lnTo>
                    <a:pt x="10792" y="82021"/>
                  </a:lnTo>
                  <a:lnTo>
                    <a:pt x="10792" y="0"/>
                  </a:lnTo>
                  <a:lnTo>
                    <a:pt x="10792" y="0"/>
                  </a:lnTo>
                  <a:cubicBezTo>
                    <a:pt x="10919" y="543"/>
                    <a:pt x="10919" y="1107"/>
                    <a:pt x="10792" y="1651"/>
                  </a:cubicBezTo>
                  <a:cubicBezTo>
                    <a:pt x="9865" y="3810"/>
                    <a:pt x="7669" y="5140"/>
                    <a:pt x="5332" y="4952"/>
                  </a:cubicBezTo>
                  <a:close/>
                </a:path>
              </a:pathLst>
            </a:custGeom>
            <a:solidFill>
              <a:srgbClr val="000000"/>
            </a:solidFill>
            <a:ln w="12690" cap="flat">
              <a:no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761D5AA0-8D3C-43EA-AD53-28CD95671212}"/>
                </a:ext>
              </a:extLst>
            </p:cNvPr>
            <p:cNvSpPr/>
            <p:nvPr/>
          </p:nvSpPr>
          <p:spPr>
            <a:xfrm>
              <a:off x="7509790" y="60308"/>
              <a:ext cx="888" cy="12696"/>
            </a:xfrm>
            <a:custGeom>
              <a:avLst/>
              <a:gdLst>
                <a:gd name="connsiteX0" fmla="*/ 0 w 888"/>
                <a:gd name="connsiteY0" fmla="*/ 0 h 12696"/>
                <a:gd name="connsiteX1" fmla="*/ 0 w 888"/>
                <a:gd name="connsiteY1" fmla="*/ 0 h 12696"/>
                <a:gd name="connsiteX2" fmla="*/ 889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0" y="0"/>
                  </a:lnTo>
                  <a:lnTo>
                    <a:pt x="889" y="0"/>
                  </a:lnTo>
                  <a:close/>
                </a:path>
              </a:pathLst>
            </a:custGeom>
            <a:solidFill>
              <a:srgbClr val="000000"/>
            </a:solidFill>
            <a:ln w="12690" cap="flat">
              <a:no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42F9D0D9-B47E-4F60-9B6B-CB90D203BE58}"/>
                </a:ext>
              </a:extLst>
            </p:cNvPr>
            <p:cNvSpPr/>
            <p:nvPr/>
          </p:nvSpPr>
          <p:spPr>
            <a:xfrm>
              <a:off x="7511695" y="54975"/>
              <a:ext cx="1303424" cy="398805"/>
            </a:xfrm>
            <a:custGeom>
              <a:avLst/>
              <a:gdLst>
                <a:gd name="connsiteX0" fmla="*/ 652363 w 1303424"/>
                <a:gd name="connsiteY0" fmla="*/ 203909 h 398805"/>
                <a:gd name="connsiteX1" fmla="*/ 1292791 w 1303424"/>
                <a:gd name="connsiteY1" fmla="*/ 397661 h 398805"/>
                <a:gd name="connsiteX2" fmla="*/ 1296473 w 1303424"/>
                <a:gd name="connsiteY2" fmla="*/ 398804 h 398805"/>
                <a:gd name="connsiteX3" fmla="*/ 1298123 w 1303424"/>
                <a:gd name="connsiteY3" fmla="*/ 398804 h 398805"/>
                <a:gd name="connsiteX4" fmla="*/ 1303329 w 1303424"/>
                <a:gd name="connsiteY4" fmla="*/ 395375 h 398805"/>
                <a:gd name="connsiteX5" fmla="*/ 1303329 w 1303424"/>
                <a:gd name="connsiteY5" fmla="*/ 393725 h 398805"/>
                <a:gd name="connsiteX6" fmla="*/ 1303329 w 1303424"/>
                <a:gd name="connsiteY6" fmla="*/ 392709 h 398805"/>
                <a:gd name="connsiteX7" fmla="*/ 1303329 w 1303424"/>
                <a:gd name="connsiteY7" fmla="*/ 391820 h 398805"/>
                <a:gd name="connsiteX8" fmla="*/ 1303329 w 1303424"/>
                <a:gd name="connsiteY8" fmla="*/ 391059 h 398805"/>
                <a:gd name="connsiteX9" fmla="*/ 1302694 w 1303424"/>
                <a:gd name="connsiteY9" fmla="*/ 390297 h 398805"/>
                <a:gd name="connsiteX10" fmla="*/ 1301932 w 1303424"/>
                <a:gd name="connsiteY10" fmla="*/ 390297 h 398805"/>
                <a:gd name="connsiteX11" fmla="*/ 1299901 w 1303424"/>
                <a:gd name="connsiteY11" fmla="*/ 389408 h 398805"/>
                <a:gd name="connsiteX12" fmla="*/ 1299901 w 1303424"/>
                <a:gd name="connsiteY12" fmla="*/ 389408 h 398805"/>
                <a:gd name="connsiteX13" fmla="*/ 1296854 w 1303424"/>
                <a:gd name="connsiteY13" fmla="*/ 388392 h 398805"/>
                <a:gd name="connsiteX14" fmla="*/ 12443 w 1303424"/>
                <a:gd name="connsiteY14" fmla="*/ 0 h 398805"/>
                <a:gd name="connsiteX15" fmla="*/ 5460 w 1303424"/>
                <a:gd name="connsiteY15" fmla="*/ 5587 h 398805"/>
                <a:gd name="connsiteX16" fmla="*/ 1905 w 1303424"/>
                <a:gd name="connsiteY16" fmla="*/ 6856 h 398805"/>
                <a:gd name="connsiteX17" fmla="*/ 0 w 1303424"/>
                <a:gd name="connsiteY17" fmla="*/ 6856 h 398805"/>
                <a:gd name="connsiteX18" fmla="*/ 0 w 1303424"/>
                <a:gd name="connsiteY18" fmla="*/ 6856 h 3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3424" h="398805">
                  <a:moveTo>
                    <a:pt x="652363" y="203909"/>
                  </a:moveTo>
                  <a:lnTo>
                    <a:pt x="1292791" y="397661"/>
                  </a:lnTo>
                  <a:lnTo>
                    <a:pt x="1296473" y="398804"/>
                  </a:lnTo>
                  <a:lnTo>
                    <a:pt x="1298123" y="398804"/>
                  </a:lnTo>
                  <a:cubicBezTo>
                    <a:pt x="1300409" y="398861"/>
                    <a:pt x="1302479" y="397493"/>
                    <a:pt x="1303329" y="395375"/>
                  </a:cubicBezTo>
                  <a:cubicBezTo>
                    <a:pt x="1303457" y="394832"/>
                    <a:pt x="1303457" y="394268"/>
                    <a:pt x="1303329" y="393725"/>
                  </a:cubicBezTo>
                  <a:cubicBezTo>
                    <a:pt x="1303329" y="393725"/>
                    <a:pt x="1303329" y="392963"/>
                    <a:pt x="1303329" y="392709"/>
                  </a:cubicBezTo>
                  <a:cubicBezTo>
                    <a:pt x="1303329" y="392455"/>
                    <a:pt x="1303329" y="392074"/>
                    <a:pt x="1303329" y="391820"/>
                  </a:cubicBezTo>
                  <a:lnTo>
                    <a:pt x="1303329" y="391059"/>
                  </a:lnTo>
                  <a:lnTo>
                    <a:pt x="1302694" y="390297"/>
                  </a:lnTo>
                  <a:lnTo>
                    <a:pt x="1301932" y="390297"/>
                  </a:lnTo>
                  <a:lnTo>
                    <a:pt x="1299901" y="389408"/>
                  </a:lnTo>
                  <a:lnTo>
                    <a:pt x="1299901" y="389408"/>
                  </a:lnTo>
                  <a:lnTo>
                    <a:pt x="1296854" y="388392"/>
                  </a:lnTo>
                  <a:lnTo>
                    <a:pt x="12443" y="0"/>
                  </a:lnTo>
                  <a:lnTo>
                    <a:pt x="5460" y="5587"/>
                  </a:lnTo>
                  <a:cubicBezTo>
                    <a:pt x="4469" y="6429"/>
                    <a:pt x="3200" y="6881"/>
                    <a:pt x="1905" y="6856"/>
                  </a:cubicBezTo>
                  <a:cubicBezTo>
                    <a:pt x="1283" y="7002"/>
                    <a:pt x="622" y="7002"/>
                    <a:pt x="0" y="6856"/>
                  </a:cubicBezTo>
                  <a:lnTo>
                    <a:pt x="0" y="6856"/>
                  </a:lnTo>
                  <a:close/>
                </a:path>
              </a:pathLst>
            </a:custGeom>
            <a:solidFill>
              <a:srgbClr val="000000"/>
            </a:solidFill>
            <a:ln w="12690"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72D57141-23BD-4298-A15E-5FC272C5CB68}"/>
                </a:ext>
              </a:extLst>
            </p:cNvPr>
            <p:cNvSpPr/>
            <p:nvPr/>
          </p:nvSpPr>
          <p:spPr>
            <a:xfrm>
              <a:off x="7508394" y="54467"/>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A9DF03D9-8D05-40E4-B67D-92157CF66791}"/>
                </a:ext>
              </a:extLst>
            </p:cNvPr>
            <p:cNvSpPr/>
            <p:nvPr/>
          </p:nvSpPr>
          <p:spPr>
            <a:xfrm>
              <a:off x="10965739" y="-1"/>
              <a:ext cx="252159" cy="205178"/>
            </a:xfrm>
            <a:custGeom>
              <a:avLst/>
              <a:gdLst>
                <a:gd name="connsiteX0" fmla="*/ 1651 w 252159"/>
                <a:gd name="connsiteY0" fmla="*/ 201624 h 205178"/>
                <a:gd name="connsiteX1" fmla="*/ 1651 w 252159"/>
                <a:gd name="connsiteY1" fmla="*/ 202512 h 205178"/>
                <a:gd name="connsiteX2" fmla="*/ 1651 w 252159"/>
                <a:gd name="connsiteY2" fmla="*/ 203147 h 205178"/>
                <a:gd name="connsiteX3" fmla="*/ 1651 w 252159"/>
                <a:gd name="connsiteY3" fmla="*/ 203147 h 205178"/>
                <a:gd name="connsiteX4" fmla="*/ 0 w 252159"/>
                <a:gd name="connsiteY4" fmla="*/ 205179 h 205178"/>
                <a:gd name="connsiteX5" fmla="*/ 0 w 252159"/>
                <a:gd name="connsiteY5" fmla="*/ 205179 h 205178"/>
                <a:gd name="connsiteX6" fmla="*/ 252160 w 252159"/>
                <a:gd name="connsiteY6" fmla="*/ 0 h 205178"/>
                <a:gd name="connsiteX7" fmla="*/ 236034 w 252159"/>
                <a:gd name="connsiteY7" fmla="*/ 0 h 205178"/>
                <a:gd name="connsiteX8" fmla="*/ 1651 w 252159"/>
                <a:gd name="connsiteY8" fmla="*/ 190451 h 20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159" h="205178">
                  <a:moveTo>
                    <a:pt x="1651" y="201624"/>
                  </a:moveTo>
                  <a:cubicBezTo>
                    <a:pt x="1689" y="201918"/>
                    <a:pt x="1689" y="202218"/>
                    <a:pt x="1651" y="202512"/>
                  </a:cubicBezTo>
                  <a:cubicBezTo>
                    <a:pt x="1714" y="202719"/>
                    <a:pt x="1714" y="202940"/>
                    <a:pt x="1651" y="203147"/>
                  </a:cubicBezTo>
                  <a:lnTo>
                    <a:pt x="1651" y="203147"/>
                  </a:lnTo>
                  <a:cubicBezTo>
                    <a:pt x="1321" y="203979"/>
                    <a:pt x="749" y="204689"/>
                    <a:pt x="0" y="205179"/>
                  </a:cubicBezTo>
                  <a:lnTo>
                    <a:pt x="0" y="205179"/>
                  </a:lnTo>
                  <a:lnTo>
                    <a:pt x="252160" y="0"/>
                  </a:lnTo>
                  <a:lnTo>
                    <a:pt x="236034" y="0"/>
                  </a:lnTo>
                  <a:lnTo>
                    <a:pt x="1651" y="190451"/>
                  </a:lnTo>
                  <a:close/>
                </a:path>
              </a:pathLst>
            </a:custGeom>
            <a:solidFill>
              <a:srgbClr val="000000"/>
            </a:solidFill>
            <a:ln w="12690" cap="flat">
              <a:no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48028C5A-E163-4412-A7DF-23708D288937}"/>
                </a:ext>
              </a:extLst>
            </p:cNvPr>
            <p:cNvSpPr/>
            <p:nvPr/>
          </p:nvSpPr>
          <p:spPr>
            <a:xfrm>
              <a:off x="10458247" y="46722"/>
              <a:ext cx="503555" cy="160361"/>
            </a:xfrm>
            <a:custGeom>
              <a:avLst/>
              <a:gdLst>
                <a:gd name="connsiteX0" fmla="*/ 498223 w 503555"/>
                <a:gd name="connsiteY0" fmla="*/ 154900 h 160361"/>
                <a:gd name="connsiteX1" fmla="*/ 498223 w 503555"/>
                <a:gd name="connsiteY1" fmla="*/ 148171 h 160361"/>
                <a:gd name="connsiteX2" fmla="*/ 7237 w 503555"/>
                <a:gd name="connsiteY2" fmla="*/ 0 h 160361"/>
                <a:gd name="connsiteX3" fmla="*/ 7237 w 503555"/>
                <a:gd name="connsiteY3" fmla="*/ 4063 h 160361"/>
                <a:gd name="connsiteX4" fmla="*/ 1917 w 503555"/>
                <a:gd name="connsiteY4" fmla="*/ 8888 h 160361"/>
                <a:gd name="connsiteX5" fmla="*/ 1905 w 503555"/>
                <a:gd name="connsiteY5" fmla="*/ 8888 h 160361"/>
                <a:gd name="connsiteX6" fmla="*/ 0 w 503555"/>
                <a:gd name="connsiteY6" fmla="*/ 8888 h 160361"/>
                <a:gd name="connsiteX7" fmla="*/ 0 w 503555"/>
                <a:gd name="connsiteY7" fmla="*/ 8888 h 160361"/>
                <a:gd name="connsiteX8" fmla="*/ 501905 w 503555"/>
                <a:gd name="connsiteY8" fmla="*/ 160359 h 160361"/>
                <a:gd name="connsiteX9" fmla="*/ 503556 w 503555"/>
                <a:gd name="connsiteY9" fmla="*/ 160359 h 160361"/>
                <a:gd name="connsiteX10" fmla="*/ 498223 w 503555"/>
                <a:gd name="connsiteY10" fmla="*/ 155288 h 160361"/>
                <a:gd name="connsiteX11" fmla="*/ 498223 w 503555"/>
                <a:gd name="connsiteY11" fmla="*/ 154900 h 160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555" h="160361">
                  <a:moveTo>
                    <a:pt x="498223" y="154900"/>
                  </a:moveTo>
                  <a:lnTo>
                    <a:pt x="498223" y="148171"/>
                  </a:lnTo>
                  <a:lnTo>
                    <a:pt x="7237" y="0"/>
                  </a:lnTo>
                  <a:lnTo>
                    <a:pt x="7237" y="4063"/>
                  </a:lnTo>
                  <a:cubicBezTo>
                    <a:pt x="7098" y="6864"/>
                    <a:pt x="4723" y="9025"/>
                    <a:pt x="1917" y="8888"/>
                  </a:cubicBezTo>
                  <a:cubicBezTo>
                    <a:pt x="1917" y="8888"/>
                    <a:pt x="1905" y="8888"/>
                    <a:pt x="1905" y="8888"/>
                  </a:cubicBezTo>
                  <a:lnTo>
                    <a:pt x="0" y="8888"/>
                  </a:lnTo>
                  <a:lnTo>
                    <a:pt x="0" y="8888"/>
                  </a:lnTo>
                  <a:lnTo>
                    <a:pt x="501905" y="160359"/>
                  </a:lnTo>
                  <a:lnTo>
                    <a:pt x="503556" y="160359"/>
                  </a:lnTo>
                  <a:cubicBezTo>
                    <a:pt x="500687" y="160433"/>
                    <a:pt x="498287" y="158163"/>
                    <a:pt x="498223" y="155288"/>
                  </a:cubicBezTo>
                  <a:cubicBezTo>
                    <a:pt x="498211" y="155159"/>
                    <a:pt x="498223" y="155029"/>
                    <a:pt x="498223" y="154900"/>
                  </a:cubicBezTo>
                  <a:close/>
                </a:path>
              </a:pathLst>
            </a:custGeom>
            <a:solidFill>
              <a:srgbClr val="000000"/>
            </a:solidFill>
            <a:ln w="12690" cap="flat">
              <a:no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8E30249A-CA89-412A-966E-DEC8648EFF50}"/>
                </a:ext>
              </a:extLst>
            </p:cNvPr>
            <p:cNvSpPr/>
            <p:nvPr/>
          </p:nvSpPr>
          <p:spPr>
            <a:xfrm>
              <a:off x="10967009" y="20251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cubicBezTo>
                    <a:pt x="64" y="428"/>
                    <a:pt x="64" y="207"/>
                    <a:pt x="0" y="0"/>
                  </a:cubicBezTo>
                  <a:cubicBezTo>
                    <a:pt x="0" y="0"/>
                    <a:pt x="0" y="0"/>
                    <a:pt x="0" y="762"/>
                  </a:cubicBezTo>
                  <a:close/>
                </a:path>
              </a:pathLst>
            </a:custGeom>
            <a:solidFill>
              <a:srgbClr val="000000"/>
            </a:solidFill>
            <a:ln w="12690"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0308861B-CB72-4D9A-9DF6-D64631F05833}"/>
                </a:ext>
              </a:extLst>
            </p:cNvPr>
            <p:cNvSpPr/>
            <p:nvPr/>
          </p:nvSpPr>
          <p:spPr>
            <a:xfrm>
              <a:off x="10956471" y="100683"/>
              <a:ext cx="10694" cy="106389"/>
            </a:xfrm>
            <a:custGeom>
              <a:avLst/>
              <a:gdLst>
                <a:gd name="connsiteX0" fmla="*/ 10666 w 10694"/>
                <a:gd name="connsiteY0" fmla="*/ 102462 h 106389"/>
                <a:gd name="connsiteX1" fmla="*/ 10666 w 10694"/>
                <a:gd name="connsiteY1" fmla="*/ 101574 h 106389"/>
                <a:gd name="connsiteX2" fmla="*/ 10666 w 10694"/>
                <a:gd name="connsiteY2" fmla="*/ 0 h 106389"/>
                <a:gd name="connsiteX3" fmla="*/ 8761 w 10694"/>
                <a:gd name="connsiteY3" fmla="*/ 1397 h 106389"/>
                <a:gd name="connsiteX4" fmla="*/ 8761 w 10694"/>
                <a:gd name="connsiteY4" fmla="*/ 1397 h 106389"/>
                <a:gd name="connsiteX5" fmla="*/ 5460 w 10694"/>
                <a:gd name="connsiteY5" fmla="*/ 2539 h 106389"/>
                <a:gd name="connsiteX6" fmla="*/ 3809 w 10694"/>
                <a:gd name="connsiteY6" fmla="*/ 2539 h 106389"/>
                <a:gd name="connsiteX7" fmla="*/ 0 w 10694"/>
                <a:gd name="connsiteY7" fmla="*/ 1397 h 106389"/>
                <a:gd name="connsiteX8" fmla="*/ 0 w 10694"/>
                <a:gd name="connsiteY8" fmla="*/ 101447 h 106389"/>
                <a:gd name="connsiteX9" fmla="*/ 5714 w 10694"/>
                <a:gd name="connsiteY9" fmla="*/ 106376 h 106389"/>
                <a:gd name="connsiteX10" fmla="*/ 8253 w 10694"/>
                <a:gd name="connsiteY10" fmla="*/ 105510 h 106389"/>
                <a:gd name="connsiteX11" fmla="*/ 8253 w 10694"/>
                <a:gd name="connsiteY11" fmla="*/ 105510 h 106389"/>
                <a:gd name="connsiteX12" fmla="*/ 8253 w 10694"/>
                <a:gd name="connsiteY12" fmla="*/ 105510 h 106389"/>
                <a:gd name="connsiteX13" fmla="*/ 9904 w 10694"/>
                <a:gd name="connsiteY13" fmla="*/ 103478 h 106389"/>
                <a:gd name="connsiteX14" fmla="*/ 10666 w 10694"/>
                <a:gd name="connsiteY14" fmla="*/ 102462 h 10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94" h="106389">
                  <a:moveTo>
                    <a:pt x="10666" y="102462"/>
                  </a:moveTo>
                  <a:cubicBezTo>
                    <a:pt x="10704" y="102168"/>
                    <a:pt x="10704" y="101868"/>
                    <a:pt x="10666" y="101574"/>
                  </a:cubicBezTo>
                  <a:lnTo>
                    <a:pt x="10666" y="0"/>
                  </a:lnTo>
                  <a:lnTo>
                    <a:pt x="8761" y="1397"/>
                  </a:lnTo>
                  <a:lnTo>
                    <a:pt x="8761" y="1397"/>
                  </a:lnTo>
                  <a:cubicBezTo>
                    <a:pt x="7808" y="2113"/>
                    <a:pt x="6653" y="2512"/>
                    <a:pt x="5460" y="2539"/>
                  </a:cubicBezTo>
                  <a:lnTo>
                    <a:pt x="3809" y="2539"/>
                  </a:lnTo>
                  <a:lnTo>
                    <a:pt x="0" y="1397"/>
                  </a:lnTo>
                  <a:lnTo>
                    <a:pt x="0" y="101447"/>
                  </a:lnTo>
                  <a:cubicBezTo>
                    <a:pt x="216" y="104383"/>
                    <a:pt x="2768" y="106590"/>
                    <a:pt x="5714" y="106376"/>
                  </a:cubicBezTo>
                  <a:cubicBezTo>
                    <a:pt x="6615" y="106308"/>
                    <a:pt x="7491" y="106011"/>
                    <a:pt x="8253" y="105510"/>
                  </a:cubicBezTo>
                  <a:lnTo>
                    <a:pt x="8253" y="105510"/>
                  </a:lnTo>
                  <a:lnTo>
                    <a:pt x="8253" y="105510"/>
                  </a:lnTo>
                  <a:cubicBezTo>
                    <a:pt x="9002" y="105020"/>
                    <a:pt x="9574" y="104310"/>
                    <a:pt x="9904" y="103478"/>
                  </a:cubicBezTo>
                  <a:cubicBezTo>
                    <a:pt x="9904" y="103478"/>
                    <a:pt x="10666" y="102462"/>
                    <a:pt x="10666" y="102462"/>
                  </a:cubicBezTo>
                  <a:close/>
                </a:path>
              </a:pathLst>
            </a:custGeom>
            <a:solidFill>
              <a:srgbClr val="000000"/>
            </a:solidFill>
            <a:ln w="12690" cap="flat">
              <a:no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19A02832-D595-4457-BFDB-4D132E84ABBC}"/>
                </a:ext>
              </a:extLst>
            </p:cNvPr>
            <p:cNvSpPr/>
            <p:nvPr/>
          </p:nvSpPr>
          <p:spPr>
            <a:xfrm>
              <a:off x="10961930" y="101826"/>
              <a:ext cx="3301" cy="1142"/>
            </a:xfrm>
            <a:custGeom>
              <a:avLst/>
              <a:gdLst>
                <a:gd name="connsiteX0" fmla="*/ 0 w 3301"/>
                <a:gd name="connsiteY0" fmla="*/ 1143 h 1142"/>
                <a:gd name="connsiteX1" fmla="*/ 3301 w 3301"/>
                <a:gd name="connsiteY1" fmla="*/ 0 h 1142"/>
                <a:gd name="connsiteX2" fmla="*/ 0 w 3301"/>
                <a:gd name="connsiteY2" fmla="*/ 1143 h 1142"/>
              </a:gdLst>
              <a:ahLst/>
              <a:cxnLst>
                <a:cxn ang="0">
                  <a:pos x="connsiteX0" y="connsiteY0"/>
                </a:cxn>
                <a:cxn ang="0">
                  <a:pos x="connsiteX1" y="connsiteY1"/>
                </a:cxn>
                <a:cxn ang="0">
                  <a:pos x="connsiteX2" y="connsiteY2"/>
                </a:cxn>
              </a:cxnLst>
              <a:rect l="l" t="t" r="r" b="b"/>
              <a:pathLst>
                <a:path w="3301" h="1142">
                  <a:moveTo>
                    <a:pt x="0" y="1143"/>
                  </a:moveTo>
                  <a:cubicBezTo>
                    <a:pt x="1193" y="1116"/>
                    <a:pt x="2349" y="716"/>
                    <a:pt x="3301" y="0"/>
                  </a:cubicBezTo>
                  <a:cubicBezTo>
                    <a:pt x="2362" y="732"/>
                    <a:pt x="1193" y="1134"/>
                    <a:pt x="0" y="1143"/>
                  </a:cubicBezTo>
                  <a:close/>
                </a:path>
              </a:pathLst>
            </a:custGeom>
            <a:solidFill>
              <a:srgbClr val="000000"/>
            </a:solidFill>
            <a:ln w="12690" cap="flat">
              <a:no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130E8B97-E5A2-4446-9547-7E05488C5910}"/>
                </a:ext>
              </a:extLst>
            </p:cNvPr>
            <p:cNvSpPr/>
            <p:nvPr/>
          </p:nvSpPr>
          <p:spPr>
            <a:xfrm>
              <a:off x="10619751" y="-1"/>
              <a:ext cx="342179" cy="102817"/>
            </a:xfrm>
            <a:custGeom>
              <a:avLst/>
              <a:gdLst>
                <a:gd name="connsiteX0" fmla="*/ 340529 w 342179"/>
                <a:gd name="connsiteY0" fmla="*/ 102716 h 102817"/>
                <a:gd name="connsiteX1" fmla="*/ 342180 w 342179"/>
                <a:gd name="connsiteY1" fmla="*/ 102716 h 102817"/>
                <a:gd name="connsiteX2" fmla="*/ 337609 w 342179"/>
                <a:gd name="connsiteY2" fmla="*/ 101574 h 102817"/>
                <a:gd name="connsiteX3" fmla="*/ 337203 w 342179"/>
                <a:gd name="connsiteY3" fmla="*/ 95122 h 102817"/>
                <a:gd name="connsiteX4" fmla="*/ 337609 w 342179"/>
                <a:gd name="connsiteY4" fmla="*/ 94717 h 102817"/>
                <a:gd name="connsiteX5" fmla="*/ 339894 w 342179"/>
                <a:gd name="connsiteY5" fmla="*/ 92813 h 102817"/>
                <a:gd name="connsiteX6" fmla="*/ 34282 w 342179"/>
                <a:gd name="connsiteY6" fmla="*/ 0 h 102817"/>
                <a:gd name="connsiteX7" fmla="*/ 0 w 342179"/>
                <a:gd name="connsiteY7" fmla="*/ 0 h 102817"/>
                <a:gd name="connsiteX8" fmla="*/ 336720 w 342179"/>
                <a:gd name="connsiteY8" fmla="*/ 101574 h 10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79" h="102817">
                  <a:moveTo>
                    <a:pt x="340529" y="102716"/>
                  </a:moveTo>
                  <a:lnTo>
                    <a:pt x="342180" y="102716"/>
                  </a:lnTo>
                  <a:cubicBezTo>
                    <a:pt x="340567" y="103028"/>
                    <a:pt x="338891" y="102610"/>
                    <a:pt x="337609" y="101574"/>
                  </a:cubicBezTo>
                  <a:cubicBezTo>
                    <a:pt x="335717" y="99904"/>
                    <a:pt x="335539" y="97016"/>
                    <a:pt x="337203" y="95122"/>
                  </a:cubicBezTo>
                  <a:cubicBezTo>
                    <a:pt x="337330" y="94979"/>
                    <a:pt x="337469" y="94844"/>
                    <a:pt x="337609" y="94717"/>
                  </a:cubicBezTo>
                  <a:lnTo>
                    <a:pt x="339894" y="92813"/>
                  </a:lnTo>
                  <a:lnTo>
                    <a:pt x="34282" y="0"/>
                  </a:lnTo>
                  <a:lnTo>
                    <a:pt x="0" y="0"/>
                  </a:lnTo>
                  <a:lnTo>
                    <a:pt x="336720" y="101574"/>
                  </a:lnTo>
                  <a:close/>
                </a:path>
              </a:pathLst>
            </a:custGeom>
            <a:solidFill>
              <a:srgbClr val="000000"/>
            </a:solidFill>
            <a:ln w="12690" cap="flat">
              <a:no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B0B8F8AE-8237-43E9-A7CD-D7E3E6E68A2B}"/>
                </a:ext>
              </a:extLst>
            </p:cNvPr>
            <p:cNvSpPr/>
            <p:nvPr/>
          </p:nvSpPr>
          <p:spPr>
            <a:xfrm>
              <a:off x="10956093" y="379"/>
              <a:ext cx="133693" cy="102844"/>
            </a:xfrm>
            <a:custGeom>
              <a:avLst/>
              <a:gdLst>
                <a:gd name="connsiteX0" fmla="*/ 2282 w 133693"/>
                <a:gd name="connsiteY0" fmla="*/ 94083 h 102844"/>
                <a:gd name="connsiteX1" fmla="*/ 618 w 133693"/>
                <a:gd name="connsiteY1" fmla="*/ 100329 h 102844"/>
                <a:gd name="connsiteX2" fmla="*/ 1266 w 133693"/>
                <a:gd name="connsiteY2" fmla="*/ 101193 h 102844"/>
                <a:gd name="connsiteX3" fmla="*/ 5329 w 133693"/>
                <a:gd name="connsiteY3" fmla="*/ 102843 h 102844"/>
                <a:gd name="connsiteX4" fmla="*/ 8630 w 133693"/>
                <a:gd name="connsiteY4" fmla="*/ 101701 h 102844"/>
                <a:gd name="connsiteX5" fmla="*/ 8630 w 133693"/>
                <a:gd name="connsiteY5" fmla="*/ 101701 h 102844"/>
                <a:gd name="connsiteX6" fmla="*/ 10534 w 133693"/>
                <a:gd name="connsiteY6" fmla="*/ 100304 h 102844"/>
                <a:gd name="connsiteX7" fmla="*/ 133694 w 133693"/>
                <a:gd name="connsiteY7" fmla="*/ 0 h 102844"/>
                <a:gd name="connsiteX8" fmla="*/ 117569 w 133693"/>
                <a:gd name="connsiteY8" fmla="*/ 0 h 102844"/>
                <a:gd name="connsiteX9" fmla="*/ 3297 w 133693"/>
                <a:gd name="connsiteY9" fmla="*/ 92559 h 1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693" h="102844">
                  <a:moveTo>
                    <a:pt x="2282" y="94083"/>
                  </a:moveTo>
                  <a:cubicBezTo>
                    <a:pt x="98" y="95348"/>
                    <a:pt x="-651" y="98145"/>
                    <a:pt x="618" y="100329"/>
                  </a:cubicBezTo>
                  <a:cubicBezTo>
                    <a:pt x="796" y="100641"/>
                    <a:pt x="1012" y="100931"/>
                    <a:pt x="1266" y="101193"/>
                  </a:cubicBezTo>
                  <a:cubicBezTo>
                    <a:pt x="2332" y="102274"/>
                    <a:pt x="3806" y="102870"/>
                    <a:pt x="5329" y="102843"/>
                  </a:cubicBezTo>
                  <a:cubicBezTo>
                    <a:pt x="6523" y="102834"/>
                    <a:pt x="7690" y="102433"/>
                    <a:pt x="8630" y="101701"/>
                  </a:cubicBezTo>
                  <a:lnTo>
                    <a:pt x="8630" y="101701"/>
                  </a:lnTo>
                  <a:lnTo>
                    <a:pt x="10534" y="100304"/>
                  </a:lnTo>
                  <a:lnTo>
                    <a:pt x="133694" y="0"/>
                  </a:lnTo>
                  <a:lnTo>
                    <a:pt x="117569" y="0"/>
                  </a:lnTo>
                  <a:lnTo>
                    <a:pt x="3297" y="92559"/>
                  </a:lnTo>
                  <a:close/>
                </a:path>
              </a:pathLst>
            </a:custGeom>
            <a:solidFill>
              <a:srgbClr val="000000"/>
            </a:solidFill>
            <a:ln w="12690" cap="flat">
              <a:noFill/>
              <a:prstDash val="solid"/>
              <a:miter/>
            </a:ln>
          </p:spPr>
          <p:txBody>
            <a:bodyPr rtlCol="0" anchor="ctr"/>
            <a:lstStyle/>
            <a:p>
              <a:endParaRPr lang="en-US"/>
            </a:p>
          </p:txBody>
        </p:sp>
        <p:sp>
          <p:nvSpPr>
            <p:cNvPr id="185" name="Freeform: Shape 184">
              <a:extLst>
                <a:ext uri="{FF2B5EF4-FFF2-40B4-BE49-F238E27FC236}">
                  <a16:creationId xmlns:a16="http://schemas.microsoft.com/office/drawing/2014/main" id="{B0EB8C45-A9C3-4CB5-90A0-50D773E99A74}"/>
                </a:ext>
              </a:extLst>
            </p:cNvPr>
            <p:cNvSpPr/>
            <p:nvPr/>
          </p:nvSpPr>
          <p:spPr>
            <a:xfrm>
              <a:off x="7874316" y="829982"/>
              <a:ext cx="136490" cy="116174"/>
            </a:xfrm>
            <a:custGeom>
              <a:avLst/>
              <a:gdLst>
                <a:gd name="connsiteX0" fmla="*/ 127350 w 136490"/>
                <a:gd name="connsiteY0" fmla="*/ 2158 h 116174"/>
                <a:gd name="connsiteX1" fmla="*/ 127350 w 136490"/>
                <a:gd name="connsiteY1" fmla="*/ 0 h 116174"/>
                <a:gd name="connsiteX2" fmla="*/ 1651 w 136490"/>
                <a:gd name="connsiteY2" fmla="*/ 101574 h 116174"/>
                <a:gd name="connsiteX3" fmla="*/ 1651 w 136490"/>
                <a:gd name="connsiteY3" fmla="*/ 112620 h 116174"/>
                <a:gd name="connsiteX4" fmla="*/ 1651 w 136490"/>
                <a:gd name="connsiteY4" fmla="*/ 113382 h 116174"/>
                <a:gd name="connsiteX5" fmla="*/ 1651 w 136490"/>
                <a:gd name="connsiteY5" fmla="*/ 114143 h 116174"/>
                <a:gd name="connsiteX6" fmla="*/ 1651 w 136490"/>
                <a:gd name="connsiteY6" fmla="*/ 114143 h 116174"/>
                <a:gd name="connsiteX7" fmla="*/ 0 w 136490"/>
                <a:gd name="connsiteY7" fmla="*/ 116175 h 116174"/>
                <a:gd name="connsiteX8" fmla="*/ 0 w 136490"/>
                <a:gd name="connsiteY8" fmla="*/ 116175 h 116174"/>
                <a:gd name="connsiteX9" fmla="*/ 136491 w 136490"/>
                <a:gd name="connsiteY9" fmla="*/ 5079 h 116174"/>
                <a:gd name="connsiteX10" fmla="*/ 136491 w 136490"/>
                <a:gd name="connsiteY10" fmla="*/ 5079 h 116174"/>
                <a:gd name="connsiteX11" fmla="*/ 132809 w 136490"/>
                <a:gd name="connsiteY11" fmla="*/ 6475 h 116174"/>
                <a:gd name="connsiteX12" fmla="*/ 127350 w 136490"/>
                <a:gd name="connsiteY12" fmla="*/ 2158 h 11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490" h="116174">
                  <a:moveTo>
                    <a:pt x="127350" y="2158"/>
                  </a:moveTo>
                  <a:lnTo>
                    <a:pt x="127350" y="0"/>
                  </a:lnTo>
                  <a:lnTo>
                    <a:pt x="1651" y="101574"/>
                  </a:lnTo>
                  <a:lnTo>
                    <a:pt x="1651" y="112620"/>
                  </a:lnTo>
                  <a:cubicBezTo>
                    <a:pt x="1702" y="112871"/>
                    <a:pt x="1702" y="113130"/>
                    <a:pt x="1651" y="113382"/>
                  </a:cubicBezTo>
                  <a:lnTo>
                    <a:pt x="1651" y="114143"/>
                  </a:lnTo>
                  <a:lnTo>
                    <a:pt x="1651" y="114143"/>
                  </a:lnTo>
                  <a:cubicBezTo>
                    <a:pt x="1283" y="114953"/>
                    <a:pt x="724" y="115653"/>
                    <a:pt x="0" y="116175"/>
                  </a:cubicBezTo>
                  <a:lnTo>
                    <a:pt x="0" y="116175"/>
                  </a:lnTo>
                  <a:lnTo>
                    <a:pt x="136491" y="5079"/>
                  </a:lnTo>
                  <a:lnTo>
                    <a:pt x="136491" y="5079"/>
                  </a:lnTo>
                  <a:cubicBezTo>
                    <a:pt x="135475" y="5975"/>
                    <a:pt x="134168" y="6471"/>
                    <a:pt x="132809" y="6475"/>
                  </a:cubicBezTo>
                  <a:cubicBezTo>
                    <a:pt x="130156" y="6643"/>
                    <a:pt x="127794" y="4782"/>
                    <a:pt x="127350" y="2158"/>
                  </a:cubicBezTo>
                  <a:close/>
                </a:path>
              </a:pathLst>
            </a:custGeom>
            <a:solidFill>
              <a:srgbClr val="000000"/>
            </a:solidFill>
            <a:ln w="12690" cap="flat">
              <a:noFill/>
              <a:prstDash val="solid"/>
              <a:miter/>
            </a:ln>
          </p:spPr>
          <p:txBody>
            <a:bodyPr rtlCol="0" anchor="ctr"/>
            <a:lstStyle/>
            <a:p>
              <a:endParaRPr lang="en-US"/>
            </a:p>
          </p:txBody>
        </p:sp>
        <p:sp>
          <p:nvSpPr>
            <p:cNvPr id="186" name="Freeform: Shape 185">
              <a:extLst>
                <a:ext uri="{FF2B5EF4-FFF2-40B4-BE49-F238E27FC236}">
                  <a16:creationId xmlns:a16="http://schemas.microsoft.com/office/drawing/2014/main" id="{E7D2EF1A-0744-473A-8057-8C2CE9AF8413}"/>
                </a:ext>
              </a:extLst>
            </p:cNvPr>
            <p:cNvSpPr/>
            <p:nvPr/>
          </p:nvSpPr>
          <p:spPr>
            <a:xfrm>
              <a:off x="6283531" y="459238"/>
              <a:ext cx="1586976" cy="488698"/>
            </a:xfrm>
            <a:custGeom>
              <a:avLst/>
              <a:gdLst>
                <a:gd name="connsiteX0" fmla="*/ 1581644 w 1586976"/>
                <a:gd name="connsiteY0" fmla="*/ 483998 h 488698"/>
                <a:gd name="connsiteX1" fmla="*/ 1581644 w 1586976"/>
                <a:gd name="connsiteY1" fmla="*/ 477142 h 488698"/>
                <a:gd name="connsiteX2" fmla="*/ 3174 w 1586976"/>
                <a:gd name="connsiteY2" fmla="*/ 0 h 488698"/>
                <a:gd name="connsiteX3" fmla="*/ 3174 w 1586976"/>
                <a:gd name="connsiteY3" fmla="*/ 3555 h 488698"/>
                <a:gd name="connsiteX4" fmla="*/ 3174 w 1586976"/>
                <a:gd name="connsiteY4" fmla="*/ 3555 h 488698"/>
                <a:gd name="connsiteX5" fmla="*/ 3174 w 1586976"/>
                <a:gd name="connsiteY5" fmla="*/ 4952 h 488698"/>
                <a:gd name="connsiteX6" fmla="*/ 3174 w 1586976"/>
                <a:gd name="connsiteY6" fmla="*/ 4952 h 488698"/>
                <a:gd name="connsiteX7" fmla="*/ 3174 w 1586976"/>
                <a:gd name="connsiteY7" fmla="*/ 4952 h 488698"/>
                <a:gd name="connsiteX8" fmla="*/ 2412 w 1586976"/>
                <a:gd name="connsiteY8" fmla="*/ 5967 h 488698"/>
                <a:gd name="connsiteX9" fmla="*/ 2412 w 1586976"/>
                <a:gd name="connsiteY9" fmla="*/ 5967 h 488698"/>
                <a:gd name="connsiteX10" fmla="*/ 0 w 1586976"/>
                <a:gd name="connsiteY10" fmla="*/ 7999 h 488698"/>
                <a:gd name="connsiteX11" fmla="*/ 1585325 w 1586976"/>
                <a:gd name="connsiteY11" fmla="*/ 488696 h 488698"/>
                <a:gd name="connsiteX12" fmla="*/ 1586976 w 1586976"/>
                <a:gd name="connsiteY12" fmla="*/ 488696 h 488698"/>
                <a:gd name="connsiteX13" fmla="*/ 1581644 w 1586976"/>
                <a:gd name="connsiteY13" fmla="*/ 483998 h 4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86976" h="488698">
                  <a:moveTo>
                    <a:pt x="1581644" y="483998"/>
                  </a:moveTo>
                  <a:lnTo>
                    <a:pt x="1581644" y="477142"/>
                  </a:lnTo>
                  <a:lnTo>
                    <a:pt x="3174" y="0"/>
                  </a:lnTo>
                  <a:lnTo>
                    <a:pt x="3174" y="3555"/>
                  </a:lnTo>
                  <a:lnTo>
                    <a:pt x="3174" y="3555"/>
                  </a:lnTo>
                  <a:cubicBezTo>
                    <a:pt x="3237" y="4019"/>
                    <a:pt x="3237" y="4488"/>
                    <a:pt x="3174" y="4952"/>
                  </a:cubicBezTo>
                  <a:lnTo>
                    <a:pt x="3174" y="4952"/>
                  </a:lnTo>
                  <a:lnTo>
                    <a:pt x="3174" y="4952"/>
                  </a:lnTo>
                  <a:cubicBezTo>
                    <a:pt x="3034" y="5363"/>
                    <a:pt x="2768" y="5719"/>
                    <a:pt x="2412" y="5967"/>
                  </a:cubicBezTo>
                  <a:lnTo>
                    <a:pt x="2412" y="5967"/>
                  </a:lnTo>
                  <a:lnTo>
                    <a:pt x="0" y="7999"/>
                  </a:lnTo>
                  <a:lnTo>
                    <a:pt x="1585325" y="488696"/>
                  </a:lnTo>
                  <a:lnTo>
                    <a:pt x="1586976" y="488696"/>
                  </a:lnTo>
                  <a:cubicBezTo>
                    <a:pt x="1584234" y="488776"/>
                    <a:pt x="1581910" y="486723"/>
                    <a:pt x="1581644" y="483998"/>
                  </a:cubicBezTo>
                  <a:close/>
                </a:path>
              </a:pathLst>
            </a:custGeom>
            <a:solidFill>
              <a:srgbClr val="000000"/>
            </a:solidFill>
            <a:ln w="12690" cap="flat">
              <a:noFill/>
              <a:prstDash val="solid"/>
              <a:miter/>
            </a:ln>
          </p:spPr>
          <p:txBody>
            <a:bodyPr rtlCol="0" anchor="ctr"/>
            <a:lstStyle/>
            <a:p>
              <a:endParaRPr lang="en-US"/>
            </a:p>
          </p:txBody>
        </p:sp>
        <p:sp>
          <p:nvSpPr>
            <p:cNvPr id="187" name="Freeform: Shape 186">
              <a:extLst>
                <a:ext uri="{FF2B5EF4-FFF2-40B4-BE49-F238E27FC236}">
                  <a16:creationId xmlns:a16="http://schemas.microsoft.com/office/drawing/2014/main" id="{F40163C6-9B00-431B-8064-1F77F08DC19D}"/>
                </a:ext>
              </a:extLst>
            </p:cNvPr>
            <p:cNvSpPr/>
            <p:nvPr/>
          </p:nvSpPr>
          <p:spPr>
            <a:xfrm>
              <a:off x="7875713" y="943998"/>
              <a:ext cx="47" cy="888"/>
            </a:xfrm>
            <a:custGeom>
              <a:avLst/>
              <a:gdLst>
                <a:gd name="connsiteX0" fmla="*/ 0 w 47"/>
                <a:gd name="connsiteY0" fmla="*/ 762 h 888"/>
                <a:gd name="connsiteX1" fmla="*/ 0 w 47"/>
                <a:gd name="connsiteY1" fmla="*/ 0 h 888"/>
                <a:gd name="connsiteX2" fmla="*/ 0 w 47"/>
                <a:gd name="connsiteY2" fmla="*/ 889 h 888"/>
              </a:gdLst>
              <a:ahLst/>
              <a:cxnLst>
                <a:cxn ang="0">
                  <a:pos x="connsiteX0" y="connsiteY0"/>
                </a:cxn>
                <a:cxn ang="0">
                  <a:pos x="connsiteX1" y="connsiteY1"/>
                </a:cxn>
                <a:cxn ang="0">
                  <a:pos x="connsiteX2" y="connsiteY2"/>
                </a:cxn>
              </a:cxnLst>
              <a:rect l="l" t="t" r="r" b="b"/>
              <a:pathLst>
                <a:path w="47" h="888">
                  <a:moveTo>
                    <a:pt x="0" y="762"/>
                  </a:moveTo>
                  <a:lnTo>
                    <a:pt x="0" y="0"/>
                  </a:lnTo>
                  <a:cubicBezTo>
                    <a:pt x="64" y="292"/>
                    <a:pt x="64" y="597"/>
                    <a:pt x="0" y="889"/>
                  </a:cubicBezTo>
                  <a:close/>
                </a:path>
              </a:pathLst>
            </a:custGeom>
            <a:solidFill>
              <a:srgbClr val="000000"/>
            </a:solidFill>
            <a:ln w="12690" cap="flat">
              <a:noFill/>
              <a:prstDash val="solid"/>
              <a:miter/>
            </a:ln>
          </p:spPr>
          <p:txBody>
            <a:bodyPr rtlCol="0" anchor="ctr"/>
            <a:lstStyle/>
            <a:p>
              <a:endParaRPr lang="en-US"/>
            </a:p>
          </p:txBody>
        </p:sp>
        <p:sp>
          <p:nvSpPr>
            <p:cNvPr id="188" name="Freeform: Shape 187">
              <a:extLst>
                <a:ext uri="{FF2B5EF4-FFF2-40B4-BE49-F238E27FC236}">
                  <a16:creationId xmlns:a16="http://schemas.microsoft.com/office/drawing/2014/main" id="{355B69F8-F84C-4957-8477-0721B63DBBCB}"/>
                </a:ext>
              </a:extLst>
            </p:cNvPr>
            <p:cNvSpPr/>
            <p:nvPr/>
          </p:nvSpPr>
          <p:spPr>
            <a:xfrm>
              <a:off x="5393991" y="460762"/>
              <a:ext cx="890936" cy="765357"/>
            </a:xfrm>
            <a:custGeom>
              <a:avLst/>
              <a:gdLst>
                <a:gd name="connsiteX0" fmla="*/ 890936 w 890936"/>
                <a:gd name="connsiteY0" fmla="*/ 5587 h 765357"/>
                <a:gd name="connsiteX1" fmla="*/ 887254 w 890936"/>
                <a:gd name="connsiteY1" fmla="*/ 6983 h 765357"/>
                <a:gd name="connsiteX2" fmla="*/ 881795 w 890936"/>
                <a:gd name="connsiteY2" fmla="*/ 2044 h 765357"/>
                <a:gd name="connsiteX3" fmla="*/ 881795 w 890936"/>
                <a:gd name="connsiteY3" fmla="*/ 2031 h 765357"/>
                <a:gd name="connsiteX4" fmla="*/ 881795 w 890936"/>
                <a:gd name="connsiteY4" fmla="*/ 0 h 765357"/>
                <a:gd name="connsiteX5" fmla="*/ 0 w 890936"/>
                <a:gd name="connsiteY5" fmla="*/ 761802 h 765357"/>
                <a:gd name="connsiteX6" fmla="*/ 3048 w 890936"/>
                <a:gd name="connsiteY6" fmla="*/ 762691 h 765357"/>
                <a:gd name="connsiteX7" fmla="*/ 3048 w 890936"/>
                <a:gd name="connsiteY7" fmla="*/ 762691 h 765357"/>
                <a:gd name="connsiteX8" fmla="*/ 11681 w 890936"/>
                <a:gd name="connsiteY8" fmla="*/ 765357 h 765357"/>
                <a:gd name="connsiteX9" fmla="*/ 888524 w 890936"/>
                <a:gd name="connsiteY9" fmla="*/ 7618 h 765357"/>
                <a:gd name="connsiteX10" fmla="*/ 890936 w 890936"/>
                <a:gd name="connsiteY10" fmla="*/ 5587 h 76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936" h="765357">
                  <a:moveTo>
                    <a:pt x="890936" y="5587"/>
                  </a:moveTo>
                  <a:cubicBezTo>
                    <a:pt x="889933" y="6505"/>
                    <a:pt x="888613" y="7005"/>
                    <a:pt x="887254" y="6983"/>
                  </a:cubicBezTo>
                  <a:cubicBezTo>
                    <a:pt x="884385" y="7127"/>
                    <a:pt x="881934" y="4915"/>
                    <a:pt x="881795" y="2044"/>
                  </a:cubicBezTo>
                  <a:cubicBezTo>
                    <a:pt x="881795" y="2039"/>
                    <a:pt x="881795" y="2035"/>
                    <a:pt x="881795" y="2031"/>
                  </a:cubicBezTo>
                  <a:lnTo>
                    <a:pt x="881795" y="0"/>
                  </a:lnTo>
                  <a:lnTo>
                    <a:pt x="0" y="761802"/>
                  </a:lnTo>
                  <a:lnTo>
                    <a:pt x="3048" y="762691"/>
                  </a:lnTo>
                  <a:lnTo>
                    <a:pt x="3048" y="762691"/>
                  </a:lnTo>
                  <a:lnTo>
                    <a:pt x="11681" y="765357"/>
                  </a:lnTo>
                  <a:lnTo>
                    <a:pt x="888524" y="7618"/>
                  </a:lnTo>
                  <a:lnTo>
                    <a:pt x="890936" y="5587"/>
                  </a:lnTo>
                  <a:close/>
                </a:path>
              </a:pathLst>
            </a:custGeom>
            <a:solidFill>
              <a:srgbClr val="000000"/>
            </a:solidFill>
            <a:ln w="1269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1D2DA010-918B-4062-82E6-443B72A2EF01}"/>
                </a:ext>
              </a:extLst>
            </p:cNvPr>
            <p:cNvSpPr/>
            <p:nvPr/>
          </p:nvSpPr>
          <p:spPr>
            <a:xfrm>
              <a:off x="5053209" y="1176729"/>
              <a:ext cx="196674" cy="65768"/>
            </a:xfrm>
            <a:custGeom>
              <a:avLst/>
              <a:gdLst>
                <a:gd name="connsiteX0" fmla="*/ 194388 w 196674"/>
                <a:gd name="connsiteY0" fmla="*/ 59421 h 65768"/>
                <a:gd name="connsiteX1" fmla="*/ 196674 w 196674"/>
                <a:gd name="connsiteY1" fmla="*/ 57516 h 65768"/>
                <a:gd name="connsiteX2" fmla="*/ 7237 w 196674"/>
                <a:gd name="connsiteY2" fmla="*/ 0 h 65768"/>
                <a:gd name="connsiteX3" fmla="*/ 7237 w 196674"/>
                <a:gd name="connsiteY3" fmla="*/ 4063 h 65768"/>
                <a:gd name="connsiteX4" fmla="*/ 1791 w 196674"/>
                <a:gd name="connsiteY4" fmla="*/ 9015 h 65768"/>
                <a:gd name="connsiteX5" fmla="*/ 1778 w 196674"/>
                <a:gd name="connsiteY5" fmla="*/ 9015 h 65768"/>
                <a:gd name="connsiteX6" fmla="*/ 0 w 196674"/>
                <a:gd name="connsiteY6" fmla="*/ 9015 h 65768"/>
                <a:gd name="connsiteX7" fmla="*/ 0 w 196674"/>
                <a:gd name="connsiteY7" fmla="*/ 9015 h 65768"/>
                <a:gd name="connsiteX8" fmla="*/ 187278 w 196674"/>
                <a:gd name="connsiteY8" fmla="*/ 65769 h 65768"/>
                <a:gd name="connsiteX9" fmla="*/ 194262 w 196674"/>
                <a:gd name="connsiteY9" fmla="*/ 60182 h 6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674" h="65768">
                  <a:moveTo>
                    <a:pt x="194388" y="59421"/>
                  </a:moveTo>
                  <a:lnTo>
                    <a:pt x="196674" y="57516"/>
                  </a:lnTo>
                  <a:lnTo>
                    <a:pt x="7237" y="0"/>
                  </a:lnTo>
                  <a:lnTo>
                    <a:pt x="7237" y="4063"/>
                  </a:lnTo>
                  <a:cubicBezTo>
                    <a:pt x="7098" y="6935"/>
                    <a:pt x="4660" y="9152"/>
                    <a:pt x="1791" y="9015"/>
                  </a:cubicBezTo>
                  <a:cubicBezTo>
                    <a:pt x="1791" y="9015"/>
                    <a:pt x="1778" y="9015"/>
                    <a:pt x="1778" y="9015"/>
                  </a:cubicBezTo>
                  <a:cubicBezTo>
                    <a:pt x="1194" y="9145"/>
                    <a:pt x="584" y="9145"/>
                    <a:pt x="0" y="9015"/>
                  </a:cubicBezTo>
                  <a:lnTo>
                    <a:pt x="0" y="9015"/>
                  </a:lnTo>
                  <a:lnTo>
                    <a:pt x="187278" y="65769"/>
                  </a:lnTo>
                  <a:lnTo>
                    <a:pt x="194262" y="60182"/>
                  </a:lnTo>
                  <a:close/>
                </a:path>
              </a:pathLst>
            </a:custGeom>
            <a:solidFill>
              <a:srgbClr val="000000"/>
            </a:solidFill>
            <a:ln w="1269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064D14CE-DE6D-4959-81D6-7D937AC13CB5}"/>
                </a:ext>
              </a:extLst>
            </p:cNvPr>
            <p:cNvSpPr/>
            <p:nvPr/>
          </p:nvSpPr>
          <p:spPr>
            <a:xfrm>
              <a:off x="6275913" y="364902"/>
              <a:ext cx="9951" cy="102849"/>
            </a:xfrm>
            <a:custGeom>
              <a:avLst/>
              <a:gdLst>
                <a:gd name="connsiteX0" fmla="*/ 6729 w 9951"/>
                <a:gd name="connsiteY0" fmla="*/ 0 h 102849"/>
                <a:gd name="connsiteX1" fmla="*/ 0 w 9951"/>
                <a:gd name="connsiteY1" fmla="*/ 5840 h 102849"/>
                <a:gd name="connsiteX2" fmla="*/ 0 w 9951"/>
                <a:gd name="connsiteY2" fmla="*/ 97892 h 102849"/>
                <a:gd name="connsiteX3" fmla="*/ 5447 w 9951"/>
                <a:gd name="connsiteY3" fmla="*/ 102843 h 102849"/>
                <a:gd name="connsiteX4" fmla="*/ 5460 w 9951"/>
                <a:gd name="connsiteY4" fmla="*/ 102843 h 102849"/>
                <a:gd name="connsiteX5" fmla="*/ 9142 w 9951"/>
                <a:gd name="connsiteY5" fmla="*/ 101447 h 102849"/>
                <a:gd name="connsiteX6" fmla="*/ 9904 w 9951"/>
                <a:gd name="connsiteY6" fmla="*/ 100431 h 102849"/>
                <a:gd name="connsiteX7" fmla="*/ 9904 w 9951"/>
                <a:gd name="connsiteY7" fmla="*/ 100431 h 102849"/>
                <a:gd name="connsiteX8" fmla="*/ 9904 w 9951"/>
                <a:gd name="connsiteY8" fmla="*/ 100431 h 102849"/>
                <a:gd name="connsiteX9" fmla="*/ 9904 w 9951"/>
                <a:gd name="connsiteY9" fmla="*/ 99034 h 102849"/>
                <a:gd name="connsiteX10" fmla="*/ 9904 w 9951"/>
                <a:gd name="connsiteY10" fmla="*/ 99034 h 102849"/>
                <a:gd name="connsiteX11" fmla="*/ 9904 w 9951"/>
                <a:gd name="connsiteY11" fmla="*/ 1143 h 10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51" h="102849">
                  <a:moveTo>
                    <a:pt x="6729" y="0"/>
                  </a:moveTo>
                  <a:lnTo>
                    <a:pt x="0" y="5840"/>
                  </a:lnTo>
                  <a:lnTo>
                    <a:pt x="0" y="97892"/>
                  </a:lnTo>
                  <a:cubicBezTo>
                    <a:pt x="139" y="100764"/>
                    <a:pt x="2577" y="102980"/>
                    <a:pt x="5447" y="102843"/>
                  </a:cubicBezTo>
                  <a:cubicBezTo>
                    <a:pt x="5447" y="102843"/>
                    <a:pt x="5460" y="102843"/>
                    <a:pt x="5460" y="102843"/>
                  </a:cubicBezTo>
                  <a:cubicBezTo>
                    <a:pt x="6818" y="102865"/>
                    <a:pt x="8139" y="102365"/>
                    <a:pt x="9142" y="101447"/>
                  </a:cubicBezTo>
                  <a:cubicBezTo>
                    <a:pt x="9497" y="101198"/>
                    <a:pt x="9764" y="100842"/>
                    <a:pt x="9904" y="100431"/>
                  </a:cubicBezTo>
                  <a:lnTo>
                    <a:pt x="9904" y="100431"/>
                  </a:lnTo>
                  <a:lnTo>
                    <a:pt x="9904" y="100431"/>
                  </a:lnTo>
                  <a:cubicBezTo>
                    <a:pt x="9967" y="99967"/>
                    <a:pt x="9967" y="99498"/>
                    <a:pt x="9904" y="99034"/>
                  </a:cubicBezTo>
                  <a:lnTo>
                    <a:pt x="9904" y="99034"/>
                  </a:lnTo>
                  <a:lnTo>
                    <a:pt x="9904" y="1143"/>
                  </a:lnTo>
                  <a:close/>
                </a:path>
              </a:pathLst>
            </a:custGeom>
            <a:solidFill>
              <a:srgbClr val="000000"/>
            </a:solidFill>
            <a:ln w="1269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DBEBF86D-AA24-43FA-9BDC-3BA7BF8DAC31}"/>
                </a:ext>
              </a:extLst>
            </p:cNvPr>
            <p:cNvSpPr/>
            <p:nvPr/>
          </p:nvSpPr>
          <p:spPr>
            <a:xfrm>
              <a:off x="0" y="-1"/>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7A973161-586C-46BD-B1BC-FFEF461B5270}"/>
                </a:ext>
              </a:extLst>
            </p:cNvPr>
            <p:cNvSpPr/>
            <p:nvPr/>
          </p:nvSpPr>
          <p:spPr>
            <a:xfrm>
              <a:off x="6279341" y="35474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7FEEB08C-1B34-48C0-9D19-5ED414302877}"/>
                </a:ext>
              </a:extLst>
            </p:cNvPr>
            <p:cNvSpPr/>
            <p:nvPr/>
          </p:nvSpPr>
          <p:spPr>
            <a:xfrm>
              <a:off x="7865175" y="841663"/>
              <a:ext cx="10576" cy="106146"/>
            </a:xfrm>
            <a:custGeom>
              <a:avLst/>
              <a:gdLst>
                <a:gd name="connsiteX0" fmla="*/ 10538 w 10576"/>
                <a:gd name="connsiteY0" fmla="*/ 102335 h 106146"/>
                <a:gd name="connsiteX1" fmla="*/ 10538 w 10576"/>
                <a:gd name="connsiteY1" fmla="*/ 101574 h 106146"/>
                <a:gd name="connsiteX2" fmla="*/ 10538 w 10576"/>
                <a:gd name="connsiteY2" fmla="*/ 0 h 106146"/>
                <a:gd name="connsiteX3" fmla="*/ 8761 w 10576"/>
                <a:gd name="connsiteY3" fmla="*/ 1524 h 106146"/>
                <a:gd name="connsiteX4" fmla="*/ 8761 w 10576"/>
                <a:gd name="connsiteY4" fmla="*/ 1524 h 106146"/>
                <a:gd name="connsiteX5" fmla="*/ 7110 w 10576"/>
                <a:gd name="connsiteY5" fmla="*/ 2285 h 106146"/>
                <a:gd name="connsiteX6" fmla="*/ 5332 w 10576"/>
                <a:gd name="connsiteY6" fmla="*/ 2285 h 106146"/>
                <a:gd name="connsiteX7" fmla="*/ 3682 w 10576"/>
                <a:gd name="connsiteY7" fmla="*/ 2285 h 106146"/>
                <a:gd name="connsiteX8" fmla="*/ 0 w 10576"/>
                <a:gd name="connsiteY8" fmla="*/ 1143 h 106146"/>
                <a:gd name="connsiteX9" fmla="*/ 0 w 10576"/>
                <a:gd name="connsiteY9" fmla="*/ 101193 h 106146"/>
                <a:gd name="connsiteX10" fmla="*/ 5332 w 10576"/>
                <a:gd name="connsiteY10" fmla="*/ 106144 h 106146"/>
                <a:gd name="connsiteX11" fmla="*/ 8125 w 10576"/>
                <a:gd name="connsiteY11" fmla="*/ 105256 h 106146"/>
                <a:gd name="connsiteX12" fmla="*/ 8125 w 10576"/>
                <a:gd name="connsiteY12" fmla="*/ 105256 h 106146"/>
                <a:gd name="connsiteX13" fmla="*/ 8125 w 10576"/>
                <a:gd name="connsiteY13" fmla="*/ 105256 h 106146"/>
                <a:gd name="connsiteX14" fmla="*/ 9776 w 10576"/>
                <a:gd name="connsiteY14" fmla="*/ 103224 h 106146"/>
                <a:gd name="connsiteX15" fmla="*/ 10538 w 10576"/>
                <a:gd name="connsiteY15" fmla="*/ 102335 h 10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76" h="106146">
                  <a:moveTo>
                    <a:pt x="10538" y="102335"/>
                  </a:moveTo>
                  <a:cubicBezTo>
                    <a:pt x="10589" y="102084"/>
                    <a:pt x="10589" y="101825"/>
                    <a:pt x="10538" y="101574"/>
                  </a:cubicBezTo>
                  <a:lnTo>
                    <a:pt x="10538" y="0"/>
                  </a:lnTo>
                  <a:lnTo>
                    <a:pt x="8761" y="1524"/>
                  </a:lnTo>
                  <a:cubicBezTo>
                    <a:pt x="8761" y="1524"/>
                    <a:pt x="8761" y="1524"/>
                    <a:pt x="8761" y="1524"/>
                  </a:cubicBezTo>
                  <a:cubicBezTo>
                    <a:pt x="8278" y="1903"/>
                    <a:pt x="7707" y="2164"/>
                    <a:pt x="7110" y="2285"/>
                  </a:cubicBezTo>
                  <a:cubicBezTo>
                    <a:pt x="6526" y="2416"/>
                    <a:pt x="5917" y="2416"/>
                    <a:pt x="5332" y="2285"/>
                  </a:cubicBezTo>
                  <a:lnTo>
                    <a:pt x="3682" y="2285"/>
                  </a:lnTo>
                  <a:lnTo>
                    <a:pt x="0" y="1143"/>
                  </a:lnTo>
                  <a:lnTo>
                    <a:pt x="0" y="101193"/>
                  </a:lnTo>
                  <a:cubicBezTo>
                    <a:pt x="139" y="104018"/>
                    <a:pt x="2501" y="106217"/>
                    <a:pt x="5332" y="106144"/>
                  </a:cubicBezTo>
                  <a:cubicBezTo>
                    <a:pt x="6335" y="106144"/>
                    <a:pt x="7313" y="105835"/>
                    <a:pt x="8125" y="105256"/>
                  </a:cubicBezTo>
                  <a:lnTo>
                    <a:pt x="8125" y="105256"/>
                  </a:lnTo>
                  <a:lnTo>
                    <a:pt x="8125" y="105256"/>
                  </a:lnTo>
                  <a:cubicBezTo>
                    <a:pt x="8849" y="104734"/>
                    <a:pt x="9408" y="104034"/>
                    <a:pt x="9776" y="103224"/>
                  </a:cubicBezTo>
                  <a:cubicBezTo>
                    <a:pt x="10119" y="103015"/>
                    <a:pt x="10386" y="102705"/>
                    <a:pt x="10538" y="102335"/>
                  </a:cubicBezTo>
                  <a:close/>
                </a:path>
              </a:pathLst>
            </a:custGeom>
            <a:solidFill>
              <a:srgbClr val="000000"/>
            </a:solidFill>
            <a:ln w="1269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E7C23BA4-C370-4A0A-95AF-F40AE764BE57}"/>
                </a:ext>
              </a:extLst>
            </p:cNvPr>
            <p:cNvSpPr/>
            <p:nvPr/>
          </p:nvSpPr>
          <p:spPr>
            <a:xfrm>
              <a:off x="6281119" y="35436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06FFBD6D-2CF5-4E22-9022-194D3BE37CA2}"/>
                </a:ext>
              </a:extLst>
            </p:cNvPr>
            <p:cNvSpPr/>
            <p:nvPr/>
          </p:nvSpPr>
          <p:spPr>
            <a:xfrm>
              <a:off x="6278199" y="355455"/>
              <a:ext cx="1015" cy="51"/>
            </a:xfrm>
            <a:custGeom>
              <a:avLst/>
              <a:gdLst>
                <a:gd name="connsiteX0" fmla="*/ 889 w 1015"/>
                <a:gd name="connsiteY0" fmla="*/ 51 h 51"/>
                <a:gd name="connsiteX1" fmla="*/ 0 w 1015"/>
                <a:gd name="connsiteY1" fmla="*/ 51 h 51"/>
                <a:gd name="connsiteX2" fmla="*/ 1016 w 1015"/>
                <a:gd name="connsiteY2" fmla="*/ 51 h 51"/>
              </a:gdLst>
              <a:ahLst/>
              <a:cxnLst>
                <a:cxn ang="0">
                  <a:pos x="connsiteX0" y="connsiteY0"/>
                </a:cxn>
                <a:cxn ang="0">
                  <a:pos x="connsiteX1" y="connsiteY1"/>
                </a:cxn>
                <a:cxn ang="0">
                  <a:pos x="connsiteX2" y="connsiteY2"/>
                </a:cxn>
              </a:cxnLst>
              <a:rect l="l" t="t" r="r" b="b"/>
              <a:pathLst>
                <a:path w="1015" h="51">
                  <a:moveTo>
                    <a:pt x="889" y="51"/>
                  </a:moveTo>
                  <a:lnTo>
                    <a:pt x="0" y="51"/>
                  </a:lnTo>
                  <a:cubicBezTo>
                    <a:pt x="330" y="-17"/>
                    <a:pt x="685" y="-17"/>
                    <a:pt x="1016" y="51"/>
                  </a:cubicBezTo>
                  <a:close/>
                </a:path>
              </a:pathLst>
            </a:custGeom>
            <a:solidFill>
              <a:srgbClr val="000000"/>
            </a:solidFill>
            <a:ln w="1269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E3672751-964F-4B9D-BD3B-586EEEAD71D8}"/>
                </a:ext>
              </a:extLst>
            </p:cNvPr>
            <p:cNvSpPr/>
            <p:nvPr/>
          </p:nvSpPr>
          <p:spPr>
            <a:xfrm>
              <a:off x="6282388" y="354617"/>
              <a:ext cx="1588119" cy="489712"/>
            </a:xfrm>
            <a:custGeom>
              <a:avLst/>
              <a:gdLst>
                <a:gd name="connsiteX0" fmla="*/ 1584564 w 1588119"/>
                <a:gd name="connsiteY0" fmla="*/ 481332 h 489712"/>
                <a:gd name="connsiteX1" fmla="*/ 1586850 w 1588119"/>
                <a:gd name="connsiteY1" fmla="*/ 479428 h 489712"/>
                <a:gd name="connsiteX2" fmla="*/ 635 w 1588119"/>
                <a:gd name="connsiteY2" fmla="*/ 0 h 489712"/>
                <a:gd name="connsiteX3" fmla="*/ 0 w 1588119"/>
                <a:gd name="connsiteY3" fmla="*/ 0 h 489712"/>
                <a:gd name="connsiteX4" fmla="*/ 2540 w 1588119"/>
                <a:gd name="connsiteY4" fmla="*/ 889 h 489712"/>
                <a:gd name="connsiteX5" fmla="*/ 3085 w 1588119"/>
                <a:gd name="connsiteY5" fmla="*/ 7330 h 489712"/>
                <a:gd name="connsiteX6" fmla="*/ 2540 w 1588119"/>
                <a:gd name="connsiteY6" fmla="*/ 7872 h 489712"/>
                <a:gd name="connsiteX7" fmla="*/ 127 w 1588119"/>
                <a:gd name="connsiteY7" fmla="*/ 9903 h 489712"/>
                <a:gd name="connsiteX8" fmla="*/ 4190 w 1588119"/>
                <a:gd name="connsiteY8" fmla="*/ 11046 h 489712"/>
                <a:gd name="connsiteX9" fmla="*/ 1582787 w 1588119"/>
                <a:gd name="connsiteY9" fmla="*/ 488569 h 489712"/>
                <a:gd name="connsiteX10" fmla="*/ 1586469 w 1588119"/>
                <a:gd name="connsiteY10" fmla="*/ 489712 h 489712"/>
                <a:gd name="connsiteX11" fmla="*/ 1588119 w 1588119"/>
                <a:gd name="connsiteY11" fmla="*/ 489712 h 489712"/>
                <a:gd name="connsiteX12" fmla="*/ 1584183 w 1588119"/>
                <a:gd name="connsiteY12" fmla="*/ 488061 h 489712"/>
                <a:gd name="connsiteX13" fmla="*/ 1584272 w 1588119"/>
                <a:gd name="connsiteY13" fmla="*/ 481597 h 489712"/>
                <a:gd name="connsiteX14" fmla="*/ 1584564 w 1588119"/>
                <a:gd name="connsiteY14" fmla="*/ 481332 h 48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8119" h="489712">
                  <a:moveTo>
                    <a:pt x="1584564" y="481332"/>
                  </a:moveTo>
                  <a:lnTo>
                    <a:pt x="1586850" y="479428"/>
                  </a:lnTo>
                  <a:lnTo>
                    <a:pt x="635" y="0"/>
                  </a:lnTo>
                  <a:lnTo>
                    <a:pt x="0" y="0"/>
                  </a:lnTo>
                  <a:cubicBezTo>
                    <a:pt x="902" y="95"/>
                    <a:pt x="1778" y="399"/>
                    <a:pt x="2540" y="889"/>
                  </a:cubicBezTo>
                  <a:cubicBezTo>
                    <a:pt x="4470" y="2518"/>
                    <a:pt x="4711" y="5401"/>
                    <a:pt x="3085" y="7330"/>
                  </a:cubicBezTo>
                  <a:cubicBezTo>
                    <a:pt x="2920" y="7525"/>
                    <a:pt x="2730" y="7707"/>
                    <a:pt x="2540" y="7872"/>
                  </a:cubicBezTo>
                  <a:lnTo>
                    <a:pt x="127" y="9903"/>
                  </a:lnTo>
                  <a:lnTo>
                    <a:pt x="4190" y="11046"/>
                  </a:lnTo>
                  <a:lnTo>
                    <a:pt x="1582787" y="488569"/>
                  </a:lnTo>
                  <a:lnTo>
                    <a:pt x="1586469" y="489712"/>
                  </a:lnTo>
                  <a:lnTo>
                    <a:pt x="1588119" y="489712"/>
                  </a:lnTo>
                  <a:cubicBezTo>
                    <a:pt x="1586634" y="489734"/>
                    <a:pt x="1585212" y="489135"/>
                    <a:pt x="1584183" y="488061"/>
                  </a:cubicBezTo>
                  <a:cubicBezTo>
                    <a:pt x="1582419" y="486253"/>
                    <a:pt x="1582457" y="483360"/>
                    <a:pt x="1584272" y="481597"/>
                  </a:cubicBezTo>
                  <a:cubicBezTo>
                    <a:pt x="1584361" y="481505"/>
                    <a:pt x="1584462" y="481416"/>
                    <a:pt x="1584564" y="481332"/>
                  </a:cubicBezTo>
                  <a:close/>
                </a:path>
              </a:pathLst>
            </a:custGeom>
            <a:solidFill>
              <a:srgbClr val="000000"/>
            </a:solidFill>
            <a:ln w="1269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D4B6D715-FB6D-44A4-A0A2-8D246023A439}"/>
                </a:ext>
              </a:extLst>
            </p:cNvPr>
            <p:cNvSpPr/>
            <p:nvPr/>
          </p:nvSpPr>
          <p:spPr>
            <a:xfrm>
              <a:off x="8011696" y="72688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EA54AF2F-8EC0-4C53-882C-DB30288AF6EF}"/>
                </a:ext>
              </a:extLst>
            </p:cNvPr>
            <p:cNvSpPr/>
            <p:nvPr/>
          </p:nvSpPr>
          <p:spPr>
            <a:xfrm>
              <a:off x="8001919" y="728408"/>
              <a:ext cx="10411" cy="107928"/>
            </a:xfrm>
            <a:custGeom>
              <a:avLst/>
              <a:gdLst>
                <a:gd name="connsiteX0" fmla="*/ 10411 w 10411"/>
                <a:gd name="connsiteY0" fmla="*/ 1143 h 107928"/>
                <a:gd name="connsiteX1" fmla="*/ 10411 w 10411"/>
                <a:gd name="connsiteY1" fmla="*/ 1143 h 107928"/>
                <a:gd name="connsiteX2" fmla="*/ 9015 w 10411"/>
                <a:gd name="connsiteY2" fmla="*/ 3047 h 107928"/>
                <a:gd name="connsiteX3" fmla="*/ 0 w 10411"/>
                <a:gd name="connsiteY3" fmla="*/ 10411 h 107928"/>
                <a:gd name="connsiteX4" fmla="*/ 0 w 10411"/>
                <a:gd name="connsiteY4" fmla="*/ 102970 h 107928"/>
                <a:gd name="connsiteX5" fmla="*/ 5447 w 10411"/>
                <a:gd name="connsiteY5" fmla="*/ 107922 h 107928"/>
                <a:gd name="connsiteX6" fmla="*/ 5460 w 10411"/>
                <a:gd name="connsiteY6" fmla="*/ 107922 h 107928"/>
                <a:gd name="connsiteX7" fmla="*/ 9142 w 10411"/>
                <a:gd name="connsiteY7" fmla="*/ 106525 h 107928"/>
                <a:gd name="connsiteX8" fmla="*/ 9904 w 10411"/>
                <a:gd name="connsiteY8" fmla="*/ 105637 h 107928"/>
                <a:gd name="connsiteX9" fmla="*/ 9904 w 10411"/>
                <a:gd name="connsiteY9" fmla="*/ 105637 h 107928"/>
                <a:gd name="connsiteX10" fmla="*/ 9904 w 10411"/>
                <a:gd name="connsiteY10" fmla="*/ 104875 h 107928"/>
                <a:gd name="connsiteX11" fmla="*/ 9904 w 10411"/>
                <a:gd name="connsiteY11" fmla="*/ 103732 h 107928"/>
                <a:gd name="connsiteX12" fmla="*/ 9904 w 10411"/>
                <a:gd name="connsiteY12" fmla="*/ 103732 h 107928"/>
                <a:gd name="connsiteX13" fmla="*/ 9904 w 10411"/>
                <a:gd name="connsiteY13" fmla="*/ 0 h 107928"/>
                <a:gd name="connsiteX14" fmla="*/ 9904 w 10411"/>
                <a:gd name="connsiteY14" fmla="*/ 0 h 107928"/>
                <a:gd name="connsiteX15" fmla="*/ 10411 w 10411"/>
                <a:gd name="connsiteY15" fmla="*/ 1143 h 10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11" h="107928">
                  <a:moveTo>
                    <a:pt x="10411" y="1143"/>
                  </a:moveTo>
                  <a:lnTo>
                    <a:pt x="10411" y="1143"/>
                  </a:lnTo>
                  <a:cubicBezTo>
                    <a:pt x="10183" y="1924"/>
                    <a:pt x="9688" y="2598"/>
                    <a:pt x="9015" y="3047"/>
                  </a:cubicBezTo>
                  <a:lnTo>
                    <a:pt x="0" y="10411"/>
                  </a:lnTo>
                  <a:lnTo>
                    <a:pt x="0" y="102970"/>
                  </a:lnTo>
                  <a:cubicBezTo>
                    <a:pt x="140" y="105842"/>
                    <a:pt x="2577" y="108059"/>
                    <a:pt x="5447" y="107922"/>
                  </a:cubicBezTo>
                  <a:cubicBezTo>
                    <a:pt x="5447" y="107922"/>
                    <a:pt x="5460" y="107922"/>
                    <a:pt x="5460" y="107922"/>
                  </a:cubicBezTo>
                  <a:cubicBezTo>
                    <a:pt x="6819" y="107919"/>
                    <a:pt x="8126" y="107423"/>
                    <a:pt x="9142" y="106525"/>
                  </a:cubicBezTo>
                  <a:lnTo>
                    <a:pt x="9904" y="105637"/>
                  </a:lnTo>
                  <a:lnTo>
                    <a:pt x="9904" y="105637"/>
                  </a:lnTo>
                  <a:cubicBezTo>
                    <a:pt x="9967" y="105387"/>
                    <a:pt x="9967" y="105125"/>
                    <a:pt x="9904" y="104875"/>
                  </a:cubicBezTo>
                  <a:cubicBezTo>
                    <a:pt x="9967" y="104496"/>
                    <a:pt x="9967" y="104110"/>
                    <a:pt x="9904" y="103732"/>
                  </a:cubicBezTo>
                  <a:lnTo>
                    <a:pt x="9904" y="103732"/>
                  </a:lnTo>
                  <a:lnTo>
                    <a:pt x="9904" y="0"/>
                  </a:lnTo>
                  <a:lnTo>
                    <a:pt x="9904" y="0"/>
                  </a:lnTo>
                  <a:cubicBezTo>
                    <a:pt x="9904" y="0"/>
                    <a:pt x="10411" y="762"/>
                    <a:pt x="10411" y="1143"/>
                  </a:cubicBezTo>
                  <a:close/>
                </a:path>
              </a:pathLst>
            </a:custGeom>
            <a:solidFill>
              <a:srgbClr val="000000"/>
            </a:solidFill>
            <a:ln w="1269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980C8740-8218-4B98-911B-CBE964F71820}"/>
                </a:ext>
              </a:extLst>
            </p:cNvPr>
            <p:cNvSpPr/>
            <p:nvPr/>
          </p:nvSpPr>
          <p:spPr>
            <a:xfrm>
              <a:off x="8009284" y="72371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0F8AFFC3-26D4-4A94-8712-BC4E23FEA97F}"/>
                </a:ext>
              </a:extLst>
            </p:cNvPr>
            <p:cNvSpPr/>
            <p:nvPr/>
          </p:nvSpPr>
          <p:spPr>
            <a:xfrm>
              <a:off x="8011696" y="72523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DE673D49-267E-40CD-96E4-1134E63C477A}"/>
                </a:ext>
              </a:extLst>
            </p:cNvPr>
            <p:cNvSpPr/>
            <p:nvPr/>
          </p:nvSpPr>
          <p:spPr>
            <a:xfrm>
              <a:off x="7865330" y="731456"/>
              <a:ext cx="146873" cy="113225"/>
            </a:xfrm>
            <a:custGeom>
              <a:avLst/>
              <a:gdLst>
                <a:gd name="connsiteX0" fmla="*/ 1622 w 146873"/>
                <a:gd name="connsiteY0" fmla="*/ 104494 h 113225"/>
                <a:gd name="connsiteX1" fmla="*/ 1077 w 146873"/>
                <a:gd name="connsiteY1" fmla="*/ 110935 h 113225"/>
                <a:gd name="connsiteX2" fmla="*/ 1622 w 146873"/>
                <a:gd name="connsiteY2" fmla="*/ 111477 h 113225"/>
                <a:gd name="connsiteX3" fmla="*/ 5558 w 146873"/>
                <a:gd name="connsiteY3" fmla="*/ 113128 h 113225"/>
                <a:gd name="connsiteX4" fmla="*/ 7336 w 146873"/>
                <a:gd name="connsiteY4" fmla="*/ 113128 h 113225"/>
                <a:gd name="connsiteX5" fmla="*/ 8986 w 146873"/>
                <a:gd name="connsiteY5" fmla="*/ 112366 h 113225"/>
                <a:gd name="connsiteX6" fmla="*/ 8986 w 146873"/>
                <a:gd name="connsiteY6" fmla="*/ 112366 h 113225"/>
                <a:gd name="connsiteX7" fmla="*/ 10764 w 146873"/>
                <a:gd name="connsiteY7" fmla="*/ 110842 h 113225"/>
                <a:gd name="connsiteX8" fmla="*/ 136462 w 146873"/>
                <a:gd name="connsiteY8" fmla="*/ 9269 h 113225"/>
                <a:gd name="connsiteX9" fmla="*/ 145477 w 146873"/>
                <a:gd name="connsiteY9" fmla="*/ 1904 h 113225"/>
                <a:gd name="connsiteX10" fmla="*/ 146874 w 146873"/>
                <a:gd name="connsiteY10" fmla="*/ 0 h 113225"/>
                <a:gd name="connsiteX11" fmla="*/ 141923 w 146873"/>
                <a:gd name="connsiteY11" fmla="*/ 3174 h 113225"/>
                <a:gd name="connsiteX12" fmla="*/ 140145 w 146873"/>
                <a:gd name="connsiteY12" fmla="*/ 3174 h 113225"/>
                <a:gd name="connsiteX13" fmla="*/ 131384 w 146873"/>
                <a:gd name="connsiteY13" fmla="*/ 508 h 113225"/>
                <a:gd name="connsiteX14" fmla="*/ 4416 w 146873"/>
                <a:gd name="connsiteY14" fmla="*/ 103986 h 1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873" h="113225">
                  <a:moveTo>
                    <a:pt x="1622" y="104494"/>
                  </a:moveTo>
                  <a:cubicBezTo>
                    <a:pt x="-308" y="106123"/>
                    <a:pt x="-549" y="109006"/>
                    <a:pt x="1077" y="110935"/>
                  </a:cubicBezTo>
                  <a:cubicBezTo>
                    <a:pt x="1242" y="111130"/>
                    <a:pt x="1432" y="111312"/>
                    <a:pt x="1622" y="111477"/>
                  </a:cubicBezTo>
                  <a:cubicBezTo>
                    <a:pt x="2651" y="112551"/>
                    <a:pt x="4073" y="113149"/>
                    <a:pt x="5558" y="113128"/>
                  </a:cubicBezTo>
                  <a:cubicBezTo>
                    <a:pt x="6142" y="113258"/>
                    <a:pt x="6752" y="113258"/>
                    <a:pt x="7336" y="113128"/>
                  </a:cubicBezTo>
                  <a:cubicBezTo>
                    <a:pt x="7933" y="113006"/>
                    <a:pt x="8504" y="112745"/>
                    <a:pt x="8986" y="112366"/>
                  </a:cubicBezTo>
                  <a:cubicBezTo>
                    <a:pt x="8986" y="112366"/>
                    <a:pt x="8986" y="112366"/>
                    <a:pt x="8986" y="112366"/>
                  </a:cubicBezTo>
                  <a:lnTo>
                    <a:pt x="10764" y="110842"/>
                  </a:lnTo>
                  <a:lnTo>
                    <a:pt x="136462" y="9269"/>
                  </a:lnTo>
                  <a:lnTo>
                    <a:pt x="145477" y="1904"/>
                  </a:lnTo>
                  <a:cubicBezTo>
                    <a:pt x="146150" y="1455"/>
                    <a:pt x="146645" y="780"/>
                    <a:pt x="146874" y="0"/>
                  </a:cubicBezTo>
                  <a:cubicBezTo>
                    <a:pt x="146011" y="1955"/>
                    <a:pt x="144055" y="3205"/>
                    <a:pt x="141923" y="3174"/>
                  </a:cubicBezTo>
                  <a:cubicBezTo>
                    <a:pt x="141338" y="3297"/>
                    <a:pt x="140729" y="3297"/>
                    <a:pt x="140145" y="3174"/>
                  </a:cubicBezTo>
                  <a:lnTo>
                    <a:pt x="131384" y="508"/>
                  </a:lnTo>
                  <a:lnTo>
                    <a:pt x="4416" y="103986"/>
                  </a:lnTo>
                  <a:close/>
                </a:path>
              </a:pathLst>
            </a:custGeom>
            <a:solidFill>
              <a:srgbClr val="000000"/>
            </a:solidFill>
            <a:ln w="1269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1C8DBC4-0D02-4546-B96E-28ADC94E6710}"/>
                </a:ext>
              </a:extLst>
            </p:cNvPr>
            <p:cNvSpPr/>
            <p:nvPr/>
          </p:nvSpPr>
          <p:spPr>
            <a:xfrm>
              <a:off x="8011696" y="72586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6FECDA65-8932-4F2C-9F7B-68C5152AEC89}"/>
                </a:ext>
              </a:extLst>
            </p:cNvPr>
            <p:cNvSpPr/>
            <p:nvPr/>
          </p:nvSpPr>
          <p:spPr>
            <a:xfrm>
              <a:off x="8012049" y="726885"/>
              <a:ext cx="282" cy="761"/>
            </a:xfrm>
            <a:custGeom>
              <a:avLst/>
              <a:gdLst>
                <a:gd name="connsiteX0" fmla="*/ 282 w 282"/>
                <a:gd name="connsiteY0" fmla="*/ 762 h 761"/>
                <a:gd name="connsiteX1" fmla="*/ 282 w 282"/>
                <a:gd name="connsiteY1" fmla="*/ 0 h 761"/>
                <a:gd name="connsiteX2" fmla="*/ 282 w 282"/>
                <a:gd name="connsiteY2" fmla="*/ 0 h 761"/>
                <a:gd name="connsiteX3" fmla="*/ 282 w 282"/>
                <a:gd name="connsiteY3" fmla="*/ 762 h 761"/>
              </a:gdLst>
              <a:ahLst/>
              <a:cxnLst>
                <a:cxn ang="0">
                  <a:pos x="connsiteX0" y="connsiteY0"/>
                </a:cxn>
                <a:cxn ang="0">
                  <a:pos x="connsiteX1" y="connsiteY1"/>
                </a:cxn>
                <a:cxn ang="0">
                  <a:pos x="connsiteX2" y="connsiteY2"/>
                </a:cxn>
                <a:cxn ang="0">
                  <a:pos x="connsiteX3" y="connsiteY3"/>
                </a:cxn>
              </a:cxnLst>
              <a:rect l="l" t="t" r="r" b="b"/>
              <a:pathLst>
                <a:path w="282" h="761">
                  <a:moveTo>
                    <a:pt x="282" y="762"/>
                  </a:moveTo>
                  <a:lnTo>
                    <a:pt x="282" y="0"/>
                  </a:lnTo>
                  <a:lnTo>
                    <a:pt x="282" y="0"/>
                  </a:lnTo>
                  <a:cubicBezTo>
                    <a:pt x="282" y="0"/>
                    <a:pt x="-353" y="508"/>
                    <a:pt x="282" y="762"/>
                  </a:cubicBezTo>
                  <a:close/>
                </a:path>
              </a:pathLst>
            </a:custGeom>
            <a:solidFill>
              <a:srgbClr val="000000"/>
            </a:solidFill>
            <a:ln w="1269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C70FCD02-8A3A-42FB-B199-8B994F27B48E}"/>
                </a:ext>
              </a:extLst>
            </p:cNvPr>
            <p:cNvSpPr/>
            <p:nvPr/>
          </p:nvSpPr>
          <p:spPr>
            <a:xfrm>
              <a:off x="8009284" y="724599"/>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cubicBezTo>
                    <a:pt x="762" y="0"/>
                    <a:pt x="762"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27744A4D-0B72-4E9E-B70E-C25AC62B87BA}"/>
                </a:ext>
              </a:extLst>
            </p:cNvPr>
            <p:cNvSpPr/>
            <p:nvPr/>
          </p:nvSpPr>
          <p:spPr>
            <a:xfrm>
              <a:off x="6168244" y="167849"/>
              <a:ext cx="1844007" cy="565476"/>
            </a:xfrm>
            <a:custGeom>
              <a:avLst/>
              <a:gdLst>
                <a:gd name="connsiteX0" fmla="*/ 2412 w 1844007"/>
                <a:gd name="connsiteY0" fmla="*/ 8380 h 565476"/>
                <a:gd name="connsiteX1" fmla="*/ 127 w 1844007"/>
                <a:gd name="connsiteY1" fmla="*/ 10284 h 565476"/>
                <a:gd name="connsiteX2" fmla="*/ 1828470 w 1844007"/>
                <a:gd name="connsiteY2" fmla="*/ 562718 h 565476"/>
                <a:gd name="connsiteX3" fmla="*/ 1837231 w 1844007"/>
                <a:gd name="connsiteY3" fmla="*/ 565384 h 565476"/>
                <a:gd name="connsiteX4" fmla="*/ 1839009 w 1844007"/>
                <a:gd name="connsiteY4" fmla="*/ 565384 h 565476"/>
                <a:gd name="connsiteX5" fmla="*/ 1843960 w 1844007"/>
                <a:gd name="connsiteY5" fmla="*/ 562210 h 565476"/>
                <a:gd name="connsiteX6" fmla="*/ 1843960 w 1844007"/>
                <a:gd name="connsiteY6" fmla="*/ 562210 h 565476"/>
                <a:gd name="connsiteX7" fmla="*/ 1843960 w 1844007"/>
                <a:gd name="connsiteY7" fmla="*/ 561194 h 565476"/>
                <a:gd name="connsiteX8" fmla="*/ 1843960 w 1844007"/>
                <a:gd name="connsiteY8" fmla="*/ 561194 h 565476"/>
                <a:gd name="connsiteX9" fmla="*/ 1843960 w 1844007"/>
                <a:gd name="connsiteY9" fmla="*/ 560433 h 565476"/>
                <a:gd name="connsiteX10" fmla="*/ 1843960 w 1844007"/>
                <a:gd name="connsiteY10" fmla="*/ 559544 h 565476"/>
                <a:gd name="connsiteX11" fmla="*/ 1843960 w 1844007"/>
                <a:gd name="connsiteY11" fmla="*/ 559544 h 565476"/>
                <a:gd name="connsiteX12" fmla="*/ 1843960 w 1844007"/>
                <a:gd name="connsiteY12" fmla="*/ 558782 h 565476"/>
                <a:gd name="connsiteX13" fmla="*/ 1843960 w 1844007"/>
                <a:gd name="connsiteY13" fmla="*/ 558147 h 565476"/>
                <a:gd name="connsiteX14" fmla="*/ 1843960 w 1844007"/>
                <a:gd name="connsiteY14" fmla="*/ 558147 h 565476"/>
                <a:gd name="connsiteX15" fmla="*/ 1843198 w 1844007"/>
                <a:gd name="connsiteY15" fmla="*/ 558147 h 565476"/>
                <a:gd name="connsiteX16" fmla="*/ 1842309 w 1844007"/>
                <a:gd name="connsiteY16" fmla="*/ 558147 h 565476"/>
                <a:gd name="connsiteX17" fmla="*/ 1842309 w 1844007"/>
                <a:gd name="connsiteY17" fmla="*/ 558147 h 565476"/>
                <a:gd name="connsiteX18" fmla="*/ 635 w 1844007"/>
                <a:gd name="connsiteY18" fmla="*/ 0 h 565476"/>
                <a:gd name="connsiteX19" fmla="*/ 0 w 1844007"/>
                <a:gd name="connsiteY19" fmla="*/ 0 h 565476"/>
                <a:gd name="connsiteX20" fmla="*/ 3047 w 1844007"/>
                <a:gd name="connsiteY20" fmla="*/ 1397 h 565476"/>
                <a:gd name="connsiteX21" fmla="*/ 2819 w 1844007"/>
                <a:gd name="connsiteY21" fmla="*/ 8037 h 565476"/>
                <a:gd name="connsiteX22" fmla="*/ 2412 w 1844007"/>
                <a:gd name="connsiteY22" fmla="*/ 8380 h 56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44007" h="565476">
                  <a:moveTo>
                    <a:pt x="2412" y="8380"/>
                  </a:moveTo>
                  <a:lnTo>
                    <a:pt x="127" y="10284"/>
                  </a:lnTo>
                  <a:lnTo>
                    <a:pt x="1828470" y="562718"/>
                  </a:lnTo>
                  <a:lnTo>
                    <a:pt x="1837231" y="565384"/>
                  </a:lnTo>
                  <a:cubicBezTo>
                    <a:pt x="1837815" y="565507"/>
                    <a:pt x="1838424" y="565507"/>
                    <a:pt x="1839009" y="565384"/>
                  </a:cubicBezTo>
                  <a:cubicBezTo>
                    <a:pt x="1841141" y="565415"/>
                    <a:pt x="1843096" y="564165"/>
                    <a:pt x="1843960" y="562210"/>
                  </a:cubicBezTo>
                  <a:lnTo>
                    <a:pt x="1843960" y="562210"/>
                  </a:lnTo>
                  <a:cubicBezTo>
                    <a:pt x="1843960" y="562210"/>
                    <a:pt x="1843960" y="561575"/>
                    <a:pt x="1843960" y="561194"/>
                  </a:cubicBezTo>
                  <a:lnTo>
                    <a:pt x="1843960" y="561194"/>
                  </a:lnTo>
                  <a:cubicBezTo>
                    <a:pt x="1843960" y="561194"/>
                    <a:pt x="1843960" y="561194"/>
                    <a:pt x="1843960" y="560433"/>
                  </a:cubicBezTo>
                  <a:cubicBezTo>
                    <a:pt x="1843960" y="559671"/>
                    <a:pt x="1843960" y="559798"/>
                    <a:pt x="1843960" y="559544"/>
                  </a:cubicBezTo>
                  <a:lnTo>
                    <a:pt x="1843960" y="559544"/>
                  </a:lnTo>
                  <a:cubicBezTo>
                    <a:pt x="1844023" y="559294"/>
                    <a:pt x="1844023" y="559032"/>
                    <a:pt x="1843960" y="558782"/>
                  </a:cubicBezTo>
                  <a:lnTo>
                    <a:pt x="1843960" y="558147"/>
                  </a:lnTo>
                  <a:lnTo>
                    <a:pt x="1843960" y="558147"/>
                  </a:lnTo>
                  <a:lnTo>
                    <a:pt x="1843198" y="558147"/>
                  </a:lnTo>
                  <a:lnTo>
                    <a:pt x="1842309" y="558147"/>
                  </a:lnTo>
                  <a:lnTo>
                    <a:pt x="1842309" y="558147"/>
                  </a:lnTo>
                  <a:lnTo>
                    <a:pt x="635" y="0"/>
                  </a:lnTo>
                  <a:lnTo>
                    <a:pt x="0" y="0"/>
                  </a:lnTo>
                  <a:cubicBezTo>
                    <a:pt x="1155" y="86"/>
                    <a:pt x="2235" y="582"/>
                    <a:pt x="3047" y="1397"/>
                  </a:cubicBezTo>
                  <a:cubicBezTo>
                    <a:pt x="4825" y="3292"/>
                    <a:pt x="4723" y="6265"/>
                    <a:pt x="2819" y="8037"/>
                  </a:cubicBezTo>
                  <a:cubicBezTo>
                    <a:pt x="2692" y="8159"/>
                    <a:pt x="2552" y="8273"/>
                    <a:pt x="2412" y="8380"/>
                  </a:cubicBezTo>
                  <a:close/>
                </a:path>
              </a:pathLst>
            </a:custGeom>
            <a:solidFill>
              <a:srgbClr val="000000"/>
            </a:solidFill>
            <a:ln w="1269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5F470D7F-BF3C-444A-80AA-CFDA7B4205BC}"/>
                </a:ext>
              </a:extLst>
            </p:cNvPr>
            <p:cNvSpPr/>
            <p:nvPr/>
          </p:nvSpPr>
          <p:spPr>
            <a:xfrm>
              <a:off x="5342950" y="1168095"/>
              <a:ext cx="10792" cy="41899"/>
            </a:xfrm>
            <a:custGeom>
              <a:avLst/>
              <a:gdLst>
                <a:gd name="connsiteX0" fmla="*/ 8253 w 10792"/>
                <a:gd name="connsiteY0" fmla="*/ 1016 h 41899"/>
                <a:gd name="connsiteX1" fmla="*/ 8253 w 10792"/>
                <a:gd name="connsiteY1" fmla="*/ 1016 h 41899"/>
                <a:gd name="connsiteX2" fmla="*/ 5460 w 10792"/>
                <a:gd name="connsiteY2" fmla="*/ 1778 h 41899"/>
                <a:gd name="connsiteX3" fmla="*/ 3682 w 10792"/>
                <a:gd name="connsiteY3" fmla="*/ 1778 h 41899"/>
                <a:gd name="connsiteX4" fmla="*/ 0 w 10792"/>
                <a:gd name="connsiteY4" fmla="*/ 635 h 41899"/>
                <a:gd name="connsiteX5" fmla="*/ 0 w 10792"/>
                <a:gd name="connsiteY5" fmla="*/ 38725 h 41899"/>
                <a:gd name="connsiteX6" fmla="*/ 7110 w 10792"/>
                <a:gd name="connsiteY6" fmla="*/ 40883 h 41899"/>
                <a:gd name="connsiteX7" fmla="*/ 7110 w 10792"/>
                <a:gd name="connsiteY7" fmla="*/ 40883 h 41899"/>
                <a:gd name="connsiteX8" fmla="*/ 10792 w 10792"/>
                <a:gd name="connsiteY8" fmla="*/ 41899 h 41899"/>
                <a:gd name="connsiteX9" fmla="*/ 10792 w 10792"/>
                <a:gd name="connsiteY9" fmla="*/ 0 h 41899"/>
                <a:gd name="connsiteX10" fmla="*/ 9142 w 10792"/>
                <a:gd name="connsiteY10" fmla="*/ 1397 h 4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92" h="41899">
                  <a:moveTo>
                    <a:pt x="8253" y="1016"/>
                  </a:moveTo>
                  <a:lnTo>
                    <a:pt x="8253" y="1016"/>
                  </a:lnTo>
                  <a:cubicBezTo>
                    <a:pt x="7377" y="1446"/>
                    <a:pt x="6425" y="1704"/>
                    <a:pt x="5460" y="1778"/>
                  </a:cubicBezTo>
                  <a:lnTo>
                    <a:pt x="3682" y="1778"/>
                  </a:lnTo>
                  <a:lnTo>
                    <a:pt x="0" y="635"/>
                  </a:lnTo>
                  <a:lnTo>
                    <a:pt x="0" y="38725"/>
                  </a:lnTo>
                  <a:lnTo>
                    <a:pt x="7110" y="40883"/>
                  </a:lnTo>
                  <a:lnTo>
                    <a:pt x="7110" y="40883"/>
                  </a:lnTo>
                  <a:lnTo>
                    <a:pt x="10792" y="41899"/>
                  </a:lnTo>
                  <a:lnTo>
                    <a:pt x="10792" y="0"/>
                  </a:lnTo>
                  <a:lnTo>
                    <a:pt x="9142" y="1397"/>
                  </a:lnTo>
                  <a:close/>
                </a:path>
              </a:pathLst>
            </a:custGeom>
            <a:solidFill>
              <a:srgbClr val="000000"/>
            </a:solidFill>
            <a:ln w="1269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988C2431-2DCA-4469-801A-EA583927F1BD}"/>
                </a:ext>
              </a:extLst>
            </p:cNvPr>
            <p:cNvSpPr/>
            <p:nvPr/>
          </p:nvSpPr>
          <p:spPr>
            <a:xfrm>
              <a:off x="5060827" y="1074775"/>
              <a:ext cx="287075" cy="95227"/>
            </a:xfrm>
            <a:custGeom>
              <a:avLst/>
              <a:gdLst>
                <a:gd name="connsiteX0" fmla="*/ 281616 w 287075"/>
                <a:gd name="connsiteY0" fmla="*/ 94083 h 95227"/>
                <a:gd name="connsiteX1" fmla="*/ 285298 w 287075"/>
                <a:gd name="connsiteY1" fmla="*/ 95225 h 95227"/>
                <a:gd name="connsiteX2" fmla="*/ 287075 w 287075"/>
                <a:gd name="connsiteY2" fmla="*/ 95225 h 95227"/>
                <a:gd name="connsiteX3" fmla="*/ 283139 w 287075"/>
                <a:gd name="connsiteY3" fmla="*/ 93702 h 95227"/>
                <a:gd name="connsiteX4" fmla="*/ 282797 w 287075"/>
                <a:gd name="connsiteY4" fmla="*/ 87068 h 95227"/>
                <a:gd name="connsiteX5" fmla="*/ 283139 w 287075"/>
                <a:gd name="connsiteY5" fmla="*/ 86719 h 95227"/>
                <a:gd name="connsiteX6" fmla="*/ 285551 w 287075"/>
                <a:gd name="connsiteY6" fmla="*/ 84687 h 95227"/>
                <a:gd name="connsiteX7" fmla="*/ 5206 w 287075"/>
                <a:gd name="connsiteY7" fmla="*/ 0 h 95227"/>
                <a:gd name="connsiteX8" fmla="*/ 0 w 287075"/>
                <a:gd name="connsiteY8" fmla="*/ 4190 h 95227"/>
                <a:gd name="connsiteX9" fmla="*/ 0 w 287075"/>
                <a:gd name="connsiteY9" fmla="*/ 8761 h 9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75" h="95227">
                  <a:moveTo>
                    <a:pt x="281616" y="94083"/>
                  </a:moveTo>
                  <a:lnTo>
                    <a:pt x="285298" y="95225"/>
                  </a:lnTo>
                  <a:lnTo>
                    <a:pt x="287075" y="95225"/>
                  </a:lnTo>
                  <a:cubicBezTo>
                    <a:pt x="285615" y="95266"/>
                    <a:pt x="284193" y="94716"/>
                    <a:pt x="283139" y="93702"/>
                  </a:cubicBezTo>
                  <a:cubicBezTo>
                    <a:pt x="281209" y="91966"/>
                    <a:pt x="281057" y="88995"/>
                    <a:pt x="282797" y="87068"/>
                  </a:cubicBezTo>
                  <a:cubicBezTo>
                    <a:pt x="282898" y="86945"/>
                    <a:pt x="283012" y="86829"/>
                    <a:pt x="283139" y="86719"/>
                  </a:cubicBezTo>
                  <a:lnTo>
                    <a:pt x="285551" y="84687"/>
                  </a:lnTo>
                  <a:lnTo>
                    <a:pt x="5206" y="0"/>
                  </a:lnTo>
                  <a:lnTo>
                    <a:pt x="0" y="4190"/>
                  </a:lnTo>
                  <a:lnTo>
                    <a:pt x="0" y="8761"/>
                  </a:lnTo>
                  <a:close/>
                </a:path>
              </a:pathLst>
            </a:custGeom>
            <a:solidFill>
              <a:srgbClr val="000000"/>
            </a:solidFill>
            <a:ln w="1269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9CCAF3D4-9178-4B36-A763-FA90C3CA7E5F}"/>
                </a:ext>
              </a:extLst>
            </p:cNvPr>
            <p:cNvSpPr/>
            <p:nvPr/>
          </p:nvSpPr>
          <p:spPr>
            <a:xfrm>
              <a:off x="5050543" y="1073378"/>
              <a:ext cx="634" cy="761"/>
            </a:xfrm>
            <a:custGeom>
              <a:avLst/>
              <a:gdLst>
                <a:gd name="connsiteX0" fmla="*/ 635 w 634"/>
                <a:gd name="connsiteY0" fmla="*/ 0 h 761"/>
                <a:gd name="connsiteX1" fmla="*/ 0 w 634"/>
                <a:gd name="connsiteY1" fmla="*/ 762 h 761"/>
                <a:gd name="connsiteX2" fmla="*/ 0 w 634"/>
                <a:gd name="connsiteY2" fmla="*/ 762 h 761"/>
              </a:gdLst>
              <a:ahLst/>
              <a:cxnLst>
                <a:cxn ang="0">
                  <a:pos x="connsiteX0" y="connsiteY0"/>
                </a:cxn>
                <a:cxn ang="0">
                  <a:pos x="connsiteX1" y="connsiteY1"/>
                </a:cxn>
                <a:cxn ang="0">
                  <a:pos x="connsiteX2" y="connsiteY2"/>
                </a:cxn>
              </a:cxnLst>
              <a:rect l="l" t="t" r="r" b="b"/>
              <a:pathLst>
                <a:path w="634" h="761">
                  <a:moveTo>
                    <a:pt x="635" y="0"/>
                  </a:moveTo>
                  <a:lnTo>
                    <a:pt x="0" y="762"/>
                  </a:lnTo>
                  <a:lnTo>
                    <a:pt x="0" y="762"/>
                  </a:lnTo>
                  <a:close/>
                </a:path>
              </a:pathLst>
            </a:custGeom>
            <a:solidFill>
              <a:srgbClr val="000000"/>
            </a:solidFill>
            <a:ln w="1269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6DE024CE-4651-4B23-BF4A-07ADA15E3038}"/>
                </a:ext>
              </a:extLst>
            </p:cNvPr>
            <p:cNvSpPr/>
            <p:nvPr/>
          </p:nvSpPr>
          <p:spPr>
            <a:xfrm>
              <a:off x="5050035" y="1075028"/>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BA44822F-3017-4D62-BCBE-35E50F93B583}"/>
                </a:ext>
              </a:extLst>
            </p:cNvPr>
            <p:cNvSpPr/>
            <p:nvPr/>
          </p:nvSpPr>
          <p:spPr>
            <a:xfrm>
              <a:off x="5342475" y="354439"/>
              <a:ext cx="944202" cy="815816"/>
            </a:xfrm>
            <a:custGeom>
              <a:avLst/>
              <a:gdLst>
                <a:gd name="connsiteX0" fmla="*/ 1491 w 944202"/>
                <a:gd name="connsiteY0" fmla="*/ 814291 h 815816"/>
                <a:gd name="connsiteX1" fmla="*/ 5427 w 944202"/>
                <a:gd name="connsiteY1" fmla="*/ 815815 h 815816"/>
                <a:gd name="connsiteX2" fmla="*/ 8221 w 944202"/>
                <a:gd name="connsiteY2" fmla="*/ 815053 h 815816"/>
                <a:gd name="connsiteX3" fmla="*/ 8221 w 944202"/>
                <a:gd name="connsiteY3" fmla="*/ 815053 h 815816"/>
                <a:gd name="connsiteX4" fmla="*/ 8221 w 944202"/>
                <a:gd name="connsiteY4" fmla="*/ 815053 h 815816"/>
                <a:gd name="connsiteX5" fmla="*/ 9871 w 944202"/>
                <a:gd name="connsiteY5" fmla="*/ 813656 h 815816"/>
                <a:gd name="connsiteX6" fmla="*/ 933438 w 944202"/>
                <a:gd name="connsiteY6" fmla="*/ 16303 h 815816"/>
                <a:gd name="connsiteX7" fmla="*/ 940168 w 944202"/>
                <a:gd name="connsiteY7" fmla="*/ 10463 h 815816"/>
                <a:gd name="connsiteX8" fmla="*/ 942580 w 944202"/>
                <a:gd name="connsiteY8" fmla="*/ 8431 h 815816"/>
                <a:gd name="connsiteX9" fmla="*/ 943126 w 944202"/>
                <a:gd name="connsiteY9" fmla="*/ 1990 h 815816"/>
                <a:gd name="connsiteX10" fmla="*/ 942580 w 944202"/>
                <a:gd name="connsiteY10" fmla="*/ 1448 h 815816"/>
                <a:gd name="connsiteX11" fmla="*/ 939787 w 944202"/>
                <a:gd name="connsiteY11" fmla="*/ 51 h 815816"/>
                <a:gd name="connsiteX12" fmla="*/ 937628 w 944202"/>
                <a:gd name="connsiteY12" fmla="*/ 51 h 815816"/>
                <a:gd name="connsiteX13" fmla="*/ 936739 w 944202"/>
                <a:gd name="connsiteY13" fmla="*/ 51 h 815816"/>
                <a:gd name="connsiteX14" fmla="*/ 936739 w 944202"/>
                <a:gd name="connsiteY14" fmla="*/ 51 h 815816"/>
                <a:gd name="connsiteX15" fmla="*/ 935724 w 944202"/>
                <a:gd name="connsiteY15" fmla="*/ 51 h 815816"/>
                <a:gd name="connsiteX16" fmla="*/ 935089 w 944202"/>
                <a:gd name="connsiteY16" fmla="*/ 51 h 815816"/>
                <a:gd name="connsiteX17" fmla="*/ 935089 w 944202"/>
                <a:gd name="connsiteY17" fmla="*/ 51 h 815816"/>
                <a:gd name="connsiteX18" fmla="*/ 4030 w 944202"/>
                <a:gd name="connsiteY18" fmla="*/ 805276 h 815816"/>
                <a:gd name="connsiteX19" fmla="*/ 1618 w 944202"/>
                <a:gd name="connsiteY19" fmla="*/ 807308 h 815816"/>
                <a:gd name="connsiteX20" fmla="*/ 1148 w 944202"/>
                <a:gd name="connsiteY20" fmla="*/ 813934 h 815816"/>
                <a:gd name="connsiteX21" fmla="*/ 1491 w 944202"/>
                <a:gd name="connsiteY21" fmla="*/ 814291 h 81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44202" h="815816">
                  <a:moveTo>
                    <a:pt x="1491" y="814291"/>
                  </a:moveTo>
                  <a:cubicBezTo>
                    <a:pt x="2545" y="815306"/>
                    <a:pt x="3967" y="815855"/>
                    <a:pt x="5427" y="815815"/>
                  </a:cubicBezTo>
                  <a:cubicBezTo>
                    <a:pt x="6405" y="815742"/>
                    <a:pt x="7345" y="815483"/>
                    <a:pt x="8221" y="815053"/>
                  </a:cubicBezTo>
                  <a:lnTo>
                    <a:pt x="8221" y="815053"/>
                  </a:lnTo>
                  <a:lnTo>
                    <a:pt x="8221" y="815053"/>
                  </a:lnTo>
                  <a:lnTo>
                    <a:pt x="9871" y="813656"/>
                  </a:lnTo>
                  <a:lnTo>
                    <a:pt x="933438" y="16303"/>
                  </a:lnTo>
                  <a:lnTo>
                    <a:pt x="940168" y="10463"/>
                  </a:lnTo>
                  <a:lnTo>
                    <a:pt x="942580" y="8431"/>
                  </a:lnTo>
                  <a:cubicBezTo>
                    <a:pt x="944510" y="6802"/>
                    <a:pt x="944751" y="3919"/>
                    <a:pt x="943126" y="1990"/>
                  </a:cubicBezTo>
                  <a:cubicBezTo>
                    <a:pt x="942961" y="1795"/>
                    <a:pt x="942770" y="1613"/>
                    <a:pt x="942580" y="1448"/>
                  </a:cubicBezTo>
                  <a:cubicBezTo>
                    <a:pt x="941793" y="737"/>
                    <a:pt x="940828" y="255"/>
                    <a:pt x="939787" y="51"/>
                  </a:cubicBezTo>
                  <a:lnTo>
                    <a:pt x="937628" y="51"/>
                  </a:lnTo>
                  <a:lnTo>
                    <a:pt x="936739" y="51"/>
                  </a:lnTo>
                  <a:lnTo>
                    <a:pt x="936739" y="51"/>
                  </a:lnTo>
                  <a:cubicBezTo>
                    <a:pt x="936409" y="-17"/>
                    <a:pt x="936054" y="-17"/>
                    <a:pt x="935724" y="51"/>
                  </a:cubicBezTo>
                  <a:lnTo>
                    <a:pt x="935089" y="51"/>
                  </a:lnTo>
                  <a:lnTo>
                    <a:pt x="935089" y="51"/>
                  </a:lnTo>
                  <a:lnTo>
                    <a:pt x="4030" y="805276"/>
                  </a:lnTo>
                  <a:lnTo>
                    <a:pt x="1618" y="807308"/>
                  </a:lnTo>
                  <a:cubicBezTo>
                    <a:pt x="-337" y="809008"/>
                    <a:pt x="-553" y="811975"/>
                    <a:pt x="1148" y="813934"/>
                  </a:cubicBezTo>
                  <a:cubicBezTo>
                    <a:pt x="1250" y="814060"/>
                    <a:pt x="1364" y="814178"/>
                    <a:pt x="1491" y="814291"/>
                  </a:cubicBezTo>
                  <a:close/>
                </a:path>
              </a:pathLst>
            </a:custGeom>
            <a:solidFill>
              <a:srgbClr val="000000"/>
            </a:solidFill>
            <a:ln w="1269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17E1560B-2CB4-47FC-902A-D244B564BCF8}"/>
                </a:ext>
              </a:extLst>
            </p:cNvPr>
            <p:cNvSpPr/>
            <p:nvPr/>
          </p:nvSpPr>
          <p:spPr>
            <a:xfrm>
              <a:off x="10102355" y="2381138"/>
              <a:ext cx="1506478" cy="460636"/>
            </a:xfrm>
            <a:custGeom>
              <a:avLst/>
              <a:gdLst>
                <a:gd name="connsiteX0" fmla="*/ 2540 w 1506478"/>
                <a:gd name="connsiteY0" fmla="*/ 7364 h 460636"/>
                <a:gd name="connsiteX1" fmla="*/ 254 w 1506478"/>
                <a:gd name="connsiteY1" fmla="*/ 9269 h 460636"/>
                <a:gd name="connsiteX2" fmla="*/ 1494289 w 1506478"/>
                <a:gd name="connsiteY2" fmla="*/ 460637 h 460636"/>
                <a:gd name="connsiteX3" fmla="*/ 1501146 w 1506478"/>
                <a:gd name="connsiteY3" fmla="*/ 455050 h 460636"/>
                <a:gd name="connsiteX4" fmla="*/ 1501781 w 1506478"/>
                <a:gd name="connsiteY4" fmla="*/ 455050 h 460636"/>
                <a:gd name="connsiteX5" fmla="*/ 1502670 w 1506478"/>
                <a:gd name="connsiteY5" fmla="*/ 455050 h 460636"/>
                <a:gd name="connsiteX6" fmla="*/ 1503686 w 1506478"/>
                <a:gd name="connsiteY6" fmla="*/ 455050 h 460636"/>
                <a:gd name="connsiteX7" fmla="*/ 1506479 w 1506478"/>
                <a:gd name="connsiteY7" fmla="*/ 455050 h 460636"/>
                <a:gd name="connsiteX8" fmla="*/ 635 w 1506478"/>
                <a:gd name="connsiteY8" fmla="*/ 0 h 460636"/>
                <a:gd name="connsiteX9" fmla="*/ 0 w 1506478"/>
                <a:gd name="connsiteY9" fmla="*/ 0 h 460636"/>
                <a:gd name="connsiteX10" fmla="*/ 3048 w 1506478"/>
                <a:gd name="connsiteY10" fmla="*/ 1397 h 460636"/>
                <a:gd name="connsiteX11" fmla="*/ 2540 w 1506478"/>
                <a:gd name="connsiteY11" fmla="*/ 7364 h 46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478" h="460636">
                  <a:moveTo>
                    <a:pt x="2540" y="7364"/>
                  </a:moveTo>
                  <a:lnTo>
                    <a:pt x="254" y="9269"/>
                  </a:lnTo>
                  <a:lnTo>
                    <a:pt x="1494289" y="460637"/>
                  </a:lnTo>
                  <a:lnTo>
                    <a:pt x="1501146" y="455050"/>
                  </a:lnTo>
                  <a:lnTo>
                    <a:pt x="1501781" y="455050"/>
                  </a:lnTo>
                  <a:lnTo>
                    <a:pt x="1502670" y="455050"/>
                  </a:lnTo>
                  <a:lnTo>
                    <a:pt x="1503686" y="455050"/>
                  </a:lnTo>
                  <a:lnTo>
                    <a:pt x="1506479" y="455050"/>
                  </a:lnTo>
                  <a:lnTo>
                    <a:pt x="635" y="0"/>
                  </a:lnTo>
                  <a:lnTo>
                    <a:pt x="0" y="0"/>
                  </a:lnTo>
                  <a:cubicBezTo>
                    <a:pt x="1131" y="140"/>
                    <a:pt x="2197" y="635"/>
                    <a:pt x="3048" y="1397"/>
                  </a:cubicBezTo>
                  <a:cubicBezTo>
                    <a:pt x="4330" y="3251"/>
                    <a:pt x="4114" y="5752"/>
                    <a:pt x="2540" y="7364"/>
                  </a:cubicBezTo>
                  <a:close/>
                </a:path>
              </a:pathLst>
            </a:custGeom>
            <a:solidFill>
              <a:srgbClr val="000000"/>
            </a:solidFill>
            <a:ln w="1269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26F3B0DE-2D55-4F7C-A299-0F4CBDC61B1B}"/>
                </a:ext>
              </a:extLst>
            </p:cNvPr>
            <p:cNvSpPr/>
            <p:nvPr/>
          </p:nvSpPr>
          <p:spPr>
            <a:xfrm>
              <a:off x="11308173" y="2835554"/>
              <a:ext cx="300280" cy="253553"/>
            </a:xfrm>
            <a:custGeom>
              <a:avLst/>
              <a:gdLst>
                <a:gd name="connsiteX0" fmla="*/ 508 w 300280"/>
                <a:gd name="connsiteY0" fmla="*/ 251395 h 253553"/>
                <a:gd name="connsiteX1" fmla="*/ 508 w 300280"/>
                <a:gd name="connsiteY1" fmla="*/ 253553 h 253553"/>
                <a:gd name="connsiteX2" fmla="*/ 300280 w 300280"/>
                <a:gd name="connsiteY2" fmla="*/ 9777 h 253553"/>
                <a:gd name="connsiteX3" fmla="*/ 296725 w 300280"/>
                <a:gd name="connsiteY3" fmla="*/ 8507 h 253553"/>
                <a:gd name="connsiteX4" fmla="*/ 293157 w 300280"/>
                <a:gd name="connsiteY4" fmla="*/ 2895 h 253553"/>
                <a:gd name="connsiteX5" fmla="*/ 293296 w 300280"/>
                <a:gd name="connsiteY5" fmla="*/ 2412 h 253553"/>
                <a:gd name="connsiteX6" fmla="*/ 295455 w 300280"/>
                <a:gd name="connsiteY6" fmla="*/ 0 h 253553"/>
                <a:gd name="connsiteX7" fmla="*/ 294820 w 300280"/>
                <a:gd name="connsiteY7" fmla="*/ 0 h 253553"/>
                <a:gd name="connsiteX8" fmla="*/ 287964 w 300280"/>
                <a:gd name="connsiteY8" fmla="*/ 5587 h 253553"/>
                <a:gd name="connsiteX9" fmla="*/ 0 w 300280"/>
                <a:gd name="connsiteY9" fmla="*/ 239714 h 253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280" h="253553">
                  <a:moveTo>
                    <a:pt x="508" y="251395"/>
                  </a:moveTo>
                  <a:lnTo>
                    <a:pt x="508" y="253553"/>
                  </a:lnTo>
                  <a:lnTo>
                    <a:pt x="300280" y="9777"/>
                  </a:lnTo>
                  <a:lnTo>
                    <a:pt x="296725" y="8507"/>
                  </a:lnTo>
                  <a:cubicBezTo>
                    <a:pt x="294198" y="7948"/>
                    <a:pt x="292598" y="5434"/>
                    <a:pt x="293157" y="2895"/>
                  </a:cubicBezTo>
                  <a:cubicBezTo>
                    <a:pt x="293195" y="2730"/>
                    <a:pt x="293246" y="2577"/>
                    <a:pt x="293296" y="2412"/>
                  </a:cubicBezTo>
                  <a:cubicBezTo>
                    <a:pt x="293690" y="1371"/>
                    <a:pt x="294452" y="508"/>
                    <a:pt x="295455" y="0"/>
                  </a:cubicBezTo>
                  <a:lnTo>
                    <a:pt x="294820" y="0"/>
                  </a:lnTo>
                  <a:lnTo>
                    <a:pt x="287964" y="5587"/>
                  </a:lnTo>
                  <a:lnTo>
                    <a:pt x="0" y="239714"/>
                  </a:lnTo>
                  <a:close/>
                </a:path>
              </a:pathLst>
            </a:custGeom>
            <a:solidFill>
              <a:srgbClr val="000000"/>
            </a:solidFill>
            <a:ln w="1269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5D686862-196C-4DE9-B40B-182182D39A11}"/>
                </a:ext>
              </a:extLst>
            </p:cNvPr>
            <p:cNvSpPr/>
            <p:nvPr/>
          </p:nvSpPr>
          <p:spPr>
            <a:xfrm>
              <a:off x="7601208" y="1036304"/>
              <a:ext cx="156170" cy="132680"/>
            </a:xfrm>
            <a:custGeom>
              <a:avLst/>
              <a:gdLst>
                <a:gd name="connsiteX0" fmla="*/ 147029 w 156170"/>
                <a:gd name="connsiteY0" fmla="*/ 2158 h 132680"/>
                <a:gd name="connsiteX1" fmla="*/ 147029 w 156170"/>
                <a:gd name="connsiteY1" fmla="*/ 0 h 132680"/>
                <a:gd name="connsiteX2" fmla="*/ 1651 w 156170"/>
                <a:gd name="connsiteY2" fmla="*/ 118079 h 132680"/>
                <a:gd name="connsiteX3" fmla="*/ 1651 w 156170"/>
                <a:gd name="connsiteY3" fmla="*/ 128998 h 132680"/>
                <a:gd name="connsiteX4" fmla="*/ 1651 w 156170"/>
                <a:gd name="connsiteY4" fmla="*/ 129887 h 132680"/>
                <a:gd name="connsiteX5" fmla="*/ 1651 w 156170"/>
                <a:gd name="connsiteY5" fmla="*/ 130522 h 132680"/>
                <a:gd name="connsiteX6" fmla="*/ 1651 w 156170"/>
                <a:gd name="connsiteY6" fmla="*/ 130522 h 132680"/>
                <a:gd name="connsiteX7" fmla="*/ 0 w 156170"/>
                <a:gd name="connsiteY7" fmla="*/ 132681 h 132680"/>
                <a:gd name="connsiteX8" fmla="*/ 0 w 156170"/>
                <a:gd name="connsiteY8" fmla="*/ 132681 h 132680"/>
                <a:gd name="connsiteX9" fmla="*/ 156171 w 156170"/>
                <a:gd name="connsiteY9" fmla="*/ 5713 h 132680"/>
                <a:gd name="connsiteX10" fmla="*/ 156171 w 156170"/>
                <a:gd name="connsiteY10" fmla="*/ 5713 h 132680"/>
                <a:gd name="connsiteX11" fmla="*/ 152489 w 156170"/>
                <a:gd name="connsiteY11" fmla="*/ 7110 h 132680"/>
                <a:gd name="connsiteX12" fmla="*/ 147029 w 156170"/>
                <a:gd name="connsiteY12" fmla="*/ 2171 h 132680"/>
                <a:gd name="connsiteX13" fmla="*/ 147029 w 156170"/>
                <a:gd name="connsiteY13" fmla="*/ 2158 h 132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70" h="132680">
                  <a:moveTo>
                    <a:pt x="147029" y="2158"/>
                  </a:moveTo>
                  <a:lnTo>
                    <a:pt x="147029" y="0"/>
                  </a:lnTo>
                  <a:lnTo>
                    <a:pt x="1651" y="118079"/>
                  </a:lnTo>
                  <a:lnTo>
                    <a:pt x="1651" y="128998"/>
                  </a:lnTo>
                  <a:cubicBezTo>
                    <a:pt x="1689" y="129293"/>
                    <a:pt x="1689" y="129593"/>
                    <a:pt x="1651" y="129887"/>
                  </a:cubicBezTo>
                  <a:lnTo>
                    <a:pt x="1651" y="130522"/>
                  </a:lnTo>
                  <a:lnTo>
                    <a:pt x="1651" y="130522"/>
                  </a:lnTo>
                  <a:cubicBezTo>
                    <a:pt x="1295" y="131369"/>
                    <a:pt x="724" y="132112"/>
                    <a:pt x="0" y="132681"/>
                  </a:cubicBezTo>
                  <a:cubicBezTo>
                    <a:pt x="0" y="132681"/>
                    <a:pt x="0" y="132681"/>
                    <a:pt x="0" y="132681"/>
                  </a:cubicBezTo>
                  <a:lnTo>
                    <a:pt x="156171" y="5713"/>
                  </a:lnTo>
                  <a:lnTo>
                    <a:pt x="156171" y="5713"/>
                  </a:lnTo>
                  <a:cubicBezTo>
                    <a:pt x="155156" y="6610"/>
                    <a:pt x="153847" y="7106"/>
                    <a:pt x="152489" y="7110"/>
                  </a:cubicBezTo>
                  <a:cubicBezTo>
                    <a:pt x="149619" y="7254"/>
                    <a:pt x="147169" y="5042"/>
                    <a:pt x="147029" y="2171"/>
                  </a:cubicBezTo>
                  <a:cubicBezTo>
                    <a:pt x="147029" y="2166"/>
                    <a:pt x="147029" y="2162"/>
                    <a:pt x="147029" y="2158"/>
                  </a:cubicBezTo>
                  <a:close/>
                </a:path>
              </a:pathLst>
            </a:custGeom>
            <a:solidFill>
              <a:srgbClr val="000000"/>
            </a:solidFill>
            <a:ln w="1269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8A89F781-BE97-4EDB-B6B1-600887E6239A}"/>
                </a:ext>
              </a:extLst>
            </p:cNvPr>
            <p:cNvSpPr/>
            <p:nvPr/>
          </p:nvSpPr>
          <p:spPr>
            <a:xfrm>
              <a:off x="6382947" y="795320"/>
              <a:ext cx="1214197" cy="374933"/>
            </a:xfrm>
            <a:custGeom>
              <a:avLst/>
              <a:gdLst>
                <a:gd name="connsiteX0" fmla="*/ 1209754 w 1214197"/>
                <a:gd name="connsiteY0" fmla="*/ 369982 h 374933"/>
                <a:gd name="connsiteX1" fmla="*/ 1209754 w 1214197"/>
                <a:gd name="connsiteY1" fmla="*/ 363253 h 374933"/>
                <a:gd name="connsiteX2" fmla="*/ 7364 w 1214197"/>
                <a:gd name="connsiteY2" fmla="*/ 0 h 374933"/>
                <a:gd name="connsiteX3" fmla="*/ 7364 w 1214197"/>
                <a:gd name="connsiteY3" fmla="*/ 3555 h 374933"/>
                <a:gd name="connsiteX4" fmla="*/ 1917 w 1214197"/>
                <a:gd name="connsiteY4" fmla="*/ 8507 h 374933"/>
                <a:gd name="connsiteX5" fmla="*/ 1904 w 1214197"/>
                <a:gd name="connsiteY5" fmla="*/ 8507 h 374933"/>
                <a:gd name="connsiteX6" fmla="*/ 0 w 1214197"/>
                <a:gd name="connsiteY6" fmla="*/ 8507 h 374933"/>
                <a:gd name="connsiteX7" fmla="*/ 0 w 1214197"/>
                <a:gd name="connsiteY7" fmla="*/ 8507 h 374933"/>
                <a:gd name="connsiteX8" fmla="*/ 1212546 w 1214197"/>
                <a:gd name="connsiteY8" fmla="*/ 374934 h 374933"/>
                <a:gd name="connsiteX9" fmla="*/ 1214197 w 1214197"/>
                <a:gd name="connsiteY9" fmla="*/ 374934 h 374933"/>
                <a:gd name="connsiteX10" fmla="*/ 1209754 w 1214197"/>
                <a:gd name="connsiteY10" fmla="*/ 369982 h 37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197" h="374933">
                  <a:moveTo>
                    <a:pt x="1209754" y="369982"/>
                  </a:moveTo>
                  <a:lnTo>
                    <a:pt x="1209754" y="363253"/>
                  </a:lnTo>
                  <a:lnTo>
                    <a:pt x="7364" y="0"/>
                  </a:lnTo>
                  <a:lnTo>
                    <a:pt x="7364" y="3555"/>
                  </a:lnTo>
                  <a:cubicBezTo>
                    <a:pt x="7224" y="6427"/>
                    <a:pt x="4786" y="8644"/>
                    <a:pt x="1917" y="8507"/>
                  </a:cubicBezTo>
                  <a:cubicBezTo>
                    <a:pt x="1917" y="8507"/>
                    <a:pt x="1904" y="8507"/>
                    <a:pt x="1904" y="8507"/>
                  </a:cubicBezTo>
                  <a:cubicBezTo>
                    <a:pt x="1270" y="8627"/>
                    <a:pt x="635" y="8627"/>
                    <a:pt x="0" y="8507"/>
                  </a:cubicBezTo>
                  <a:lnTo>
                    <a:pt x="0" y="8507"/>
                  </a:lnTo>
                  <a:lnTo>
                    <a:pt x="1212546" y="374934"/>
                  </a:lnTo>
                  <a:lnTo>
                    <a:pt x="1214197" y="374934"/>
                  </a:lnTo>
                  <a:cubicBezTo>
                    <a:pt x="1211696" y="374619"/>
                    <a:pt x="1209792" y="372509"/>
                    <a:pt x="1209754" y="369982"/>
                  </a:cubicBezTo>
                  <a:close/>
                </a:path>
              </a:pathLst>
            </a:custGeom>
            <a:solidFill>
              <a:srgbClr val="000000"/>
            </a:solidFill>
            <a:ln w="1269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9356E98E-B942-4934-A28D-827FF40186C3}"/>
                </a:ext>
              </a:extLst>
            </p:cNvPr>
            <p:cNvSpPr/>
            <p:nvPr/>
          </p:nvSpPr>
          <p:spPr>
            <a:xfrm>
              <a:off x="7602605" y="116619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lnTo>
                    <a:pt x="0" y="0"/>
                  </a:lnTo>
                  <a:cubicBezTo>
                    <a:pt x="63" y="250"/>
                    <a:pt x="63" y="512"/>
                    <a:pt x="0" y="762"/>
                  </a:cubicBezTo>
                  <a:close/>
                </a:path>
              </a:pathLst>
            </a:custGeom>
            <a:solidFill>
              <a:srgbClr val="000000"/>
            </a:solidFill>
            <a:ln w="1269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BDFF16F2-1772-4E70-A341-7D0FA8A719B7}"/>
                </a:ext>
              </a:extLst>
            </p:cNvPr>
            <p:cNvSpPr/>
            <p:nvPr/>
          </p:nvSpPr>
          <p:spPr>
            <a:xfrm>
              <a:off x="6379900" y="69336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9A5EBB83-60A1-478B-A844-A750B2DB47D8}"/>
                </a:ext>
              </a:extLst>
            </p:cNvPr>
            <p:cNvSpPr/>
            <p:nvPr/>
          </p:nvSpPr>
          <p:spPr>
            <a:xfrm>
              <a:off x="6381170" y="69184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20050A17-3262-475F-B3CC-BB831DCCC68E}"/>
                </a:ext>
              </a:extLst>
            </p:cNvPr>
            <p:cNvSpPr/>
            <p:nvPr/>
          </p:nvSpPr>
          <p:spPr>
            <a:xfrm>
              <a:off x="6381259" y="696667"/>
              <a:ext cx="9052" cy="107123"/>
            </a:xfrm>
            <a:custGeom>
              <a:avLst/>
              <a:gdLst>
                <a:gd name="connsiteX0" fmla="*/ 9053 w 9052"/>
                <a:gd name="connsiteY0" fmla="*/ 102208 h 107123"/>
                <a:gd name="connsiteX1" fmla="*/ 9053 w 9052"/>
                <a:gd name="connsiteY1" fmla="*/ 5460 h 107123"/>
                <a:gd name="connsiteX2" fmla="*/ 1943 w 9052"/>
                <a:gd name="connsiteY2" fmla="*/ 3301 h 107123"/>
                <a:gd name="connsiteX3" fmla="*/ 1943 w 9052"/>
                <a:gd name="connsiteY3" fmla="*/ 3301 h 107123"/>
                <a:gd name="connsiteX4" fmla="*/ 1181 w 9052"/>
                <a:gd name="connsiteY4" fmla="*/ 3301 h 107123"/>
                <a:gd name="connsiteX5" fmla="*/ 38 w 9052"/>
                <a:gd name="connsiteY5" fmla="*/ 2666 h 107123"/>
                <a:gd name="connsiteX6" fmla="*/ 38 w 9052"/>
                <a:gd name="connsiteY6" fmla="*/ 2666 h 107123"/>
                <a:gd name="connsiteX7" fmla="*/ 38 w 9052"/>
                <a:gd name="connsiteY7" fmla="*/ 2666 h 107123"/>
                <a:gd name="connsiteX8" fmla="*/ 38 w 9052"/>
                <a:gd name="connsiteY8" fmla="*/ 1778 h 107123"/>
                <a:gd name="connsiteX9" fmla="*/ 38 w 9052"/>
                <a:gd name="connsiteY9" fmla="*/ 889 h 107123"/>
                <a:gd name="connsiteX10" fmla="*/ 38 w 9052"/>
                <a:gd name="connsiteY10" fmla="*/ 0 h 107123"/>
                <a:gd name="connsiteX11" fmla="*/ 38 w 9052"/>
                <a:gd name="connsiteY11" fmla="*/ 0 h 107123"/>
                <a:gd name="connsiteX12" fmla="*/ 38 w 9052"/>
                <a:gd name="connsiteY12" fmla="*/ 103732 h 107123"/>
                <a:gd name="connsiteX13" fmla="*/ 38 w 9052"/>
                <a:gd name="connsiteY13" fmla="*/ 104748 h 107123"/>
                <a:gd name="connsiteX14" fmla="*/ 38 w 9052"/>
                <a:gd name="connsiteY14" fmla="*/ 105510 h 107123"/>
                <a:gd name="connsiteX15" fmla="*/ 38 w 9052"/>
                <a:gd name="connsiteY15" fmla="*/ 106398 h 107123"/>
                <a:gd name="connsiteX16" fmla="*/ 673 w 9052"/>
                <a:gd name="connsiteY16" fmla="*/ 107033 h 107123"/>
                <a:gd name="connsiteX17" fmla="*/ 1562 w 9052"/>
                <a:gd name="connsiteY17" fmla="*/ 107033 h 107123"/>
                <a:gd name="connsiteX18" fmla="*/ 2450 w 9052"/>
                <a:gd name="connsiteY18" fmla="*/ 107033 h 107123"/>
                <a:gd name="connsiteX19" fmla="*/ 4355 w 9052"/>
                <a:gd name="connsiteY19" fmla="*/ 107033 h 107123"/>
                <a:gd name="connsiteX20" fmla="*/ 9053 w 9052"/>
                <a:gd name="connsiteY20" fmla="*/ 102208 h 10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52" h="107123">
                  <a:moveTo>
                    <a:pt x="9053" y="102208"/>
                  </a:moveTo>
                  <a:lnTo>
                    <a:pt x="9053" y="5460"/>
                  </a:lnTo>
                  <a:lnTo>
                    <a:pt x="1943" y="3301"/>
                  </a:lnTo>
                  <a:lnTo>
                    <a:pt x="1943" y="3301"/>
                  </a:lnTo>
                  <a:cubicBezTo>
                    <a:pt x="1943" y="3301"/>
                    <a:pt x="1943" y="3301"/>
                    <a:pt x="1181" y="3301"/>
                  </a:cubicBezTo>
                  <a:lnTo>
                    <a:pt x="38" y="2666"/>
                  </a:lnTo>
                  <a:lnTo>
                    <a:pt x="38" y="2666"/>
                  </a:lnTo>
                  <a:cubicBezTo>
                    <a:pt x="38" y="2666"/>
                    <a:pt x="38" y="2666"/>
                    <a:pt x="38" y="2666"/>
                  </a:cubicBezTo>
                  <a:lnTo>
                    <a:pt x="38" y="1778"/>
                  </a:lnTo>
                  <a:cubicBezTo>
                    <a:pt x="25" y="1482"/>
                    <a:pt x="25" y="1185"/>
                    <a:pt x="38" y="889"/>
                  </a:cubicBezTo>
                  <a:cubicBezTo>
                    <a:pt x="38" y="889"/>
                    <a:pt x="38" y="889"/>
                    <a:pt x="38" y="0"/>
                  </a:cubicBezTo>
                  <a:lnTo>
                    <a:pt x="38" y="0"/>
                  </a:lnTo>
                  <a:lnTo>
                    <a:pt x="38" y="103732"/>
                  </a:lnTo>
                  <a:cubicBezTo>
                    <a:pt x="-13" y="104069"/>
                    <a:pt x="-13" y="104411"/>
                    <a:pt x="38" y="104748"/>
                  </a:cubicBezTo>
                  <a:cubicBezTo>
                    <a:pt x="-13" y="104999"/>
                    <a:pt x="-13" y="105258"/>
                    <a:pt x="38" y="105510"/>
                  </a:cubicBezTo>
                  <a:cubicBezTo>
                    <a:pt x="13" y="105805"/>
                    <a:pt x="13" y="106103"/>
                    <a:pt x="38" y="106398"/>
                  </a:cubicBezTo>
                  <a:lnTo>
                    <a:pt x="673" y="107033"/>
                  </a:lnTo>
                  <a:lnTo>
                    <a:pt x="1562" y="107033"/>
                  </a:lnTo>
                  <a:lnTo>
                    <a:pt x="2450" y="107033"/>
                  </a:lnTo>
                  <a:cubicBezTo>
                    <a:pt x="3085" y="107154"/>
                    <a:pt x="3720" y="107154"/>
                    <a:pt x="4355" y="107033"/>
                  </a:cubicBezTo>
                  <a:cubicBezTo>
                    <a:pt x="6894" y="106791"/>
                    <a:pt x="8875" y="104749"/>
                    <a:pt x="9053" y="102208"/>
                  </a:cubicBezTo>
                  <a:close/>
                </a:path>
              </a:pathLst>
            </a:custGeom>
            <a:solidFill>
              <a:srgbClr val="000000"/>
            </a:solidFill>
            <a:ln w="1269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63C7A8B1-66AB-4B4E-A2A1-7BB76591B986}"/>
                </a:ext>
              </a:extLst>
            </p:cNvPr>
            <p:cNvSpPr/>
            <p:nvPr/>
          </p:nvSpPr>
          <p:spPr>
            <a:xfrm>
              <a:off x="7592701" y="1063728"/>
              <a:ext cx="9955" cy="106531"/>
            </a:xfrm>
            <a:custGeom>
              <a:avLst/>
              <a:gdLst>
                <a:gd name="connsiteX0" fmla="*/ 9904 w 9955"/>
                <a:gd name="connsiteY0" fmla="*/ 102462 h 106531"/>
                <a:gd name="connsiteX1" fmla="*/ 9904 w 9955"/>
                <a:gd name="connsiteY1" fmla="*/ 101574 h 106531"/>
                <a:gd name="connsiteX2" fmla="*/ 9904 w 9955"/>
                <a:gd name="connsiteY2" fmla="*/ 0 h 106531"/>
                <a:gd name="connsiteX3" fmla="*/ 8126 w 9955"/>
                <a:gd name="connsiteY3" fmla="*/ 1397 h 106531"/>
                <a:gd name="connsiteX4" fmla="*/ 8126 w 9955"/>
                <a:gd name="connsiteY4" fmla="*/ 1397 h 106531"/>
                <a:gd name="connsiteX5" fmla="*/ 6603 w 9955"/>
                <a:gd name="connsiteY5" fmla="*/ 2285 h 106531"/>
                <a:gd name="connsiteX6" fmla="*/ 4825 w 9955"/>
                <a:gd name="connsiteY6" fmla="*/ 2285 h 106531"/>
                <a:gd name="connsiteX7" fmla="*/ 3174 w 9955"/>
                <a:gd name="connsiteY7" fmla="*/ 2285 h 106531"/>
                <a:gd name="connsiteX8" fmla="*/ 0 w 9955"/>
                <a:gd name="connsiteY8" fmla="*/ 1524 h 106531"/>
                <a:gd name="connsiteX9" fmla="*/ 0 w 9955"/>
                <a:gd name="connsiteY9" fmla="*/ 101574 h 106531"/>
                <a:gd name="connsiteX10" fmla="*/ 5193 w 9955"/>
                <a:gd name="connsiteY10" fmla="*/ 106530 h 106531"/>
                <a:gd name="connsiteX11" fmla="*/ 5332 w 9955"/>
                <a:gd name="connsiteY11" fmla="*/ 106525 h 106531"/>
                <a:gd name="connsiteX12" fmla="*/ 8126 w 9955"/>
                <a:gd name="connsiteY12" fmla="*/ 105764 h 106531"/>
                <a:gd name="connsiteX13" fmla="*/ 8126 w 9955"/>
                <a:gd name="connsiteY13" fmla="*/ 105764 h 106531"/>
                <a:gd name="connsiteX14" fmla="*/ 8126 w 9955"/>
                <a:gd name="connsiteY14" fmla="*/ 105764 h 106531"/>
                <a:gd name="connsiteX15" fmla="*/ 9777 w 9955"/>
                <a:gd name="connsiteY15" fmla="*/ 103605 h 106531"/>
                <a:gd name="connsiteX16" fmla="*/ 9904 w 9955"/>
                <a:gd name="connsiteY16" fmla="*/ 102462 h 10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55" h="106531">
                  <a:moveTo>
                    <a:pt x="9904" y="102462"/>
                  </a:moveTo>
                  <a:cubicBezTo>
                    <a:pt x="9942" y="102168"/>
                    <a:pt x="9942" y="101868"/>
                    <a:pt x="9904" y="101574"/>
                  </a:cubicBezTo>
                  <a:lnTo>
                    <a:pt x="9904" y="0"/>
                  </a:lnTo>
                  <a:lnTo>
                    <a:pt x="8126" y="1397"/>
                  </a:lnTo>
                  <a:lnTo>
                    <a:pt x="8126" y="1397"/>
                  </a:lnTo>
                  <a:cubicBezTo>
                    <a:pt x="7669" y="1767"/>
                    <a:pt x="7148" y="2066"/>
                    <a:pt x="6603" y="2285"/>
                  </a:cubicBezTo>
                  <a:lnTo>
                    <a:pt x="4825" y="2285"/>
                  </a:lnTo>
                  <a:cubicBezTo>
                    <a:pt x="4279" y="2406"/>
                    <a:pt x="3721" y="2406"/>
                    <a:pt x="3174" y="2285"/>
                  </a:cubicBezTo>
                  <a:lnTo>
                    <a:pt x="0" y="1524"/>
                  </a:lnTo>
                  <a:lnTo>
                    <a:pt x="0" y="101574"/>
                  </a:lnTo>
                  <a:cubicBezTo>
                    <a:pt x="64" y="104377"/>
                    <a:pt x="2400" y="106596"/>
                    <a:pt x="5193" y="106530"/>
                  </a:cubicBezTo>
                  <a:cubicBezTo>
                    <a:pt x="5244" y="106529"/>
                    <a:pt x="5282" y="106528"/>
                    <a:pt x="5332" y="106525"/>
                  </a:cubicBezTo>
                  <a:cubicBezTo>
                    <a:pt x="6310" y="106486"/>
                    <a:pt x="7263" y="106224"/>
                    <a:pt x="8126" y="105764"/>
                  </a:cubicBezTo>
                  <a:lnTo>
                    <a:pt x="8126" y="105764"/>
                  </a:lnTo>
                  <a:lnTo>
                    <a:pt x="8126" y="105764"/>
                  </a:lnTo>
                  <a:cubicBezTo>
                    <a:pt x="8850" y="105195"/>
                    <a:pt x="9421" y="104452"/>
                    <a:pt x="9777" y="103605"/>
                  </a:cubicBezTo>
                  <a:cubicBezTo>
                    <a:pt x="9954" y="103252"/>
                    <a:pt x="10005" y="102846"/>
                    <a:pt x="9904" y="102462"/>
                  </a:cubicBezTo>
                  <a:close/>
                </a:path>
              </a:pathLst>
            </a:custGeom>
            <a:solidFill>
              <a:srgbClr val="000000"/>
            </a:solidFill>
            <a:ln w="1269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D505D175-39CF-48F4-91B1-1A80D94E9052}"/>
                </a:ext>
              </a:extLst>
            </p:cNvPr>
            <p:cNvSpPr/>
            <p:nvPr/>
          </p:nvSpPr>
          <p:spPr>
            <a:xfrm>
              <a:off x="6380408" y="691969"/>
              <a:ext cx="635" cy="761"/>
            </a:xfrm>
            <a:custGeom>
              <a:avLst/>
              <a:gdLst>
                <a:gd name="connsiteX0" fmla="*/ 635 w 635"/>
                <a:gd name="connsiteY0" fmla="*/ 0 h 761"/>
                <a:gd name="connsiteX1" fmla="*/ 0 w 635"/>
                <a:gd name="connsiteY1" fmla="*/ 762 h 761"/>
                <a:gd name="connsiteX2" fmla="*/ 635 w 635"/>
                <a:gd name="connsiteY2" fmla="*/ 0 h 761"/>
              </a:gdLst>
              <a:ahLst/>
              <a:cxnLst>
                <a:cxn ang="0">
                  <a:pos x="connsiteX0" y="connsiteY0"/>
                </a:cxn>
                <a:cxn ang="0">
                  <a:pos x="connsiteX1" y="connsiteY1"/>
                </a:cxn>
                <a:cxn ang="0">
                  <a:pos x="connsiteX2" y="connsiteY2"/>
                </a:cxn>
              </a:cxnLst>
              <a:rect l="l" t="t" r="r" b="b"/>
              <a:pathLst>
                <a:path w="635" h="761">
                  <a:moveTo>
                    <a:pt x="635" y="0"/>
                  </a:moveTo>
                  <a:lnTo>
                    <a:pt x="0" y="762"/>
                  </a:lnTo>
                  <a:cubicBezTo>
                    <a:pt x="0" y="762"/>
                    <a:pt x="0" y="127"/>
                    <a:pt x="635" y="0"/>
                  </a:cubicBezTo>
                  <a:close/>
                </a:path>
              </a:pathLst>
            </a:custGeom>
            <a:solidFill>
              <a:srgbClr val="000000"/>
            </a:solidFill>
            <a:ln w="1269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68CB36C9-E60A-4944-BE28-4D1D1ACD4E43}"/>
                </a:ext>
              </a:extLst>
            </p:cNvPr>
            <p:cNvSpPr/>
            <p:nvPr/>
          </p:nvSpPr>
          <p:spPr>
            <a:xfrm>
              <a:off x="6379900" y="692731"/>
              <a:ext cx="9" cy="888"/>
            </a:xfrm>
            <a:custGeom>
              <a:avLst/>
              <a:gdLst>
                <a:gd name="connsiteX0" fmla="*/ 0 w 9"/>
                <a:gd name="connsiteY0" fmla="*/ 889 h 888"/>
                <a:gd name="connsiteX1" fmla="*/ 0 w 9"/>
                <a:gd name="connsiteY1" fmla="*/ 889 h 888"/>
                <a:gd name="connsiteX2" fmla="*/ 0 w 9"/>
                <a:gd name="connsiteY2" fmla="*/ 889 h 888"/>
                <a:gd name="connsiteX3" fmla="*/ 0 w 9"/>
                <a:gd name="connsiteY3" fmla="*/ 0 h 888"/>
              </a:gdLst>
              <a:ahLst/>
              <a:cxnLst>
                <a:cxn ang="0">
                  <a:pos x="connsiteX0" y="connsiteY0"/>
                </a:cxn>
                <a:cxn ang="0">
                  <a:pos x="connsiteX1" y="connsiteY1"/>
                </a:cxn>
                <a:cxn ang="0">
                  <a:pos x="connsiteX2" y="connsiteY2"/>
                </a:cxn>
                <a:cxn ang="0">
                  <a:pos x="connsiteX3" y="connsiteY3"/>
                </a:cxn>
              </a:cxnLst>
              <a:rect l="l" t="t" r="r" b="b"/>
              <a:pathLst>
                <a:path w="9" h="888">
                  <a:moveTo>
                    <a:pt x="0" y="889"/>
                  </a:moveTo>
                  <a:lnTo>
                    <a:pt x="0" y="889"/>
                  </a:lnTo>
                  <a:cubicBezTo>
                    <a:pt x="0" y="889"/>
                    <a:pt x="0" y="889"/>
                    <a:pt x="0" y="889"/>
                  </a:cubicBezTo>
                  <a:cubicBezTo>
                    <a:pt x="12" y="593"/>
                    <a:pt x="12" y="296"/>
                    <a:pt x="0" y="0"/>
                  </a:cubicBezTo>
                  <a:close/>
                </a:path>
              </a:pathLst>
            </a:custGeom>
            <a:solidFill>
              <a:srgbClr val="000000"/>
            </a:solidFill>
            <a:ln w="1269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3288B58C-3FAD-4BF9-BA35-36CAC3F862A5}"/>
                </a:ext>
              </a:extLst>
            </p:cNvPr>
            <p:cNvSpPr/>
            <p:nvPr/>
          </p:nvSpPr>
          <p:spPr>
            <a:xfrm>
              <a:off x="6382947" y="693366"/>
              <a:ext cx="1215085" cy="373119"/>
            </a:xfrm>
            <a:custGeom>
              <a:avLst/>
              <a:gdLst>
                <a:gd name="connsiteX0" fmla="*/ 1210897 w 1215085"/>
                <a:gd name="connsiteY0" fmla="*/ 364776 h 373119"/>
                <a:gd name="connsiteX1" fmla="*/ 1213182 w 1215085"/>
                <a:gd name="connsiteY1" fmla="*/ 362872 h 373119"/>
                <a:gd name="connsiteX2" fmla="*/ 12443 w 1215085"/>
                <a:gd name="connsiteY2" fmla="*/ 0 h 373119"/>
                <a:gd name="connsiteX3" fmla="*/ 5587 w 1215085"/>
                <a:gd name="connsiteY3" fmla="*/ 5587 h 373119"/>
                <a:gd name="connsiteX4" fmla="*/ 1904 w 1215085"/>
                <a:gd name="connsiteY4" fmla="*/ 6856 h 373119"/>
                <a:gd name="connsiteX5" fmla="*/ 0 w 1215085"/>
                <a:gd name="connsiteY5" fmla="*/ 6856 h 373119"/>
                <a:gd name="connsiteX6" fmla="*/ 0 w 1215085"/>
                <a:gd name="connsiteY6" fmla="*/ 6856 h 373119"/>
                <a:gd name="connsiteX7" fmla="*/ 7110 w 1215085"/>
                <a:gd name="connsiteY7" fmla="*/ 9015 h 373119"/>
                <a:gd name="connsiteX8" fmla="*/ 1209754 w 1215085"/>
                <a:gd name="connsiteY8" fmla="*/ 371887 h 373119"/>
                <a:gd name="connsiteX9" fmla="*/ 1213435 w 1215085"/>
                <a:gd name="connsiteY9" fmla="*/ 373029 h 373119"/>
                <a:gd name="connsiteX10" fmla="*/ 1215086 w 1215085"/>
                <a:gd name="connsiteY10" fmla="*/ 373029 h 373119"/>
                <a:gd name="connsiteX11" fmla="*/ 1211023 w 1215085"/>
                <a:gd name="connsiteY11" fmla="*/ 371379 h 373119"/>
                <a:gd name="connsiteX12" fmla="*/ 1210756 w 1215085"/>
                <a:gd name="connsiteY12" fmla="*/ 364920 h 373119"/>
                <a:gd name="connsiteX13" fmla="*/ 1210897 w 1215085"/>
                <a:gd name="connsiteY13" fmla="*/ 364776 h 37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5085" h="373119">
                  <a:moveTo>
                    <a:pt x="1210897" y="364776"/>
                  </a:moveTo>
                  <a:lnTo>
                    <a:pt x="1213182" y="362872"/>
                  </a:lnTo>
                  <a:lnTo>
                    <a:pt x="12443" y="0"/>
                  </a:lnTo>
                  <a:lnTo>
                    <a:pt x="5587" y="5587"/>
                  </a:lnTo>
                  <a:cubicBezTo>
                    <a:pt x="4545" y="6428"/>
                    <a:pt x="3238" y="6878"/>
                    <a:pt x="1904" y="6856"/>
                  </a:cubicBezTo>
                  <a:cubicBezTo>
                    <a:pt x="1270" y="6977"/>
                    <a:pt x="635" y="6977"/>
                    <a:pt x="0" y="6856"/>
                  </a:cubicBezTo>
                  <a:lnTo>
                    <a:pt x="0" y="6856"/>
                  </a:lnTo>
                  <a:lnTo>
                    <a:pt x="7110" y="9015"/>
                  </a:lnTo>
                  <a:lnTo>
                    <a:pt x="1209754" y="371887"/>
                  </a:lnTo>
                  <a:lnTo>
                    <a:pt x="1213435" y="373029"/>
                  </a:lnTo>
                  <a:cubicBezTo>
                    <a:pt x="1213982" y="373150"/>
                    <a:pt x="1214540" y="373150"/>
                    <a:pt x="1215086" y="373029"/>
                  </a:cubicBezTo>
                  <a:cubicBezTo>
                    <a:pt x="1213562" y="373042"/>
                    <a:pt x="1212102" y="372448"/>
                    <a:pt x="1211023" y="371379"/>
                  </a:cubicBezTo>
                  <a:cubicBezTo>
                    <a:pt x="1209169" y="369668"/>
                    <a:pt x="1209042" y="366777"/>
                    <a:pt x="1210756" y="364920"/>
                  </a:cubicBezTo>
                  <a:cubicBezTo>
                    <a:pt x="1210807" y="364872"/>
                    <a:pt x="1210845" y="364823"/>
                    <a:pt x="1210897" y="364776"/>
                  </a:cubicBezTo>
                  <a:close/>
                </a:path>
              </a:pathLst>
            </a:custGeom>
            <a:solidFill>
              <a:srgbClr val="000000"/>
            </a:solidFill>
            <a:ln w="1269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88E1A80E-98A7-4116-848F-255975492ACC}"/>
                </a:ext>
              </a:extLst>
            </p:cNvPr>
            <p:cNvSpPr/>
            <p:nvPr/>
          </p:nvSpPr>
          <p:spPr>
            <a:xfrm>
              <a:off x="6379637" y="562970"/>
              <a:ext cx="160878" cy="135818"/>
            </a:xfrm>
            <a:custGeom>
              <a:avLst/>
              <a:gdLst>
                <a:gd name="connsiteX0" fmla="*/ 9 w 160878"/>
                <a:gd name="connsiteY0" fmla="*/ 133315 h 135818"/>
                <a:gd name="connsiteX1" fmla="*/ 9 w 160878"/>
                <a:gd name="connsiteY1" fmla="*/ 134204 h 135818"/>
                <a:gd name="connsiteX2" fmla="*/ 9 w 160878"/>
                <a:gd name="connsiteY2" fmla="*/ 135093 h 135818"/>
                <a:gd name="connsiteX3" fmla="*/ 9 w 160878"/>
                <a:gd name="connsiteY3" fmla="*/ 135093 h 135818"/>
                <a:gd name="connsiteX4" fmla="*/ 9 w 160878"/>
                <a:gd name="connsiteY4" fmla="*/ 135093 h 135818"/>
                <a:gd name="connsiteX5" fmla="*/ 1152 w 160878"/>
                <a:gd name="connsiteY5" fmla="*/ 135728 h 135818"/>
                <a:gd name="connsiteX6" fmla="*/ 1914 w 160878"/>
                <a:gd name="connsiteY6" fmla="*/ 135728 h 135818"/>
                <a:gd name="connsiteX7" fmla="*/ 3819 w 160878"/>
                <a:gd name="connsiteY7" fmla="*/ 135728 h 135818"/>
                <a:gd name="connsiteX8" fmla="*/ 7500 w 160878"/>
                <a:gd name="connsiteY8" fmla="*/ 134458 h 135818"/>
                <a:gd name="connsiteX9" fmla="*/ 14357 w 160878"/>
                <a:gd name="connsiteY9" fmla="*/ 128872 h 135818"/>
                <a:gd name="connsiteX10" fmla="*/ 160878 w 160878"/>
                <a:gd name="connsiteY10" fmla="*/ 9523 h 135818"/>
                <a:gd name="connsiteX11" fmla="*/ 157958 w 160878"/>
                <a:gd name="connsiteY11" fmla="*/ 8634 h 135818"/>
                <a:gd name="connsiteX12" fmla="*/ 154492 w 160878"/>
                <a:gd name="connsiteY12" fmla="*/ 2549 h 135818"/>
                <a:gd name="connsiteX13" fmla="*/ 154530 w 160878"/>
                <a:gd name="connsiteY13" fmla="*/ 2412 h 135818"/>
                <a:gd name="connsiteX14" fmla="*/ 156561 w 160878"/>
                <a:gd name="connsiteY14" fmla="*/ 0 h 135818"/>
                <a:gd name="connsiteX15" fmla="*/ 156561 w 160878"/>
                <a:gd name="connsiteY15" fmla="*/ 0 h 135818"/>
                <a:gd name="connsiteX16" fmla="*/ 771 w 160878"/>
                <a:gd name="connsiteY16" fmla="*/ 126967 h 135818"/>
                <a:gd name="connsiteX17" fmla="*/ 771 w 160878"/>
                <a:gd name="connsiteY17" fmla="*/ 126967 h 135818"/>
                <a:gd name="connsiteX18" fmla="*/ 136 w 160878"/>
                <a:gd name="connsiteY18" fmla="*/ 127729 h 135818"/>
                <a:gd name="connsiteX19" fmla="*/ 136 w 160878"/>
                <a:gd name="connsiteY19" fmla="*/ 127729 h 135818"/>
                <a:gd name="connsiteX20" fmla="*/ 136 w 160878"/>
                <a:gd name="connsiteY20" fmla="*/ 127729 h 135818"/>
                <a:gd name="connsiteX21" fmla="*/ 136 w 160878"/>
                <a:gd name="connsiteY21" fmla="*/ 128618 h 135818"/>
                <a:gd name="connsiteX22" fmla="*/ 136 w 160878"/>
                <a:gd name="connsiteY22" fmla="*/ 129506 h 135818"/>
                <a:gd name="connsiteX23" fmla="*/ 136 w 160878"/>
                <a:gd name="connsiteY23" fmla="*/ 129506 h 135818"/>
                <a:gd name="connsiteX24" fmla="*/ 9 w 160878"/>
                <a:gd name="connsiteY24" fmla="*/ 133315 h 13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0878" h="135818">
                  <a:moveTo>
                    <a:pt x="9" y="133315"/>
                  </a:moveTo>
                  <a:cubicBezTo>
                    <a:pt x="-3" y="133611"/>
                    <a:pt x="-3" y="133908"/>
                    <a:pt x="9" y="134204"/>
                  </a:cubicBezTo>
                  <a:lnTo>
                    <a:pt x="9" y="135093"/>
                  </a:lnTo>
                  <a:cubicBezTo>
                    <a:pt x="9" y="135093"/>
                    <a:pt x="9" y="135093"/>
                    <a:pt x="9" y="135093"/>
                  </a:cubicBezTo>
                  <a:lnTo>
                    <a:pt x="9" y="135093"/>
                  </a:lnTo>
                  <a:lnTo>
                    <a:pt x="1152" y="135728"/>
                  </a:lnTo>
                  <a:cubicBezTo>
                    <a:pt x="1152" y="135728"/>
                    <a:pt x="1152" y="135728"/>
                    <a:pt x="1914" y="135728"/>
                  </a:cubicBezTo>
                  <a:cubicBezTo>
                    <a:pt x="2549" y="135848"/>
                    <a:pt x="3184" y="135848"/>
                    <a:pt x="3819" y="135728"/>
                  </a:cubicBezTo>
                  <a:cubicBezTo>
                    <a:pt x="5151" y="135749"/>
                    <a:pt x="6459" y="135300"/>
                    <a:pt x="7500" y="134458"/>
                  </a:cubicBezTo>
                  <a:lnTo>
                    <a:pt x="14357" y="128872"/>
                  </a:lnTo>
                  <a:lnTo>
                    <a:pt x="160878" y="9523"/>
                  </a:lnTo>
                  <a:lnTo>
                    <a:pt x="157958" y="8634"/>
                  </a:lnTo>
                  <a:cubicBezTo>
                    <a:pt x="155317" y="7911"/>
                    <a:pt x="153768" y="5188"/>
                    <a:pt x="154492" y="2549"/>
                  </a:cubicBezTo>
                  <a:cubicBezTo>
                    <a:pt x="154504" y="2504"/>
                    <a:pt x="154517" y="2458"/>
                    <a:pt x="154530" y="2412"/>
                  </a:cubicBezTo>
                  <a:cubicBezTo>
                    <a:pt x="154949" y="1422"/>
                    <a:pt x="155660" y="581"/>
                    <a:pt x="156561" y="0"/>
                  </a:cubicBezTo>
                  <a:cubicBezTo>
                    <a:pt x="156561" y="0"/>
                    <a:pt x="156561" y="0"/>
                    <a:pt x="156561" y="0"/>
                  </a:cubicBezTo>
                  <a:lnTo>
                    <a:pt x="771" y="126967"/>
                  </a:lnTo>
                  <a:lnTo>
                    <a:pt x="771" y="126967"/>
                  </a:lnTo>
                  <a:cubicBezTo>
                    <a:pt x="771" y="126967"/>
                    <a:pt x="771" y="126967"/>
                    <a:pt x="136" y="127729"/>
                  </a:cubicBezTo>
                  <a:lnTo>
                    <a:pt x="136" y="127729"/>
                  </a:lnTo>
                  <a:lnTo>
                    <a:pt x="136" y="127729"/>
                  </a:lnTo>
                  <a:cubicBezTo>
                    <a:pt x="149" y="128025"/>
                    <a:pt x="149" y="128322"/>
                    <a:pt x="136" y="128618"/>
                  </a:cubicBezTo>
                  <a:cubicBezTo>
                    <a:pt x="136" y="128618"/>
                    <a:pt x="136" y="128618"/>
                    <a:pt x="136" y="129506"/>
                  </a:cubicBezTo>
                  <a:lnTo>
                    <a:pt x="136" y="129506"/>
                  </a:lnTo>
                  <a:cubicBezTo>
                    <a:pt x="136" y="129506"/>
                    <a:pt x="9" y="133061"/>
                    <a:pt x="9" y="133315"/>
                  </a:cubicBezTo>
                  <a:close/>
                </a:path>
              </a:pathLst>
            </a:custGeom>
            <a:solidFill>
              <a:srgbClr val="000000"/>
            </a:solidFill>
            <a:ln w="1269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9196B07E-6233-460B-9C1A-4224D7B8E9E5}"/>
                </a:ext>
              </a:extLst>
            </p:cNvPr>
            <p:cNvSpPr/>
            <p:nvPr/>
          </p:nvSpPr>
          <p:spPr>
            <a:xfrm>
              <a:off x="7756998" y="931302"/>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8F8BB7D2-134A-45BB-886F-ED30DAFFFB73}"/>
                </a:ext>
              </a:extLst>
            </p:cNvPr>
            <p:cNvSpPr/>
            <p:nvPr/>
          </p:nvSpPr>
          <p:spPr>
            <a:xfrm>
              <a:off x="7758903" y="933460"/>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cubicBezTo>
                    <a:pt x="0" y="762"/>
                    <a:pt x="0" y="762"/>
                    <a:pt x="0" y="0"/>
                  </a:cubicBezTo>
                  <a:close/>
                </a:path>
              </a:pathLst>
            </a:custGeom>
            <a:solidFill>
              <a:srgbClr val="000000"/>
            </a:solidFill>
            <a:ln w="1269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3AB92D0B-5ABD-461C-AC4B-5645F180955A}"/>
                </a:ext>
              </a:extLst>
            </p:cNvPr>
            <p:cNvSpPr/>
            <p:nvPr/>
          </p:nvSpPr>
          <p:spPr>
            <a:xfrm>
              <a:off x="7758521" y="93282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36B7D61C-B32A-41FE-A052-97EE8AC8C28B}"/>
                </a:ext>
              </a:extLst>
            </p:cNvPr>
            <p:cNvSpPr/>
            <p:nvPr/>
          </p:nvSpPr>
          <p:spPr>
            <a:xfrm>
              <a:off x="6535117" y="563859"/>
              <a:ext cx="1219722" cy="373029"/>
            </a:xfrm>
            <a:custGeom>
              <a:avLst/>
              <a:gdLst>
                <a:gd name="connsiteX0" fmla="*/ 3747 w 1219722"/>
                <a:gd name="connsiteY0" fmla="*/ 9269 h 373029"/>
                <a:gd name="connsiteX1" fmla="*/ 6667 w 1219722"/>
                <a:gd name="connsiteY1" fmla="*/ 10157 h 373029"/>
                <a:gd name="connsiteX2" fmla="*/ 1207914 w 1219722"/>
                <a:gd name="connsiteY2" fmla="*/ 373029 h 373029"/>
                <a:gd name="connsiteX3" fmla="*/ 1214897 w 1219722"/>
                <a:gd name="connsiteY3" fmla="*/ 367443 h 373029"/>
                <a:gd name="connsiteX4" fmla="*/ 1215532 w 1219722"/>
                <a:gd name="connsiteY4" fmla="*/ 367443 h 373029"/>
                <a:gd name="connsiteX5" fmla="*/ 1216548 w 1219722"/>
                <a:gd name="connsiteY5" fmla="*/ 367443 h 373029"/>
                <a:gd name="connsiteX6" fmla="*/ 1217690 w 1219722"/>
                <a:gd name="connsiteY6" fmla="*/ 367443 h 373029"/>
                <a:gd name="connsiteX7" fmla="*/ 1218579 w 1219722"/>
                <a:gd name="connsiteY7" fmla="*/ 367443 h 373029"/>
                <a:gd name="connsiteX8" fmla="*/ 1219722 w 1219722"/>
                <a:gd name="connsiteY8" fmla="*/ 367443 h 373029"/>
                <a:gd name="connsiteX9" fmla="*/ 1219722 w 1219722"/>
                <a:gd name="connsiteY9" fmla="*/ 367443 h 373029"/>
                <a:gd name="connsiteX10" fmla="*/ 7302 w 1219722"/>
                <a:gd name="connsiteY10" fmla="*/ 0 h 373029"/>
                <a:gd name="connsiteX11" fmla="*/ 4509 w 1219722"/>
                <a:gd name="connsiteY11" fmla="*/ 0 h 373029"/>
                <a:gd name="connsiteX12" fmla="*/ 3493 w 1219722"/>
                <a:gd name="connsiteY12" fmla="*/ 0 h 373029"/>
                <a:gd name="connsiteX13" fmla="*/ 2478 w 1219722"/>
                <a:gd name="connsiteY13" fmla="*/ 0 h 373029"/>
                <a:gd name="connsiteX14" fmla="*/ 446 w 1219722"/>
                <a:gd name="connsiteY14" fmla="*/ 2412 h 373029"/>
                <a:gd name="connsiteX15" fmla="*/ 2896 w 1219722"/>
                <a:gd name="connsiteY15" fmla="*/ 8971 h 373029"/>
                <a:gd name="connsiteX16" fmla="*/ 3747 w 1219722"/>
                <a:gd name="connsiteY16" fmla="*/ 9269 h 37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722" h="373029">
                  <a:moveTo>
                    <a:pt x="3747" y="9269"/>
                  </a:moveTo>
                  <a:lnTo>
                    <a:pt x="6667" y="10157"/>
                  </a:lnTo>
                  <a:lnTo>
                    <a:pt x="1207914" y="373029"/>
                  </a:lnTo>
                  <a:lnTo>
                    <a:pt x="1214897" y="367443"/>
                  </a:lnTo>
                  <a:cubicBezTo>
                    <a:pt x="1214897" y="367443"/>
                    <a:pt x="1214897" y="367443"/>
                    <a:pt x="1215532" y="367443"/>
                  </a:cubicBezTo>
                  <a:cubicBezTo>
                    <a:pt x="1215862" y="367374"/>
                    <a:pt x="1216218" y="367374"/>
                    <a:pt x="1216548" y="367443"/>
                  </a:cubicBezTo>
                  <a:lnTo>
                    <a:pt x="1217690" y="367443"/>
                  </a:lnTo>
                  <a:lnTo>
                    <a:pt x="1218579" y="367443"/>
                  </a:lnTo>
                  <a:lnTo>
                    <a:pt x="1219722" y="367443"/>
                  </a:lnTo>
                  <a:lnTo>
                    <a:pt x="1219722" y="367443"/>
                  </a:lnTo>
                  <a:lnTo>
                    <a:pt x="7302" y="0"/>
                  </a:lnTo>
                  <a:lnTo>
                    <a:pt x="4509" y="0"/>
                  </a:lnTo>
                  <a:lnTo>
                    <a:pt x="3493" y="0"/>
                  </a:lnTo>
                  <a:lnTo>
                    <a:pt x="2478" y="0"/>
                  </a:lnTo>
                  <a:cubicBezTo>
                    <a:pt x="1575" y="581"/>
                    <a:pt x="865" y="1422"/>
                    <a:pt x="446" y="2412"/>
                  </a:cubicBezTo>
                  <a:cubicBezTo>
                    <a:pt x="-684" y="4901"/>
                    <a:pt x="408" y="7838"/>
                    <a:pt x="2896" y="8971"/>
                  </a:cubicBezTo>
                  <a:cubicBezTo>
                    <a:pt x="3176" y="9096"/>
                    <a:pt x="3455" y="9195"/>
                    <a:pt x="3747" y="9269"/>
                  </a:cubicBezTo>
                  <a:close/>
                </a:path>
              </a:pathLst>
            </a:custGeom>
            <a:solidFill>
              <a:srgbClr val="000000"/>
            </a:solidFill>
            <a:ln w="1269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7E2D78C7-9063-41DD-99D7-FE36C0C4A37B}"/>
                </a:ext>
              </a:extLst>
            </p:cNvPr>
            <p:cNvSpPr/>
            <p:nvPr/>
          </p:nvSpPr>
          <p:spPr>
            <a:xfrm>
              <a:off x="7748745" y="934857"/>
              <a:ext cx="9405" cy="108562"/>
            </a:xfrm>
            <a:custGeom>
              <a:avLst/>
              <a:gdLst>
                <a:gd name="connsiteX0" fmla="*/ 9015 w 9405"/>
                <a:gd name="connsiteY0" fmla="*/ 3682 h 108562"/>
                <a:gd name="connsiteX1" fmla="*/ 0 w 9405"/>
                <a:gd name="connsiteY1" fmla="*/ 11046 h 108562"/>
                <a:gd name="connsiteX2" fmla="*/ 0 w 9405"/>
                <a:gd name="connsiteY2" fmla="*/ 103605 h 108562"/>
                <a:gd name="connsiteX3" fmla="*/ 5447 w 9405"/>
                <a:gd name="connsiteY3" fmla="*/ 108557 h 108562"/>
                <a:gd name="connsiteX4" fmla="*/ 5460 w 9405"/>
                <a:gd name="connsiteY4" fmla="*/ 108557 h 108562"/>
                <a:gd name="connsiteX5" fmla="*/ 9142 w 9405"/>
                <a:gd name="connsiteY5" fmla="*/ 107160 h 108562"/>
                <a:gd name="connsiteX6" fmla="*/ 9015 w 9405"/>
                <a:gd name="connsiteY6" fmla="*/ 106271 h 108562"/>
                <a:gd name="connsiteX7" fmla="*/ 9015 w 9405"/>
                <a:gd name="connsiteY7" fmla="*/ 106271 h 108562"/>
                <a:gd name="connsiteX8" fmla="*/ 9015 w 9405"/>
                <a:gd name="connsiteY8" fmla="*/ 105510 h 108562"/>
                <a:gd name="connsiteX9" fmla="*/ 9015 w 9405"/>
                <a:gd name="connsiteY9" fmla="*/ 104367 h 108562"/>
                <a:gd name="connsiteX10" fmla="*/ 9015 w 9405"/>
                <a:gd name="connsiteY10" fmla="*/ 104367 h 108562"/>
                <a:gd name="connsiteX11" fmla="*/ 9015 w 9405"/>
                <a:gd name="connsiteY11" fmla="*/ 0 h 108562"/>
                <a:gd name="connsiteX12" fmla="*/ 9015 w 9405"/>
                <a:gd name="connsiteY12" fmla="*/ 0 h 108562"/>
                <a:gd name="connsiteX13" fmla="*/ 9015 w 9405"/>
                <a:gd name="connsiteY13" fmla="*/ 3682 h 10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05" h="108562">
                  <a:moveTo>
                    <a:pt x="9015" y="3682"/>
                  </a:moveTo>
                  <a:lnTo>
                    <a:pt x="0" y="11046"/>
                  </a:lnTo>
                  <a:lnTo>
                    <a:pt x="0" y="103605"/>
                  </a:lnTo>
                  <a:cubicBezTo>
                    <a:pt x="140" y="106477"/>
                    <a:pt x="2577" y="108694"/>
                    <a:pt x="5447" y="108557"/>
                  </a:cubicBezTo>
                  <a:cubicBezTo>
                    <a:pt x="5447" y="108557"/>
                    <a:pt x="5460" y="108557"/>
                    <a:pt x="5460" y="108557"/>
                  </a:cubicBezTo>
                  <a:cubicBezTo>
                    <a:pt x="6819" y="108553"/>
                    <a:pt x="8126" y="108057"/>
                    <a:pt x="9142" y="107160"/>
                  </a:cubicBezTo>
                  <a:lnTo>
                    <a:pt x="9015" y="106271"/>
                  </a:lnTo>
                  <a:lnTo>
                    <a:pt x="9015" y="106271"/>
                  </a:lnTo>
                  <a:cubicBezTo>
                    <a:pt x="9079" y="106021"/>
                    <a:pt x="9079" y="105760"/>
                    <a:pt x="9015" y="105510"/>
                  </a:cubicBezTo>
                  <a:cubicBezTo>
                    <a:pt x="9079" y="105131"/>
                    <a:pt x="9079" y="104745"/>
                    <a:pt x="9015" y="104367"/>
                  </a:cubicBezTo>
                  <a:lnTo>
                    <a:pt x="9015" y="104367"/>
                  </a:lnTo>
                  <a:lnTo>
                    <a:pt x="9015" y="0"/>
                  </a:lnTo>
                  <a:lnTo>
                    <a:pt x="9015" y="0"/>
                  </a:lnTo>
                  <a:cubicBezTo>
                    <a:pt x="9536" y="1173"/>
                    <a:pt x="9536" y="2509"/>
                    <a:pt x="9015" y="3682"/>
                  </a:cubicBezTo>
                  <a:close/>
                </a:path>
              </a:pathLst>
            </a:custGeom>
            <a:solidFill>
              <a:srgbClr val="000000"/>
            </a:solidFill>
            <a:ln w="1269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BFF90AA4-909D-4FB6-B965-ECD8E3A6ADD0}"/>
                </a:ext>
              </a:extLst>
            </p:cNvPr>
            <p:cNvSpPr/>
            <p:nvPr/>
          </p:nvSpPr>
          <p:spPr>
            <a:xfrm>
              <a:off x="7758648" y="93320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C616B0DF-2C66-4291-A539-FA21BE9966AD}"/>
                </a:ext>
              </a:extLst>
            </p:cNvPr>
            <p:cNvSpPr/>
            <p:nvPr/>
          </p:nvSpPr>
          <p:spPr>
            <a:xfrm>
              <a:off x="7755855" y="93041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0CB13AA3-C9A2-4024-9880-FF8578B4EED7}"/>
                </a:ext>
              </a:extLst>
            </p:cNvPr>
            <p:cNvSpPr/>
            <p:nvPr/>
          </p:nvSpPr>
          <p:spPr>
            <a:xfrm>
              <a:off x="7756998" y="931556"/>
              <a:ext cx="761" cy="12696"/>
            </a:xfrm>
            <a:custGeom>
              <a:avLst/>
              <a:gdLst>
                <a:gd name="connsiteX0" fmla="*/ 762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762" y="0"/>
                  </a:lnTo>
                  <a:lnTo>
                    <a:pt x="0" y="0"/>
                  </a:lnTo>
                  <a:close/>
                </a:path>
              </a:pathLst>
            </a:custGeom>
            <a:solidFill>
              <a:srgbClr val="000000"/>
            </a:solidFill>
            <a:ln w="1269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07554CF2-922C-410F-9032-2B69BFEBF185}"/>
                </a:ext>
              </a:extLst>
            </p:cNvPr>
            <p:cNvSpPr/>
            <p:nvPr/>
          </p:nvSpPr>
          <p:spPr>
            <a:xfrm>
              <a:off x="7753696" y="93003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7D9928F2-0268-40AE-A068-AA8B429F0806}"/>
                </a:ext>
              </a:extLst>
            </p:cNvPr>
            <p:cNvSpPr/>
            <p:nvPr/>
          </p:nvSpPr>
          <p:spPr>
            <a:xfrm>
              <a:off x="7592298" y="929981"/>
              <a:ext cx="166791" cy="135398"/>
            </a:xfrm>
            <a:custGeom>
              <a:avLst/>
              <a:gdLst>
                <a:gd name="connsiteX0" fmla="*/ 161525 w 166791"/>
                <a:gd name="connsiteY0" fmla="*/ 51 h 135398"/>
                <a:gd name="connsiteX1" fmla="*/ 160637 w 166791"/>
                <a:gd name="connsiteY1" fmla="*/ 51 h 135398"/>
                <a:gd name="connsiteX2" fmla="*/ 159494 w 166791"/>
                <a:gd name="connsiteY2" fmla="*/ 51 h 135398"/>
                <a:gd name="connsiteX3" fmla="*/ 158478 w 166791"/>
                <a:gd name="connsiteY3" fmla="*/ 51 h 135398"/>
                <a:gd name="connsiteX4" fmla="*/ 157844 w 166791"/>
                <a:gd name="connsiteY4" fmla="*/ 51 h 135398"/>
                <a:gd name="connsiteX5" fmla="*/ 150860 w 166791"/>
                <a:gd name="connsiteY5" fmla="*/ 5638 h 135398"/>
                <a:gd name="connsiteX6" fmla="*/ 3831 w 166791"/>
                <a:gd name="connsiteY6" fmla="*/ 124987 h 135398"/>
                <a:gd name="connsiteX7" fmla="*/ 1546 w 166791"/>
                <a:gd name="connsiteY7" fmla="*/ 126891 h 135398"/>
                <a:gd name="connsiteX8" fmla="*/ 1139 w 166791"/>
                <a:gd name="connsiteY8" fmla="*/ 133343 h 135398"/>
                <a:gd name="connsiteX9" fmla="*/ 1546 w 166791"/>
                <a:gd name="connsiteY9" fmla="*/ 133748 h 135398"/>
                <a:gd name="connsiteX10" fmla="*/ 5608 w 166791"/>
                <a:gd name="connsiteY10" fmla="*/ 135398 h 135398"/>
                <a:gd name="connsiteX11" fmla="*/ 7386 w 166791"/>
                <a:gd name="connsiteY11" fmla="*/ 135398 h 135398"/>
                <a:gd name="connsiteX12" fmla="*/ 8909 w 166791"/>
                <a:gd name="connsiteY12" fmla="*/ 134510 h 135398"/>
                <a:gd name="connsiteX13" fmla="*/ 8909 w 166791"/>
                <a:gd name="connsiteY13" fmla="*/ 134510 h 135398"/>
                <a:gd name="connsiteX14" fmla="*/ 10687 w 166791"/>
                <a:gd name="connsiteY14" fmla="*/ 133113 h 135398"/>
                <a:gd name="connsiteX15" fmla="*/ 156066 w 166791"/>
                <a:gd name="connsiteY15" fmla="*/ 15034 h 135398"/>
                <a:gd name="connsiteX16" fmla="*/ 165080 w 166791"/>
                <a:gd name="connsiteY16" fmla="*/ 7669 h 135398"/>
                <a:gd name="connsiteX17" fmla="*/ 166731 w 166791"/>
                <a:gd name="connsiteY17" fmla="*/ 3353 h 135398"/>
                <a:gd name="connsiteX18" fmla="*/ 166731 w 166791"/>
                <a:gd name="connsiteY18" fmla="*/ 3353 h 135398"/>
                <a:gd name="connsiteX19" fmla="*/ 166731 w 166791"/>
                <a:gd name="connsiteY19" fmla="*/ 2591 h 135398"/>
                <a:gd name="connsiteX20" fmla="*/ 166731 w 166791"/>
                <a:gd name="connsiteY20" fmla="*/ 1575 h 135398"/>
                <a:gd name="connsiteX21" fmla="*/ 166731 w 166791"/>
                <a:gd name="connsiteY21" fmla="*/ 1575 h 135398"/>
                <a:gd name="connsiteX22" fmla="*/ 166731 w 166791"/>
                <a:gd name="connsiteY22" fmla="*/ 1575 h 135398"/>
                <a:gd name="connsiteX23" fmla="*/ 166731 w 166791"/>
                <a:gd name="connsiteY23" fmla="*/ 1575 h 135398"/>
                <a:gd name="connsiteX24" fmla="*/ 165716 w 166791"/>
                <a:gd name="connsiteY24" fmla="*/ 940 h 135398"/>
                <a:gd name="connsiteX25" fmla="*/ 165716 w 166791"/>
                <a:gd name="connsiteY25" fmla="*/ 940 h 135398"/>
                <a:gd name="connsiteX26" fmla="*/ 164954 w 166791"/>
                <a:gd name="connsiteY26" fmla="*/ 940 h 135398"/>
                <a:gd name="connsiteX27" fmla="*/ 164065 w 166791"/>
                <a:gd name="connsiteY27" fmla="*/ 940 h 13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6791" h="135398">
                  <a:moveTo>
                    <a:pt x="161525" y="51"/>
                  </a:moveTo>
                  <a:lnTo>
                    <a:pt x="160637" y="51"/>
                  </a:lnTo>
                  <a:lnTo>
                    <a:pt x="159494" y="51"/>
                  </a:lnTo>
                  <a:cubicBezTo>
                    <a:pt x="159164" y="-17"/>
                    <a:pt x="158808" y="-17"/>
                    <a:pt x="158478" y="51"/>
                  </a:cubicBezTo>
                  <a:cubicBezTo>
                    <a:pt x="158478" y="51"/>
                    <a:pt x="158478" y="51"/>
                    <a:pt x="157844" y="51"/>
                  </a:cubicBezTo>
                  <a:lnTo>
                    <a:pt x="150860" y="5638"/>
                  </a:lnTo>
                  <a:lnTo>
                    <a:pt x="3831" y="124987"/>
                  </a:lnTo>
                  <a:lnTo>
                    <a:pt x="1546" y="126891"/>
                  </a:lnTo>
                  <a:cubicBezTo>
                    <a:pt x="-347" y="128561"/>
                    <a:pt x="-524" y="131450"/>
                    <a:pt x="1139" y="133343"/>
                  </a:cubicBezTo>
                  <a:cubicBezTo>
                    <a:pt x="1266" y="133486"/>
                    <a:pt x="1405" y="133622"/>
                    <a:pt x="1546" y="133748"/>
                  </a:cubicBezTo>
                  <a:cubicBezTo>
                    <a:pt x="2624" y="134817"/>
                    <a:pt x="4084" y="135411"/>
                    <a:pt x="5608" y="135398"/>
                  </a:cubicBezTo>
                  <a:lnTo>
                    <a:pt x="7386" y="135398"/>
                  </a:lnTo>
                  <a:cubicBezTo>
                    <a:pt x="7932" y="135179"/>
                    <a:pt x="8452" y="134880"/>
                    <a:pt x="8909" y="134510"/>
                  </a:cubicBezTo>
                  <a:lnTo>
                    <a:pt x="8909" y="134510"/>
                  </a:lnTo>
                  <a:lnTo>
                    <a:pt x="10687" y="133113"/>
                  </a:lnTo>
                  <a:lnTo>
                    <a:pt x="156066" y="15034"/>
                  </a:lnTo>
                  <a:lnTo>
                    <a:pt x="165080" y="7669"/>
                  </a:lnTo>
                  <a:cubicBezTo>
                    <a:pt x="166376" y="6635"/>
                    <a:pt x="166997" y="4984"/>
                    <a:pt x="166731" y="3353"/>
                  </a:cubicBezTo>
                  <a:lnTo>
                    <a:pt x="166731" y="3353"/>
                  </a:lnTo>
                  <a:cubicBezTo>
                    <a:pt x="166782" y="3101"/>
                    <a:pt x="166782" y="2842"/>
                    <a:pt x="166731" y="2591"/>
                  </a:cubicBezTo>
                  <a:lnTo>
                    <a:pt x="166731" y="1575"/>
                  </a:lnTo>
                  <a:lnTo>
                    <a:pt x="166731" y="1575"/>
                  </a:lnTo>
                  <a:cubicBezTo>
                    <a:pt x="166731" y="1575"/>
                    <a:pt x="166731" y="1575"/>
                    <a:pt x="166731" y="1575"/>
                  </a:cubicBezTo>
                  <a:lnTo>
                    <a:pt x="166731" y="1575"/>
                  </a:lnTo>
                  <a:lnTo>
                    <a:pt x="165716" y="940"/>
                  </a:lnTo>
                  <a:lnTo>
                    <a:pt x="165716" y="940"/>
                  </a:lnTo>
                  <a:lnTo>
                    <a:pt x="164954" y="940"/>
                  </a:lnTo>
                  <a:lnTo>
                    <a:pt x="164065" y="940"/>
                  </a:lnTo>
                  <a:close/>
                </a:path>
              </a:pathLst>
            </a:custGeom>
            <a:solidFill>
              <a:srgbClr val="000000"/>
            </a:solidFill>
            <a:ln w="1269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D7289DC4-971C-419B-9A8D-8BF8F1674D03}"/>
                </a:ext>
              </a:extLst>
            </p:cNvPr>
            <p:cNvSpPr/>
            <p:nvPr/>
          </p:nvSpPr>
          <p:spPr>
            <a:xfrm>
              <a:off x="10842707" y="1651332"/>
              <a:ext cx="41391" cy="20441"/>
            </a:xfrm>
            <a:custGeom>
              <a:avLst/>
              <a:gdLst>
                <a:gd name="connsiteX0" fmla="*/ 0 w 41391"/>
                <a:gd name="connsiteY0" fmla="*/ 3555 h 20441"/>
                <a:gd name="connsiteX1" fmla="*/ 0 w 41391"/>
                <a:gd name="connsiteY1" fmla="*/ 10411 h 20441"/>
                <a:gd name="connsiteX2" fmla="*/ 32250 w 41391"/>
                <a:gd name="connsiteY2" fmla="*/ 20442 h 20441"/>
                <a:gd name="connsiteX3" fmla="*/ 38979 w 41391"/>
                <a:gd name="connsiteY3" fmla="*/ 14855 h 20441"/>
                <a:gd name="connsiteX4" fmla="*/ 39106 w 41391"/>
                <a:gd name="connsiteY4" fmla="*/ 14855 h 20441"/>
                <a:gd name="connsiteX5" fmla="*/ 41392 w 41391"/>
                <a:gd name="connsiteY5" fmla="*/ 12951 h 20441"/>
                <a:gd name="connsiteX6" fmla="*/ 0 w 41391"/>
                <a:gd name="connsiteY6" fmla="*/ 0 h 20441"/>
                <a:gd name="connsiteX7" fmla="*/ 0 w 41391"/>
                <a:gd name="connsiteY7" fmla="*/ 3555 h 2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91" h="20441">
                  <a:moveTo>
                    <a:pt x="0" y="3555"/>
                  </a:moveTo>
                  <a:lnTo>
                    <a:pt x="0" y="10411"/>
                  </a:lnTo>
                  <a:lnTo>
                    <a:pt x="32250" y="20442"/>
                  </a:lnTo>
                  <a:lnTo>
                    <a:pt x="38979" y="14855"/>
                  </a:lnTo>
                  <a:lnTo>
                    <a:pt x="39106" y="14855"/>
                  </a:lnTo>
                  <a:lnTo>
                    <a:pt x="41392" y="12951"/>
                  </a:lnTo>
                  <a:lnTo>
                    <a:pt x="0" y="0"/>
                  </a:lnTo>
                  <a:lnTo>
                    <a:pt x="0" y="3555"/>
                  </a:lnTo>
                  <a:close/>
                </a:path>
              </a:pathLst>
            </a:custGeom>
            <a:solidFill>
              <a:srgbClr val="000000"/>
            </a:solidFill>
            <a:ln w="1269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2F296B38-DD27-465A-B328-460F816423CB}"/>
                </a:ext>
              </a:extLst>
            </p:cNvPr>
            <p:cNvSpPr/>
            <p:nvPr/>
          </p:nvSpPr>
          <p:spPr>
            <a:xfrm>
              <a:off x="10842707" y="1547854"/>
              <a:ext cx="133570" cy="48628"/>
            </a:xfrm>
            <a:custGeom>
              <a:avLst/>
              <a:gdLst>
                <a:gd name="connsiteX0" fmla="*/ 0 w 133570"/>
                <a:gd name="connsiteY0" fmla="*/ 10284 h 48628"/>
                <a:gd name="connsiteX1" fmla="*/ 124302 w 133570"/>
                <a:gd name="connsiteY1" fmla="*/ 48628 h 48628"/>
                <a:gd name="connsiteX2" fmla="*/ 131158 w 133570"/>
                <a:gd name="connsiteY2" fmla="*/ 43042 h 48628"/>
                <a:gd name="connsiteX3" fmla="*/ 131158 w 133570"/>
                <a:gd name="connsiteY3" fmla="*/ 43042 h 48628"/>
                <a:gd name="connsiteX4" fmla="*/ 131158 w 133570"/>
                <a:gd name="connsiteY4" fmla="*/ 43042 h 48628"/>
                <a:gd name="connsiteX5" fmla="*/ 133571 w 133570"/>
                <a:gd name="connsiteY5" fmla="*/ 41137 h 48628"/>
                <a:gd name="connsiteX6" fmla="*/ 0 w 133570"/>
                <a:gd name="connsiteY6" fmla="*/ 0 h 48628"/>
                <a:gd name="connsiteX7" fmla="*/ 0 w 133570"/>
                <a:gd name="connsiteY7" fmla="*/ 3428 h 48628"/>
                <a:gd name="connsiteX8" fmla="*/ 0 w 133570"/>
                <a:gd name="connsiteY8" fmla="*/ 10284 h 4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570" h="48628">
                  <a:moveTo>
                    <a:pt x="0" y="10284"/>
                  </a:moveTo>
                  <a:lnTo>
                    <a:pt x="124302" y="48628"/>
                  </a:lnTo>
                  <a:lnTo>
                    <a:pt x="131158" y="43042"/>
                  </a:lnTo>
                  <a:lnTo>
                    <a:pt x="131158" y="43042"/>
                  </a:lnTo>
                  <a:lnTo>
                    <a:pt x="131158" y="43042"/>
                  </a:lnTo>
                  <a:lnTo>
                    <a:pt x="133571" y="41137"/>
                  </a:lnTo>
                  <a:lnTo>
                    <a:pt x="0" y="0"/>
                  </a:lnTo>
                  <a:lnTo>
                    <a:pt x="0" y="3428"/>
                  </a:lnTo>
                  <a:lnTo>
                    <a:pt x="0" y="10284"/>
                  </a:lnTo>
                  <a:close/>
                </a:path>
              </a:pathLst>
            </a:custGeom>
            <a:solidFill>
              <a:srgbClr val="000000"/>
            </a:solidFill>
            <a:ln w="12690"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D32983A8-151B-4948-B7F9-24A14A564024}"/>
                </a:ext>
              </a:extLst>
            </p:cNvPr>
            <p:cNvSpPr/>
            <p:nvPr/>
          </p:nvSpPr>
          <p:spPr>
            <a:xfrm>
              <a:off x="7517536" y="63482"/>
              <a:ext cx="112" cy="761"/>
            </a:xfrm>
            <a:custGeom>
              <a:avLst/>
              <a:gdLst>
                <a:gd name="connsiteX0" fmla="*/ 0 w 112"/>
                <a:gd name="connsiteY0" fmla="*/ 0 h 761"/>
                <a:gd name="connsiteX1" fmla="*/ 0 w 112"/>
                <a:gd name="connsiteY1" fmla="*/ 0 h 761"/>
                <a:gd name="connsiteX2" fmla="*/ 0 w 112"/>
                <a:gd name="connsiteY2" fmla="*/ 762 h 761"/>
                <a:gd name="connsiteX3" fmla="*/ 0 w 112"/>
                <a:gd name="connsiteY3" fmla="*/ 0 h 761"/>
              </a:gdLst>
              <a:ahLst/>
              <a:cxnLst>
                <a:cxn ang="0">
                  <a:pos x="connsiteX0" y="connsiteY0"/>
                </a:cxn>
                <a:cxn ang="0">
                  <a:pos x="connsiteX1" y="connsiteY1"/>
                </a:cxn>
                <a:cxn ang="0">
                  <a:pos x="connsiteX2" y="connsiteY2"/>
                </a:cxn>
                <a:cxn ang="0">
                  <a:pos x="connsiteX3" y="connsiteY3"/>
                </a:cxn>
              </a:cxnLst>
              <a:rect l="l" t="t" r="r" b="b"/>
              <a:pathLst>
                <a:path w="112" h="761">
                  <a:moveTo>
                    <a:pt x="0" y="0"/>
                  </a:moveTo>
                  <a:lnTo>
                    <a:pt x="0" y="0"/>
                  </a:lnTo>
                  <a:cubicBezTo>
                    <a:pt x="38" y="253"/>
                    <a:pt x="38" y="509"/>
                    <a:pt x="0" y="762"/>
                  </a:cubicBezTo>
                  <a:cubicBezTo>
                    <a:pt x="0" y="762"/>
                    <a:pt x="253" y="635"/>
                    <a:pt x="0" y="0"/>
                  </a:cubicBezTo>
                  <a:close/>
                </a:path>
              </a:pathLst>
            </a:custGeom>
            <a:solidFill>
              <a:srgbClr val="000000"/>
            </a:solidFill>
            <a:ln w="1269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113227B7-F8EF-4238-BF9A-1A78FD111A08}"/>
                </a:ext>
              </a:extLst>
            </p:cNvPr>
            <p:cNvSpPr/>
            <p:nvPr/>
          </p:nvSpPr>
          <p:spPr>
            <a:xfrm>
              <a:off x="7443513" y="63228"/>
              <a:ext cx="67165" cy="58277"/>
            </a:xfrm>
            <a:custGeom>
              <a:avLst/>
              <a:gdLst>
                <a:gd name="connsiteX0" fmla="*/ 3047 w 67165"/>
                <a:gd name="connsiteY0" fmla="*/ 55485 h 58277"/>
                <a:gd name="connsiteX1" fmla="*/ 11808 w 67165"/>
                <a:gd name="connsiteY1" fmla="*/ 58278 h 58277"/>
                <a:gd name="connsiteX2" fmla="*/ 64627 w 67165"/>
                <a:gd name="connsiteY2" fmla="*/ 15109 h 58277"/>
                <a:gd name="connsiteX3" fmla="*/ 64627 w 67165"/>
                <a:gd name="connsiteY3" fmla="*/ 4063 h 58277"/>
                <a:gd name="connsiteX4" fmla="*/ 67166 w 67165"/>
                <a:gd name="connsiteY4" fmla="*/ 0 h 58277"/>
                <a:gd name="connsiteX5" fmla="*/ 66404 w 67165"/>
                <a:gd name="connsiteY5" fmla="*/ 0 h 58277"/>
                <a:gd name="connsiteX6" fmla="*/ 45074 w 67165"/>
                <a:gd name="connsiteY6" fmla="*/ 17902 h 58277"/>
                <a:gd name="connsiteX7" fmla="*/ 0 w 67165"/>
                <a:gd name="connsiteY7" fmla="*/ 54596 h 58277"/>
                <a:gd name="connsiteX8" fmla="*/ 3047 w 67165"/>
                <a:gd name="connsiteY8" fmla="*/ 55485 h 5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65" h="58277">
                  <a:moveTo>
                    <a:pt x="3047" y="55485"/>
                  </a:moveTo>
                  <a:lnTo>
                    <a:pt x="11808" y="58278"/>
                  </a:lnTo>
                  <a:lnTo>
                    <a:pt x="64627" y="15109"/>
                  </a:lnTo>
                  <a:lnTo>
                    <a:pt x="64627" y="4063"/>
                  </a:lnTo>
                  <a:cubicBezTo>
                    <a:pt x="64665" y="2346"/>
                    <a:pt x="65642" y="788"/>
                    <a:pt x="67166" y="0"/>
                  </a:cubicBezTo>
                  <a:lnTo>
                    <a:pt x="66404" y="0"/>
                  </a:lnTo>
                  <a:lnTo>
                    <a:pt x="45074" y="17902"/>
                  </a:lnTo>
                  <a:lnTo>
                    <a:pt x="0" y="54596"/>
                  </a:lnTo>
                  <a:lnTo>
                    <a:pt x="3047" y="55485"/>
                  </a:lnTo>
                  <a:close/>
                </a:path>
              </a:pathLst>
            </a:custGeom>
            <a:solidFill>
              <a:srgbClr val="000000"/>
            </a:solidFill>
            <a:ln w="12690"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5DF28C6C-B937-4F6C-8C22-A8A69C7918FB}"/>
                </a:ext>
              </a:extLst>
            </p:cNvPr>
            <p:cNvSpPr/>
            <p:nvPr/>
          </p:nvSpPr>
          <p:spPr>
            <a:xfrm>
              <a:off x="9788997" y="-1"/>
              <a:ext cx="650585" cy="487553"/>
            </a:xfrm>
            <a:custGeom>
              <a:avLst/>
              <a:gdLst>
                <a:gd name="connsiteX0" fmla="*/ 2921 w 650585"/>
                <a:gd name="connsiteY0" fmla="*/ 484760 h 487553"/>
                <a:gd name="connsiteX1" fmla="*/ 12062 w 650585"/>
                <a:gd name="connsiteY1" fmla="*/ 487553 h 487553"/>
                <a:gd name="connsiteX2" fmla="*/ 650585 w 650585"/>
                <a:gd name="connsiteY2" fmla="*/ 0 h 487553"/>
                <a:gd name="connsiteX3" fmla="*/ 633699 w 650585"/>
                <a:gd name="connsiteY3" fmla="*/ 0 h 487553"/>
                <a:gd name="connsiteX4" fmla="*/ 0 w 650585"/>
                <a:gd name="connsiteY4" fmla="*/ 483998 h 487553"/>
                <a:gd name="connsiteX5" fmla="*/ 2921 w 650585"/>
                <a:gd name="connsiteY5" fmla="*/ 484760 h 48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585" h="487553">
                  <a:moveTo>
                    <a:pt x="2921" y="484760"/>
                  </a:moveTo>
                  <a:lnTo>
                    <a:pt x="12062" y="487553"/>
                  </a:lnTo>
                  <a:lnTo>
                    <a:pt x="650585" y="0"/>
                  </a:lnTo>
                  <a:lnTo>
                    <a:pt x="633699" y="0"/>
                  </a:lnTo>
                  <a:lnTo>
                    <a:pt x="0" y="483998"/>
                  </a:lnTo>
                  <a:lnTo>
                    <a:pt x="2921" y="484760"/>
                  </a:lnTo>
                  <a:close/>
                </a:path>
              </a:pathLst>
            </a:custGeom>
            <a:solidFill>
              <a:schemeClr val="accent4"/>
            </a:solidFill>
            <a:ln w="12690"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9CD9D504-F700-4F68-B056-22DDBB3D81FC}"/>
                </a:ext>
              </a:extLst>
            </p:cNvPr>
            <p:cNvSpPr/>
            <p:nvPr/>
          </p:nvSpPr>
          <p:spPr>
            <a:xfrm>
              <a:off x="9248240" y="854487"/>
              <a:ext cx="55357" cy="51802"/>
            </a:xfrm>
            <a:custGeom>
              <a:avLst/>
              <a:gdLst>
                <a:gd name="connsiteX0" fmla="*/ 55358 w 55357"/>
                <a:gd name="connsiteY0" fmla="*/ 0 h 51802"/>
                <a:gd name="connsiteX1" fmla="*/ 0 w 55357"/>
                <a:gd name="connsiteY1" fmla="*/ 42407 h 51802"/>
                <a:gd name="connsiteX2" fmla="*/ 2920 w 55357"/>
                <a:gd name="connsiteY2" fmla="*/ 43296 h 51802"/>
                <a:gd name="connsiteX3" fmla="*/ 6386 w 55357"/>
                <a:gd name="connsiteY3" fmla="*/ 49380 h 51802"/>
                <a:gd name="connsiteX4" fmla="*/ 6348 w 55357"/>
                <a:gd name="connsiteY4" fmla="*/ 49517 h 51802"/>
                <a:gd name="connsiteX5" fmla="*/ 4444 w 55357"/>
                <a:gd name="connsiteY5" fmla="*/ 51802 h 51802"/>
                <a:gd name="connsiteX6" fmla="*/ 4444 w 55357"/>
                <a:gd name="connsiteY6" fmla="*/ 51802 h 51802"/>
                <a:gd name="connsiteX7" fmla="*/ 6983 w 55357"/>
                <a:gd name="connsiteY7" fmla="*/ 49898 h 51802"/>
                <a:gd name="connsiteX8" fmla="*/ 55104 w 55357"/>
                <a:gd name="connsiteY8" fmla="*/ 12951 h 51802"/>
                <a:gd name="connsiteX9" fmla="*/ 55104 w 55357"/>
                <a:gd name="connsiteY9" fmla="*/ 254 h 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57" h="51802">
                  <a:moveTo>
                    <a:pt x="55358" y="0"/>
                  </a:moveTo>
                  <a:lnTo>
                    <a:pt x="0" y="42407"/>
                  </a:lnTo>
                  <a:lnTo>
                    <a:pt x="2920" y="43296"/>
                  </a:lnTo>
                  <a:cubicBezTo>
                    <a:pt x="5561" y="44018"/>
                    <a:pt x="7110" y="46742"/>
                    <a:pt x="6386" y="49380"/>
                  </a:cubicBezTo>
                  <a:cubicBezTo>
                    <a:pt x="6374" y="49426"/>
                    <a:pt x="6361" y="49471"/>
                    <a:pt x="6348" y="49517"/>
                  </a:cubicBezTo>
                  <a:cubicBezTo>
                    <a:pt x="5967" y="50460"/>
                    <a:pt x="5307" y="51260"/>
                    <a:pt x="4444" y="51802"/>
                  </a:cubicBezTo>
                  <a:lnTo>
                    <a:pt x="4444" y="51802"/>
                  </a:lnTo>
                  <a:lnTo>
                    <a:pt x="6983" y="49898"/>
                  </a:lnTo>
                  <a:lnTo>
                    <a:pt x="55104" y="12951"/>
                  </a:lnTo>
                  <a:lnTo>
                    <a:pt x="55104" y="254"/>
                  </a:lnTo>
                  <a:close/>
                </a:path>
              </a:pathLst>
            </a:custGeom>
            <a:solidFill>
              <a:srgbClr val="000000"/>
            </a:solidFill>
            <a:ln w="12690"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8E675DF0-0A73-40DF-9B0C-795747AF4310}"/>
                </a:ext>
              </a:extLst>
            </p:cNvPr>
            <p:cNvSpPr/>
            <p:nvPr/>
          </p:nvSpPr>
          <p:spPr>
            <a:xfrm>
              <a:off x="6446685" y="183593"/>
              <a:ext cx="2247972" cy="702889"/>
            </a:xfrm>
            <a:custGeom>
              <a:avLst/>
              <a:gdLst>
                <a:gd name="connsiteX0" fmla="*/ 2245560 w 2247972"/>
                <a:gd name="connsiteY0" fmla="*/ 697303 h 702889"/>
                <a:gd name="connsiteX1" fmla="*/ 2247973 w 2247972"/>
                <a:gd name="connsiteY1" fmla="*/ 695399 h 702889"/>
                <a:gd name="connsiteX2" fmla="*/ 7364 w 2247972"/>
                <a:gd name="connsiteY2" fmla="*/ 0 h 702889"/>
                <a:gd name="connsiteX3" fmla="*/ 7364 w 2247972"/>
                <a:gd name="connsiteY3" fmla="*/ 3428 h 702889"/>
                <a:gd name="connsiteX4" fmla="*/ 1917 w 2247972"/>
                <a:gd name="connsiteY4" fmla="*/ 8380 h 702889"/>
                <a:gd name="connsiteX5" fmla="*/ 1905 w 2247972"/>
                <a:gd name="connsiteY5" fmla="*/ 8380 h 702889"/>
                <a:gd name="connsiteX6" fmla="*/ 0 w 2247972"/>
                <a:gd name="connsiteY6" fmla="*/ 8380 h 702889"/>
                <a:gd name="connsiteX7" fmla="*/ 0 w 2247972"/>
                <a:gd name="connsiteY7" fmla="*/ 8380 h 702889"/>
                <a:gd name="connsiteX8" fmla="*/ 2238704 w 2247972"/>
                <a:gd name="connsiteY8" fmla="*/ 702890 h 702889"/>
                <a:gd name="connsiteX9" fmla="*/ 2245560 w 2247972"/>
                <a:gd name="connsiteY9" fmla="*/ 697303 h 70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972" h="702889">
                  <a:moveTo>
                    <a:pt x="2245560" y="697303"/>
                  </a:moveTo>
                  <a:lnTo>
                    <a:pt x="2247973" y="695399"/>
                  </a:lnTo>
                  <a:lnTo>
                    <a:pt x="7364" y="0"/>
                  </a:lnTo>
                  <a:lnTo>
                    <a:pt x="7364" y="3428"/>
                  </a:lnTo>
                  <a:cubicBezTo>
                    <a:pt x="7224" y="6300"/>
                    <a:pt x="4787" y="8517"/>
                    <a:pt x="1917" y="8380"/>
                  </a:cubicBezTo>
                  <a:cubicBezTo>
                    <a:pt x="1917" y="8380"/>
                    <a:pt x="1905" y="8380"/>
                    <a:pt x="1905" y="8380"/>
                  </a:cubicBezTo>
                  <a:cubicBezTo>
                    <a:pt x="1270" y="8500"/>
                    <a:pt x="635" y="8500"/>
                    <a:pt x="0" y="8380"/>
                  </a:cubicBezTo>
                  <a:lnTo>
                    <a:pt x="0" y="8380"/>
                  </a:lnTo>
                  <a:lnTo>
                    <a:pt x="2238704" y="702890"/>
                  </a:lnTo>
                  <a:lnTo>
                    <a:pt x="2245560" y="697303"/>
                  </a:lnTo>
                  <a:close/>
                </a:path>
              </a:pathLst>
            </a:custGeom>
            <a:solidFill>
              <a:srgbClr val="000000"/>
            </a:solidFill>
            <a:ln w="12690"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F158FEF7-B612-4196-8F2E-230EB77F2A08}"/>
                </a:ext>
              </a:extLst>
            </p:cNvPr>
            <p:cNvSpPr/>
            <p:nvPr/>
          </p:nvSpPr>
          <p:spPr>
            <a:xfrm>
              <a:off x="6443638" y="8151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0C33A3C8-3E07-4950-AAE5-05A2BA346DE9}"/>
                </a:ext>
              </a:extLst>
            </p:cNvPr>
            <p:cNvSpPr/>
            <p:nvPr/>
          </p:nvSpPr>
          <p:spPr>
            <a:xfrm>
              <a:off x="6444908" y="7998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C30C56F7-A089-4925-ADD0-72DEB9399E73}"/>
                </a:ext>
              </a:extLst>
            </p:cNvPr>
            <p:cNvSpPr/>
            <p:nvPr/>
          </p:nvSpPr>
          <p:spPr>
            <a:xfrm>
              <a:off x="6444851" y="84812"/>
              <a:ext cx="9198" cy="106488"/>
            </a:xfrm>
            <a:custGeom>
              <a:avLst/>
              <a:gdLst>
                <a:gd name="connsiteX0" fmla="*/ 9199 w 9198"/>
                <a:gd name="connsiteY0" fmla="*/ 102208 h 106488"/>
                <a:gd name="connsiteX1" fmla="*/ 9199 w 9198"/>
                <a:gd name="connsiteY1" fmla="*/ 5587 h 106488"/>
                <a:gd name="connsiteX2" fmla="*/ 1962 w 9198"/>
                <a:gd name="connsiteY2" fmla="*/ 3301 h 106488"/>
                <a:gd name="connsiteX3" fmla="*/ 1962 w 9198"/>
                <a:gd name="connsiteY3" fmla="*/ 3301 h 106488"/>
                <a:gd name="connsiteX4" fmla="*/ 1073 w 9198"/>
                <a:gd name="connsiteY4" fmla="*/ 3301 h 106488"/>
                <a:gd name="connsiteX5" fmla="*/ 57 w 9198"/>
                <a:gd name="connsiteY5" fmla="*/ 2666 h 106488"/>
                <a:gd name="connsiteX6" fmla="*/ 57 w 9198"/>
                <a:gd name="connsiteY6" fmla="*/ 2666 h 106488"/>
                <a:gd name="connsiteX7" fmla="*/ 57 w 9198"/>
                <a:gd name="connsiteY7" fmla="*/ 2666 h 106488"/>
                <a:gd name="connsiteX8" fmla="*/ 57 w 9198"/>
                <a:gd name="connsiteY8" fmla="*/ 1778 h 106488"/>
                <a:gd name="connsiteX9" fmla="*/ 57 w 9198"/>
                <a:gd name="connsiteY9" fmla="*/ 889 h 106488"/>
                <a:gd name="connsiteX10" fmla="*/ 57 w 9198"/>
                <a:gd name="connsiteY10" fmla="*/ 0 h 106488"/>
                <a:gd name="connsiteX11" fmla="*/ 57 w 9198"/>
                <a:gd name="connsiteY11" fmla="*/ 0 h 106488"/>
                <a:gd name="connsiteX12" fmla="*/ 57 w 9198"/>
                <a:gd name="connsiteY12" fmla="*/ 103732 h 106488"/>
                <a:gd name="connsiteX13" fmla="*/ 57 w 9198"/>
                <a:gd name="connsiteY13" fmla="*/ 104748 h 106488"/>
                <a:gd name="connsiteX14" fmla="*/ 57 w 9198"/>
                <a:gd name="connsiteY14" fmla="*/ 105510 h 106488"/>
                <a:gd name="connsiteX15" fmla="*/ 692 w 9198"/>
                <a:gd name="connsiteY15" fmla="*/ 106398 h 106488"/>
                <a:gd name="connsiteX16" fmla="*/ 1327 w 9198"/>
                <a:gd name="connsiteY16" fmla="*/ 106398 h 106488"/>
                <a:gd name="connsiteX17" fmla="*/ 2089 w 9198"/>
                <a:gd name="connsiteY17" fmla="*/ 106398 h 106488"/>
                <a:gd name="connsiteX18" fmla="*/ 3104 w 9198"/>
                <a:gd name="connsiteY18" fmla="*/ 106398 h 106488"/>
                <a:gd name="connsiteX19" fmla="*/ 5009 w 9198"/>
                <a:gd name="connsiteY19" fmla="*/ 106398 h 106488"/>
                <a:gd name="connsiteX20" fmla="*/ 9199 w 9198"/>
                <a:gd name="connsiteY20" fmla="*/ 102208 h 10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98" h="106488">
                  <a:moveTo>
                    <a:pt x="9199" y="102208"/>
                  </a:moveTo>
                  <a:lnTo>
                    <a:pt x="9199" y="5587"/>
                  </a:lnTo>
                  <a:lnTo>
                    <a:pt x="1962" y="3301"/>
                  </a:lnTo>
                  <a:lnTo>
                    <a:pt x="1962" y="3301"/>
                  </a:lnTo>
                  <a:cubicBezTo>
                    <a:pt x="1670" y="3371"/>
                    <a:pt x="1365" y="3371"/>
                    <a:pt x="1073" y="3301"/>
                  </a:cubicBezTo>
                  <a:lnTo>
                    <a:pt x="57" y="2666"/>
                  </a:lnTo>
                  <a:lnTo>
                    <a:pt x="57" y="2666"/>
                  </a:lnTo>
                  <a:lnTo>
                    <a:pt x="57" y="2666"/>
                  </a:lnTo>
                  <a:cubicBezTo>
                    <a:pt x="32" y="2371"/>
                    <a:pt x="32" y="2073"/>
                    <a:pt x="57" y="1778"/>
                  </a:cubicBezTo>
                  <a:cubicBezTo>
                    <a:pt x="-19" y="1486"/>
                    <a:pt x="-19" y="1180"/>
                    <a:pt x="57" y="889"/>
                  </a:cubicBezTo>
                  <a:cubicBezTo>
                    <a:pt x="-19" y="597"/>
                    <a:pt x="-19" y="292"/>
                    <a:pt x="57" y="0"/>
                  </a:cubicBezTo>
                  <a:lnTo>
                    <a:pt x="57" y="0"/>
                  </a:lnTo>
                  <a:lnTo>
                    <a:pt x="57" y="103732"/>
                  </a:lnTo>
                  <a:cubicBezTo>
                    <a:pt x="6" y="104069"/>
                    <a:pt x="6" y="104411"/>
                    <a:pt x="57" y="104748"/>
                  </a:cubicBezTo>
                  <a:cubicBezTo>
                    <a:pt x="-6" y="104998"/>
                    <a:pt x="-6" y="105259"/>
                    <a:pt x="57" y="105510"/>
                  </a:cubicBezTo>
                  <a:lnTo>
                    <a:pt x="692" y="106398"/>
                  </a:lnTo>
                  <a:cubicBezTo>
                    <a:pt x="692" y="106398"/>
                    <a:pt x="692" y="106398"/>
                    <a:pt x="1327" y="106398"/>
                  </a:cubicBezTo>
                  <a:lnTo>
                    <a:pt x="2089" y="106398"/>
                  </a:lnTo>
                  <a:lnTo>
                    <a:pt x="3104" y="106398"/>
                  </a:lnTo>
                  <a:cubicBezTo>
                    <a:pt x="3739" y="106519"/>
                    <a:pt x="4374" y="106519"/>
                    <a:pt x="5009" y="106398"/>
                  </a:cubicBezTo>
                  <a:cubicBezTo>
                    <a:pt x="7142" y="106010"/>
                    <a:pt x="8805" y="104342"/>
                    <a:pt x="9199" y="102208"/>
                  </a:cubicBezTo>
                  <a:close/>
                </a:path>
              </a:pathLst>
            </a:custGeom>
            <a:solidFill>
              <a:srgbClr val="000000"/>
            </a:solidFill>
            <a:ln w="12690"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A35B0AF0-6BD3-44D4-870E-322F330FBA65}"/>
                </a:ext>
              </a:extLst>
            </p:cNvPr>
            <p:cNvSpPr/>
            <p:nvPr/>
          </p:nvSpPr>
          <p:spPr>
            <a:xfrm>
              <a:off x="6446685" y="81638"/>
              <a:ext cx="2340024" cy="730314"/>
            </a:xfrm>
            <a:custGeom>
              <a:avLst/>
              <a:gdLst>
                <a:gd name="connsiteX0" fmla="*/ 2337612 w 2340024"/>
                <a:gd name="connsiteY0" fmla="*/ 724474 h 730314"/>
                <a:gd name="connsiteX1" fmla="*/ 2337612 w 2340024"/>
                <a:gd name="connsiteY1" fmla="*/ 724474 h 730314"/>
                <a:gd name="connsiteX2" fmla="*/ 2340025 w 2340024"/>
                <a:gd name="connsiteY2" fmla="*/ 722443 h 730314"/>
                <a:gd name="connsiteX3" fmla="*/ 12443 w 2340024"/>
                <a:gd name="connsiteY3" fmla="*/ 0 h 730314"/>
                <a:gd name="connsiteX4" fmla="*/ 5460 w 2340024"/>
                <a:gd name="connsiteY4" fmla="*/ 5587 h 730314"/>
                <a:gd name="connsiteX5" fmla="*/ 1905 w 2340024"/>
                <a:gd name="connsiteY5" fmla="*/ 6729 h 730314"/>
                <a:gd name="connsiteX6" fmla="*/ 0 w 2340024"/>
                <a:gd name="connsiteY6" fmla="*/ 6729 h 730314"/>
                <a:gd name="connsiteX7" fmla="*/ 0 w 2340024"/>
                <a:gd name="connsiteY7" fmla="*/ 6729 h 730314"/>
                <a:gd name="connsiteX8" fmla="*/ 7237 w 2340024"/>
                <a:gd name="connsiteY8" fmla="*/ 9015 h 730314"/>
                <a:gd name="connsiteX9" fmla="*/ 2330756 w 2340024"/>
                <a:gd name="connsiteY9" fmla="*/ 730314 h 7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0024" h="730314">
                  <a:moveTo>
                    <a:pt x="2337612" y="724474"/>
                  </a:moveTo>
                  <a:lnTo>
                    <a:pt x="2337612" y="724474"/>
                  </a:lnTo>
                  <a:lnTo>
                    <a:pt x="2340025" y="722443"/>
                  </a:lnTo>
                  <a:lnTo>
                    <a:pt x="12443" y="0"/>
                  </a:lnTo>
                  <a:lnTo>
                    <a:pt x="5460" y="5587"/>
                  </a:lnTo>
                  <a:cubicBezTo>
                    <a:pt x="4431" y="6338"/>
                    <a:pt x="3187" y="6739"/>
                    <a:pt x="1905" y="6729"/>
                  </a:cubicBezTo>
                  <a:cubicBezTo>
                    <a:pt x="1270" y="6849"/>
                    <a:pt x="635" y="6849"/>
                    <a:pt x="0" y="6729"/>
                  </a:cubicBezTo>
                  <a:lnTo>
                    <a:pt x="0" y="6729"/>
                  </a:lnTo>
                  <a:lnTo>
                    <a:pt x="7237" y="9015"/>
                  </a:lnTo>
                  <a:lnTo>
                    <a:pt x="2330756" y="730314"/>
                  </a:lnTo>
                  <a:close/>
                </a:path>
              </a:pathLst>
            </a:custGeom>
            <a:solidFill>
              <a:srgbClr val="000000"/>
            </a:solidFill>
            <a:ln w="12690"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A2CA9811-1F0F-447E-9463-D5C10638807A}"/>
                </a:ext>
              </a:extLst>
            </p:cNvPr>
            <p:cNvSpPr/>
            <p:nvPr/>
          </p:nvSpPr>
          <p:spPr>
            <a:xfrm>
              <a:off x="6444654" y="80115"/>
              <a:ext cx="12696" cy="761"/>
            </a:xfrm>
            <a:custGeom>
              <a:avLst/>
              <a:gdLst>
                <a:gd name="connsiteX0" fmla="*/ 0 w 12696"/>
                <a:gd name="connsiteY0" fmla="*/ 0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0"/>
                  </a:moveTo>
                  <a:lnTo>
                    <a:pt x="0" y="762"/>
                  </a:lnTo>
                  <a:lnTo>
                    <a:pt x="0" y="0"/>
                  </a:lnTo>
                  <a:close/>
                </a:path>
              </a:pathLst>
            </a:custGeom>
            <a:solidFill>
              <a:srgbClr val="000000"/>
            </a:solidFill>
            <a:ln w="12690"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8185B63A-1456-44FC-AB7D-5814513E2DD2}"/>
                </a:ext>
              </a:extLst>
            </p:cNvPr>
            <p:cNvSpPr/>
            <p:nvPr/>
          </p:nvSpPr>
          <p:spPr>
            <a:xfrm>
              <a:off x="6443483" y="80877"/>
              <a:ext cx="28" cy="888"/>
            </a:xfrm>
            <a:custGeom>
              <a:avLst/>
              <a:gdLst>
                <a:gd name="connsiteX0" fmla="*/ 28 w 28"/>
                <a:gd name="connsiteY0" fmla="*/ 889 h 888"/>
                <a:gd name="connsiteX1" fmla="*/ 28 w 28"/>
                <a:gd name="connsiteY1" fmla="*/ 889 h 888"/>
                <a:gd name="connsiteX2" fmla="*/ 28 w 28"/>
                <a:gd name="connsiteY2" fmla="*/ 0 h 888"/>
              </a:gdLst>
              <a:ahLst/>
              <a:cxnLst>
                <a:cxn ang="0">
                  <a:pos x="connsiteX0" y="connsiteY0"/>
                </a:cxn>
                <a:cxn ang="0">
                  <a:pos x="connsiteX1" y="connsiteY1"/>
                </a:cxn>
                <a:cxn ang="0">
                  <a:pos x="connsiteX2" y="connsiteY2"/>
                </a:cxn>
              </a:cxnLst>
              <a:rect l="l" t="t" r="r" b="b"/>
              <a:pathLst>
                <a:path w="28" h="888">
                  <a:moveTo>
                    <a:pt x="28" y="889"/>
                  </a:moveTo>
                  <a:lnTo>
                    <a:pt x="28" y="889"/>
                  </a:lnTo>
                  <a:cubicBezTo>
                    <a:pt x="-9" y="594"/>
                    <a:pt x="-9" y="295"/>
                    <a:pt x="28" y="0"/>
                  </a:cubicBezTo>
                  <a:close/>
                </a:path>
              </a:pathLst>
            </a:custGeom>
            <a:solidFill>
              <a:srgbClr val="000000"/>
            </a:solidFill>
            <a:ln w="12690"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F6E6B5FB-F568-4942-8E98-3CDF02FC9AEC}"/>
                </a:ext>
              </a:extLst>
            </p:cNvPr>
            <p:cNvSpPr/>
            <p:nvPr/>
          </p:nvSpPr>
          <p:spPr>
            <a:xfrm>
              <a:off x="9150601" y="-1"/>
              <a:ext cx="1153633" cy="871120"/>
            </a:xfrm>
            <a:custGeom>
              <a:avLst/>
              <a:gdLst>
                <a:gd name="connsiteX0" fmla="*/ 2920 w 1153633"/>
                <a:gd name="connsiteY0" fmla="*/ 868328 h 871120"/>
                <a:gd name="connsiteX1" fmla="*/ 12062 w 1153633"/>
                <a:gd name="connsiteY1" fmla="*/ 871121 h 871120"/>
                <a:gd name="connsiteX2" fmla="*/ 427121 w 1153633"/>
                <a:gd name="connsiteY2" fmla="*/ 553703 h 871120"/>
                <a:gd name="connsiteX3" fmla="*/ 545202 w 1153633"/>
                <a:gd name="connsiteY3" fmla="*/ 457716 h 871120"/>
                <a:gd name="connsiteX4" fmla="*/ 545836 w 1153633"/>
                <a:gd name="connsiteY4" fmla="*/ 457716 h 871120"/>
                <a:gd name="connsiteX5" fmla="*/ 546725 w 1153633"/>
                <a:gd name="connsiteY5" fmla="*/ 457716 h 871120"/>
                <a:gd name="connsiteX6" fmla="*/ 547741 w 1153633"/>
                <a:gd name="connsiteY6" fmla="*/ 457716 h 871120"/>
                <a:gd name="connsiteX7" fmla="*/ 550534 w 1153633"/>
                <a:gd name="connsiteY7" fmla="*/ 457716 h 871120"/>
                <a:gd name="connsiteX8" fmla="*/ 553201 w 1153633"/>
                <a:gd name="connsiteY8" fmla="*/ 458478 h 871120"/>
                <a:gd name="connsiteX9" fmla="*/ 1153633 w 1153633"/>
                <a:gd name="connsiteY9" fmla="*/ 0 h 871120"/>
                <a:gd name="connsiteX10" fmla="*/ 1136746 w 1153633"/>
                <a:gd name="connsiteY10" fmla="*/ 0 h 871120"/>
                <a:gd name="connsiteX11" fmla="*/ 0 w 1153633"/>
                <a:gd name="connsiteY11" fmla="*/ 867439 h 87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3633" h="871120">
                  <a:moveTo>
                    <a:pt x="2920" y="868328"/>
                  </a:moveTo>
                  <a:lnTo>
                    <a:pt x="12062" y="871121"/>
                  </a:lnTo>
                  <a:lnTo>
                    <a:pt x="427121" y="553703"/>
                  </a:lnTo>
                  <a:lnTo>
                    <a:pt x="545202" y="457716"/>
                  </a:lnTo>
                  <a:lnTo>
                    <a:pt x="545836" y="457716"/>
                  </a:lnTo>
                  <a:lnTo>
                    <a:pt x="546725" y="457716"/>
                  </a:lnTo>
                  <a:lnTo>
                    <a:pt x="547741" y="457716"/>
                  </a:lnTo>
                  <a:lnTo>
                    <a:pt x="550534" y="457716"/>
                  </a:lnTo>
                  <a:lnTo>
                    <a:pt x="553201" y="458478"/>
                  </a:lnTo>
                  <a:lnTo>
                    <a:pt x="1153633" y="0"/>
                  </a:lnTo>
                  <a:lnTo>
                    <a:pt x="1136746" y="0"/>
                  </a:lnTo>
                  <a:lnTo>
                    <a:pt x="0" y="867439"/>
                  </a:lnTo>
                  <a:close/>
                </a:path>
              </a:pathLst>
            </a:custGeom>
            <a:solidFill>
              <a:srgbClr val="000000"/>
            </a:solidFill>
            <a:ln w="12690"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01E1331B-52D8-4811-88AD-E2C26D20574E}"/>
                </a:ext>
              </a:extLst>
            </p:cNvPr>
            <p:cNvSpPr/>
            <p:nvPr/>
          </p:nvSpPr>
          <p:spPr>
            <a:xfrm>
              <a:off x="7347144" y="98398"/>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lnTo>
                    <a:pt x="0" y="0"/>
                  </a:lnTo>
                  <a:close/>
                </a:path>
              </a:pathLst>
            </a:custGeom>
            <a:solidFill>
              <a:srgbClr val="000000"/>
            </a:solidFill>
            <a:ln w="12690"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E500FFB7-B46C-4129-8FF7-8243B84B8C05}"/>
                </a:ext>
              </a:extLst>
            </p:cNvPr>
            <p:cNvSpPr/>
            <p:nvPr/>
          </p:nvSpPr>
          <p:spPr>
            <a:xfrm>
              <a:off x="7348033" y="-1"/>
              <a:ext cx="128491" cy="93193"/>
            </a:xfrm>
            <a:custGeom>
              <a:avLst/>
              <a:gdLst>
                <a:gd name="connsiteX0" fmla="*/ 0 w 128491"/>
                <a:gd name="connsiteY0" fmla="*/ 91670 h 93193"/>
                <a:gd name="connsiteX1" fmla="*/ 5460 w 128491"/>
                <a:gd name="connsiteY1" fmla="*/ 90528 h 93193"/>
                <a:gd name="connsiteX2" fmla="*/ 14220 w 128491"/>
                <a:gd name="connsiteY2" fmla="*/ 93194 h 93193"/>
                <a:gd name="connsiteX3" fmla="*/ 128492 w 128491"/>
                <a:gd name="connsiteY3" fmla="*/ 0 h 93193"/>
                <a:gd name="connsiteX4" fmla="*/ 112621 w 128491"/>
                <a:gd name="connsiteY4" fmla="*/ 0 h 93193"/>
                <a:gd name="connsiteX5" fmla="*/ 127 w 128491"/>
                <a:gd name="connsiteY5" fmla="*/ 91543 h 9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491" h="93193">
                  <a:moveTo>
                    <a:pt x="0" y="91670"/>
                  </a:moveTo>
                  <a:cubicBezTo>
                    <a:pt x="1486" y="90343"/>
                    <a:pt x="3568" y="89908"/>
                    <a:pt x="5460" y="90528"/>
                  </a:cubicBezTo>
                  <a:lnTo>
                    <a:pt x="14220" y="93194"/>
                  </a:lnTo>
                  <a:lnTo>
                    <a:pt x="128492" y="0"/>
                  </a:lnTo>
                  <a:lnTo>
                    <a:pt x="112621" y="0"/>
                  </a:lnTo>
                  <a:lnTo>
                    <a:pt x="127" y="91543"/>
                  </a:lnTo>
                  <a:close/>
                </a:path>
              </a:pathLst>
            </a:custGeom>
            <a:solidFill>
              <a:srgbClr val="000000"/>
            </a:solidFill>
            <a:ln w="12690"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4494071B-0489-419C-B7FD-316F577860C9}"/>
                </a:ext>
              </a:extLst>
            </p:cNvPr>
            <p:cNvSpPr/>
            <p:nvPr/>
          </p:nvSpPr>
          <p:spPr>
            <a:xfrm>
              <a:off x="6443327" y="-1"/>
              <a:ext cx="115978" cy="86935"/>
            </a:xfrm>
            <a:custGeom>
              <a:avLst/>
              <a:gdLst>
                <a:gd name="connsiteX0" fmla="*/ 57 w 115978"/>
                <a:gd name="connsiteY0" fmla="*/ 84433 h 86935"/>
                <a:gd name="connsiteX1" fmla="*/ 57 w 115978"/>
                <a:gd name="connsiteY1" fmla="*/ 85322 h 86935"/>
                <a:gd name="connsiteX2" fmla="*/ 57 w 115978"/>
                <a:gd name="connsiteY2" fmla="*/ 86211 h 86935"/>
                <a:gd name="connsiteX3" fmla="*/ 57 w 115978"/>
                <a:gd name="connsiteY3" fmla="*/ 86211 h 86935"/>
                <a:gd name="connsiteX4" fmla="*/ 57 w 115978"/>
                <a:gd name="connsiteY4" fmla="*/ 86211 h 86935"/>
                <a:gd name="connsiteX5" fmla="*/ 1073 w 115978"/>
                <a:gd name="connsiteY5" fmla="*/ 86845 h 86935"/>
                <a:gd name="connsiteX6" fmla="*/ 1962 w 115978"/>
                <a:gd name="connsiteY6" fmla="*/ 86845 h 86935"/>
                <a:gd name="connsiteX7" fmla="*/ 3866 w 115978"/>
                <a:gd name="connsiteY7" fmla="*/ 86845 h 86935"/>
                <a:gd name="connsiteX8" fmla="*/ 7421 w 115978"/>
                <a:gd name="connsiteY8" fmla="*/ 85703 h 86935"/>
                <a:gd name="connsiteX9" fmla="*/ 14404 w 115978"/>
                <a:gd name="connsiteY9" fmla="*/ 80116 h 86935"/>
                <a:gd name="connsiteX10" fmla="*/ 115979 w 115978"/>
                <a:gd name="connsiteY10" fmla="*/ 0 h 86935"/>
                <a:gd name="connsiteX11" fmla="*/ 99854 w 115978"/>
                <a:gd name="connsiteY11" fmla="*/ 0 h 86935"/>
                <a:gd name="connsiteX12" fmla="*/ 1708 w 115978"/>
                <a:gd name="connsiteY12" fmla="*/ 79862 h 86935"/>
                <a:gd name="connsiteX13" fmla="*/ 1708 w 115978"/>
                <a:gd name="connsiteY13" fmla="*/ 79862 h 86935"/>
                <a:gd name="connsiteX14" fmla="*/ 1708 w 115978"/>
                <a:gd name="connsiteY14" fmla="*/ 80624 h 86935"/>
                <a:gd name="connsiteX15" fmla="*/ 1708 w 115978"/>
                <a:gd name="connsiteY15" fmla="*/ 80624 h 86935"/>
                <a:gd name="connsiteX16" fmla="*/ 1708 w 115978"/>
                <a:gd name="connsiteY16" fmla="*/ 80624 h 86935"/>
                <a:gd name="connsiteX17" fmla="*/ 1708 w 115978"/>
                <a:gd name="connsiteY17" fmla="*/ 81513 h 86935"/>
                <a:gd name="connsiteX18" fmla="*/ 1708 w 115978"/>
                <a:gd name="connsiteY18" fmla="*/ 82402 h 86935"/>
                <a:gd name="connsiteX19" fmla="*/ 1708 w 115978"/>
                <a:gd name="connsiteY19" fmla="*/ 82402 h 86935"/>
                <a:gd name="connsiteX20" fmla="*/ 57 w 115978"/>
                <a:gd name="connsiteY20" fmla="*/ 84433 h 8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978" h="86935">
                  <a:moveTo>
                    <a:pt x="57" y="84433"/>
                  </a:moveTo>
                  <a:cubicBezTo>
                    <a:pt x="-19" y="84725"/>
                    <a:pt x="-19" y="85030"/>
                    <a:pt x="57" y="85322"/>
                  </a:cubicBezTo>
                  <a:cubicBezTo>
                    <a:pt x="32" y="85618"/>
                    <a:pt x="32" y="85915"/>
                    <a:pt x="57" y="86211"/>
                  </a:cubicBezTo>
                  <a:lnTo>
                    <a:pt x="57" y="86211"/>
                  </a:lnTo>
                  <a:lnTo>
                    <a:pt x="57" y="86211"/>
                  </a:lnTo>
                  <a:lnTo>
                    <a:pt x="1073" y="86845"/>
                  </a:lnTo>
                  <a:cubicBezTo>
                    <a:pt x="1365" y="86916"/>
                    <a:pt x="1670" y="86916"/>
                    <a:pt x="1962" y="86845"/>
                  </a:cubicBezTo>
                  <a:cubicBezTo>
                    <a:pt x="2596" y="86966"/>
                    <a:pt x="3231" y="86966"/>
                    <a:pt x="3866" y="86845"/>
                  </a:cubicBezTo>
                  <a:cubicBezTo>
                    <a:pt x="5149" y="86855"/>
                    <a:pt x="6393" y="86454"/>
                    <a:pt x="7421" y="85703"/>
                  </a:cubicBezTo>
                  <a:lnTo>
                    <a:pt x="14404" y="80116"/>
                  </a:lnTo>
                  <a:lnTo>
                    <a:pt x="115979" y="0"/>
                  </a:lnTo>
                  <a:lnTo>
                    <a:pt x="99854" y="0"/>
                  </a:lnTo>
                  <a:lnTo>
                    <a:pt x="1708" y="79862"/>
                  </a:lnTo>
                  <a:lnTo>
                    <a:pt x="1708" y="79862"/>
                  </a:lnTo>
                  <a:lnTo>
                    <a:pt x="1708" y="80624"/>
                  </a:lnTo>
                  <a:lnTo>
                    <a:pt x="1708" y="80624"/>
                  </a:lnTo>
                  <a:lnTo>
                    <a:pt x="1708" y="80624"/>
                  </a:lnTo>
                  <a:cubicBezTo>
                    <a:pt x="1670" y="80919"/>
                    <a:pt x="1670" y="81218"/>
                    <a:pt x="1708" y="81513"/>
                  </a:cubicBezTo>
                  <a:cubicBezTo>
                    <a:pt x="1644" y="81806"/>
                    <a:pt x="1644" y="82109"/>
                    <a:pt x="1708" y="82402"/>
                  </a:cubicBezTo>
                  <a:lnTo>
                    <a:pt x="1708" y="82402"/>
                  </a:lnTo>
                  <a:cubicBezTo>
                    <a:pt x="705" y="82534"/>
                    <a:pt x="-19" y="83425"/>
                    <a:pt x="57" y="84433"/>
                  </a:cubicBezTo>
                  <a:close/>
                </a:path>
              </a:pathLst>
            </a:custGeom>
            <a:solidFill>
              <a:srgbClr val="000000"/>
            </a:solidFill>
            <a:ln w="12690"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31DE3EC5-A8A4-460E-97FE-8C04D69E49FE}"/>
                </a:ext>
              </a:extLst>
            </p:cNvPr>
            <p:cNvSpPr/>
            <p:nvPr/>
          </p:nvSpPr>
          <p:spPr>
            <a:xfrm>
              <a:off x="12036463" y="1329851"/>
              <a:ext cx="149187" cy="53326"/>
            </a:xfrm>
            <a:custGeom>
              <a:avLst/>
              <a:gdLst>
                <a:gd name="connsiteX0" fmla="*/ 7364 w 149187"/>
                <a:gd name="connsiteY0" fmla="*/ 3301 h 53326"/>
                <a:gd name="connsiteX1" fmla="*/ 1917 w 149187"/>
                <a:gd name="connsiteY1" fmla="*/ 8253 h 53326"/>
                <a:gd name="connsiteX2" fmla="*/ 1905 w 149187"/>
                <a:gd name="connsiteY2" fmla="*/ 8253 h 53326"/>
                <a:gd name="connsiteX3" fmla="*/ 0 w 149187"/>
                <a:gd name="connsiteY3" fmla="*/ 8253 h 53326"/>
                <a:gd name="connsiteX4" fmla="*/ 0 w 149187"/>
                <a:gd name="connsiteY4" fmla="*/ 8253 h 53326"/>
                <a:gd name="connsiteX5" fmla="*/ 149188 w 149187"/>
                <a:gd name="connsiteY5" fmla="*/ 53326 h 53326"/>
                <a:gd name="connsiteX6" fmla="*/ 149188 w 149187"/>
                <a:gd name="connsiteY6" fmla="*/ 43042 h 53326"/>
                <a:gd name="connsiteX7" fmla="*/ 7110 w 149187"/>
                <a:gd name="connsiteY7" fmla="*/ 0 h 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187" h="53326">
                  <a:moveTo>
                    <a:pt x="7364" y="3301"/>
                  </a:moveTo>
                  <a:cubicBezTo>
                    <a:pt x="7225" y="6171"/>
                    <a:pt x="4787" y="8393"/>
                    <a:pt x="1917" y="8253"/>
                  </a:cubicBezTo>
                  <a:cubicBezTo>
                    <a:pt x="1917" y="8253"/>
                    <a:pt x="1905" y="8253"/>
                    <a:pt x="1905" y="8253"/>
                  </a:cubicBezTo>
                  <a:cubicBezTo>
                    <a:pt x="1270" y="8367"/>
                    <a:pt x="635" y="8367"/>
                    <a:pt x="0" y="8253"/>
                  </a:cubicBezTo>
                  <a:lnTo>
                    <a:pt x="0" y="8253"/>
                  </a:lnTo>
                  <a:lnTo>
                    <a:pt x="149188" y="53326"/>
                  </a:lnTo>
                  <a:lnTo>
                    <a:pt x="149188" y="43042"/>
                  </a:lnTo>
                  <a:lnTo>
                    <a:pt x="7110" y="0"/>
                  </a:lnTo>
                  <a:close/>
                </a:path>
              </a:pathLst>
            </a:custGeom>
            <a:solidFill>
              <a:srgbClr val="000000"/>
            </a:solidFill>
            <a:ln w="12690"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F16DD75E-3B68-4FB6-8153-7AFB438D4154}"/>
                </a:ext>
              </a:extLst>
            </p:cNvPr>
            <p:cNvSpPr/>
            <p:nvPr/>
          </p:nvSpPr>
          <p:spPr>
            <a:xfrm>
              <a:off x="12034685" y="122535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67113C6A-95D6-421E-A528-85B82478FB97}"/>
                </a:ext>
              </a:extLst>
            </p:cNvPr>
            <p:cNvSpPr/>
            <p:nvPr/>
          </p:nvSpPr>
          <p:spPr>
            <a:xfrm>
              <a:off x="12033415" y="122700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D18AD076-23B0-401C-AE03-E6F796326492}"/>
                </a:ext>
              </a:extLst>
            </p:cNvPr>
            <p:cNvSpPr/>
            <p:nvPr/>
          </p:nvSpPr>
          <p:spPr>
            <a:xfrm>
              <a:off x="12034726" y="1230309"/>
              <a:ext cx="9100" cy="106230"/>
            </a:xfrm>
            <a:custGeom>
              <a:avLst/>
              <a:gdLst>
                <a:gd name="connsiteX0" fmla="*/ 9100 w 9100"/>
                <a:gd name="connsiteY0" fmla="*/ 102843 h 106230"/>
                <a:gd name="connsiteX1" fmla="*/ 9100 w 9100"/>
                <a:gd name="connsiteY1" fmla="*/ 5460 h 106230"/>
                <a:gd name="connsiteX2" fmla="*/ 1990 w 9100"/>
                <a:gd name="connsiteY2" fmla="*/ 3301 h 106230"/>
                <a:gd name="connsiteX3" fmla="*/ 1990 w 9100"/>
                <a:gd name="connsiteY3" fmla="*/ 3301 h 106230"/>
                <a:gd name="connsiteX4" fmla="*/ 1101 w 9100"/>
                <a:gd name="connsiteY4" fmla="*/ 3301 h 106230"/>
                <a:gd name="connsiteX5" fmla="*/ 85 w 9100"/>
                <a:gd name="connsiteY5" fmla="*/ 2666 h 106230"/>
                <a:gd name="connsiteX6" fmla="*/ 85 w 9100"/>
                <a:gd name="connsiteY6" fmla="*/ 2666 h 106230"/>
                <a:gd name="connsiteX7" fmla="*/ 85 w 9100"/>
                <a:gd name="connsiteY7" fmla="*/ 2666 h 106230"/>
                <a:gd name="connsiteX8" fmla="*/ 85 w 9100"/>
                <a:gd name="connsiteY8" fmla="*/ 1778 h 106230"/>
                <a:gd name="connsiteX9" fmla="*/ 85 w 9100"/>
                <a:gd name="connsiteY9" fmla="*/ 889 h 106230"/>
                <a:gd name="connsiteX10" fmla="*/ 85 w 9100"/>
                <a:gd name="connsiteY10" fmla="*/ 0 h 106230"/>
                <a:gd name="connsiteX11" fmla="*/ 85 w 9100"/>
                <a:gd name="connsiteY11" fmla="*/ 0 h 106230"/>
                <a:gd name="connsiteX12" fmla="*/ 85 w 9100"/>
                <a:gd name="connsiteY12" fmla="*/ 0 h 106230"/>
                <a:gd name="connsiteX13" fmla="*/ 85 w 9100"/>
                <a:gd name="connsiteY13" fmla="*/ 102843 h 106230"/>
                <a:gd name="connsiteX14" fmla="*/ 85 w 9100"/>
                <a:gd name="connsiteY14" fmla="*/ 103859 h 106230"/>
                <a:gd name="connsiteX15" fmla="*/ 85 w 9100"/>
                <a:gd name="connsiteY15" fmla="*/ 104621 h 106230"/>
                <a:gd name="connsiteX16" fmla="*/ 85 w 9100"/>
                <a:gd name="connsiteY16" fmla="*/ 105383 h 106230"/>
                <a:gd name="connsiteX17" fmla="*/ 720 w 9100"/>
                <a:gd name="connsiteY17" fmla="*/ 106144 h 106230"/>
                <a:gd name="connsiteX18" fmla="*/ 1482 w 9100"/>
                <a:gd name="connsiteY18" fmla="*/ 106144 h 106230"/>
                <a:gd name="connsiteX19" fmla="*/ 2498 w 9100"/>
                <a:gd name="connsiteY19" fmla="*/ 106144 h 106230"/>
                <a:gd name="connsiteX20" fmla="*/ 4403 w 9100"/>
                <a:gd name="connsiteY20" fmla="*/ 106144 h 106230"/>
                <a:gd name="connsiteX21" fmla="*/ 9100 w 9100"/>
                <a:gd name="connsiteY21" fmla="*/ 102843 h 10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00" h="106230">
                  <a:moveTo>
                    <a:pt x="9100" y="102843"/>
                  </a:moveTo>
                  <a:lnTo>
                    <a:pt x="9100" y="5460"/>
                  </a:lnTo>
                  <a:lnTo>
                    <a:pt x="1990" y="3301"/>
                  </a:lnTo>
                  <a:lnTo>
                    <a:pt x="1990" y="3301"/>
                  </a:lnTo>
                  <a:lnTo>
                    <a:pt x="1101" y="3301"/>
                  </a:lnTo>
                  <a:lnTo>
                    <a:pt x="85" y="2666"/>
                  </a:lnTo>
                  <a:lnTo>
                    <a:pt x="85" y="2666"/>
                  </a:lnTo>
                  <a:cubicBezTo>
                    <a:pt x="85" y="2666"/>
                    <a:pt x="85" y="2666"/>
                    <a:pt x="85" y="2666"/>
                  </a:cubicBezTo>
                  <a:cubicBezTo>
                    <a:pt x="22" y="2373"/>
                    <a:pt x="22" y="2071"/>
                    <a:pt x="85" y="1778"/>
                  </a:cubicBezTo>
                  <a:cubicBezTo>
                    <a:pt x="73" y="1482"/>
                    <a:pt x="73" y="1185"/>
                    <a:pt x="85" y="889"/>
                  </a:cubicBezTo>
                  <a:cubicBezTo>
                    <a:pt x="22" y="595"/>
                    <a:pt x="22" y="293"/>
                    <a:pt x="85" y="0"/>
                  </a:cubicBezTo>
                  <a:lnTo>
                    <a:pt x="85" y="0"/>
                  </a:lnTo>
                  <a:lnTo>
                    <a:pt x="85" y="0"/>
                  </a:lnTo>
                  <a:lnTo>
                    <a:pt x="85" y="102843"/>
                  </a:lnTo>
                  <a:cubicBezTo>
                    <a:pt x="47" y="103186"/>
                    <a:pt x="47" y="103516"/>
                    <a:pt x="85" y="103859"/>
                  </a:cubicBezTo>
                  <a:cubicBezTo>
                    <a:pt x="-28" y="104100"/>
                    <a:pt x="-28" y="104380"/>
                    <a:pt x="85" y="104621"/>
                  </a:cubicBezTo>
                  <a:cubicBezTo>
                    <a:pt x="85" y="104621"/>
                    <a:pt x="85" y="104621"/>
                    <a:pt x="85" y="105383"/>
                  </a:cubicBezTo>
                  <a:lnTo>
                    <a:pt x="720" y="106144"/>
                  </a:lnTo>
                  <a:lnTo>
                    <a:pt x="1482" y="106144"/>
                  </a:lnTo>
                  <a:lnTo>
                    <a:pt x="2498" y="106144"/>
                  </a:lnTo>
                  <a:cubicBezTo>
                    <a:pt x="3133" y="106259"/>
                    <a:pt x="3768" y="106259"/>
                    <a:pt x="4403" y="106144"/>
                  </a:cubicBezTo>
                  <a:cubicBezTo>
                    <a:pt x="6485" y="106081"/>
                    <a:pt x="8339" y="104786"/>
                    <a:pt x="9100" y="102843"/>
                  </a:cubicBezTo>
                  <a:close/>
                </a:path>
              </a:pathLst>
            </a:custGeom>
            <a:solidFill>
              <a:srgbClr val="000000"/>
            </a:solidFill>
            <a:ln w="12690"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936B330A-C224-49C9-953C-1A22FE779B61}"/>
                </a:ext>
              </a:extLst>
            </p:cNvPr>
            <p:cNvSpPr/>
            <p:nvPr/>
          </p:nvSpPr>
          <p:spPr>
            <a:xfrm>
              <a:off x="12034403" y="1225484"/>
              <a:ext cx="663" cy="888"/>
            </a:xfrm>
            <a:custGeom>
              <a:avLst/>
              <a:gdLst>
                <a:gd name="connsiteX0" fmla="*/ 28 w 663"/>
                <a:gd name="connsiteY0" fmla="*/ 127 h 888"/>
                <a:gd name="connsiteX1" fmla="*/ 28 w 663"/>
                <a:gd name="connsiteY1" fmla="*/ 889 h 888"/>
                <a:gd name="connsiteX2" fmla="*/ 663 w 663"/>
                <a:gd name="connsiteY2" fmla="*/ 0 h 888"/>
              </a:gdLst>
              <a:ahLst/>
              <a:cxnLst>
                <a:cxn ang="0">
                  <a:pos x="connsiteX0" y="connsiteY0"/>
                </a:cxn>
                <a:cxn ang="0">
                  <a:pos x="connsiteX1" y="connsiteY1"/>
                </a:cxn>
                <a:cxn ang="0">
                  <a:pos x="connsiteX2" y="connsiteY2"/>
                </a:cxn>
              </a:cxnLst>
              <a:rect l="l" t="t" r="r" b="b"/>
              <a:pathLst>
                <a:path w="663" h="888">
                  <a:moveTo>
                    <a:pt x="28" y="127"/>
                  </a:moveTo>
                  <a:cubicBezTo>
                    <a:pt x="-9" y="380"/>
                    <a:pt x="-9" y="636"/>
                    <a:pt x="28" y="889"/>
                  </a:cubicBezTo>
                  <a:lnTo>
                    <a:pt x="663" y="0"/>
                  </a:lnTo>
                  <a:close/>
                </a:path>
              </a:pathLst>
            </a:custGeom>
            <a:solidFill>
              <a:srgbClr val="000000"/>
            </a:solidFill>
            <a:ln w="12690"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123A8554-D340-4CA4-8A04-9195EB66E17C}"/>
                </a:ext>
              </a:extLst>
            </p:cNvPr>
            <p:cNvSpPr/>
            <p:nvPr/>
          </p:nvSpPr>
          <p:spPr>
            <a:xfrm>
              <a:off x="12033251" y="1226373"/>
              <a:ext cx="37" cy="888"/>
            </a:xfrm>
            <a:custGeom>
              <a:avLst/>
              <a:gdLst>
                <a:gd name="connsiteX0" fmla="*/ 38 w 37"/>
                <a:gd name="connsiteY0" fmla="*/ 889 h 888"/>
                <a:gd name="connsiteX1" fmla="*/ 38 w 37"/>
                <a:gd name="connsiteY1" fmla="*/ 889 h 888"/>
                <a:gd name="connsiteX2" fmla="*/ 38 w 37"/>
                <a:gd name="connsiteY2" fmla="*/ 0 h 888"/>
              </a:gdLst>
              <a:ahLst/>
              <a:cxnLst>
                <a:cxn ang="0">
                  <a:pos x="connsiteX0" y="connsiteY0"/>
                </a:cxn>
                <a:cxn ang="0">
                  <a:pos x="connsiteX1" y="connsiteY1"/>
                </a:cxn>
                <a:cxn ang="0">
                  <a:pos x="connsiteX2" y="connsiteY2"/>
                </a:cxn>
              </a:cxnLst>
              <a:rect l="l" t="t" r="r" b="b"/>
              <a:pathLst>
                <a:path w="37" h="888">
                  <a:moveTo>
                    <a:pt x="38" y="889"/>
                  </a:moveTo>
                  <a:lnTo>
                    <a:pt x="38" y="889"/>
                  </a:lnTo>
                  <a:cubicBezTo>
                    <a:pt x="-13" y="596"/>
                    <a:pt x="-13" y="293"/>
                    <a:pt x="38" y="0"/>
                  </a:cubicBezTo>
                  <a:close/>
                </a:path>
              </a:pathLst>
            </a:custGeom>
            <a:solidFill>
              <a:srgbClr val="000000"/>
            </a:solidFill>
            <a:ln w="12690"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9F5B5631-7C50-47F4-A97A-0F941C9DA7F5}"/>
                </a:ext>
              </a:extLst>
            </p:cNvPr>
            <p:cNvSpPr/>
            <p:nvPr/>
          </p:nvSpPr>
          <p:spPr>
            <a:xfrm>
              <a:off x="12036463" y="1227008"/>
              <a:ext cx="149187" cy="51929"/>
            </a:xfrm>
            <a:custGeom>
              <a:avLst/>
              <a:gdLst>
                <a:gd name="connsiteX0" fmla="*/ 5460 w 149187"/>
                <a:gd name="connsiteY0" fmla="*/ 5587 h 51929"/>
                <a:gd name="connsiteX1" fmla="*/ 1905 w 149187"/>
                <a:gd name="connsiteY1" fmla="*/ 6856 h 51929"/>
                <a:gd name="connsiteX2" fmla="*/ 0 w 149187"/>
                <a:gd name="connsiteY2" fmla="*/ 6856 h 51929"/>
                <a:gd name="connsiteX3" fmla="*/ 0 w 149187"/>
                <a:gd name="connsiteY3" fmla="*/ 6856 h 51929"/>
                <a:gd name="connsiteX4" fmla="*/ 7110 w 149187"/>
                <a:gd name="connsiteY4" fmla="*/ 9015 h 51929"/>
                <a:gd name="connsiteX5" fmla="*/ 149188 w 149187"/>
                <a:gd name="connsiteY5" fmla="*/ 51930 h 51929"/>
                <a:gd name="connsiteX6" fmla="*/ 149188 w 149187"/>
                <a:gd name="connsiteY6" fmla="*/ 41391 h 51929"/>
                <a:gd name="connsiteX7" fmla="*/ 12824 w 149187"/>
                <a:gd name="connsiteY7" fmla="*/ 0 h 5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187" h="51929">
                  <a:moveTo>
                    <a:pt x="5460" y="5587"/>
                  </a:moveTo>
                  <a:cubicBezTo>
                    <a:pt x="4469" y="6430"/>
                    <a:pt x="3200" y="6880"/>
                    <a:pt x="1905" y="6856"/>
                  </a:cubicBezTo>
                  <a:cubicBezTo>
                    <a:pt x="1270" y="6977"/>
                    <a:pt x="622" y="6977"/>
                    <a:pt x="0" y="6856"/>
                  </a:cubicBezTo>
                  <a:lnTo>
                    <a:pt x="0" y="6856"/>
                  </a:lnTo>
                  <a:lnTo>
                    <a:pt x="7110" y="9015"/>
                  </a:lnTo>
                  <a:lnTo>
                    <a:pt x="149188" y="51930"/>
                  </a:lnTo>
                  <a:lnTo>
                    <a:pt x="149188" y="41391"/>
                  </a:lnTo>
                  <a:lnTo>
                    <a:pt x="12824" y="0"/>
                  </a:lnTo>
                  <a:close/>
                </a:path>
              </a:pathLst>
            </a:custGeom>
            <a:solidFill>
              <a:srgbClr val="000000"/>
            </a:solidFill>
            <a:ln w="12690"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1EDEE573-2712-4781-811C-E9A926043F91}"/>
                </a:ext>
              </a:extLst>
            </p:cNvPr>
            <p:cNvSpPr/>
            <p:nvPr/>
          </p:nvSpPr>
          <p:spPr>
            <a:xfrm>
              <a:off x="12032269" y="1144099"/>
              <a:ext cx="104117" cy="88332"/>
            </a:xfrm>
            <a:custGeom>
              <a:avLst/>
              <a:gdLst>
                <a:gd name="connsiteX0" fmla="*/ 892 w 104117"/>
                <a:gd name="connsiteY0" fmla="*/ 85830 h 88332"/>
                <a:gd name="connsiteX1" fmla="*/ 892 w 104117"/>
                <a:gd name="connsiteY1" fmla="*/ 86719 h 88332"/>
                <a:gd name="connsiteX2" fmla="*/ 892 w 104117"/>
                <a:gd name="connsiteY2" fmla="*/ 87607 h 88332"/>
                <a:gd name="connsiteX3" fmla="*/ 892 w 104117"/>
                <a:gd name="connsiteY3" fmla="*/ 87607 h 88332"/>
                <a:gd name="connsiteX4" fmla="*/ 892 w 104117"/>
                <a:gd name="connsiteY4" fmla="*/ 87607 h 88332"/>
                <a:gd name="connsiteX5" fmla="*/ 1908 w 104117"/>
                <a:gd name="connsiteY5" fmla="*/ 88242 h 88332"/>
                <a:gd name="connsiteX6" fmla="*/ 2797 w 104117"/>
                <a:gd name="connsiteY6" fmla="*/ 88242 h 88332"/>
                <a:gd name="connsiteX7" fmla="*/ 4702 w 104117"/>
                <a:gd name="connsiteY7" fmla="*/ 88242 h 88332"/>
                <a:gd name="connsiteX8" fmla="*/ 8257 w 104117"/>
                <a:gd name="connsiteY8" fmla="*/ 86972 h 88332"/>
                <a:gd name="connsiteX9" fmla="*/ 15240 w 104117"/>
                <a:gd name="connsiteY9" fmla="*/ 81386 h 88332"/>
                <a:gd name="connsiteX10" fmla="*/ 104118 w 104117"/>
                <a:gd name="connsiteY10" fmla="*/ 9523 h 88332"/>
                <a:gd name="connsiteX11" fmla="*/ 101071 w 104117"/>
                <a:gd name="connsiteY11" fmla="*/ 8507 h 88332"/>
                <a:gd name="connsiteX12" fmla="*/ 97503 w 104117"/>
                <a:gd name="connsiteY12" fmla="*/ 2900 h 88332"/>
                <a:gd name="connsiteX13" fmla="*/ 97642 w 104117"/>
                <a:gd name="connsiteY13" fmla="*/ 2412 h 88332"/>
                <a:gd name="connsiteX14" fmla="*/ 99674 w 104117"/>
                <a:gd name="connsiteY14" fmla="*/ 0 h 88332"/>
                <a:gd name="connsiteX15" fmla="*/ 99674 w 104117"/>
                <a:gd name="connsiteY15" fmla="*/ 0 h 88332"/>
                <a:gd name="connsiteX16" fmla="*/ 2163 w 104117"/>
                <a:gd name="connsiteY16" fmla="*/ 79481 h 88332"/>
                <a:gd name="connsiteX17" fmla="*/ 2163 w 104117"/>
                <a:gd name="connsiteY17" fmla="*/ 79481 h 88332"/>
                <a:gd name="connsiteX18" fmla="*/ 1528 w 104117"/>
                <a:gd name="connsiteY18" fmla="*/ 80370 h 88332"/>
                <a:gd name="connsiteX19" fmla="*/ 1528 w 104117"/>
                <a:gd name="connsiteY19" fmla="*/ 80370 h 88332"/>
                <a:gd name="connsiteX20" fmla="*/ 1528 w 104117"/>
                <a:gd name="connsiteY20" fmla="*/ 80370 h 88332"/>
                <a:gd name="connsiteX21" fmla="*/ 1528 w 104117"/>
                <a:gd name="connsiteY21" fmla="*/ 81259 h 88332"/>
                <a:gd name="connsiteX22" fmla="*/ 1528 w 104117"/>
                <a:gd name="connsiteY22" fmla="*/ 82021 h 88332"/>
                <a:gd name="connsiteX23" fmla="*/ 1528 w 104117"/>
                <a:gd name="connsiteY23" fmla="*/ 82021 h 88332"/>
                <a:gd name="connsiteX24" fmla="*/ 93 w 104117"/>
                <a:gd name="connsiteY24" fmla="*/ 84719 h 88332"/>
                <a:gd name="connsiteX25" fmla="*/ 892 w 104117"/>
                <a:gd name="connsiteY25" fmla="*/ 85830 h 8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4117" h="88332">
                  <a:moveTo>
                    <a:pt x="892" y="85830"/>
                  </a:moveTo>
                  <a:cubicBezTo>
                    <a:pt x="880" y="86126"/>
                    <a:pt x="880" y="86423"/>
                    <a:pt x="892" y="86719"/>
                  </a:cubicBezTo>
                  <a:cubicBezTo>
                    <a:pt x="829" y="87012"/>
                    <a:pt x="829" y="87314"/>
                    <a:pt x="892" y="87607"/>
                  </a:cubicBezTo>
                  <a:cubicBezTo>
                    <a:pt x="892" y="87607"/>
                    <a:pt x="892" y="87607"/>
                    <a:pt x="892" y="87607"/>
                  </a:cubicBezTo>
                  <a:lnTo>
                    <a:pt x="892" y="87607"/>
                  </a:lnTo>
                  <a:lnTo>
                    <a:pt x="1908" y="88242"/>
                  </a:lnTo>
                  <a:lnTo>
                    <a:pt x="2797" y="88242"/>
                  </a:lnTo>
                  <a:cubicBezTo>
                    <a:pt x="3432" y="88363"/>
                    <a:pt x="4067" y="88363"/>
                    <a:pt x="4702" y="88242"/>
                  </a:cubicBezTo>
                  <a:cubicBezTo>
                    <a:pt x="5997" y="88266"/>
                    <a:pt x="7266" y="87815"/>
                    <a:pt x="8257" y="86972"/>
                  </a:cubicBezTo>
                  <a:lnTo>
                    <a:pt x="15240" y="81386"/>
                  </a:lnTo>
                  <a:lnTo>
                    <a:pt x="104118" y="9523"/>
                  </a:lnTo>
                  <a:lnTo>
                    <a:pt x="101071" y="8507"/>
                  </a:lnTo>
                  <a:cubicBezTo>
                    <a:pt x="98544" y="7943"/>
                    <a:pt x="96944" y="5433"/>
                    <a:pt x="97503" y="2900"/>
                  </a:cubicBezTo>
                  <a:cubicBezTo>
                    <a:pt x="97541" y="2735"/>
                    <a:pt x="97592" y="2572"/>
                    <a:pt x="97642" y="2412"/>
                  </a:cubicBezTo>
                  <a:cubicBezTo>
                    <a:pt x="97986" y="1381"/>
                    <a:pt x="98722" y="519"/>
                    <a:pt x="99674" y="0"/>
                  </a:cubicBezTo>
                  <a:lnTo>
                    <a:pt x="99674" y="0"/>
                  </a:lnTo>
                  <a:lnTo>
                    <a:pt x="2163" y="79481"/>
                  </a:lnTo>
                  <a:lnTo>
                    <a:pt x="2163" y="79481"/>
                  </a:lnTo>
                  <a:lnTo>
                    <a:pt x="1528" y="80370"/>
                  </a:lnTo>
                  <a:lnTo>
                    <a:pt x="1528" y="80370"/>
                  </a:lnTo>
                  <a:lnTo>
                    <a:pt x="1528" y="80370"/>
                  </a:lnTo>
                  <a:cubicBezTo>
                    <a:pt x="1477" y="80663"/>
                    <a:pt x="1477" y="80966"/>
                    <a:pt x="1528" y="81259"/>
                  </a:cubicBezTo>
                  <a:cubicBezTo>
                    <a:pt x="1528" y="81259"/>
                    <a:pt x="1528" y="81259"/>
                    <a:pt x="1528" y="82021"/>
                  </a:cubicBezTo>
                  <a:lnTo>
                    <a:pt x="1528" y="82021"/>
                  </a:lnTo>
                  <a:cubicBezTo>
                    <a:pt x="385" y="82371"/>
                    <a:pt x="-250" y="83579"/>
                    <a:pt x="93" y="84719"/>
                  </a:cubicBezTo>
                  <a:cubicBezTo>
                    <a:pt x="232" y="85164"/>
                    <a:pt x="512" y="85555"/>
                    <a:pt x="892" y="85830"/>
                  </a:cubicBezTo>
                  <a:close/>
                </a:path>
              </a:pathLst>
            </a:custGeom>
            <a:solidFill>
              <a:srgbClr val="000000"/>
            </a:solidFill>
            <a:ln w="12690"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2ACE8F51-35A1-431F-83C3-DF815D65E857}"/>
                </a:ext>
              </a:extLst>
            </p:cNvPr>
            <p:cNvSpPr/>
            <p:nvPr/>
          </p:nvSpPr>
          <p:spPr>
            <a:xfrm>
              <a:off x="12130548" y="1144733"/>
              <a:ext cx="55356" cy="24123"/>
            </a:xfrm>
            <a:custGeom>
              <a:avLst/>
              <a:gdLst>
                <a:gd name="connsiteX0" fmla="*/ 6347 w 55356"/>
                <a:gd name="connsiteY0" fmla="*/ 0 h 24123"/>
                <a:gd name="connsiteX1" fmla="*/ 3426 w 55356"/>
                <a:gd name="connsiteY1" fmla="*/ 0 h 24123"/>
                <a:gd name="connsiteX2" fmla="*/ 2284 w 55356"/>
                <a:gd name="connsiteY2" fmla="*/ 0 h 24123"/>
                <a:gd name="connsiteX3" fmla="*/ 252 w 55356"/>
                <a:gd name="connsiteY3" fmla="*/ 2412 h 24123"/>
                <a:gd name="connsiteX4" fmla="*/ 3197 w 55356"/>
                <a:gd name="connsiteY4" fmla="*/ 8370 h 24123"/>
                <a:gd name="connsiteX5" fmla="*/ 3680 w 55356"/>
                <a:gd name="connsiteY5" fmla="*/ 8507 h 24123"/>
                <a:gd name="connsiteX6" fmla="*/ 6727 w 55356"/>
                <a:gd name="connsiteY6" fmla="*/ 9523 h 24123"/>
                <a:gd name="connsiteX7" fmla="*/ 55356 w 55356"/>
                <a:gd name="connsiteY7" fmla="*/ 24124 h 24123"/>
                <a:gd name="connsiteX8" fmla="*/ 55356 w 55356"/>
                <a:gd name="connsiteY8" fmla="*/ 13839 h 24123"/>
                <a:gd name="connsiteX9" fmla="*/ 7616 w 55356"/>
                <a:gd name="connsiteY9" fmla="*/ 127 h 2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56" h="24123">
                  <a:moveTo>
                    <a:pt x="6347" y="0"/>
                  </a:moveTo>
                  <a:lnTo>
                    <a:pt x="3426" y="0"/>
                  </a:lnTo>
                  <a:lnTo>
                    <a:pt x="2284" y="0"/>
                  </a:lnTo>
                  <a:cubicBezTo>
                    <a:pt x="1331" y="519"/>
                    <a:pt x="595" y="1381"/>
                    <a:pt x="252" y="2412"/>
                  </a:cubicBezTo>
                  <a:cubicBezTo>
                    <a:pt x="-586" y="4869"/>
                    <a:pt x="735" y="7537"/>
                    <a:pt x="3197" y="8370"/>
                  </a:cubicBezTo>
                  <a:cubicBezTo>
                    <a:pt x="3350" y="8424"/>
                    <a:pt x="3515" y="8470"/>
                    <a:pt x="3680" y="8507"/>
                  </a:cubicBezTo>
                  <a:lnTo>
                    <a:pt x="6727" y="9523"/>
                  </a:lnTo>
                  <a:lnTo>
                    <a:pt x="55356" y="24124"/>
                  </a:lnTo>
                  <a:lnTo>
                    <a:pt x="55356" y="13839"/>
                  </a:lnTo>
                  <a:lnTo>
                    <a:pt x="7616" y="127"/>
                  </a:lnTo>
                  <a:close/>
                </a:path>
              </a:pathLst>
            </a:custGeom>
            <a:solidFill>
              <a:srgbClr val="000000"/>
            </a:solidFill>
            <a:ln w="12690"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F2D807D9-9071-4D26-AF35-C6711595B077}"/>
                </a:ext>
              </a:extLst>
            </p:cNvPr>
            <p:cNvSpPr/>
            <p:nvPr/>
          </p:nvSpPr>
          <p:spPr>
            <a:xfrm>
              <a:off x="9207737" y="3303300"/>
              <a:ext cx="430421" cy="128109"/>
            </a:xfrm>
            <a:custGeom>
              <a:avLst/>
              <a:gdLst>
                <a:gd name="connsiteX0" fmla="*/ 1778 w 430421"/>
                <a:gd name="connsiteY0" fmla="*/ 8507 h 128109"/>
                <a:gd name="connsiteX1" fmla="*/ 0 w 430421"/>
                <a:gd name="connsiteY1" fmla="*/ 8507 h 128109"/>
                <a:gd name="connsiteX2" fmla="*/ 0 w 430421"/>
                <a:gd name="connsiteY2" fmla="*/ 8507 h 128109"/>
                <a:gd name="connsiteX3" fmla="*/ 336593 w 430421"/>
                <a:gd name="connsiteY3" fmla="*/ 110080 h 128109"/>
                <a:gd name="connsiteX4" fmla="*/ 430422 w 430421"/>
                <a:gd name="connsiteY4" fmla="*/ 128110 h 128109"/>
                <a:gd name="connsiteX5" fmla="*/ 430422 w 430421"/>
                <a:gd name="connsiteY5" fmla="*/ 128110 h 128109"/>
                <a:gd name="connsiteX6" fmla="*/ 6983 w 430421"/>
                <a:gd name="connsiteY6" fmla="*/ 0 h 128109"/>
                <a:gd name="connsiteX7" fmla="*/ 6983 w 430421"/>
                <a:gd name="connsiteY7" fmla="*/ 3555 h 128109"/>
                <a:gd name="connsiteX8" fmla="*/ 1778 w 430421"/>
                <a:gd name="connsiteY8" fmla="*/ 8507 h 12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421" h="128109">
                  <a:moveTo>
                    <a:pt x="1778" y="8507"/>
                  </a:moveTo>
                  <a:lnTo>
                    <a:pt x="0" y="8507"/>
                  </a:lnTo>
                  <a:lnTo>
                    <a:pt x="0" y="8507"/>
                  </a:lnTo>
                  <a:lnTo>
                    <a:pt x="336593" y="110080"/>
                  </a:lnTo>
                  <a:lnTo>
                    <a:pt x="430422" y="128110"/>
                  </a:lnTo>
                  <a:lnTo>
                    <a:pt x="430422" y="128110"/>
                  </a:lnTo>
                  <a:lnTo>
                    <a:pt x="6983" y="0"/>
                  </a:lnTo>
                  <a:lnTo>
                    <a:pt x="6983" y="3555"/>
                  </a:lnTo>
                  <a:cubicBezTo>
                    <a:pt x="6844" y="6336"/>
                    <a:pt x="4558" y="8507"/>
                    <a:pt x="1778" y="8507"/>
                  </a:cubicBezTo>
                  <a:close/>
                </a:path>
              </a:pathLst>
            </a:custGeom>
            <a:solidFill>
              <a:srgbClr val="000000"/>
            </a:solidFill>
            <a:ln w="12690"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AA4CA55F-A7EB-4041-97C3-818EF502A127}"/>
                </a:ext>
              </a:extLst>
            </p:cNvPr>
            <p:cNvSpPr/>
            <p:nvPr/>
          </p:nvSpPr>
          <p:spPr>
            <a:xfrm>
              <a:off x="9205832" y="268243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D0DA1F02-7551-46DF-8900-288EFC2868F9}"/>
                </a:ext>
              </a:extLst>
            </p:cNvPr>
            <p:cNvSpPr/>
            <p:nvPr/>
          </p:nvSpPr>
          <p:spPr>
            <a:xfrm>
              <a:off x="9205198" y="268395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AC4D6326-3E87-49CA-8338-209C060EAE0B}"/>
                </a:ext>
              </a:extLst>
            </p:cNvPr>
            <p:cNvSpPr/>
            <p:nvPr/>
          </p:nvSpPr>
          <p:spPr>
            <a:xfrm>
              <a:off x="9205795" y="2686621"/>
              <a:ext cx="9179" cy="625065"/>
            </a:xfrm>
            <a:custGeom>
              <a:avLst/>
              <a:gdLst>
                <a:gd name="connsiteX0" fmla="*/ 1816 w 9179"/>
                <a:gd name="connsiteY0" fmla="*/ 3936 h 625065"/>
                <a:gd name="connsiteX1" fmla="*/ 1054 w 9179"/>
                <a:gd name="connsiteY1" fmla="*/ 3936 h 625065"/>
                <a:gd name="connsiteX2" fmla="*/ 38 w 9179"/>
                <a:gd name="connsiteY2" fmla="*/ 3301 h 625065"/>
                <a:gd name="connsiteX3" fmla="*/ 38 w 9179"/>
                <a:gd name="connsiteY3" fmla="*/ 3301 h 625065"/>
                <a:gd name="connsiteX4" fmla="*/ 38 w 9179"/>
                <a:gd name="connsiteY4" fmla="*/ 2666 h 625065"/>
                <a:gd name="connsiteX5" fmla="*/ 38 w 9179"/>
                <a:gd name="connsiteY5" fmla="*/ 1904 h 625065"/>
                <a:gd name="connsiteX6" fmla="*/ 38 w 9179"/>
                <a:gd name="connsiteY6" fmla="*/ 889 h 625065"/>
                <a:gd name="connsiteX7" fmla="*/ 38 w 9179"/>
                <a:gd name="connsiteY7" fmla="*/ 0 h 625065"/>
                <a:gd name="connsiteX8" fmla="*/ 38 w 9179"/>
                <a:gd name="connsiteY8" fmla="*/ 0 h 625065"/>
                <a:gd name="connsiteX9" fmla="*/ 38 w 9179"/>
                <a:gd name="connsiteY9" fmla="*/ 620996 h 625065"/>
                <a:gd name="connsiteX10" fmla="*/ 38 w 9179"/>
                <a:gd name="connsiteY10" fmla="*/ 620996 h 625065"/>
                <a:gd name="connsiteX11" fmla="*/ 38 w 9179"/>
                <a:gd name="connsiteY11" fmla="*/ 622011 h 625065"/>
                <a:gd name="connsiteX12" fmla="*/ 38 w 9179"/>
                <a:gd name="connsiteY12" fmla="*/ 622900 h 625065"/>
                <a:gd name="connsiteX13" fmla="*/ 38 w 9179"/>
                <a:gd name="connsiteY13" fmla="*/ 623662 h 625065"/>
                <a:gd name="connsiteX14" fmla="*/ 38 w 9179"/>
                <a:gd name="connsiteY14" fmla="*/ 624424 h 625065"/>
                <a:gd name="connsiteX15" fmla="*/ 800 w 9179"/>
                <a:gd name="connsiteY15" fmla="*/ 624424 h 625065"/>
                <a:gd name="connsiteX16" fmla="*/ 1943 w 9179"/>
                <a:gd name="connsiteY16" fmla="*/ 625059 h 625065"/>
                <a:gd name="connsiteX17" fmla="*/ 3720 w 9179"/>
                <a:gd name="connsiteY17" fmla="*/ 625059 h 625065"/>
                <a:gd name="connsiteX18" fmla="*/ 9180 w 9179"/>
                <a:gd name="connsiteY18" fmla="*/ 620234 h 625065"/>
                <a:gd name="connsiteX19" fmla="*/ 9180 w 9179"/>
                <a:gd name="connsiteY19" fmla="*/ 6094 h 625065"/>
                <a:gd name="connsiteX20" fmla="*/ 2070 w 9179"/>
                <a:gd name="connsiteY20" fmla="*/ 3936 h 62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79" h="625065">
                  <a:moveTo>
                    <a:pt x="1816" y="3936"/>
                  </a:moveTo>
                  <a:lnTo>
                    <a:pt x="1054" y="3936"/>
                  </a:lnTo>
                  <a:lnTo>
                    <a:pt x="38" y="3301"/>
                  </a:lnTo>
                  <a:lnTo>
                    <a:pt x="38" y="3301"/>
                  </a:lnTo>
                  <a:cubicBezTo>
                    <a:pt x="0" y="3085"/>
                    <a:pt x="0" y="2882"/>
                    <a:pt x="38" y="2666"/>
                  </a:cubicBezTo>
                  <a:cubicBezTo>
                    <a:pt x="0" y="2412"/>
                    <a:pt x="0" y="2158"/>
                    <a:pt x="38" y="1904"/>
                  </a:cubicBezTo>
                  <a:cubicBezTo>
                    <a:pt x="-13" y="1562"/>
                    <a:pt x="-13" y="1232"/>
                    <a:pt x="38" y="889"/>
                  </a:cubicBezTo>
                  <a:cubicBezTo>
                    <a:pt x="38" y="889"/>
                    <a:pt x="38" y="889"/>
                    <a:pt x="38" y="0"/>
                  </a:cubicBezTo>
                  <a:lnTo>
                    <a:pt x="38" y="0"/>
                  </a:lnTo>
                  <a:lnTo>
                    <a:pt x="38" y="620996"/>
                  </a:lnTo>
                  <a:lnTo>
                    <a:pt x="38" y="620996"/>
                  </a:lnTo>
                  <a:cubicBezTo>
                    <a:pt x="-13" y="621326"/>
                    <a:pt x="-13" y="621681"/>
                    <a:pt x="38" y="622011"/>
                  </a:cubicBezTo>
                  <a:cubicBezTo>
                    <a:pt x="38" y="622011"/>
                    <a:pt x="38" y="622647"/>
                    <a:pt x="38" y="622900"/>
                  </a:cubicBezTo>
                  <a:lnTo>
                    <a:pt x="38" y="623662"/>
                  </a:lnTo>
                  <a:lnTo>
                    <a:pt x="38" y="624424"/>
                  </a:lnTo>
                  <a:lnTo>
                    <a:pt x="800" y="624424"/>
                  </a:lnTo>
                  <a:lnTo>
                    <a:pt x="1943" y="625059"/>
                  </a:lnTo>
                  <a:lnTo>
                    <a:pt x="3720" y="625059"/>
                  </a:lnTo>
                  <a:cubicBezTo>
                    <a:pt x="6551" y="625198"/>
                    <a:pt x="8977" y="623065"/>
                    <a:pt x="9180" y="620234"/>
                  </a:cubicBezTo>
                  <a:lnTo>
                    <a:pt x="9180" y="6094"/>
                  </a:lnTo>
                  <a:lnTo>
                    <a:pt x="2070" y="3936"/>
                  </a:lnTo>
                  <a:close/>
                </a:path>
              </a:pathLst>
            </a:custGeom>
            <a:solidFill>
              <a:srgbClr val="000000"/>
            </a:solidFill>
            <a:ln w="12690"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0AF1B9DB-B28A-401F-AC75-0B893EE73E52}"/>
                </a:ext>
              </a:extLst>
            </p:cNvPr>
            <p:cNvSpPr/>
            <p:nvPr/>
          </p:nvSpPr>
          <p:spPr>
            <a:xfrm>
              <a:off x="10626099" y="3119198"/>
              <a:ext cx="10792" cy="506217"/>
            </a:xfrm>
            <a:custGeom>
              <a:avLst/>
              <a:gdLst>
                <a:gd name="connsiteX0" fmla="*/ 3683 w 10792"/>
                <a:gd name="connsiteY0" fmla="*/ 1016 h 506217"/>
                <a:gd name="connsiteX1" fmla="*/ 0 w 10792"/>
                <a:gd name="connsiteY1" fmla="*/ 0 h 506217"/>
                <a:gd name="connsiteX2" fmla="*/ 0 w 10792"/>
                <a:gd name="connsiteY2" fmla="*/ 503932 h 506217"/>
                <a:gd name="connsiteX3" fmla="*/ 6603 w 10792"/>
                <a:gd name="connsiteY3" fmla="*/ 505329 h 506217"/>
                <a:gd name="connsiteX4" fmla="*/ 10793 w 10792"/>
                <a:gd name="connsiteY4" fmla="*/ 506218 h 506217"/>
                <a:gd name="connsiteX5" fmla="*/ 10793 w 10792"/>
                <a:gd name="connsiteY5" fmla="*/ 3174 h 506217"/>
                <a:gd name="connsiteX6" fmla="*/ 3683 w 10792"/>
                <a:gd name="connsiteY6" fmla="*/ 1016 h 50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2" h="506217">
                  <a:moveTo>
                    <a:pt x="3683" y="1016"/>
                  </a:moveTo>
                  <a:lnTo>
                    <a:pt x="0" y="0"/>
                  </a:lnTo>
                  <a:lnTo>
                    <a:pt x="0" y="503932"/>
                  </a:lnTo>
                  <a:lnTo>
                    <a:pt x="6603" y="505329"/>
                  </a:lnTo>
                  <a:lnTo>
                    <a:pt x="10793" y="506218"/>
                  </a:lnTo>
                  <a:lnTo>
                    <a:pt x="10793" y="3174"/>
                  </a:lnTo>
                  <a:lnTo>
                    <a:pt x="3683" y="1016"/>
                  </a:lnTo>
                  <a:close/>
                </a:path>
              </a:pathLst>
            </a:custGeom>
            <a:solidFill>
              <a:srgbClr val="000000"/>
            </a:solidFill>
            <a:ln w="12690"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DFC767E1-DF53-42EF-BC8A-AB07C207C0A7}"/>
                </a:ext>
              </a:extLst>
            </p:cNvPr>
            <p:cNvSpPr/>
            <p:nvPr/>
          </p:nvSpPr>
          <p:spPr>
            <a:xfrm>
              <a:off x="9205198" y="2683447"/>
              <a:ext cx="12696" cy="761"/>
            </a:xfrm>
            <a:custGeom>
              <a:avLst/>
              <a:gdLst>
                <a:gd name="connsiteX0" fmla="*/ 0 w 12696"/>
                <a:gd name="connsiteY0" fmla="*/ 762 h 761"/>
                <a:gd name="connsiteX1" fmla="*/ 0 w 12696"/>
                <a:gd name="connsiteY1" fmla="*/ 762 h 761"/>
                <a:gd name="connsiteX2" fmla="*/ 0 w 12696"/>
                <a:gd name="connsiteY2" fmla="*/ 762 h 761"/>
                <a:gd name="connsiteX3" fmla="*/ 0 w 12696"/>
                <a:gd name="connsiteY3" fmla="*/ 0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lnTo>
                    <a:pt x="0" y="762"/>
                  </a:lnTo>
                  <a:cubicBezTo>
                    <a:pt x="0" y="762"/>
                    <a:pt x="0" y="762"/>
                    <a:pt x="0" y="762"/>
                  </a:cubicBezTo>
                  <a:cubicBezTo>
                    <a:pt x="0" y="762"/>
                    <a:pt x="0" y="762"/>
                    <a:pt x="0" y="0"/>
                  </a:cubicBezTo>
                  <a:close/>
                </a:path>
              </a:pathLst>
            </a:custGeom>
            <a:solidFill>
              <a:srgbClr val="000000"/>
            </a:solidFill>
            <a:ln w="12690"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BAA5ED17-ECFE-4B0A-80B4-055358CA7BC1}"/>
                </a:ext>
              </a:extLst>
            </p:cNvPr>
            <p:cNvSpPr/>
            <p:nvPr/>
          </p:nvSpPr>
          <p:spPr>
            <a:xfrm>
              <a:off x="9205198" y="2682558"/>
              <a:ext cx="12696" cy="761"/>
            </a:xfrm>
            <a:custGeom>
              <a:avLst/>
              <a:gdLst>
                <a:gd name="connsiteX0" fmla="*/ 0 w 12696"/>
                <a:gd name="connsiteY0" fmla="*/ 0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0"/>
                  </a:moveTo>
                  <a:lnTo>
                    <a:pt x="0" y="762"/>
                  </a:lnTo>
                  <a:lnTo>
                    <a:pt x="0" y="0"/>
                  </a:lnTo>
                  <a:close/>
                </a:path>
              </a:pathLst>
            </a:custGeom>
            <a:solidFill>
              <a:srgbClr val="000000"/>
            </a:solidFill>
            <a:ln w="12690"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6F513EB8-9659-470A-B003-9906FE36D3F4}"/>
                </a:ext>
              </a:extLst>
            </p:cNvPr>
            <p:cNvSpPr/>
            <p:nvPr/>
          </p:nvSpPr>
          <p:spPr>
            <a:xfrm>
              <a:off x="9207610" y="2683955"/>
              <a:ext cx="1422679" cy="436512"/>
            </a:xfrm>
            <a:custGeom>
              <a:avLst/>
              <a:gdLst>
                <a:gd name="connsiteX0" fmla="*/ 1422679 w 1422679"/>
                <a:gd name="connsiteY0" fmla="*/ 426736 h 436512"/>
                <a:gd name="connsiteX1" fmla="*/ 12443 w 1422679"/>
                <a:gd name="connsiteY1" fmla="*/ 0 h 436512"/>
                <a:gd name="connsiteX2" fmla="*/ 5587 w 1422679"/>
                <a:gd name="connsiteY2" fmla="*/ 5587 h 436512"/>
                <a:gd name="connsiteX3" fmla="*/ 1905 w 1422679"/>
                <a:gd name="connsiteY3" fmla="*/ 6856 h 436512"/>
                <a:gd name="connsiteX4" fmla="*/ 0 w 1422679"/>
                <a:gd name="connsiteY4" fmla="*/ 6856 h 436512"/>
                <a:gd name="connsiteX5" fmla="*/ 0 w 1422679"/>
                <a:gd name="connsiteY5" fmla="*/ 6856 h 436512"/>
                <a:gd name="connsiteX6" fmla="*/ 7110 w 1422679"/>
                <a:gd name="connsiteY6" fmla="*/ 9015 h 436512"/>
                <a:gd name="connsiteX7" fmla="*/ 1418236 w 1422679"/>
                <a:gd name="connsiteY7" fmla="*/ 435497 h 436512"/>
                <a:gd name="connsiteX8" fmla="*/ 1421917 w 1422679"/>
                <a:gd name="connsiteY8" fmla="*/ 436513 h 436512"/>
                <a:gd name="connsiteX9" fmla="*/ 1421917 w 1422679"/>
                <a:gd name="connsiteY9" fmla="*/ 436513 h 436512"/>
                <a:gd name="connsiteX10" fmla="*/ 1421028 w 1422679"/>
                <a:gd name="connsiteY10" fmla="*/ 436513 h 436512"/>
                <a:gd name="connsiteX11" fmla="*/ 1420013 w 1422679"/>
                <a:gd name="connsiteY11" fmla="*/ 435878 h 436512"/>
                <a:gd name="connsiteX12" fmla="*/ 1420013 w 1422679"/>
                <a:gd name="connsiteY12" fmla="*/ 435878 h 436512"/>
                <a:gd name="connsiteX13" fmla="*/ 1420013 w 1422679"/>
                <a:gd name="connsiteY13" fmla="*/ 435243 h 436512"/>
                <a:gd name="connsiteX14" fmla="*/ 1420013 w 1422679"/>
                <a:gd name="connsiteY14" fmla="*/ 434481 h 436512"/>
                <a:gd name="connsiteX15" fmla="*/ 1420013 w 1422679"/>
                <a:gd name="connsiteY15" fmla="*/ 433466 h 436512"/>
                <a:gd name="connsiteX16" fmla="*/ 1420013 w 1422679"/>
                <a:gd name="connsiteY16" fmla="*/ 432577 h 436512"/>
                <a:gd name="connsiteX17" fmla="*/ 1420013 w 1422679"/>
                <a:gd name="connsiteY17" fmla="*/ 431561 h 436512"/>
                <a:gd name="connsiteX18" fmla="*/ 1420013 w 1422679"/>
                <a:gd name="connsiteY18" fmla="*/ 430799 h 436512"/>
                <a:gd name="connsiteX19" fmla="*/ 1420013 w 1422679"/>
                <a:gd name="connsiteY19" fmla="*/ 429910 h 436512"/>
                <a:gd name="connsiteX20" fmla="*/ 1420013 w 1422679"/>
                <a:gd name="connsiteY20" fmla="*/ 429022 h 436512"/>
                <a:gd name="connsiteX21" fmla="*/ 1420013 w 1422679"/>
                <a:gd name="connsiteY21" fmla="*/ 429022 h 43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679" h="436512">
                  <a:moveTo>
                    <a:pt x="1422679" y="426736"/>
                  </a:moveTo>
                  <a:lnTo>
                    <a:pt x="12443" y="0"/>
                  </a:lnTo>
                  <a:lnTo>
                    <a:pt x="5587" y="5587"/>
                  </a:lnTo>
                  <a:cubicBezTo>
                    <a:pt x="4558" y="6450"/>
                    <a:pt x="3250" y="6894"/>
                    <a:pt x="1905" y="6856"/>
                  </a:cubicBezTo>
                  <a:lnTo>
                    <a:pt x="0" y="6856"/>
                  </a:lnTo>
                  <a:lnTo>
                    <a:pt x="0" y="6856"/>
                  </a:lnTo>
                  <a:lnTo>
                    <a:pt x="7110" y="9015"/>
                  </a:lnTo>
                  <a:lnTo>
                    <a:pt x="1418236" y="435497"/>
                  </a:lnTo>
                  <a:lnTo>
                    <a:pt x="1421917" y="436513"/>
                  </a:lnTo>
                  <a:lnTo>
                    <a:pt x="1421917" y="436513"/>
                  </a:lnTo>
                  <a:lnTo>
                    <a:pt x="1421028" y="436513"/>
                  </a:lnTo>
                  <a:lnTo>
                    <a:pt x="1420013" y="435878"/>
                  </a:lnTo>
                  <a:lnTo>
                    <a:pt x="1420013" y="435878"/>
                  </a:lnTo>
                  <a:lnTo>
                    <a:pt x="1420013" y="435243"/>
                  </a:lnTo>
                  <a:lnTo>
                    <a:pt x="1420013" y="434481"/>
                  </a:lnTo>
                  <a:cubicBezTo>
                    <a:pt x="1419962" y="434151"/>
                    <a:pt x="1419962" y="433796"/>
                    <a:pt x="1420013" y="433466"/>
                  </a:cubicBezTo>
                  <a:cubicBezTo>
                    <a:pt x="1419950" y="433174"/>
                    <a:pt x="1419950" y="432869"/>
                    <a:pt x="1420013" y="432577"/>
                  </a:cubicBezTo>
                  <a:cubicBezTo>
                    <a:pt x="1419962" y="432247"/>
                    <a:pt x="1419962" y="431891"/>
                    <a:pt x="1420013" y="431561"/>
                  </a:cubicBezTo>
                  <a:lnTo>
                    <a:pt x="1420013" y="430799"/>
                  </a:lnTo>
                  <a:lnTo>
                    <a:pt x="1420013" y="429910"/>
                  </a:lnTo>
                  <a:lnTo>
                    <a:pt x="1420013" y="429022"/>
                  </a:lnTo>
                  <a:lnTo>
                    <a:pt x="1420013" y="429022"/>
                  </a:lnTo>
                  <a:close/>
                </a:path>
              </a:pathLst>
            </a:custGeom>
            <a:solidFill>
              <a:srgbClr val="000000"/>
            </a:solidFill>
            <a:ln w="12690"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C5E3018B-5850-4B86-85F7-345B150DD13C}"/>
                </a:ext>
              </a:extLst>
            </p:cNvPr>
            <p:cNvSpPr/>
            <p:nvPr/>
          </p:nvSpPr>
          <p:spPr>
            <a:xfrm>
              <a:off x="10627877" y="2911226"/>
              <a:ext cx="258888" cy="202258"/>
            </a:xfrm>
            <a:custGeom>
              <a:avLst/>
              <a:gdLst>
                <a:gd name="connsiteX0" fmla="*/ 0 w 258888"/>
                <a:gd name="connsiteY0" fmla="*/ 200735 h 202258"/>
                <a:gd name="connsiteX1" fmla="*/ 0 w 258888"/>
                <a:gd name="connsiteY1" fmla="*/ 200735 h 202258"/>
                <a:gd name="connsiteX2" fmla="*/ 5460 w 258888"/>
                <a:gd name="connsiteY2" fmla="*/ 199592 h 202258"/>
                <a:gd name="connsiteX3" fmla="*/ 14347 w 258888"/>
                <a:gd name="connsiteY3" fmla="*/ 202259 h 202258"/>
                <a:gd name="connsiteX4" fmla="*/ 258888 w 258888"/>
                <a:gd name="connsiteY4" fmla="*/ 3555 h 202258"/>
                <a:gd name="connsiteX5" fmla="*/ 255968 w 258888"/>
                <a:gd name="connsiteY5" fmla="*/ 2666 h 202258"/>
                <a:gd name="connsiteX6" fmla="*/ 247081 w 258888"/>
                <a:gd name="connsiteY6" fmla="*/ 0 h 202258"/>
                <a:gd name="connsiteX7" fmla="*/ 2412 w 258888"/>
                <a:gd name="connsiteY7" fmla="*/ 199465 h 20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888" h="202258">
                  <a:moveTo>
                    <a:pt x="0" y="200735"/>
                  </a:moveTo>
                  <a:lnTo>
                    <a:pt x="0" y="200735"/>
                  </a:lnTo>
                  <a:cubicBezTo>
                    <a:pt x="1511" y="199453"/>
                    <a:pt x="3568" y="199021"/>
                    <a:pt x="5460" y="199592"/>
                  </a:cubicBezTo>
                  <a:lnTo>
                    <a:pt x="14347" y="202259"/>
                  </a:lnTo>
                  <a:lnTo>
                    <a:pt x="258888" y="3555"/>
                  </a:lnTo>
                  <a:lnTo>
                    <a:pt x="255968" y="2666"/>
                  </a:lnTo>
                  <a:lnTo>
                    <a:pt x="247081" y="0"/>
                  </a:lnTo>
                  <a:lnTo>
                    <a:pt x="2412" y="199465"/>
                  </a:lnTo>
                  <a:close/>
                </a:path>
              </a:pathLst>
            </a:custGeom>
            <a:solidFill>
              <a:srgbClr val="000000"/>
            </a:solidFill>
            <a:ln w="12690"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B90109BD-77D2-4EBB-9C49-DF3AFEA0E6C7}"/>
                </a:ext>
              </a:extLst>
            </p:cNvPr>
            <p:cNvSpPr/>
            <p:nvPr/>
          </p:nvSpPr>
          <p:spPr>
            <a:xfrm>
              <a:off x="10627242" y="3118309"/>
              <a:ext cx="12696" cy="761"/>
            </a:xfrm>
            <a:custGeom>
              <a:avLst/>
              <a:gdLst>
                <a:gd name="connsiteX0" fmla="*/ 0 w 12696"/>
                <a:gd name="connsiteY0" fmla="*/ 762 h 761"/>
                <a:gd name="connsiteX1" fmla="*/ 0 w 12696"/>
                <a:gd name="connsiteY1" fmla="*/ 0 h 761"/>
                <a:gd name="connsiteX2" fmla="*/ 0 w 12696"/>
                <a:gd name="connsiteY2" fmla="*/ 635 h 761"/>
              </a:gdLst>
              <a:ahLst/>
              <a:cxnLst>
                <a:cxn ang="0">
                  <a:pos x="connsiteX0" y="connsiteY0"/>
                </a:cxn>
                <a:cxn ang="0">
                  <a:pos x="connsiteX1" y="connsiteY1"/>
                </a:cxn>
                <a:cxn ang="0">
                  <a:pos x="connsiteX2" y="connsiteY2"/>
                </a:cxn>
              </a:cxnLst>
              <a:rect l="l" t="t" r="r" b="b"/>
              <a:pathLst>
                <a:path w="12696" h="761">
                  <a:moveTo>
                    <a:pt x="0" y="762"/>
                  </a:moveTo>
                  <a:lnTo>
                    <a:pt x="0" y="0"/>
                  </a:lnTo>
                  <a:lnTo>
                    <a:pt x="0" y="635"/>
                  </a:lnTo>
                  <a:close/>
                </a:path>
              </a:pathLst>
            </a:custGeom>
            <a:solidFill>
              <a:srgbClr val="000000"/>
            </a:solidFill>
            <a:ln w="12690"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2351D74D-937E-4C87-A9C9-885A3A56338E}"/>
                </a:ext>
              </a:extLst>
            </p:cNvPr>
            <p:cNvSpPr/>
            <p:nvPr/>
          </p:nvSpPr>
          <p:spPr>
            <a:xfrm>
              <a:off x="8689071" y="2918082"/>
              <a:ext cx="253936" cy="211400"/>
            </a:xfrm>
            <a:custGeom>
              <a:avLst/>
              <a:gdLst>
                <a:gd name="connsiteX0" fmla="*/ 244668 w 253936"/>
                <a:gd name="connsiteY0" fmla="*/ 2158 h 211400"/>
                <a:gd name="connsiteX1" fmla="*/ 244668 w 253936"/>
                <a:gd name="connsiteY1" fmla="*/ 0 h 211400"/>
                <a:gd name="connsiteX2" fmla="*/ 1651 w 253936"/>
                <a:gd name="connsiteY2" fmla="*/ 197561 h 211400"/>
                <a:gd name="connsiteX3" fmla="*/ 1651 w 253936"/>
                <a:gd name="connsiteY3" fmla="*/ 208480 h 211400"/>
                <a:gd name="connsiteX4" fmla="*/ 1651 w 253936"/>
                <a:gd name="connsiteY4" fmla="*/ 209369 h 211400"/>
                <a:gd name="connsiteX5" fmla="*/ 1651 w 253936"/>
                <a:gd name="connsiteY5" fmla="*/ 209369 h 211400"/>
                <a:gd name="connsiteX6" fmla="*/ 0 w 253936"/>
                <a:gd name="connsiteY6" fmla="*/ 211400 h 211400"/>
                <a:gd name="connsiteX7" fmla="*/ 0 w 253936"/>
                <a:gd name="connsiteY7" fmla="*/ 211400 h 211400"/>
                <a:gd name="connsiteX8" fmla="*/ 253937 w 253936"/>
                <a:gd name="connsiteY8" fmla="*/ 5079 h 211400"/>
                <a:gd name="connsiteX9" fmla="*/ 253937 w 253936"/>
                <a:gd name="connsiteY9" fmla="*/ 5079 h 211400"/>
                <a:gd name="connsiteX10" fmla="*/ 250255 w 253936"/>
                <a:gd name="connsiteY10" fmla="*/ 6475 h 211400"/>
                <a:gd name="connsiteX11" fmla="*/ 244668 w 253936"/>
                <a:gd name="connsiteY11" fmla="*/ 2158 h 21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936" h="211400">
                  <a:moveTo>
                    <a:pt x="244668" y="2158"/>
                  </a:moveTo>
                  <a:lnTo>
                    <a:pt x="244668" y="0"/>
                  </a:lnTo>
                  <a:lnTo>
                    <a:pt x="1651" y="197561"/>
                  </a:lnTo>
                  <a:lnTo>
                    <a:pt x="1651" y="208480"/>
                  </a:lnTo>
                  <a:cubicBezTo>
                    <a:pt x="1651" y="208480"/>
                    <a:pt x="1651" y="208480"/>
                    <a:pt x="1651" y="209369"/>
                  </a:cubicBezTo>
                  <a:lnTo>
                    <a:pt x="1651" y="209369"/>
                  </a:lnTo>
                  <a:cubicBezTo>
                    <a:pt x="1372" y="210219"/>
                    <a:pt x="775" y="210943"/>
                    <a:pt x="0" y="211400"/>
                  </a:cubicBezTo>
                  <a:lnTo>
                    <a:pt x="0" y="211400"/>
                  </a:lnTo>
                  <a:lnTo>
                    <a:pt x="253937" y="5079"/>
                  </a:lnTo>
                  <a:lnTo>
                    <a:pt x="253937" y="5079"/>
                  </a:lnTo>
                  <a:cubicBezTo>
                    <a:pt x="252921" y="5980"/>
                    <a:pt x="251613" y="6475"/>
                    <a:pt x="250255" y="6475"/>
                  </a:cubicBezTo>
                  <a:cubicBezTo>
                    <a:pt x="247550" y="6716"/>
                    <a:pt x="245125" y="4837"/>
                    <a:pt x="244668" y="2158"/>
                  </a:cubicBezTo>
                  <a:close/>
                </a:path>
              </a:pathLst>
            </a:custGeom>
            <a:solidFill>
              <a:srgbClr val="000000"/>
            </a:solidFill>
            <a:ln w="12690"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EBD515AA-2FBE-44C8-8C7D-57A11894521D}"/>
                </a:ext>
              </a:extLst>
            </p:cNvPr>
            <p:cNvSpPr/>
            <p:nvPr/>
          </p:nvSpPr>
          <p:spPr>
            <a:xfrm>
              <a:off x="5045972" y="2023218"/>
              <a:ext cx="3638910" cy="1108170"/>
            </a:xfrm>
            <a:custGeom>
              <a:avLst/>
              <a:gdLst>
                <a:gd name="connsiteX0" fmla="*/ 1068184 w 3638910"/>
                <a:gd name="connsiteY0" fmla="*/ 331257 h 1108170"/>
                <a:gd name="connsiteX1" fmla="*/ 1068184 w 3638910"/>
                <a:gd name="connsiteY1" fmla="*/ 331257 h 1108170"/>
                <a:gd name="connsiteX2" fmla="*/ 3637260 w 3638910"/>
                <a:gd name="connsiteY2" fmla="*/ 1108168 h 1108170"/>
                <a:gd name="connsiteX3" fmla="*/ 3638910 w 3638910"/>
                <a:gd name="connsiteY3" fmla="*/ 1108168 h 1108170"/>
                <a:gd name="connsiteX4" fmla="*/ 3633577 w 3638910"/>
                <a:gd name="connsiteY4" fmla="*/ 1103217 h 1108170"/>
                <a:gd name="connsiteX5" fmla="*/ 3633577 w 3638910"/>
                <a:gd name="connsiteY5" fmla="*/ 1096487 h 1108170"/>
                <a:gd name="connsiteX6" fmla="*/ 7364 w 3638910"/>
                <a:gd name="connsiteY6" fmla="*/ 0 h 1108170"/>
                <a:gd name="connsiteX7" fmla="*/ 7364 w 3638910"/>
                <a:gd name="connsiteY7" fmla="*/ 3555 h 1108170"/>
                <a:gd name="connsiteX8" fmla="*/ 1904 w 3638910"/>
                <a:gd name="connsiteY8" fmla="*/ 8380 h 1108170"/>
                <a:gd name="connsiteX9" fmla="*/ 0 w 3638910"/>
                <a:gd name="connsiteY9" fmla="*/ 8380 h 1108170"/>
                <a:gd name="connsiteX10" fmla="*/ 0 w 3638910"/>
                <a:gd name="connsiteY10" fmla="*/ 8380 h 1108170"/>
                <a:gd name="connsiteX11" fmla="*/ 486034 w 3638910"/>
                <a:gd name="connsiteY11" fmla="*/ 155408 h 1108170"/>
                <a:gd name="connsiteX12" fmla="*/ 1068311 w 3638910"/>
                <a:gd name="connsiteY12" fmla="*/ 331384 h 110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910" h="1108170">
                  <a:moveTo>
                    <a:pt x="1068184" y="331257"/>
                  </a:moveTo>
                  <a:lnTo>
                    <a:pt x="1068184" y="331257"/>
                  </a:lnTo>
                  <a:lnTo>
                    <a:pt x="3637260" y="1108168"/>
                  </a:lnTo>
                  <a:lnTo>
                    <a:pt x="3638910" y="1108168"/>
                  </a:lnTo>
                  <a:cubicBezTo>
                    <a:pt x="3636079" y="1108245"/>
                    <a:pt x="3633717" y="1106048"/>
                    <a:pt x="3633577" y="1103217"/>
                  </a:cubicBezTo>
                  <a:lnTo>
                    <a:pt x="3633577" y="1096487"/>
                  </a:lnTo>
                  <a:lnTo>
                    <a:pt x="7364" y="0"/>
                  </a:lnTo>
                  <a:lnTo>
                    <a:pt x="7364" y="3555"/>
                  </a:lnTo>
                  <a:cubicBezTo>
                    <a:pt x="7161" y="6386"/>
                    <a:pt x="4736" y="8519"/>
                    <a:pt x="1904" y="8380"/>
                  </a:cubicBezTo>
                  <a:cubicBezTo>
                    <a:pt x="1269" y="8494"/>
                    <a:pt x="635" y="8494"/>
                    <a:pt x="0" y="8380"/>
                  </a:cubicBezTo>
                  <a:lnTo>
                    <a:pt x="0" y="8380"/>
                  </a:lnTo>
                  <a:lnTo>
                    <a:pt x="486034" y="155408"/>
                  </a:lnTo>
                  <a:lnTo>
                    <a:pt x="1068311" y="331384"/>
                  </a:lnTo>
                  <a:close/>
                </a:path>
              </a:pathLst>
            </a:custGeom>
            <a:solidFill>
              <a:srgbClr val="000000"/>
            </a:solidFill>
            <a:ln w="12690"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BD30C0F3-51A0-427E-A607-4F0809ADC9B5}"/>
                </a:ext>
              </a:extLst>
            </p:cNvPr>
            <p:cNvSpPr/>
            <p:nvPr/>
          </p:nvSpPr>
          <p:spPr>
            <a:xfrm>
              <a:off x="8690529" y="3127705"/>
              <a:ext cx="66" cy="761"/>
            </a:xfrm>
            <a:custGeom>
              <a:avLst/>
              <a:gdLst>
                <a:gd name="connsiteX0" fmla="*/ 66 w 66"/>
                <a:gd name="connsiteY0" fmla="*/ 0 h 761"/>
                <a:gd name="connsiteX1" fmla="*/ 66 w 66"/>
                <a:gd name="connsiteY1" fmla="*/ 762 h 761"/>
                <a:gd name="connsiteX2" fmla="*/ 66 w 66"/>
                <a:gd name="connsiteY2" fmla="*/ 762 h 761"/>
                <a:gd name="connsiteX3" fmla="*/ 66 w 66"/>
                <a:gd name="connsiteY3" fmla="*/ 0 h 761"/>
              </a:gdLst>
              <a:ahLst/>
              <a:cxnLst>
                <a:cxn ang="0">
                  <a:pos x="connsiteX0" y="connsiteY0"/>
                </a:cxn>
                <a:cxn ang="0">
                  <a:pos x="connsiteX1" y="connsiteY1"/>
                </a:cxn>
                <a:cxn ang="0">
                  <a:pos x="connsiteX2" y="connsiteY2"/>
                </a:cxn>
                <a:cxn ang="0">
                  <a:pos x="connsiteX3" y="connsiteY3"/>
                </a:cxn>
              </a:cxnLst>
              <a:rect l="l" t="t" r="r" b="b"/>
              <a:pathLst>
                <a:path w="66" h="761">
                  <a:moveTo>
                    <a:pt x="66" y="0"/>
                  </a:moveTo>
                  <a:lnTo>
                    <a:pt x="66" y="762"/>
                  </a:lnTo>
                  <a:lnTo>
                    <a:pt x="66" y="762"/>
                  </a:lnTo>
                  <a:cubicBezTo>
                    <a:pt x="-22" y="521"/>
                    <a:pt x="-22" y="241"/>
                    <a:pt x="66" y="0"/>
                  </a:cubicBezTo>
                  <a:close/>
                </a:path>
              </a:pathLst>
            </a:custGeom>
            <a:solidFill>
              <a:srgbClr val="000000"/>
            </a:solidFill>
            <a:ln w="12690"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4F71D70E-3213-4CFF-AF97-26712261B866}"/>
                </a:ext>
              </a:extLst>
            </p:cNvPr>
            <p:cNvSpPr/>
            <p:nvPr/>
          </p:nvSpPr>
          <p:spPr>
            <a:xfrm>
              <a:off x="5042290" y="140374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01368020-C503-48AB-8965-8FB2341E0CAD}"/>
                </a:ext>
              </a:extLst>
            </p:cNvPr>
            <p:cNvSpPr/>
            <p:nvPr/>
          </p:nvSpPr>
          <p:spPr>
            <a:xfrm>
              <a:off x="5043559" y="140222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6AE1FDE7-DFB0-4C42-AB65-A019AFC15C13}"/>
                </a:ext>
              </a:extLst>
            </p:cNvPr>
            <p:cNvSpPr/>
            <p:nvPr/>
          </p:nvSpPr>
          <p:spPr>
            <a:xfrm>
              <a:off x="5043629" y="1407047"/>
              <a:ext cx="9706" cy="624382"/>
            </a:xfrm>
            <a:custGeom>
              <a:avLst/>
              <a:gdLst>
                <a:gd name="connsiteX0" fmla="*/ 9707 w 9706"/>
                <a:gd name="connsiteY0" fmla="*/ 619726 h 624382"/>
                <a:gd name="connsiteX1" fmla="*/ 9707 w 9706"/>
                <a:gd name="connsiteY1" fmla="*/ 5460 h 624382"/>
                <a:gd name="connsiteX2" fmla="*/ 2596 w 9706"/>
                <a:gd name="connsiteY2" fmla="*/ 3301 h 624382"/>
                <a:gd name="connsiteX3" fmla="*/ 2596 w 9706"/>
                <a:gd name="connsiteY3" fmla="*/ 3301 h 624382"/>
                <a:gd name="connsiteX4" fmla="*/ 1708 w 9706"/>
                <a:gd name="connsiteY4" fmla="*/ 3301 h 624382"/>
                <a:gd name="connsiteX5" fmla="*/ 692 w 9706"/>
                <a:gd name="connsiteY5" fmla="*/ 2666 h 624382"/>
                <a:gd name="connsiteX6" fmla="*/ 692 w 9706"/>
                <a:gd name="connsiteY6" fmla="*/ 2666 h 624382"/>
                <a:gd name="connsiteX7" fmla="*/ 692 w 9706"/>
                <a:gd name="connsiteY7" fmla="*/ 2666 h 624382"/>
                <a:gd name="connsiteX8" fmla="*/ 57 w 9706"/>
                <a:gd name="connsiteY8" fmla="*/ 1778 h 624382"/>
                <a:gd name="connsiteX9" fmla="*/ 57 w 9706"/>
                <a:gd name="connsiteY9" fmla="*/ 1016 h 624382"/>
                <a:gd name="connsiteX10" fmla="*/ 57 w 9706"/>
                <a:gd name="connsiteY10" fmla="*/ 0 h 624382"/>
                <a:gd name="connsiteX11" fmla="*/ 57 w 9706"/>
                <a:gd name="connsiteY11" fmla="*/ 0 h 624382"/>
                <a:gd name="connsiteX12" fmla="*/ 57 w 9706"/>
                <a:gd name="connsiteY12" fmla="*/ 620996 h 624382"/>
                <a:gd name="connsiteX13" fmla="*/ 57 w 9706"/>
                <a:gd name="connsiteY13" fmla="*/ 620996 h 624382"/>
                <a:gd name="connsiteX14" fmla="*/ 57 w 9706"/>
                <a:gd name="connsiteY14" fmla="*/ 622012 h 624382"/>
                <a:gd name="connsiteX15" fmla="*/ 57 w 9706"/>
                <a:gd name="connsiteY15" fmla="*/ 622900 h 624382"/>
                <a:gd name="connsiteX16" fmla="*/ 57 w 9706"/>
                <a:gd name="connsiteY16" fmla="*/ 623662 h 624382"/>
                <a:gd name="connsiteX17" fmla="*/ 692 w 9706"/>
                <a:gd name="connsiteY17" fmla="*/ 624297 h 624382"/>
                <a:gd name="connsiteX18" fmla="*/ 1581 w 9706"/>
                <a:gd name="connsiteY18" fmla="*/ 624297 h 624382"/>
                <a:gd name="connsiteX19" fmla="*/ 2469 w 9706"/>
                <a:gd name="connsiteY19" fmla="*/ 624297 h 624382"/>
                <a:gd name="connsiteX20" fmla="*/ 4374 w 9706"/>
                <a:gd name="connsiteY20" fmla="*/ 624297 h 624382"/>
                <a:gd name="connsiteX21" fmla="*/ 9707 w 9706"/>
                <a:gd name="connsiteY21" fmla="*/ 619726 h 62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06" h="624382">
                  <a:moveTo>
                    <a:pt x="9707" y="619726"/>
                  </a:moveTo>
                  <a:lnTo>
                    <a:pt x="9707" y="5460"/>
                  </a:lnTo>
                  <a:lnTo>
                    <a:pt x="2596" y="3301"/>
                  </a:lnTo>
                  <a:lnTo>
                    <a:pt x="2596" y="3301"/>
                  </a:lnTo>
                  <a:lnTo>
                    <a:pt x="1708" y="3301"/>
                  </a:lnTo>
                  <a:lnTo>
                    <a:pt x="692" y="2666"/>
                  </a:lnTo>
                  <a:lnTo>
                    <a:pt x="692" y="2666"/>
                  </a:lnTo>
                  <a:lnTo>
                    <a:pt x="692" y="2666"/>
                  </a:lnTo>
                  <a:cubicBezTo>
                    <a:pt x="413" y="2425"/>
                    <a:pt x="197" y="2120"/>
                    <a:pt x="57" y="1778"/>
                  </a:cubicBezTo>
                  <a:cubicBezTo>
                    <a:pt x="57" y="1778"/>
                    <a:pt x="57" y="1778"/>
                    <a:pt x="57" y="1016"/>
                  </a:cubicBezTo>
                  <a:cubicBezTo>
                    <a:pt x="-7" y="686"/>
                    <a:pt x="-7" y="330"/>
                    <a:pt x="57" y="0"/>
                  </a:cubicBezTo>
                  <a:lnTo>
                    <a:pt x="57" y="0"/>
                  </a:lnTo>
                  <a:lnTo>
                    <a:pt x="57" y="620996"/>
                  </a:lnTo>
                  <a:lnTo>
                    <a:pt x="57" y="620996"/>
                  </a:lnTo>
                  <a:cubicBezTo>
                    <a:pt x="-19" y="621326"/>
                    <a:pt x="-19" y="621681"/>
                    <a:pt x="57" y="622012"/>
                  </a:cubicBezTo>
                  <a:cubicBezTo>
                    <a:pt x="6" y="622304"/>
                    <a:pt x="6" y="622608"/>
                    <a:pt x="57" y="622900"/>
                  </a:cubicBezTo>
                  <a:lnTo>
                    <a:pt x="57" y="623662"/>
                  </a:lnTo>
                  <a:cubicBezTo>
                    <a:pt x="57" y="623662"/>
                    <a:pt x="57" y="623662"/>
                    <a:pt x="692" y="624297"/>
                  </a:cubicBezTo>
                  <a:lnTo>
                    <a:pt x="1581" y="624297"/>
                  </a:lnTo>
                  <a:lnTo>
                    <a:pt x="2469" y="624297"/>
                  </a:lnTo>
                  <a:cubicBezTo>
                    <a:pt x="3104" y="624411"/>
                    <a:pt x="3739" y="624411"/>
                    <a:pt x="4374" y="624297"/>
                  </a:cubicBezTo>
                  <a:cubicBezTo>
                    <a:pt x="7066" y="624386"/>
                    <a:pt x="9377" y="622405"/>
                    <a:pt x="9707" y="619726"/>
                  </a:cubicBezTo>
                  <a:close/>
                </a:path>
              </a:pathLst>
            </a:custGeom>
            <a:solidFill>
              <a:srgbClr val="000000"/>
            </a:solidFill>
            <a:ln w="12690"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2BA7C2CC-4C5B-4C3E-A513-F96E7A47C1E0}"/>
                </a:ext>
              </a:extLst>
            </p:cNvPr>
            <p:cNvSpPr/>
            <p:nvPr/>
          </p:nvSpPr>
          <p:spPr>
            <a:xfrm>
              <a:off x="8679295" y="2507598"/>
              <a:ext cx="10537" cy="624171"/>
            </a:xfrm>
            <a:custGeom>
              <a:avLst/>
              <a:gdLst>
                <a:gd name="connsiteX0" fmla="*/ 635 w 10537"/>
                <a:gd name="connsiteY0" fmla="*/ 619218 h 624171"/>
                <a:gd name="connsiteX1" fmla="*/ 5967 w 10537"/>
                <a:gd name="connsiteY1" fmla="*/ 624170 h 624171"/>
                <a:gd name="connsiteX2" fmla="*/ 8888 w 10537"/>
                <a:gd name="connsiteY2" fmla="*/ 623281 h 624171"/>
                <a:gd name="connsiteX3" fmla="*/ 8888 w 10537"/>
                <a:gd name="connsiteY3" fmla="*/ 623281 h 624171"/>
                <a:gd name="connsiteX4" fmla="*/ 8888 w 10537"/>
                <a:gd name="connsiteY4" fmla="*/ 623281 h 624171"/>
                <a:gd name="connsiteX5" fmla="*/ 10538 w 10537"/>
                <a:gd name="connsiteY5" fmla="*/ 621250 h 624171"/>
                <a:gd name="connsiteX6" fmla="*/ 10538 w 10537"/>
                <a:gd name="connsiteY6" fmla="*/ 620488 h 624171"/>
                <a:gd name="connsiteX7" fmla="*/ 10538 w 10537"/>
                <a:gd name="connsiteY7" fmla="*/ 619599 h 624171"/>
                <a:gd name="connsiteX8" fmla="*/ 10538 w 10537"/>
                <a:gd name="connsiteY8" fmla="*/ 0 h 624171"/>
                <a:gd name="connsiteX9" fmla="*/ 8761 w 10537"/>
                <a:gd name="connsiteY9" fmla="*/ 1524 h 624171"/>
                <a:gd name="connsiteX10" fmla="*/ 8761 w 10537"/>
                <a:gd name="connsiteY10" fmla="*/ 1524 h 624171"/>
                <a:gd name="connsiteX11" fmla="*/ 7110 w 10537"/>
                <a:gd name="connsiteY11" fmla="*/ 2285 h 624171"/>
                <a:gd name="connsiteX12" fmla="*/ 5332 w 10537"/>
                <a:gd name="connsiteY12" fmla="*/ 2285 h 624171"/>
                <a:gd name="connsiteX13" fmla="*/ 3682 w 10537"/>
                <a:gd name="connsiteY13" fmla="*/ 2285 h 624171"/>
                <a:gd name="connsiteX14" fmla="*/ 0 w 10537"/>
                <a:gd name="connsiteY14" fmla="*/ 1143 h 624171"/>
                <a:gd name="connsiteX15" fmla="*/ 0 w 10537"/>
                <a:gd name="connsiteY15" fmla="*/ 618964 h 62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7" h="624171">
                  <a:moveTo>
                    <a:pt x="635" y="619218"/>
                  </a:moveTo>
                  <a:cubicBezTo>
                    <a:pt x="774" y="622050"/>
                    <a:pt x="3136" y="624246"/>
                    <a:pt x="5967" y="624170"/>
                  </a:cubicBezTo>
                  <a:cubicBezTo>
                    <a:pt x="7009" y="624145"/>
                    <a:pt x="8011" y="623840"/>
                    <a:pt x="8888" y="623281"/>
                  </a:cubicBezTo>
                  <a:lnTo>
                    <a:pt x="8888" y="623281"/>
                  </a:lnTo>
                  <a:lnTo>
                    <a:pt x="8888" y="623281"/>
                  </a:lnTo>
                  <a:cubicBezTo>
                    <a:pt x="9662" y="622824"/>
                    <a:pt x="10259" y="622100"/>
                    <a:pt x="10538" y="621250"/>
                  </a:cubicBezTo>
                  <a:lnTo>
                    <a:pt x="10538" y="620488"/>
                  </a:lnTo>
                  <a:cubicBezTo>
                    <a:pt x="10538" y="620488"/>
                    <a:pt x="10538" y="619853"/>
                    <a:pt x="10538" y="619599"/>
                  </a:cubicBezTo>
                  <a:lnTo>
                    <a:pt x="10538" y="0"/>
                  </a:lnTo>
                  <a:lnTo>
                    <a:pt x="8761" y="1524"/>
                  </a:lnTo>
                  <a:lnTo>
                    <a:pt x="8761" y="1524"/>
                  </a:lnTo>
                  <a:cubicBezTo>
                    <a:pt x="8252" y="1854"/>
                    <a:pt x="7694" y="2108"/>
                    <a:pt x="7110" y="2285"/>
                  </a:cubicBezTo>
                  <a:cubicBezTo>
                    <a:pt x="6526" y="2412"/>
                    <a:pt x="5917" y="2412"/>
                    <a:pt x="5332" y="2285"/>
                  </a:cubicBezTo>
                  <a:lnTo>
                    <a:pt x="3682" y="2285"/>
                  </a:lnTo>
                  <a:lnTo>
                    <a:pt x="0" y="1143"/>
                  </a:lnTo>
                  <a:lnTo>
                    <a:pt x="0" y="618964"/>
                  </a:lnTo>
                  <a:close/>
                </a:path>
              </a:pathLst>
            </a:custGeom>
            <a:solidFill>
              <a:srgbClr val="000000"/>
            </a:solidFill>
            <a:ln w="12690"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789F9106-4EDC-460E-8C6F-DE27D857EE66}"/>
                </a:ext>
              </a:extLst>
            </p:cNvPr>
            <p:cNvSpPr/>
            <p:nvPr/>
          </p:nvSpPr>
          <p:spPr>
            <a:xfrm>
              <a:off x="5045337" y="1403746"/>
              <a:ext cx="3639672" cy="1106644"/>
            </a:xfrm>
            <a:custGeom>
              <a:avLst/>
              <a:gdLst>
                <a:gd name="connsiteX0" fmla="*/ 1904 w 3639672"/>
                <a:gd name="connsiteY0" fmla="*/ 6856 h 1106644"/>
                <a:gd name="connsiteX1" fmla="*/ 0 w 3639672"/>
                <a:gd name="connsiteY1" fmla="*/ 6856 h 1106644"/>
                <a:gd name="connsiteX2" fmla="*/ 0 w 3639672"/>
                <a:gd name="connsiteY2" fmla="*/ 6856 h 1106644"/>
                <a:gd name="connsiteX3" fmla="*/ 7110 w 3639672"/>
                <a:gd name="connsiteY3" fmla="*/ 9015 h 1106644"/>
                <a:gd name="connsiteX4" fmla="*/ 3634339 w 3639672"/>
                <a:gd name="connsiteY4" fmla="*/ 1105502 h 1106644"/>
                <a:gd name="connsiteX5" fmla="*/ 3638022 w 3639672"/>
                <a:gd name="connsiteY5" fmla="*/ 1106645 h 1106644"/>
                <a:gd name="connsiteX6" fmla="*/ 3639672 w 3639672"/>
                <a:gd name="connsiteY6" fmla="*/ 1106645 h 1106644"/>
                <a:gd name="connsiteX7" fmla="*/ 3635736 w 3639672"/>
                <a:gd name="connsiteY7" fmla="*/ 1104994 h 1106644"/>
                <a:gd name="connsiteX8" fmla="*/ 3635393 w 3639672"/>
                <a:gd name="connsiteY8" fmla="*/ 1098354 h 1106644"/>
                <a:gd name="connsiteX9" fmla="*/ 3635736 w 3639672"/>
                <a:gd name="connsiteY9" fmla="*/ 1098011 h 1106644"/>
                <a:gd name="connsiteX10" fmla="*/ 3638022 w 3639672"/>
                <a:gd name="connsiteY10" fmla="*/ 1096107 h 1106644"/>
                <a:gd name="connsiteX11" fmla="*/ 11808 w 3639672"/>
                <a:gd name="connsiteY11" fmla="*/ 0 h 1106644"/>
                <a:gd name="connsiteX12" fmla="*/ 4825 w 3639672"/>
                <a:gd name="connsiteY12" fmla="*/ 5714 h 1106644"/>
                <a:gd name="connsiteX13" fmla="*/ 1904 w 3639672"/>
                <a:gd name="connsiteY13" fmla="*/ 6856 h 1106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39672" h="1106644">
                  <a:moveTo>
                    <a:pt x="1904" y="6856"/>
                  </a:moveTo>
                  <a:lnTo>
                    <a:pt x="0" y="6856"/>
                  </a:lnTo>
                  <a:lnTo>
                    <a:pt x="0" y="6856"/>
                  </a:lnTo>
                  <a:lnTo>
                    <a:pt x="7110" y="9015"/>
                  </a:lnTo>
                  <a:lnTo>
                    <a:pt x="3634339" y="1105502"/>
                  </a:lnTo>
                  <a:lnTo>
                    <a:pt x="3638022" y="1106645"/>
                  </a:lnTo>
                  <a:lnTo>
                    <a:pt x="3639672" y="1106645"/>
                  </a:lnTo>
                  <a:cubicBezTo>
                    <a:pt x="3638199" y="1106607"/>
                    <a:pt x="3636790" y="1106023"/>
                    <a:pt x="3635736" y="1104994"/>
                  </a:cubicBezTo>
                  <a:cubicBezTo>
                    <a:pt x="3633806" y="1103255"/>
                    <a:pt x="3633654" y="1100284"/>
                    <a:pt x="3635393" y="1098354"/>
                  </a:cubicBezTo>
                  <a:cubicBezTo>
                    <a:pt x="3635495" y="1098240"/>
                    <a:pt x="3635609" y="1098125"/>
                    <a:pt x="3635736" y="1098011"/>
                  </a:cubicBezTo>
                  <a:lnTo>
                    <a:pt x="3638022" y="1096107"/>
                  </a:lnTo>
                  <a:lnTo>
                    <a:pt x="11808" y="0"/>
                  </a:lnTo>
                  <a:lnTo>
                    <a:pt x="4825" y="5714"/>
                  </a:lnTo>
                  <a:cubicBezTo>
                    <a:pt x="3974" y="6348"/>
                    <a:pt x="2958" y="6742"/>
                    <a:pt x="1904" y="6856"/>
                  </a:cubicBezTo>
                  <a:close/>
                </a:path>
              </a:pathLst>
            </a:custGeom>
            <a:solidFill>
              <a:srgbClr val="000000"/>
            </a:solidFill>
            <a:ln w="12690"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E78C6D91-F81F-4E28-B1CB-A0D5D6154347}"/>
                </a:ext>
              </a:extLst>
            </p:cNvPr>
            <p:cNvSpPr/>
            <p:nvPr/>
          </p:nvSpPr>
          <p:spPr>
            <a:xfrm>
              <a:off x="5042106" y="1403619"/>
              <a:ext cx="56" cy="1015"/>
            </a:xfrm>
            <a:custGeom>
              <a:avLst/>
              <a:gdLst>
                <a:gd name="connsiteX0" fmla="*/ 57 w 56"/>
                <a:gd name="connsiteY0" fmla="*/ 381 h 1015"/>
                <a:gd name="connsiteX1" fmla="*/ 57 w 56"/>
                <a:gd name="connsiteY1" fmla="*/ 381 h 1015"/>
                <a:gd name="connsiteX2" fmla="*/ 57 w 56"/>
                <a:gd name="connsiteY2" fmla="*/ 1016 h 1015"/>
                <a:gd name="connsiteX3" fmla="*/ 57 w 56"/>
                <a:gd name="connsiteY3" fmla="*/ 0 h 1015"/>
              </a:gdLst>
              <a:ahLst/>
              <a:cxnLst>
                <a:cxn ang="0">
                  <a:pos x="connsiteX0" y="connsiteY0"/>
                </a:cxn>
                <a:cxn ang="0">
                  <a:pos x="connsiteX1" y="connsiteY1"/>
                </a:cxn>
                <a:cxn ang="0">
                  <a:pos x="connsiteX2" y="connsiteY2"/>
                </a:cxn>
                <a:cxn ang="0">
                  <a:pos x="connsiteX3" y="connsiteY3"/>
                </a:cxn>
              </a:cxnLst>
              <a:rect l="l" t="t" r="r" b="b"/>
              <a:pathLst>
                <a:path w="56" h="1015">
                  <a:moveTo>
                    <a:pt x="57" y="381"/>
                  </a:moveTo>
                  <a:lnTo>
                    <a:pt x="57" y="381"/>
                  </a:lnTo>
                  <a:cubicBezTo>
                    <a:pt x="-19" y="584"/>
                    <a:pt x="-19" y="813"/>
                    <a:pt x="57" y="1016"/>
                  </a:cubicBezTo>
                  <a:cubicBezTo>
                    <a:pt x="6" y="686"/>
                    <a:pt x="6" y="330"/>
                    <a:pt x="57" y="0"/>
                  </a:cubicBezTo>
                  <a:close/>
                </a:path>
              </a:pathLst>
            </a:custGeom>
            <a:solidFill>
              <a:srgbClr val="000000"/>
            </a:solidFill>
            <a:ln w="12690"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2DF3B60B-E9D2-4FD8-BD22-B0E2DC444B08}"/>
                </a:ext>
              </a:extLst>
            </p:cNvPr>
            <p:cNvSpPr/>
            <p:nvPr/>
          </p:nvSpPr>
          <p:spPr>
            <a:xfrm>
              <a:off x="5043277" y="1402349"/>
              <a:ext cx="663" cy="761"/>
            </a:xfrm>
            <a:custGeom>
              <a:avLst/>
              <a:gdLst>
                <a:gd name="connsiteX0" fmla="*/ 28 w 663"/>
                <a:gd name="connsiteY0" fmla="*/ 0 h 761"/>
                <a:gd name="connsiteX1" fmla="*/ 28 w 663"/>
                <a:gd name="connsiteY1" fmla="*/ 762 h 761"/>
                <a:gd name="connsiteX2" fmla="*/ 664 w 663"/>
                <a:gd name="connsiteY2" fmla="*/ 0 h 761"/>
              </a:gdLst>
              <a:ahLst/>
              <a:cxnLst>
                <a:cxn ang="0">
                  <a:pos x="connsiteX0" y="connsiteY0"/>
                </a:cxn>
                <a:cxn ang="0">
                  <a:pos x="connsiteX1" y="connsiteY1"/>
                </a:cxn>
                <a:cxn ang="0">
                  <a:pos x="connsiteX2" y="connsiteY2"/>
                </a:cxn>
              </a:cxnLst>
              <a:rect l="l" t="t" r="r" b="b"/>
              <a:pathLst>
                <a:path w="663" h="761">
                  <a:moveTo>
                    <a:pt x="28" y="0"/>
                  </a:moveTo>
                  <a:cubicBezTo>
                    <a:pt x="-9" y="254"/>
                    <a:pt x="-9" y="508"/>
                    <a:pt x="28" y="762"/>
                  </a:cubicBezTo>
                  <a:lnTo>
                    <a:pt x="664" y="0"/>
                  </a:lnTo>
                  <a:close/>
                </a:path>
              </a:pathLst>
            </a:custGeom>
            <a:solidFill>
              <a:srgbClr val="000000"/>
            </a:solidFill>
            <a:ln w="12690"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8F0BCCC5-0B68-482E-8C8A-A5B4323F0D43}"/>
                </a:ext>
              </a:extLst>
            </p:cNvPr>
            <p:cNvSpPr/>
            <p:nvPr/>
          </p:nvSpPr>
          <p:spPr>
            <a:xfrm>
              <a:off x="8943135" y="2295817"/>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FBA12E71-9095-4443-8098-86C05A391A99}"/>
                </a:ext>
              </a:extLst>
            </p:cNvPr>
            <p:cNvSpPr/>
            <p:nvPr/>
          </p:nvSpPr>
          <p:spPr>
            <a:xfrm>
              <a:off x="8944278" y="2297213"/>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B8402502-70A7-45AA-AFA6-F33FCDEEBDC8}"/>
                </a:ext>
              </a:extLst>
            </p:cNvPr>
            <p:cNvSpPr/>
            <p:nvPr/>
          </p:nvSpPr>
          <p:spPr>
            <a:xfrm>
              <a:off x="8941357" y="2295055"/>
              <a:ext cx="762" cy="12696"/>
            </a:xfrm>
            <a:custGeom>
              <a:avLst/>
              <a:gdLst>
                <a:gd name="connsiteX0" fmla="*/ 763 w 762"/>
                <a:gd name="connsiteY0" fmla="*/ 0 h 12696"/>
                <a:gd name="connsiteX1" fmla="*/ 763 w 762"/>
                <a:gd name="connsiteY1" fmla="*/ 0 h 12696"/>
                <a:gd name="connsiteX2" fmla="*/ 0 w 762"/>
                <a:gd name="connsiteY2" fmla="*/ 0 h 12696"/>
              </a:gdLst>
              <a:ahLst/>
              <a:cxnLst>
                <a:cxn ang="0">
                  <a:pos x="connsiteX0" y="connsiteY0"/>
                </a:cxn>
                <a:cxn ang="0">
                  <a:pos x="connsiteX1" y="connsiteY1"/>
                </a:cxn>
                <a:cxn ang="0">
                  <a:pos x="connsiteX2" y="connsiteY2"/>
                </a:cxn>
              </a:cxnLst>
              <a:rect l="l" t="t" r="r" b="b"/>
              <a:pathLst>
                <a:path w="762" h="12696">
                  <a:moveTo>
                    <a:pt x="763" y="0"/>
                  </a:moveTo>
                  <a:lnTo>
                    <a:pt x="763" y="0"/>
                  </a:lnTo>
                  <a:lnTo>
                    <a:pt x="0" y="0"/>
                  </a:lnTo>
                  <a:close/>
                </a:path>
              </a:pathLst>
            </a:custGeom>
            <a:solidFill>
              <a:srgbClr val="000000"/>
            </a:solidFill>
            <a:ln w="12690"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626C61C4-91D8-4D1E-91F6-70E3BA8083A2}"/>
                </a:ext>
              </a:extLst>
            </p:cNvPr>
            <p:cNvSpPr/>
            <p:nvPr/>
          </p:nvSpPr>
          <p:spPr>
            <a:xfrm>
              <a:off x="8680207" y="2301784"/>
              <a:ext cx="253532" cy="208702"/>
            </a:xfrm>
            <a:custGeom>
              <a:avLst/>
              <a:gdLst>
                <a:gd name="connsiteX0" fmla="*/ 1120 w 253532"/>
                <a:gd name="connsiteY0" fmla="*/ 206956 h 208702"/>
                <a:gd name="connsiteX1" fmla="*/ 5056 w 253532"/>
                <a:gd name="connsiteY1" fmla="*/ 208607 h 208702"/>
                <a:gd name="connsiteX2" fmla="*/ 6834 w 253532"/>
                <a:gd name="connsiteY2" fmla="*/ 208607 h 208702"/>
                <a:gd name="connsiteX3" fmla="*/ 8484 w 253532"/>
                <a:gd name="connsiteY3" fmla="*/ 207845 h 208702"/>
                <a:gd name="connsiteX4" fmla="*/ 8484 w 253532"/>
                <a:gd name="connsiteY4" fmla="*/ 207845 h 208702"/>
                <a:gd name="connsiteX5" fmla="*/ 10262 w 253532"/>
                <a:gd name="connsiteY5" fmla="*/ 206321 h 208702"/>
                <a:gd name="connsiteX6" fmla="*/ 253533 w 253532"/>
                <a:gd name="connsiteY6" fmla="*/ 9015 h 208702"/>
                <a:gd name="connsiteX7" fmla="*/ 253533 w 253532"/>
                <a:gd name="connsiteY7" fmla="*/ 1524 h 208702"/>
                <a:gd name="connsiteX8" fmla="*/ 248454 w 253532"/>
                <a:gd name="connsiteY8" fmla="*/ 0 h 208702"/>
                <a:gd name="connsiteX9" fmla="*/ 4421 w 253532"/>
                <a:gd name="connsiteY9" fmla="*/ 198069 h 208702"/>
                <a:gd name="connsiteX10" fmla="*/ 2136 w 253532"/>
                <a:gd name="connsiteY10" fmla="*/ 199973 h 208702"/>
                <a:gd name="connsiteX11" fmla="*/ 764 w 253532"/>
                <a:gd name="connsiteY11" fmla="*/ 206474 h 208702"/>
                <a:gd name="connsiteX12" fmla="*/ 1120 w 253532"/>
                <a:gd name="connsiteY12" fmla="*/ 206956 h 20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532" h="208702">
                  <a:moveTo>
                    <a:pt x="1120" y="206956"/>
                  </a:moveTo>
                  <a:cubicBezTo>
                    <a:pt x="2174" y="207985"/>
                    <a:pt x="3583" y="208569"/>
                    <a:pt x="5056" y="208607"/>
                  </a:cubicBezTo>
                  <a:cubicBezTo>
                    <a:pt x="5640" y="208734"/>
                    <a:pt x="6249" y="208734"/>
                    <a:pt x="6834" y="208607"/>
                  </a:cubicBezTo>
                  <a:cubicBezTo>
                    <a:pt x="7418" y="208429"/>
                    <a:pt x="7977" y="208175"/>
                    <a:pt x="8484" y="207845"/>
                  </a:cubicBezTo>
                  <a:lnTo>
                    <a:pt x="8484" y="207845"/>
                  </a:lnTo>
                  <a:lnTo>
                    <a:pt x="10262" y="206321"/>
                  </a:lnTo>
                  <a:lnTo>
                    <a:pt x="253533" y="9015"/>
                  </a:lnTo>
                  <a:lnTo>
                    <a:pt x="253533" y="1524"/>
                  </a:lnTo>
                  <a:lnTo>
                    <a:pt x="248454" y="0"/>
                  </a:lnTo>
                  <a:lnTo>
                    <a:pt x="4421" y="198069"/>
                  </a:lnTo>
                  <a:lnTo>
                    <a:pt x="2136" y="199973"/>
                  </a:lnTo>
                  <a:cubicBezTo>
                    <a:pt x="-36" y="201383"/>
                    <a:pt x="-658" y="204303"/>
                    <a:pt x="764" y="206474"/>
                  </a:cubicBezTo>
                  <a:cubicBezTo>
                    <a:pt x="866" y="206639"/>
                    <a:pt x="993" y="206804"/>
                    <a:pt x="1120" y="206956"/>
                  </a:cubicBezTo>
                  <a:close/>
                </a:path>
              </a:pathLst>
            </a:custGeom>
            <a:solidFill>
              <a:srgbClr val="000000"/>
            </a:solidFill>
            <a:ln w="12690"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1A631EBB-3825-421E-9203-0ACFB2CC109A}"/>
                </a:ext>
              </a:extLst>
            </p:cNvPr>
            <p:cNvSpPr/>
            <p:nvPr/>
          </p:nvSpPr>
          <p:spPr>
            <a:xfrm>
              <a:off x="4488327" y="1654125"/>
              <a:ext cx="272981" cy="227778"/>
            </a:xfrm>
            <a:custGeom>
              <a:avLst/>
              <a:gdLst>
                <a:gd name="connsiteX0" fmla="*/ 272982 w 272981"/>
                <a:gd name="connsiteY0" fmla="*/ 5713 h 227778"/>
                <a:gd name="connsiteX1" fmla="*/ 272982 w 272981"/>
                <a:gd name="connsiteY1" fmla="*/ 5713 h 227778"/>
                <a:gd name="connsiteX2" fmla="*/ 269300 w 272981"/>
                <a:gd name="connsiteY2" fmla="*/ 6983 h 227778"/>
                <a:gd name="connsiteX3" fmla="*/ 263967 w 272981"/>
                <a:gd name="connsiteY3" fmla="*/ 2171 h 227778"/>
                <a:gd name="connsiteX4" fmla="*/ 263967 w 272981"/>
                <a:gd name="connsiteY4" fmla="*/ 2158 h 227778"/>
                <a:gd name="connsiteX5" fmla="*/ 263967 w 272981"/>
                <a:gd name="connsiteY5" fmla="*/ 0 h 227778"/>
                <a:gd name="connsiteX6" fmla="*/ 1651 w 272981"/>
                <a:gd name="connsiteY6" fmla="*/ 213305 h 227778"/>
                <a:gd name="connsiteX7" fmla="*/ 1651 w 272981"/>
                <a:gd name="connsiteY7" fmla="*/ 224224 h 227778"/>
                <a:gd name="connsiteX8" fmla="*/ 1651 w 272981"/>
                <a:gd name="connsiteY8" fmla="*/ 224986 h 227778"/>
                <a:gd name="connsiteX9" fmla="*/ 1651 w 272981"/>
                <a:gd name="connsiteY9" fmla="*/ 225747 h 227778"/>
                <a:gd name="connsiteX10" fmla="*/ 1651 w 272981"/>
                <a:gd name="connsiteY10" fmla="*/ 225747 h 227778"/>
                <a:gd name="connsiteX11" fmla="*/ 0 w 272981"/>
                <a:gd name="connsiteY11" fmla="*/ 227779 h 227778"/>
                <a:gd name="connsiteX12" fmla="*/ 0 w 272981"/>
                <a:gd name="connsiteY12" fmla="*/ 227779 h 22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1" h="227778">
                  <a:moveTo>
                    <a:pt x="272982" y="5713"/>
                  </a:moveTo>
                  <a:lnTo>
                    <a:pt x="272982" y="5713"/>
                  </a:lnTo>
                  <a:cubicBezTo>
                    <a:pt x="271941" y="6564"/>
                    <a:pt x="270646" y="7021"/>
                    <a:pt x="269300" y="6983"/>
                  </a:cubicBezTo>
                  <a:cubicBezTo>
                    <a:pt x="266494" y="7123"/>
                    <a:pt x="264107" y="4977"/>
                    <a:pt x="263967" y="2171"/>
                  </a:cubicBezTo>
                  <a:cubicBezTo>
                    <a:pt x="263967" y="2171"/>
                    <a:pt x="263967" y="2158"/>
                    <a:pt x="263967" y="2158"/>
                  </a:cubicBezTo>
                  <a:lnTo>
                    <a:pt x="263967" y="0"/>
                  </a:lnTo>
                  <a:lnTo>
                    <a:pt x="1651" y="213305"/>
                  </a:lnTo>
                  <a:lnTo>
                    <a:pt x="1651" y="224224"/>
                  </a:lnTo>
                  <a:cubicBezTo>
                    <a:pt x="1651" y="224224"/>
                    <a:pt x="1651" y="224224"/>
                    <a:pt x="1651" y="224986"/>
                  </a:cubicBezTo>
                  <a:cubicBezTo>
                    <a:pt x="1587" y="225240"/>
                    <a:pt x="1587" y="225493"/>
                    <a:pt x="1651" y="225747"/>
                  </a:cubicBezTo>
                  <a:lnTo>
                    <a:pt x="1651" y="225747"/>
                  </a:lnTo>
                  <a:cubicBezTo>
                    <a:pt x="1321" y="226586"/>
                    <a:pt x="749" y="227284"/>
                    <a:pt x="0" y="227779"/>
                  </a:cubicBezTo>
                  <a:lnTo>
                    <a:pt x="0" y="227779"/>
                  </a:lnTo>
                  <a:close/>
                </a:path>
              </a:pathLst>
            </a:custGeom>
            <a:solidFill>
              <a:srgbClr val="000000"/>
            </a:solidFill>
            <a:ln w="12690"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6D84394D-A00B-44FB-A317-F92934AAA902}"/>
                </a:ext>
              </a:extLst>
            </p:cNvPr>
            <p:cNvSpPr/>
            <p:nvPr/>
          </p:nvSpPr>
          <p:spPr>
            <a:xfrm>
              <a:off x="2628242" y="1312076"/>
              <a:ext cx="1855387" cy="570845"/>
            </a:xfrm>
            <a:custGeom>
              <a:avLst/>
              <a:gdLst>
                <a:gd name="connsiteX0" fmla="*/ 1500765 w 1855387"/>
                <a:gd name="connsiteY0" fmla="*/ 463811 h 570845"/>
                <a:gd name="connsiteX1" fmla="*/ 1500765 w 1855387"/>
                <a:gd name="connsiteY1" fmla="*/ 463811 h 570845"/>
                <a:gd name="connsiteX2" fmla="*/ 1500765 w 1855387"/>
                <a:gd name="connsiteY2" fmla="*/ 463811 h 570845"/>
                <a:gd name="connsiteX3" fmla="*/ 1853737 w 1855387"/>
                <a:gd name="connsiteY3" fmla="*/ 570844 h 570845"/>
                <a:gd name="connsiteX4" fmla="*/ 1855387 w 1855387"/>
                <a:gd name="connsiteY4" fmla="*/ 570844 h 570845"/>
                <a:gd name="connsiteX5" fmla="*/ 1850054 w 1855387"/>
                <a:gd name="connsiteY5" fmla="*/ 565892 h 570845"/>
                <a:gd name="connsiteX6" fmla="*/ 1850054 w 1855387"/>
                <a:gd name="connsiteY6" fmla="*/ 559036 h 570845"/>
                <a:gd name="connsiteX7" fmla="*/ 0 w 1855387"/>
                <a:gd name="connsiteY7" fmla="*/ 0 h 570845"/>
                <a:gd name="connsiteX8" fmla="*/ 0 w 1855387"/>
                <a:gd name="connsiteY8" fmla="*/ 0 h 570845"/>
                <a:gd name="connsiteX9" fmla="*/ 1501146 w 1855387"/>
                <a:gd name="connsiteY9" fmla="*/ 463811 h 570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387" h="570845">
                  <a:moveTo>
                    <a:pt x="1500765" y="463811"/>
                  </a:moveTo>
                  <a:lnTo>
                    <a:pt x="1500765" y="463811"/>
                  </a:lnTo>
                  <a:lnTo>
                    <a:pt x="1500765" y="463811"/>
                  </a:lnTo>
                  <a:lnTo>
                    <a:pt x="1853737" y="570844"/>
                  </a:lnTo>
                  <a:lnTo>
                    <a:pt x="1855387" y="570844"/>
                  </a:lnTo>
                  <a:cubicBezTo>
                    <a:pt x="1852556" y="570920"/>
                    <a:pt x="1850194" y="568724"/>
                    <a:pt x="1850054" y="565892"/>
                  </a:cubicBezTo>
                  <a:lnTo>
                    <a:pt x="1850054" y="559036"/>
                  </a:lnTo>
                  <a:lnTo>
                    <a:pt x="0" y="0"/>
                  </a:lnTo>
                  <a:lnTo>
                    <a:pt x="0" y="0"/>
                  </a:lnTo>
                  <a:lnTo>
                    <a:pt x="1501146" y="463811"/>
                  </a:lnTo>
                  <a:close/>
                </a:path>
              </a:pathLst>
            </a:custGeom>
            <a:solidFill>
              <a:srgbClr val="000000"/>
            </a:solidFill>
            <a:ln w="12690"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81A25A85-696A-4F28-923C-72CECDF38EE7}"/>
                </a:ext>
              </a:extLst>
            </p:cNvPr>
            <p:cNvSpPr/>
            <p:nvPr/>
          </p:nvSpPr>
          <p:spPr>
            <a:xfrm>
              <a:off x="2624052" y="1321345"/>
              <a:ext cx="634" cy="253"/>
            </a:xfrm>
            <a:custGeom>
              <a:avLst/>
              <a:gdLst>
                <a:gd name="connsiteX0" fmla="*/ 127 w 634"/>
                <a:gd name="connsiteY0" fmla="*/ 0 h 253"/>
                <a:gd name="connsiteX1" fmla="*/ 635 w 634"/>
                <a:gd name="connsiteY1" fmla="*/ 254 h 253"/>
                <a:gd name="connsiteX2" fmla="*/ 0 w 634"/>
                <a:gd name="connsiteY2" fmla="*/ 0 h 253"/>
                <a:gd name="connsiteX3" fmla="*/ 127 w 634"/>
                <a:gd name="connsiteY3" fmla="*/ 0 h 253"/>
              </a:gdLst>
              <a:ahLst/>
              <a:cxnLst>
                <a:cxn ang="0">
                  <a:pos x="connsiteX0" y="connsiteY0"/>
                </a:cxn>
                <a:cxn ang="0">
                  <a:pos x="connsiteX1" y="connsiteY1"/>
                </a:cxn>
                <a:cxn ang="0">
                  <a:pos x="connsiteX2" y="connsiteY2"/>
                </a:cxn>
                <a:cxn ang="0">
                  <a:pos x="connsiteX3" y="connsiteY3"/>
                </a:cxn>
              </a:cxnLst>
              <a:rect l="l" t="t" r="r" b="b"/>
              <a:pathLst>
                <a:path w="634" h="253">
                  <a:moveTo>
                    <a:pt x="127" y="0"/>
                  </a:moveTo>
                  <a:lnTo>
                    <a:pt x="635" y="254"/>
                  </a:lnTo>
                  <a:lnTo>
                    <a:pt x="0" y="0"/>
                  </a:lnTo>
                  <a:lnTo>
                    <a:pt x="127" y="0"/>
                  </a:lnTo>
                  <a:close/>
                </a:path>
              </a:pathLst>
            </a:custGeom>
            <a:solidFill>
              <a:srgbClr val="000000"/>
            </a:solidFill>
            <a:ln w="12690"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98F6A242-EB68-4CA4-B90E-E0503841DC55}"/>
                </a:ext>
              </a:extLst>
            </p:cNvPr>
            <p:cNvSpPr/>
            <p:nvPr/>
          </p:nvSpPr>
          <p:spPr>
            <a:xfrm>
              <a:off x="4489286" y="1879111"/>
              <a:ext cx="56" cy="888"/>
            </a:xfrm>
            <a:custGeom>
              <a:avLst/>
              <a:gdLst>
                <a:gd name="connsiteX0" fmla="*/ 57 w 56"/>
                <a:gd name="connsiteY0" fmla="*/ 0 h 888"/>
                <a:gd name="connsiteX1" fmla="*/ 57 w 56"/>
                <a:gd name="connsiteY1" fmla="*/ 889 h 888"/>
                <a:gd name="connsiteX2" fmla="*/ 57 w 56"/>
                <a:gd name="connsiteY2" fmla="*/ 889 h 888"/>
                <a:gd name="connsiteX3" fmla="*/ 57 w 56"/>
                <a:gd name="connsiteY3" fmla="*/ 0 h 888"/>
              </a:gdLst>
              <a:ahLst/>
              <a:cxnLst>
                <a:cxn ang="0">
                  <a:pos x="connsiteX0" y="connsiteY0"/>
                </a:cxn>
                <a:cxn ang="0">
                  <a:pos x="connsiteX1" y="connsiteY1"/>
                </a:cxn>
                <a:cxn ang="0">
                  <a:pos x="connsiteX2" y="connsiteY2"/>
                </a:cxn>
                <a:cxn ang="0">
                  <a:pos x="connsiteX3" y="connsiteY3"/>
                </a:cxn>
              </a:cxnLst>
              <a:rect l="l" t="t" r="r" b="b"/>
              <a:pathLst>
                <a:path w="56" h="888">
                  <a:moveTo>
                    <a:pt x="57" y="0"/>
                  </a:moveTo>
                  <a:cubicBezTo>
                    <a:pt x="57" y="0"/>
                    <a:pt x="57" y="0"/>
                    <a:pt x="57" y="889"/>
                  </a:cubicBezTo>
                  <a:lnTo>
                    <a:pt x="57" y="889"/>
                  </a:lnTo>
                  <a:cubicBezTo>
                    <a:pt x="-19" y="597"/>
                    <a:pt x="-19" y="292"/>
                    <a:pt x="57" y="0"/>
                  </a:cubicBezTo>
                  <a:close/>
                </a:path>
              </a:pathLst>
            </a:custGeom>
            <a:solidFill>
              <a:srgbClr val="000000"/>
            </a:solidFill>
            <a:ln w="12690"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C5C8BA98-FDFF-490F-BDE3-0227EC2FADED}"/>
                </a:ext>
              </a:extLst>
            </p:cNvPr>
            <p:cNvSpPr/>
            <p:nvPr/>
          </p:nvSpPr>
          <p:spPr>
            <a:xfrm>
              <a:off x="884175" y="171150"/>
              <a:ext cx="8919" cy="604490"/>
            </a:xfrm>
            <a:custGeom>
              <a:avLst/>
              <a:gdLst>
                <a:gd name="connsiteX0" fmla="*/ 3713 w 8919"/>
                <a:gd name="connsiteY0" fmla="*/ 603347 h 604490"/>
                <a:gd name="connsiteX1" fmla="*/ 5237 w 8919"/>
                <a:gd name="connsiteY1" fmla="*/ 603347 h 604490"/>
                <a:gd name="connsiteX2" fmla="*/ 8919 w 8919"/>
                <a:gd name="connsiteY2" fmla="*/ 604490 h 604490"/>
                <a:gd name="connsiteX3" fmla="*/ 8919 w 8919"/>
                <a:gd name="connsiteY3" fmla="*/ 5714 h 604490"/>
                <a:gd name="connsiteX4" fmla="*/ 1809 w 8919"/>
                <a:gd name="connsiteY4" fmla="*/ 3555 h 604490"/>
                <a:gd name="connsiteX5" fmla="*/ 1809 w 8919"/>
                <a:gd name="connsiteY5" fmla="*/ 3555 h 604490"/>
                <a:gd name="connsiteX6" fmla="*/ 1047 w 8919"/>
                <a:gd name="connsiteY6" fmla="*/ 3555 h 604490"/>
                <a:gd name="connsiteX7" fmla="*/ 31 w 8919"/>
                <a:gd name="connsiteY7" fmla="*/ 2793 h 604490"/>
                <a:gd name="connsiteX8" fmla="*/ 31 w 8919"/>
                <a:gd name="connsiteY8" fmla="*/ 2793 h 604490"/>
                <a:gd name="connsiteX9" fmla="*/ 31 w 8919"/>
                <a:gd name="connsiteY9" fmla="*/ 2793 h 604490"/>
                <a:gd name="connsiteX10" fmla="*/ 31 w 8919"/>
                <a:gd name="connsiteY10" fmla="*/ 1905 h 604490"/>
                <a:gd name="connsiteX11" fmla="*/ 31 w 8919"/>
                <a:gd name="connsiteY11" fmla="*/ 1016 h 604490"/>
                <a:gd name="connsiteX12" fmla="*/ 31 w 8919"/>
                <a:gd name="connsiteY12" fmla="*/ 0 h 604490"/>
                <a:gd name="connsiteX13" fmla="*/ 31 w 8919"/>
                <a:gd name="connsiteY13" fmla="*/ 0 h 604490"/>
                <a:gd name="connsiteX14" fmla="*/ 31 w 8919"/>
                <a:gd name="connsiteY14" fmla="*/ 603347 h 604490"/>
                <a:gd name="connsiteX15" fmla="*/ 3713 w 8919"/>
                <a:gd name="connsiteY15" fmla="*/ 603347 h 60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19" h="604490">
                  <a:moveTo>
                    <a:pt x="3713" y="603347"/>
                  </a:moveTo>
                  <a:cubicBezTo>
                    <a:pt x="4214" y="603224"/>
                    <a:pt x="4737" y="603224"/>
                    <a:pt x="5237" y="603347"/>
                  </a:cubicBezTo>
                  <a:lnTo>
                    <a:pt x="8919" y="604490"/>
                  </a:lnTo>
                  <a:lnTo>
                    <a:pt x="8919" y="5714"/>
                  </a:lnTo>
                  <a:lnTo>
                    <a:pt x="1809" y="3555"/>
                  </a:lnTo>
                  <a:lnTo>
                    <a:pt x="1809" y="3555"/>
                  </a:lnTo>
                  <a:lnTo>
                    <a:pt x="1047" y="3555"/>
                  </a:lnTo>
                  <a:lnTo>
                    <a:pt x="31" y="2793"/>
                  </a:lnTo>
                  <a:lnTo>
                    <a:pt x="31" y="2793"/>
                  </a:lnTo>
                  <a:lnTo>
                    <a:pt x="31" y="2793"/>
                  </a:lnTo>
                  <a:cubicBezTo>
                    <a:pt x="-10" y="2499"/>
                    <a:pt x="-10" y="2199"/>
                    <a:pt x="31" y="1905"/>
                  </a:cubicBezTo>
                  <a:lnTo>
                    <a:pt x="31" y="1016"/>
                  </a:lnTo>
                  <a:cubicBezTo>
                    <a:pt x="31" y="1016"/>
                    <a:pt x="31" y="381"/>
                    <a:pt x="31" y="0"/>
                  </a:cubicBezTo>
                  <a:lnTo>
                    <a:pt x="31" y="0"/>
                  </a:lnTo>
                  <a:lnTo>
                    <a:pt x="31" y="603347"/>
                  </a:lnTo>
                  <a:cubicBezTo>
                    <a:pt x="1226" y="602950"/>
                    <a:pt x="2519" y="602950"/>
                    <a:pt x="3713" y="603347"/>
                  </a:cubicBezTo>
                  <a:close/>
                </a:path>
              </a:pathLst>
            </a:custGeom>
            <a:solidFill>
              <a:srgbClr val="000000"/>
            </a:solidFill>
            <a:ln w="12690"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81711803-BE0B-4C03-AAC9-2BE325FD56E9}"/>
                </a:ext>
              </a:extLst>
            </p:cNvPr>
            <p:cNvSpPr/>
            <p:nvPr/>
          </p:nvSpPr>
          <p:spPr>
            <a:xfrm>
              <a:off x="883952" y="1664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E07E367A-2483-457A-8432-F51D5E422D2C}"/>
                </a:ext>
              </a:extLst>
            </p:cNvPr>
            <p:cNvSpPr/>
            <p:nvPr/>
          </p:nvSpPr>
          <p:spPr>
            <a:xfrm>
              <a:off x="882810" y="16797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93A8FEA2-7F23-4CB1-93A5-4B7F028697FA}"/>
                </a:ext>
              </a:extLst>
            </p:cNvPr>
            <p:cNvSpPr/>
            <p:nvPr/>
          </p:nvSpPr>
          <p:spPr>
            <a:xfrm>
              <a:off x="4477915" y="1259385"/>
              <a:ext cx="10539" cy="623865"/>
            </a:xfrm>
            <a:custGeom>
              <a:avLst/>
              <a:gdLst>
                <a:gd name="connsiteX0" fmla="*/ 6095 w 10539"/>
                <a:gd name="connsiteY0" fmla="*/ 623789 h 623865"/>
                <a:gd name="connsiteX1" fmla="*/ 8888 w 10539"/>
                <a:gd name="connsiteY1" fmla="*/ 622900 h 623865"/>
                <a:gd name="connsiteX2" fmla="*/ 8888 w 10539"/>
                <a:gd name="connsiteY2" fmla="*/ 622900 h 623865"/>
                <a:gd name="connsiteX3" fmla="*/ 8888 w 10539"/>
                <a:gd name="connsiteY3" fmla="*/ 622900 h 623865"/>
                <a:gd name="connsiteX4" fmla="*/ 10539 w 10539"/>
                <a:gd name="connsiteY4" fmla="*/ 620869 h 623865"/>
                <a:gd name="connsiteX5" fmla="*/ 10539 w 10539"/>
                <a:gd name="connsiteY5" fmla="*/ 619980 h 623865"/>
                <a:gd name="connsiteX6" fmla="*/ 10539 w 10539"/>
                <a:gd name="connsiteY6" fmla="*/ 619218 h 623865"/>
                <a:gd name="connsiteX7" fmla="*/ 10539 w 10539"/>
                <a:gd name="connsiteY7" fmla="*/ 0 h 623865"/>
                <a:gd name="connsiteX8" fmla="*/ 8761 w 10539"/>
                <a:gd name="connsiteY8" fmla="*/ 1524 h 623865"/>
                <a:gd name="connsiteX9" fmla="*/ 8761 w 10539"/>
                <a:gd name="connsiteY9" fmla="*/ 1524 h 623865"/>
                <a:gd name="connsiteX10" fmla="*/ 7111 w 10539"/>
                <a:gd name="connsiteY10" fmla="*/ 2285 h 623865"/>
                <a:gd name="connsiteX11" fmla="*/ 5333 w 10539"/>
                <a:gd name="connsiteY11" fmla="*/ 2285 h 623865"/>
                <a:gd name="connsiteX12" fmla="*/ 3683 w 10539"/>
                <a:gd name="connsiteY12" fmla="*/ 2285 h 623865"/>
                <a:gd name="connsiteX13" fmla="*/ 0 w 10539"/>
                <a:gd name="connsiteY13" fmla="*/ 1143 h 623865"/>
                <a:gd name="connsiteX14" fmla="*/ 0 w 10539"/>
                <a:gd name="connsiteY14" fmla="*/ 618583 h 623865"/>
                <a:gd name="connsiteX15" fmla="*/ 5130 w 10539"/>
                <a:gd name="connsiteY15" fmla="*/ 623865 h 623865"/>
                <a:gd name="connsiteX16" fmla="*/ 6095 w 10539"/>
                <a:gd name="connsiteY16" fmla="*/ 623789 h 62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39" h="623865">
                  <a:moveTo>
                    <a:pt x="6095" y="623789"/>
                  </a:moveTo>
                  <a:cubicBezTo>
                    <a:pt x="7098" y="623789"/>
                    <a:pt x="8076" y="623484"/>
                    <a:pt x="8888" y="622900"/>
                  </a:cubicBezTo>
                  <a:lnTo>
                    <a:pt x="8888" y="622900"/>
                  </a:lnTo>
                  <a:lnTo>
                    <a:pt x="8888" y="622900"/>
                  </a:lnTo>
                  <a:cubicBezTo>
                    <a:pt x="9637" y="622405"/>
                    <a:pt x="10209" y="621707"/>
                    <a:pt x="10539" y="620869"/>
                  </a:cubicBezTo>
                  <a:cubicBezTo>
                    <a:pt x="10539" y="620869"/>
                    <a:pt x="10539" y="620234"/>
                    <a:pt x="10539" y="619980"/>
                  </a:cubicBezTo>
                  <a:cubicBezTo>
                    <a:pt x="10539" y="619726"/>
                    <a:pt x="10539" y="619980"/>
                    <a:pt x="10539" y="619218"/>
                  </a:cubicBezTo>
                  <a:lnTo>
                    <a:pt x="10539" y="0"/>
                  </a:lnTo>
                  <a:lnTo>
                    <a:pt x="8761" y="1524"/>
                  </a:lnTo>
                  <a:lnTo>
                    <a:pt x="8761" y="1524"/>
                  </a:lnTo>
                  <a:cubicBezTo>
                    <a:pt x="8253" y="1852"/>
                    <a:pt x="7695" y="2109"/>
                    <a:pt x="7111" y="2285"/>
                  </a:cubicBezTo>
                  <a:cubicBezTo>
                    <a:pt x="6527" y="2416"/>
                    <a:pt x="5917" y="2416"/>
                    <a:pt x="5333" y="2285"/>
                  </a:cubicBezTo>
                  <a:lnTo>
                    <a:pt x="3683" y="2285"/>
                  </a:lnTo>
                  <a:lnTo>
                    <a:pt x="0" y="1143"/>
                  </a:lnTo>
                  <a:lnTo>
                    <a:pt x="0" y="618583"/>
                  </a:lnTo>
                  <a:cubicBezTo>
                    <a:pt x="-38" y="621453"/>
                    <a:pt x="2261" y="623827"/>
                    <a:pt x="5130" y="623865"/>
                  </a:cubicBezTo>
                  <a:cubicBezTo>
                    <a:pt x="5448" y="623865"/>
                    <a:pt x="5778" y="623840"/>
                    <a:pt x="6095" y="623789"/>
                  </a:cubicBezTo>
                  <a:close/>
                </a:path>
              </a:pathLst>
            </a:custGeom>
            <a:solidFill>
              <a:srgbClr val="000000"/>
            </a:solidFill>
            <a:ln w="12690"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44BFC53F-D49E-40F8-AE9E-C741412A7FC1}"/>
                </a:ext>
              </a:extLst>
            </p:cNvPr>
            <p:cNvSpPr/>
            <p:nvPr/>
          </p:nvSpPr>
          <p:spPr>
            <a:xfrm>
              <a:off x="882683" y="167976"/>
              <a:ext cx="12696" cy="1064"/>
            </a:xfrm>
            <a:custGeom>
              <a:avLst/>
              <a:gdLst>
                <a:gd name="connsiteX0" fmla="*/ 0 w 12696"/>
                <a:gd name="connsiteY0" fmla="*/ 254 h 1064"/>
                <a:gd name="connsiteX1" fmla="*/ 0 w 12696"/>
                <a:gd name="connsiteY1" fmla="*/ 254 h 1064"/>
                <a:gd name="connsiteX2" fmla="*/ 0 w 12696"/>
                <a:gd name="connsiteY2" fmla="*/ 889 h 1064"/>
                <a:gd name="connsiteX3" fmla="*/ 0 w 12696"/>
                <a:gd name="connsiteY3" fmla="*/ 0 h 1064"/>
              </a:gdLst>
              <a:ahLst/>
              <a:cxnLst>
                <a:cxn ang="0">
                  <a:pos x="connsiteX0" y="connsiteY0"/>
                </a:cxn>
                <a:cxn ang="0">
                  <a:pos x="connsiteX1" y="connsiteY1"/>
                </a:cxn>
                <a:cxn ang="0">
                  <a:pos x="connsiteX2" y="connsiteY2"/>
                </a:cxn>
                <a:cxn ang="0">
                  <a:pos x="connsiteX3" y="connsiteY3"/>
                </a:cxn>
              </a:cxnLst>
              <a:rect l="l" t="t" r="r" b="b"/>
              <a:pathLst>
                <a:path w="12696" h="1064">
                  <a:moveTo>
                    <a:pt x="0" y="254"/>
                  </a:moveTo>
                  <a:lnTo>
                    <a:pt x="0" y="254"/>
                  </a:lnTo>
                  <a:cubicBezTo>
                    <a:pt x="0" y="254"/>
                    <a:pt x="0" y="254"/>
                    <a:pt x="0" y="889"/>
                  </a:cubicBezTo>
                  <a:cubicBezTo>
                    <a:pt x="0" y="1524"/>
                    <a:pt x="0" y="254"/>
                    <a:pt x="0" y="0"/>
                  </a:cubicBezTo>
                  <a:close/>
                </a:path>
              </a:pathLst>
            </a:custGeom>
            <a:solidFill>
              <a:srgbClr val="000000"/>
            </a:solidFill>
            <a:ln w="12690"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21545F27-BDE7-4DDF-815D-891B4DC67B4C}"/>
                </a:ext>
              </a:extLst>
            </p:cNvPr>
            <p:cNvSpPr/>
            <p:nvPr/>
          </p:nvSpPr>
          <p:spPr>
            <a:xfrm>
              <a:off x="883825" y="165944"/>
              <a:ext cx="761" cy="761"/>
            </a:xfrm>
            <a:custGeom>
              <a:avLst/>
              <a:gdLst>
                <a:gd name="connsiteX0" fmla="*/ 0 w 761"/>
                <a:gd name="connsiteY0" fmla="*/ 762 h 761"/>
                <a:gd name="connsiteX1" fmla="*/ 0 w 761"/>
                <a:gd name="connsiteY1" fmla="*/ 762 h 761"/>
                <a:gd name="connsiteX2" fmla="*/ 762 w 761"/>
                <a:gd name="connsiteY2" fmla="*/ 0 h 761"/>
              </a:gdLst>
              <a:ahLst/>
              <a:cxnLst>
                <a:cxn ang="0">
                  <a:pos x="connsiteX0" y="connsiteY0"/>
                </a:cxn>
                <a:cxn ang="0">
                  <a:pos x="connsiteX1" y="connsiteY1"/>
                </a:cxn>
                <a:cxn ang="0">
                  <a:pos x="connsiteX2" y="connsiteY2"/>
                </a:cxn>
              </a:cxnLst>
              <a:rect l="l" t="t" r="r" b="b"/>
              <a:pathLst>
                <a:path w="761" h="761">
                  <a:moveTo>
                    <a:pt x="0" y="762"/>
                  </a:moveTo>
                  <a:lnTo>
                    <a:pt x="0" y="762"/>
                  </a:lnTo>
                  <a:lnTo>
                    <a:pt x="762" y="0"/>
                  </a:lnTo>
                  <a:close/>
                </a:path>
              </a:pathLst>
            </a:custGeom>
            <a:solidFill>
              <a:srgbClr val="000000"/>
            </a:solidFill>
            <a:ln w="12690"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6805B8B5-BB93-4489-A12D-501CA6EC9FEF}"/>
                </a:ext>
              </a:extLst>
            </p:cNvPr>
            <p:cNvSpPr/>
            <p:nvPr/>
          </p:nvSpPr>
          <p:spPr>
            <a:xfrm>
              <a:off x="885730" y="167976"/>
              <a:ext cx="3597899" cy="1093948"/>
            </a:xfrm>
            <a:custGeom>
              <a:avLst/>
              <a:gdLst>
                <a:gd name="connsiteX0" fmla="*/ 3596249 w 3597899"/>
                <a:gd name="connsiteY0" fmla="*/ 1093948 h 1093948"/>
                <a:gd name="connsiteX1" fmla="*/ 3597899 w 3597899"/>
                <a:gd name="connsiteY1" fmla="*/ 1093948 h 1093948"/>
                <a:gd name="connsiteX2" fmla="*/ 3593963 w 3597899"/>
                <a:gd name="connsiteY2" fmla="*/ 1092298 h 1093948"/>
                <a:gd name="connsiteX3" fmla="*/ 3593418 w 3597899"/>
                <a:gd name="connsiteY3" fmla="*/ 1085857 h 1093948"/>
                <a:gd name="connsiteX4" fmla="*/ 3593963 w 3597899"/>
                <a:gd name="connsiteY4" fmla="*/ 1085314 h 1093948"/>
                <a:gd name="connsiteX5" fmla="*/ 3596249 w 3597899"/>
                <a:gd name="connsiteY5" fmla="*/ 1083410 h 1093948"/>
                <a:gd name="connsiteX6" fmla="*/ 12443 w 3597899"/>
                <a:gd name="connsiteY6" fmla="*/ 0 h 1093948"/>
                <a:gd name="connsiteX7" fmla="*/ 5587 w 3597899"/>
                <a:gd name="connsiteY7" fmla="*/ 5714 h 1093948"/>
                <a:gd name="connsiteX8" fmla="*/ 1905 w 3597899"/>
                <a:gd name="connsiteY8" fmla="*/ 6983 h 1093948"/>
                <a:gd name="connsiteX9" fmla="*/ 0 w 3597899"/>
                <a:gd name="connsiteY9" fmla="*/ 6983 h 1093948"/>
                <a:gd name="connsiteX10" fmla="*/ 0 w 3597899"/>
                <a:gd name="connsiteY10" fmla="*/ 6983 h 1093948"/>
                <a:gd name="connsiteX11" fmla="*/ 7110 w 3597899"/>
                <a:gd name="connsiteY11" fmla="*/ 9142 h 1093948"/>
                <a:gd name="connsiteX12" fmla="*/ 3592948 w 3597899"/>
                <a:gd name="connsiteY12" fmla="*/ 1092805 h 109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899" h="1093948">
                  <a:moveTo>
                    <a:pt x="3596249" y="1093948"/>
                  </a:moveTo>
                  <a:lnTo>
                    <a:pt x="3597899" y="1093948"/>
                  </a:lnTo>
                  <a:cubicBezTo>
                    <a:pt x="3596427" y="1093914"/>
                    <a:pt x="3595017" y="1093325"/>
                    <a:pt x="3593963" y="1092298"/>
                  </a:cubicBezTo>
                  <a:cubicBezTo>
                    <a:pt x="3592033" y="1090669"/>
                    <a:pt x="3591792" y="1087785"/>
                    <a:pt x="3593418" y="1085857"/>
                  </a:cubicBezTo>
                  <a:cubicBezTo>
                    <a:pt x="3593583" y="1085661"/>
                    <a:pt x="3593773" y="1085479"/>
                    <a:pt x="3593963" y="1085314"/>
                  </a:cubicBezTo>
                  <a:lnTo>
                    <a:pt x="3596249" y="1083410"/>
                  </a:lnTo>
                  <a:lnTo>
                    <a:pt x="12443" y="0"/>
                  </a:lnTo>
                  <a:lnTo>
                    <a:pt x="5587" y="5714"/>
                  </a:lnTo>
                  <a:cubicBezTo>
                    <a:pt x="4531" y="6529"/>
                    <a:pt x="3238" y="6974"/>
                    <a:pt x="1905" y="6983"/>
                  </a:cubicBezTo>
                  <a:lnTo>
                    <a:pt x="0" y="6983"/>
                  </a:lnTo>
                  <a:lnTo>
                    <a:pt x="0" y="6983"/>
                  </a:lnTo>
                  <a:lnTo>
                    <a:pt x="7110" y="9142"/>
                  </a:lnTo>
                  <a:lnTo>
                    <a:pt x="3592948" y="1092805"/>
                  </a:lnTo>
                  <a:close/>
                </a:path>
              </a:pathLst>
            </a:custGeom>
            <a:solidFill>
              <a:srgbClr val="000000"/>
            </a:solidFill>
            <a:ln w="12690"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C7882B6E-6268-4853-8A62-BFDDD0966D82}"/>
                </a:ext>
              </a:extLst>
            </p:cNvPr>
            <p:cNvSpPr/>
            <p:nvPr/>
          </p:nvSpPr>
          <p:spPr>
            <a:xfrm>
              <a:off x="882397" y="-1"/>
              <a:ext cx="222225" cy="173563"/>
            </a:xfrm>
            <a:custGeom>
              <a:avLst/>
              <a:gdLst>
                <a:gd name="connsiteX0" fmla="*/ 31 w 222225"/>
                <a:gd name="connsiteY0" fmla="*/ 171025 h 173563"/>
                <a:gd name="connsiteX1" fmla="*/ 31 w 222225"/>
                <a:gd name="connsiteY1" fmla="*/ 171913 h 173563"/>
                <a:gd name="connsiteX2" fmla="*/ 31 w 222225"/>
                <a:gd name="connsiteY2" fmla="*/ 172802 h 173563"/>
                <a:gd name="connsiteX3" fmla="*/ 31 w 222225"/>
                <a:gd name="connsiteY3" fmla="*/ 172802 h 173563"/>
                <a:gd name="connsiteX4" fmla="*/ 31 w 222225"/>
                <a:gd name="connsiteY4" fmla="*/ 172802 h 173563"/>
                <a:gd name="connsiteX5" fmla="*/ 1047 w 222225"/>
                <a:gd name="connsiteY5" fmla="*/ 173564 h 173563"/>
                <a:gd name="connsiteX6" fmla="*/ 1809 w 222225"/>
                <a:gd name="connsiteY6" fmla="*/ 173564 h 173563"/>
                <a:gd name="connsiteX7" fmla="*/ 3714 w 222225"/>
                <a:gd name="connsiteY7" fmla="*/ 173564 h 173563"/>
                <a:gd name="connsiteX8" fmla="*/ 7396 w 222225"/>
                <a:gd name="connsiteY8" fmla="*/ 172294 h 173563"/>
                <a:gd name="connsiteX9" fmla="*/ 14252 w 222225"/>
                <a:gd name="connsiteY9" fmla="*/ 166581 h 173563"/>
                <a:gd name="connsiteX10" fmla="*/ 222226 w 222225"/>
                <a:gd name="connsiteY10" fmla="*/ 0 h 173563"/>
                <a:gd name="connsiteX11" fmla="*/ 206228 w 222225"/>
                <a:gd name="connsiteY11" fmla="*/ 0 h 173563"/>
                <a:gd name="connsiteX12" fmla="*/ 1682 w 222225"/>
                <a:gd name="connsiteY12" fmla="*/ 166327 h 173563"/>
                <a:gd name="connsiteX13" fmla="*/ 1682 w 222225"/>
                <a:gd name="connsiteY13" fmla="*/ 166327 h 173563"/>
                <a:gd name="connsiteX14" fmla="*/ 920 w 222225"/>
                <a:gd name="connsiteY14" fmla="*/ 167089 h 173563"/>
                <a:gd name="connsiteX15" fmla="*/ 920 w 222225"/>
                <a:gd name="connsiteY15" fmla="*/ 167723 h 173563"/>
                <a:gd name="connsiteX16" fmla="*/ 920 w 222225"/>
                <a:gd name="connsiteY16" fmla="*/ 167723 h 173563"/>
                <a:gd name="connsiteX17" fmla="*/ 920 w 222225"/>
                <a:gd name="connsiteY17" fmla="*/ 168612 h 173563"/>
                <a:gd name="connsiteX18" fmla="*/ 920 w 222225"/>
                <a:gd name="connsiteY18" fmla="*/ 169374 h 173563"/>
                <a:gd name="connsiteX19" fmla="*/ 920 w 222225"/>
                <a:gd name="connsiteY19" fmla="*/ 169374 h 173563"/>
                <a:gd name="connsiteX20" fmla="*/ 31 w 222225"/>
                <a:gd name="connsiteY20" fmla="*/ 171025 h 17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225" h="173563">
                  <a:moveTo>
                    <a:pt x="31" y="171025"/>
                  </a:moveTo>
                  <a:lnTo>
                    <a:pt x="31" y="171913"/>
                  </a:lnTo>
                  <a:cubicBezTo>
                    <a:pt x="-10" y="172208"/>
                    <a:pt x="-10" y="172508"/>
                    <a:pt x="31" y="172802"/>
                  </a:cubicBezTo>
                  <a:lnTo>
                    <a:pt x="31" y="172802"/>
                  </a:lnTo>
                  <a:lnTo>
                    <a:pt x="31" y="172802"/>
                  </a:lnTo>
                  <a:lnTo>
                    <a:pt x="1047" y="173564"/>
                  </a:lnTo>
                  <a:lnTo>
                    <a:pt x="1809" y="173564"/>
                  </a:lnTo>
                  <a:lnTo>
                    <a:pt x="3714" y="173564"/>
                  </a:lnTo>
                  <a:cubicBezTo>
                    <a:pt x="5047" y="173555"/>
                    <a:pt x="6341" y="173109"/>
                    <a:pt x="7396" y="172294"/>
                  </a:cubicBezTo>
                  <a:lnTo>
                    <a:pt x="14252" y="166581"/>
                  </a:lnTo>
                  <a:lnTo>
                    <a:pt x="222226" y="0"/>
                  </a:lnTo>
                  <a:lnTo>
                    <a:pt x="206228" y="0"/>
                  </a:lnTo>
                  <a:lnTo>
                    <a:pt x="1682" y="166327"/>
                  </a:lnTo>
                  <a:lnTo>
                    <a:pt x="1682" y="166327"/>
                  </a:lnTo>
                  <a:lnTo>
                    <a:pt x="920" y="167089"/>
                  </a:lnTo>
                  <a:lnTo>
                    <a:pt x="920" y="167723"/>
                  </a:lnTo>
                  <a:lnTo>
                    <a:pt x="920" y="167723"/>
                  </a:lnTo>
                  <a:cubicBezTo>
                    <a:pt x="920" y="167723"/>
                    <a:pt x="920" y="168358"/>
                    <a:pt x="920" y="168612"/>
                  </a:cubicBezTo>
                  <a:cubicBezTo>
                    <a:pt x="920" y="168866"/>
                    <a:pt x="920" y="168612"/>
                    <a:pt x="920" y="169374"/>
                  </a:cubicBezTo>
                  <a:lnTo>
                    <a:pt x="920" y="169374"/>
                  </a:lnTo>
                  <a:cubicBezTo>
                    <a:pt x="920" y="169374"/>
                    <a:pt x="31" y="170644"/>
                    <a:pt x="31" y="171025"/>
                  </a:cubicBezTo>
                  <a:close/>
                </a:path>
              </a:pathLst>
            </a:custGeom>
            <a:solidFill>
              <a:srgbClr val="000000"/>
            </a:solidFill>
            <a:ln w="12690"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94685CB2-E0BB-43F2-9A86-7B01477F9E50}"/>
                </a:ext>
              </a:extLst>
            </p:cNvPr>
            <p:cNvSpPr/>
            <p:nvPr/>
          </p:nvSpPr>
          <p:spPr>
            <a:xfrm>
              <a:off x="4478631" y="1037700"/>
              <a:ext cx="272901" cy="224575"/>
            </a:xfrm>
            <a:custGeom>
              <a:avLst/>
              <a:gdLst>
                <a:gd name="connsiteX0" fmla="*/ 1443 w 272901"/>
                <a:gd name="connsiteY0" fmla="*/ 222827 h 224575"/>
                <a:gd name="connsiteX1" fmla="*/ 5379 w 272901"/>
                <a:gd name="connsiteY1" fmla="*/ 224478 h 224575"/>
                <a:gd name="connsiteX2" fmla="*/ 7157 w 272901"/>
                <a:gd name="connsiteY2" fmla="*/ 224478 h 224575"/>
                <a:gd name="connsiteX3" fmla="*/ 8807 w 272901"/>
                <a:gd name="connsiteY3" fmla="*/ 223716 h 224575"/>
                <a:gd name="connsiteX4" fmla="*/ 8807 w 272901"/>
                <a:gd name="connsiteY4" fmla="*/ 223716 h 224575"/>
                <a:gd name="connsiteX5" fmla="*/ 10585 w 272901"/>
                <a:gd name="connsiteY5" fmla="*/ 222192 h 224575"/>
                <a:gd name="connsiteX6" fmla="*/ 272902 w 272901"/>
                <a:gd name="connsiteY6" fmla="*/ 8888 h 224575"/>
                <a:gd name="connsiteX7" fmla="*/ 272902 w 272901"/>
                <a:gd name="connsiteY7" fmla="*/ 1524 h 224575"/>
                <a:gd name="connsiteX8" fmla="*/ 267696 w 272901"/>
                <a:gd name="connsiteY8" fmla="*/ 0 h 224575"/>
                <a:gd name="connsiteX9" fmla="*/ 4110 w 272901"/>
                <a:gd name="connsiteY9" fmla="*/ 213939 h 224575"/>
                <a:gd name="connsiteX10" fmla="*/ 1824 w 272901"/>
                <a:gd name="connsiteY10" fmla="*/ 215844 h 224575"/>
                <a:gd name="connsiteX11" fmla="*/ 923 w 272901"/>
                <a:gd name="connsiteY11" fmla="*/ 222244 h 224575"/>
                <a:gd name="connsiteX12" fmla="*/ 1443 w 272901"/>
                <a:gd name="connsiteY12" fmla="*/ 222827 h 22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01" h="224575">
                  <a:moveTo>
                    <a:pt x="1443" y="222827"/>
                  </a:moveTo>
                  <a:cubicBezTo>
                    <a:pt x="2497" y="223854"/>
                    <a:pt x="3907" y="224443"/>
                    <a:pt x="5379" y="224478"/>
                  </a:cubicBezTo>
                  <a:cubicBezTo>
                    <a:pt x="5963" y="224609"/>
                    <a:pt x="6573" y="224609"/>
                    <a:pt x="7157" y="224478"/>
                  </a:cubicBezTo>
                  <a:cubicBezTo>
                    <a:pt x="7741" y="224301"/>
                    <a:pt x="8300" y="224045"/>
                    <a:pt x="8807" y="223716"/>
                  </a:cubicBezTo>
                  <a:lnTo>
                    <a:pt x="8807" y="223716"/>
                  </a:lnTo>
                  <a:lnTo>
                    <a:pt x="10585" y="222192"/>
                  </a:lnTo>
                  <a:lnTo>
                    <a:pt x="272902" y="8888"/>
                  </a:lnTo>
                  <a:lnTo>
                    <a:pt x="272902" y="1524"/>
                  </a:lnTo>
                  <a:lnTo>
                    <a:pt x="267696" y="0"/>
                  </a:lnTo>
                  <a:lnTo>
                    <a:pt x="4110" y="213939"/>
                  </a:lnTo>
                  <a:lnTo>
                    <a:pt x="1824" y="215844"/>
                  </a:lnTo>
                  <a:cubicBezTo>
                    <a:pt x="-195" y="217362"/>
                    <a:pt x="-601" y="220228"/>
                    <a:pt x="923" y="222244"/>
                  </a:cubicBezTo>
                  <a:cubicBezTo>
                    <a:pt x="1075" y="222454"/>
                    <a:pt x="1253" y="222648"/>
                    <a:pt x="1443" y="222827"/>
                  </a:cubicBezTo>
                  <a:close/>
                </a:path>
              </a:pathLst>
            </a:custGeom>
            <a:solidFill>
              <a:srgbClr val="000000"/>
            </a:solidFill>
            <a:ln w="12690"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12516173-86F5-44BF-891F-9EC604600F62}"/>
                </a:ext>
              </a:extLst>
            </p:cNvPr>
            <p:cNvSpPr/>
            <p:nvPr/>
          </p:nvSpPr>
          <p:spPr>
            <a:xfrm>
              <a:off x="8944659" y="2459858"/>
              <a:ext cx="389665" cy="125316"/>
            </a:xfrm>
            <a:custGeom>
              <a:avLst/>
              <a:gdLst>
                <a:gd name="connsiteX0" fmla="*/ 0 w 389665"/>
                <a:gd name="connsiteY0" fmla="*/ 10411 h 125316"/>
                <a:gd name="connsiteX1" fmla="*/ 380397 w 389665"/>
                <a:gd name="connsiteY1" fmla="*/ 125316 h 125316"/>
                <a:gd name="connsiteX2" fmla="*/ 387380 w 389665"/>
                <a:gd name="connsiteY2" fmla="*/ 119730 h 125316"/>
                <a:gd name="connsiteX3" fmla="*/ 387380 w 389665"/>
                <a:gd name="connsiteY3" fmla="*/ 119730 h 125316"/>
                <a:gd name="connsiteX4" fmla="*/ 387380 w 389665"/>
                <a:gd name="connsiteY4" fmla="*/ 119730 h 125316"/>
                <a:gd name="connsiteX5" fmla="*/ 389666 w 389665"/>
                <a:gd name="connsiteY5" fmla="*/ 117825 h 125316"/>
                <a:gd name="connsiteX6" fmla="*/ 0 w 389665"/>
                <a:gd name="connsiteY6" fmla="*/ 0 h 125316"/>
                <a:gd name="connsiteX7" fmla="*/ 0 w 389665"/>
                <a:gd name="connsiteY7" fmla="*/ 3555 h 125316"/>
                <a:gd name="connsiteX8" fmla="*/ 0 w 389665"/>
                <a:gd name="connsiteY8" fmla="*/ 10411 h 12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665" h="125316">
                  <a:moveTo>
                    <a:pt x="0" y="10411"/>
                  </a:moveTo>
                  <a:lnTo>
                    <a:pt x="380397" y="125316"/>
                  </a:lnTo>
                  <a:lnTo>
                    <a:pt x="387380" y="119730"/>
                  </a:lnTo>
                  <a:lnTo>
                    <a:pt x="387380" y="119730"/>
                  </a:lnTo>
                  <a:lnTo>
                    <a:pt x="387380" y="119730"/>
                  </a:lnTo>
                  <a:lnTo>
                    <a:pt x="389666" y="117825"/>
                  </a:lnTo>
                  <a:lnTo>
                    <a:pt x="0" y="0"/>
                  </a:lnTo>
                  <a:lnTo>
                    <a:pt x="0" y="3555"/>
                  </a:lnTo>
                  <a:lnTo>
                    <a:pt x="0" y="10411"/>
                  </a:lnTo>
                  <a:close/>
                </a:path>
              </a:pathLst>
            </a:custGeom>
            <a:solidFill>
              <a:srgbClr val="000000"/>
            </a:solidFill>
            <a:ln w="12690"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51FDC83A-FE4B-4ED9-81C4-20321E200B54}"/>
                </a:ext>
              </a:extLst>
            </p:cNvPr>
            <p:cNvSpPr/>
            <p:nvPr/>
          </p:nvSpPr>
          <p:spPr>
            <a:xfrm>
              <a:off x="7755220" y="1690184"/>
              <a:ext cx="12696" cy="761"/>
            </a:xfrm>
            <a:custGeom>
              <a:avLst/>
              <a:gdLst>
                <a:gd name="connsiteX0" fmla="*/ 0 w 12696"/>
                <a:gd name="connsiteY0" fmla="*/ 0 h 761"/>
                <a:gd name="connsiteX1" fmla="*/ 0 w 12696"/>
                <a:gd name="connsiteY1" fmla="*/ 762 h 761"/>
                <a:gd name="connsiteX2" fmla="*/ 0 w 12696"/>
                <a:gd name="connsiteY2" fmla="*/ 127 h 761"/>
              </a:gdLst>
              <a:ahLst/>
              <a:cxnLst>
                <a:cxn ang="0">
                  <a:pos x="connsiteX0" y="connsiteY0"/>
                </a:cxn>
                <a:cxn ang="0">
                  <a:pos x="connsiteX1" y="connsiteY1"/>
                </a:cxn>
                <a:cxn ang="0">
                  <a:pos x="connsiteX2" y="connsiteY2"/>
                </a:cxn>
              </a:cxnLst>
              <a:rect l="l" t="t" r="r" b="b"/>
              <a:pathLst>
                <a:path w="12696" h="761">
                  <a:moveTo>
                    <a:pt x="0" y="0"/>
                  </a:moveTo>
                  <a:lnTo>
                    <a:pt x="0" y="762"/>
                  </a:lnTo>
                  <a:lnTo>
                    <a:pt x="0" y="127"/>
                  </a:lnTo>
                  <a:close/>
                </a:path>
              </a:pathLst>
            </a:custGeom>
            <a:solidFill>
              <a:srgbClr val="000000"/>
            </a:solidFill>
            <a:ln w="12690"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6B99D9C7-BC97-4C8F-8DF2-8C03699ADE18}"/>
                </a:ext>
              </a:extLst>
            </p:cNvPr>
            <p:cNvSpPr/>
            <p:nvPr/>
          </p:nvSpPr>
          <p:spPr>
            <a:xfrm>
              <a:off x="7755319" y="1693626"/>
              <a:ext cx="9678" cy="245540"/>
            </a:xfrm>
            <a:custGeom>
              <a:avLst/>
              <a:gdLst>
                <a:gd name="connsiteX0" fmla="*/ 9678 w 9678"/>
                <a:gd name="connsiteY0" fmla="*/ 245540 h 245540"/>
                <a:gd name="connsiteX1" fmla="*/ 9678 w 9678"/>
                <a:gd name="connsiteY1" fmla="*/ 5953 h 245540"/>
                <a:gd name="connsiteX2" fmla="*/ 2568 w 9678"/>
                <a:gd name="connsiteY2" fmla="*/ 3795 h 245540"/>
                <a:gd name="connsiteX3" fmla="*/ 2568 w 9678"/>
                <a:gd name="connsiteY3" fmla="*/ 3795 h 245540"/>
                <a:gd name="connsiteX4" fmla="*/ 1425 w 9678"/>
                <a:gd name="connsiteY4" fmla="*/ 3795 h 245540"/>
                <a:gd name="connsiteX5" fmla="*/ 663 w 9678"/>
                <a:gd name="connsiteY5" fmla="*/ 3795 h 245540"/>
                <a:gd name="connsiteX6" fmla="*/ 663 w 9678"/>
                <a:gd name="connsiteY6" fmla="*/ 3795 h 245540"/>
                <a:gd name="connsiteX7" fmla="*/ 663 w 9678"/>
                <a:gd name="connsiteY7" fmla="*/ 3795 h 245540"/>
                <a:gd name="connsiteX8" fmla="*/ 28 w 9678"/>
                <a:gd name="connsiteY8" fmla="*/ 2906 h 245540"/>
                <a:gd name="connsiteX9" fmla="*/ 28 w 9678"/>
                <a:gd name="connsiteY9" fmla="*/ 1890 h 245540"/>
                <a:gd name="connsiteX10" fmla="*/ 28 w 9678"/>
                <a:gd name="connsiteY10" fmla="*/ 1002 h 245540"/>
                <a:gd name="connsiteX11" fmla="*/ 28 w 9678"/>
                <a:gd name="connsiteY11" fmla="*/ 113 h 245540"/>
                <a:gd name="connsiteX12" fmla="*/ 28 w 9678"/>
                <a:gd name="connsiteY12" fmla="*/ 113 h 245540"/>
                <a:gd name="connsiteX13" fmla="*/ 28 w 9678"/>
                <a:gd name="connsiteY13" fmla="*/ 243255 h 245540"/>
                <a:gd name="connsiteX14" fmla="*/ 7139 w 9678"/>
                <a:gd name="connsiteY14" fmla="*/ 245413 h 24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78" h="245540">
                  <a:moveTo>
                    <a:pt x="9678" y="245540"/>
                  </a:moveTo>
                  <a:lnTo>
                    <a:pt x="9678" y="5953"/>
                  </a:lnTo>
                  <a:lnTo>
                    <a:pt x="2568" y="3795"/>
                  </a:lnTo>
                  <a:lnTo>
                    <a:pt x="2568" y="3795"/>
                  </a:lnTo>
                  <a:lnTo>
                    <a:pt x="1425" y="3795"/>
                  </a:lnTo>
                  <a:lnTo>
                    <a:pt x="663" y="3795"/>
                  </a:lnTo>
                  <a:lnTo>
                    <a:pt x="663" y="3795"/>
                  </a:lnTo>
                  <a:cubicBezTo>
                    <a:pt x="663" y="3795"/>
                    <a:pt x="663" y="3795"/>
                    <a:pt x="663" y="3795"/>
                  </a:cubicBezTo>
                  <a:lnTo>
                    <a:pt x="28" y="2906"/>
                  </a:lnTo>
                  <a:cubicBezTo>
                    <a:pt x="-9" y="2563"/>
                    <a:pt x="-9" y="2233"/>
                    <a:pt x="28" y="1890"/>
                  </a:cubicBezTo>
                  <a:cubicBezTo>
                    <a:pt x="28" y="1890"/>
                    <a:pt x="28" y="1890"/>
                    <a:pt x="28" y="1002"/>
                  </a:cubicBezTo>
                  <a:cubicBezTo>
                    <a:pt x="28" y="113"/>
                    <a:pt x="28" y="367"/>
                    <a:pt x="28" y="113"/>
                  </a:cubicBezTo>
                  <a:cubicBezTo>
                    <a:pt x="28" y="-141"/>
                    <a:pt x="28" y="113"/>
                    <a:pt x="28" y="113"/>
                  </a:cubicBezTo>
                  <a:lnTo>
                    <a:pt x="28" y="243255"/>
                  </a:lnTo>
                  <a:lnTo>
                    <a:pt x="7139" y="245413"/>
                  </a:lnTo>
                  <a:close/>
                </a:path>
              </a:pathLst>
            </a:custGeom>
            <a:solidFill>
              <a:srgbClr val="000000"/>
            </a:solidFill>
            <a:ln w="12690"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B712C6C9-A458-48E4-9891-2088765C732B}"/>
                </a:ext>
              </a:extLst>
            </p:cNvPr>
            <p:cNvSpPr/>
            <p:nvPr/>
          </p:nvSpPr>
          <p:spPr>
            <a:xfrm>
              <a:off x="9719673" y="2288580"/>
              <a:ext cx="10791" cy="266630"/>
            </a:xfrm>
            <a:custGeom>
              <a:avLst/>
              <a:gdLst>
                <a:gd name="connsiteX0" fmla="*/ 0 w 10791"/>
                <a:gd name="connsiteY0" fmla="*/ 1651 h 266630"/>
                <a:gd name="connsiteX1" fmla="*/ 0 w 10791"/>
                <a:gd name="connsiteY1" fmla="*/ 263457 h 266630"/>
                <a:gd name="connsiteX2" fmla="*/ 7110 w 10791"/>
                <a:gd name="connsiteY2" fmla="*/ 265615 h 266630"/>
                <a:gd name="connsiteX3" fmla="*/ 10792 w 10791"/>
                <a:gd name="connsiteY3" fmla="*/ 266631 h 266630"/>
                <a:gd name="connsiteX4" fmla="*/ 10792 w 10791"/>
                <a:gd name="connsiteY4" fmla="*/ 0 h 266630"/>
                <a:gd name="connsiteX5" fmla="*/ 9014 w 10791"/>
                <a:gd name="connsiteY5" fmla="*/ 1524 h 266630"/>
                <a:gd name="connsiteX6" fmla="*/ 9014 w 10791"/>
                <a:gd name="connsiteY6" fmla="*/ 1524 h 266630"/>
                <a:gd name="connsiteX7" fmla="*/ 5713 w 10791"/>
                <a:gd name="connsiteY7" fmla="*/ 2793 h 266630"/>
                <a:gd name="connsiteX8" fmla="*/ 3936 w 10791"/>
                <a:gd name="connsiteY8" fmla="*/ 2793 h 26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266630">
                  <a:moveTo>
                    <a:pt x="0" y="1651"/>
                  </a:moveTo>
                  <a:lnTo>
                    <a:pt x="0" y="263457"/>
                  </a:lnTo>
                  <a:lnTo>
                    <a:pt x="7110" y="265615"/>
                  </a:lnTo>
                  <a:lnTo>
                    <a:pt x="10792" y="266631"/>
                  </a:lnTo>
                  <a:lnTo>
                    <a:pt x="10792" y="0"/>
                  </a:lnTo>
                  <a:lnTo>
                    <a:pt x="9014" y="1524"/>
                  </a:lnTo>
                  <a:lnTo>
                    <a:pt x="9014" y="1524"/>
                  </a:lnTo>
                  <a:cubicBezTo>
                    <a:pt x="8101" y="2323"/>
                    <a:pt x="6932" y="2781"/>
                    <a:pt x="5713" y="2793"/>
                  </a:cubicBezTo>
                  <a:lnTo>
                    <a:pt x="3936" y="2793"/>
                  </a:lnTo>
                  <a:close/>
                </a:path>
              </a:pathLst>
            </a:custGeom>
            <a:solidFill>
              <a:srgbClr val="000000"/>
            </a:solidFill>
            <a:ln w="12690"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05E8986B-522F-49A8-9C58-55BB1F327097}"/>
                </a:ext>
              </a:extLst>
            </p:cNvPr>
            <p:cNvSpPr/>
            <p:nvPr/>
          </p:nvSpPr>
          <p:spPr>
            <a:xfrm>
              <a:off x="0" y="-1"/>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4CAF642E-9184-495D-84CE-DD52F58C703D}"/>
                </a:ext>
              </a:extLst>
            </p:cNvPr>
            <p:cNvSpPr/>
            <p:nvPr/>
          </p:nvSpPr>
          <p:spPr>
            <a:xfrm>
              <a:off x="7755582" y="1689422"/>
              <a:ext cx="19" cy="761"/>
            </a:xfrm>
            <a:custGeom>
              <a:avLst/>
              <a:gdLst>
                <a:gd name="connsiteX0" fmla="*/ 19 w 19"/>
                <a:gd name="connsiteY0" fmla="*/ 0 h 761"/>
                <a:gd name="connsiteX1" fmla="*/ 19 w 19"/>
                <a:gd name="connsiteY1" fmla="*/ 762 h 761"/>
                <a:gd name="connsiteX2" fmla="*/ 19 w 19"/>
                <a:gd name="connsiteY2" fmla="*/ 762 h 761"/>
                <a:gd name="connsiteX3" fmla="*/ 19 w 19"/>
                <a:gd name="connsiteY3" fmla="*/ 0 h 761"/>
              </a:gdLst>
              <a:ahLst/>
              <a:cxnLst>
                <a:cxn ang="0">
                  <a:pos x="connsiteX0" y="connsiteY0"/>
                </a:cxn>
                <a:cxn ang="0">
                  <a:pos x="connsiteX1" y="connsiteY1"/>
                </a:cxn>
                <a:cxn ang="0">
                  <a:pos x="connsiteX2" y="connsiteY2"/>
                </a:cxn>
                <a:cxn ang="0">
                  <a:pos x="connsiteX3" y="connsiteY3"/>
                </a:cxn>
              </a:cxnLst>
              <a:rect l="l" t="t" r="r" b="b"/>
              <a:pathLst>
                <a:path w="19" h="761">
                  <a:moveTo>
                    <a:pt x="19" y="0"/>
                  </a:moveTo>
                  <a:lnTo>
                    <a:pt x="19" y="762"/>
                  </a:lnTo>
                  <a:lnTo>
                    <a:pt x="19" y="762"/>
                  </a:lnTo>
                  <a:cubicBezTo>
                    <a:pt x="-6" y="508"/>
                    <a:pt x="-6" y="254"/>
                    <a:pt x="19" y="0"/>
                  </a:cubicBezTo>
                  <a:close/>
                </a:path>
              </a:pathLst>
            </a:custGeom>
            <a:solidFill>
              <a:srgbClr val="000000"/>
            </a:solidFill>
            <a:ln w="12690"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8A899299-1724-4416-980F-04EA0BFD0437}"/>
                </a:ext>
              </a:extLst>
            </p:cNvPr>
            <p:cNvSpPr/>
            <p:nvPr/>
          </p:nvSpPr>
          <p:spPr>
            <a:xfrm>
              <a:off x="7757887" y="1690438"/>
              <a:ext cx="1967246" cy="600935"/>
            </a:xfrm>
            <a:custGeom>
              <a:avLst/>
              <a:gdLst>
                <a:gd name="connsiteX0" fmla="*/ 1965468 w 1967246"/>
                <a:gd name="connsiteY0" fmla="*/ 600935 h 600935"/>
                <a:gd name="connsiteX1" fmla="*/ 1967246 w 1967246"/>
                <a:gd name="connsiteY1" fmla="*/ 600935 h 600935"/>
                <a:gd name="connsiteX2" fmla="*/ 1963183 w 1967246"/>
                <a:gd name="connsiteY2" fmla="*/ 599284 h 600935"/>
                <a:gd name="connsiteX3" fmla="*/ 1962841 w 1967246"/>
                <a:gd name="connsiteY3" fmla="*/ 592644 h 600935"/>
                <a:gd name="connsiteX4" fmla="*/ 1963183 w 1967246"/>
                <a:gd name="connsiteY4" fmla="*/ 592301 h 600935"/>
                <a:gd name="connsiteX5" fmla="*/ 1965596 w 1967246"/>
                <a:gd name="connsiteY5" fmla="*/ 590397 h 600935"/>
                <a:gd name="connsiteX6" fmla="*/ 11427 w 1967246"/>
                <a:gd name="connsiteY6" fmla="*/ 0 h 600935"/>
                <a:gd name="connsiteX7" fmla="*/ 5714 w 1967246"/>
                <a:gd name="connsiteY7" fmla="*/ 5587 h 600935"/>
                <a:gd name="connsiteX8" fmla="*/ 1778 w 1967246"/>
                <a:gd name="connsiteY8" fmla="*/ 7237 h 600935"/>
                <a:gd name="connsiteX9" fmla="*/ 0 w 1967246"/>
                <a:gd name="connsiteY9" fmla="*/ 7237 h 600935"/>
                <a:gd name="connsiteX10" fmla="*/ 0 w 1967246"/>
                <a:gd name="connsiteY10" fmla="*/ 7237 h 600935"/>
                <a:gd name="connsiteX11" fmla="*/ 7110 w 1967246"/>
                <a:gd name="connsiteY11" fmla="*/ 9396 h 600935"/>
                <a:gd name="connsiteX12" fmla="*/ 1961787 w 1967246"/>
                <a:gd name="connsiteY12" fmla="*/ 600046 h 60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6" h="600935">
                  <a:moveTo>
                    <a:pt x="1965468" y="600935"/>
                  </a:moveTo>
                  <a:lnTo>
                    <a:pt x="1967246" y="600935"/>
                  </a:lnTo>
                  <a:cubicBezTo>
                    <a:pt x="1965735" y="600935"/>
                    <a:pt x="1964275" y="600338"/>
                    <a:pt x="1963183" y="599284"/>
                  </a:cubicBezTo>
                  <a:cubicBezTo>
                    <a:pt x="1961253" y="597545"/>
                    <a:pt x="1961101" y="594574"/>
                    <a:pt x="1962841" y="592644"/>
                  </a:cubicBezTo>
                  <a:cubicBezTo>
                    <a:pt x="1962942" y="592530"/>
                    <a:pt x="1963056" y="592416"/>
                    <a:pt x="1963183" y="592301"/>
                  </a:cubicBezTo>
                  <a:lnTo>
                    <a:pt x="1965596" y="590397"/>
                  </a:lnTo>
                  <a:lnTo>
                    <a:pt x="11427" y="0"/>
                  </a:lnTo>
                  <a:lnTo>
                    <a:pt x="5714" y="5587"/>
                  </a:lnTo>
                  <a:cubicBezTo>
                    <a:pt x="4685" y="6666"/>
                    <a:pt x="3263" y="7263"/>
                    <a:pt x="1778" y="7237"/>
                  </a:cubicBezTo>
                  <a:cubicBezTo>
                    <a:pt x="1193" y="7364"/>
                    <a:pt x="584" y="7364"/>
                    <a:pt x="0" y="7237"/>
                  </a:cubicBezTo>
                  <a:lnTo>
                    <a:pt x="0" y="7237"/>
                  </a:lnTo>
                  <a:lnTo>
                    <a:pt x="7110" y="9396"/>
                  </a:lnTo>
                  <a:lnTo>
                    <a:pt x="1961787" y="600046"/>
                  </a:lnTo>
                  <a:close/>
                </a:path>
              </a:pathLst>
            </a:custGeom>
            <a:solidFill>
              <a:srgbClr val="000000"/>
            </a:solidFill>
            <a:ln w="12690"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73EEEBAD-87CA-4F1D-BF1F-614D3E51C6AD}"/>
                </a:ext>
              </a:extLst>
            </p:cNvPr>
            <p:cNvSpPr/>
            <p:nvPr/>
          </p:nvSpPr>
          <p:spPr>
            <a:xfrm>
              <a:off x="9725767" y="2290357"/>
              <a:ext cx="3301" cy="1269"/>
            </a:xfrm>
            <a:custGeom>
              <a:avLst/>
              <a:gdLst>
                <a:gd name="connsiteX0" fmla="*/ 0 w 3301"/>
                <a:gd name="connsiteY0" fmla="*/ 1270 h 1269"/>
                <a:gd name="connsiteX1" fmla="*/ 3301 w 3301"/>
                <a:gd name="connsiteY1" fmla="*/ 0 h 1269"/>
                <a:gd name="connsiteX2" fmla="*/ 0 w 3301"/>
                <a:gd name="connsiteY2" fmla="*/ 1270 h 1269"/>
              </a:gdLst>
              <a:ahLst/>
              <a:cxnLst>
                <a:cxn ang="0">
                  <a:pos x="connsiteX0" y="connsiteY0"/>
                </a:cxn>
                <a:cxn ang="0">
                  <a:pos x="connsiteX1" y="connsiteY1"/>
                </a:cxn>
                <a:cxn ang="0">
                  <a:pos x="connsiteX2" y="connsiteY2"/>
                </a:cxn>
              </a:cxnLst>
              <a:rect l="l" t="t" r="r" b="b"/>
              <a:pathLst>
                <a:path w="3301" h="1269">
                  <a:moveTo>
                    <a:pt x="0" y="1270"/>
                  </a:moveTo>
                  <a:cubicBezTo>
                    <a:pt x="1219" y="1257"/>
                    <a:pt x="2387" y="800"/>
                    <a:pt x="3301" y="0"/>
                  </a:cubicBezTo>
                  <a:cubicBezTo>
                    <a:pt x="2361" y="775"/>
                    <a:pt x="1206" y="1219"/>
                    <a:pt x="0" y="1270"/>
                  </a:cubicBezTo>
                  <a:close/>
                </a:path>
              </a:pathLst>
            </a:custGeom>
            <a:solidFill>
              <a:srgbClr val="000000"/>
            </a:solidFill>
            <a:ln w="12690"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66989828-8242-45C2-94B3-EB41970B17B1}"/>
                </a:ext>
              </a:extLst>
            </p:cNvPr>
            <p:cNvSpPr/>
            <p:nvPr/>
          </p:nvSpPr>
          <p:spPr>
            <a:xfrm>
              <a:off x="8045343" y="1406920"/>
              <a:ext cx="634" cy="12696"/>
            </a:xfrm>
            <a:custGeom>
              <a:avLst/>
              <a:gdLst>
                <a:gd name="connsiteX0" fmla="*/ 0 w 634"/>
                <a:gd name="connsiteY0" fmla="*/ 0 h 12696"/>
                <a:gd name="connsiteX1" fmla="*/ 0 w 634"/>
                <a:gd name="connsiteY1" fmla="*/ 0 h 12696"/>
                <a:gd name="connsiteX2" fmla="*/ 635 w 634"/>
                <a:gd name="connsiteY2" fmla="*/ 0 h 12696"/>
              </a:gdLst>
              <a:ahLst/>
              <a:cxnLst>
                <a:cxn ang="0">
                  <a:pos x="connsiteX0" y="connsiteY0"/>
                </a:cxn>
                <a:cxn ang="0">
                  <a:pos x="connsiteX1" y="connsiteY1"/>
                </a:cxn>
                <a:cxn ang="0">
                  <a:pos x="connsiteX2" y="connsiteY2"/>
                </a:cxn>
              </a:cxnLst>
              <a:rect l="l" t="t" r="r" b="b"/>
              <a:pathLst>
                <a:path w="634" h="12696">
                  <a:moveTo>
                    <a:pt x="0" y="0"/>
                  </a:moveTo>
                  <a:lnTo>
                    <a:pt x="0" y="0"/>
                  </a:lnTo>
                  <a:lnTo>
                    <a:pt x="635" y="0"/>
                  </a:lnTo>
                  <a:close/>
                </a:path>
              </a:pathLst>
            </a:custGeom>
            <a:solidFill>
              <a:srgbClr val="000000"/>
            </a:solidFill>
            <a:ln w="12690"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5A96BC80-7642-4A1C-AC41-DE4044DE6027}"/>
                </a:ext>
              </a:extLst>
            </p:cNvPr>
            <p:cNvSpPr/>
            <p:nvPr/>
          </p:nvSpPr>
          <p:spPr>
            <a:xfrm>
              <a:off x="7754430" y="1405143"/>
              <a:ext cx="295483" cy="290722"/>
            </a:xfrm>
            <a:custGeom>
              <a:avLst/>
              <a:gdLst>
                <a:gd name="connsiteX0" fmla="*/ 28 w 295483"/>
                <a:gd name="connsiteY0" fmla="*/ 288723 h 290722"/>
                <a:gd name="connsiteX1" fmla="*/ 28 w 295483"/>
                <a:gd name="connsiteY1" fmla="*/ 289739 h 290722"/>
                <a:gd name="connsiteX2" fmla="*/ 663 w 295483"/>
                <a:gd name="connsiteY2" fmla="*/ 290628 h 290722"/>
                <a:gd name="connsiteX3" fmla="*/ 663 w 295483"/>
                <a:gd name="connsiteY3" fmla="*/ 290628 h 290722"/>
                <a:gd name="connsiteX4" fmla="*/ 663 w 295483"/>
                <a:gd name="connsiteY4" fmla="*/ 290628 h 290722"/>
                <a:gd name="connsiteX5" fmla="*/ 1425 w 295483"/>
                <a:gd name="connsiteY5" fmla="*/ 290628 h 290722"/>
                <a:gd name="connsiteX6" fmla="*/ 2568 w 295483"/>
                <a:gd name="connsiteY6" fmla="*/ 290628 h 290722"/>
                <a:gd name="connsiteX7" fmla="*/ 4346 w 295483"/>
                <a:gd name="connsiteY7" fmla="*/ 290628 h 290722"/>
                <a:gd name="connsiteX8" fmla="*/ 8282 w 295483"/>
                <a:gd name="connsiteY8" fmla="*/ 288977 h 290722"/>
                <a:gd name="connsiteX9" fmla="*/ 13995 w 295483"/>
                <a:gd name="connsiteY9" fmla="*/ 283391 h 290722"/>
                <a:gd name="connsiteX10" fmla="*/ 295484 w 295483"/>
                <a:gd name="connsiteY10" fmla="*/ 8888 h 290722"/>
                <a:gd name="connsiteX11" fmla="*/ 292183 w 295483"/>
                <a:gd name="connsiteY11" fmla="*/ 7872 h 290722"/>
                <a:gd name="connsiteX12" fmla="*/ 288615 w 295483"/>
                <a:gd name="connsiteY12" fmla="*/ 2260 h 290722"/>
                <a:gd name="connsiteX13" fmla="*/ 288754 w 295483"/>
                <a:gd name="connsiteY13" fmla="*/ 1778 h 290722"/>
                <a:gd name="connsiteX14" fmla="*/ 289897 w 295483"/>
                <a:gd name="connsiteY14" fmla="*/ 0 h 290722"/>
                <a:gd name="connsiteX15" fmla="*/ 410 w 295483"/>
                <a:gd name="connsiteY15" fmla="*/ 282375 h 290722"/>
                <a:gd name="connsiteX16" fmla="*/ 410 w 295483"/>
                <a:gd name="connsiteY16" fmla="*/ 282375 h 290722"/>
                <a:gd name="connsiteX17" fmla="*/ 410 w 295483"/>
                <a:gd name="connsiteY17" fmla="*/ 283263 h 290722"/>
                <a:gd name="connsiteX18" fmla="*/ 410 w 295483"/>
                <a:gd name="connsiteY18" fmla="*/ 283898 h 290722"/>
                <a:gd name="connsiteX19" fmla="*/ 410 w 295483"/>
                <a:gd name="connsiteY19" fmla="*/ 283898 h 290722"/>
                <a:gd name="connsiteX20" fmla="*/ 410 w 295483"/>
                <a:gd name="connsiteY20" fmla="*/ 283898 h 290722"/>
                <a:gd name="connsiteX21" fmla="*/ 410 w 295483"/>
                <a:gd name="connsiteY21" fmla="*/ 284787 h 290722"/>
                <a:gd name="connsiteX22" fmla="*/ 28 w 295483"/>
                <a:gd name="connsiteY22" fmla="*/ 288723 h 29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5483" h="290722">
                  <a:moveTo>
                    <a:pt x="28" y="288723"/>
                  </a:moveTo>
                  <a:cubicBezTo>
                    <a:pt x="-9" y="289066"/>
                    <a:pt x="-9" y="289396"/>
                    <a:pt x="28" y="289739"/>
                  </a:cubicBezTo>
                  <a:lnTo>
                    <a:pt x="663" y="290628"/>
                  </a:lnTo>
                  <a:cubicBezTo>
                    <a:pt x="663" y="290628"/>
                    <a:pt x="663" y="290628"/>
                    <a:pt x="663" y="290628"/>
                  </a:cubicBezTo>
                  <a:lnTo>
                    <a:pt x="663" y="290628"/>
                  </a:lnTo>
                  <a:lnTo>
                    <a:pt x="1425" y="290628"/>
                  </a:lnTo>
                  <a:lnTo>
                    <a:pt x="2568" y="290628"/>
                  </a:lnTo>
                  <a:cubicBezTo>
                    <a:pt x="3152" y="290755"/>
                    <a:pt x="3761" y="290755"/>
                    <a:pt x="4346" y="290628"/>
                  </a:cubicBezTo>
                  <a:cubicBezTo>
                    <a:pt x="5831" y="290653"/>
                    <a:pt x="7253" y="290056"/>
                    <a:pt x="8282" y="288977"/>
                  </a:cubicBezTo>
                  <a:lnTo>
                    <a:pt x="13995" y="283391"/>
                  </a:lnTo>
                  <a:lnTo>
                    <a:pt x="295484" y="8888"/>
                  </a:lnTo>
                  <a:lnTo>
                    <a:pt x="292183" y="7872"/>
                  </a:lnTo>
                  <a:cubicBezTo>
                    <a:pt x="289656" y="7313"/>
                    <a:pt x="288056" y="4799"/>
                    <a:pt x="288615" y="2260"/>
                  </a:cubicBezTo>
                  <a:cubicBezTo>
                    <a:pt x="288653" y="2095"/>
                    <a:pt x="288704" y="1943"/>
                    <a:pt x="288754" y="1778"/>
                  </a:cubicBezTo>
                  <a:cubicBezTo>
                    <a:pt x="289008" y="1117"/>
                    <a:pt x="289402" y="508"/>
                    <a:pt x="289897" y="0"/>
                  </a:cubicBezTo>
                  <a:lnTo>
                    <a:pt x="410" y="282375"/>
                  </a:lnTo>
                  <a:lnTo>
                    <a:pt x="410" y="282375"/>
                  </a:lnTo>
                  <a:cubicBezTo>
                    <a:pt x="372" y="282667"/>
                    <a:pt x="372" y="282972"/>
                    <a:pt x="410" y="283263"/>
                  </a:cubicBezTo>
                  <a:lnTo>
                    <a:pt x="410" y="283898"/>
                  </a:lnTo>
                  <a:lnTo>
                    <a:pt x="410" y="283898"/>
                  </a:lnTo>
                  <a:lnTo>
                    <a:pt x="410" y="283898"/>
                  </a:lnTo>
                  <a:cubicBezTo>
                    <a:pt x="410" y="283898"/>
                    <a:pt x="410" y="283898"/>
                    <a:pt x="410" y="284787"/>
                  </a:cubicBezTo>
                  <a:cubicBezTo>
                    <a:pt x="410" y="285676"/>
                    <a:pt x="28" y="288469"/>
                    <a:pt x="28" y="288723"/>
                  </a:cubicBezTo>
                  <a:close/>
                </a:path>
              </a:pathLst>
            </a:custGeom>
            <a:solidFill>
              <a:srgbClr val="000000"/>
            </a:solidFill>
            <a:ln w="12690"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F2C23501-0B63-40C5-9EE2-6670C951F449}"/>
                </a:ext>
              </a:extLst>
            </p:cNvPr>
            <p:cNvSpPr/>
            <p:nvPr/>
          </p:nvSpPr>
          <p:spPr>
            <a:xfrm>
              <a:off x="10061726" y="2014458"/>
              <a:ext cx="37" cy="634"/>
            </a:xfrm>
            <a:custGeom>
              <a:avLst/>
              <a:gdLst>
                <a:gd name="connsiteX0" fmla="*/ 0 w 37"/>
                <a:gd name="connsiteY0" fmla="*/ 635 h 634"/>
                <a:gd name="connsiteX1" fmla="*/ 0 w 37"/>
                <a:gd name="connsiteY1" fmla="*/ 0 h 634"/>
                <a:gd name="connsiteX2" fmla="*/ 0 w 37"/>
                <a:gd name="connsiteY2" fmla="*/ 0 h 634"/>
              </a:gdLst>
              <a:ahLst/>
              <a:cxnLst>
                <a:cxn ang="0">
                  <a:pos x="connsiteX0" y="connsiteY0"/>
                </a:cxn>
                <a:cxn ang="0">
                  <a:pos x="connsiteX1" y="connsiteY1"/>
                </a:cxn>
                <a:cxn ang="0">
                  <a:pos x="connsiteX2" y="connsiteY2"/>
                </a:cxn>
              </a:cxnLst>
              <a:rect l="l" t="t" r="r" b="b"/>
              <a:pathLst>
                <a:path w="37" h="634">
                  <a:moveTo>
                    <a:pt x="0" y="635"/>
                  </a:moveTo>
                  <a:cubicBezTo>
                    <a:pt x="50" y="432"/>
                    <a:pt x="50" y="203"/>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0CDEB0B5-0C5F-4C85-948E-DFC73D87F23D}"/>
                </a:ext>
              </a:extLst>
            </p:cNvPr>
            <p:cNvSpPr/>
            <p:nvPr/>
          </p:nvSpPr>
          <p:spPr>
            <a:xfrm>
              <a:off x="10062233" y="2016235"/>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508"/>
                    <a:pt x="0" y="762"/>
                  </a:cubicBezTo>
                  <a:close/>
                </a:path>
              </a:pathLst>
            </a:custGeom>
            <a:solidFill>
              <a:srgbClr val="000000"/>
            </a:solidFill>
            <a:ln w="12690"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A8390781-4B21-476A-BC92-B79F776B7280}"/>
                </a:ext>
              </a:extLst>
            </p:cNvPr>
            <p:cNvSpPr/>
            <p:nvPr/>
          </p:nvSpPr>
          <p:spPr>
            <a:xfrm>
              <a:off x="8043520" y="1405524"/>
              <a:ext cx="2015031" cy="613250"/>
            </a:xfrm>
            <a:custGeom>
              <a:avLst/>
              <a:gdLst>
                <a:gd name="connsiteX0" fmla="*/ 3981 w 2015031"/>
                <a:gd name="connsiteY0" fmla="*/ 9396 h 613250"/>
                <a:gd name="connsiteX1" fmla="*/ 7283 w 2015031"/>
                <a:gd name="connsiteY1" fmla="*/ 10411 h 613250"/>
                <a:gd name="connsiteX2" fmla="*/ 2002843 w 2015031"/>
                <a:gd name="connsiteY2" fmla="*/ 613251 h 613250"/>
                <a:gd name="connsiteX3" fmla="*/ 2009699 w 2015031"/>
                <a:gd name="connsiteY3" fmla="*/ 607537 h 613250"/>
                <a:gd name="connsiteX4" fmla="*/ 2010334 w 2015031"/>
                <a:gd name="connsiteY4" fmla="*/ 607537 h 613250"/>
                <a:gd name="connsiteX5" fmla="*/ 2011476 w 2015031"/>
                <a:gd name="connsiteY5" fmla="*/ 606903 h 613250"/>
                <a:gd name="connsiteX6" fmla="*/ 2015032 w 2015031"/>
                <a:gd name="connsiteY6" fmla="*/ 606903 h 613250"/>
                <a:gd name="connsiteX7" fmla="*/ 7663 w 2015031"/>
                <a:gd name="connsiteY7" fmla="*/ 0 h 613250"/>
                <a:gd name="connsiteX8" fmla="*/ 5378 w 2015031"/>
                <a:gd name="connsiteY8" fmla="*/ 0 h 613250"/>
                <a:gd name="connsiteX9" fmla="*/ 4489 w 2015031"/>
                <a:gd name="connsiteY9" fmla="*/ 0 h 613250"/>
                <a:gd name="connsiteX10" fmla="*/ 3474 w 2015031"/>
                <a:gd name="connsiteY10" fmla="*/ 0 h 613250"/>
                <a:gd name="connsiteX11" fmla="*/ 2331 w 2015031"/>
                <a:gd name="connsiteY11" fmla="*/ 762 h 613250"/>
                <a:gd name="connsiteX12" fmla="*/ 1696 w 2015031"/>
                <a:gd name="connsiteY12" fmla="*/ 762 h 613250"/>
                <a:gd name="connsiteX13" fmla="*/ 1696 w 2015031"/>
                <a:gd name="connsiteY13" fmla="*/ 762 h 613250"/>
                <a:gd name="connsiteX14" fmla="*/ 553 w 2015031"/>
                <a:gd name="connsiteY14" fmla="*/ 2539 h 613250"/>
                <a:gd name="connsiteX15" fmla="*/ 2483 w 2015031"/>
                <a:gd name="connsiteY15" fmla="*/ 8900 h 613250"/>
                <a:gd name="connsiteX16" fmla="*/ 3981 w 2015031"/>
                <a:gd name="connsiteY16" fmla="*/ 9396 h 6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15031" h="613250">
                  <a:moveTo>
                    <a:pt x="3981" y="9396"/>
                  </a:moveTo>
                  <a:lnTo>
                    <a:pt x="7283" y="10411"/>
                  </a:lnTo>
                  <a:lnTo>
                    <a:pt x="2002843" y="613251"/>
                  </a:lnTo>
                  <a:lnTo>
                    <a:pt x="2009699" y="607537"/>
                  </a:lnTo>
                  <a:lnTo>
                    <a:pt x="2010334" y="607537"/>
                  </a:lnTo>
                  <a:lnTo>
                    <a:pt x="2011476" y="606903"/>
                  </a:lnTo>
                  <a:lnTo>
                    <a:pt x="2015032" y="606903"/>
                  </a:lnTo>
                  <a:lnTo>
                    <a:pt x="7663" y="0"/>
                  </a:lnTo>
                  <a:lnTo>
                    <a:pt x="5378" y="0"/>
                  </a:lnTo>
                  <a:lnTo>
                    <a:pt x="4489" y="0"/>
                  </a:lnTo>
                  <a:lnTo>
                    <a:pt x="3474" y="0"/>
                  </a:lnTo>
                  <a:cubicBezTo>
                    <a:pt x="3474" y="0"/>
                    <a:pt x="2711" y="0"/>
                    <a:pt x="2331" y="762"/>
                  </a:cubicBezTo>
                  <a:lnTo>
                    <a:pt x="1696" y="762"/>
                  </a:lnTo>
                  <a:lnTo>
                    <a:pt x="1696" y="762"/>
                  </a:lnTo>
                  <a:cubicBezTo>
                    <a:pt x="1201" y="1270"/>
                    <a:pt x="807" y="1879"/>
                    <a:pt x="553" y="2539"/>
                  </a:cubicBezTo>
                  <a:cubicBezTo>
                    <a:pt x="-666" y="4825"/>
                    <a:pt x="197" y="7669"/>
                    <a:pt x="2483" y="8900"/>
                  </a:cubicBezTo>
                  <a:cubicBezTo>
                    <a:pt x="2953" y="9142"/>
                    <a:pt x="3461" y="9319"/>
                    <a:pt x="3981" y="9396"/>
                  </a:cubicBezTo>
                  <a:close/>
                </a:path>
              </a:pathLst>
            </a:custGeom>
            <a:solidFill>
              <a:srgbClr val="000000"/>
            </a:solidFill>
            <a:ln w="12690"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4B49D84C-57FA-4245-847C-1A0B5E38F71C}"/>
                </a:ext>
              </a:extLst>
            </p:cNvPr>
            <p:cNvSpPr/>
            <p:nvPr/>
          </p:nvSpPr>
          <p:spPr>
            <a:xfrm>
              <a:off x="10051441" y="2017124"/>
              <a:ext cx="10792" cy="401723"/>
            </a:xfrm>
            <a:custGeom>
              <a:avLst/>
              <a:gdLst>
                <a:gd name="connsiteX0" fmla="*/ 9014 w 10792"/>
                <a:gd name="connsiteY0" fmla="*/ 3682 h 401723"/>
                <a:gd name="connsiteX1" fmla="*/ 0 w 10792"/>
                <a:gd name="connsiteY1" fmla="*/ 11046 h 401723"/>
                <a:gd name="connsiteX2" fmla="*/ 0 w 10792"/>
                <a:gd name="connsiteY2" fmla="*/ 401724 h 401723"/>
                <a:gd name="connsiteX3" fmla="*/ 1777 w 10792"/>
                <a:gd name="connsiteY3" fmla="*/ 400200 h 401723"/>
                <a:gd name="connsiteX4" fmla="*/ 10792 w 10792"/>
                <a:gd name="connsiteY4" fmla="*/ 392836 h 401723"/>
                <a:gd name="connsiteX5" fmla="*/ 10792 w 10792"/>
                <a:gd name="connsiteY5" fmla="*/ 0 h 401723"/>
                <a:gd name="connsiteX6" fmla="*/ 10792 w 10792"/>
                <a:gd name="connsiteY6" fmla="*/ 0 h 401723"/>
                <a:gd name="connsiteX7" fmla="*/ 10792 w 10792"/>
                <a:gd name="connsiteY7" fmla="*/ 0 h 401723"/>
                <a:gd name="connsiteX8" fmla="*/ 9014 w 10792"/>
                <a:gd name="connsiteY8" fmla="*/ 3682 h 40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2" h="401723">
                  <a:moveTo>
                    <a:pt x="9014" y="3682"/>
                  </a:moveTo>
                  <a:lnTo>
                    <a:pt x="0" y="11046"/>
                  </a:lnTo>
                  <a:lnTo>
                    <a:pt x="0" y="401724"/>
                  </a:lnTo>
                  <a:lnTo>
                    <a:pt x="1777" y="400200"/>
                  </a:lnTo>
                  <a:lnTo>
                    <a:pt x="10792" y="392836"/>
                  </a:lnTo>
                  <a:lnTo>
                    <a:pt x="10792" y="0"/>
                  </a:lnTo>
                  <a:lnTo>
                    <a:pt x="10792" y="0"/>
                  </a:lnTo>
                  <a:cubicBezTo>
                    <a:pt x="10792" y="0"/>
                    <a:pt x="10792" y="0"/>
                    <a:pt x="10792" y="0"/>
                  </a:cubicBezTo>
                  <a:cubicBezTo>
                    <a:pt x="10818" y="1435"/>
                    <a:pt x="10157" y="2806"/>
                    <a:pt x="9014" y="3682"/>
                  </a:cubicBezTo>
                  <a:close/>
                </a:path>
              </a:pathLst>
            </a:custGeom>
            <a:solidFill>
              <a:srgbClr val="000000"/>
            </a:solidFill>
            <a:ln w="12690"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4E254148-6A2E-4318-8CFF-5BE317AE8010}"/>
                </a:ext>
              </a:extLst>
            </p:cNvPr>
            <p:cNvSpPr/>
            <p:nvPr/>
          </p:nvSpPr>
          <p:spPr>
            <a:xfrm>
              <a:off x="10056901" y="201229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D2175A7D-D8DB-4EB1-9BC8-18C1B3FB1E9E}"/>
                </a:ext>
              </a:extLst>
            </p:cNvPr>
            <p:cNvSpPr/>
            <p:nvPr/>
          </p:nvSpPr>
          <p:spPr>
            <a:xfrm>
              <a:off x="10061843" y="2014711"/>
              <a:ext cx="9" cy="634"/>
            </a:xfrm>
            <a:custGeom>
              <a:avLst/>
              <a:gdLst>
                <a:gd name="connsiteX0" fmla="*/ 9 w 9"/>
                <a:gd name="connsiteY0" fmla="*/ 635 h 634"/>
                <a:gd name="connsiteX1" fmla="*/ 9 w 9"/>
                <a:gd name="connsiteY1" fmla="*/ 635 h 634"/>
                <a:gd name="connsiteX2" fmla="*/ 9 w 9"/>
                <a:gd name="connsiteY2" fmla="*/ 0 h 634"/>
                <a:gd name="connsiteX3" fmla="*/ 9 w 9"/>
                <a:gd name="connsiteY3" fmla="*/ 635 h 634"/>
              </a:gdLst>
              <a:ahLst/>
              <a:cxnLst>
                <a:cxn ang="0">
                  <a:pos x="connsiteX0" y="connsiteY0"/>
                </a:cxn>
                <a:cxn ang="0">
                  <a:pos x="connsiteX1" y="connsiteY1"/>
                </a:cxn>
                <a:cxn ang="0">
                  <a:pos x="connsiteX2" y="connsiteY2"/>
                </a:cxn>
                <a:cxn ang="0">
                  <a:pos x="connsiteX3" y="connsiteY3"/>
                </a:cxn>
              </a:cxnLst>
              <a:rect l="l" t="t" r="r" b="b"/>
              <a:pathLst>
                <a:path w="9" h="634">
                  <a:moveTo>
                    <a:pt x="9" y="635"/>
                  </a:moveTo>
                  <a:lnTo>
                    <a:pt x="9" y="635"/>
                  </a:lnTo>
                  <a:lnTo>
                    <a:pt x="9" y="0"/>
                  </a:lnTo>
                  <a:cubicBezTo>
                    <a:pt x="-3" y="216"/>
                    <a:pt x="-3" y="419"/>
                    <a:pt x="9" y="635"/>
                  </a:cubicBezTo>
                  <a:close/>
                </a:path>
              </a:pathLst>
            </a:custGeom>
            <a:solidFill>
              <a:srgbClr val="000000"/>
            </a:solidFill>
            <a:ln w="12690"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08799F9C-021A-44E9-9BE3-6400F55A61DF}"/>
                </a:ext>
              </a:extLst>
            </p:cNvPr>
            <p:cNvSpPr/>
            <p:nvPr/>
          </p:nvSpPr>
          <p:spPr>
            <a:xfrm>
              <a:off x="10058043" y="2012680"/>
              <a:ext cx="1015" cy="12696"/>
            </a:xfrm>
            <a:custGeom>
              <a:avLst/>
              <a:gdLst>
                <a:gd name="connsiteX0" fmla="*/ 1016 w 1015"/>
                <a:gd name="connsiteY0" fmla="*/ 0 h 12696"/>
                <a:gd name="connsiteX1" fmla="*/ 0 w 1015"/>
                <a:gd name="connsiteY1" fmla="*/ 0 h 12696"/>
              </a:gdLst>
              <a:ahLst/>
              <a:cxnLst>
                <a:cxn ang="0">
                  <a:pos x="connsiteX0" y="connsiteY0"/>
                </a:cxn>
                <a:cxn ang="0">
                  <a:pos x="connsiteX1" y="connsiteY1"/>
                </a:cxn>
              </a:cxnLst>
              <a:rect l="l" t="t" r="r" b="b"/>
              <a:pathLst>
                <a:path w="1015" h="12696">
                  <a:moveTo>
                    <a:pt x="1016" y="0"/>
                  </a:moveTo>
                  <a:lnTo>
                    <a:pt x="0" y="0"/>
                  </a:lnTo>
                  <a:close/>
                </a:path>
              </a:pathLst>
            </a:custGeom>
            <a:solidFill>
              <a:srgbClr val="000000"/>
            </a:solidFill>
            <a:ln w="12690"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4E67565C-37E3-413D-885C-5EC5558B5E4C}"/>
                </a:ext>
              </a:extLst>
            </p:cNvPr>
            <p:cNvSpPr/>
            <p:nvPr/>
          </p:nvSpPr>
          <p:spPr>
            <a:xfrm>
              <a:off x="10059694" y="2013569"/>
              <a:ext cx="1143" cy="761"/>
            </a:xfrm>
            <a:custGeom>
              <a:avLst/>
              <a:gdLst>
                <a:gd name="connsiteX0" fmla="*/ 889 w 1143"/>
                <a:gd name="connsiteY0" fmla="*/ 0 h 761"/>
                <a:gd name="connsiteX1" fmla="*/ 0 w 1143"/>
                <a:gd name="connsiteY1" fmla="*/ 0 h 761"/>
                <a:gd name="connsiteX2" fmla="*/ 0 w 1143"/>
                <a:gd name="connsiteY2" fmla="*/ 0 h 761"/>
                <a:gd name="connsiteX3" fmla="*/ 1143 w 1143"/>
                <a:gd name="connsiteY3" fmla="*/ 762 h 761"/>
              </a:gdLst>
              <a:ahLst/>
              <a:cxnLst>
                <a:cxn ang="0">
                  <a:pos x="connsiteX0" y="connsiteY0"/>
                </a:cxn>
                <a:cxn ang="0">
                  <a:pos x="connsiteX1" y="connsiteY1"/>
                </a:cxn>
                <a:cxn ang="0">
                  <a:pos x="connsiteX2" y="connsiteY2"/>
                </a:cxn>
                <a:cxn ang="0">
                  <a:pos x="connsiteX3" y="connsiteY3"/>
                </a:cxn>
              </a:cxnLst>
              <a:rect l="l" t="t" r="r" b="b"/>
              <a:pathLst>
                <a:path w="1143" h="761">
                  <a:moveTo>
                    <a:pt x="889" y="0"/>
                  </a:moveTo>
                  <a:lnTo>
                    <a:pt x="0" y="0"/>
                  </a:lnTo>
                  <a:lnTo>
                    <a:pt x="0" y="0"/>
                  </a:lnTo>
                  <a:lnTo>
                    <a:pt x="1143" y="762"/>
                  </a:lnTo>
                  <a:close/>
                </a:path>
              </a:pathLst>
            </a:custGeom>
            <a:solidFill>
              <a:srgbClr val="000000"/>
            </a:solidFill>
            <a:ln w="12690"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3534BE47-284C-4D8C-BFF9-59339010B7B4}"/>
                </a:ext>
              </a:extLst>
            </p:cNvPr>
            <p:cNvSpPr/>
            <p:nvPr/>
          </p:nvSpPr>
          <p:spPr>
            <a:xfrm>
              <a:off x="9719897" y="2012299"/>
              <a:ext cx="342397" cy="278819"/>
            </a:xfrm>
            <a:custGeom>
              <a:avLst/>
              <a:gdLst>
                <a:gd name="connsiteX0" fmla="*/ 337131 w 342397"/>
                <a:gd name="connsiteY0" fmla="*/ 0 h 278819"/>
                <a:gd name="connsiteX1" fmla="*/ 335099 w 342397"/>
                <a:gd name="connsiteY1" fmla="*/ 0 h 278819"/>
                <a:gd name="connsiteX2" fmla="*/ 333957 w 342397"/>
                <a:gd name="connsiteY2" fmla="*/ 635 h 278819"/>
                <a:gd name="connsiteX3" fmla="*/ 333322 w 342397"/>
                <a:gd name="connsiteY3" fmla="*/ 635 h 278819"/>
                <a:gd name="connsiteX4" fmla="*/ 326466 w 342397"/>
                <a:gd name="connsiteY4" fmla="*/ 6348 h 278819"/>
                <a:gd name="connsiteX5" fmla="*/ 3966 w 342397"/>
                <a:gd name="connsiteY5" fmla="*/ 268281 h 278819"/>
                <a:gd name="connsiteX6" fmla="*/ 1554 w 342397"/>
                <a:gd name="connsiteY6" fmla="*/ 270186 h 278819"/>
                <a:gd name="connsiteX7" fmla="*/ 1211 w 342397"/>
                <a:gd name="connsiteY7" fmla="*/ 276826 h 278819"/>
                <a:gd name="connsiteX8" fmla="*/ 1554 w 342397"/>
                <a:gd name="connsiteY8" fmla="*/ 277169 h 278819"/>
                <a:gd name="connsiteX9" fmla="*/ 5617 w 342397"/>
                <a:gd name="connsiteY9" fmla="*/ 278820 h 278819"/>
                <a:gd name="connsiteX10" fmla="*/ 8918 w 342397"/>
                <a:gd name="connsiteY10" fmla="*/ 277550 h 278819"/>
                <a:gd name="connsiteX11" fmla="*/ 8918 w 342397"/>
                <a:gd name="connsiteY11" fmla="*/ 277550 h 278819"/>
                <a:gd name="connsiteX12" fmla="*/ 10696 w 342397"/>
                <a:gd name="connsiteY12" fmla="*/ 276026 h 278819"/>
                <a:gd name="connsiteX13" fmla="*/ 331671 w 342397"/>
                <a:gd name="connsiteY13" fmla="*/ 15363 h 278819"/>
                <a:gd name="connsiteX14" fmla="*/ 340686 w 342397"/>
                <a:gd name="connsiteY14" fmla="*/ 7999 h 278819"/>
                <a:gd name="connsiteX15" fmla="*/ 342337 w 342397"/>
                <a:gd name="connsiteY15" fmla="*/ 3682 h 278819"/>
                <a:gd name="connsiteX16" fmla="*/ 342337 w 342397"/>
                <a:gd name="connsiteY16" fmla="*/ 3682 h 278819"/>
                <a:gd name="connsiteX17" fmla="*/ 342337 w 342397"/>
                <a:gd name="connsiteY17" fmla="*/ 2793 h 278819"/>
                <a:gd name="connsiteX18" fmla="*/ 342337 w 342397"/>
                <a:gd name="connsiteY18" fmla="*/ 1904 h 278819"/>
                <a:gd name="connsiteX19" fmla="*/ 342337 w 342397"/>
                <a:gd name="connsiteY19" fmla="*/ 1904 h 278819"/>
                <a:gd name="connsiteX20" fmla="*/ 342337 w 342397"/>
                <a:gd name="connsiteY20" fmla="*/ 1904 h 278819"/>
                <a:gd name="connsiteX21" fmla="*/ 341194 w 342397"/>
                <a:gd name="connsiteY21" fmla="*/ 1143 h 278819"/>
                <a:gd name="connsiteX22" fmla="*/ 341194 w 342397"/>
                <a:gd name="connsiteY22" fmla="*/ 1143 h 278819"/>
                <a:gd name="connsiteX23" fmla="*/ 340178 w 342397"/>
                <a:gd name="connsiteY23" fmla="*/ 1143 h 2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397" h="278819">
                  <a:moveTo>
                    <a:pt x="337131" y="0"/>
                  </a:moveTo>
                  <a:lnTo>
                    <a:pt x="335099" y="0"/>
                  </a:lnTo>
                  <a:lnTo>
                    <a:pt x="333957" y="635"/>
                  </a:lnTo>
                  <a:lnTo>
                    <a:pt x="333322" y="635"/>
                  </a:lnTo>
                  <a:lnTo>
                    <a:pt x="326466" y="6348"/>
                  </a:lnTo>
                  <a:lnTo>
                    <a:pt x="3966" y="268281"/>
                  </a:lnTo>
                  <a:lnTo>
                    <a:pt x="1554" y="270186"/>
                  </a:lnTo>
                  <a:cubicBezTo>
                    <a:pt x="-376" y="271925"/>
                    <a:pt x="-529" y="274896"/>
                    <a:pt x="1211" y="276826"/>
                  </a:cubicBezTo>
                  <a:cubicBezTo>
                    <a:pt x="1313" y="276940"/>
                    <a:pt x="1427" y="277055"/>
                    <a:pt x="1554" y="277169"/>
                  </a:cubicBezTo>
                  <a:cubicBezTo>
                    <a:pt x="2645" y="278223"/>
                    <a:pt x="4093" y="278820"/>
                    <a:pt x="5617" y="278820"/>
                  </a:cubicBezTo>
                  <a:cubicBezTo>
                    <a:pt x="6823" y="278769"/>
                    <a:pt x="7979" y="278324"/>
                    <a:pt x="8918" y="277550"/>
                  </a:cubicBezTo>
                  <a:lnTo>
                    <a:pt x="8918" y="277550"/>
                  </a:lnTo>
                  <a:lnTo>
                    <a:pt x="10696" y="276026"/>
                  </a:lnTo>
                  <a:lnTo>
                    <a:pt x="331671" y="15363"/>
                  </a:lnTo>
                  <a:lnTo>
                    <a:pt x="340686" y="7999"/>
                  </a:lnTo>
                  <a:cubicBezTo>
                    <a:pt x="341981" y="6970"/>
                    <a:pt x="342603" y="5320"/>
                    <a:pt x="342337" y="3682"/>
                  </a:cubicBezTo>
                  <a:lnTo>
                    <a:pt x="342337" y="3682"/>
                  </a:lnTo>
                  <a:cubicBezTo>
                    <a:pt x="342324" y="3390"/>
                    <a:pt x="342324" y="3085"/>
                    <a:pt x="342337" y="2793"/>
                  </a:cubicBezTo>
                  <a:cubicBezTo>
                    <a:pt x="342311" y="2501"/>
                    <a:pt x="342311" y="2196"/>
                    <a:pt x="342337" y="1904"/>
                  </a:cubicBezTo>
                  <a:lnTo>
                    <a:pt x="342337" y="1904"/>
                  </a:lnTo>
                  <a:lnTo>
                    <a:pt x="342337" y="1904"/>
                  </a:lnTo>
                  <a:lnTo>
                    <a:pt x="341194" y="1143"/>
                  </a:lnTo>
                  <a:lnTo>
                    <a:pt x="341194" y="1143"/>
                  </a:lnTo>
                  <a:lnTo>
                    <a:pt x="340178" y="1143"/>
                  </a:lnTo>
                  <a:close/>
                </a:path>
              </a:pathLst>
            </a:custGeom>
            <a:solidFill>
              <a:srgbClr val="000000"/>
            </a:solidFill>
            <a:ln w="12690"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F0AAD9BA-7DEA-438F-9269-614872DB1F9A}"/>
                </a:ext>
              </a:extLst>
            </p:cNvPr>
            <p:cNvSpPr/>
            <p:nvPr/>
          </p:nvSpPr>
          <p:spPr>
            <a:xfrm>
              <a:off x="10797506" y="2151963"/>
              <a:ext cx="1276792" cy="415943"/>
            </a:xfrm>
            <a:custGeom>
              <a:avLst/>
              <a:gdLst>
                <a:gd name="connsiteX0" fmla="*/ 1274635 w 1276792"/>
                <a:gd name="connsiteY0" fmla="*/ 414547 h 415943"/>
                <a:gd name="connsiteX1" fmla="*/ 1273873 w 1276792"/>
                <a:gd name="connsiteY1" fmla="*/ 414547 h 415943"/>
                <a:gd name="connsiteX2" fmla="*/ 1273873 w 1276792"/>
                <a:gd name="connsiteY2" fmla="*/ 413786 h 415943"/>
                <a:gd name="connsiteX3" fmla="*/ 1273238 w 1276792"/>
                <a:gd name="connsiteY3" fmla="*/ 413024 h 415943"/>
                <a:gd name="connsiteX4" fmla="*/ 1273238 w 1276792"/>
                <a:gd name="connsiteY4" fmla="*/ 412135 h 415943"/>
                <a:gd name="connsiteX5" fmla="*/ 1273238 w 1276792"/>
                <a:gd name="connsiteY5" fmla="*/ 411119 h 415943"/>
                <a:gd name="connsiteX6" fmla="*/ 1273238 w 1276792"/>
                <a:gd name="connsiteY6" fmla="*/ 411119 h 415943"/>
                <a:gd name="connsiteX7" fmla="*/ 1273238 w 1276792"/>
                <a:gd name="connsiteY7" fmla="*/ 404136 h 415943"/>
                <a:gd name="connsiteX8" fmla="*/ 7364 w 1276792"/>
                <a:gd name="connsiteY8" fmla="*/ 0 h 415943"/>
                <a:gd name="connsiteX9" fmla="*/ 7364 w 1276792"/>
                <a:gd name="connsiteY9" fmla="*/ 3555 h 415943"/>
                <a:gd name="connsiteX10" fmla="*/ 2044 w 1276792"/>
                <a:gd name="connsiteY10" fmla="*/ 8380 h 415943"/>
                <a:gd name="connsiteX11" fmla="*/ 2032 w 1276792"/>
                <a:gd name="connsiteY11" fmla="*/ 8380 h 415943"/>
                <a:gd name="connsiteX12" fmla="*/ 0 w 1276792"/>
                <a:gd name="connsiteY12" fmla="*/ 8380 h 415943"/>
                <a:gd name="connsiteX13" fmla="*/ 0 w 1276792"/>
                <a:gd name="connsiteY13" fmla="*/ 8380 h 415943"/>
                <a:gd name="connsiteX14" fmla="*/ 1276793 w 1276792"/>
                <a:gd name="connsiteY14" fmla="*/ 415944 h 415943"/>
                <a:gd name="connsiteX15" fmla="*/ 1276793 w 1276792"/>
                <a:gd name="connsiteY15" fmla="*/ 415944 h 41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6792" h="415943">
                  <a:moveTo>
                    <a:pt x="1274635" y="414547"/>
                  </a:moveTo>
                  <a:lnTo>
                    <a:pt x="1273873" y="414547"/>
                  </a:lnTo>
                  <a:lnTo>
                    <a:pt x="1273873" y="413786"/>
                  </a:lnTo>
                  <a:lnTo>
                    <a:pt x="1273238" y="413024"/>
                  </a:lnTo>
                  <a:cubicBezTo>
                    <a:pt x="1273238" y="413024"/>
                    <a:pt x="1273238" y="413024"/>
                    <a:pt x="1273238" y="412135"/>
                  </a:cubicBezTo>
                  <a:cubicBezTo>
                    <a:pt x="1273238" y="411246"/>
                    <a:pt x="1273238" y="412135"/>
                    <a:pt x="1273238" y="411119"/>
                  </a:cubicBezTo>
                  <a:lnTo>
                    <a:pt x="1273238" y="411119"/>
                  </a:lnTo>
                  <a:lnTo>
                    <a:pt x="1273238" y="404136"/>
                  </a:lnTo>
                  <a:lnTo>
                    <a:pt x="7364" y="0"/>
                  </a:lnTo>
                  <a:lnTo>
                    <a:pt x="7364" y="3555"/>
                  </a:lnTo>
                  <a:cubicBezTo>
                    <a:pt x="7225" y="6361"/>
                    <a:pt x="4850" y="8519"/>
                    <a:pt x="2044" y="8380"/>
                  </a:cubicBezTo>
                  <a:cubicBezTo>
                    <a:pt x="2044" y="8380"/>
                    <a:pt x="2032" y="8380"/>
                    <a:pt x="2032" y="8380"/>
                  </a:cubicBezTo>
                  <a:cubicBezTo>
                    <a:pt x="1359" y="8519"/>
                    <a:pt x="673" y="8519"/>
                    <a:pt x="0" y="8380"/>
                  </a:cubicBezTo>
                  <a:lnTo>
                    <a:pt x="0" y="8380"/>
                  </a:lnTo>
                  <a:lnTo>
                    <a:pt x="1276793" y="415944"/>
                  </a:lnTo>
                  <a:lnTo>
                    <a:pt x="1276793" y="415944"/>
                  </a:lnTo>
                  <a:close/>
                </a:path>
              </a:pathLst>
            </a:custGeom>
            <a:solidFill>
              <a:srgbClr val="000000"/>
            </a:solidFill>
            <a:ln w="12690"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79342ABF-5E76-4AF9-BF9D-C6FF8124BA6C}"/>
                </a:ext>
              </a:extLst>
            </p:cNvPr>
            <p:cNvSpPr/>
            <p:nvPr/>
          </p:nvSpPr>
          <p:spPr>
            <a:xfrm>
              <a:off x="12069506" y="2152090"/>
              <a:ext cx="10633" cy="410357"/>
            </a:xfrm>
            <a:custGeom>
              <a:avLst/>
              <a:gdLst>
                <a:gd name="connsiteX0" fmla="*/ 95 w 10633"/>
                <a:gd name="connsiteY0" fmla="*/ 0 h 410357"/>
                <a:gd name="connsiteX1" fmla="*/ 95 w 10633"/>
                <a:gd name="connsiteY1" fmla="*/ 410358 h 410357"/>
                <a:gd name="connsiteX2" fmla="*/ 95 w 10633"/>
                <a:gd name="connsiteY2" fmla="*/ 410358 h 410357"/>
                <a:gd name="connsiteX3" fmla="*/ 95 w 10633"/>
                <a:gd name="connsiteY3" fmla="*/ 408707 h 410357"/>
                <a:gd name="connsiteX4" fmla="*/ 6952 w 10633"/>
                <a:gd name="connsiteY4" fmla="*/ 405533 h 410357"/>
                <a:gd name="connsiteX5" fmla="*/ 10633 w 10633"/>
                <a:gd name="connsiteY5" fmla="*/ 406675 h 410357"/>
                <a:gd name="connsiteX6" fmla="*/ 10633 w 10633"/>
                <a:gd name="connsiteY6" fmla="*/ 3301 h 410357"/>
                <a:gd name="connsiteX7" fmla="*/ 3523 w 10633"/>
                <a:gd name="connsiteY7" fmla="*/ 1143 h 410357"/>
                <a:gd name="connsiteX8" fmla="*/ 3523 w 10633"/>
                <a:gd name="connsiteY8" fmla="*/ 1143 h 41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33" h="410357">
                  <a:moveTo>
                    <a:pt x="95" y="0"/>
                  </a:moveTo>
                  <a:lnTo>
                    <a:pt x="95" y="410358"/>
                  </a:lnTo>
                  <a:lnTo>
                    <a:pt x="95" y="410358"/>
                  </a:lnTo>
                  <a:cubicBezTo>
                    <a:pt x="-32" y="409811"/>
                    <a:pt x="-32" y="409253"/>
                    <a:pt x="95" y="408707"/>
                  </a:cubicBezTo>
                  <a:cubicBezTo>
                    <a:pt x="1250" y="406079"/>
                    <a:pt x="4196" y="404707"/>
                    <a:pt x="6952" y="405533"/>
                  </a:cubicBezTo>
                  <a:lnTo>
                    <a:pt x="10633" y="406675"/>
                  </a:lnTo>
                  <a:lnTo>
                    <a:pt x="10633" y="3301"/>
                  </a:lnTo>
                  <a:lnTo>
                    <a:pt x="3523" y="1143"/>
                  </a:lnTo>
                  <a:lnTo>
                    <a:pt x="3523" y="1143"/>
                  </a:lnTo>
                  <a:close/>
                </a:path>
              </a:pathLst>
            </a:custGeom>
            <a:solidFill>
              <a:srgbClr val="000000"/>
            </a:solidFill>
            <a:ln w="12690"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C3BC8238-3A4C-4875-8090-9CE251F65871}"/>
                </a:ext>
              </a:extLst>
            </p:cNvPr>
            <p:cNvSpPr/>
            <p:nvPr/>
          </p:nvSpPr>
          <p:spPr>
            <a:xfrm>
              <a:off x="10803728" y="1738685"/>
              <a:ext cx="1270697" cy="414547"/>
            </a:xfrm>
            <a:custGeom>
              <a:avLst/>
              <a:gdLst>
                <a:gd name="connsiteX0" fmla="*/ 0 w 1270697"/>
                <a:gd name="connsiteY0" fmla="*/ 8761 h 414547"/>
                <a:gd name="connsiteX1" fmla="*/ 1265873 w 1270697"/>
                <a:gd name="connsiteY1" fmla="*/ 413405 h 414547"/>
                <a:gd name="connsiteX2" fmla="*/ 1269555 w 1270697"/>
                <a:gd name="connsiteY2" fmla="*/ 414547 h 414547"/>
                <a:gd name="connsiteX3" fmla="*/ 1269555 w 1270697"/>
                <a:gd name="connsiteY3" fmla="*/ 414547 h 414547"/>
                <a:gd name="connsiteX4" fmla="*/ 1268667 w 1270697"/>
                <a:gd name="connsiteY4" fmla="*/ 414547 h 414547"/>
                <a:gd name="connsiteX5" fmla="*/ 1267651 w 1270697"/>
                <a:gd name="connsiteY5" fmla="*/ 413786 h 414547"/>
                <a:gd name="connsiteX6" fmla="*/ 1267651 w 1270697"/>
                <a:gd name="connsiteY6" fmla="*/ 413786 h 414547"/>
                <a:gd name="connsiteX7" fmla="*/ 1267651 w 1270697"/>
                <a:gd name="connsiteY7" fmla="*/ 413786 h 414547"/>
                <a:gd name="connsiteX8" fmla="*/ 1267651 w 1270697"/>
                <a:gd name="connsiteY8" fmla="*/ 412897 h 414547"/>
                <a:gd name="connsiteX9" fmla="*/ 1267651 w 1270697"/>
                <a:gd name="connsiteY9" fmla="*/ 412008 h 414547"/>
                <a:gd name="connsiteX10" fmla="*/ 1267651 w 1270697"/>
                <a:gd name="connsiteY10" fmla="*/ 411119 h 414547"/>
                <a:gd name="connsiteX11" fmla="*/ 1267651 w 1270697"/>
                <a:gd name="connsiteY11" fmla="*/ 410104 h 414547"/>
                <a:gd name="connsiteX12" fmla="*/ 1267651 w 1270697"/>
                <a:gd name="connsiteY12" fmla="*/ 409469 h 414547"/>
                <a:gd name="connsiteX13" fmla="*/ 1267651 w 1270697"/>
                <a:gd name="connsiteY13" fmla="*/ 409469 h 414547"/>
                <a:gd name="connsiteX14" fmla="*/ 1267651 w 1270697"/>
                <a:gd name="connsiteY14" fmla="*/ 408707 h 414547"/>
                <a:gd name="connsiteX15" fmla="*/ 1268285 w 1270697"/>
                <a:gd name="connsiteY15" fmla="*/ 407818 h 414547"/>
                <a:gd name="connsiteX16" fmla="*/ 1268285 w 1270697"/>
                <a:gd name="connsiteY16" fmla="*/ 407818 h 414547"/>
                <a:gd name="connsiteX17" fmla="*/ 1270698 w 1270697"/>
                <a:gd name="connsiteY17" fmla="*/ 405787 h 414547"/>
                <a:gd name="connsiteX18" fmla="*/ 5078 w 1270697"/>
                <a:gd name="connsiteY18" fmla="*/ 0 h 414547"/>
                <a:gd name="connsiteX19" fmla="*/ 0 w 1270697"/>
                <a:gd name="connsiteY19" fmla="*/ 4063 h 41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0697" h="414547">
                  <a:moveTo>
                    <a:pt x="0" y="8761"/>
                  </a:moveTo>
                  <a:lnTo>
                    <a:pt x="1265873" y="413405"/>
                  </a:lnTo>
                  <a:lnTo>
                    <a:pt x="1269555" y="414547"/>
                  </a:lnTo>
                  <a:lnTo>
                    <a:pt x="1269555" y="414547"/>
                  </a:lnTo>
                  <a:lnTo>
                    <a:pt x="1268667" y="414547"/>
                  </a:lnTo>
                  <a:cubicBezTo>
                    <a:pt x="1268273" y="414370"/>
                    <a:pt x="1267930" y="414103"/>
                    <a:pt x="1267651" y="413786"/>
                  </a:cubicBezTo>
                  <a:lnTo>
                    <a:pt x="1267651" y="413786"/>
                  </a:lnTo>
                  <a:lnTo>
                    <a:pt x="1267651" y="413786"/>
                  </a:lnTo>
                  <a:cubicBezTo>
                    <a:pt x="1267625" y="413494"/>
                    <a:pt x="1267625" y="413189"/>
                    <a:pt x="1267651" y="412897"/>
                  </a:cubicBezTo>
                  <a:cubicBezTo>
                    <a:pt x="1267575" y="412605"/>
                    <a:pt x="1267575" y="412300"/>
                    <a:pt x="1267651" y="412008"/>
                  </a:cubicBezTo>
                  <a:cubicBezTo>
                    <a:pt x="1267587" y="411716"/>
                    <a:pt x="1267587" y="411411"/>
                    <a:pt x="1267651" y="411119"/>
                  </a:cubicBezTo>
                  <a:cubicBezTo>
                    <a:pt x="1267587" y="410789"/>
                    <a:pt x="1267587" y="410434"/>
                    <a:pt x="1267651" y="410104"/>
                  </a:cubicBezTo>
                  <a:lnTo>
                    <a:pt x="1267651" y="409469"/>
                  </a:lnTo>
                  <a:lnTo>
                    <a:pt x="1267651" y="409469"/>
                  </a:lnTo>
                  <a:cubicBezTo>
                    <a:pt x="1267613" y="409215"/>
                    <a:pt x="1267613" y="408961"/>
                    <a:pt x="1267651" y="408707"/>
                  </a:cubicBezTo>
                  <a:cubicBezTo>
                    <a:pt x="1267790" y="408364"/>
                    <a:pt x="1268006" y="408059"/>
                    <a:pt x="1268285" y="407818"/>
                  </a:cubicBezTo>
                  <a:lnTo>
                    <a:pt x="1268285" y="407818"/>
                  </a:lnTo>
                  <a:lnTo>
                    <a:pt x="1270698" y="405787"/>
                  </a:lnTo>
                  <a:lnTo>
                    <a:pt x="5078" y="0"/>
                  </a:lnTo>
                  <a:lnTo>
                    <a:pt x="0" y="4063"/>
                  </a:lnTo>
                  <a:close/>
                </a:path>
              </a:pathLst>
            </a:custGeom>
            <a:solidFill>
              <a:srgbClr val="000000"/>
            </a:solidFill>
            <a:ln w="12690"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107047BB-F4D1-4177-94E0-C599989EC380}"/>
                </a:ext>
              </a:extLst>
            </p:cNvPr>
            <p:cNvSpPr/>
            <p:nvPr/>
          </p:nvSpPr>
          <p:spPr>
            <a:xfrm>
              <a:off x="10793824" y="1737162"/>
              <a:ext cx="12696" cy="761"/>
            </a:xfrm>
            <a:custGeom>
              <a:avLst/>
              <a:gdLst>
                <a:gd name="connsiteX0" fmla="*/ 0 w 12696"/>
                <a:gd name="connsiteY0" fmla="*/ 762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762"/>
                  </a:lnTo>
                  <a:lnTo>
                    <a:pt x="0" y="0"/>
                  </a:lnTo>
                  <a:close/>
                </a:path>
              </a:pathLst>
            </a:custGeom>
            <a:solidFill>
              <a:srgbClr val="000000"/>
            </a:solidFill>
            <a:ln w="12690"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8D763756-2D3D-4481-B537-3D9D83EEAF71}"/>
                </a:ext>
              </a:extLst>
            </p:cNvPr>
            <p:cNvSpPr/>
            <p:nvPr/>
          </p:nvSpPr>
          <p:spPr>
            <a:xfrm>
              <a:off x="10793190" y="17394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504741CA-5C6A-4F6B-B921-9768830F44EB}"/>
                </a:ext>
              </a:extLst>
            </p:cNvPr>
            <p:cNvSpPr/>
            <p:nvPr/>
          </p:nvSpPr>
          <p:spPr>
            <a:xfrm>
              <a:off x="11111372" y="1482085"/>
              <a:ext cx="1074912" cy="334939"/>
            </a:xfrm>
            <a:custGeom>
              <a:avLst/>
              <a:gdLst>
                <a:gd name="connsiteX0" fmla="*/ 0 w 1074912"/>
                <a:gd name="connsiteY0" fmla="*/ 0 h 334939"/>
                <a:gd name="connsiteX1" fmla="*/ 3047 w 1074912"/>
                <a:gd name="connsiteY1" fmla="*/ 1524 h 334939"/>
                <a:gd name="connsiteX2" fmla="*/ 3453 w 1074912"/>
                <a:gd name="connsiteY2" fmla="*/ 7974 h 334939"/>
                <a:gd name="connsiteX3" fmla="*/ 3047 w 1074912"/>
                <a:gd name="connsiteY3" fmla="*/ 8380 h 334939"/>
                <a:gd name="connsiteX4" fmla="*/ 635 w 1074912"/>
                <a:gd name="connsiteY4" fmla="*/ 10284 h 334939"/>
                <a:gd name="connsiteX5" fmla="*/ 1074913 w 1074912"/>
                <a:gd name="connsiteY5" fmla="*/ 334939 h 334939"/>
                <a:gd name="connsiteX6" fmla="*/ 1074913 w 1074912"/>
                <a:gd name="connsiteY6" fmla="*/ 324655 h 334939"/>
                <a:gd name="connsiteX7" fmla="*/ 1142 w 1074912"/>
                <a:gd name="connsiteY7" fmla="*/ 127 h 33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4912" h="334939">
                  <a:moveTo>
                    <a:pt x="0" y="0"/>
                  </a:moveTo>
                  <a:cubicBezTo>
                    <a:pt x="1155" y="165"/>
                    <a:pt x="2222" y="698"/>
                    <a:pt x="3047" y="1524"/>
                  </a:cubicBezTo>
                  <a:cubicBezTo>
                    <a:pt x="4939" y="3200"/>
                    <a:pt x="5117" y="6082"/>
                    <a:pt x="3453" y="7974"/>
                  </a:cubicBezTo>
                  <a:cubicBezTo>
                    <a:pt x="3327" y="8113"/>
                    <a:pt x="3187" y="8253"/>
                    <a:pt x="3047" y="8380"/>
                  </a:cubicBezTo>
                  <a:lnTo>
                    <a:pt x="635" y="10284"/>
                  </a:lnTo>
                  <a:lnTo>
                    <a:pt x="1074913" y="334939"/>
                  </a:lnTo>
                  <a:lnTo>
                    <a:pt x="1074913" y="324655"/>
                  </a:lnTo>
                  <a:lnTo>
                    <a:pt x="1142" y="127"/>
                  </a:lnTo>
                  <a:close/>
                </a:path>
              </a:pathLst>
            </a:custGeom>
            <a:solidFill>
              <a:srgbClr val="000000"/>
            </a:solidFill>
            <a:ln w="12690"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15197C0B-4257-4D1B-BE3C-1D0B53EFBF74}"/>
                </a:ext>
              </a:extLst>
            </p:cNvPr>
            <p:cNvSpPr/>
            <p:nvPr/>
          </p:nvSpPr>
          <p:spPr>
            <a:xfrm>
              <a:off x="12070617" y="2151328"/>
              <a:ext cx="634" cy="634"/>
            </a:xfrm>
            <a:custGeom>
              <a:avLst/>
              <a:gdLst>
                <a:gd name="connsiteX0" fmla="*/ 635 w 634"/>
                <a:gd name="connsiteY0" fmla="*/ 635 h 634"/>
                <a:gd name="connsiteX1" fmla="*/ 0 w 634"/>
                <a:gd name="connsiteY1" fmla="*/ 0 h 634"/>
                <a:gd name="connsiteX2" fmla="*/ 0 w 634"/>
                <a:gd name="connsiteY2" fmla="*/ 0 h 634"/>
              </a:gdLst>
              <a:ahLst/>
              <a:cxnLst>
                <a:cxn ang="0">
                  <a:pos x="connsiteX0" y="connsiteY0"/>
                </a:cxn>
                <a:cxn ang="0">
                  <a:pos x="connsiteX1" y="connsiteY1"/>
                </a:cxn>
                <a:cxn ang="0">
                  <a:pos x="connsiteX2" y="connsiteY2"/>
                </a:cxn>
              </a:cxnLst>
              <a:rect l="l" t="t" r="r" b="b"/>
              <a:pathLst>
                <a:path w="634" h="634">
                  <a:moveTo>
                    <a:pt x="635" y="635"/>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EC588397-BC65-4188-8DA3-61D6BBA5FCE6}"/>
                </a:ext>
              </a:extLst>
            </p:cNvPr>
            <p:cNvSpPr/>
            <p:nvPr/>
          </p:nvSpPr>
          <p:spPr>
            <a:xfrm>
              <a:off x="12071379" y="2052167"/>
              <a:ext cx="114652" cy="94336"/>
            </a:xfrm>
            <a:custGeom>
              <a:avLst/>
              <a:gdLst>
                <a:gd name="connsiteX0" fmla="*/ 0 w 114652"/>
                <a:gd name="connsiteY0" fmla="*/ 92813 h 94336"/>
                <a:gd name="connsiteX1" fmla="*/ 0 w 114652"/>
                <a:gd name="connsiteY1" fmla="*/ 92813 h 94336"/>
                <a:gd name="connsiteX2" fmla="*/ 5460 w 114652"/>
                <a:gd name="connsiteY2" fmla="*/ 91670 h 94336"/>
                <a:gd name="connsiteX3" fmla="*/ 14347 w 114652"/>
                <a:gd name="connsiteY3" fmla="*/ 94336 h 94336"/>
                <a:gd name="connsiteX4" fmla="*/ 114653 w 114652"/>
                <a:gd name="connsiteY4" fmla="*/ 12697 h 94336"/>
                <a:gd name="connsiteX5" fmla="*/ 114653 w 114652"/>
                <a:gd name="connsiteY5" fmla="*/ 0 h 94336"/>
                <a:gd name="connsiteX6" fmla="*/ 2540 w 114652"/>
                <a:gd name="connsiteY6" fmla="*/ 91162 h 9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52" h="94336">
                  <a:moveTo>
                    <a:pt x="0" y="92813"/>
                  </a:moveTo>
                  <a:lnTo>
                    <a:pt x="0" y="92813"/>
                  </a:lnTo>
                  <a:cubicBezTo>
                    <a:pt x="1486" y="91480"/>
                    <a:pt x="3568" y="91048"/>
                    <a:pt x="5460" y="91670"/>
                  </a:cubicBezTo>
                  <a:lnTo>
                    <a:pt x="14347" y="94336"/>
                  </a:lnTo>
                  <a:lnTo>
                    <a:pt x="114653" y="12697"/>
                  </a:lnTo>
                  <a:lnTo>
                    <a:pt x="114653" y="0"/>
                  </a:lnTo>
                  <a:lnTo>
                    <a:pt x="2540" y="91162"/>
                  </a:lnTo>
                  <a:close/>
                </a:path>
              </a:pathLst>
            </a:custGeom>
            <a:solidFill>
              <a:srgbClr val="000000"/>
            </a:solidFill>
            <a:ln w="12690"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BEBBF9D1-A12D-457D-BB58-1561FBC0472C}"/>
                </a:ext>
              </a:extLst>
            </p:cNvPr>
            <p:cNvSpPr/>
            <p:nvPr/>
          </p:nvSpPr>
          <p:spPr>
            <a:xfrm>
              <a:off x="10467516" y="1820452"/>
              <a:ext cx="325928" cy="237174"/>
            </a:xfrm>
            <a:custGeom>
              <a:avLst/>
              <a:gdLst>
                <a:gd name="connsiteX0" fmla="*/ 325420 w 325928"/>
                <a:gd name="connsiteY0" fmla="*/ 381 h 237174"/>
                <a:gd name="connsiteX1" fmla="*/ 1651 w 325928"/>
                <a:gd name="connsiteY1" fmla="*/ 223716 h 237174"/>
                <a:gd name="connsiteX2" fmla="*/ 1651 w 325928"/>
                <a:gd name="connsiteY2" fmla="*/ 233492 h 237174"/>
                <a:gd name="connsiteX3" fmla="*/ 1651 w 325928"/>
                <a:gd name="connsiteY3" fmla="*/ 234381 h 237174"/>
                <a:gd name="connsiteX4" fmla="*/ 1651 w 325928"/>
                <a:gd name="connsiteY4" fmla="*/ 235143 h 237174"/>
                <a:gd name="connsiteX5" fmla="*/ 1651 w 325928"/>
                <a:gd name="connsiteY5" fmla="*/ 235143 h 237174"/>
                <a:gd name="connsiteX6" fmla="*/ 0 w 325928"/>
                <a:gd name="connsiteY6" fmla="*/ 237174 h 237174"/>
                <a:gd name="connsiteX7" fmla="*/ 0 w 325928"/>
                <a:gd name="connsiteY7" fmla="*/ 237174 h 237174"/>
                <a:gd name="connsiteX8" fmla="*/ 325928 w 325928"/>
                <a:gd name="connsiteY8" fmla="*/ 12697 h 237174"/>
                <a:gd name="connsiteX9" fmla="*/ 325928 w 325928"/>
                <a:gd name="connsiteY9" fmla="*/ 0 h 23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928" h="237174">
                  <a:moveTo>
                    <a:pt x="325420" y="381"/>
                  </a:moveTo>
                  <a:lnTo>
                    <a:pt x="1651" y="223716"/>
                  </a:lnTo>
                  <a:lnTo>
                    <a:pt x="1651" y="233492"/>
                  </a:lnTo>
                  <a:cubicBezTo>
                    <a:pt x="1651" y="233492"/>
                    <a:pt x="1651" y="234127"/>
                    <a:pt x="1651" y="234381"/>
                  </a:cubicBezTo>
                  <a:cubicBezTo>
                    <a:pt x="1714" y="234635"/>
                    <a:pt x="1714" y="234889"/>
                    <a:pt x="1651" y="235143"/>
                  </a:cubicBezTo>
                  <a:lnTo>
                    <a:pt x="1651" y="235143"/>
                  </a:lnTo>
                  <a:cubicBezTo>
                    <a:pt x="1334" y="235981"/>
                    <a:pt x="749" y="236692"/>
                    <a:pt x="0" y="237174"/>
                  </a:cubicBezTo>
                  <a:lnTo>
                    <a:pt x="0" y="237174"/>
                  </a:lnTo>
                  <a:lnTo>
                    <a:pt x="325928" y="12697"/>
                  </a:lnTo>
                  <a:lnTo>
                    <a:pt x="325928" y="0"/>
                  </a:lnTo>
                  <a:close/>
                </a:path>
              </a:pathLst>
            </a:custGeom>
            <a:solidFill>
              <a:srgbClr val="000000"/>
            </a:solidFill>
            <a:ln w="12690"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DB75E3DD-30C8-489A-92E1-4E4D6037A89F}"/>
                </a:ext>
              </a:extLst>
            </p:cNvPr>
            <p:cNvSpPr/>
            <p:nvPr/>
          </p:nvSpPr>
          <p:spPr>
            <a:xfrm>
              <a:off x="10466627" y="20578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39A42858-2D8D-4392-A05F-6BE5DA802594}"/>
                </a:ext>
              </a:extLst>
            </p:cNvPr>
            <p:cNvSpPr/>
            <p:nvPr/>
          </p:nvSpPr>
          <p:spPr>
            <a:xfrm>
              <a:off x="10468903" y="2054579"/>
              <a:ext cx="56" cy="888"/>
            </a:xfrm>
            <a:custGeom>
              <a:avLst/>
              <a:gdLst>
                <a:gd name="connsiteX0" fmla="*/ 10 w 56"/>
                <a:gd name="connsiteY0" fmla="*/ 762 h 888"/>
                <a:gd name="connsiteX1" fmla="*/ 10 w 56"/>
                <a:gd name="connsiteY1" fmla="*/ 0 h 888"/>
                <a:gd name="connsiteX2" fmla="*/ 10 w 56"/>
                <a:gd name="connsiteY2" fmla="*/ 889 h 888"/>
              </a:gdLst>
              <a:ahLst/>
              <a:cxnLst>
                <a:cxn ang="0">
                  <a:pos x="connsiteX0" y="connsiteY0"/>
                </a:cxn>
                <a:cxn ang="0">
                  <a:pos x="connsiteX1" y="connsiteY1"/>
                </a:cxn>
                <a:cxn ang="0">
                  <a:pos x="connsiteX2" y="connsiteY2"/>
                </a:cxn>
              </a:cxnLst>
              <a:rect l="l" t="t" r="r" b="b"/>
              <a:pathLst>
                <a:path w="56" h="888">
                  <a:moveTo>
                    <a:pt x="10" y="762"/>
                  </a:moveTo>
                  <a:cubicBezTo>
                    <a:pt x="73" y="508"/>
                    <a:pt x="73" y="254"/>
                    <a:pt x="10" y="0"/>
                  </a:cubicBezTo>
                  <a:cubicBezTo>
                    <a:pt x="-3" y="292"/>
                    <a:pt x="-3" y="597"/>
                    <a:pt x="10" y="889"/>
                  </a:cubicBezTo>
                  <a:close/>
                </a:path>
              </a:pathLst>
            </a:custGeom>
            <a:solidFill>
              <a:srgbClr val="000000"/>
            </a:solidFill>
            <a:ln w="12690"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EA56E577-FA36-458C-A7F9-6E7A09236C71}"/>
                </a:ext>
              </a:extLst>
            </p:cNvPr>
            <p:cNvSpPr/>
            <p:nvPr/>
          </p:nvSpPr>
          <p:spPr>
            <a:xfrm>
              <a:off x="8495699" y="1455803"/>
              <a:ext cx="1968262" cy="602600"/>
            </a:xfrm>
            <a:custGeom>
              <a:avLst/>
              <a:gdLst>
                <a:gd name="connsiteX0" fmla="*/ 1962675 w 1968262"/>
                <a:gd name="connsiteY0" fmla="*/ 597888 h 602600"/>
                <a:gd name="connsiteX1" fmla="*/ 1962675 w 1968262"/>
                <a:gd name="connsiteY1" fmla="*/ 591159 h 602600"/>
                <a:gd name="connsiteX2" fmla="*/ 7364 w 1968262"/>
                <a:gd name="connsiteY2" fmla="*/ 0 h 602600"/>
                <a:gd name="connsiteX3" fmla="*/ 7364 w 1968262"/>
                <a:gd name="connsiteY3" fmla="*/ 3555 h 602600"/>
                <a:gd name="connsiteX4" fmla="*/ 1917 w 1968262"/>
                <a:gd name="connsiteY4" fmla="*/ 8507 h 602600"/>
                <a:gd name="connsiteX5" fmla="*/ 1905 w 1968262"/>
                <a:gd name="connsiteY5" fmla="*/ 8507 h 602600"/>
                <a:gd name="connsiteX6" fmla="*/ 0 w 1968262"/>
                <a:gd name="connsiteY6" fmla="*/ 8507 h 602600"/>
                <a:gd name="connsiteX7" fmla="*/ 0 w 1968262"/>
                <a:gd name="connsiteY7" fmla="*/ 8507 h 602600"/>
                <a:gd name="connsiteX8" fmla="*/ 1966484 w 1968262"/>
                <a:gd name="connsiteY8" fmla="*/ 602586 h 602600"/>
                <a:gd name="connsiteX9" fmla="*/ 1968262 w 1968262"/>
                <a:gd name="connsiteY9" fmla="*/ 602586 h 602600"/>
                <a:gd name="connsiteX10" fmla="*/ 1962675 w 1968262"/>
                <a:gd name="connsiteY10" fmla="*/ 597888 h 60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8262" h="602600">
                  <a:moveTo>
                    <a:pt x="1962675" y="597888"/>
                  </a:moveTo>
                  <a:lnTo>
                    <a:pt x="1962675" y="591159"/>
                  </a:lnTo>
                  <a:lnTo>
                    <a:pt x="7364" y="0"/>
                  </a:lnTo>
                  <a:lnTo>
                    <a:pt x="7364" y="3555"/>
                  </a:lnTo>
                  <a:cubicBezTo>
                    <a:pt x="7225" y="6424"/>
                    <a:pt x="4787" y="8646"/>
                    <a:pt x="1917" y="8507"/>
                  </a:cubicBezTo>
                  <a:cubicBezTo>
                    <a:pt x="1917" y="8507"/>
                    <a:pt x="1905" y="8507"/>
                    <a:pt x="1905" y="8507"/>
                  </a:cubicBezTo>
                  <a:lnTo>
                    <a:pt x="0" y="8507"/>
                  </a:lnTo>
                  <a:lnTo>
                    <a:pt x="0" y="8507"/>
                  </a:lnTo>
                  <a:lnTo>
                    <a:pt x="1966484" y="602586"/>
                  </a:lnTo>
                  <a:lnTo>
                    <a:pt x="1968262" y="602586"/>
                  </a:lnTo>
                  <a:cubicBezTo>
                    <a:pt x="1965430" y="602801"/>
                    <a:pt x="1962942" y="600719"/>
                    <a:pt x="1962675" y="597888"/>
                  </a:cubicBezTo>
                  <a:close/>
                </a:path>
              </a:pathLst>
            </a:custGeom>
            <a:solidFill>
              <a:srgbClr val="000000"/>
            </a:solidFill>
            <a:ln w="12690"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78029CCA-6A96-4CA5-904D-E2A062082542}"/>
                </a:ext>
              </a:extLst>
            </p:cNvPr>
            <p:cNvSpPr/>
            <p:nvPr/>
          </p:nvSpPr>
          <p:spPr>
            <a:xfrm>
              <a:off x="8492906" y="104316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FC3DDFFA-A349-4D3D-838B-CCD968BC6787}"/>
                </a:ext>
              </a:extLst>
            </p:cNvPr>
            <p:cNvSpPr/>
            <p:nvPr/>
          </p:nvSpPr>
          <p:spPr>
            <a:xfrm>
              <a:off x="8494175" y="104112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D792597C-A747-4809-AA52-7EBA77F16B1F}"/>
                </a:ext>
              </a:extLst>
            </p:cNvPr>
            <p:cNvSpPr/>
            <p:nvPr/>
          </p:nvSpPr>
          <p:spPr>
            <a:xfrm>
              <a:off x="8493629" y="1047096"/>
              <a:ext cx="9687" cy="415794"/>
            </a:xfrm>
            <a:custGeom>
              <a:avLst/>
              <a:gdLst>
                <a:gd name="connsiteX0" fmla="*/ 9687 w 9687"/>
                <a:gd name="connsiteY0" fmla="*/ 412262 h 415794"/>
                <a:gd name="connsiteX1" fmla="*/ 9687 w 9687"/>
                <a:gd name="connsiteY1" fmla="*/ 4825 h 415794"/>
                <a:gd name="connsiteX2" fmla="*/ 2577 w 9687"/>
                <a:gd name="connsiteY2" fmla="*/ 2666 h 415794"/>
                <a:gd name="connsiteX3" fmla="*/ 2577 w 9687"/>
                <a:gd name="connsiteY3" fmla="*/ 2666 h 415794"/>
                <a:gd name="connsiteX4" fmla="*/ 1815 w 9687"/>
                <a:gd name="connsiteY4" fmla="*/ 2666 h 415794"/>
                <a:gd name="connsiteX5" fmla="*/ 673 w 9687"/>
                <a:gd name="connsiteY5" fmla="*/ 2666 h 415794"/>
                <a:gd name="connsiteX6" fmla="*/ 673 w 9687"/>
                <a:gd name="connsiteY6" fmla="*/ 2666 h 415794"/>
                <a:gd name="connsiteX7" fmla="*/ 673 w 9687"/>
                <a:gd name="connsiteY7" fmla="*/ 2666 h 415794"/>
                <a:gd name="connsiteX8" fmla="*/ 38 w 9687"/>
                <a:gd name="connsiteY8" fmla="*/ 1778 h 415794"/>
                <a:gd name="connsiteX9" fmla="*/ 38 w 9687"/>
                <a:gd name="connsiteY9" fmla="*/ 889 h 415794"/>
                <a:gd name="connsiteX10" fmla="*/ 38 w 9687"/>
                <a:gd name="connsiteY10" fmla="*/ 0 h 415794"/>
                <a:gd name="connsiteX11" fmla="*/ 38 w 9687"/>
                <a:gd name="connsiteY11" fmla="*/ 0 h 415794"/>
                <a:gd name="connsiteX12" fmla="*/ 38 w 9687"/>
                <a:gd name="connsiteY12" fmla="*/ 413024 h 415794"/>
                <a:gd name="connsiteX13" fmla="*/ 38 w 9687"/>
                <a:gd name="connsiteY13" fmla="*/ 414040 h 415794"/>
                <a:gd name="connsiteX14" fmla="*/ 38 w 9687"/>
                <a:gd name="connsiteY14" fmla="*/ 414801 h 415794"/>
                <a:gd name="connsiteX15" fmla="*/ 38 w 9687"/>
                <a:gd name="connsiteY15" fmla="*/ 415690 h 415794"/>
                <a:gd name="connsiteX16" fmla="*/ 38 w 9687"/>
                <a:gd name="connsiteY16" fmla="*/ 415690 h 415794"/>
                <a:gd name="connsiteX17" fmla="*/ 927 w 9687"/>
                <a:gd name="connsiteY17" fmla="*/ 415690 h 415794"/>
                <a:gd name="connsiteX18" fmla="*/ 1815 w 9687"/>
                <a:gd name="connsiteY18" fmla="*/ 415690 h 415794"/>
                <a:gd name="connsiteX19" fmla="*/ 3720 w 9687"/>
                <a:gd name="connsiteY19" fmla="*/ 415690 h 415794"/>
                <a:gd name="connsiteX20" fmla="*/ 9687 w 9687"/>
                <a:gd name="connsiteY20" fmla="*/ 412262 h 41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87" h="415794">
                  <a:moveTo>
                    <a:pt x="9687" y="412262"/>
                  </a:moveTo>
                  <a:lnTo>
                    <a:pt x="9687" y="4825"/>
                  </a:lnTo>
                  <a:lnTo>
                    <a:pt x="2577" y="2666"/>
                  </a:lnTo>
                  <a:lnTo>
                    <a:pt x="2577" y="2666"/>
                  </a:lnTo>
                  <a:cubicBezTo>
                    <a:pt x="2577" y="2666"/>
                    <a:pt x="2577" y="2666"/>
                    <a:pt x="1815" y="2666"/>
                  </a:cubicBezTo>
                  <a:lnTo>
                    <a:pt x="673" y="2666"/>
                  </a:lnTo>
                  <a:cubicBezTo>
                    <a:pt x="673" y="2666"/>
                    <a:pt x="673" y="2666"/>
                    <a:pt x="673" y="2666"/>
                  </a:cubicBezTo>
                  <a:cubicBezTo>
                    <a:pt x="673" y="2666"/>
                    <a:pt x="673" y="2666"/>
                    <a:pt x="673" y="2666"/>
                  </a:cubicBezTo>
                  <a:lnTo>
                    <a:pt x="38" y="1778"/>
                  </a:lnTo>
                  <a:cubicBezTo>
                    <a:pt x="25" y="1482"/>
                    <a:pt x="25" y="1185"/>
                    <a:pt x="38" y="889"/>
                  </a:cubicBezTo>
                  <a:cubicBezTo>
                    <a:pt x="38" y="889"/>
                    <a:pt x="38" y="889"/>
                    <a:pt x="38" y="0"/>
                  </a:cubicBezTo>
                  <a:lnTo>
                    <a:pt x="38" y="0"/>
                  </a:lnTo>
                  <a:lnTo>
                    <a:pt x="38" y="413024"/>
                  </a:lnTo>
                  <a:cubicBezTo>
                    <a:pt x="-13" y="413354"/>
                    <a:pt x="-13" y="413709"/>
                    <a:pt x="38" y="414040"/>
                  </a:cubicBezTo>
                  <a:cubicBezTo>
                    <a:pt x="-13" y="414293"/>
                    <a:pt x="-13" y="414547"/>
                    <a:pt x="38" y="414801"/>
                  </a:cubicBezTo>
                  <a:cubicBezTo>
                    <a:pt x="13" y="415093"/>
                    <a:pt x="13" y="415398"/>
                    <a:pt x="38" y="415690"/>
                  </a:cubicBezTo>
                  <a:lnTo>
                    <a:pt x="38" y="415690"/>
                  </a:lnTo>
                  <a:lnTo>
                    <a:pt x="927" y="415690"/>
                  </a:lnTo>
                  <a:lnTo>
                    <a:pt x="1815" y="415690"/>
                  </a:lnTo>
                  <a:lnTo>
                    <a:pt x="3720" y="415690"/>
                  </a:lnTo>
                  <a:cubicBezTo>
                    <a:pt x="6285" y="416211"/>
                    <a:pt x="8850" y="414738"/>
                    <a:pt x="9687" y="412262"/>
                  </a:cubicBezTo>
                  <a:close/>
                </a:path>
              </a:pathLst>
            </a:custGeom>
            <a:solidFill>
              <a:srgbClr val="000000"/>
            </a:solidFill>
            <a:ln w="12690"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7BB4839D-422C-4E97-9064-C0D0CCD2FBF9}"/>
                </a:ext>
              </a:extLst>
            </p:cNvPr>
            <p:cNvSpPr/>
            <p:nvPr/>
          </p:nvSpPr>
          <p:spPr>
            <a:xfrm>
              <a:off x="10458501" y="1641936"/>
              <a:ext cx="10284" cy="416838"/>
            </a:xfrm>
            <a:custGeom>
              <a:avLst/>
              <a:gdLst>
                <a:gd name="connsiteX0" fmla="*/ 10284 w 10284"/>
                <a:gd name="connsiteY0" fmla="*/ 413532 h 416838"/>
                <a:gd name="connsiteX1" fmla="*/ 10284 w 10284"/>
                <a:gd name="connsiteY1" fmla="*/ 412643 h 416838"/>
                <a:gd name="connsiteX2" fmla="*/ 10284 w 10284"/>
                <a:gd name="connsiteY2" fmla="*/ 411754 h 416838"/>
                <a:gd name="connsiteX3" fmla="*/ 10284 w 10284"/>
                <a:gd name="connsiteY3" fmla="*/ 0 h 416838"/>
                <a:gd name="connsiteX4" fmla="*/ 8125 w 10284"/>
                <a:gd name="connsiteY4" fmla="*/ 1524 h 416838"/>
                <a:gd name="connsiteX5" fmla="*/ 8125 w 10284"/>
                <a:gd name="connsiteY5" fmla="*/ 1524 h 416838"/>
                <a:gd name="connsiteX6" fmla="*/ 4951 w 10284"/>
                <a:gd name="connsiteY6" fmla="*/ 2412 h 416838"/>
                <a:gd name="connsiteX7" fmla="*/ 3682 w 10284"/>
                <a:gd name="connsiteY7" fmla="*/ 2412 h 416838"/>
                <a:gd name="connsiteX8" fmla="*/ 0 w 10284"/>
                <a:gd name="connsiteY8" fmla="*/ 1270 h 416838"/>
                <a:gd name="connsiteX9" fmla="*/ 0 w 10284"/>
                <a:gd name="connsiteY9" fmla="*/ 411881 h 416838"/>
                <a:gd name="connsiteX10" fmla="*/ 5446 w 10284"/>
                <a:gd name="connsiteY10" fmla="*/ 416833 h 416838"/>
                <a:gd name="connsiteX11" fmla="*/ 5460 w 10284"/>
                <a:gd name="connsiteY11" fmla="*/ 416833 h 416838"/>
                <a:gd name="connsiteX12" fmla="*/ 8252 w 10284"/>
                <a:gd name="connsiteY12" fmla="*/ 416071 h 416838"/>
                <a:gd name="connsiteX13" fmla="*/ 8252 w 10284"/>
                <a:gd name="connsiteY13" fmla="*/ 416071 h 416838"/>
                <a:gd name="connsiteX14" fmla="*/ 10284 w 10284"/>
                <a:gd name="connsiteY14" fmla="*/ 413532 h 41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84" h="416838">
                  <a:moveTo>
                    <a:pt x="10284" y="413532"/>
                  </a:moveTo>
                  <a:cubicBezTo>
                    <a:pt x="10271" y="413240"/>
                    <a:pt x="10271" y="412935"/>
                    <a:pt x="10284" y="412643"/>
                  </a:cubicBezTo>
                  <a:cubicBezTo>
                    <a:pt x="10284" y="412643"/>
                    <a:pt x="10284" y="412643"/>
                    <a:pt x="10284" y="411754"/>
                  </a:cubicBezTo>
                  <a:lnTo>
                    <a:pt x="10284" y="0"/>
                  </a:lnTo>
                  <a:lnTo>
                    <a:pt x="8125" y="1524"/>
                  </a:lnTo>
                  <a:lnTo>
                    <a:pt x="8125" y="1524"/>
                  </a:lnTo>
                  <a:cubicBezTo>
                    <a:pt x="7186" y="2146"/>
                    <a:pt x="6082" y="2450"/>
                    <a:pt x="4951" y="2412"/>
                  </a:cubicBezTo>
                  <a:lnTo>
                    <a:pt x="3682" y="2412"/>
                  </a:lnTo>
                  <a:lnTo>
                    <a:pt x="0" y="1270"/>
                  </a:lnTo>
                  <a:lnTo>
                    <a:pt x="0" y="411881"/>
                  </a:lnTo>
                  <a:cubicBezTo>
                    <a:pt x="139" y="414750"/>
                    <a:pt x="2577" y="416972"/>
                    <a:pt x="5446" y="416833"/>
                  </a:cubicBezTo>
                  <a:cubicBezTo>
                    <a:pt x="5446" y="416833"/>
                    <a:pt x="5460" y="416833"/>
                    <a:pt x="5460" y="416833"/>
                  </a:cubicBezTo>
                  <a:cubicBezTo>
                    <a:pt x="6437" y="416782"/>
                    <a:pt x="7389" y="416515"/>
                    <a:pt x="8252" y="416071"/>
                  </a:cubicBezTo>
                  <a:lnTo>
                    <a:pt x="8252" y="416071"/>
                  </a:lnTo>
                  <a:cubicBezTo>
                    <a:pt x="9243" y="415538"/>
                    <a:pt x="9979" y="414611"/>
                    <a:pt x="10284" y="413532"/>
                  </a:cubicBezTo>
                  <a:close/>
                </a:path>
              </a:pathLst>
            </a:custGeom>
            <a:solidFill>
              <a:srgbClr val="000000"/>
            </a:solidFill>
            <a:ln w="12690"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D2819BCA-F9C5-49F1-B644-A16F91E8ED0E}"/>
                </a:ext>
              </a:extLst>
            </p:cNvPr>
            <p:cNvSpPr/>
            <p:nvPr/>
          </p:nvSpPr>
          <p:spPr>
            <a:xfrm>
              <a:off x="8492906" y="1042525"/>
              <a:ext cx="9" cy="888"/>
            </a:xfrm>
            <a:custGeom>
              <a:avLst/>
              <a:gdLst>
                <a:gd name="connsiteX0" fmla="*/ 0 w 9"/>
                <a:gd name="connsiteY0" fmla="*/ 889 h 888"/>
                <a:gd name="connsiteX1" fmla="*/ 0 w 9"/>
                <a:gd name="connsiteY1" fmla="*/ 889 h 888"/>
                <a:gd name="connsiteX2" fmla="*/ 0 w 9"/>
                <a:gd name="connsiteY2" fmla="*/ 889 h 888"/>
                <a:gd name="connsiteX3" fmla="*/ 0 w 9"/>
                <a:gd name="connsiteY3" fmla="*/ 0 h 888"/>
              </a:gdLst>
              <a:ahLst/>
              <a:cxnLst>
                <a:cxn ang="0">
                  <a:pos x="connsiteX0" y="connsiteY0"/>
                </a:cxn>
                <a:cxn ang="0">
                  <a:pos x="connsiteX1" y="connsiteY1"/>
                </a:cxn>
                <a:cxn ang="0">
                  <a:pos x="connsiteX2" y="connsiteY2"/>
                </a:cxn>
                <a:cxn ang="0">
                  <a:pos x="connsiteX3" y="connsiteY3"/>
                </a:cxn>
              </a:cxnLst>
              <a:rect l="l" t="t" r="r" b="b"/>
              <a:pathLst>
                <a:path w="9" h="888">
                  <a:moveTo>
                    <a:pt x="0" y="889"/>
                  </a:moveTo>
                  <a:lnTo>
                    <a:pt x="0" y="889"/>
                  </a:lnTo>
                  <a:cubicBezTo>
                    <a:pt x="0" y="889"/>
                    <a:pt x="0" y="889"/>
                    <a:pt x="0" y="889"/>
                  </a:cubicBezTo>
                  <a:cubicBezTo>
                    <a:pt x="12" y="593"/>
                    <a:pt x="12" y="296"/>
                    <a:pt x="0" y="0"/>
                  </a:cubicBezTo>
                  <a:close/>
                </a:path>
              </a:pathLst>
            </a:custGeom>
            <a:solidFill>
              <a:srgbClr val="000000"/>
            </a:solidFill>
            <a:ln w="12690"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B492A0E1-1C1B-4793-898C-402330F774EC}"/>
                </a:ext>
              </a:extLst>
            </p:cNvPr>
            <p:cNvSpPr/>
            <p:nvPr/>
          </p:nvSpPr>
          <p:spPr>
            <a:xfrm>
              <a:off x="8494175" y="1041763"/>
              <a:ext cx="28" cy="761"/>
            </a:xfrm>
            <a:custGeom>
              <a:avLst/>
              <a:gdLst>
                <a:gd name="connsiteX0" fmla="*/ 0 w 28"/>
                <a:gd name="connsiteY0" fmla="*/ 0 h 761"/>
                <a:gd name="connsiteX1" fmla="*/ 0 w 28"/>
                <a:gd name="connsiteY1" fmla="*/ 762 h 761"/>
                <a:gd name="connsiteX2" fmla="*/ 0 w 28"/>
                <a:gd name="connsiteY2" fmla="*/ 0 h 761"/>
              </a:gdLst>
              <a:ahLst/>
              <a:cxnLst>
                <a:cxn ang="0">
                  <a:pos x="connsiteX0" y="connsiteY0"/>
                </a:cxn>
                <a:cxn ang="0">
                  <a:pos x="connsiteX1" y="connsiteY1"/>
                </a:cxn>
                <a:cxn ang="0">
                  <a:pos x="connsiteX2" y="connsiteY2"/>
                </a:cxn>
              </a:cxnLst>
              <a:rect l="l" t="t" r="r" b="b"/>
              <a:pathLst>
                <a:path w="28" h="761">
                  <a:moveTo>
                    <a:pt x="0" y="0"/>
                  </a:moveTo>
                  <a:cubicBezTo>
                    <a:pt x="38" y="253"/>
                    <a:pt x="38" y="509"/>
                    <a:pt x="0" y="762"/>
                  </a:cubicBezTo>
                  <a:cubicBezTo>
                    <a:pt x="0" y="762"/>
                    <a:pt x="0" y="762"/>
                    <a:pt x="0" y="0"/>
                  </a:cubicBezTo>
                  <a:close/>
                </a:path>
              </a:pathLst>
            </a:custGeom>
            <a:solidFill>
              <a:srgbClr val="000000"/>
            </a:solidFill>
            <a:ln w="12690"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B4925845-0B0A-4922-ADD7-7B9A8E3FE649}"/>
                </a:ext>
              </a:extLst>
            </p:cNvPr>
            <p:cNvSpPr/>
            <p:nvPr/>
          </p:nvSpPr>
          <p:spPr>
            <a:xfrm>
              <a:off x="8495953" y="1043160"/>
              <a:ext cx="1967880" cy="601318"/>
            </a:xfrm>
            <a:custGeom>
              <a:avLst/>
              <a:gdLst>
                <a:gd name="connsiteX0" fmla="*/ 1964580 w 1967880"/>
                <a:gd name="connsiteY0" fmla="*/ 592428 h 601318"/>
                <a:gd name="connsiteX1" fmla="*/ 1966865 w 1967880"/>
                <a:gd name="connsiteY1" fmla="*/ 590905 h 601318"/>
                <a:gd name="connsiteX2" fmla="*/ 12443 w 1967880"/>
                <a:gd name="connsiteY2" fmla="*/ 0 h 601318"/>
                <a:gd name="connsiteX3" fmla="*/ 5587 w 1967880"/>
                <a:gd name="connsiteY3" fmla="*/ 5586 h 601318"/>
                <a:gd name="connsiteX4" fmla="*/ 1904 w 1967880"/>
                <a:gd name="connsiteY4" fmla="*/ 6856 h 601318"/>
                <a:gd name="connsiteX5" fmla="*/ 0 w 1967880"/>
                <a:gd name="connsiteY5" fmla="*/ 6856 h 601318"/>
                <a:gd name="connsiteX6" fmla="*/ 0 w 1967880"/>
                <a:gd name="connsiteY6" fmla="*/ 6856 h 601318"/>
                <a:gd name="connsiteX7" fmla="*/ 7110 w 1967880"/>
                <a:gd name="connsiteY7" fmla="*/ 9015 h 601318"/>
                <a:gd name="connsiteX8" fmla="*/ 1962421 w 1967880"/>
                <a:gd name="connsiteY8" fmla="*/ 600173 h 601318"/>
                <a:gd name="connsiteX9" fmla="*/ 1966103 w 1967880"/>
                <a:gd name="connsiteY9" fmla="*/ 601316 h 601318"/>
                <a:gd name="connsiteX10" fmla="*/ 1967881 w 1967880"/>
                <a:gd name="connsiteY10" fmla="*/ 601316 h 601318"/>
                <a:gd name="connsiteX11" fmla="*/ 1963564 w 1967880"/>
                <a:gd name="connsiteY11" fmla="*/ 599411 h 601318"/>
                <a:gd name="connsiteX12" fmla="*/ 1963869 w 1967880"/>
                <a:gd name="connsiteY12" fmla="*/ 592949 h 601318"/>
                <a:gd name="connsiteX13" fmla="*/ 1964580 w 1967880"/>
                <a:gd name="connsiteY13" fmla="*/ 592428 h 60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880" h="601318">
                  <a:moveTo>
                    <a:pt x="1964580" y="592428"/>
                  </a:moveTo>
                  <a:lnTo>
                    <a:pt x="1966865" y="590905"/>
                  </a:lnTo>
                  <a:lnTo>
                    <a:pt x="12443" y="0"/>
                  </a:lnTo>
                  <a:lnTo>
                    <a:pt x="5587" y="5586"/>
                  </a:lnTo>
                  <a:cubicBezTo>
                    <a:pt x="4545" y="6428"/>
                    <a:pt x="3238" y="6878"/>
                    <a:pt x="1904" y="6856"/>
                  </a:cubicBezTo>
                  <a:lnTo>
                    <a:pt x="0" y="6856"/>
                  </a:lnTo>
                  <a:lnTo>
                    <a:pt x="0" y="6856"/>
                  </a:lnTo>
                  <a:lnTo>
                    <a:pt x="7110" y="9015"/>
                  </a:lnTo>
                  <a:lnTo>
                    <a:pt x="1962421" y="600173"/>
                  </a:lnTo>
                  <a:lnTo>
                    <a:pt x="1966103" y="601316"/>
                  </a:lnTo>
                  <a:lnTo>
                    <a:pt x="1967881" y="601316"/>
                  </a:lnTo>
                  <a:cubicBezTo>
                    <a:pt x="1966230" y="601367"/>
                    <a:pt x="1964643" y="600668"/>
                    <a:pt x="1963564" y="599411"/>
                  </a:cubicBezTo>
                  <a:cubicBezTo>
                    <a:pt x="1961863" y="597545"/>
                    <a:pt x="1962002" y="594650"/>
                    <a:pt x="1963869" y="592949"/>
                  </a:cubicBezTo>
                  <a:cubicBezTo>
                    <a:pt x="1964097" y="592758"/>
                    <a:pt x="1964325" y="592581"/>
                    <a:pt x="1964580" y="592428"/>
                  </a:cubicBezTo>
                  <a:close/>
                </a:path>
              </a:pathLst>
            </a:custGeom>
            <a:solidFill>
              <a:srgbClr val="000000"/>
            </a:solidFill>
            <a:ln w="12690"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EA425527-7F10-48C5-9959-1A99062A81FF}"/>
                </a:ext>
              </a:extLst>
            </p:cNvPr>
            <p:cNvSpPr/>
            <p:nvPr/>
          </p:nvSpPr>
          <p:spPr>
            <a:xfrm>
              <a:off x="10843088" y="1380892"/>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cubicBezTo>
                    <a:pt x="0" y="762"/>
                    <a:pt x="0" y="762"/>
                    <a:pt x="0" y="0"/>
                  </a:cubicBezTo>
                  <a:close/>
                </a:path>
              </a:pathLst>
            </a:custGeom>
            <a:solidFill>
              <a:srgbClr val="000000"/>
            </a:solidFill>
            <a:ln w="12690"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A7925CDD-B40A-4B26-81B0-161B366DAF6B}"/>
                </a:ext>
              </a:extLst>
            </p:cNvPr>
            <p:cNvSpPr/>
            <p:nvPr/>
          </p:nvSpPr>
          <p:spPr>
            <a:xfrm>
              <a:off x="10840295" y="13784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AC50A7AD-2604-451A-8129-2047F3C20542}"/>
                </a:ext>
              </a:extLst>
            </p:cNvPr>
            <p:cNvSpPr/>
            <p:nvPr/>
          </p:nvSpPr>
          <p:spPr>
            <a:xfrm>
              <a:off x="10841762" y="1379820"/>
              <a:ext cx="56" cy="56"/>
            </a:xfrm>
            <a:custGeom>
              <a:avLst/>
              <a:gdLst>
                <a:gd name="connsiteX0" fmla="*/ 56 w 56"/>
                <a:gd name="connsiteY0" fmla="*/ 56 h 56"/>
                <a:gd name="connsiteX1" fmla="*/ 56 w 56"/>
                <a:gd name="connsiteY1" fmla="*/ 56 h 56"/>
                <a:gd name="connsiteX2" fmla="*/ 56 w 56"/>
                <a:gd name="connsiteY2" fmla="*/ 56 h 56"/>
                <a:gd name="connsiteX3" fmla="*/ 56 w 56"/>
                <a:gd name="connsiteY3" fmla="*/ 56 h 56"/>
                <a:gd name="connsiteX4" fmla="*/ 56 w 56"/>
                <a:gd name="connsiteY4" fmla="*/ 56 h 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56">
                  <a:moveTo>
                    <a:pt x="56" y="56"/>
                  </a:moveTo>
                  <a:lnTo>
                    <a:pt x="56" y="56"/>
                  </a:lnTo>
                  <a:lnTo>
                    <a:pt x="56" y="56"/>
                  </a:lnTo>
                  <a:lnTo>
                    <a:pt x="56" y="56"/>
                  </a:lnTo>
                  <a:cubicBezTo>
                    <a:pt x="56" y="56"/>
                    <a:pt x="-71" y="-71"/>
                    <a:pt x="56" y="56"/>
                  </a:cubicBezTo>
                  <a:close/>
                </a:path>
              </a:pathLst>
            </a:custGeom>
            <a:solidFill>
              <a:srgbClr val="000000"/>
            </a:solidFill>
            <a:ln w="12690"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D7FA36CC-8F25-4213-BA7F-473E13EECB5A}"/>
                </a:ext>
              </a:extLst>
            </p:cNvPr>
            <p:cNvSpPr/>
            <p:nvPr/>
          </p:nvSpPr>
          <p:spPr>
            <a:xfrm>
              <a:off x="10458405" y="1384193"/>
              <a:ext cx="373510" cy="260150"/>
            </a:xfrm>
            <a:custGeom>
              <a:avLst/>
              <a:gdLst>
                <a:gd name="connsiteX0" fmla="*/ 373510 w 373510"/>
                <a:gd name="connsiteY0" fmla="*/ 1778 h 260150"/>
                <a:gd name="connsiteX1" fmla="*/ 367416 w 373510"/>
                <a:gd name="connsiteY1" fmla="*/ 0 h 260150"/>
                <a:gd name="connsiteX2" fmla="*/ 4413 w 373510"/>
                <a:gd name="connsiteY2" fmla="*/ 249871 h 260150"/>
                <a:gd name="connsiteX3" fmla="*/ 2128 w 373510"/>
                <a:gd name="connsiteY3" fmla="*/ 251395 h 260150"/>
                <a:gd name="connsiteX4" fmla="*/ 706 w 373510"/>
                <a:gd name="connsiteY4" fmla="*/ 257705 h 260150"/>
                <a:gd name="connsiteX5" fmla="*/ 1112 w 373510"/>
                <a:gd name="connsiteY5" fmla="*/ 258251 h 260150"/>
                <a:gd name="connsiteX6" fmla="*/ 8604 w 373510"/>
                <a:gd name="connsiteY6" fmla="*/ 259267 h 260150"/>
                <a:gd name="connsiteX7" fmla="*/ 8604 w 373510"/>
                <a:gd name="connsiteY7" fmla="*/ 259267 h 260150"/>
                <a:gd name="connsiteX8" fmla="*/ 10762 w 373510"/>
                <a:gd name="connsiteY8" fmla="*/ 257743 h 260150"/>
                <a:gd name="connsiteX9" fmla="*/ 373510 w 373510"/>
                <a:gd name="connsiteY9" fmla="*/ 8126 h 26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510" h="260150">
                  <a:moveTo>
                    <a:pt x="373510" y="1778"/>
                  </a:moveTo>
                  <a:lnTo>
                    <a:pt x="367416" y="0"/>
                  </a:lnTo>
                  <a:lnTo>
                    <a:pt x="4413" y="249871"/>
                  </a:lnTo>
                  <a:lnTo>
                    <a:pt x="2128" y="251395"/>
                  </a:lnTo>
                  <a:cubicBezTo>
                    <a:pt x="-5" y="252741"/>
                    <a:pt x="-640" y="255559"/>
                    <a:pt x="706" y="257705"/>
                  </a:cubicBezTo>
                  <a:cubicBezTo>
                    <a:pt x="821" y="257896"/>
                    <a:pt x="960" y="258073"/>
                    <a:pt x="1112" y="258251"/>
                  </a:cubicBezTo>
                  <a:cubicBezTo>
                    <a:pt x="3055" y="260333"/>
                    <a:pt x="6179" y="260752"/>
                    <a:pt x="8604" y="259267"/>
                  </a:cubicBezTo>
                  <a:lnTo>
                    <a:pt x="8604" y="259267"/>
                  </a:lnTo>
                  <a:lnTo>
                    <a:pt x="10762" y="257743"/>
                  </a:lnTo>
                  <a:lnTo>
                    <a:pt x="373510" y="8126"/>
                  </a:lnTo>
                  <a:close/>
                </a:path>
              </a:pathLst>
            </a:custGeom>
            <a:solidFill>
              <a:srgbClr val="000000"/>
            </a:solidFill>
            <a:ln w="12690"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9AB417E0-36F9-4194-9971-242CD227510B}"/>
                </a:ext>
              </a:extLst>
            </p:cNvPr>
            <p:cNvSpPr/>
            <p:nvPr/>
          </p:nvSpPr>
          <p:spPr>
            <a:xfrm>
              <a:off x="7809943" y="3109294"/>
              <a:ext cx="38979" cy="36947"/>
            </a:xfrm>
            <a:custGeom>
              <a:avLst/>
              <a:gdLst>
                <a:gd name="connsiteX0" fmla="*/ 28187 w 38979"/>
                <a:gd name="connsiteY0" fmla="*/ 2158 h 36947"/>
                <a:gd name="connsiteX1" fmla="*/ 28187 w 38979"/>
                <a:gd name="connsiteY1" fmla="*/ 0 h 36947"/>
                <a:gd name="connsiteX2" fmla="*/ 0 w 38979"/>
                <a:gd name="connsiteY2" fmla="*/ 23108 h 36947"/>
                <a:gd name="connsiteX3" fmla="*/ 0 w 38979"/>
                <a:gd name="connsiteY3" fmla="*/ 34154 h 36947"/>
                <a:gd name="connsiteX4" fmla="*/ 0 w 38979"/>
                <a:gd name="connsiteY4" fmla="*/ 34154 h 36947"/>
                <a:gd name="connsiteX5" fmla="*/ 0 w 38979"/>
                <a:gd name="connsiteY5" fmla="*/ 35297 h 36947"/>
                <a:gd name="connsiteX6" fmla="*/ 0 w 38979"/>
                <a:gd name="connsiteY6" fmla="*/ 36059 h 36947"/>
                <a:gd name="connsiteX7" fmla="*/ 0 w 38979"/>
                <a:gd name="connsiteY7" fmla="*/ 36059 h 36947"/>
                <a:gd name="connsiteX8" fmla="*/ 0 w 38979"/>
                <a:gd name="connsiteY8" fmla="*/ 36947 h 36947"/>
                <a:gd name="connsiteX9" fmla="*/ 0 w 38979"/>
                <a:gd name="connsiteY9" fmla="*/ 36947 h 36947"/>
                <a:gd name="connsiteX10" fmla="*/ 38979 w 38979"/>
                <a:gd name="connsiteY10" fmla="*/ 4952 h 36947"/>
                <a:gd name="connsiteX11" fmla="*/ 38979 w 38979"/>
                <a:gd name="connsiteY11" fmla="*/ 4952 h 36947"/>
                <a:gd name="connsiteX12" fmla="*/ 35170 w 38979"/>
                <a:gd name="connsiteY12" fmla="*/ 6348 h 36947"/>
                <a:gd name="connsiteX13" fmla="*/ 28466 w 38979"/>
                <a:gd name="connsiteY13" fmla="*/ 3301 h 36947"/>
                <a:gd name="connsiteX14" fmla="*/ 28187 w 38979"/>
                <a:gd name="connsiteY14" fmla="*/ 2158 h 3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79" h="36947">
                  <a:moveTo>
                    <a:pt x="28187" y="2158"/>
                  </a:moveTo>
                  <a:lnTo>
                    <a:pt x="28187" y="0"/>
                  </a:lnTo>
                  <a:lnTo>
                    <a:pt x="0" y="23108"/>
                  </a:lnTo>
                  <a:lnTo>
                    <a:pt x="0" y="34154"/>
                  </a:lnTo>
                  <a:lnTo>
                    <a:pt x="0" y="34154"/>
                  </a:lnTo>
                  <a:cubicBezTo>
                    <a:pt x="64" y="34535"/>
                    <a:pt x="64" y="34916"/>
                    <a:pt x="0" y="35297"/>
                  </a:cubicBezTo>
                  <a:cubicBezTo>
                    <a:pt x="0" y="35297"/>
                    <a:pt x="0" y="35297"/>
                    <a:pt x="0" y="36059"/>
                  </a:cubicBezTo>
                  <a:lnTo>
                    <a:pt x="0" y="36059"/>
                  </a:lnTo>
                  <a:lnTo>
                    <a:pt x="0" y="36947"/>
                  </a:lnTo>
                  <a:lnTo>
                    <a:pt x="0" y="36947"/>
                  </a:lnTo>
                  <a:lnTo>
                    <a:pt x="38979" y="4952"/>
                  </a:lnTo>
                  <a:lnTo>
                    <a:pt x="38979" y="4952"/>
                  </a:lnTo>
                  <a:cubicBezTo>
                    <a:pt x="37900" y="5815"/>
                    <a:pt x="36555" y="6310"/>
                    <a:pt x="35170" y="6348"/>
                  </a:cubicBezTo>
                  <a:cubicBezTo>
                    <a:pt x="32479" y="7351"/>
                    <a:pt x="29482" y="5993"/>
                    <a:pt x="28466" y="3301"/>
                  </a:cubicBezTo>
                  <a:cubicBezTo>
                    <a:pt x="28339" y="2933"/>
                    <a:pt x="28238" y="2552"/>
                    <a:pt x="28187" y="2158"/>
                  </a:cubicBezTo>
                  <a:close/>
                </a:path>
              </a:pathLst>
            </a:custGeom>
            <a:solidFill>
              <a:srgbClr val="000000"/>
            </a:solidFill>
            <a:ln w="12690"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D864E9CC-7C36-4D94-B0E8-06FB80DBA12E}"/>
                </a:ext>
              </a:extLst>
            </p:cNvPr>
            <p:cNvSpPr/>
            <p:nvPr/>
          </p:nvSpPr>
          <p:spPr>
            <a:xfrm>
              <a:off x="7799151" y="2938524"/>
              <a:ext cx="10792" cy="204670"/>
            </a:xfrm>
            <a:custGeom>
              <a:avLst/>
              <a:gdLst>
                <a:gd name="connsiteX0" fmla="*/ 10792 w 10792"/>
                <a:gd name="connsiteY0" fmla="*/ 193879 h 204670"/>
                <a:gd name="connsiteX1" fmla="*/ 10792 w 10792"/>
                <a:gd name="connsiteY1" fmla="*/ 0 h 204670"/>
                <a:gd name="connsiteX2" fmla="*/ 9014 w 10792"/>
                <a:gd name="connsiteY2" fmla="*/ 1524 h 204670"/>
                <a:gd name="connsiteX3" fmla="*/ 9014 w 10792"/>
                <a:gd name="connsiteY3" fmla="*/ 1524 h 204670"/>
                <a:gd name="connsiteX4" fmla="*/ 0 w 10792"/>
                <a:gd name="connsiteY4" fmla="*/ 8761 h 204670"/>
                <a:gd name="connsiteX5" fmla="*/ 0 w 10792"/>
                <a:gd name="connsiteY5" fmla="*/ 202766 h 204670"/>
                <a:gd name="connsiteX6" fmla="*/ 1778 w 10792"/>
                <a:gd name="connsiteY6" fmla="*/ 201243 h 204670"/>
                <a:gd name="connsiteX7" fmla="*/ 9396 w 10792"/>
                <a:gd name="connsiteY7" fmla="*/ 201243 h 204670"/>
                <a:gd name="connsiteX8" fmla="*/ 10792 w 10792"/>
                <a:gd name="connsiteY8" fmla="*/ 204671 h 204670"/>
                <a:gd name="connsiteX9" fmla="*/ 10792 w 10792"/>
                <a:gd name="connsiteY9" fmla="*/ 204671 h 20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2" h="204670">
                  <a:moveTo>
                    <a:pt x="10792" y="193879"/>
                  </a:moveTo>
                  <a:lnTo>
                    <a:pt x="10792" y="0"/>
                  </a:lnTo>
                  <a:lnTo>
                    <a:pt x="9014" y="1524"/>
                  </a:lnTo>
                  <a:lnTo>
                    <a:pt x="9014" y="1524"/>
                  </a:lnTo>
                  <a:lnTo>
                    <a:pt x="0" y="8761"/>
                  </a:lnTo>
                  <a:lnTo>
                    <a:pt x="0" y="202766"/>
                  </a:lnTo>
                  <a:lnTo>
                    <a:pt x="1778" y="201243"/>
                  </a:lnTo>
                  <a:cubicBezTo>
                    <a:pt x="3974" y="199364"/>
                    <a:pt x="7212" y="199364"/>
                    <a:pt x="9396" y="201243"/>
                  </a:cubicBezTo>
                  <a:cubicBezTo>
                    <a:pt x="10297" y="202157"/>
                    <a:pt x="10805" y="203388"/>
                    <a:pt x="10792" y="204671"/>
                  </a:cubicBezTo>
                  <a:lnTo>
                    <a:pt x="10792" y="204671"/>
                  </a:lnTo>
                  <a:close/>
                </a:path>
              </a:pathLst>
            </a:custGeom>
            <a:solidFill>
              <a:srgbClr val="000000"/>
            </a:solidFill>
            <a:ln w="12690"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CD0E1F7F-5617-4E8E-9263-81E3D4C398F5}"/>
                </a:ext>
              </a:extLst>
            </p:cNvPr>
            <p:cNvSpPr/>
            <p:nvPr/>
          </p:nvSpPr>
          <p:spPr>
            <a:xfrm>
              <a:off x="7257631" y="27678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630AFBC3-3C7E-4A49-838A-CA7A05B28094}"/>
                </a:ext>
              </a:extLst>
            </p:cNvPr>
            <p:cNvSpPr/>
            <p:nvPr/>
          </p:nvSpPr>
          <p:spPr>
            <a:xfrm>
              <a:off x="7260679" y="276711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38DA3CAA-EAB8-4FE6-A8E7-359E8028CF60}"/>
                </a:ext>
              </a:extLst>
            </p:cNvPr>
            <p:cNvSpPr/>
            <p:nvPr/>
          </p:nvSpPr>
          <p:spPr>
            <a:xfrm>
              <a:off x="7258647" y="276788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B8636621-3DC0-4FDF-BA4C-B840BE806AB7}"/>
                </a:ext>
              </a:extLst>
            </p:cNvPr>
            <p:cNvSpPr/>
            <p:nvPr/>
          </p:nvSpPr>
          <p:spPr>
            <a:xfrm>
              <a:off x="7262710" y="2777530"/>
              <a:ext cx="540631" cy="160740"/>
            </a:xfrm>
            <a:custGeom>
              <a:avLst/>
              <a:gdLst>
                <a:gd name="connsiteX0" fmla="*/ 538219 w 540631"/>
                <a:gd name="connsiteY0" fmla="*/ 155154 h 160740"/>
                <a:gd name="connsiteX1" fmla="*/ 538219 w 540631"/>
                <a:gd name="connsiteY1" fmla="*/ 155154 h 160740"/>
                <a:gd name="connsiteX2" fmla="*/ 540631 w 540631"/>
                <a:gd name="connsiteY2" fmla="*/ 153249 h 160740"/>
                <a:gd name="connsiteX3" fmla="*/ 135729 w 540631"/>
                <a:gd name="connsiteY3" fmla="*/ 30853 h 160740"/>
                <a:gd name="connsiteX4" fmla="*/ 254 w 540631"/>
                <a:gd name="connsiteY4" fmla="*/ 0 h 160740"/>
                <a:gd name="connsiteX5" fmla="*/ 0 w 540631"/>
                <a:gd name="connsiteY5" fmla="*/ 254 h 160740"/>
                <a:gd name="connsiteX6" fmla="*/ 531362 w 540631"/>
                <a:gd name="connsiteY6" fmla="*/ 160740 h 160740"/>
                <a:gd name="connsiteX7" fmla="*/ 538219 w 540631"/>
                <a:gd name="connsiteY7" fmla="*/ 155154 h 1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631" h="160740">
                  <a:moveTo>
                    <a:pt x="538219" y="155154"/>
                  </a:moveTo>
                  <a:lnTo>
                    <a:pt x="538219" y="155154"/>
                  </a:lnTo>
                  <a:lnTo>
                    <a:pt x="540631" y="153249"/>
                  </a:lnTo>
                  <a:lnTo>
                    <a:pt x="135729" y="30853"/>
                  </a:lnTo>
                  <a:lnTo>
                    <a:pt x="254" y="0"/>
                  </a:lnTo>
                  <a:lnTo>
                    <a:pt x="0" y="254"/>
                  </a:lnTo>
                  <a:lnTo>
                    <a:pt x="531362" y="160740"/>
                  </a:lnTo>
                  <a:lnTo>
                    <a:pt x="538219" y="155154"/>
                  </a:lnTo>
                  <a:close/>
                </a:path>
              </a:pathLst>
            </a:custGeom>
            <a:solidFill>
              <a:srgbClr val="000000"/>
            </a:solidFill>
            <a:ln w="12690"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68808E0E-5A1D-4678-8784-DBEBFBCCE2CF}"/>
                </a:ext>
              </a:extLst>
            </p:cNvPr>
            <p:cNvSpPr/>
            <p:nvPr/>
          </p:nvSpPr>
          <p:spPr>
            <a:xfrm>
              <a:off x="7848288" y="290246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E75102D8-4A58-4E3C-875A-33470C15E0F9}"/>
                </a:ext>
              </a:extLst>
            </p:cNvPr>
            <p:cNvSpPr/>
            <p:nvPr/>
          </p:nvSpPr>
          <p:spPr>
            <a:xfrm>
              <a:off x="7848796" y="2903608"/>
              <a:ext cx="47" cy="761"/>
            </a:xfrm>
            <a:custGeom>
              <a:avLst/>
              <a:gdLst>
                <a:gd name="connsiteX0" fmla="*/ 0 w 47"/>
                <a:gd name="connsiteY0" fmla="*/ 762 h 761"/>
                <a:gd name="connsiteX1" fmla="*/ 0 w 47"/>
                <a:gd name="connsiteY1" fmla="*/ 0 h 761"/>
                <a:gd name="connsiteX2" fmla="*/ 0 w 47"/>
                <a:gd name="connsiteY2" fmla="*/ 0 h 761"/>
              </a:gdLst>
              <a:ahLst/>
              <a:cxnLst>
                <a:cxn ang="0">
                  <a:pos x="connsiteX0" y="connsiteY0"/>
                </a:cxn>
                <a:cxn ang="0">
                  <a:pos x="connsiteX1" y="connsiteY1"/>
                </a:cxn>
                <a:cxn ang="0">
                  <a:pos x="connsiteX2" y="connsiteY2"/>
                </a:cxn>
              </a:cxnLst>
              <a:rect l="l" t="t" r="r" b="b"/>
              <a:pathLst>
                <a:path w="47" h="761">
                  <a:moveTo>
                    <a:pt x="0" y="762"/>
                  </a:moveTo>
                  <a:cubicBezTo>
                    <a:pt x="64" y="508"/>
                    <a:pt x="64" y="254"/>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BDDF714E-9C32-4E0B-A768-20473D25B9DF}"/>
                </a:ext>
              </a:extLst>
            </p:cNvPr>
            <p:cNvSpPr/>
            <p:nvPr/>
          </p:nvSpPr>
          <p:spPr>
            <a:xfrm>
              <a:off x="7845876" y="2901069"/>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88DA82DC-EE57-47BB-A007-0950FEF02AD2}"/>
                </a:ext>
              </a:extLst>
            </p:cNvPr>
            <p:cNvSpPr/>
            <p:nvPr/>
          </p:nvSpPr>
          <p:spPr>
            <a:xfrm>
              <a:off x="7257631" y="2767832"/>
              <a:ext cx="888" cy="47"/>
            </a:xfrm>
            <a:custGeom>
              <a:avLst/>
              <a:gdLst>
                <a:gd name="connsiteX0" fmla="*/ 889 w 888"/>
                <a:gd name="connsiteY0" fmla="*/ 48 h 47"/>
                <a:gd name="connsiteX1" fmla="*/ 889 w 888"/>
                <a:gd name="connsiteY1" fmla="*/ 48 h 47"/>
                <a:gd name="connsiteX2" fmla="*/ 0 w 888"/>
                <a:gd name="connsiteY2" fmla="*/ 48 h 47"/>
                <a:gd name="connsiteX3" fmla="*/ 0 w 888"/>
                <a:gd name="connsiteY3" fmla="*/ 48 h 47"/>
                <a:gd name="connsiteX4" fmla="*/ 889 w 888"/>
                <a:gd name="connsiteY4" fmla="*/ 48 h 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 h="47">
                  <a:moveTo>
                    <a:pt x="889" y="48"/>
                  </a:moveTo>
                  <a:lnTo>
                    <a:pt x="889" y="48"/>
                  </a:lnTo>
                  <a:cubicBezTo>
                    <a:pt x="597" y="-16"/>
                    <a:pt x="292" y="-16"/>
                    <a:pt x="0" y="48"/>
                  </a:cubicBezTo>
                  <a:lnTo>
                    <a:pt x="0" y="48"/>
                  </a:lnTo>
                  <a:cubicBezTo>
                    <a:pt x="292" y="-3"/>
                    <a:pt x="597" y="-3"/>
                    <a:pt x="889" y="48"/>
                  </a:cubicBezTo>
                  <a:close/>
                </a:path>
              </a:pathLst>
            </a:custGeom>
            <a:solidFill>
              <a:srgbClr val="000000"/>
            </a:solidFill>
            <a:ln w="12690"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CF0C5E89-C948-4AF2-9B6E-CD96E04638EB}"/>
                </a:ext>
              </a:extLst>
            </p:cNvPr>
            <p:cNvSpPr/>
            <p:nvPr/>
          </p:nvSpPr>
          <p:spPr>
            <a:xfrm>
              <a:off x="7259409" y="2767880"/>
              <a:ext cx="1143" cy="12696"/>
            </a:xfrm>
            <a:custGeom>
              <a:avLst/>
              <a:gdLst>
                <a:gd name="connsiteX0" fmla="*/ 1016 w 1143"/>
                <a:gd name="connsiteY0" fmla="*/ 0 h 12696"/>
                <a:gd name="connsiteX1" fmla="*/ 0 w 1143"/>
                <a:gd name="connsiteY1" fmla="*/ 0 h 12696"/>
                <a:gd name="connsiteX2" fmla="*/ 1143 w 1143"/>
                <a:gd name="connsiteY2" fmla="*/ 0 h 12696"/>
              </a:gdLst>
              <a:ahLst/>
              <a:cxnLst>
                <a:cxn ang="0">
                  <a:pos x="connsiteX0" y="connsiteY0"/>
                </a:cxn>
                <a:cxn ang="0">
                  <a:pos x="connsiteX1" y="connsiteY1"/>
                </a:cxn>
                <a:cxn ang="0">
                  <a:pos x="connsiteX2" y="connsiteY2"/>
                </a:cxn>
              </a:cxnLst>
              <a:rect l="l" t="t" r="r" b="b"/>
              <a:pathLst>
                <a:path w="1143" h="12696">
                  <a:moveTo>
                    <a:pt x="1016" y="0"/>
                  </a:moveTo>
                  <a:lnTo>
                    <a:pt x="0" y="0"/>
                  </a:lnTo>
                  <a:lnTo>
                    <a:pt x="1143" y="0"/>
                  </a:lnTo>
                  <a:close/>
                </a:path>
              </a:pathLst>
            </a:custGeom>
            <a:solidFill>
              <a:srgbClr val="000000"/>
            </a:solidFill>
            <a:ln w="12690"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E351C802-1F3E-48B5-AEE4-A4B7D9BAA949}"/>
                </a:ext>
              </a:extLst>
            </p:cNvPr>
            <p:cNvSpPr/>
            <p:nvPr/>
          </p:nvSpPr>
          <p:spPr>
            <a:xfrm>
              <a:off x="7261822" y="2767880"/>
              <a:ext cx="583037" cy="139663"/>
            </a:xfrm>
            <a:custGeom>
              <a:avLst/>
              <a:gdLst>
                <a:gd name="connsiteX0" fmla="*/ 3301 w 583037"/>
                <a:gd name="connsiteY0" fmla="*/ 7364 h 139663"/>
                <a:gd name="connsiteX1" fmla="*/ 1143 w 583037"/>
                <a:gd name="connsiteY1" fmla="*/ 9649 h 139663"/>
                <a:gd name="connsiteX2" fmla="*/ 136618 w 583037"/>
                <a:gd name="connsiteY2" fmla="*/ 40503 h 139663"/>
                <a:gd name="connsiteX3" fmla="*/ 570468 w 583037"/>
                <a:gd name="connsiteY3" fmla="*/ 139664 h 139663"/>
                <a:gd name="connsiteX4" fmla="*/ 578086 w 583037"/>
                <a:gd name="connsiteY4" fmla="*/ 133442 h 139663"/>
                <a:gd name="connsiteX5" fmla="*/ 578849 w 583037"/>
                <a:gd name="connsiteY5" fmla="*/ 133442 h 139663"/>
                <a:gd name="connsiteX6" fmla="*/ 579737 w 583037"/>
                <a:gd name="connsiteY6" fmla="*/ 133442 h 139663"/>
                <a:gd name="connsiteX7" fmla="*/ 580880 w 583037"/>
                <a:gd name="connsiteY7" fmla="*/ 133442 h 139663"/>
                <a:gd name="connsiteX8" fmla="*/ 581769 w 583037"/>
                <a:gd name="connsiteY8" fmla="*/ 133442 h 139663"/>
                <a:gd name="connsiteX9" fmla="*/ 583038 w 583037"/>
                <a:gd name="connsiteY9" fmla="*/ 133442 h 139663"/>
                <a:gd name="connsiteX10" fmla="*/ 583038 w 583037"/>
                <a:gd name="connsiteY10" fmla="*/ 133442 h 139663"/>
                <a:gd name="connsiteX11" fmla="*/ 583038 w 583037"/>
                <a:gd name="connsiteY11" fmla="*/ 133442 h 139663"/>
                <a:gd name="connsiteX12" fmla="*/ 762 w 583037"/>
                <a:gd name="connsiteY12" fmla="*/ 0 h 139663"/>
                <a:gd name="connsiteX13" fmla="*/ 0 w 583037"/>
                <a:gd name="connsiteY13" fmla="*/ 0 h 139663"/>
                <a:gd name="connsiteX14" fmla="*/ 3047 w 583037"/>
                <a:gd name="connsiteY14" fmla="*/ 1143 h 139663"/>
                <a:gd name="connsiteX15" fmla="*/ 3301 w 583037"/>
                <a:gd name="connsiteY15" fmla="*/ 7364 h 13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037" h="139663">
                  <a:moveTo>
                    <a:pt x="3301" y="7364"/>
                  </a:moveTo>
                  <a:lnTo>
                    <a:pt x="1143" y="9649"/>
                  </a:lnTo>
                  <a:lnTo>
                    <a:pt x="136618" y="40503"/>
                  </a:lnTo>
                  <a:lnTo>
                    <a:pt x="570468" y="139664"/>
                  </a:lnTo>
                  <a:lnTo>
                    <a:pt x="578086" y="133442"/>
                  </a:lnTo>
                  <a:lnTo>
                    <a:pt x="578849" y="133442"/>
                  </a:lnTo>
                  <a:lnTo>
                    <a:pt x="579737" y="133442"/>
                  </a:lnTo>
                  <a:lnTo>
                    <a:pt x="580880" y="133442"/>
                  </a:lnTo>
                  <a:lnTo>
                    <a:pt x="581769" y="133442"/>
                  </a:lnTo>
                  <a:lnTo>
                    <a:pt x="583038" y="133442"/>
                  </a:lnTo>
                  <a:lnTo>
                    <a:pt x="583038" y="133442"/>
                  </a:lnTo>
                  <a:lnTo>
                    <a:pt x="583038" y="133442"/>
                  </a:lnTo>
                  <a:lnTo>
                    <a:pt x="762" y="0"/>
                  </a:lnTo>
                  <a:lnTo>
                    <a:pt x="0" y="0"/>
                  </a:lnTo>
                  <a:cubicBezTo>
                    <a:pt x="1104" y="51"/>
                    <a:pt x="2171" y="457"/>
                    <a:pt x="3047" y="1143"/>
                  </a:cubicBezTo>
                  <a:cubicBezTo>
                    <a:pt x="4812" y="2806"/>
                    <a:pt x="4926" y="5574"/>
                    <a:pt x="3301" y="7364"/>
                  </a:cubicBezTo>
                  <a:close/>
                </a:path>
              </a:pathLst>
            </a:custGeom>
            <a:solidFill>
              <a:srgbClr val="000000"/>
            </a:solidFill>
            <a:ln w="12690"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B6BCE900-1B91-4B47-BF75-1CD0C5D6A8F7}"/>
                </a:ext>
              </a:extLst>
            </p:cNvPr>
            <p:cNvSpPr/>
            <p:nvPr/>
          </p:nvSpPr>
          <p:spPr>
            <a:xfrm>
              <a:off x="7843463" y="289979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35AF1395-875A-4FB8-A576-A4D92BE66EB3}"/>
                </a:ext>
              </a:extLst>
            </p:cNvPr>
            <p:cNvSpPr/>
            <p:nvPr/>
          </p:nvSpPr>
          <p:spPr>
            <a:xfrm>
              <a:off x="7844860" y="2900307"/>
              <a:ext cx="888" cy="12696"/>
            </a:xfrm>
            <a:custGeom>
              <a:avLst/>
              <a:gdLst>
                <a:gd name="connsiteX0" fmla="*/ 889 w 888"/>
                <a:gd name="connsiteY0" fmla="*/ 0 h 12696"/>
                <a:gd name="connsiteX1" fmla="*/ 0 w 888"/>
                <a:gd name="connsiteY1" fmla="*/ 0 h 12696"/>
              </a:gdLst>
              <a:ahLst/>
              <a:cxnLst>
                <a:cxn ang="0">
                  <a:pos x="connsiteX0" y="connsiteY0"/>
                </a:cxn>
                <a:cxn ang="0">
                  <a:pos x="connsiteX1" y="connsiteY1"/>
                </a:cxn>
              </a:cxnLst>
              <a:rect l="l" t="t" r="r" b="b"/>
              <a:pathLst>
                <a:path w="888" h="12696">
                  <a:moveTo>
                    <a:pt x="889" y="0"/>
                  </a:moveTo>
                  <a:lnTo>
                    <a:pt x="0" y="0"/>
                  </a:lnTo>
                  <a:close/>
                </a:path>
              </a:pathLst>
            </a:custGeom>
            <a:solidFill>
              <a:srgbClr val="000000"/>
            </a:solidFill>
            <a:ln w="12690"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1C2246CC-50E1-4B07-B593-8A0B7E3A32BA}"/>
                </a:ext>
              </a:extLst>
            </p:cNvPr>
            <p:cNvSpPr/>
            <p:nvPr/>
          </p:nvSpPr>
          <p:spPr>
            <a:xfrm>
              <a:off x="7837622" y="2903989"/>
              <a:ext cx="10030" cy="212417"/>
            </a:xfrm>
            <a:custGeom>
              <a:avLst/>
              <a:gdLst>
                <a:gd name="connsiteX0" fmla="*/ 9015 w 10030"/>
                <a:gd name="connsiteY0" fmla="*/ 4444 h 212417"/>
                <a:gd name="connsiteX1" fmla="*/ 0 w 10030"/>
                <a:gd name="connsiteY1" fmla="*/ 11681 h 212417"/>
                <a:gd name="connsiteX2" fmla="*/ 0 w 10030"/>
                <a:gd name="connsiteY2" fmla="*/ 207464 h 212417"/>
                <a:gd name="connsiteX3" fmla="*/ 5333 w 10030"/>
                <a:gd name="connsiteY3" fmla="*/ 212416 h 212417"/>
                <a:gd name="connsiteX4" fmla="*/ 9142 w 10030"/>
                <a:gd name="connsiteY4" fmla="*/ 211019 h 212417"/>
                <a:gd name="connsiteX5" fmla="*/ 9777 w 10030"/>
                <a:gd name="connsiteY5" fmla="*/ 210131 h 212417"/>
                <a:gd name="connsiteX6" fmla="*/ 9777 w 10030"/>
                <a:gd name="connsiteY6" fmla="*/ 209496 h 212417"/>
                <a:gd name="connsiteX7" fmla="*/ 9777 w 10030"/>
                <a:gd name="connsiteY7" fmla="*/ 208734 h 212417"/>
                <a:gd name="connsiteX8" fmla="*/ 9777 w 10030"/>
                <a:gd name="connsiteY8" fmla="*/ 207591 h 212417"/>
                <a:gd name="connsiteX9" fmla="*/ 9777 w 10030"/>
                <a:gd name="connsiteY9" fmla="*/ 207591 h 212417"/>
                <a:gd name="connsiteX10" fmla="*/ 9777 w 10030"/>
                <a:gd name="connsiteY10" fmla="*/ 0 h 212417"/>
                <a:gd name="connsiteX11" fmla="*/ 9015 w 10030"/>
                <a:gd name="connsiteY11" fmla="*/ 4444 h 2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30" h="212417">
                  <a:moveTo>
                    <a:pt x="9015" y="4444"/>
                  </a:moveTo>
                  <a:lnTo>
                    <a:pt x="0" y="11681"/>
                  </a:lnTo>
                  <a:lnTo>
                    <a:pt x="0" y="207464"/>
                  </a:lnTo>
                  <a:cubicBezTo>
                    <a:pt x="140" y="210296"/>
                    <a:pt x="2502" y="212492"/>
                    <a:pt x="5333" y="212416"/>
                  </a:cubicBezTo>
                  <a:cubicBezTo>
                    <a:pt x="6717" y="212378"/>
                    <a:pt x="8063" y="211883"/>
                    <a:pt x="9142" y="211019"/>
                  </a:cubicBezTo>
                  <a:lnTo>
                    <a:pt x="9777" y="210131"/>
                  </a:lnTo>
                  <a:lnTo>
                    <a:pt x="9777" y="209496"/>
                  </a:lnTo>
                  <a:lnTo>
                    <a:pt x="9777" y="208734"/>
                  </a:lnTo>
                  <a:cubicBezTo>
                    <a:pt x="9840" y="208353"/>
                    <a:pt x="9840" y="207972"/>
                    <a:pt x="9777" y="207591"/>
                  </a:cubicBezTo>
                  <a:lnTo>
                    <a:pt x="9777" y="207591"/>
                  </a:lnTo>
                  <a:lnTo>
                    <a:pt x="9777" y="0"/>
                  </a:lnTo>
                  <a:cubicBezTo>
                    <a:pt x="10298" y="1511"/>
                    <a:pt x="10005" y="3187"/>
                    <a:pt x="9015" y="4444"/>
                  </a:cubicBezTo>
                  <a:close/>
                </a:path>
              </a:pathLst>
            </a:custGeom>
            <a:solidFill>
              <a:srgbClr val="000000"/>
            </a:solidFill>
            <a:ln w="12690"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F168DB40-9E71-4ED3-AB8A-E56A7447C325}"/>
                </a:ext>
              </a:extLst>
            </p:cNvPr>
            <p:cNvSpPr/>
            <p:nvPr/>
          </p:nvSpPr>
          <p:spPr>
            <a:xfrm>
              <a:off x="7848542" y="290297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F3F3F5B8-1D4C-40A8-8BA2-809FCFBF7707}"/>
                </a:ext>
              </a:extLst>
            </p:cNvPr>
            <p:cNvSpPr/>
            <p:nvPr/>
          </p:nvSpPr>
          <p:spPr>
            <a:xfrm>
              <a:off x="7847399" y="290132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56" name="Freeform: Shape 355">
              <a:extLst>
                <a:ext uri="{FF2B5EF4-FFF2-40B4-BE49-F238E27FC236}">
                  <a16:creationId xmlns:a16="http://schemas.microsoft.com/office/drawing/2014/main" id="{4F2F9C82-2E8F-4DB5-9A5E-5885DC7B7F5A}"/>
                </a:ext>
              </a:extLst>
            </p:cNvPr>
            <p:cNvSpPr/>
            <p:nvPr/>
          </p:nvSpPr>
          <p:spPr>
            <a:xfrm>
              <a:off x="7800929" y="2899799"/>
              <a:ext cx="48317" cy="38597"/>
            </a:xfrm>
            <a:custGeom>
              <a:avLst/>
              <a:gdLst>
                <a:gd name="connsiteX0" fmla="*/ 42661 w 48317"/>
                <a:gd name="connsiteY0" fmla="*/ 0 h 38597"/>
                <a:gd name="connsiteX1" fmla="*/ 41772 w 48317"/>
                <a:gd name="connsiteY1" fmla="*/ 0 h 38597"/>
                <a:gd name="connsiteX2" fmla="*/ 40629 w 48317"/>
                <a:gd name="connsiteY2" fmla="*/ 0 h 38597"/>
                <a:gd name="connsiteX3" fmla="*/ 39741 w 48317"/>
                <a:gd name="connsiteY3" fmla="*/ 0 h 38597"/>
                <a:gd name="connsiteX4" fmla="*/ 38979 w 48317"/>
                <a:gd name="connsiteY4" fmla="*/ 0 h 38597"/>
                <a:gd name="connsiteX5" fmla="*/ 31361 w 48317"/>
                <a:gd name="connsiteY5" fmla="*/ 6221 h 38597"/>
                <a:gd name="connsiteX6" fmla="*/ 2285 w 48317"/>
                <a:gd name="connsiteY6" fmla="*/ 29710 h 38597"/>
                <a:gd name="connsiteX7" fmla="*/ 0 w 48317"/>
                <a:gd name="connsiteY7" fmla="*/ 31615 h 38597"/>
                <a:gd name="connsiteX8" fmla="*/ 0 w 48317"/>
                <a:gd name="connsiteY8" fmla="*/ 31615 h 38597"/>
                <a:gd name="connsiteX9" fmla="*/ 7618 w 48317"/>
                <a:gd name="connsiteY9" fmla="*/ 31615 h 38597"/>
                <a:gd name="connsiteX10" fmla="*/ 7960 w 48317"/>
                <a:gd name="connsiteY10" fmla="*/ 38255 h 38597"/>
                <a:gd name="connsiteX11" fmla="*/ 7618 w 48317"/>
                <a:gd name="connsiteY11" fmla="*/ 38598 h 38597"/>
                <a:gd name="connsiteX12" fmla="*/ 7618 w 48317"/>
                <a:gd name="connsiteY12" fmla="*/ 38598 h 38597"/>
                <a:gd name="connsiteX13" fmla="*/ 9396 w 48317"/>
                <a:gd name="connsiteY13" fmla="*/ 37074 h 38597"/>
                <a:gd name="connsiteX14" fmla="*/ 37582 w 48317"/>
                <a:gd name="connsiteY14" fmla="*/ 14220 h 38597"/>
                <a:gd name="connsiteX15" fmla="*/ 46597 w 48317"/>
                <a:gd name="connsiteY15" fmla="*/ 6983 h 38597"/>
                <a:gd name="connsiteX16" fmla="*/ 48248 w 48317"/>
                <a:gd name="connsiteY16" fmla="*/ 2539 h 38597"/>
                <a:gd name="connsiteX17" fmla="*/ 48248 w 48317"/>
                <a:gd name="connsiteY17" fmla="*/ 2539 h 38597"/>
                <a:gd name="connsiteX18" fmla="*/ 48248 w 48317"/>
                <a:gd name="connsiteY18" fmla="*/ 1904 h 38597"/>
                <a:gd name="connsiteX19" fmla="*/ 48248 w 48317"/>
                <a:gd name="connsiteY19" fmla="*/ 1016 h 38597"/>
                <a:gd name="connsiteX20" fmla="*/ 48248 w 48317"/>
                <a:gd name="connsiteY20" fmla="*/ 1016 h 38597"/>
                <a:gd name="connsiteX21" fmla="*/ 48248 w 48317"/>
                <a:gd name="connsiteY21" fmla="*/ 1016 h 38597"/>
                <a:gd name="connsiteX22" fmla="*/ 48248 w 48317"/>
                <a:gd name="connsiteY22" fmla="*/ 1016 h 38597"/>
                <a:gd name="connsiteX23" fmla="*/ 47232 w 48317"/>
                <a:gd name="connsiteY23" fmla="*/ 1016 h 38597"/>
                <a:gd name="connsiteX24" fmla="*/ 47232 w 48317"/>
                <a:gd name="connsiteY24" fmla="*/ 1016 h 38597"/>
                <a:gd name="connsiteX25" fmla="*/ 47232 w 48317"/>
                <a:gd name="connsiteY25" fmla="*/ 1016 h 38597"/>
                <a:gd name="connsiteX26" fmla="*/ 46343 w 48317"/>
                <a:gd name="connsiteY26" fmla="*/ 1016 h 3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317" h="38597">
                  <a:moveTo>
                    <a:pt x="42661" y="0"/>
                  </a:moveTo>
                  <a:lnTo>
                    <a:pt x="41772" y="0"/>
                  </a:lnTo>
                  <a:lnTo>
                    <a:pt x="40629" y="0"/>
                  </a:lnTo>
                  <a:lnTo>
                    <a:pt x="39741" y="0"/>
                  </a:lnTo>
                  <a:lnTo>
                    <a:pt x="38979" y="0"/>
                  </a:lnTo>
                  <a:lnTo>
                    <a:pt x="31361" y="6221"/>
                  </a:lnTo>
                  <a:lnTo>
                    <a:pt x="2285" y="29710"/>
                  </a:lnTo>
                  <a:lnTo>
                    <a:pt x="0" y="31615"/>
                  </a:lnTo>
                  <a:lnTo>
                    <a:pt x="0" y="31615"/>
                  </a:lnTo>
                  <a:cubicBezTo>
                    <a:pt x="2196" y="29736"/>
                    <a:pt x="5434" y="29736"/>
                    <a:pt x="7618" y="31615"/>
                  </a:cubicBezTo>
                  <a:cubicBezTo>
                    <a:pt x="9547" y="33354"/>
                    <a:pt x="9700" y="36325"/>
                    <a:pt x="7960" y="38255"/>
                  </a:cubicBezTo>
                  <a:cubicBezTo>
                    <a:pt x="7859" y="38369"/>
                    <a:pt x="7745" y="38484"/>
                    <a:pt x="7618" y="38598"/>
                  </a:cubicBezTo>
                  <a:lnTo>
                    <a:pt x="7618" y="38598"/>
                  </a:lnTo>
                  <a:lnTo>
                    <a:pt x="9396" y="37074"/>
                  </a:lnTo>
                  <a:lnTo>
                    <a:pt x="37582" y="14220"/>
                  </a:lnTo>
                  <a:lnTo>
                    <a:pt x="46597" y="6983"/>
                  </a:lnTo>
                  <a:cubicBezTo>
                    <a:pt x="47904" y="5904"/>
                    <a:pt x="48540" y="4215"/>
                    <a:pt x="48248" y="2539"/>
                  </a:cubicBezTo>
                  <a:lnTo>
                    <a:pt x="48248" y="2539"/>
                  </a:lnTo>
                  <a:cubicBezTo>
                    <a:pt x="48248" y="2539"/>
                    <a:pt x="48248" y="2539"/>
                    <a:pt x="48248" y="1904"/>
                  </a:cubicBezTo>
                  <a:cubicBezTo>
                    <a:pt x="48311" y="1612"/>
                    <a:pt x="48311" y="1308"/>
                    <a:pt x="48248" y="1016"/>
                  </a:cubicBezTo>
                  <a:lnTo>
                    <a:pt x="48248" y="1016"/>
                  </a:lnTo>
                  <a:lnTo>
                    <a:pt x="48248" y="1016"/>
                  </a:lnTo>
                  <a:lnTo>
                    <a:pt x="48248" y="1016"/>
                  </a:lnTo>
                  <a:lnTo>
                    <a:pt x="47232" y="1016"/>
                  </a:lnTo>
                  <a:lnTo>
                    <a:pt x="47232" y="1016"/>
                  </a:lnTo>
                  <a:lnTo>
                    <a:pt x="47232" y="1016"/>
                  </a:lnTo>
                  <a:lnTo>
                    <a:pt x="46343" y="1016"/>
                  </a:lnTo>
                  <a:close/>
                </a:path>
              </a:pathLst>
            </a:custGeom>
            <a:solidFill>
              <a:srgbClr val="000000"/>
            </a:solidFill>
            <a:ln w="12690" cap="flat">
              <a:noFill/>
              <a:prstDash val="solid"/>
              <a:miter/>
            </a:ln>
          </p:spPr>
          <p:txBody>
            <a:bodyPr rtlCol="0" anchor="ctr"/>
            <a:lstStyle/>
            <a:p>
              <a:endParaRPr lang="en-US"/>
            </a:p>
          </p:txBody>
        </p:sp>
        <p:sp>
          <p:nvSpPr>
            <p:cNvPr id="357" name="Freeform: Shape 356">
              <a:extLst>
                <a:ext uri="{FF2B5EF4-FFF2-40B4-BE49-F238E27FC236}">
                  <a16:creationId xmlns:a16="http://schemas.microsoft.com/office/drawing/2014/main" id="{F032D4FE-C059-41E1-B831-DD69584FD6D4}"/>
                </a:ext>
              </a:extLst>
            </p:cNvPr>
            <p:cNvSpPr/>
            <p:nvPr/>
          </p:nvSpPr>
          <p:spPr>
            <a:xfrm>
              <a:off x="5174464" y="699333"/>
              <a:ext cx="243397" cy="203147"/>
            </a:xfrm>
            <a:custGeom>
              <a:avLst/>
              <a:gdLst>
                <a:gd name="connsiteX0" fmla="*/ 234383 w 243397"/>
                <a:gd name="connsiteY0" fmla="*/ 2285 h 203147"/>
                <a:gd name="connsiteX1" fmla="*/ 234383 w 243397"/>
                <a:gd name="connsiteY1" fmla="*/ 0 h 203147"/>
                <a:gd name="connsiteX2" fmla="*/ 0 w 243397"/>
                <a:gd name="connsiteY2" fmla="*/ 190451 h 203147"/>
                <a:gd name="connsiteX3" fmla="*/ 0 w 243397"/>
                <a:gd name="connsiteY3" fmla="*/ 203147 h 203147"/>
                <a:gd name="connsiteX4" fmla="*/ 243398 w 243397"/>
                <a:gd name="connsiteY4" fmla="*/ 5333 h 203147"/>
                <a:gd name="connsiteX5" fmla="*/ 243398 w 243397"/>
                <a:gd name="connsiteY5" fmla="*/ 5333 h 203147"/>
                <a:gd name="connsiteX6" fmla="*/ 239716 w 243397"/>
                <a:gd name="connsiteY6" fmla="*/ 6602 h 203147"/>
                <a:gd name="connsiteX7" fmla="*/ 234383 w 243397"/>
                <a:gd name="connsiteY7" fmla="*/ 2285 h 20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97" h="203147">
                  <a:moveTo>
                    <a:pt x="234383" y="2285"/>
                  </a:moveTo>
                  <a:lnTo>
                    <a:pt x="234383" y="0"/>
                  </a:lnTo>
                  <a:lnTo>
                    <a:pt x="0" y="190451"/>
                  </a:lnTo>
                  <a:lnTo>
                    <a:pt x="0" y="203147"/>
                  </a:lnTo>
                  <a:lnTo>
                    <a:pt x="243398" y="5333"/>
                  </a:lnTo>
                  <a:lnTo>
                    <a:pt x="243398" y="5333"/>
                  </a:lnTo>
                  <a:cubicBezTo>
                    <a:pt x="242344" y="6148"/>
                    <a:pt x="241049" y="6593"/>
                    <a:pt x="239716" y="6602"/>
                  </a:cubicBezTo>
                  <a:cubicBezTo>
                    <a:pt x="237113" y="6704"/>
                    <a:pt x="234828" y="4858"/>
                    <a:pt x="234383" y="2285"/>
                  </a:cubicBezTo>
                  <a:close/>
                </a:path>
              </a:pathLst>
            </a:custGeom>
            <a:solidFill>
              <a:srgbClr val="000000"/>
            </a:solidFill>
            <a:ln w="12690" cap="flat">
              <a:noFill/>
              <a:prstDash val="solid"/>
              <a:miter/>
            </a:ln>
          </p:spPr>
          <p:txBody>
            <a:bodyPr rtlCol="0" anchor="ctr"/>
            <a:lstStyle/>
            <a:p>
              <a:endParaRPr lang="en-US"/>
            </a:p>
          </p:txBody>
        </p:sp>
        <p:sp>
          <p:nvSpPr>
            <p:cNvPr id="358" name="Freeform: Shape 357">
              <a:extLst>
                <a:ext uri="{FF2B5EF4-FFF2-40B4-BE49-F238E27FC236}">
                  <a16:creationId xmlns:a16="http://schemas.microsoft.com/office/drawing/2014/main" id="{8B50DEF5-E31A-47D6-8978-75F3D5310ACB}"/>
                </a:ext>
              </a:extLst>
            </p:cNvPr>
            <p:cNvSpPr/>
            <p:nvPr/>
          </p:nvSpPr>
          <p:spPr>
            <a:xfrm>
              <a:off x="4880532" y="1132037"/>
              <a:ext cx="169121" cy="150582"/>
            </a:xfrm>
            <a:custGeom>
              <a:avLst/>
              <a:gdLst>
                <a:gd name="connsiteX0" fmla="*/ 169121 w 169121"/>
                <a:gd name="connsiteY0" fmla="*/ 12697 h 150582"/>
                <a:gd name="connsiteX1" fmla="*/ 169121 w 169121"/>
                <a:gd name="connsiteY1" fmla="*/ 0 h 150582"/>
                <a:gd name="connsiteX2" fmla="*/ 1650 w 169121"/>
                <a:gd name="connsiteY2" fmla="*/ 135855 h 150582"/>
                <a:gd name="connsiteX3" fmla="*/ 1650 w 169121"/>
                <a:gd name="connsiteY3" fmla="*/ 146901 h 150582"/>
                <a:gd name="connsiteX4" fmla="*/ 1650 w 169121"/>
                <a:gd name="connsiteY4" fmla="*/ 147663 h 150582"/>
                <a:gd name="connsiteX5" fmla="*/ 1650 w 169121"/>
                <a:gd name="connsiteY5" fmla="*/ 148551 h 150582"/>
                <a:gd name="connsiteX6" fmla="*/ 1650 w 169121"/>
                <a:gd name="connsiteY6" fmla="*/ 148551 h 150582"/>
                <a:gd name="connsiteX7" fmla="*/ 0 w 169121"/>
                <a:gd name="connsiteY7" fmla="*/ 150583 h 150582"/>
                <a:gd name="connsiteX8" fmla="*/ 0 w 169121"/>
                <a:gd name="connsiteY8" fmla="*/ 150583 h 15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121" h="150582">
                  <a:moveTo>
                    <a:pt x="169121" y="12697"/>
                  </a:moveTo>
                  <a:lnTo>
                    <a:pt x="169121" y="0"/>
                  </a:lnTo>
                  <a:lnTo>
                    <a:pt x="1650" y="135855"/>
                  </a:lnTo>
                  <a:lnTo>
                    <a:pt x="1650" y="146901"/>
                  </a:lnTo>
                  <a:cubicBezTo>
                    <a:pt x="1650" y="146901"/>
                    <a:pt x="1650" y="146901"/>
                    <a:pt x="1650" y="147663"/>
                  </a:cubicBezTo>
                  <a:cubicBezTo>
                    <a:pt x="1650" y="148424"/>
                    <a:pt x="1650" y="147663"/>
                    <a:pt x="1650" y="148551"/>
                  </a:cubicBezTo>
                  <a:lnTo>
                    <a:pt x="1650" y="148551"/>
                  </a:lnTo>
                  <a:cubicBezTo>
                    <a:pt x="1320" y="149377"/>
                    <a:pt x="749" y="150088"/>
                    <a:pt x="0" y="150583"/>
                  </a:cubicBezTo>
                  <a:lnTo>
                    <a:pt x="0" y="150583"/>
                  </a:lnTo>
                  <a:close/>
                </a:path>
              </a:pathLst>
            </a:custGeom>
            <a:solidFill>
              <a:srgbClr val="000000"/>
            </a:solidFill>
            <a:ln w="12690"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6589D0B1-50D5-4237-8E3B-A7284CBC6829}"/>
                </a:ext>
              </a:extLst>
            </p:cNvPr>
            <p:cNvSpPr/>
            <p:nvPr/>
          </p:nvSpPr>
          <p:spPr>
            <a:xfrm>
              <a:off x="4763213" y="1235642"/>
              <a:ext cx="114144" cy="47872"/>
            </a:xfrm>
            <a:custGeom>
              <a:avLst/>
              <a:gdLst>
                <a:gd name="connsiteX0" fmla="*/ 112367 w 114144"/>
                <a:gd name="connsiteY0" fmla="*/ 47867 h 47872"/>
                <a:gd name="connsiteX1" fmla="*/ 114145 w 114144"/>
                <a:gd name="connsiteY1" fmla="*/ 47867 h 47872"/>
                <a:gd name="connsiteX2" fmla="*/ 108812 w 114144"/>
                <a:gd name="connsiteY2" fmla="*/ 43055 h 47872"/>
                <a:gd name="connsiteX3" fmla="*/ 108812 w 114144"/>
                <a:gd name="connsiteY3" fmla="*/ 43042 h 47872"/>
                <a:gd name="connsiteX4" fmla="*/ 108812 w 114144"/>
                <a:gd name="connsiteY4" fmla="*/ 35932 h 47872"/>
                <a:gd name="connsiteX5" fmla="*/ 0 w 114144"/>
                <a:gd name="connsiteY5" fmla="*/ 0 h 47872"/>
                <a:gd name="connsiteX6" fmla="*/ 0 w 114144"/>
                <a:gd name="connsiteY6" fmla="*/ 10538 h 4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144" h="47872">
                  <a:moveTo>
                    <a:pt x="112367" y="47867"/>
                  </a:moveTo>
                  <a:lnTo>
                    <a:pt x="114145" y="47867"/>
                  </a:lnTo>
                  <a:cubicBezTo>
                    <a:pt x="111339" y="48006"/>
                    <a:pt x="108951" y="45860"/>
                    <a:pt x="108812" y="43055"/>
                  </a:cubicBezTo>
                  <a:cubicBezTo>
                    <a:pt x="108812" y="43055"/>
                    <a:pt x="108812" y="43042"/>
                    <a:pt x="108812" y="43042"/>
                  </a:cubicBezTo>
                  <a:lnTo>
                    <a:pt x="108812" y="35932"/>
                  </a:lnTo>
                  <a:lnTo>
                    <a:pt x="0" y="0"/>
                  </a:lnTo>
                  <a:lnTo>
                    <a:pt x="0" y="10538"/>
                  </a:lnTo>
                  <a:close/>
                </a:path>
              </a:pathLst>
            </a:custGeom>
            <a:solidFill>
              <a:srgbClr val="000000"/>
            </a:solidFill>
            <a:ln w="12690"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3619B4FB-0253-44A0-9AAF-6DD1CCCE8CF3}"/>
                </a:ext>
              </a:extLst>
            </p:cNvPr>
            <p:cNvSpPr/>
            <p:nvPr/>
          </p:nvSpPr>
          <p:spPr>
            <a:xfrm>
              <a:off x="4881999" y="1279699"/>
              <a:ext cx="56" cy="888"/>
            </a:xfrm>
            <a:custGeom>
              <a:avLst/>
              <a:gdLst>
                <a:gd name="connsiteX0" fmla="*/ 56 w 56"/>
                <a:gd name="connsiteY0" fmla="*/ 0 h 888"/>
                <a:gd name="connsiteX1" fmla="*/ 56 w 56"/>
                <a:gd name="connsiteY1" fmla="*/ 889 h 888"/>
                <a:gd name="connsiteX2" fmla="*/ 56 w 56"/>
                <a:gd name="connsiteY2" fmla="*/ 889 h 888"/>
                <a:gd name="connsiteX3" fmla="*/ 56 w 56"/>
                <a:gd name="connsiteY3" fmla="*/ 0 h 888"/>
              </a:gdLst>
              <a:ahLst/>
              <a:cxnLst>
                <a:cxn ang="0">
                  <a:pos x="connsiteX0" y="connsiteY0"/>
                </a:cxn>
                <a:cxn ang="0">
                  <a:pos x="connsiteX1" y="connsiteY1"/>
                </a:cxn>
                <a:cxn ang="0">
                  <a:pos x="connsiteX2" y="connsiteY2"/>
                </a:cxn>
                <a:cxn ang="0">
                  <a:pos x="connsiteX3" y="connsiteY3"/>
                </a:cxn>
              </a:cxnLst>
              <a:rect l="l" t="t" r="r" b="b"/>
              <a:pathLst>
                <a:path w="56" h="888">
                  <a:moveTo>
                    <a:pt x="56" y="0"/>
                  </a:moveTo>
                  <a:cubicBezTo>
                    <a:pt x="56" y="0"/>
                    <a:pt x="56" y="0"/>
                    <a:pt x="56" y="889"/>
                  </a:cubicBezTo>
                  <a:lnTo>
                    <a:pt x="56" y="889"/>
                  </a:lnTo>
                  <a:cubicBezTo>
                    <a:pt x="56" y="889"/>
                    <a:pt x="-71" y="254"/>
                    <a:pt x="56" y="0"/>
                  </a:cubicBezTo>
                  <a:close/>
                </a:path>
              </a:pathLst>
            </a:custGeom>
            <a:solidFill>
              <a:srgbClr val="000000"/>
            </a:solidFill>
            <a:ln w="12690"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49D32BB4-E2B4-4573-A1A8-78DFB0008EE3}"/>
                </a:ext>
              </a:extLst>
            </p:cNvPr>
            <p:cNvSpPr/>
            <p:nvPr/>
          </p:nvSpPr>
          <p:spPr>
            <a:xfrm>
              <a:off x="4870755" y="1073886"/>
              <a:ext cx="10411" cy="209882"/>
            </a:xfrm>
            <a:custGeom>
              <a:avLst/>
              <a:gdLst>
                <a:gd name="connsiteX0" fmla="*/ 635 w 10411"/>
                <a:gd name="connsiteY0" fmla="*/ 205052 h 209882"/>
                <a:gd name="connsiteX1" fmla="*/ 5955 w 10411"/>
                <a:gd name="connsiteY1" fmla="*/ 209877 h 209882"/>
                <a:gd name="connsiteX2" fmla="*/ 5968 w 10411"/>
                <a:gd name="connsiteY2" fmla="*/ 209877 h 209882"/>
                <a:gd name="connsiteX3" fmla="*/ 8761 w 10411"/>
                <a:gd name="connsiteY3" fmla="*/ 209115 h 209882"/>
                <a:gd name="connsiteX4" fmla="*/ 8761 w 10411"/>
                <a:gd name="connsiteY4" fmla="*/ 209115 h 209882"/>
                <a:gd name="connsiteX5" fmla="*/ 8761 w 10411"/>
                <a:gd name="connsiteY5" fmla="*/ 209115 h 209882"/>
                <a:gd name="connsiteX6" fmla="*/ 10411 w 10411"/>
                <a:gd name="connsiteY6" fmla="*/ 207083 h 209882"/>
                <a:gd name="connsiteX7" fmla="*/ 10411 w 10411"/>
                <a:gd name="connsiteY7" fmla="*/ 206194 h 209882"/>
                <a:gd name="connsiteX8" fmla="*/ 10411 w 10411"/>
                <a:gd name="connsiteY8" fmla="*/ 205433 h 209882"/>
                <a:gd name="connsiteX9" fmla="*/ 10411 w 10411"/>
                <a:gd name="connsiteY9" fmla="*/ 0 h 209882"/>
                <a:gd name="connsiteX10" fmla="*/ 8634 w 10411"/>
                <a:gd name="connsiteY10" fmla="*/ 1524 h 209882"/>
                <a:gd name="connsiteX11" fmla="*/ 8634 w 10411"/>
                <a:gd name="connsiteY11" fmla="*/ 1524 h 209882"/>
                <a:gd name="connsiteX12" fmla="*/ 7110 w 10411"/>
                <a:gd name="connsiteY12" fmla="*/ 2285 h 209882"/>
                <a:gd name="connsiteX13" fmla="*/ 5333 w 10411"/>
                <a:gd name="connsiteY13" fmla="*/ 2285 h 209882"/>
                <a:gd name="connsiteX14" fmla="*/ 3555 w 10411"/>
                <a:gd name="connsiteY14" fmla="*/ 2285 h 209882"/>
                <a:gd name="connsiteX15" fmla="*/ 0 w 10411"/>
                <a:gd name="connsiteY15" fmla="*/ 1143 h 209882"/>
                <a:gd name="connsiteX16" fmla="*/ 0 w 10411"/>
                <a:gd name="connsiteY16" fmla="*/ 204290 h 20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11" h="209882">
                  <a:moveTo>
                    <a:pt x="635" y="205052"/>
                  </a:moveTo>
                  <a:cubicBezTo>
                    <a:pt x="775" y="207858"/>
                    <a:pt x="3149" y="210016"/>
                    <a:pt x="5955" y="209877"/>
                  </a:cubicBezTo>
                  <a:cubicBezTo>
                    <a:pt x="5955" y="209877"/>
                    <a:pt x="5968" y="209877"/>
                    <a:pt x="5968" y="209877"/>
                  </a:cubicBezTo>
                  <a:cubicBezTo>
                    <a:pt x="6945" y="209877"/>
                    <a:pt x="7910" y="209610"/>
                    <a:pt x="8761" y="209115"/>
                  </a:cubicBezTo>
                  <a:lnTo>
                    <a:pt x="8761" y="209115"/>
                  </a:lnTo>
                  <a:lnTo>
                    <a:pt x="8761" y="209115"/>
                  </a:lnTo>
                  <a:cubicBezTo>
                    <a:pt x="9510" y="208620"/>
                    <a:pt x="10081" y="207921"/>
                    <a:pt x="10411" y="207083"/>
                  </a:cubicBezTo>
                  <a:cubicBezTo>
                    <a:pt x="10411" y="207083"/>
                    <a:pt x="10411" y="207083"/>
                    <a:pt x="10411" y="206194"/>
                  </a:cubicBezTo>
                  <a:cubicBezTo>
                    <a:pt x="10411" y="205306"/>
                    <a:pt x="10411" y="206194"/>
                    <a:pt x="10411" y="205433"/>
                  </a:cubicBezTo>
                  <a:lnTo>
                    <a:pt x="10411" y="0"/>
                  </a:lnTo>
                  <a:lnTo>
                    <a:pt x="8634" y="1524"/>
                  </a:lnTo>
                  <a:lnTo>
                    <a:pt x="8634" y="1524"/>
                  </a:lnTo>
                  <a:lnTo>
                    <a:pt x="7110" y="2285"/>
                  </a:lnTo>
                  <a:cubicBezTo>
                    <a:pt x="6526" y="2416"/>
                    <a:pt x="5917" y="2416"/>
                    <a:pt x="5333" y="2285"/>
                  </a:cubicBezTo>
                  <a:lnTo>
                    <a:pt x="3555" y="2285"/>
                  </a:lnTo>
                  <a:lnTo>
                    <a:pt x="0" y="1143"/>
                  </a:lnTo>
                  <a:lnTo>
                    <a:pt x="0" y="204290"/>
                  </a:lnTo>
                  <a:close/>
                </a:path>
              </a:pathLst>
            </a:custGeom>
            <a:solidFill>
              <a:srgbClr val="000000"/>
            </a:solidFill>
            <a:ln w="12690"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CAFCCFA3-E3CF-402C-9E76-D769F41A2AC2}"/>
                </a:ext>
              </a:extLst>
            </p:cNvPr>
            <p:cNvSpPr/>
            <p:nvPr/>
          </p:nvSpPr>
          <p:spPr>
            <a:xfrm>
              <a:off x="4054604" y="800653"/>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lnTo>
                    <a:pt x="0" y="0"/>
                  </a:lnTo>
                  <a:close/>
                </a:path>
              </a:pathLst>
            </a:custGeom>
            <a:solidFill>
              <a:srgbClr val="000000"/>
            </a:solidFill>
            <a:ln w="12690"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3035E3BA-6389-46A2-A9BD-541377FC4F1C}"/>
                </a:ext>
              </a:extLst>
            </p:cNvPr>
            <p:cNvSpPr/>
            <p:nvPr/>
          </p:nvSpPr>
          <p:spPr>
            <a:xfrm>
              <a:off x="4057651" y="801414"/>
              <a:ext cx="818564" cy="273233"/>
            </a:xfrm>
            <a:custGeom>
              <a:avLst/>
              <a:gdLst>
                <a:gd name="connsiteX0" fmla="*/ 701373 w 818564"/>
                <a:gd name="connsiteY0" fmla="*/ 229176 h 273233"/>
                <a:gd name="connsiteX1" fmla="*/ 702388 w 818564"/>
                <a:gd name="connsiteY1" fmla="*/ 229176 h 273233"/>
                <a:gd name="connsiteX2" fmla="*/ 703150 w 818564"/>
                <a:gd name="connsiteY2" fmla="*/ 229176 h 273233"/>
                <a:gd name="connsiteX3" fmla="*/ 703785 w 818564"/>
                <a:gd name="connsiteY3" fmla="*/ 229176 h 273233"/>
                <a:gd name="connsiteX4" fmla="*/ 704420 w 818564"/>
                <a:gd name="connsiteY4" fmla="*/ 230064 h 273233"/>
                <a:gd name="connsiteX5" fmla="*/ 704420 w 818564"/>
                <a:gd name="connsiteY5" fmla="*/ 230826 h 273233"/>
                <a:gd name="connsiteX6" fmla="*/ 704420 w 818564"/>
                <a:gd name="connsiteY6" fmla="*/ 231842 h 273233"/>
                <a:gd name="connsiteX7" fmla="*/ 704420 w 818564"/>
                <a:gd name="connsiteY7" fmla="*/ 236286 h 273233"/>
                <a:gd name="connsiteX8" fmla="*/ 813232 w 818564"/>
                <a:gd name="connsiteY8" fmla="*/ 272090 h 273233"/>
                <a:gd name="connsiteX9" fmla="*/ 816787 w 818564"/>
                <a:gd name="connsiteY9" fmla="*/ 273233 h 273233"/>
                <a:gd name="connsiteX10" fmla="*/ 818564 w 818564"/>
                <a:gd name="connsiteY10" fmla="*/ 273233 h 273233"/>
                <a:gd name="connsiteX11" fmla="*/ 814628 w 818564"/>
                <a:gd name="connsiteY11" fmla="*/ 271583 h 273233"/>
                <a:gd name="connsiteX12" fmla="*/ 814082 w 818564"/>
                <a:gd name="connsiteY12" fmla="*/ 265142 h 273233"/>
                <a:gd name="connsiteX13" fmla="*/ 814628 w 818564"/>
                <a:gd name="connsiteY13" fmla="*/ 264599 h 273233"/>
                <a:gd name="connsiteX14" fmla="*/ 817930 w 818564"/>
                <a:gd name="connsiteY14" fmla="*/ 265107 h 273233"/>
                <a:gd name="connsiteX15" fmla="*/ 12824 w 818564"/>
                <a:gd name="connsiteY15" fmla="*/ 0 h 273233"/>
                <a:gd name="connsiteX16" fmla="*/ 5460 w 818564"/>
                <a:gd name="connsiteY16" fmla="*/ 5460 h 273233"/>
                <a:gd name="connsiteX17" fmla="*/ 2032 w 818564"/>
                <a:gd name="connsiteY17" fmla="*/ 6602 h 273233"/>
                <a:gd name="connsiteX18" fmla="*/ 0 w 818564"/>
                <a:gd name="connsiteY18" fmla="*/ 6602 h 273233"/>
                <a:gd name="connsiteX19" fmla="*/ 0 w 818564"/>
                <a:gd name="connsiteY19" fmla="*/ 6602 h 273233"/>
                <a:gd name="connsiteX20" fmla="*/ 410489 w 818564"/>
                <a:gd name="connsiteY20" fmla="*/ 141568 h 273233"/>
                <a:gd name="connsiteX21" fmla="*/ 700992 w 818564"/>
                <a:gd name="connsiteY21" fmla="*/ 229430 h 27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8564" h="273233">
                  <a:moveTo>
                    <a:pt x="701373" y="229176"/>
                  </a:moveTo>
                  <a:lnTo>
                    <a:pt x="702388" y="229176"/>
                  </a:lnTo>
                  <a:cubicBezTo>
                    <a:pt x="702388" y="229176"/>
                    <a:pt x="703024" y="229176"/>
                    <a:pt x="703150" y="229176"/>
                  </a:cubicBezTo>
                  <a:lnTo>
                    <a:pt x="703785" y="229176"/>
                  </a:lnTo>
                  <a:cubicBezTo>
                    <a:pt x="703785" y="229176"/>
                    <a:pt x="703785" y="229176"/>
                    <a:pt x="704420" y="230064"/>
                  </a:cubicBezTo>
                  <a:cubicBezTo>
                    <a:pt x="705055" y="230953"/>
                    <a:pt x="704420" y="230064"/>
                    <a:pt x="704420" y="230826"/>
                  </a:cubicBezTo>
                  <a:cubicBezTo>
                    <a:pt x="704458" y="231164"/>
                    <a:pt x="704458" y="231504"/>
                    <a:pt x="704420" y="231842"/>
                  </a:cubicBezTo>
                  <a:lnTo>
                    <a:pt x="704420" y="236286"/>
                  </a:lnTo>
                  <a:lnTo>
                    <a:pt x="813232" y="272090"/>
                  </a:lnTo>
                  <a:lnTo>
                    <a:pt x="816787" y="273233"/>
                  </a:lnTo>
                  <a:lnTo>
                    <a:pt x="818564" y="273233"/>
                  </a:lnTo>
                  <a:cubicBezTo>
                    <a:pt x="817092" y="273199"/>
                    <a:pt x="815682" y="272610"/>
                    <a:pt x="814628" y="271583"/>
                  </a:cubicBezTo>
                  <a:cubicBezTo>
                    <a:pt x="812699" y="269954"/>
                    <a:pt x="812457" y="267070"/>
                    <a:pt x="814082" y="265142"/>
                  </a:cubicBezTo>
                  <a:cubicBezTo>
                    <a:pt x="814247" y="264946"/>
                    <a:pt x="814438" y="264764"/>
                    <a:pt x="814628" y="264599"/>
                  </a:cubicBezTo>
                  <a:lnTo>
                    <a:pt x="817930" y="265107"/>
                  </a:lnTo>
                  <a:lnTo>
                    <a:pt x="12824" y="0"/>
                  </a:lnTo>
                  <a:lnTo>
                    <a:pt x="5460" y="5460"/>
                  </a:lnTo>
                  <a:cubicBezTo>
                    <a:pt x="4470" y="6210"/>
                    <a:pt x="3263" y="6611"/>
                    <a:pt x="2032" y="6602"/>
                  </a:cubicBezTo>
                  <a:cubicBezTo>
                    <a:pt x="1359" y="6718"/>
                    <a:pt x="673" y="6718"/>
                    <a:pt x="0" y="6602"/>
                  </a:cubicBezTo>
                  <a:lnTo>
                    <a:pt x="0" y="6602"/>
                  </a:lnTo>
                  <a:lnTo>
                    <a:pt x="410489" y="141568"/>
                  </a:lnTo>
                  <a:lnTo>
                    <a:pt x="700992" y="229430"/>
                  </a:lnTo>
                  <a:close/>
                </a:path>
              </a:pathLst>
            </a:custGeom>
            <a:solidFill>
              <a:srgbClr val="000000"/>
            </a:solidFill>
            <a:ln w="12690"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43BA739B-96B1-4E92-B834-B0A0A11115A0}"/>
                </a:ext>
              </a:extLst>
            </p:cNvPr>
            <p:cNvSpPr/>
            <p:nvPr/>
          </p:nvSpPr>
          <p:spPr>
            <a:xfrm>
              <a:off x="5171797" y="829815"/>
              <a:ext cx="635" cy="40"/>
            </a:xfrm>
            <a:custGeom>
              <a:avLst/>
              <a:gdLst>
                <a:gd name="connsiteX0" fmla="*/ 635 w 635"/>
                <a:gd name="connsiteY0" fmla="*/ 40 h 40"/>
                <a:gd name="connsiteX1" fmla="*/ 0 w 635"/>
                <a:gd name="connsiteY1" fmla="*/ 40 h 40"/>
                <a:gd name="connsiteX2" fmla="*/ 635 w 635"/>
                <a:gd name="connsiteY2" fmla="*/ 40 h 40"/>
              </a:gdLst>
              <a:ahLst/>
              <a:cxnLst>
                <a:cxn ang="0">
                  <a:pos x="connsiteX0" y="connsiteY0"/>
                </a:cxn>
                <a:cxn ang="0">
                  <a:pos x="connsiteX1" y="connsiteY1"/>
                </a:cxn>
                <a:cxn ang="0">
                  <a:pos x="connsiteX2" y="connsiteY2"/>
                </a:cxn>
              </a:cxnLst>
              <a:rect l="l" t="t" r="r" b="b"/>
              <a:pathLst>
                <a:path w="635" h="40">
                  <a:moveTo>
                    <a:pt x="635" y="40"/>
                  </a:moveTo>
                  <a:cubicBezTo>
                    <a:pt x="432" y="-13"/>
                    <a:pt x="203" y="-13"/>
                    <a:pt x="0" y="40"/>
                  </a:cubicBezTo>
                  <a:lnTo>
                    <a:pt x="635" y="40"/>
                  </a:lnTo>
                  <a:close/>
                </a:path>
              </a:pathLst>
            </a:custGeom>
            <a:solidFill>
              <a:srgbClr val="000000"/>
            </a:solidFill>
            <a:ln w="12690"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02E3BA43-628A-4AA7-92D2-005C7D6F8E44}"/>
                </a:ext>
              </a:extLst>
            </p:cNvPr>
            <p:cNvSpPr/>
            <p:nvPr/>
          </p:nvSpPr>
          <p:spPr>
            <a:xfrm>
              <a:off x="5174845" y="83277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0BB07D10-CC5D-43D8-B51E-5A274F2A4112}"/>
                </a:ext>
              </a:extLst>
            </p:cNvPr>
            <p:cNvSpPr/>
            <p:nvPr/>
          </p:nvSpPr>
          <p:spPr>
            <a:xfrm>
              <a:off x="5173956" y="831125"/>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E486E245-4778-40CD-8BD9-19B7952153BD}"/>
                </a:ext>
              </a:extLst>
            </p:cNvPr>
            <p:cNvSpPr/>
            <p:nvPr/>
          </p:nvSpPr>
          <p:spPr>
            <a:xfrm>
              <a:off x="4871545" y="836457"/>
              <a:ext cx="292252" cy="240700"/>
            </a:xfrm>
            <a:custGeom>
              <a:avLst/>
              <a:gdLst>
                <a:gd name="connsiteX0" fmla="*/ 8479 w 292252"/>
                <a:gd name="connsiteY0" fmla="*/ 239079 h 240700"/>
                <a:gd name="connsiteX1" fmla="*/ 8479 w 292252"/>
                <a:gd name="connsiteY1" fmla="*/ 239079 h 240700"/>
                <a:gd name="connsiteX2" fmla="*/ 10256 w 292252"/>
                <a:gd name="connsiteY2" fmla="*/ 237555 h 240700"/>
                <a:gd name="connsiteX3" fmla="*/ 292253 w 292252"/>
                <a:gd name="connsiteY3" fmla="*/ 9015 h 240700"/>
                <a:gd name="connsiteX4" fmla="*/ 292253 w 292252"/>
                <a:gd name="connsiteY4" fmla="*/ 1524 h 240700"/>
                <a:gd name="connsiteX5" fmla="*/ 287174 w 292252"/>
                <a:gd name="connsiteY5" fmla="*/ 0 h 240700"/>
                <a:gd name="connsiteX6" fmla="*/ 4035 w 292252"/>
                <a:gd name="connsiteY6" fmla="*/ 230064 h 240700"/>
                <a:gd name="connsiteX7" fmla="*/ 1622 w 292252"/>
                <a:gd name="connsiteY7" fmla="*/ 231969 h 240700"/>
                <a:gd name="connsiteX8" fmla="*/ 1076 w 292252"/>
                <a:gd name="connsiteY8" fmla="*/ 238410 h 240700"/>
                <a:gd name="connsiteX9" fmla="*/ 1622 w 292252"/>
                <a:gd name="connsiteY9" fmla="*/ 238952 h 240700"/>
                <a:gd name="connsiteX10" fmla="*/ 5558 w 292252"/>
                <a:gd name="connsiteY10" fmla="*/ 240603 h 240700"/>
                <a:gd name="connsiteX11" fmla="*/ 7336 w 292252"/>
                <a:gd name="connsiteY11" fmla="*/ 240603 h 24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2252" h="240700">
                  <a:moveTo>
                    <a:pt x="8479" y="239079"/>
                  </a:moveTo>
                  <a:lnTo>
                    <a:pt x="8479" y="239079"/>
                  </a:lnTo>
                  <a:lnTo>
                    <a:pt x="10256" y="237555"/>
                  </a:lnTo>
                  <a:lnTo>
                    <a:pt x="292253" y="9015"/>
                  </a:lnTo>
                  <a:lnTo>
                    <a:pt x="292253" y="1524"/>
                  </a:lnTo>
                  <a:lnTo>
                    <a:pt x="287174" y="0"/>
                  </a:lnTo>
                  <a:lnTo>
                    <a:pt x="4035" y="230064"/>
                  </a:lnTo>
                  <a:lnTo>
                    <a:pt x="1622" y="231969"/>
                  </a:lnTo>
                  <a:cubicBezTo>
                    <a:pt x="-308" y="233598"/>
                    <a:pt x="-549" y="236481"/>
                    <a:pt x="1076" y="238410"/>
                  </a:cubicBezTo>
                  <a:cubicBezTo>
                    <a:pt x="1242" y="238605"/>
                    <a:pt x="1432" y="238787"/>
                    <a:pt x="1622" y="238952"/>
                  </a:cubicBezTo>
                  <a:cubicBezTo>
                    <a:pt x="2676" y="239979"/>
                    <a:pt x="4086" y="240568"/>
                    <a:pt x="5558" y="240603"/>
                  </a:cubicBezTo>
                  <a:cubicBezTo>
                    <a:pt x="6142" y="240733"/>
                    <a:pt x="6752" y="240733"/>
                    <a:pt x="7336" y="240603"/>
                  </a:cubicBezTo>
                  <a:close/>
                </a:path>
              </a:pathLst>
            </a:custGeom>
            <a:solidFill>
              <a:srgbClr val="000000"/>
            </a:solidFill>
            <a:ln w="12690"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7C47783D-9FC0-4502-9DF5-62378BA8462C}"/>
                </a:ext>
              </a:extLst>
            </p:cNvPr>
            <p:cNvSpPr/>
            <p:nvPr/>
          </p:nvSpPr>
          <p:spPr>
            <a:xfrm>
              <a:off x="5038823" y="793543"/>
              <a:ext cx="38" cy="888"/>
            </a:xfrm>
            <a:custGeom>
              <a:avLst/>
              <a:gdLst>
                <a:gd name="connsiteX0" fmla="*/ 38 w 38"/>
                <a:gd name="connsiteY0" fmla="*/ 889 h 888"/>
                <a:gd name="connsiteX1" fmla="*/ 38 w 38"/>
                <a:gd name="connsiteY1" fmla="*/ 889 h 888"/>
                <a:gd name="connsiteX2" fmla="*/ 38 w 38"/>
                <a:gd name="connsiteY2" fmla="*/ 0 h 888"/>
              </a:gdLst>
              <a:ahLst/>
              <a:cxnLst>
                <a:cxn ang="0">
                  <a:pos x="connsiteX0" y="connsiteY0"/>
                </a:cxn>
                <a:cxn ang="0">
                  <a:pos x="connsiteX1" y="connsiteY1"/>
                </a:cxn>
                <a:cxn ang="0">
                  <a:pos x="connsiteX2" y="connsiteY2"/>
                </a:cxn>
              </a:cxnLst>
              <a:rect l="l" t="t" r="r" b="b"/>
              <a:pathLst>
                <a:path w="38" h="888">
                  <a:moveTo>
                    <a:pt x="38" y="889"/>
                  </a:moveTo>
                  <a:lnTo>
                    <a:pt x="38" y="889"/>
                  </a:lnTo>
                  <a:cubicBezTo>
                    <a:pt x="-13" y="595"/>
                    <a:pt x="-13" y="293"/>
                    <a:pt x="38" y="0"/>
                  </a:cubicBezTo>
                  <a:close/>
                </a:path>
              </a:pathLst>
            </a:custGeom>
            <a:solidFill>
              <a:srgbClr val="000000"/>
            </a:solidFill>
            <a:ln w="12690"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D7E9202A-C905-46E2-994E-08140C4566B3}"/>
                </a:ext>
              </a:extLst>
            </p:cNvPr>
            <p:cNvSpPr/>
            <p:nvPr/>
          </p:nvSpPr>
          <p:spPr>
            <a:xfrm>
              <a:off x="5172432" y="830236"/>
              <a:ext cx="888" cy="12696"/>
            </a:xfrm>
            <a:custGeom>
              <a:avLst/>
              <a:gdLst>
                <a:gd name="connsiteX0" fmla="*/ 889 w 888"/>
                <a:gd name="connsiteY0" fmla="*/ 0 h 12696"/>
                <a:gd name="connsiteX1" fmla="*/ 0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BD91EBC9-5BC5-4CA9-ABDD-B6A9FF10DCA9}"/>
                </a:ext>
              </a:extLst>
            </p:cNvPr>
            <p:cNvSpPr/>
            <p:nvPr/>
          </p:nvSpPr>
          <p:spPr>
            <a:xfrm>
              <a:off x="5174971" y="832775"/>
              <a:ext cx="38" cy="888"/>
            </a:xfrm>
            <a:custGeom>
              <a:avLst/>
              <a:gdLst>
                <a:gd name="connsiteX0" fmla="*/ 0 w 38"/>
                <a:gd name="connsiteY0" fmla="*/ 889 h 888"/>
                <a:gd name="connsiteX1" fmla="*/ 0 w 38"/>
                <a:gd name="connsiteY1" fmla="*/ 0 h 888"/>
                <a:gd name="connsiteX2" fmla="*/ 0 w 38"/>
                <a:gd name="connsiteY2" fmla="*/ 0 h 888"/>
                <a:gd name="connsiteX3" fmla="*/ 0 w 38"/>
                <a:gd name="connsiteY3" fmla="*/ 889 h 888"/>
              </a:gdLst>
              <a:ahLst/>
              <a:cxnLst>
                <a:cxn ang="0">
                  <a:pos x="connsiteX0" y="connsiteY0"/>
                </a:cxn>
                <a:cxn ang="0">
                  <a:pos x="connsiteX1" y="connsiteY1"/>
                </a:cxn>
                <a:cxn ang="0">
                  <a:pos x="connsiteX2" y="connsiteY2"/>
                </a:cxn>
                <a:cxn ang="0">
                  <a:pos x="connsiteX3" y="connsiteY3"/>
                </a:cxn>
              </a:cxnLst>
              <a:rect l="l" t="t" r="r" b="b"/>
              <a:pathLst>
                <a:path w="38" h="888">
                  <a:moveTo>
                    <a:pt x="0" y="889"/>
                  </a:moveTo>
                  <a:cubicBezTo>
                    <a:pt x="0" y="889"/>
                    <a:pt x="0" y="889"/>
                    <a:pt x="0" y="0"/>
                  </a:cubicBezTo>
                  <a:lnTo>
                    <a:pt x="0" y="0"/>
                  </a:lnTo>
                  <a:cubicBezTo>
                    <a:pt x="51" y="293"/>
                    <a:pt x="51" y="596"/>
                    <a:pt x="0" y="889"/>
                  </a:cubicBezTo>
                  <a:close/>
                </a:path>
              </a:pathLst>
            </a:custGeom>
            <a:solidFill>
              <a:srgbClr val="000000"/>
            </a:solidFill>
            <a:ln w="12690"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522A4361-D6D3-4A91-A868-13CC6B87E500}"/>
                </a:ext>
              </a:extLst>
            </p:cNvPr>
            <p:cNvSpPr/>
            <p:nvPr/>
          </p:nvSpPr>
          <p:spPr>
            <a:xfrm>
              <a:off x="5174464" y="831125"/>
              <a:ext cx="12696" cy="634"/>
            </a:xfrm>
            <a:custGeom>
              <a:avLst/>
              <a:gdLst>
                <a:gd name="connsiteX0" fmla="*/ 0 w 12696"/>
                <a:gd name="connsiteY0" fmla="*/ 635 h 634"/>
                <a:gd name="connsiteX1" fmla="*/ 0 w 12696"/>
                <a:gd name="connsiteY1" fmla="*/ 0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90F454CF-EE40-4373-8441-CA0787AEEA75}"/>
                </a:ext>
              </a:extLst>
            </p:cNvPr>
            <p:cNvSpPr/>
            <p:nvPr/>
          </p:nvSpPr>
          <p:spPr>
            <a:xfrm>
              <a:off x="5042417" y="793796"/>
              <a:ext cx="129126" cy="43549"/>
            </a:xfrm>
            <a:custGeom>
              <a:avLst/>
              <a:gdLst>
                <a:gd name="connsiteX0" fmla="*/ 127222 w 129126"/>
                <a:gd name="connsiteY0" fmla="*/ 35170 h 43549"/>
                <a:gd name="connsiteX1" fmla="*/ 129126 w 129126"/>
                <a:gd name="connsiteY1" fmla="*/ 35170 h 43549"/>
                <a:gd name="connsiteX2" fmla="*/ 129126 w 129126"/>
                <a:gd name="connsiteY2" fmla="*/ 35170 h 43549"/>
                <a:gd name="connsiteX3" fmla="*/ 12443 w 129126"/>
                <a:gd name="connsiteY3" fmla="*/ 0 h 43549"/>
                <a:gd name="connsiteX4" fmla="*/ 5460 w 129126"/>
                <a:gd name="connsiteY4" fmla="*/ 5587 h 43549"/>
                <a:gd name="connsiteX5" fmla="*/ 1904 w 129126"/>
                <a:gd name="connsiteY5" fmla="*/ 6856 h 43549"/>
                <a:gd name="connsiteX6" fmla="*/ 0 w 129126"/>
                <a:gd name="connsiteY6" fmla="*/ 6856 h 43549"/>
                <a:gd name="connsiteX7" fmla="*/ 0 w 129126"/>
                <a:gd name="connsiteY7" fmla="*/ 6856 h 43549"/>
                <a:gd name="connsiteX8" fmla="*/ 116811 w 129126"/>
                <a:gd name="connsiteY8" fmla="*/ 42026 h 43549"/>
                <a:gd name="connsiteX9" fmla="*/ 121889 w 129126"/>
                <a:gd name="connsiteY9" fmla="*/ 43550 h 43549"/>
                <a:gd name="connsiteX10" fmla="*/ 121889 w 129126"/>
                <a:gd name="connsiteY10" fmla="*/ 39995 h 43549"/>
                <a:gd name="connsiteX11" fmla="*/ 127222 w 129126"/>
                <a:gd name="connsiteY11" fmla="*/ 35170 h 4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126" h="43549">
                  <a:moveTo>
                    <a:pt x="127222" y="35170"/>
                  </a:moveTo>
                  <a:lnTo>
                    <a:pt x="129126" y="35170"/>
                  </a:lnTo>
                  <a:lnTo>
                    <a:pt x="129126" y="35170"/>
                  </a:lnTo>
                  <a:lnTo>
                    <a:pt x="12443" y="0"/>
                  </a:lnTo>
                  <a:lnTo>
                    <a:pt x="5460" y="5587"/>
                  </a:lnTo>
                  <a:cubicBezTo>
                    <a:pt x="4469" y="6430"/>
                    <a:pt x="3199" y="6880"/>
                    <a:pt x="1904" y="6856"/>
                  </a:cubicBezTo>
                  <a:cubicBezTo>
                    <a:pt x="1282" y="6986"/>
                    <a:pt x="622" y="6986"/>
                    <a:pt x="0" y="6856"/>
                  </a:cubicBezTo>
                  <a:lnTo>
                    <a:pt x="0" y="6856"/>
                  </a:lnTo>
                  <a:lnTo>
                    <a:pt x="116811" y="42026"/>
                  </a:lnTo>
                  <a:lnTo>
                    <a:pt x="121889" y="43550"/>
                  </a:lnTo>
                  <a:lnTo>
                    <a:pt x="121889" y="39995"/>
                  </a:lnTo>
                  <a:cubicBezTo>
                    <a:pt x="122093" y="37219"/>
                    <a:pt x="124442" y="35095"/>
                    <a:pt x="127222" y="35170"/>
                  </a:cubicBezTo>
                  <a:close/>
                </a:path>
              </a:pathLst>
            </a:custGeom>
            <a:solidFill>
              <a:srgbClr val="000000"/>
            </a:solidFill>
            <a:ln w="12690"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A34501E9-B054-4084-AC28-A225DFFC0864}"/>
                </a:ext>
              </a:extLst>
            </p:cNvPr>
            <p:cNvSpPr/>
            <p:nvPr/>
          </p:nvSpPr>
          <p:spPr>
            <a:xfrm>
              <a:off x="5418623" y="49110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9B4AC1FF-7EE5-49FF-8258-FDEFE1AEDFF2}"/>
                </a:ext>
              </a:extLst>
            </p:cNvPr>
            <p:cNvSpPr/>
            <p:nvPr/>
          </p:nvSpPr>
          <p:spPr>
            <a:xfrm>
              <a:off x="5409609" y="494408"/>
              <a:ext cx="10411" cy="212042"/>
            </a:xfrm>
            <a:custGeom>
              <a:avLst/>
              <a:gdLst>
                <a:gd name="connsiteX0" fmla="*/ 10411 w 10411"/>
                <a:gd name="connsiteY0" fmla="*/ 762 h 212042"/>
                <a:gd name="connsiteX1" fmla="*/ 10411 w 10411"/>
                <a:gd name="connsiteY1" fmla="*/ 1397 h 212042"/>
                <a:gd name="connsiteX2" fmla="*/ 10411 w 10411"/>
                <a:gd name="connsiteY2" fmla="*/ 1397 h 212042"/>
                <a:gd name="connsiteX3" fmla="*/ 9015 w 10411"/>
                <a:gd name="connsiteY3" fmla="*/ 3301 h 212042"/>
                <a:gd name="connsiteX4" fmla="*/ 0 w 10411"/>
                <a:gd name="connsiteY4" fmla="*/ 10665 h 212042"/>
                <a:gd name="connsiteX5" fmla="*/ 0 w 10411"/>
                <a:gd name="connsiteY5" fmla="*/ 207210 h 212042"/>
                <a:gd name="connsiteX6" fmla="*/ 5460 w 10411"/>
                <a:gd name="connsiteY6" fmla="*/ 212035 h 212042"/>
                <a:gd name="connsiteX7" fmla="*/ 9142 w 10411"/>
                <a:gd name="connsiteY7" fmla="*/ 210765 h 212042"/>
                <a:gd name="connsiteX8" fmla="*/ 9904 w 10411"/>
                <a:gd name="connsiteY8" fmla="*/ 209750 h 212042"/>
                <a:gd name="connsiteX9" fmla="*/ 9904 w 10411"/>
                <a:gd name="connsiteY9" fmla="*/ 209115 h 212042"/>
                <a:gd name="connsiteX10" fmla="*/ 9904 w 10411"/>
                <a:gd name="connsiteY10" fmla="*/ 208353 h 212042"/>
                <a:gd name="connsiteX11" fmla="*/ 9904 w 10411"/>
                <a:gd name="connsiteY11" fmla="*/ 207337 h 212042"/>
                <a:gd name="connsiteX12" fmla="*/ 9904 w 10411"/>
                <a:gd name="connsiteY12" fmla="*/ 207337 h 212042"/>
                <a:gd name="connsiteX13" fmla="*/ 9904 w 10411"/>
                <a:gd name="connsiteY13" fmla="*/ 0 h 212042"/>
                <a:gd name="connsiteX14" fmla="*/ 9904 w 10411"/>
                <a:gd name="connsiteY14" fmla="*/ 0 h 212042"/>
                <a:gd name="connsiteX15" fmla="*/ 10411 w 10411"/>
                <a:gd name="connsiteY15" fmla="*/ 762 h 2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11" h="212042">
                  <a:moveTo>
                    <a:pt x="10411" y="762"/>
                  </a:moveTo>
                  <a:cubicBezTo>
                    <a:pt x="10411" y="762"/>
                    <a:pt x="10411" y="762"/>
                    <a:pt x="10411" y="1397"/>
                  </a:cubicBezTo>
                  <a:lnTo>
                    <a:pt x="10411" y="1397"/>
                  </a:lnTo>
                  <a:cubicBezTo>
                    <a:pt x="10107" y="2134"/>
                    <a:pt x="9624" y="2788"/>
                    <a:pt x="9015" y="3301"/>
                  </a:cubicBezTo>
                  <a:lnTo>
                    <a:pt x="0" y="10665"/>
                  </a:lnTo>
                  <a:lnTo>
                    <a:pt x="0" y="207210"/>
                  </a:lnTo>
                  <a:cubicBezTo>
                    <a:pt x="203" y="210037"/>
                    <a:pt x="2628" y="212181"/>
                    <a:pt x="5460" y="212035"/>
                  </a:cubicBezTo>
                  <a:cubicBezTo>
                    <a:pt x="6793" y="212026"/>
                    <a:pt x="8088" y="211580"/>
                    <a:pt x="9142" y="210765"/>
                  </a:cubicBezTo>
                  <a:lnTo>
                    <a:pt x="9904" y="209750"/>
                  </a:lnTo>
                  <a:lnTo>
                    <a:pt x="9904" y="209115"/>
                  </a:lnTo>
                  <a:cubicBezTo>
                    <a:pt x="9954" y="208863"/>
                    <a:pt x="9954" y="208604"/>
                    <a:pt x="9904" y="208353"/>
                  </a:cubicBezTo>
                  <a:cubicBezTo>
                    <a:pt x="9954" y="208017"/>
                    <a:pt x="9954" y="207674"/>
                    <a:pt x="9904" y="207337"/>
                  </a:cubicBezTo>
                  <a:lnTo>
                    <a:pt x="9904" y="207337"/>
                  </a:lnTo>
                  <a:lnTo>
                    <a:pt x="9904" y="0"/>
                  </a:lnTo>
                  <a:lnTo>
                    <a:pt x="9904" y="0"/>
                  </a:lnTo>
                  <a:cubicBezTo>
                    <a:pt x="9904" y="0"/>
                    <a:pt x="10411" y="762"/>
                    <a:pt x="10411" y="762"/>
                  </a:cubicBezTo>
                  <a:close/>
                </a:path>
              </a:pathLst>
            </a:custGeom>
            <a:solidFill>
              <a:srgbClr val="000000"/>
            </a:solidFill>
            <a:ln w="12690" cap="flat">
              <a:noFill/>
              <a:prstDash val="solid"/>
              <a:miter/>
            </a:ln>
          </p:spPr>
          <p:txBody>
            <a:bodyPr rtlCol="0" anchor="ctr"/>
            <a:lstStyle/>
            <a:p>
              <a:endParaRPr lang="en-US"/>
            </a:p>
          </p:txBody>
        </p:sp>
        <p:sp>
          <p:nvSpPr>
            <p:cNvPr id="375" name="Freeform: Shape 374">
              <a:extLst>
                <a:ext uri="{FF2B5EF4-FFF2-40B4-BE49-F238E27FC236}">
                  <a16:creationId xmlns:a16="http://schemas.microsoft.com/office/drawing/2014/main" id="{349B8ECB-A32B-4A7B-B6A1-431329C4DCF1}"/>
                </a:ext>
              </a:extLst>
            </p:cNvPr>
            <p:cNvSpPr/>
            <p:nvPr/>
          </p:nvSpPr>
          <p:spPr>
            <a:xfrm>
              <a:off x="5419766" y="49275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139E1050-6C1C-4441-A265-9559497C4DF3}"/>
                </a:ext>
              </a:extLst>
            </p:cNvPr>
            <p:cNvSpPr/>
            <p:nvPr/>
          </p:nvSpPr>
          <p:spPr>
            <a:xfrm>
              <a:off x="5416973" y="48996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1D7665DF-BD46-40D7-819E-1067A5D58CE3}"/>
                </a:ext>
              </a:extLst>
            </p:cNvPr>
            <p:cNvSpPr/>
            <p:nvPr/>
          </p:nvSpPr>
          <p:spPr>
            <a:xfrm>
              <a:off x="5039957" y="496186"/>
              <a:ext cx="379301" cy="303421"/>
            </a:xfrm>
            <a:custGeom>
              <a:avLst/>
              <a:gdLst>
                <a:gd name="connsiteX0" fmla="*/ 682 w 379301"/>
                <a:gd name="connsiteY0" fmla="*/ 296341 h 303421"/>
                <a:gd name="connsiteX1" fmla="*/ 48 w 379301"/>
                <a:gd name="connsiteY1" fmla="*/ 297103 h 303421"/>
                <a:gd name="connsiteX2" fmla="*/ 48 w 379301"/>
                <a:gd name="connsiteY2" fmla="*/ 297992 h 303421"/>
                <a:gd name="connsiteX3" fmla="*/ 48 w 379301"/>
                <a:gd name="connsiteY3" fmla="*/ 298880 h 303421"/>
                <a:gd name="connsiteX4" fmla="*/ 48 w 379301"/>
                <a:gd name="connsiteY4" fmla="*/ 299896 h 303421"/>
                <a:gd name="connsiteX5" fmla="*/ 48 w 379301"/>
                <a:gd name="connsiteY5" fmla="*/ 300785 h 303421"/>
                <a:gd name="connsiteX6" fmla="*/ 48 w 379301"/>
                <a:gd name="connsiteY6" fmla="*/ 301674 h 303421"/>
                <a:gd name="connsiteX7" fmla="*/ 48 w 379301"/>
                <a:gd name="connsiteY7" fmla="*/ 302562 h 303421"/>
                <a:gd name="connsiteX8" fmla="*/ 48 w 379301"/>
                <a:gd name="connsiteY8" fmla="*/ 302562 h 303421"/>
                <a:gd name="connsiteX9" fmla="*/ 48 w 379301"/>
                <a:gd name="connsiteY9" fmla="*/ 302562 h 303421"/>
                <a:gd name="connsiteX10" fmla="*/ 1063 w 379301"/>
                <a:gd name="connsiteY10" fmla="*/ 303324 h 303421"/>
                <a:gd name="connsiteX11" fmla="*/ 1952 w 379301"/>
                <a:gd name="connsiteY11" fmla="*/ 303324 h 303421"/>
                <a:gd name="connsiteX12" fmla="*/ 3857 w 379301"/>
                <a:gd name="connsiteY12" fmla="*/ 303324 h 303421"/>
                <a:gd name="connsiteX13" fmla="*/ 7412 w 379301"/>
                <a:gd name="connsiteY13" fmla="*/ 302055 h 303421"/>
                <a:gd name="connsiteX14" fmla="*/ 14395 w 379301"/>
                <a:gd name="connsiteY14" fmla="*/ 296468 h 303421"/>
                <a:gd name="connsiteX15" fmla="*/ 368890 w 379301"/>
                <a:gd name="connsiteY15" fmla="*/ 9269 h 303421"/>
                <a:gd name="connsiteX16" fmla="*/ 377905 w 379301"/>
                <a:gd name="connsiteY16" fmla="*/ 1904 h 303421"/>
                <a:gd name="connsiteX17" fmla="*/ 379302 w 379301"/>
                <a:gd name="connsiteY17" fmla="*/ 0 h 303421"/>
                <a:gd name="connsiteX18" fmla="*/ 374350 w 379301"/>
                <a:gd name="connsiteY18" fmla="*/ 3174 h 303421"/>
                <a:gd name="connsiteX19" fmla="*/ 372572 w 379301"/>
                <a:gd name="connsiteY19" fmla="*/ 3174 h 303421"/>
                <a:gd name="connsiteX20" fmla="*/ 363812 w 379301"/>
                <a:gd name="connsiteY20" fmla="*/ 508 h 303421"/>
                <a:gd name="connsiteX21" fmla="*/ 682 w 379301"/>
                <a:gd name="connsiteY21" fmla="*/ 296087 h 3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301" h="303421">
                  <a:moveTo>
                    <a:pt x="682" y="296341"/>
                  </a:moveTo>
                  <a:lnTo>
                    <a:pt x="48" y="297103"/>
                  </a:lnTo>
                  <a:lnTo>
                    <a:pt x="48" y="297992"/>
                  </a:lnTo>
                  <a:cubicBezTo>
                    <a:pt x="-3" y="298285"/>
                    <a:pt x="-3" y="298587"/>
                    <a:pt x="48" y="298880"/>
                  </a:cubicBezTo>
                  <a:cubicBezTo>
                    <a:pt x="-16" y="299216"/>
                    <a:pt x="-16" y="299561"/>
                    <a:pt x="48" y="299896"/>
                  </a:cubicBezTo>
                  <a:cubicBezTo>
                    <a:pt x="-16" y="300189"/>
                    <a:pt x="-16" y="300492"/>
                    <a:pt x="48" y="300785"/>
                  </a:cubicBezTo>
                  <a:cubicBezTo>
                    <a:pt x="-3" y="301078"/>
                    <a:pt x="-3" y="301380"/>
                    <a:pt x="48" y="301674"/>
                  </a:cubicBezTo>
                  <a:cubicBezTo>
                    <a:pt x="22" y="301970"/>
                    <a:pt x="22" y="302267"/>
                    <a:pt x="48" y="302562"/>
                  </a:cubicBezTo>
                  <a:lnTo>
                    <a:pt x="48" y="302562"/>
                  </a:lnTo>
                  <a:lnTo>
                    <a:pt x="48" y="302562"/>
                  </a:lnTo>
                  <a:lnTo>
                    <a:pt x="1063" y="303324"/>
                  </a:lnTo>
                  <a:lnTo>
                    <a:pt x="1952" y="303324"/>
                  </a:lnTo>
                  <a:cubicBezTo>
                    <a:pt x="2574" y="303454"/>
                    <a:pt x="3234" y="303454"/>
                    <a:pt x="3857" y="303324"/>
                  </a:cubicBezTo>
                  <a:cubicBezTo>
                    <a:pt x="5151" y="303348"/>
                    <a:pt x="6421" y="302898"/>
                    <a:pt x="7412" y="302055"/>
                  </a:cubicBezTo>
                  <a:lnTo>
                    <a:pt x="14395" y="296468"/>
                  </a:lnTo>
                  <a:lnTo>
                    <a:pt x="368890" y="9269"/>
                  </a:lnTo>
                  <a:lnTo>
                    <a:pt x="377905" y="1904"/>
                  </a:lnTo>
                  <a:cubicBezTo>
                    <a:pt x="378514" y="1392"/>
                    <a:pt x="378997" y="738"/>
                    <a:pt x="379302" y="0"/>
                  </a:cubicBezTo>
                  <a:cubicBezTo>
                    <a:pt x="378413" y="1932"/>
                    <a:pt x="376483" y="3172"/>
                    <a:pt x="374350" y="3174"/>
                  </a:cubicBezTo>
                  <a:lnTo>
                    <a:pt x="372572" y="3174"/>
                  </a:lnTo>
                  <a:lnTo>
                    <a:pt x="363812" y="508"/>
                  </a:lnTo>
                  <a:lnTo>
                    <a:pt x="682" y="296087"/>
                  </a:lnTo>
                  <a:close/>
                </a:path>
              </a:pathLst>
            </a:custGeom>
            <a:solidFill>
              <a:srgbClr val="000000"/>
            </a:solidFill>
            <a:ln w="12690"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73ABE6BC-46BB-49FB-BA38-94B12F8637C6}"/>
                </a:ext>
              </a:extLst>
            </p:cNvPr>
            <p:cNvSpPr/>
            <p:nvPr/>
          </p:nvSpPr>
          <p:spPr>
            <a:xfrm>
              <a:off x="5419131" y="49174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C8370FE2-7E59-491A-B4B0-F1E09D22EEF5}"/>
                </a:ext>
              </a:extLst>
            </p:cNvPr>
            <p:cNvSpPr/>
            <p:nvPr/>
          </p:nvSpPr>
          <p:spPr>
            <a:xfrm>
              <a:off x="5420020" y="49339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9C32A72B-6922-4922-8673-2EC7353B990D}"/>
                </a:ext>
              </a:extLst>
            </p:cNvPr>
            <p:cNvSpPr/>
            <p:nvPr/>
          </p:nvSpPr>
          <p:spPr>
            <a:xfrm>
              <a:off x="5416973" y="490345"/>
              <a:ext cx="634" cy="12696"/>
            </a:xfrm>
            <a:custGeom>
              <a:avLst/>
              <a:gdLst>
                <a:gd name="connsiteX0" fmla="*/ 635 w 634"/>
                <a:gd name="connsiteY0" fmla="*/ 0 h 12696"/>
                <a:gd name="connsiteX1" fmla="*/ 0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31CBC42F-3D33-4EA1-A4E0-23C38B152684}"/>
                </a:ext>
              </a:extLst>
            </p:cNvPr>
            <p:cNvSpPr/>
            <p:nvPr/>
          </p:nvSpPr>
          <p:spPr>
            <a:xfrm>
              <a:off x="5098917" y="32858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94FA98CE-E660-4B67-B50B-96E82133168E}"/>
                </a:ext>
              </a:extLst>
            </p:cNvPr>
            <p:cNvSpPr/>
            <p:nvPr/>
          </p:nvSpPr>
          <p:spPr>
            <a:xfrm>
              <a:off x="5100695" y="330113"/>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45FBD0F8-9EFF-4858-A76D-F5BF2D7D3449}"/>
                </a:ext>
              </a:extLst>
            </p:cNvPr>
            <p:cNvSpPr/>
            <p:nvPr/>
          </p:nvSpPr>
          <p:spPr>
            <a:xfrm>
              <a:off x="5091553" y="333033"/>
              <a:ext cx="10791" cy="61705"/>
            </a:xfrm>
            <a:custGeom>
              <a:avLst/>
              <a:gdLst>
                <a:gd name="connsiteX0" fmla="*/ 10411 w 10791"/>
                <a:gd name="connsiteY0" fmla="*/ 1016 h 61705"/>
                <a:gd name="connsiteX1" fmla="*/ 10411 w 10791"/>
                <a:gd name="connsiteY1" fmla="*/ 1651 h 61705"/>
                <a:gd name="connsiteX2" fmla="*/ 10411 w 10791"/>
                <a:gd name="connsiteY2" fmla="*/ 1651 h 61705"/>
                <a:gd name="connsiteX3" fmla="*/ 9015 w 10791"/>
                <a:gd name="connsiteY3" fmla="*/ 3555 h 61705"/>
                <a:gd name="connsiteX4" fmla="*/ 0 w 10791"/>
                <a:gd name="connsiteY4" fmla="*/ 10792 h 61705"/>
                <a:gd name="connsiteX5" fmla="*/ 0 w 10791"/>
                <a:gd name="connsiteY5" fmla="*/ 58405 h 61705"/>
                <a:gd name="connsiteX6" fmla="*/ 7110 w 10791"/>
                <a:gd name="connsiteY6" fmla="*/ 60563 h 61705"/>
                <a:gd name="connsiteX7" fmla="*/ 7110 w 10791"/>
                <a:gd name="connsiteY7" fmla="*/ 60563 h 61705"/>
                <a:gd name="connsiteX8" fmla="*/ 10792 w 10791"/>
                <a:gd name="connsiteY8" fmla="*/ 61706 h 61705"/>
                <a:gd name="connsiteX9" fmla="*/ 10792 w 10791"/>
                <a:gd name="connsiteY9" fmla="*/ 0 h 61705"/>
                <a:gd name="connsiteX10" fmla="*/ 10792 w 10791"/>
                <a:gd name="connsiteY10" fmla="*/ 0 h 61705"/>
                <a:gd name="connsiteX11" fmla="*/ 10411 w 10791"/>
                <a:gd name="connsiteY11" fmla="*/ 1016 h 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91" h="61705">
                  <a:moveTo>
                    <a:pt x="10411" y="1016"/>
                  </a:moveTo>
                  <a:cubicBezTo>
                    <a:pt x="10462" y="1224"/>
                    <a:pt x="10462" y="1442"/>
                    <a:pt x="10411" y="1651"/>
                  </a:cubicBezTo>
                  <a:lnTo>
                    <a:pt x="10411" y="1651"/>
                  </a:lnTo>
                  <a:cubicBezTo>
                    <a:pt x="10132" y="2406"/>
                    <a:pt x="9649" y="3068"/>
                    <a:pt x="9015" y="3555"/>
                  </a:cubicBezTo>
                  <a:lnTo>
                    <a:pt x="0" y="10792"/>
                  </a:lnTo>
                  <a:lnTo>
                    <a:pt x="0" y="58405"/>
                  </a:lnTo>
                  <a:lnTo>
                    <a:pt x="7110" y="60563"/>
                  </a:lnTo>
                  <a:lnTo>
                    <a:pt x="7110" y="60563"/>
                  </a:lnTo>
                  <a:lnTo>
                    <a:pt x="10792" y="61706"/>
                  </a:lnTo>
                  <a:lnTo>
                    <a:pt x="10792" y="0"/>
                  </a:lnTo>
                  <a:lnTo>
                    <a:pt x="10792" y="0"/>
                  </a:lnTo>
                  <a:cubicBezTo>
                    <a:pt x="10792" y="0"/>
                    <a:pt x="10411" y="635"/>
                    <a:pt x="10411" y="1016"/>
                  </a:cubicBezTo>
                  <a:close/>
                </a:path>
              </a:pathLst>
            </a:custGeom>
            <a:solidFill>
              <a:srgbClr val="000000"/>
            </a:solidFill>
            <a:ln w="12690"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946603AB-6945-4E12-8BFE-1368A4902687}"/>
                </a:ext>
              </a:extLst>
            </p:cNvPr>
            <p:cNvSpPr/>
            <p:nvPr/>
          </p:nvSpPr>
          <p:spPr>
            <a:xfrm>
              <a:off x="5101711" y="33138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85" name="Freeform: Shape 384">
              <a:extLst>
                <a:ext uri="{FF2B5EF4-FFF2-40B4-BE49-F238E27FC236}">
                  <a16:creationId xmlns:a16="http://schemas.microsoft.com/office/drawing/2014/main" id="{540EEB26-450B-4023-9B94-119FAA93C3B1}"/>
                </a:ext>
              </a:extLst>
            </p:cNvPr>
            <p:cNvSpPr/>
            <p:nvPr/>
          </p:nvSpPr>
          <p:spPr>
            <a:xfrm>
              <a:off x="5033402" y="382931"/>
              <a:ext cx="635" cy="761"/>
            </a:xfrm>
            <a:custGeom>
              <a:avLst/>
              <a:gdLst>
                <a:gd name="connsiteX0" fmla="*/ 635 w 635"/>
                <a:gd name="connsiteY0" fmla="*/ 762 h 761"/>
                <a:gd name="connsiteX1" fmla="*/ 635 w 635"/>
                <a:gd name="connsiteY1" fmla="*/ 762 h 761"/>
                <a:gd name="connsiteX2" fmla="*/ 0 w 635"/>
                <a:gd name="connsiteY2" fmla="*/ 0 h 761"/>
              </a:gdLst>
              <a:ahLst/>
              <a:cxnLst>
                <a:cxn ang="0">
                  <a:pos x="connsiteX0" y="connsiteY0"/>
                </a:cxn>
                <a:cxn ang="0">
                  <a:pos x="connsiteX1" y="connsiteY1"/>
                </a:cxn>
                <a:cxn ang="0">
                  <a:pos x="connsiteX2" y="connsiteY2"/>
                </a:cxn>
              </a:cxnLst>
              <a:rect l="l" t="t" r="r" b="b"/>
              <a:pathLst>
                <a:path w="635" h="761">
                  <a:moveTo>
                    <a:pt x="635" y="762"/>
                  </a:moveTo>
                  <a:lnTo>
                    <a:pt x="635" y="762"/>
                  </a:lnTo>
                  <a:lnTo>
                    <a:pt x="0" y="0"/>
                  </a:lnTo>
                  <a:close/>
                </a:path>
              </a:pathLst>
            </a:custGeom>
            <a:solidFill>
              <a:srgbClr val="000000"/>
            </a:solidFill>
            <a:ln w="12690"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BD28D8B4-666A-42E6-ACAE-6B7159521888}"/>
                </a:ext>
              </a:extLst>
            </p:cNvPr>
            <p:cNvSpPr/>
            <p:nvPr/>
          </p:nvSpPr>
          <p:spPr>
            <a:xfrm>
              <a:off x="5034291" y="334811"/>
              <a:ext cx="67547" cy="43676"/>
            </a:xfrm>
            <a:custGeom>
              <a:avLst/>
              <a:gdLst>
                <a:gd name="connsiteX0" fmla="*/ 0 w 67547"/>
                <a:gd name="connsiteY0" fmla="*/ 42280 h 43676"/>
                <a:gd name="connsiteX1" fmla="*/ 5460 w 67547"/>
                <a:gd name="connsiteY1" fmla="*/ 41010 h 43676"/>
                <a:gd name="connsiteX2" fmla="*/ 14347 w 67547"/>
                <a:gd name="connsiteY2" fmla="*/ 43677 h 43676"/>
                <a:gd name="connsiteX3" fmla="*/ 57136 w 67547"/>
                <a:gd name="connsiteY3" fmla="*/ 9142 h 43676"/>
                <a:gd name="connsiteX4" fmla="*/ 66150 w 67547"/>
                <a:gd name="connsiteY4" fmla="*/ 1905 h 43676"/>
                <a:gd name="connsiteX5" fmla="*/ 67547 w 67547"/>
                <a:gd name="connsiteY5" fmla="*/ 0 h 43676"/>
                <a:gd name="connsiteX6" fmla="*/ 62595 w 67547"/>
                <a:gd name="connsiteY6" fmla="*/ 3174 h 43676"/>
                <a:gd name="connsiteX7" fmla="*/ 60818 w 67547"/>
                <a:gd name="connsiteY7" fmla="*/ 3174 h 43676"/>
                <a:gd name="connsiteX8" fmla="*/ 51930 w 67547"/>
                <a:gd name="connsiteY8" fmla="*/ 508 h 43676"/>
                <a:gd name="connsiteX9" fmla="*/ 381 w 67547"/>
                <a:gd name="connsiteY9" fmla="*/ 42280 h 4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47" h="43676">
                  <a:moveTo>
                    <a:pt x="0" y="42280"/>
                  </a:moveTo>
                  <a:cubicBezTo>
                    <a:pt x="1473" y="40932"/>
                    <a:pt x="3542" y="40450"/>
                    <a:pt x="5460" y="41010"/>
                  </a:cubicBezTo>
                  <a:lnTo>
                    <a:pt x="14347" y="43677"/>
                  </a:lnTo>
                  <a:lnTo>
                    <a:pt x="57136" y="9142"/>
                  </a:lnTo>
                  <a:lnTo>
                    <a:pt x="66150" y="1905"/>
                  </a:lnTo>
                  <a:cubicBezTo>
                    <a:pt x="66785" y="1417"/>
                    <a:pt x="67268" y="755"/>
                    <a:pt x="67547" y="0"/>
                  </a:cubicBezTo>
                  <a:cubicBezTo>
                    <a:pt x="66684" y="1955"/>
                    <a:pt x="64728" y="3205"/>
                    <a:pt x="62595" y="3174"/>
                  </a:cubicBezTo>
                  <a:lnTo>
                    <a:pt x="60818" y="3174"/>
                  </a:lnTo>
                  <a:lnTo>
                    <a:pt x="51930" y="508"/>
                  </a:lnTo>
                  <a:lnTo>
                    <a:pt x="381" y="42280"/>
                  </a:lnTo>
                  <a:close/>
                </a:path>
              </a:pathLst>
            </a:custGeom>
            <a:solidFill>
              <a:srgbClr val="000000"/>
            </a:solidFill>
            <a:ln w="12690"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BCAD4368-08B0-42FA-ADD5-201B241D7C1A}"/>
                </a:ext>
              </a:extLst>
            </p:cNvPr>
            <p:cNvSpPr/>
            <p:nvPr/>
          </p:nvSpPr>
          <p:spPr>
            <a:xfrm>
              <a:off x="5101965" y="331382"/>
              <a:ext cx="9" cy="761"/>
            </a:xfrm>
            <a:custGeom>
              <a:avLst/>
              <a:gdLst>
                <a:gd name="connsiteX0" fmla="*/ 0 w 9"/>
                <a:gd name="connsiteY0" fmla="*/ 762 h 761"/>
                <a:gd name="connsiteX1" fmla="*/ 0 w 9"/>
                <a:gd name="connsiteY1" fmla="*/ 0 h 761"/>
                <a:gd name="connsiteX2" fmla="*/ 0 w 9"/>
                <a:gd name="connsiteY2" fmla="*/ 0 h 761"/>
                <a:gd name="connsiteX3" fmla="*/ 0 w 9"/>
                <a:gd name="connsiteY3" fmla="*/ 762 h 761"/>
              </a:gdLst>
              <a:ahLst/>
              <a:cxnLst>
                <a:cxn ang="0">
                  <a:pos x="connsiteX0" y="connsiteY0"/>
                </a:cxn>
                <a:cxn ang="0">
                  <a:pos x="connsiteX1" y="connsiteY1"/>
                </a:cxn>
                <a:cxn ang="0">
                  <a:pos x="connsiteX2" y="connsiteY2"/>
                </a:cxn>
                <a:cxn ang="0">
                  <a:pos x="connsiteX3" y="connsiteY3"/>
                </a:cxn>
              </a:cxnLst>
              <a:rect l="l" t="t" r="r" b="b"/>
              <a:pathLst>
                <a:path w="9" h="761">
                  <a:moveTo>
                    <a:pt x="0" y="762"/>
                  </a:moveTo>
                  <a:cubicBezTo>
                    <a:pt x="0" y="762"/>
                    <a:pt x="0" y="762"/>
                    <a:pt x="0" y="0"/>
                  </a:cubicBezTo>
                  <a:lnTo>
                    <a:pt x="0" y="0"/>
                  </a:lnTo>
                  <a:cubicBezTo>
                    <a:pt x="13" y="254"/>
                    <a:pt x="13" y="508"/>
                    <a:pt x="0" y="762"/>
                  </a:cubicBezTo>
                  <a:close/>
                </a:path>
              </a:pathLst>
            </a:custGeom>
            <a:solidFill>
              <a:srgbClr val="000000"/>
            </a:solidFill>
            <a:ln w="12690"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F3CEDCFD-E0CC-4E5E-8863-11F03D1AFA07}"/>
                </a:ext>
              </a:extLst>
            </p:cNvPr>
            <p:cNvSpPr/>
            <p:nvPr/>
          </p:nvSpPr>
          <p:spPr>
            <a:xfrm>
              <a:off x="5098917" y="329069"/>
              <a:ext cx="761" cy="28"/>
            </a:xfrm>
            <a:custGeom>
              <a:avLst/>
              <a:gdLst>
                <a:gd name="connsiteX0" fmla="*/ 762 w 761"/>
                <a:gd name="connsiteY0" fmla="*/ 29 h 28"/>
                <a:gd name="connsiteX1" fmla="*/ 0 w 761"/>
                <a:gd name="connsiteY1" fmla="*/ 29 h 28"/>
                <a:gd name="connsiteX2" fmla="*/ 0 w 761"/>
                <a:gd name="connsiteY2" fmla="*/ 29 h 28"/>
                <a:gd name="connsiteX3" fmla="*/ 762 w 761"/>
                <a:gd name="connsiteY3" fmla="*/ 29 h 28"/>
              </a:gdLst>
              <a:ahLst/>
              <a:cxnLst>
                <a:cxn ang="0">
                  <a:pos x="connsiteX0" y="connsiteY0"/>
                </a:cxn>
                <a:cxn ang="0">
                  <a:pos x="connsiteX1" y="connsiteY1"/>
                </a:cxn>
                <a:cxn ang="0">
                  <a:pos x="connsiteX2" y="connsiteY2"/>
                </a:cxn>
                <a:cxn ang="0">
                  <a:pos x="connsiteX3" y="connsiteY3"/>
                </a:cxn>
              </a:cxnLst>
              <a:rect l="l" t="t" r="r" b="b"/>
              <a:pathLst>
                <a:path w="761" h="28">
                  <a:moveTo>
                    <a:pt x="762" y="29"/>
                  </a:moveTo>
                  <a:lnTo>
                    <a:pt x="0" y="29"/>
                  </a:lnTo>
                  <a:lnTo>
                    <a:pt x="0" y="29"/>
                  </a:lnTo>
                  <a:cubicBezTo>
                    <a:pt x="254" y="-10"/>
                    <a:pt x="508" y="-10"/>
                    <a:pt x="762" y="29"/>
                  </a:cubicBezTo>
                  <a:close/>
                </a:path>
              </a:pathLst>
            </a:custGeom>
            <a:solidFill>
              <a:srgbClr val="000000"/>
            </a:solidFill>
            <a:ln w="12690"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FF0B6913-E30E-4ADC-A99E-44894EF0B356}"/>
                </a:ext>
              </a:extLst>
            </p:cNvPr>
            <p:cNvSpPr/>
            <p:nvPr/>
          </p:nvSpPr>
          <p:spPr>
            <a:xfrm>
              <a:off x="5101076" y="330113"/>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04ED2433-5BFE-47C5-9500-40EA57450603}"/>
                </a:ext>
              </a:extLst>
            </p:cNvPr>
            <p:cNvSpPr/>
            <p:nvPr/>
          </p:nvSpPr>
          <p:spPr>
            <a:xfrm>
              <a:off x="4804986" y="240982"/>
              <a:ext cx="296762" cy="96749"/>
            </a:xfrm>
            <a:custGeom>
              <a:avLst/>
              <a:gdLst>
                <a:gd name="connsiteX0" fmla="*/ 2412 w 296762"/>
                <a:gd name="connsiteY0" fmla="*/ 7237 h 96749"/>
                <a:gd name="connsiteX1" fmla="*/ 0 w 296762"/>
                <a:gd name="connsiteY1" fmla="*/ 9015 h 96749"/>
                <a:gd name="connsiteX2" fmla="*/ 281108 w 296762"/>
                <a:gd name="connsiteY2" fmla="*/ 94083 h 96749"/>
                <a:gd name="connsiteX3" fmla="*/ 289995 w 296762"/>
                <a:gd name="connsiteY3" fmla="*/ 96749 h 96749"/>
                <a:gd name="connsiteX4" fmla="*/ 291773 w 296762"/>
                <a:gd name="connsiteY4" fmla="*/ 96749 h 96749"/>
                <a:gd name="connsiteX5" fmla="*/ 296725 w 296762"/>
                <a:gd name="connsiteY5" fmla="*/ 93575 h 96749"/>
                <a:gd name="connsiteX6" fmla="*/ 296725 w 296762"/>
                <a:gd name="connsiteY6" fmla="*/ 93575 h 96749"/>
                <a:gd name="connsiteX7" fmla="*/ 296725 w 296762"/>
                <a:gd name="connsiteY7" fmla="*/ 92940 h 96749"/>
                <a:gd name="connsiteX8" fmla="*/ 296725 w 296762"/>
                <a:gd name="connsiteY8" fmla="*/ 91924 h 96749"/>
                <a:gd name="connsiteX9" fmla="*/ 296725 w 296762"/>
                <a:gd name="connsiteY9" fmla="*/ 91924 h 96749"/>
                <a:gd name="connsiteX10" fmla="*/ 296725 w 296762"/>
                <a:gd name="connsiteY10" fmla="*/ 91162 h 96749"/>
                <a:gd name="connsiteX11" fmla="*/ 296725 w 296762"/>
                <a:gd name="connsiteY11" fmla="*/ 90274 h 96749"/>
                <a:gd name="connsiteX12" fmla="*/ 296725 w 296762"/>
                <a:gd name="connsiteY12" fmla="*/ 90274 h 96749"/>
                <a:gd name="connsiteX13" fmla="*/ 296725 w 296762"/>
                <a:gd name="connsiteY13" fmla="*/ 89639 h 96749"/>
                <a:gd name="connsiteX14" fmla="*/ 296725 w 296762"/>
                <a:gd name="connsiteY14" fmla="*/ 88877 h 96749"/>
                <a:gd name="connsiteX15" fmla="*/ 296725 w 296762"/>
                <a:gd name="connsiteY15" fmla="*/ 88877 h 96749"/>
                <a:gd name="connsiteX16" fmla="*/ 295963 w 296762"/>
                <a:gd name="connsiteY16" fmla="*/ 88877 h 96749"/>
                <a:gd name="connsiteX17" fmla="*/ 294947 w 296762"/>
                <a:gd name="connsiteY17" fmla="*/ 88877 h 96749"/>
                <a:gd name="connsiteX18" fmla="*/ 294947 w 296762"/>
                <a:gd name="connsiteY18" fmla="*/ 88877 h 96749"/>
                <a:gd name="connsiteX19" fmla="*/ 2158 w 296762"/>
                <a:gd name="connsiteY19" fmla="*/ 0 h 96749"/>
                <a:gd name="connsiteX20" fmla="*/ 1524 w 296762"/>
                <a:gd name="connsiteY20" fmla="*/ 0 h 96749"/>
                <a:gd name="connsiteX21" fmla="*/ 4571 w 296762"/>
                <a:gd name="connsiteY21" fmla="*/ 1651 h 96749"/>
                <a:gd name="connsiteX22" fmla="*/ 2412 w 296762"/>
                <a:gd name="connsiteY22" fmla="*/ 7237 h 9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6762" h="96749">
                  <a:moveTo>
                    <a:pt x="2412" y="7237"/>
                  </a:moveTo>
                  <a:lnTo>
                    <a:pt x="0" y="9015"/>
                  </a:lnTo>
                  <a:lnTo>
                    <a:pt x="281108" y="94083"/>
                  </a:lnTo>
                  <a:lnTo>
                    <a:pt x="289995" y="96749"/>
                  </a:lnTo>
                  <a:lnTo>
                    <a:pt x="291773" y="96749"/>
                  </a:lnTo>
                  <a:cubicBezTo>
                    <a:pt x="293906" y="96779"/>
                    <a:pt x="295861" y="95530"/>
                    <a:pt x="296725" y="93575"/>
                  </a:cubicBezTo>
                  <a:lnTo>
                    <a:pt x="296725" y="93575"/>
                  </a:lnTo>
                  <a:cubicBezTo>
                    <a:pt x="296776" y="93366"/>
                    <a:pt x="296776" y="93148"/>
                    <a:pt x="296725" y="92940"/>
                  </a:cubicBezTo>
                  <a:cubicBezTo>
                    <a:pt x="296725" y="92940"/>
                    <a:pt x="296725" y="92940"/>
                    <a:pt x="296725" y="91924"/>
                  </a:cubicBezTo>
                  <a:lnTo>
                    <a:pt x="296725" y="91924"/>
                  </a:lnTo>
                  <a:cubicBezTo>
                    <a:pt x="296725" y="91924"/>
                    <a:pt x="296725" y="91924"/>
                    <a:pt x="296725" y="91162"/>
                  </a:cubicBezTo>
                  <a:cubicBezTo>
                    <a:pt x="296738" y="90867"/>
                    <a:pt x="296738" y="90569"/>
                    <a:pt x="296725" y="90274"/>
                  </a:cubicBezTo>
                  <a:lnTo>
                    <a:pt x="296725" y="90274"/>
                  </a:lnTo>
                  <a:lnTo>
                    <a:pt x="296725" y="89639"/>
                  </a:lnTo>
                  <a:lnTo>
                    <a:pt x="296725" y="88877"/>
                  </a:lnTo>
                  <a:lnTo>
                    <a:pt x="296725" y="88877"/>
                  </a:lnTo>
                  <a:lnTo>
                    <a:pt x="295963" y="88877"/>
                  </a:lnTo>
                  <a:cubicBezTo>
                    <a:pt x="295633" y="88808"/>
                    <a:pt x="295278" y="88808"/>
                    <a:pt x="294947" y="88877"/>
                  </a:cubicBezTo>
                  <a:lnTo>
                    <a:pt x="294947" y="88877"/>
                  </a:lnTo>
                  <a:lnTo>
                    <a:pt x="2158" y="0"/>
                  </a:lnTo>
                  <a:lnTo>
                    <a:pt x="1524" y="0"/>
                  </a:lnTo>
                  <a:cubicBezTo>
                    <a:pt x="2692" y="213"/>
                    <a:pt x="3758" y="791"/>
                    <a:pt x="4571" y="1651"/>
                  </a:cubicBezTo>
                  <a:cubicBezTo>
                    <a:pt x="5345" y="3790"/>
                    <a:pt x="4418" y="6172"/>
                    <a:pt x="2412" y="7237"/>
                  </a:cubicBezTo>
                  <a:close/>
                </a:path>
              </a:pathLst>
            </a:custGeom>
            <a:solidFill>
              <a:srgbClr val="000000"/>
            </a:solidFill>
            <a:ln w="12690"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111C1515-FEAE-4B2F-BAB6-F1174786554C}"/>
                </a:ext>
              </a:extLst>
            </p:cNvPr>
            <p:cNvSpPr/>
            <p:nvPr/>
          </p:nvSpPr>
          <p:spPr>
            <a:xfrm>
              <a:off x="4055562" y="239712"/>
              <a:ext cx="753600" cy="567372"/>
            </a:xfrm>
            <a:custGeom>
              <a:avLst/>
              <a:gdLst>
                <a:gd name="connsiteX0" fmla="*/ 7421 w 753600"/>
                <a:gd name="connsiteY0" fmla="*/ 567162 h 567372"/>
                <a:gd name="connsiteX1" fmla="*/ 14785 w 753600"/>
                <a:gd name="connsiteY1" fmla="*/ 561702 h 567372"/>
                <a:gd name="connsiteX2" fmla="*/ 749297 w 753600"/>
                <a:gd name="connsiteY2" fmla="*/ 10284 h 567372"/>
                <a:gd name="connsiteX3" fmla="*/ 751709 w 753600"/>
                <a:gd name="connsiteY3" fmla="*/ 8507 h 567372"/>
                <a:gd name="connsiteX4" fmla="*/ 752737 w 753600"/>
                <a:gd name="connsiteY4" fmla="*/ 2125 h 567372"/>
                <a:gd name="connsiteX5" fmla="*/ 752344 w 753600"/>
                <a:gd name="connsiteY5" fmla="*/ 1651 h 567372"/>
                <a:gd name="connsiteX6" fmla="*/ 749297 w 753600"/>
                <a:gd name="connsiteY6" fmla="*/ 0 h 567372"/>
                <a:gd name="connsiteX7" fmla="*/ 747265 w 753600"/>
                <a:gd name="connsiteY7" fmla="*/ 0 h 567372"/>
                <a:gd name="connsiteX8" fmla="*/ 746250 w 753600"/>
                <a:gd name="connsiteY8" fmla="*/ 0 h 567372"/>
                <a:gd name="connsiteX9" fmla="*/ 745234 w 753600"/>
                <a:gd name="connsiteY9" fmla="*/ 0 h 567372"/>
                <a:gd name="connsiteX10" fmla="*/ 745234 w 753600"/>
                <a:gd name="connsiteY10" fmla="*/ 0 h 567372"/>
                <a:gd name="connsiteX11" fmla="*/ 692 w 753600"/>
                <a:gd name="connsiteY11" fmla="*/ 560179 h 567372"/>
                <a:gd name="connsiteX12" fmla="*/ 692 w 753600"/>
                <a:gd name="connsiteY12" fmla="*/ 560179 h 567372"/>
                <a:gd name="connsiteX13" fmla="*/ 57 w 753600"/>
                <a:gd name="connsiteY13" fmla="*/ 560940 h 567372"/>
                <a:gd name="connsiteX14" fmla="*/ 57 w 753600"/>
                <a:gd name="connsiteY14" fmla="*/ 561829 h 567372"/>
                <a:gd name="connsiteX15" fmla="*/ 57 w 753600"/>
                <a:gd name="connsiteY15" fmla="*/ 562591 h 567372"/>
                <a:gd name="connsiteX16" fmla="*/ 57 w 753600"/>
                <a:gd name="connsiteY16" fmla="*/ 563607 h 567372"/>
                <a:gd name="connsiteX17" fmla="*/ 57 w 753600"/>
                <a:gd name="connsiteY17" fmla="*/ 564496 h 567372"/>
                <a:gd name="connsiteX18" fmla="*/ 57 w 753600"/>
                <a:gd name="connsiteY18" fmla="*/ 565384 h 567372"/>
                <a:gd name="connsiteX19" fmla="*/ 57 w 753600"/>
                <a:gd name="connsiteY19" fmla="*/ 566273 h 567372"/>
                <a:gd name="connsiteX20" fmla="*/ 57 w 753600"/>
                <a:gd name="connsiteY20" fmla="*/ 566273 h 567372"/>
                <a:gd name="connsiteX21" fmla="*/ 57 w 753600"/>
                <a:gd name="connsiteY21" fmla="*/ 566273 h 567372"/>
                <a:gd name="connsiteX22" fmla="*/ 1200 w 753600"/>
                <a:gd name="connsiteY22" fmla="*/ 567035 h 567372"/>
                <a:gd name="connsiteX23" fmla="*/ 1962 w 753600"/>
                <a:gd name="connsiteY23" fmla="*/ 567035 h 567372"/>
                <a:gd name="connsiteX24" fmla="*/ 3993 w 753600"/>
                <a:gd name="connsiteY24" fmla="*/ 567035 h 567372"/>
                <a:gd name="connsiteX25" fmla="*/ 7421 w 753600"/>
                <a:gd name="connsiteY25" fmla="*/ 567162 h 56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3600" h="567372">
                  <a:moveTo>
                    <a:pt x="7421" y="567162"/>
                  </a:moveTo>
                  <a:lnTo>
                    <a:pt x="14785" y="561702"/>
                  </a:lnTo>
                  <a:lnTo>
                    <a:pt x="749297" y="10284"/>
                  </a:lnTo>
                  <a:lnTo>
                    <a:pt x="751709" y="8507"/>
                  </a:lnTo>
                  <a:cubicBezTo>
                    <a:pt x="753753" y="7029"/>
                    <a:pt x="754210" y="4171"/>
                    <a:pt x="752737" y="2125"/>
                  </a:cubicBezTo>
                  <a:cubicBezTo>
                    <a:pt x="752623" y="1958"/>
                    <a:pt x="752484" y="1799"/>
                    <a:pt x="752344" y="1651"/>
                  </a:cubicBezTo>
                  <a:cubicBezTo>
                    <a:pt x="751531" y="791"/>
                    <a:pt x="750465" y="213"/>
                    <a:pt x="749297" y="0"/>
                  </a:cubicBezTo>
                  <a:lnTo>
                    <a:pt x="747265" y="0"/>
                  </a:lnTo>
                  <a:lnTo>
                    <a:pt x="746250" y="0"/>
                  </a:lnTo>
                  <a:lnTo>
                    <a:pt x="745234" y="0"/>
                  </a:lnTo>
                  <a:lnTo>
                    <a:pt x="745234" y="0"/>
                  </a:lnTo>
                  <a:lnTo>
                    <a:pt x="692" y="560179"/>
                  </a:lnTo>
                  <a:lnTo>
                    <a:pt x="692" y="560179"/>
                  </a:lnTo>
                  <a:lnTo>
                    <a:pt x="57" y="560940"/>
                  </a:lnTo>
                  <a:cubicBezTo>
                    <a:pt x="-6" y="561232"/>
                    <a:pt x="-6" y="561537"/>
                    <a:pt x="57" y="561829"/>
                  </a:cubicBezTo>
                  <a:lnTo>
                    <a:pt x="57" y="562591"/>
                  </a:lnTo>
                  <a:cubicBezTo>
                    <a:pt x="57" y="562591"/>
                    <a:pt x="57" y="563226"/>
                    <a:pt x="57" y="563607"/>
                  </a:cubicBezTo>
                  <a:cubicBezTo>
                    <a:pt x="-19" y="563899"/>
                    <a:pt x="-19" y="564204"/>
                    <a:pt x="57" y="564496"/>
                  </a:cubicBezTo>
                  <a:cubicBezTo>
                    <a:pt x="-19" y="564788"/>
                    <a:pt x="-19" y="565092"/>
                    <a:pt x="57" y="565384"/>
                  </a:cubicBezTo>
                  <a:cubicBezTo>
                    <a:pt x="-6" y="565676"/>
                    <a:pt x="-6" y="565981"/>
                    <a:pt x="57" y="566273"/>
                  </a:cubicBezTo>
                  <a:cubicBezTo>
                    <a:pt x="57" y="566273"/>
                    <a:pt x="57" y="566273"/>
                    <a:pt x="57" y="566273"/>
                  </a:cubicBezTo>
                  <a:lnTo>
                    <a:pt x="57" y="566273"/>
                  </a:lnTo>
                  <a:lnTo>
                    <a:pt x="1200" y="567035"/>
                  </a:lnTo>
                  <a:lnTo>
                    <a:pt x="1962" y="567035"/>
                  </a:lnTo>
                  <a:cubicBezTo>
                    <a:pt x="2634" y="567150"/>
                    <a:pt x="3320" y="567150"/>
                    <a:pt x="3993" y="567035"/>
                  </a:cubicBezTo>
                  <a:cubicBezTo>
                    <a:pt x="5098" y="567436"/>
                    <a:pt x="6291" y="567481"/>
                    <a:pt x="7421" y="567162"/>
                  </a:cubicBezTo>
                  <a:close/>
                </a:path>
              </a:pathLst>
            </a:custGeom>
            <a:solidFill>
              <a:srgbClr val="000000"/>
            </a:solidFill>
            <a:ln w="12690"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84729119-42BF-4F3A-BE62-2DFF1B1ADA3C}"/>
                </a:ext>
              </a:extLst>
            </p:cNvPr>
            <p:cNvSpPr/>
            <p:nvPr/>
          </p:nvSpPr>
          <p:spPr>
            <a:xfrm>
              <a:off x="9141714" y="3345834"/>
              <a:ext cx="1254319" cy="376203"/>
            </a:xfrm>
            <a:custGeom>
              <a:avLst/>
              <a:gdLst>
                <a:gd name="connsiteX0" fmla="*/ 1254319 w 1254319"/>
                <a:gd name="connsiteY0" fmla="*/ 368585 h 376203"/>
                <a:gd name="connsiteX1" fmla="*/ 94083 w 1254319"/>
                <a:gd name="connsiteY1" fmla="*/ 18791 h 376203"/>
                <a:gd name="connsiteX2" fmla="*/ 0 w 1254319"/>
                <a:gd name="connsiteY2" fmla="*/ 0 h 376203"/>
                <a:gd name="connsiteX3" fmla="*/ 0 w 1254319"/>
                <a:gd name="connsiteY3" fmla="*/ 0 h 376203"/>
                <a:gd name="connsiteX4" fmla="*/ 1245812 w 1254319"/>
                <a:gd name="connsiteY4" fmla="*/ 376203 h 376203"/>
                <a:gd name="connsiteX5" fmla="*/ 1252796 w 1254319"/>
                <a:gd name="connsiteY5" fmla="*/ 370617 h 3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319" h="376203">
                  <a:moveTo>
                    <a:pt x="1254319" y="368585"/>
                  </a:moveTo>
                  <a:lnTo>
                    <a:pt x="94083" y="18791"/>
                  </a:lnTo>
                  <a:lnTo>
                    <a:pt x="0" y="0"/>
                  </a:lnTo>
                  <a:lnTo>
                    <a:pt x="0" y="0"/>
                  </a:lnTo>
                  <a:lnTo>
                    <a:pt x="1245812" y="376203"/>
                  </a:lnTo>
                  <a:lnTo>
                    <a:pt x="1252796" y="370617"/>
                  </a:lnTo>
                  <a:close/>
                </a:path>
              </a:pathLst>
            </a:custGeom>
            <a:solidFill>
              <a:srgbClr val="000000"/>
            </a:solidFill>
            <a:ln w="12690"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B4DC022F-579E-4B12-B487-8A72406EFF04}"/>
                </a:ext>
              </a:extLst>
            </p:cNvPr>
            <p:cNvSpPr/>
            <p:nvPr/>
          </p:nvSpPr>
          <p:spPr>
            <a:xfrm>
              <a:off x="10393113" y="3611703"/>
              <a:ext cx="141315" cy="107287"/>
            </a:xfrm>
            <a:custGeom>
              <a:avLst/>
              <a:gdLst>
                <a:gd name="connsiteX0" fmla="*/ 139665 w 141315"/>
                <a:gd name="connsiteY0" fmla="*/ 2032 h 107287"/>
                <a:gd name="connsiteX1" fmla="*/ 129254 w 141315"/>
                <a:gd name="connsiteY1" fmla="*/ 0 h 107287"/>
                <a:gd name="connsiteX2" fmla="*/ 2285 w 141315"/>
                <a:gd name="connsiteY2" fmla="*/ 102716 h 107287"/>
                <a:gd name="connsiteX3" fmla="*/ 0 w 141315"/>
                <a:gd name="connsiteY3" fmla="*/ 104621 h 107287"/>
                <a:gd name="connsiteX4" fmla="*/ 0 w 141315"/>
                <a:gd name="connsiteY4" fmla="*/ 104621 h 107287"/>
                <a:gd name="connsiteX5" fmla="*/ 1016 w 141315"/>
                <a:gd name="connsiteY5" fmla="*/ 104621 h 107287"/>
                <a:gd name="connsiteX6" fmla="*/ 1905 w 141315"/>
                <a:gd name="connsiteY6" fmla="*/ 104621 h 107287"/>
                <a:gd name="connsiteX7" fmla="*/ 5587 w 141315"/>
                <a:gd name="connsiteY7" fmla="*/ 104621 h 107287"/>
                <a:gd name="connsiteX8" fmla="*/ 14347 w 141315"/>
                <a:gd name="connsiteY8" fmla="*/ 107287 h 107287"/>
                <a:gd name="connsiteX9" fmla="*/ 141316 w 141315"/>
                <a:gd name="connsiteY9" fmla="*/ 3555 h 107287"/>
                <a:gd name="connsiteX10" fmla="*/ 138776 w 141315"/>
                <a:gd name="connsiteY10" fmla="*/ 3555 h 10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315" h="107287">
                  <a:moveTo>
                    <a:pt x="139665" y="2032"/>
                  </a:moveTo>
                  <a:lnTo>
                    <a:pt x="129254" y="0"/>
                  </a:lnTo>
                  <a:lnTo>
                    <a:pt x="2285" y="102716"/>
                  </a:lnTo>
                  <a:lnTo>
                    <a:pt x="0" y="104621"/>
                  </a:lnTo>
                  <a:lnTo>
                    <a:pt x="0" y="104621"/>
                  </a:lnTo>
                  <a:lnTo>
                    <a:pt x="1016" y="104621"/>
                  </a:lnTo>
                  <a:lnTo>
                    <a:pt x="1905" y="104621"/>
                  </a:lnTo>
                  <a:lnTo>
                    <a:pt x="5587" y="104621"/>
                  </a:lnTo>
                  <a:lnTo>
                    <a:pt x="14347" y="107287"/>
                  </a:lnTo>
                  <a:lnTo>
                    <a:pt x="141316" y="3555"/>
                  </a:lnTo>
                  <a:lnTo>
                    <a:pt x="138776" y="3555"/>
                  </a:lnTo>
                  <a:close/>
                </a:path>
              </a:pathLst>
            </a:custGeom>
            <a:solidFill>
              <a:srgbClr val="000000"/>
            </a:solidFill>
            <a:ln w="12690" cap="flat">
              <a:noFill/>
              <a:prstDash val="solid"/>
              <a:miter/>
            </a:ln>
          </p:spPr>
          <p:txBody>
            <a:bodyPr rtlCol="0" anchor="ctr"/>
            <a:lstStyle/>
            <a:p>
              <a:endParaRPr lang="en-US"/>
            </a:p>
          </p:txBody>
        </p:sp>
        <p:sp>
          <p:nvSpPr>
            <p:cNvPr id="394" name="Freeform: Shape 393">
              <a:extLst>
                <a:ext uri="{FF2B5EF4-FFF2-40B4-BE49-F238E27FC236}">
                  <a16:creationId xmlns:a16="http://schemas.microsoft.com/office/drawing/2014/main" id="{58289F22-0E5A-4F17-9A0E-EC4DFCB2F4DF}"/>
                </a:ext>
              </a:extLst>
            </p:cNvPr>
            <p:cNvSpPr/>
            <p:nvPr/>
          </p:nvSpPr>
          <p:spPr>
            <a:xfrm>
              <a:off x="3848026" y="-1"/>
              <a:ext cx="142712" cy="106525"/>
            </a:xfrm>
            <a:custGeom>
              <a:avLst/>
              <a:gdLst>
                <a:gd name="connsiteX0" fmla="*/ 3047 w 142712"/>
                <a:gd name="connsiteY0" fmla="*/ 103859 h 106525"/>
                <a:gd name="connsiteX1" fmla="*/ 3047 w 142712"/>
                <a:gd name="connsiteY1" fmla="*/ 103859 h 106525"/>
                <a:gd name="connsiteX2" fmla="*/ 11935 w 142712"/>
                <a:gd name="connsiteY2" fmla="*/ 106525 h 106525"/>
                <a:gd name="connsiteX3" fmla="*/ 142712 w 142712"/>
                <a:gd name="connsiteY3" fmla="*/ 0 h 106525"/>
                <a:gd name="connsiteX4" fmla="*/ 126587 w 142712"/>
                <a:gd name="connsiteY4" fmla="*/ 0 h 106525"/>
                <a:gd name="connsiteX5" fmla="*/ 0 w 142712"/>
                <a:gd name="connsiteY5" fmla="*/ 102970 h 106525"/>
                <a:gd name="connsiteX6" fmla="*/ 3047 w 142712"/>
                <a:gd name="connsiteY6" fmla="*/ 103859 h 10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12" h="106525">
                  <a:moveTo>
                    <a:pt x="3047" y="103859"/>
                  </a:moveTo>
                  <a:lnTo>
                    <a:pt x="3047" y="103859"/>
                  </a:lnTo>
                  <a:lnTo>
                    <a:pt x="11935" y="106525"/>
                  </a:lnTo>
                  <a:lnTo>
                    <a:pt x="142712" y="0"/>
                  </a:lnTo>
                  <a:lnTo>
                    <a:pt x="126587" y="0"/>
                  </a:lnTo>
                  <a:lnTo>
                    <a:pt x="0" y="102970"/>
                  </a:lnTo>
                  <a:lnTo>
                    <a:pt x="3047" y="103859"/>
                  </a:lnTo>
                  <a:close/>
                </a:path>
              </a:pathLst>
            </a:custGeom>
            <a:solidFill>
              <a:srgbClr val="000000"/>
            </a:solidFill>
            <a:ln w="12690" cap="flat">
              <a:noFill/>
              <a:prstDash val="solid"/>
              <a:miter/>
            </a:ln>
          </p:spPr>
          <p:txBody>
            <a:bodyPr rtlCol="0" anchor="ctr"/>
            <a:lstStyle/>
            <a:p>
              <a:endParaRPr lang="en-US"/>
            </a:p>
          </p:txBody>
        </p:sp>
        <p:sp>
          <p:nvSpPr>
            <p:cNvPr id="395" name="Freeform: Shape 394">
              <a:extLst>
                <a:ext uri="{FF2B5EF4-FFF2-40B4-BE49-F238E27FC236}">
                  <a16:creationId xmlns:a16="http://schemas.microsoft.com/office/drawing/2014/main" id="{3A8F875D-3A7A-4A08-992D-9B1E1C331A02}"/>
                </a:ext>
              </a:extLst>
            </p:cNvPr>
            <p:cNvSpPr/>
            <p:nvPr/>
          </p:nvSpPr>
          <p:spPr>
            <a:xfrm>
              <a:off x="3639671" y="370869"/>
              <a:ext cx="403885" cy="325035"/>
            </a:xfrm>
            <a:custGeom>
              <a:avLst/>
              <a:gdLst>
                <a:gd name="connsiteX0" fmla="*/ 394871 w 403885"/>
                <a:gd name="connsiteY0" fmla="*/ 2158 h 325035"/>
                <a:gd name="connsiteX1" fmla="*/ 394871 w 403885"/>
                <a:gd name="connsiteY1" fmla="*/ 0 h 325035"/>
                <a:gd name="connsiteX2" fmla="*/ 0 w 403885"/>
                <a:gd name="connsiteY2" fmla="*/ 321354 h 325035"/>
                <a:gd name="connsiteX3" fmla="*/ 2920 w 403885"/>
                <a:gd name="connsiteY3" fmla="*/ 322369 h 325035"/>
                <a:gd name="connsiteX4" fmla="*/ 2920 w 403885"/>
                <a:gd name="connsiteY4" fmla="*/ 322369 h 325035"/>
                <a:gd name="connsiteX5" fmla="*/ 11808 w 403885"/>
                <a:gd name="connsiteY5" fmla="*/ 325036 h 325035"/>
                <a:gd name="connsiteX6" fmla="*/ 403886 w 403885"/>
                <a:gd name="connsiteY6" fmla="*/ 5840 h 325035"/>
                <a:gd name="connsiteX7" fmla="*/ 403886 w 403885"/>
                <a:gd name="connsiteY7" fmla="*/ 5840 h 325035"/>
                <a:gd name="connsiteX8" fmla="*/ 400204 w 403885"/>
                <a:gd name="connsiteY8" fmla="*/ 7110 h 325035"/>
                <a:gd name="connsiteX9" fmla="*/ 394871 w 403885"/>
                <a:gd name="connsiteY9" fmla="*/ 2158 h 32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885" h="325035">
                  <a:moveTo>
                    <a:pt x="394871" y="2158"/>
                  </a:moveTo>
                  <a:lnTo>
                    <a:pt x="394871" y="0"/>
                  </a:lnTo>
                  <a:lnTo>
                    <a:pt x="0" y="321354"/>
                  </a:lnTo>
                  <a:lnTo>
                    <a:pt x="2920" y="322369"/>
                  </a:lnTo>
                  <a:lnTo>
                    <a:pt x="2920" y="322369"/>
                  </a:lnTo>
                  <a:lnTo>
                    <a:pt x="11808" y="325036"/>
                  </a:lnTo>
                  <a:lnTo>
                    <a:pt x="403886" y="5840"/>
                  </a:lnTo>
                  <a:lnTo>
                    <a:pt x="403886" y="5840"/>
                  </a:lnTo>
                  <a:cubicBezTo>
                    <a:pt x="402845" y="6672"/>
                    <a:pt x="401537" y="7120"/>
                    <a:pt x="400204" y="7110"/>
                  </a:cubicBezTo>
                  <a:cubicBezTo>
                    <a:pt x="397373" y="7183"/>
                    <a:pt x="395011" y="4983"/>
                    <a:pt x="394871" y="2158"/>
                  </a:cubicBezTo>
                  <a:close/>
                </a:path>
              </a:pathLst>
            </a:custGeom>
            <a:solidFill>
              <a:srgbClr val="000000"/>
            </a:solidFill>
            <a:ln w="12690" cap="flat">
              <a:noFill/>
              <a:prstDash val="solid"/>
              <a:miter/>
            </a:ln>
          </p:spPr>
          <p:txBody>
            <a:bodyPr rtlCol="0" anchor="ctr"/>
            <a:lstStyle/>
            <a:p>
              <a:endParaRPr lang="en-US"/>
            </a:p>
          </p:txBody>
        </p:sp>
        <p:sp>
          <p:nvSpPr>
            <p:cNvPr id="396" name="Freeform: Shape 395">
              <a:extLst>
                <a:ext uri="{FF2B5EF4-FFF2-40B4-BE49-F238E27FC236}">
                  <a16:creationId xmlns:a16="http://schemas.microsoft.com/office/drawing/2014/main" id="{CA786F1D-0C3F-4403-B07E-5722AD429362}"/>
                </a:ext>
              </a:extLst>
            </p:cNvPr>
            <p:cNvSpPr/>
            <p:nvPr/>
          </p:nvSpPr>
          <p:spPr>
            <a:xfrm>
              <a:off x="2235783" y="22765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397" name="Freeform: Shape 396">
              <a:extLst>
                <a:ext uri="{FF2B5EF4-FFF2-40B4-BE49-F238E27FC236}">
                  <a16:creationId xmlns:a16="http://schemas.microsoft.com/office/drawing/2014/main" id="{F181D642-2D4C-4AB7-A292-14E04D10CB3F}"/>
                </a:ext>
              </a:extLst>
            </p:cNvPr>
            <p:cNvSpPr/>
            <p:nvPr/>
          </p:nvSpPr>
          <p:spPr>
            <a:xfrm>
              <a:off x="2234641" y="22917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BAD579B0-3E1D-4177-ADD9-96452FE0CB1B}"/>
                </a:ext>
              </a:extLst>
            </p:cNvPr>
            <p:cNvSpPr/>
            <p:nvPr/>
          </p:nvSpPr>
          <p:spPr>
            <a:xfrm>
              <a:off x="2235990" y="232475"/>
              <a:ext cx="8935" cy="38090"/>
            </a:xfrm>
            <a:custGeom>
              <a:avLst/>
              <a:gdLst>
                <a:gd name="connsiteX0" fmla="*/ 8935 w 8935"/>
                <a:gd name="connsiteY0" fmla="*/ 37963 h 38090"/>
                <a:gd name="connsiteX1" fmla="*/ 8935 w 8935"/>
                <a:gd name="connsiteY1" fmla="*/ 5460 h 38090"/>
                <a:gd name="connsiteX2" fmla="*/ 1825 w 8935"/>
                <a:gd name="connsiteY2" fmla="*/ 3301 h 38090"/>
                <a:gd name="connsiteX3" fmla="*/ 1825 w 8935"/>
                <a:gd name="connsiteY3" fmla="*/ 3301 h 38090"/>
                <a:gd name="connsiteX4" fmla="*/ 1063 w 8935"/>
                <a:gd name="connsiteY4" fmla="*/ 3301 h 38090"/>
                <a:gd name="connsiteX5" fmla="*/ 48 w 8935"/>
                <a:gd name="connsiteY5" fmla="*/ 2666 h 38090"/>
                <a:gd name="connsiteX6" fmla="*/ 48 w 8935"/>
                <a:gd name="connsiteY6" fmla="*/ 2666 h 38090"/>
                <a:gd name="connsiteX7" fmla="*/ 48 w 8935"/>
                <a:gd name="connsiteY7" fmla="*/ 2666 h 38090"/>
                <a:gd name="connsiteX8" fmla="*/ 48 w 8935"/>
                <a:gd name="connsiteY8" fmla="*/ 1778 h 38090"/>
                <a:gd name="connsiteX9" fmla="*/ 48 w 8935"/>
                <a:gd name="connsiteY9" fmla="*/ 1016 h 38090"/>
                <a:gd name="connsiteX10" fmla="*/ 48 w 8935"/>
                <a:gd name="connsiteY10" fmla="*/ 0 h 38090"/>
                <a:gd name="connsiteX11" fmla="*/ 48 w 8935"/>
                <a:gd name="connsiteY11" fmla="*/ 0 h 38090"/>
                <a:gd name="connsiteX12" fmla="*/ 48 w 8935"/>
                <a:gd name="connsiteY12" fmla="*/ 36059 h 38090"/>
                <a:gd name="connsiteX13" fmla="*/ 7158 w 8935"/>
                <a:gd name="connsiteY13" fmla="*/ 38090 h 3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5" h="38090">
                  <a:moveTo>
                    <a:pt x="8935" y="37963"/>
                  </a:moveTo>
                  <a:lnTo>
                    <a:pt x="8935" y="5460"/>
                  </a:lnTo>
                  <a:lnTo>
                    <a:pt x="1825" y="3301"/>
                  </a:lnTo>
                  <a:lnTo>
                    <a:pt x="1825" y="3301"/>
                  </a:lnTo>
                  <a:lnTo>
                    <a:pt x="1063" y="3301"/>
                  </a:lnTo>
                  <a:lnTo>
                    <a:pt x="48" y="2666"/>
                  </a:lnTo>
                  <a:lnTo>
                    <a:pt x="48" y="2666"/>
                  </a:lnTo>
                  <a:lnTo>
                    <a:pt x="48" y="2666"/>
                  </a:lnTo>
                  <a:cubicBezTo>
                    <a:pt x="-16" y="2374"/>
                    <a:pt x="-16" y="2070"/>
                    <a:pt x="48" y="1778"/>
                  </a:cubicBezTo>
                  <a:cubicBezTo>
                    <a:pt x="-3" y="1526"/>
                    <a:pt x="-3" y="1267"/>
                    <a:pt x="48" y="1016"/>
                  </a:cubicBezTo>
                  <a:cubicBezTo>
                    <a:pt x="-3" y="679"/>
                    <a:pt x="-3" y="336"/>
                    <a:pt x="48" y="0"/>
                  </a:cubicBezTo>
                  <a:lnTo>
                    <a:pt x="48" y="0"/>
                  </a:lnTo>
                  <a:lnTo>
                    <a:pt x="48" y="36059"/>
                  </a:lnTo>
                  <a:lnTo>
                    <a:pt x="7158" y="38090"/>
                  </a:lnTo>
                  <a:close/>
                </a:path>
              </a:pathLst>
            </a:custGeom>
            <a:solidFill>
              <a:srgbClr val="000000"/>
            </a:solidFill>
            <a:ln w="12690" cap="flat">
              <a:noFill/>
              <a:prstDash val="solid"/>
              <a:miter/>
            </a:ln>
          </p:spPr>
          <p:txBody>
            <a:bodyPr rtlCol="0" anchor="ctr"/>
            <a:lstStyle/>
            <a:p>
              <a:endParaRPr lang="en-US"/>
            </a:p>
          </p:txBody>
        </p:sp>
        <p:sp>
          <p:nvSpPr>
            <p:cNvPr id="399" name="Freeform: Shape 398">
              <a:extLst>
                <a:ext uri="{FF2B5EF4-FFF2-40B4-BE49-F238E27FC236}">
                  <a16:creationId xmlns:a16="http://schemas.microsoft.com/office/drawing/2014/main" id="{D9C31784-6B7D-4295-B395-ED73A81AA79C}"/>
                </a:ext>
              </a:extLst>
            </p:cNvPr>
            <p:cNvSpPr/>
            <p:nvPr/>
          </p:nvSpPr>
          <p:spPr>
            <a:xfrm>
              <a:off x="3488579" y="611599"/>
              <a:ext cx="10791" cy="38090"/>
            </a:xfrm>
            <a:custGeom>
              <a:avLst/>
              <a:gdLst>
                <a:gd name="connsiteX0" fmla="*/ 8761 w 10791"/>
                <a:gd name="connsiteY0" fmla="*/ 2158 h 38090"/>
                <a:gd name="connsiteX1" fmla="*/ 8761 w 10791"/>
                <a:gd name="connsiteY1" fmla="*/ 2158 h 38090"/>
                <a:gd name="connsiteX2" fmla="*/ 7237 w 10791"/>
                <a:gd name="connsiteY2" fmla="*/ 3047 h 38090"/>
                <a:gd name="connsiteX3" fmla="*/ 5460 w 10791"/>
                <a:gd name="connsiteY3" fmla="*/ 3047 h 38090"/>
                <a:gd name="connsiteX4" fmla="*/ 3682 w 10791"/>
                <a:gd name="connsiteY4" fmla="*/ 3047 h 38090"/>
                <a:gd name="connsiteX5" fmla="*/ 0 w 10791"/>
                <a:gd name="connsiteY5" fmla="*/ 1905 h 38090"/>
                <a:gd name="connsiteX6" fmla="*/ 0 w 10791"/>
                <a:gd name="connsiteY6" fmla="*/ 34789 h 38090"/>
                <a:gd name="connsiteX7" fmla="*/ 7110 w 10791"/>
                <a:gd name="connsiteY7" fmla="*/ 36947 h 38090"/>
                <a:gd name="connsiteX8" fmla="*/ 10792 w 10791"/>
                <a:gd name="connsiteY8" fmla="*/ 38090 h 38090"/>
                <a:gd name="connsiteX9" fmla="*/ 10792 w 10791"/>
                <a:gd name="connsiteY9" fmla="*/ 0 h 3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1" h="38090">
                  <a:moveTo>
                    <a:pt x="8761" y="2158"/>
                  </a:moveTo>
                  <a:lnTo>
                    <a:pt x="8761" y="2158"/>
                  </a:lnTo>
                  <a:cubicBezTo>
                    <a:pt x="8316" y="2548"/>
                    <a:pt x="7796" y="2850"/>
                    <a:pt x="7237" y="3047"/>
                  </a:cubicBezTo>
                  <a:cubicBezTo>
                    <a:pt x="6653" y="3167"/>
                    <a:pt x="6043" y="3167"/>
                    <a:pt x="5460" y="3047"/>
                  </a:cubicBezTo>
                  <a:lnTo>
                    <a:pt x="3682" y="3047"/>
                  </a:lnTo>
                  <a:lnTo>
                    <a:pt x="0" y="1905"/>
                  </a:lnTo>
                  <a:lnTo>
                    <a:pt x="0" y="34789"/>
                  </a:lnTo>
                  <a:lnTo>
                    <a:pt x="7110" y="36947"/>
                  </a:lnTo>
                  <a:lnTo>
                    <a:pt x="10792" y="38090"/>
                  </a:lnTo>
                  <a:lnTo>
                    <a:pt x="10792" y="0"/>
                  </a:lnTo>
                  <a:close/>
                </a:path>
              </a:pathLst>
            </a:custGeom>
            <a:solidFill>
              <a:srgbClr val="000000"/>
            </a:solidFill>
            <a:ln w="12690"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BAE95A71-0B4D-48AD-B8AE-CA6E27F23800}"/>
                </a:ext>
              </a:extLst>
            </p:cNvPr>
            <p:cNvSpPr/>
            <p:nvPr/>
          </p:nvSpPr>
          <p:spPr>
            <a:xfrm>
              <a:off x="2234641" y="227777"/>
              <a:ext cx="1015" cy="761"/>
            </a:xfrm>
            <a:custGeom>
              <a:avLst/>
              <a:gdLst>
                <a:gd name="connsiteX0" fmla="*/ 1016 w 1015"/>
                <a:gd name="connsiteY0" fmla="*/ 0 h 761"/>
                <a:gd name="connsiteX1" fmla="*/ 0 w 1015"/>
                <a:gd name="connsiteY1" fmla="*/ 762 h 761"/>
                <a:gd name="connsiteX2" fmla="*/ 762 w 1015"/>
                <a:gd name="connsiteY2" fmla="*/ 0 h 761"/>
              </a:gdLst>
              <a:ahLst/>
              <a:cxnLst>
                <a:cxn ang="0">
                  <a:pos x="connsiteX0" y="connsiteY0"/>
                </a:cxn>
                <a:cxn ang="0">
                  <a:pos x="connsiteX1" y="connsiteY1"/>
                </a:cxn>
                <a:cxn ang="0">
                  <a:pos x="connsiteX2" y="connsiteY2"/>
                </a:cxn>
              </a:cxnLst>
              <a:rect l="l" t="t" r="r" b="b"/>
              <a:pathLst>
                <a:path w="1015" h="761">
                  <a:moveTo>
                    <a:pt x="1016" y="0"/>
                  </a:moveTo>
                  <a:lnTo>
                    <a:pt x="0" y="762"/>
                  </a:lnTo>
                  <a:lnTo>
                    <a:pt x="762" y="0"/>
                  </a:lnTo>
                  <a:close/>
                </a:path>
              </a:pathLst>
            </a:custGeom>
            <a:solidFill>
              <a:srgbClr val="000000"/>
            </a:solidFill>
            <a:ln w="12690" cap="flat">
              <a:noFill/>
              <a:prstDash val="solid"/>
              <a:miter/>
            </a:ln>
          </p:spPr>
          <p:txBody>
            <a:bodyPr rtlCol="0" anchor="ctr"/>
            <a:lstStyle/>
            <a:p>
              <a:endParaRPr lang="en-US"/>
            </a:p>
          </p:txBody>
        </p:sp>
        <p:sp>
          <p:nvSpPr>
            <p:cNvPr id="401" name="Freeform: Shape 400">
              <a:extLst>
                <a:ext uri="{FF2B5EF4-FFF2-40B4-BE49-F238E27FC236}">
                  <a16:creationId xmlns:a16="http://schemas.microsoft.com/office/drawing/2014/main" id="{2A1C9AEA-2277-4820-B5FF-BC90978B1FB1}"/>
                </a:ext>
              </a:extLst>
            </p:cNvPr>
            <p:cNvSpPr/>
            <p:nvPr/>
          </p:nvSpPr>
          <p:spPr>
            <a:xfrm>
              <a:off x="2237561" y="229174"/>
              <a:ext cx="1255843" cy="385598"/>
            </a:xfrm>
            <a:custGeom>
              <a:avLst/>
              <a:gdLst>
                <a:gd name="connsiteX0" fmla="*/ 1254066 w 1255843"/>
                <a:gd name="connsiteY0" fmla="*/ 385599 h 385598"/>
                <a:gd name="connsiteX1" fmla="*/ 1255843 w 1255843"/>
                <a:gd name="connsiteY1" fmla="*/ 385599 h 385598"/>
                <a:gd name="connsiteX2" fmla="*/ 1251780 w 1255843"/>
                <a:gd name="connsiteY2" fmla="*/ 383948 h 385598"/>
                <a:gd name="connsiteX3" fmla="*/ 1251437 w 1255843"/>
                <a:gd name="connsiteY3" fmla="*/ 377314 h 385598"/>
                <a:gd name="connsiteX4" fmla="*/ 1251780 w 1255843"/>
                <a:gd name="connsiteY4" fmla="*/ 376965 h 385598"/>
                <a:gd name="connsiteX5" fmla="*/ 1254193 w 1255843"/>
                <a:gd name="connsiteY5" fmla="*/ 375061 h 385598"/>
                <a:gd name="connsiteX6" fmla="*/ 12570 w 1255843"/>
                <a:gd name="connsiteY6" fmla="*/ 0 h 385598"/>
                <a:gd name="connsiteX7" fmla="*/ 5587 w 1255843"/>
                <a:gd name="connsiteY7" fmla="*/ 5714 h 385598"/>
                <a:gd name="connsiteX8" fmla="*/ 2032 w 1255843"/>
                <a:gd name="connsiteY8" fmla="*/ 6856 h 385598"/>
                <a:gd name="connsiteX9" fmla="*/ 0 w 1255843"/>
                <a:gd name="connsiteY9" fmla="*/ 6856 h 385598"/>
                <a:gd name="connsiteX10" fmla="*/ 0 w 1255843"/>
                <a:gd name="connsiteY10" fmla="*/ 6856 h 385598"/>
                <a:gd name="connsiteX11" fmla="*/ 7110 w 1255843"/>
                <a:gd name="connsiteY11" fmla="*/ 9015 h 385598"/>
                <a:gd name="connsiteX12" fmla="*/ 1250510 w 1255843"/>
                <a:gd name="connsiteY12" fmla="*/ 384710 h 38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843" h="385598">
                  <a:moveTo>
                    <a:pt x="1254066" y="385599"/>
                  </a:moveTo>
                  <a:lnTo>
                    <a:pt x="1255843" y="385599"/>
                  </a:lnTo>
                  <a:cubicBezTo>
                    <a:pt x="1254332" y="385572"/>
                    <a:pt x="1252885" y="384983"/>
                    <a:pt x="1251780" y="383948"/>
                  </a:cubicBezTo>
                  <a:cubicBezTo>
                    <a:pt x="1249850" y="382213"/>
                    <a:pt x="1249698" y="379242"/>
                    <a:pt x="1251437" y="377314"/>
                  </a:cubicBezTo>
                  <a:cubicBezTo>
                    <a:pt x="1251539" y="377191"/>
                    <a:pt x="1251653" y="377076"/>
                    <a:pt x="1251780" y="376965"/>
                  </a:cubicBezTo>
                  <a:lnTo>
                    <a:pt x="1254193" y="375061"/>
                  </a:lnTo>
                  <a:lnTo>
                    <a:pt x="12570" y="0"/>
                  </a:lnTo>
                  <a:lnTo>
                    <a:pt x="5587" y="5714"/>
                  </a:lnTo>
                  <a:cubicBezTo>
                    <a:pt x="4558" y="6465"/>
                    <a:pt x="3314" y="6865"/>
                    <a:pt x="2032" y="6856"/>
                  </a:cubicBezTo>
                  <a:cubicBezTo>
                    <a:pt x="1359" y="6990"/>
                    <a:pt x="673" y="6990"/>
                    <a:pt x="0" y="6856"/>
                  </a:cubicBezTo>
                  <a:lnTo>
                    <a:pt x="0" y="6856"/>
                  </a:lnTo>
                  <a:lnTo>
                    <a:pt x="7110" y="9015"/>
                  </a:lnTo>
                  <a:lnTo>
                    <a:pt x="1250510" y="384710"/>
                  </a:lnTo>
                  <a:close/>
                </a:path>
              </a:pathLst>
            </a:custGeom>
            <a:solidFill>
              <a:srgbClr val="000000"/>
            </a:solidFill>
            <a:ln w="12690" cap="flat">
              <a:noFill/>
              <a:prstDash val="solid"/>
              <a:miter/>
            </a:ln>
          </p:spPr>
          <p:txBody>
            <a:bodyPr rtlCol="0" anchor="ctr"/>
            <a:lstStyle/>
            <a:p>
              <a:endParaRPr lang="en-US"/>
            </a:p>
          </p:txBody>
        </p:sp>
        <p:sp>
          <p:nvSpPr>
            <p:cNvPr id="402" name="Freeform: Shape 401">
              <a:extLst>
                <a:ext uri="{FF2B5EF4-FFF2-40B4-BE49-F238E27FC236}">
                  <a16:creationId xmlns:a16="http://schemas.microsoft.com/office/drawing/2014/main" id="{6ACBFDA0-EC13-4692-A935-F6E6398F2783}"/>
                </a:ext>
              </a:extLst>
            </p:cNvPr>
            <p:cNvSpPr/>
            <p:nvPr/>
          </p:nvSpPr>
          <p:spPr>
            <a:xfrm>
              <a:off x="2234631" y="229301"/>
              <a:ext cx="57" cy="888"/>
            </a:xfrm>
            <a:custGeom>
              <a:avLst/>
              <a:gdLst>
                <a:gd name="connsiteX0" fmla="*/ 10 w 57"/>
                <a:gd name="connsiteY0" fmla="*/ 127 h 888"/>
                <a:gd name="connsiteX1" fmla="*/ 10 w 57"/>
                <a:gd name="connsiteY1" fmla="*/ 127 h 888"/>
                <a:gd name="connsiteX2" fmla="*/ 10 w 57"/>
                <a:gd name="connsiteY2" fmla="*/ 889 h 888"/>
                <a:gd name="connsiteX3" fmla="*/ 10 w 57"/>
                <a:gd name="connsiteY3" fmla="*/ 0 h 888"/>
              </a:gdLst>
              <a:ahLst/>
              <a:cxnLst>
                <a:cxn ang="0">
                  <a:pos x="connsiteX0" y="connsiteY0"/>
                </a:cxn>
                <a:cxn ang="0">
                  <a:pos x="connsiteX1" y="connsiteY1"/>
                </a:cxn>
                <a:cxn ang="0">
                  <a:pos x="connsiteX2" y="connsiteY2"/>
                </a:cxn>
                <a:cxn ang="0">
                  <a:pos x="connsiteX3" y="connsiteY3"/>
                </a:cxn>
              </a:cxnLst>
              <a:rect l="l" t="t" r="r" b="b"/>
              <a:pathLst>
                <a:path w="57" h="888">
                  <a:moveTo>
                    <a:pt x="10" y="127"/>
                  </a:moveTo>
                  <a:lnTo>
                    <a:pt x="10" y="127"/>
                  </a:lnTo>
                  <a:cubicBezTo>
                    <a:pt x="73" y="377"/>
                    <a:pt x="73" y="639"/>
                    <a:pt x="10" y="889"/>
                  </a:cubicBezTo>
                  <a:cubicBezTo>
                    <a:pt x="-3" y="593"/>
                    <a:pt x="-3" y="296"/>
                    <a:pt x="10" y="0"/>
                  </a:cubicBezTo>
                  <a:close/>
                </a:path>
              </a:pathLst>
            </a:custGeom>
            <a:solidFill>
              <a:srgbClr val="000000"/>
            </a:solidFill>
            <a:ln w="12690" cap="flat">
              <a:noFill/>
              <a:prstDash val="solid"/>
              <a:miter/>
            </a:ln>
          </p:spPr>
          <p:txBody>
            <a:bodyPr rtlCol="0" anchor="ctr"/>
            <a:lstStyle/>
            <a:p>
              <a:endParaRPr lang="en-US"/>
            </a:p>
          </p:txBody>
        </p:sp>
        <p:sp>
          <p:nvSpPr>
            <p:cNvPr id="403" name="Freeform: Shape 402">
              <a:extLst>
                <a:ext uri="{FF2B5EF4-FFF2-40B4-BE49-F238E27FC236}">
                  <a16:creationId xmlns:a16="http://schemas.microsoft.com/office/drawing/2014/main" id="{1A67BFF2-1D95-4811-B952-B7DB39085CFF}"/>
                </a:ext>
              </a:extLst>
            </p:cNvPr>
            <p:cNvSpPr/>
            <p:nvPr/>
          </p:nvSpPr>
          <p:spPr>
            <a:xfrm>
              <a:off x="4042161" y="16137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04" name="Freeform: Shape 403">
              <a:extLst>
                <a:ext uri="{FF2B5EF4-FFF2-40B4-BE49-F238E27FC236}">
                  <a16:creationId xmlns:a16="http://schemas.microsoft.com/office/drawing/2014/main" id="{1ACDA72C-D002-4C2E-8C86-BA5B72FFCEC0}"/>
                </a:ext>
              </a:extLst>
            </p:cNvPr>
            <p:cNvSpPr/>
            <p:nvPr/>
          </p:nvSpPr>
          <p:spPr>
            <a:xfrm>
              <a:off x="4043938" y="1625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05" name="Freeform: Shape 404">
              <a:extLst>
                <a:ext uri="{FF2B5EF4-FFF2-40B4-BE49-F238E27FC236}">
                  <a16:creationId xmlns:a16="http://schemas.microsoft.com/office/drawing/2014/main" id="{786B66A8-C79D-4DDE-B2A6-2D6ED24A7A40}"/>
                </a:ext>
              </a:extLst>
            </p:cNvPr>
            <p:cNvSpPr/>
            <p:nvPr/>
          </p:nvSpPr>
          <p:spPr>
            <a:xfrm>
              <a:off x="4045081" y="16416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06" name="Freeform: Shape 405">
              <a:extLst>
                <a:ext uri="{FF2B5EF4-FFF2-40B4-BE49-F238E27FC236}">
                  <a16:creationId xmlns:a16="http://schemas.microsoft.com/office/drawing/2014/main" id="{06DD28FF-00BE-4989-B50B-A695D6AD4A68}"/>
                </a:ext>
              </a:extLst>
            </p:cNvPr>
            <p:cNvSpPr/>
            <p:nvPr/>
          </p:nvSpPr>
          <p:spPr>
            <a:xfrm>
              <a:off x="4034797" y="165817"/>
              <a:ext cx="10411" cy="212041"/>
            </a:xfrm>
            <a:custGeom>
              <a:avLst/>
              <a:gdLst>
                <a:gd name="connsiteX0" fmla="*/ 10411 w 10411"/>
                <a:gd name="connsiteY0" fmla="*/ 1016 h 212041"/>
                <a:gd name="connsiteX1" fmla="*/ 10411 w 10411"/>
                <a:gd name="connsiteY1" fmla="*/ 1016 h 212041"/>
                <a:gd name="connsiteX2" fmla="*/ 9015 w 10411"/>
                <a:gd name="connsiteY2" fmla="*/ 2920 h 212041"/>
                <a:gd name="connsiteX3" fmla="*/ 0 w 10411"/>
                <a:gd name="connsiteY3" fmla="*/ 10284 h 212041"/>
                <a:gd name="connsiteX4" fmla="*/ 0 w 10411"/>
                <a:gd name="connsiteY4" fmla="*/ 207210 h 212041"/>
                <a:gd name="connsiteX5" fmla="*/ 5460 w 10411"/>
                <a:gd name="connsiteY5" fmla="*/ 212035 h 212041"/>
                <a:gd name="connsiteX6" fmla="*/ 9142 w 10411"/>
                <a:gd name="connsiteY6" fmla="*/ 210765 h 212041"/>
                <a:gd name="connsiteX7" fmla="*/ 9142 w 10411"/>
                <a:gd name="connsiteY7" fmla="*/ 209877 h 212041"/>
                <a:gd name="connsiteX8" fmla="*/ 9776 w 10411"/>
                <a:gd name="connsiteY8" fmla="*/ 209115 h 212041"/>
                <a:gd name="connsiteX9" fmla="*/ 9776 w 10411"/>
                <a:gd name="connsiteY9" fmla="*/ 208480 h 212041"/>
                <a:gd name="connsiteX10" fmla="*/ 9776 w 10411"/>
                <a:gd name="connsiteY10" fmla="*/ 207337 h 212041"/>
                <a:gd name="connsiteX11" fmla="*/ 9776 w 10411"/>
                <a:gd name="connsiteY11" fmla="*/ 207337 h 212041"/>
                <a:gd name="connsiteX12" fmla="*/ 9776 w 10411"/>
                <a:gd name="connsiteY12" fmla="*/ 0 h 212041"/>
                <a:gd name="connsiteX13" fmla="*/ 9776 w 10411"/>
                <a:gd name="connsiteY13" fmla="*/ 0 h 212041"/>
                <a:gd name="connsiteX14" fmla="*/ 10411 w 10411"/>
                <a:gd name="connsiteY14" fmla="*/ 1016 h 21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1" h="212041">
                  <a:moveTo>
                    <a:pt x="10411" y="1016"/>
                  </a:moveTo>
                  <a:lnTo>
                    <a:pt x="10411" y="1016"/>
                  </a:lnTo>
                  <a:cubicBezTo>
                    <a:pt x="10183" y="1797"/>
                    <a:pt x="9688" y="2471"/>
                    <a:pt x="9015" y="2920"/>
                  </a:cubicBezTo>
                  <a:lnTo>
                    <a:pt x="0" y="10284"/>
                  </a:lnTo>
                  <a:lnTo>
                    <a:pt x="0" y="207210"/>
                  </a:lnTo>
                  <a:cubicBezTo>
                    <a:pt x="203" y="210037"/>
                    <a:pt x="2628" y="212181"/>
                    <a:pt x="5460" y="212035"/>
                  </a:cubicBezTo>
                  <a:cubicBezTo>
                    <a:pt x="6793" y="212045"/>
                    <a:pt x="8101" y="211597"/>
                    <a:pt x="9142" y="210765"/>
                  </a:cubicBezTo>
                  <a:lnTo>
                    <a:pt x="9142" y="209877"/>
                  </a:lnTo>
                  <a:cubicBezTo>
                    <a:pt x="9142" y="209877"/>
                    <a:pt x="9142" y="209877"/>
                    <a:pt x="9776" y="209115"/>
                  </a:cubicBezTo>
                  <a:cubicBezTo>
                    <a:pt x="9853" y="208910"/>
                    <a:pt x="9853" y="208684"/>
                    <a:pt x="9776" y="208480"/>
                  </a:cubicBezTo>
                  <a:cubicBezTo>
                    <a:pt x="9840" y="208102"/>
                    <a:pt x="9840" y="207716"/>
                    <a:pt x="9776" y="207337"/>
                  </a:cubicBezTo>
                  <a:lnTo>
                    <a:pt x="9776" y="207337"/>
                  </a:lnTo>
                  <a:lnTo>
                    <a:pt x="9776" y="0"/>
                  </a:lnTo>
                  <a:lnTo>
                    <a:pt x="9776" y="0"/>
                  </a:lnTo>
                  <a:cubicBezTo>
                    <a:pt x="10056" y="288"/>
                    <a:pt x="10272" y="635"/>
                    <a:pt x="10411" y="1016"/>
                  </a:cubicBezTo>
                  <a:close/>
                </a:path>
              </a:pathLst>
            </a:custGeom>
            <a:solidFill>
              <a:srgbClr val="000000"/>
            </a:solidFill>
            <a:ln w="12690" cap="flat">
              <a:noFill/>
              <a:prstDash val="solid"/>
              <a:miter/>
            </a:ln>
          </p:spPr>
          <p:txBody>
            <a:bodyPr rtlCol="0" anchor="ctr"/>
            <a:lstStyle/>
            <a:p>
              <a:endParaRPr lang="en-US"/>
            </a:p>
          </p:txBody>
        </p:sp>
        <p:sp>
          <p:nvSpPr>
            <p:cNvPr id="407" name="Freeform: Shape 406">
              <a:extLst>
                <a:ext uri="{FF2B5EF4-FFF2-40B4-BE49-F238E27FC236}">
                  <a16:creationId xmlns:a16="http://schemas.microsoft.com/office/drawing/2014/main" id="{C36CF4DA-A1FA-4C08-9032-E31B6A635561}"/>
                </a:ext>
              </a:extLst>
            </p:cNvPr>
            <p:cNvSpPr/>
            <p:nvPr/>
          </p:nvSpPr>
          <p:spPr>
            <a:xfrm>
              <a:off x="3488346" y="167976"/>
              <a:ext cx="556354" cy="447140"/>
            </a:xfrm>
            <a:custGeom>
              <a:avLst/>
              <a:gdLst>
                <a:gd name="connsiteX0" fmla="*/ 1376 w 556354"/>
                <a:gd name="connsiteY0" fmla="*/ 445400 h 447140"/>
                <a:gd name="connsiteX1" fmla="*/ 5439 w 556354"/>
                <a:gd name="connsiteY1" fmla="*/ 447051 h 447140"/>
                <a:gd name="connsiteX2" fmla="*/ 7216 w 556354"/>
                <a:gd name="connsiteY2" fmla="*/ 447051 h 447140"/>
                <a:gd name="connsiteX3" fmla="*/ 8740 w 556354"/>
                <a:gd name="connsiteY3" fmla="*/ 446162 h 447140"/>
                <a:gd name="connsiteX4" fmla="*/ 8740 w 556354"/>
                <a:gd name="connsiteY4" fmla="*/ 446162 h 447140"/>
                <a:gd name="connsiteX5" fmla="*/ 10518 w 556354"/>
                <a:gd name="connsiteY5" fmla="*/ 444639 h 447140"/>
                <a:gd name="connsiteX6" fmla="*/ 545943 w 556354"/>
                <a:gd name="connsiteY6" fmla="*/ 9269 h 447140"/>
                <a:gd name="connsiteX7" fmla="*/ 554958 w 556354"/>
                <a:gd name="connsiteY7" fmla="*/ 1905 h 447140"/>
                <a:gd name="connsiteX8" fmla="*/ 556354 w 556354"/>
                <a:gd name="connsiteY8" fmla="*/ 0 h 447140"/>
                <a:gd name="connsiteX9" fmla="*/ 551403 w 556354"/>
                <a:gd name="connsiteY9" fmla="*/ 3174 h 447140"/>
                <a:gd name="connsiteX10" fmla="*/ 549752 w 556354"/>
                <a:gd name="connsiteY10" fmla="*/ 3174 h 447140"/>
                <a:gd name="connsiteX11" fmla="*/ 540864 w 556354"/>
                <a:gd name="connsiteY11" fmla="*/ 508 h 447140"/>
                <a:gd name="connsiteX12" fmla="*/ 4169 w 556354"/>
                <a:gd name="connsiteY12" fmla="*/ 436513 h 447140"/>
                <a:gd name="connsiteX13" fmla="*/ 1757 w 556354"/>
                <a:gd name="connsiteY13" fmla="*/ 438417 h 447140"/>
                <a:gd name="connsiteX14" fmla="*/ 1033 w 556354"/>
                <a:gd name="connsiteY14" fmla="*/ 445022 h 447140"/>
                <a:gd name="connsiteX15" fmla="*/ 1376 w 556354"/>
                <a:gd name="connsiteY15" fmla="*/ 445400 h 44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6354" h="447140">
                  <a:moveTo>
                    <a:pt x="1376" y="445400"/>
                  </a:moveTo>
                  <a:cubicBezTo>
                    <a:pt x="2481" y="446435"/>
                    <a:pt x="3928" y="447024"/>
                    <a:pt x="5439" y="447051"/>
                  </a:cubicBezTo>
                  <a:cubicBezTo>
                    <a:pt x="6023" y="447170"/>
                    <a:pt x="6632" y="447170"/>
                    <a:pt x="7216" y="447051"/>
                  </a:cubicBezTo>
                  <a:cubicBezTo>
                    <a:pt x="7775" y="446854"/>
                    <a:pt x="8295" y="446552"/>
                    <a:pt x="8740" y="446162"/>
                  </a:cubicBezTo>
                  <a:lnTo>
                    <a:pt x="8740" y="446162"/>
                  </a:lnTo>
                  <a:lnTo>
                    <a:pt x="10518" y="444639"/>
                  </a:lnTo>
                  <a:lnTo>
                    <a:pt x="545943" y="9269"/>
                  </a:lnTo>
                  <a:lnTo>
                    <a:pt x="554958" y="1905"/>
                  </a:lnTo>
                  <a:cubicBezTo>
                    <a:pt x="555630" y="1455"/>
                    <a:pt x="556125" y="781"/>
                    <a:pt x="556354" y="0"/>
                  </a:cubicBezTo>
                  <a:cubicBezTo>
                    <a:pt x="555491" y="1955"/>
                    <a:pt x="553536" y="3205"/>
                    <a:pt x="551403" y="3174"/>
                  </a:cubicBezTo>
                  <a:lnTo>
                    <a:pt x="549752" y="3174"/>
                  </a:lnTo>
                  <a:lnTo>
                    <a:pt x="540864" y="508"/>
                  </a:lnTo>
                  <a:lnTo>
                    <a:pt x="4169" y="436513"/>
                  </a:lnTo>
                  <a:lnTo>
                    <a:pt x="1757" y="438417"/>
                  </a:lnTo>
                  <a:cubicBezTo>
                    <a:pt x="-262" y="440042"/>
                    <a:pt x="-592" y="442999"/>
                    <a:pt x="1033" y="445022"/>
                  </a:cubicBezTo>
                  <a:cubicBezTo>
                    <a:pt x="1147" y="445154"/>
                    <a:pt x="1262" y="445280"/>
                    <a:pt x="1376" y="445400"/>
                  </a:cubicBezTo>
                  <a:close/>
                </a:path>
              </a:pathLst>
            </a:custGeom>
            <a:solidFill>
              <a:srgbClr val="000000"/>
            </a:solidFill>
            <a:ln w="12690"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737283E7-AE95-4982-8B72-32762A828E14}"/>
                </a:ext>
              </a:extLst>
            </p:cNvPr>
            <p:cNvSpPr/>
            <p:nvPr/>
          </p:nvSpPr>
          <p:spPr>
            <a:xfrm>
              <a:off x="4044319" y="16315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09" name="Freeform: Shape 408">
              <a:extLst>
                <a:ext uri="{FF2B5EF4-FFF2-40B4-BE49-F238E27FC236}">
                  <a16:creationId xmlns:a16="http://schemas.microsoft.com/office/drawing/2014/main" id="{FED58285-6B03-4C39-B06D-64E85EC14114}"/>
                </a:ext>
              </a:extLst>
            </p:cNvPr>
            <p:cNvSpPr/>
            <p:nvPr/>
          </p:nvSpPr>
          <p:spPr>
            <a:xfrm>
              <a:off x="4042161" y="161881"/>
              <a:ext cx="762" cy="12696"/>
            </a:xfrm>
            <a:custGeom>
              <a:avLst/>
              <a:gdLst>
                <a:gd name="connsiteX0" fmla="*/ 762 w 762"/>
                <a:gd name="connsiteY0" fmla="*/ 0 h 12696"/>
                <a:gd name="connsiteX1" fmla="*/ 0 w 762"/>
                <a:gd name="connsiteY1" fmla="*/ 0 h 12696"/>
                <a:gd name="connsiteX2" fmla="*/ 0 w 762"/>
                <a:gd name="connsiteY2" fmla="*/ 0 h 12696"/>
              </a:gdLst>
              <a:ahLst/>
              <a:cxnLst>
                <a:cxn ang="0">
                  <a:pos x="connsiteX0" y="connsiteY0"/>
                </a:cxn>
                <a:cxn ang="0">
                  <a:pos x="connsiteX1" y="connsiteY1"/>
                </a:cxn>
                <a:cxn ang="0">
                  <a:pos x="connsiteX2" y="connsiteY2"/>
                </a:cxn>
              </a:cxnLst>
              <a:rect l="l" t="t" r="r" b="b"/>
              <a:pathLst>
                <a:path w="762"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673658D6-79D7-45C8-87BF-BDEC70BB033C}"/>
                </a:ext>
              </a:extLst>
            </p:cNvPr>
            <p:cNvSpPr/>
            <p:nvPr/>
          </p:nvSpPr>
          <p:spPr>
            <a:xfrm>
              <a:off x="4045208" y="164294"/>
              <a:ext cx="9" cy="761"/>
            </a:xfrm>
            <a:custGeom>
              <a:avLst/>
              <a:gdLst>
                <a:gd name="connsiteX0" fmla="*/ 0 w 9"/>
                <a:gd name="connsiteY0" fmla="*/ 762 h 761"/>
                <a:gd name="connsiteX1" fmla="*/ 0 w 9"/>
                <a:gd name="connsiteY1" fmla="*/ 0 h 761"/>
                <a:gd name="connsiteX2" fmla="*/ 0 w 9"/>
                <a:gd name="connsiteY2" fmla="*/ 0 h 761"/>
                <a:gd name="connsiteX3" fmla="*/ 0 w 9"/>
                <a:gd name="connsiteY3" fmla="*/ 762 h 761"/>
              </a:gdLst>
              <a:ahLst/>
              <a:cxnLst>
                <a:cxn ang="0">
                  <a:pos x="connsiteX0" y="connsiteY0"/>
                </a:cxn>
                <a:cxn ang="0">
                  <a:pos x="connsiteX1" y="connsiteY1"/>
                </a:cxn>
                <a:cxn ang="0">
                  <a:pos x="connsiteX2" y="connsiteY2"/>
                </a:cxn>
                <a:cxn ang="0">
                  <a:pos x="connsiteX3" y="connsiteY3"/>
                </a:cxn>
              </a:cxnLst>
              <a:rect l="l" t="t" r="r" b="b"/>
              <a:pathLst>
                <a:path w="9" h="761">
                  <a:moveTo>
                    <a:pt x="0" y="762"/>
                  </a:moveTo>
                  <a:cubicBezTo>
                    <a:pt x="0" y="762"/>
                    <a:pt x="0" y="762"/>
                    <a:pt x="0" y="0"/>
                  </a:cubicBezTo>
                  <a:lnTo>
                    <a:pt x="0" y="0"/>
                  </a:lnTo>
                  <a:cubicBezTo>
                    <a:pt x="13" y="254"/>
                    <a:pt x="13" y="508"/>
                    <a:pt x="0" y="762"/>
                  </a:cubicBezTo>
                  <a:close/>
                </a:path>
              </a:pathLst>
            </a:custGeom>
            <a:solidFill>
              <a:srgbClr val="000000"/>
            </a:solidFill>
            <a:ln w="12690"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96DF6DA2-794F-44CF-98DF-A703A3155199}"/>
                </a:ext>
              </a:extLst>
            </p:cNvPr>
            <p:cNvSpPr/>
            <p:nvPr/>
          </p:nvSpPr>
          <p:spPr>
            <a:xfrm>
              <a:off x="3659098" y="55610"/>
              <a:ext cx="634" cy="12696"/>
            </a:xfrm>
            <a:custGeom>
              <a:avLst/>
              <a:gdLst>
                <a:gd name="connsiteX0" fmla="*/ 635 w 634"/>
                <a:gd name="connsiteY0" fmla="*/ 0 h 12696"/>
                <a:gd name="connsiteX1" fmla="*/ 635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635" y="0"/>
                  </a:lnTo>
                  <a:lnTo>
                    <a:pt x="0" y="0"/>
                  </a:lnTo>
                  <a:close/>
                </a:path>
              </a:pathLst>
            </a:custGeom>
            <a:solidFill>
              <a:srgbClr val="000000"/>
            </a:solidFill>
            <a:ln w="12690" cap="flat">
              <a:noFill/>
              <a:prstDash val="solid"/>
              <a:miter/>
            </a:ln>
          </p:spPr>
          <p:txBody>
            <a:bodyPr rtlCol="0" anchor="ctr"/>
            <a:lstStyle/>
            <a:p>
              <a:endParaRPr lang="en-US"/>
            </a:p>
          </p:txBody>
        </p:sp>
        <p:sp>
          <p:nvSpPr>
            <p:cNvPr id="412" name="Freeform: Shape 411">
              <a:extLst>
                <a:ext uri="{FF2B5EF4-FFF2-40B4-BE49-F238E27FC236}">
                  <a16:creationId xmlns:a16="http://schemas.microsoft.com/office/drawing/2014/main" id="{2BEBC2C1-453E-481B-BA97-C7B8DA5A5DED}"/>
                </a:ext>
              </a:extLst>
            </p:cNvPr>
            <p:cNvSpPr/>
            <p:nvPr/>
          </p:nvSpPr>
          <p:spPr>
            <a:xfrm>
              <a:off x="3659986" y="-381"/>
              <a:ext cx="76180" cy="50786"/>
            </a:xfrm>
            <a:custGeom>
              <a:avLst/>
              <a:gdLst>
                <a:gd name="connsiteX0" fmla="*/ 0 w 76180"/>
                <a:gd name="connsiteY0" fmla="*/ 49263 h 50786"/>
                <a:gd name="connsiteX1" fmla="*/ 5460 w 76180"/>
                <a:gd name="connsiteY1" fmla="*/ 47994 h 50786"/>
                <a:gd name="connsiteX2" fmla="*/ 14347 w 76180"/>
                <a:gd name="connsiteY2" fmla="*/ 50787 h 50786"/>
                <a:gd name="connsiteX3" fmla="*/ 76181 w 76180"/>
                <a:gd name="connsiteY3" fmla="*/ 0 h 50786"/>
                <a:gd name="connsiteX4" fmla="*/ 60183 w 76180"/>
                <a:gd name="connsiteY4" fmla="*/ 0 h 50786"/>
                <a:gd name="connsiteX5" fmla="*/ 254 w 76180"/>
                <a:gd name="connsiteY5" fmla="*/ 48628 h 5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180" h="50786">
                  <a:moveTo>
                    <a:pt x="0" y="49263"/>
                  </a:moveTo>
                  <a:cubicBezTo>
                    <a:pt x="1498" y="47959"/>
                    <a:pt x="3542" y="47483"/>
                    <a:pt x="5460" y="47994"/>
                  </a:cubicBezTo>
                  <a:lnTo>
                    <a:pt x="14347" y="50787"/>
                  </a:lnTo>
                  <a:lnTo>
                    <a:pt x="76181" y="0"/>
                  </a:lnTo>
                  <a:lnTo>
                    <a:pt x="60183" y="0"/>
                  </a:lnTo>
                  <a:lnTo>
                    <a:pt x="254" y="48628"/>
                  </a:lnTo>
                  <a:close/>
                </a:path>
              </a:pathLst>
            </a:custGeom>
            <a:solidFill>
              <a:srgbClr val="000000"/>
            </a:solidFill>
            <a:ln w="12690"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E02E9DFD-0D79-4AA3-886E-75FFE080004F}"/>
                </a:ext>
              </a:extLst>
            </p:cNvPr>
            <p:cNvSpPr/>
            <p:nvPr/>
          </p:nvSpPr>
          <p:spPr>
            <a:xfrm>
              <a:off x="2234555" y="-1"/>
              <a:ext cx="297191" cy="234608"/>
            </a:xfrm>
            <a:custGeom>
              <a:avLst/>
              <a:gdLst>
                <a:gd name="connsiteX0" fmla="*/ 86 w 297191"/>
                <a:gd name="connsiteY0" fmla="*/ 232223 h 234608"/>
                <a:gd name="connsiteX1" fmla="*/ 86 w 297191"/>
                <a:gd name="connsiteY1" fmla="*/ 232985 h 234608"/>
                <a:gd name="connsiteX2" fmla="*/ 86 w 297191"/>
                <a:gd name="connsiteY2" fmla="*/ 233873 h 234608"/>
                <a:gd name="connsiteX3" fmla="*/ 86 w 297191"/>
                <a:gd name="connsiteY3" fmla="*/ 233873 h 234608"/>
                <a:gd name="connsiteX4" fmla="*/ 86 w 297191"/>
                <a:gd name="connsiteY4" fmla="*/ 233873 h 234608"/>
                <a:gd name="connsiteX5" fmla="*/ 1101 w 297191"/>
                <a:gd name="connsiteY5" fmla="*/ 234508 h 234608"/>
                <a:gd name="connsiteX6" fmla="*/ 1863 w 297191"/>
                <a:gd name="connsiteY6" fmla="*/ 234508 h 234608"/>
                <a:gd name="connsiteX7" fmla="*/ 3895 w 297191"/>
                <a:gd name="connsiteY7" fmla="*/ 234508 h 234608"/>
                <a:gd name="connsiteX8" fmla="*/ 7450 w 297191"/>
                <a:gd name="connsiteY8" fmla="*/ 233365 h 234608"/>
                <a:gd name="connsiteX9" fmla="*/ 14433 w 297191"/>
                <a:gd name="connsiteY9" fmla="*/ 227652 h 234608"/>
                <a:gd name="connsiteX10" fmla="*/ 297191 w 297191"/>
                <a:gd name="connsiteY10" fmla="*/ 0 h 234608"/>
                <a:gd name="connsiteX11" fmla="*/ 280939 w 297191"/>
                <a:gd name="connsiteY11" fmla="*/ 0 h 234608"/>
                <a:gd name="connsiteX12" fmla="*/ 1609 w 297191"/>
                <a:gd name="connsiteY12" fmla="*/ 227525 h 234608"/>
                <a:gd name="connsiteX13" fmla="*/ 1609 w 297191"/>
                <a:gd name="connsiteY13" fmla="*/ 227525 h 234608"/>
                <a:gd name="connsiteX14" fmla="*/ 86 w 297191"/>
                <a:gd name="connsiteY14" fmla="*/ 228541 h 234608"/>
                <a:gd name="connsiteX15" fmla="*/ 86 w 297191"/>
                <a:gd name="connsiteY15" fmla="*/ 229176 h 234608"/>
                <a:gd name="connsiteX16" fmla="*/ 86 w 297191"/>
                <a:gd name="connsiteY16" fmla="*/ 229176 h 234608"/>
                <a:gd name="connsiteX17" fmla="*/ 86 w 297191"/>
                <a:gd name="connsiteY17" fmla="*/ 230064 h 234608"/>
                <a:gd name="connsiteX18" fmla="*/ 86 w 297191"/>
                <a:gd name="connsiteY18" fmla="*/ 230826 h 234608"/>
                <a:gd name="connsiteX19" fmla="*/ 86 w 297191"/>
                <a:gd name="connsiteY19" fmla="*/ 230826 h 234608"/>
                <a:gd name="connsiteX20" fmla="*/ 86 w 297191"/>
                <a:gd name="connsiteY20" fmla="*/ 232223 h 23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191" h="234608">
                  <a:moveTo>
                    <a:pt x="86" y="232223"/>
                  </a:moveTo>
                  <a:cubicBezTo>
                    <a:pt x="35" y="232474"/>
                    <a:pt x="35" y="232733"/>
                    <a:pt x="86" y="232985"/>
                  </a:cubicBezTo>
                  <a:cubicBezTo>
                    <a:pt x="22" y="233277"/>
                    <a:pt x="22" y="233581"/>
                    <a:pt x="86" y="233873"/>
                  </a:cubicBezTo>
                  <a:lnTo>
                    <a:pt x="86" y="233873"/>
                  </a:lnTo>
                  <a:lnTo>
                    <a:pt x="86" y="233873"/>
                  </a:lnTo>
                  <a:lnTo>
                    <a:pt x="1101" y="234508"/>
                  </a:lnTo>
                  <a:lnTo>
                    <a:pt x="1863" y="234508"/>
                  </a:lnTo>
                  <a:cubicBezTo>
                    <a:pt x="2536" y="234641"/>
                    <a:pt x="3222" y="234641"/>
                    <a:pt x="3895" y="234508"/>
                  </a:cubicBezTo>
                  <a:cubicBezTo>
                    <a:pt x="5177" y="234517"/>
                    <a:pt x="6421" y="234117"/>
                    <a:pt x="7450" y="233365"/>
                  </a:cubicBezTo>
                  <a:lnTo>
                    <a:pt x="14433" y="227652"/>
                  </a:lnTo>
                  <a:lnTo>
                    <a:pt x="297191" y="0"/>
                  </a:lnTo>
                  <a:lnTo>
                    <a:pt x="280939" y="0"/>
                  </a:lnTo>
                  <a:lnTo>
                    <a:pt x="1609" y="227525"/>
                  </a:lnTo>
                  <a:lnTo>
                    <a:pt x="1609" y="227525"/>
                  </a:lnTo>
                  <a:lnTo>
                    <a:pt x="86" y="228541"/>
                  </a:lnTo>
                  <a:lnTo>
                    <a:pt x="86" y="229176"/>
                  </a:lnTo>
                  <a:lnTo>
                    <a:pt x="86" y="229176"/>
                  </a:lnTo>
                  <a:cubicBezTo>
                    <a:pt x="73" y="229471"/>
                    <a:pt x="73" y="229768"/>
                    <a:pt x="86" y="230064"/>
                  </a:cubicBezTo>
                  <a:cubicBezTo>
                    <a:pt x="86" y="230064"/>
                    <a:pt x="86" y="230064"/>
                    <a:pt x="86" y="230826"/>
                  </a:cubicBezTo>
                  <a:lnTo>
                    <a:pt x="86" y="230826"/>
                  </a:lnTo>
                  <a:cubicBezTo>
                    <a:pt x="-29" y="231286"/>
                    <a:pt x="-29" y="231763"/>
                    <a:pt x="86" y="232223"/>
                  </a:cubicBezTo>
                  <a:close/>
                </a:path>
              </a:pathLst>
            </a:custGeom>
            <a:solidFill>
              <a:srgbClr val="000000"/>
            </a:solidFill>
            <a:ln w="12690"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7543EBB8-1D72-441D-A494-FD41121340FB}"/>
                </a:ext>
              </a:extLst>
            </p:cNvPr>
            <p:cNvSpPr/>
            <p:nvPr/>
          </p:nvSpPr>
          <p:spPr>
            <a:xfrm>
              <a:off x="9807408" y="805604"/>
              <a:ext cx="355256" cy="248220"/>
            </a:xfrm>
            <a:custGeom>
              <a:avLst/>
              <a:gdLst>
                <a:gd name="connsiteX0" fmla="*/ 346750 w 355256"/>
                <a:gd name="connsiteY0" fmla="*/ 2412 h 248220"/>
                <a:gd name="connsiteX1" fmla="*/ 346750 w 355256"/>
                <a:gd name="connsiteY1" fmla="*/ 0 h 248220"/>
                <a:gd name="connsiteX2" fmla="*/ 0 w 355256"/>
                <a:gd name="connsiteY2" fmla="*/ 244412 h 248220"/>
                <a:gd name="connsiteX3" fmla="*/ 2794 w 355256"/>
                <a:gd name="connsiteY3" fmla="*/ 245300 h 248220"/>
                <a:gd name="connsiteX4" fmla="*/ 12443 w 355256"/>
                <a:gd name="connsiteY4" fmla="*/ 248221 h 248220"/>
                <a:gd name="connsiteX5" fmla="*/ 355257 w 355256"/>
                <a:gd name="connsiteY5" fmla="*/ 6983 h 248220"/>
                <a:gd name="connsiteX6" fmla="*/ 355257 w 355256"/>
                <a:gd name="connsiteY6" fmla="*/ 6983 h 248220"/>
                <a:gd name="connsiteX7" fmla="*/ 351702 w 355256"/>
                <a:gd name="connsiteY7" fmla="*/ 8253 h 248220"/>
                <a:gd name="connsiteX8" fmla="*/ 346687 w 355256"/>
                <a:gd name="connsiteY8" fmla="*/ 3106 h 248220"/>
                <a:gd name="connsiteX9" fmla="*/ 346750 w 355256"/>
                <a:gd name="connsiteY9" fmla="*/ 2412 h 24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6" h="248220">
                  <a:moveTo>
                    <a:pt x="346750" y="2412"/>
                  </a:moveTo>
                  <a:lnTo>
                    <a:pt x="346750" y="0"/>
                  </a:lnTo>
                  <a:lnTo>
                    <a:pt x="0" y="244412"/>
                  </a:lnTo>
                  <a:lnTo>
                    <a:pt x="2794" y="245300"/>
                  </a:lnTo>
                  <a:lnTo>
                    <a:pt x="12443" y="248221"/>
                  </a:lnTo>
                  <a:lnTo>
                    <a:pt x="355257" y="6983"/>
                  </a:lnTo>
                  <a:cubicBezTo>
                    <a:pt x="355257" y="6983"/>
                    <a:pt x="355257" y="6983"/>
                    <a:pt x="355257" y="6983"/>
                  </a:cubicBezTo>
                  <a:cubicBezTo>
                    <a:pt x="354254" y="7816"/>
                    <a:pt x="352997" y="8266"/>
                    <a:pt x="351702" y="8253"/>
                  </a:cubicBezTo>
                  <a:cubicBezTo>
                    <a:pt x="348896" y="8215"/>
                    <a:pt x="346649" y="5910"/>
                    <a:pt x="346687" y="3106"/>
                  </a:cubicBezTo>
                  <a:cubicBezTo>
                    <a:pt x="346700" y="2873"/>
                    <a:pt x="346712" y="2642"/>
                    <a:pt x="346750" y="2412"/>
                  </a:cubicBezTo>
                  <a:close/>
                </a:path>
              </a:pathLst>
            </a:custGeom>
            <a:solidFill>
              <a:srgbClr val="000000"/>
            </a:solidFill>
            <a:ln w="12690" cap="flat">
              <a:no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BE5C803D-5CE7-42FB-9237-F8B72F02B7A2}"/>
                </a:ext>
              </a:extLst>
            </p:cNvPr>
            <p:cNvSpPr/>
            <p:nvPr/>
          </p:nvSpPr>
          <p:spPr>
            <a:xfrm>
              <a:off x="9722086" y="908194"/>
              <a:ext cx="10791" cy="118841"/>
            </a:xfrm>
            <a:custGeom>
              <a:avLst/>
              <a:gdLst>
                <a:gd name="connsiteX0" fmla="*/ 8634 w 10791"/>
                <a:gd name="connsiteY0" fmla="*/ 1524 h 118841"/>
                <a:gd name="connsiteX1" fmla="*/ 8634 w 10791"/>
                <a:gd name="connsiteY1" fmla="*/ 1524 h 118841"/>
                <a:gd name="connsiteX2" fmla="*/ 5460 w 10791"/>
                <a:gd name="connsiteY2" fmla="*/ 2539 h 118841"/>
                <a:gd name="connsiteX3" fmla="*/ 3682 w 10791"/>
                <a:gd name="connsiteY3" fmla="*/ 2539 h 118841"/>
                <a:gd name="connsiteX4" fmla="*/ 0 w 10791"/>
                <a:gd name="connsiteY4" fmla="*/ 1397 h 118841"/>
                <a:gd name="connsiteX5" fmla="*/ 0 w 10791"/>
                <a:gd name="connsiteY5" fmla="*/ 115667 h 118841"/>
                <a:gd name="connsiteX6" fmla="*/ 7110 w 10791"/>
                <a:gd name="connsiteY6" fmla="*/ 117699 h 118841"/>
                <a:gd name="connsiteX7" fmla="*/ 10792 w 10791"/>
                <a:gd name="connsiteY7" fmla="*/ 118841 h 118841"/>
                <a:gd name="connsiteX8" fmla="*/ 10792 w 10791"/>
                <a:gd name="connsiteY8" fmla="*/ 0 h 11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118841">
                  <a:moveTo>
                    <a:pt x="8634" y="1524"/>
                  </a:moveTo>
                  <a:lnTo>
                    <a:pt x="8634" y="1524"/>
                  </a:lnTo>
                  <a:cubicBezTo>
                    <a:pt x="7707" y="2177"/>
                    <a:pt x="6602" y="2532"/>
                    <a:pt x="5460" y="2539"/>
                  </a:cubicBezTo>
                  <a:lnTo>
                    <a:pt x="3682" y="2539"/>
                  </a:lnTo>
                  <a:lnTo>
                    <a:pt x="0" y="1397"/>
                  </a:lnTo>
                  <a:lnTo>
                    <a:pt x="0" y="115667"/>
                  </a:lnTo>
                  <a:lnTo>
                    <a:pt x="7110" y="117699"/>
                  </a:lnTo>
                  <a:lnTo>
                    <a:pt x="10792" y="118841"/>
                  </a:lnTo>
                  <a:lnTo>
                    <a:pt x="10792" y="0"/>
                  </a:lnTo>
                  <a:close/>
                </a:path>
              </a:pathLst>
            </a:custGeom>
            <a:solidFill>
              <a:srgbClr val="000000"/>
            </a:solidFill>
            <a:ln w="12690"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C1C97C20-ABAC-47C9-825E-08F57A8900CF}"/>
                </a:ext>
              </a:extLst>
            </p:cNvPr>
            <p:cNvSpPr/>
            <p:nvPr/>
          </p:nvSpPr>
          <p:spPr>
            <a:xfrm>
              <a:off x="9305065" y="776021"/>
              <a:ext cx="56" cy="761"/>
            </a:xfrm>
            <a:custGeom>
              <a:avLst/>
              <a:gdLst>
                <a:gd name="connsiteX0" fmla="*/ 57 w 56"/>
                <a:gd name="connsiteY0" fmla="*/ 0 h 761"/>
                <a:gd name="connsiteX1" fmla="*/ 57 w 56"/>
                <a:gd name="connsiteY1" fmla="*/ 762 h 761"/>
                <a:gd name="connsiteX2" fmla="*/ 57 w 56"/>
                <a:gd name="connsiteY2" fmla="*/ 762 h 761"/>
                <a:gd name="connsiteX3" fmla="*/ 57 w 56"/>
                <a:gd name="connsiteY3" fmla="*/ 0 h 761"/>
              </a:gdLst>
              <a:ahLst/>
              <a:cxnLst>
                <a:cxn ang="0">
                  <a:pos x="connsiteX0" y="connsiteY0"/>
                </a:cxn>
                <a:cxn ang="0">
                  <a:pos x="connsiteX1" y="connsiteY1"/>
                </a:cxn>
                <a:cxn ang="0">
                  <a:pos x="connsiteX2" y="connsiteY2"/>
                </a:cxn>
                <a:cxn ang="0">
                  <a:pos x="connsiteX3" y="connsiteY3"/>
                </a:cxn>
              </a:cxnLst>
              <a:rect l="l" t="t" r="r" b="b"/>
              <a:pathLst>
                <a:path w="56" h="761">
                  <a:moveTo>
                    <a:pt x="57" y="0"/>
                  </a:moveTo>
                  <a:lnTo>
                    <a:pt x="57" y="762"/>
                  </a:lnTo>
                  <a:lnTo>
                    <a:pt x="57" y="762"/>
                  </a:lnTo>
                  <a:cubicBezTo>
                    <a:pt x="-19" y="514"/>
                    <a:pt x="-19" y="248"/>
                    <a:pt x="57" y="0"/>
                  </a:cubicBezTo>
                  <a:close/>
                </a:path>
              </a:pathLst>
            </a:custGeom>
            <a:solidFill>
              <a:srgbClr val="000000"/>
            </a:solidFill>
            <a:ln w="12690"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6AC67615-6F70-4659-813A-81FA1E21077E}"/>
                </a:ext>
              </a:extLst>
            </p:cNvPr>
            <p:cNvSpPr/>
            <p:nvPr/>
          </p:nvSpPr>
          <p:spPr>
            <a:xfrm>
              <a:off x="9303923" y="777672"/>
              <a:ext cx="56" cy="56"/>
            </a:xfrm>
            <a:custGeom>
              <a:avLst/>
              <a:gdLst>
                <a:gd name="connsiteX0" fmla="*/ 56 w 56"/>
                <a:gd name="connsiteY0" fmla="*/ 0 h 56"/>
                <a:gd name="connsiteX1" fmla="*/ 56 w 56"/>
                <a:gd name="connsiteY1" fmla="*/ 0 h 56"/>
                <a:gd name="connsiteX2" fmla="*/ 56 w 56"/>
                <a:gd name="connsiteY2" fmla="*/ 0 h 56"/>
                <a:gd name="connsiteX3" fmla="*/ 56 w 56"/>
                <a:gd name="connsiteY3" fmla="*/ 0 h 56"/>
              </a:gdLst>
              <a:ahLst/>
              <a:cxnLst>
                <a:cxn ang="0">
                  <a:pos x="connsiteX0" y="connsiteY0"/>
                </a:cxn>
                <a:cxn ang="0">
                  <a:pos x="connsiteX1" y="connsiteY1"/>
                </a:cxn>
                <a:cxn ang="0">
                  <a:pos x="connsiteX2" y="connsiteY2"/>
                </a:cxn>
                <a:cxn ang="0">
                  <a:pos x="connsiteX3" y="connsiteY3"/>
                </a:cxn>
              </a:cxnLst>
              <a:rect l="l" t="t" r="r" b="b"/>
              <a:pathLst>
                <a:path w="56" h="56">
                  <a:moveTo>
                    <a:pt x="56" y="0"/>
                  </a:moveTo>
                  <a:lnTo>
                    <a:pt x="56" y="0"/>
                  </a:lnTo>
                  <a:lnTo>
                    <a:pt x="56" y="0"/>
                  </a:lnTo>
                  <a:cubicBezTo>
                    <a:pt x="56" y="0"/>
                    <a:pt x="-71" y="127"/>
                    <a:pt x="56" y="0"/>
                  </a:cubicBezTo>
                  <a:close/>
                </a:path>
              </a:pathLst>
            </a:custGeom>
            <a:solidFill>
              <a:srgbClr val="000000"/>
            </a:solidFill>
            <a:ln w="12690" cap="flat">
              <a:noFill/>
              <a:prstDash val="solid"/>
              <a:miter/>
            </a:ln>
          </p:spPr>
          <p:txBody>
            <a:bodyPr rtlCol="0" anchor="ctr"/>
            <a:lstStyle/>
            <a:p>
              <a:endParaRPr lang="en-US"/>
            </a:p>
          </p:txBody>
        </p:sp>
        <p:sp>
          <p:nvSpPr>
            <p:cNvPr id="418" name="Freeform: Shape 417">
              <a:extLst>
                <a:ext uri="{FF2B5EF4-FFF2-40B4-BE49-F238E27FC236}">
                  <a16:creationId xmlns:a16="http://schemas.microsoft.com/office/drawing/2014/main" id="{68091FEF-4328-4EDC-9BB1-0F4485E8DFC5}"/>
                </a:ext>
              </a:extLst>
            </p:cNvPr>
            <p:cNvSpPr/>
            <p:nvPr/>
          </p:nvSpPr>
          <p:spPr>
            <a:xfrm>
              <a:off x="9314898" y="777164"/>
              <a:ext cx="412519" cy="133315"/>
            </a:xfrm>
            <a:custGeom>
              <a:avLst/>
              <a:gdLst>
                <a:gd name="connsiteX0" fmla="*/ 407060 w 412519"/>
                <a:gd name="connsiteY0" fmla="*/ 132173 h 133315"/>
                <a:gd name="connsiteX1" fmla="*/ 410742 w 412519"/>
                <a:gd name="connsiteY1" fmla="*/ 133315 h 133315"/>
                <a:gd name="connsiteX2" fmla="*/ 412520 w 412519"/>
                <a:gd name="connsiteY2" fmla="*/ 133315 h 133315"/>
                <a:gd name="connsiteX3" fmla="*/ 408202 w 412519"/>
                <a:gd name="connsiteY3" fmla="*/ 131411 h 133315"/>
                <a:gd name="connsiteX4" fmla="*/ 408673 w 412519"/>
                <a:gd name="connsiteY4" fmla="*/ 124964 h 133315"/>
                <a:gd name="connsiteX5" fmla="*/ 409218 w 412519"/>
                <a:gd name="connsiteY5" fmla="*/ 124555 h 133315"/>
                <a:gd name="connsiteX6" fmla="*/ 411504 w 412519"/>
                <a:gd name="connsiteY6" fmla="*/ 122904 h 133315"/>
                <a:gd name="connsiteX7" fmla="*/ 5205 w 412519"/>
                <a:gd name="connsiteY7" fmla="*/ 0 h 133315"/>
                <a:gd name="connsiteX8" fmla="*/ 0 w 412519"/>
                <a:gd name="connsiteY8" fmla="*/ 4190 h 133315"/>
                <a:gd name="connsiteX9" fmla="*/ 0 w 412519"/>
                <a:gd name="connsiteY9" fmla="*/ 8761 h 13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519" h="133315">
                  <a:moveTo>
                    <a:pt x="407060" y="132173"/>
                  </a:moveTo>
                  <a:lnTo>
                    <a:pt x="410742" y="133315"/>
                  </a:lnTo>
                  <a:lnTo>
                    <a:pt x="412520" y="133315"/>
                  </a:lnTo>
                  <a:cubicBezTo>
                    <a:pt x="410869" y="133332"/>
                    <a:pt x="409294" y="132637"/>
                    <a:pt x="408202" y="131411"/>
                  </a:cubicBezTo>
                  <a:cubicBezTo>
                    <a:pt x="406552" y="129503"/>
                    <a:pt x="406756" y="126615"/>
                    <a:pt x="408673" y="124964"/>
                  </a:cubicBezTo>
                  <a:cubicBezTo>
                    <a:pt x="408838" y="124814"/>
                    <a:pt x="409028" y="124677"/>
                    <a:pt x="409218" y="124555"/>
                  </a:cubicBezTo>
                  <a:lnTo>
                    <a:pt x="411504" y="122904"/>
                  </a:lnTo>
                  <a:lnTo>
                    <a:pt x="5205" y="0"/>
                  </a:lnTo>
                  <a:lnTo>
                    <a:pt x="0" y="4190"/>
                  </a:lnTo>
                  <a:lnTo>
                    <a:pt x="0" y="8761"/>
                  </a:lnTo>
                  <a:close/>
                </a:path>
              </a:pathLst>
            </a:custGeom>
            <a:solidFill>
              <a:srgbClr val="000000"/>
            </a:solidFill>
            <a:ln w="12690"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70C44487-ECE7-42EC-BDDB-0AF9EF78188D}"/>
                </a:ext>
              </a:extLst>
            </p:cNvPr>
            <p:cNvSpPr/>
            <p:nvPr/>
          </p:nvSpPr>
          <p:spPr>
            <a:xfrm>
              <a:off x="9305249" y="458096"/>
              <a:ext cx="395252" cy="323512"/>
            </a:xfrm>
            <a:custGeom>
              <a:avLst/>
              <a:gdLst>
                <a:gd name="connsiteX0" fmla="*/ 0 w 395252"/>
                <a:gd name="connsiteY0" fmla="*/ 317672 h 323512"/>
                <a:gd name="connsiteX1" fmla="*/ 3809 w 395252"/>
                <a:gd name="connsiteY1" fmla="*/ 316402 h 323512"/>
                <a:gd name="connsiteX2" fmla="*/ 9141 w 395252"/>
                <a:gd name="connsiteY2" fmla="*/ 321214 h 323512"/>
                <a:gd name="connsiteX3" fmla="*/ 9141 w 395252"/>
                <a:gd name="connsiteY3" fmla="*/ 321227 h 323512"/>
                <a:gd name="connsiteX4" fmla="*/ 9141 w 395252"/>
                <a:gd name="connsiteY4" fmla="*/ 323512 h 323512"/>
                <a:gd name="connsiteX5" fmla="*/ 14347 w 395252"/>
                <a:gd name="connsiteY5" fmla="*/ 319322 h 323512"/>
                <a:gd name="connsiteX6" fmla="*/ 395252 w 395252"/>
                <a:gd name="connsiteY6" fmla="*/ 9523 h 323512"/>
                <a:gd name="connsiteX7" fmla="*/ 392205 w 395252"/>
                <a:gd name="connsiteY7" fmla="*/ 8507 h 323512"/>
                <a:gd name="connsiteX8" fmla="*/ 388637 w 395252"/>
                <a:gd name="connsiteY8" fmla="*/ 2900 h 323512"/>
                <a:gd name="connsiteX9" fmla="*/ 388777 w 395252"/>
                <a:gd name="connsiteY9" fmla="*/ 2412 h 323512"/>
                <a:gd name="connsiteX10" fmla="*/ 390935 w 395252"/>
                <a:gd name="connsiteY10" fmla="*/ 0 h 323512"/>
                <a:gd name="connsiteX11" fmla="*/ 390300 w 395252"/>
                <a:gd name="connsiteY11" fmla="*/ 0 h 323512"/>
                <a:gd name="connsiteX12" fmla="*/ 272220 w 395252"/>
                <a:gd name="connsiteY12" fmla="*/ 95987 h 323512"/>
                <a:gd name="connsiteX13" fmla="*/ 127 w 395252"/>
                <a:gd name="connsiteY13" fmla="*/ 317545 h 32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252" h="323512">
                  <a:moveTo>
                    <a:pt x="0" y="317672"/>
                  </a:moveTo>
                  <a:cubicBezTo>
                    <a:pt x="1092" y="316839"/>
                    <a:pt x="2438" y="316393"/>
                    <a:pt x="3809" y="316402"/>
                  </a:cubicBezTo>
                  <a:cubicBezTo>
                    <a:pt x="6615" y="316258"/>
                    <a:pt x="9002" y="318413"/>
                    <a:pt x="9141" y="321214"/>
                  </a:cubicBezTo>
                  <a:cubicBezTo>
                    <a:pt x="9141" y="321218"/>
                    <a:pt x="9141" y="321223"/>
                    <a:pt x="9141" y="321227"/>
                  </a:cubicBezTo>
                  <a:lnTo>
                    <a:pt x="9141" y="323512"/>
                  </a:lnTo>
                  <a:lnTo>
                    <a:pt x="14347" y="319322"/>
                  </a:lnTo>
                  <a:lnTo>
                    <a:pt x="395252" y="9523"/>
                  </a:lnTo>
                  <a:lnTo>
                    <a:pt x="392205" y="8507"/>
                  </a:lnTo>
                  <a:cubicBezTo>
                    <a:pt x="389678" y="7943"/>
                    <a:pt x="388079" y="5433"/>
                    <a:pt x="388637" y="2900"/>
                  </a:cubicBezTo>
                  <a:cubicBezTo>
                    <a:pt x="388675" y="2735"/>
                    <a:pt x="388726" y="2572"/>
                    <a:pt x="388777" y="2412"/>
                  </a:cubicBezTo>
                  <a:cubicBezTo>
                    <a:pt x="389132" y="1345"/>
                    <a:pt x="389907" y="471"/>
                    <a:pt x="390935" y="0"/>
                  </a:cubicBezTo>
                  <a:lnTo>
                    <a:pt x="390300" y="0"/>
                  </a:lnTo>
                  <a:lnTo>
                    <a:pt x="272220" y="95987"/>
                  </a:lnTo>
                  <a:lnTo>
                    <a:pt x="127" y="317545"/>
                  </a:lnTo>
                  <a:close/>
                </a:path>
              </a:pathLst>
            </a:custGeom>
            <a:solidFill>
              <a:srgbClr val="000000"/>
            </a:solidFill>
            <a:ln w="12690"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6F7E7318-D119-4899-8D31-EF50DE6397DF}"/>
                </a:ext>
              </a:extLst>
            </p:cNvPr>
            <p:cNvSpPr/>
            <p:nvPr/>
          </p:nvSpPr>
          <p:spPr>
            <a:xfrm>
              <a:off x="9303814" y="778180"/>
              <a:ext cx="38" cy="1015"/>
            </a:xfrm>
            <a:custGeom>
              <a:avLst/>
              <a:gdLst>
                <a:gd name="connsiteX0" fmla="*/ 38 w 38"/>
                <a:gd name="connsiteY0" fmla="*/ 254 h 1015"/>
                <a:gd name="connsiteX1" fmla="*/ 38 w 38"/>
                <a:gd name="connsiteY1" fmla="*/ 1016 h 1015"/>
                <a:gd name="connsiteX2" fmla="*/ 38 w 38"/>
                <a:gd name="connsiteY2" fmla="*/ 0 h 1015"/>
              </a:gdLst>
              <a:ahLst/>
              <a:cxnLst>
                <a:cxn ang="0">
                  <a:pos x="connsiteX0" y="connsiteY0"/>
                </a:cxn>
                <a:cxn ang="0">
                  <a:pos x="connsiteX1" y="connsiteY1"/>
                </a:cxn>
                <a:cxn ang="0">
                  <a:pos x="connsiteX2" y="connsiteY2"/>
                </a:cxn>
              </a:cxnLst>
              <a:rect l="l" t="t" r="r" b="b"/>
              <a:pathLst>
                <a:path w="38" h="1015">
                  <a:moveTo>
                    <a:pt x="38" y="254"/>
                  </a:moveTo>
                  <a:cubicBezTo>
                    <a:pt x="-13" y="505"/>
                    <a:pt x="-13" y="764"/>
                    <a:pt x="38" y="1016"/>
                  </a:cubicBezTo>
                  <a:cubicBezTo>
                    <a:pt x="-13" y="679"/>
                    <a:pt x="-13" y="336"/>
                    <a:pt x="38" y="0"/>
                  </a:cubicBezTo>
                  <a:close/>
                </a:path>
              </a:pathLst>
            </a:custGeom>
            <a:solidFill>
              <a:srgbClr val="000000"/>
            </a:solidFill>
            <a:ln w="12690" cap="flat">
              <a:noFill/>
              <a:prstDash val="solid"/>
              <a:miter/>
            </a:ln>
          </p:spPr>
          <p:txBody>
            <a:bodyPr rtlCol="0" anchor="ctr"/>
            <a:lstStyle/>
            <a:p>
              <a:endParaRPr lang="en-US"/>
            </a:p>
          </p:txBody>
        </p:sp>
        <p:sp>
          <p:nvSpPr>
            <p:cNvPr id="421" name="Freeform: Shape 420">
              <a:extLst>
                <a:ext uri="{FF2B5EF4-FFF2-40B4-BE49-F238E27FC236}">
                  <a16:creationId xmlns:a16="http://schemas.microsoft.com/office/drawing/2014/main" id="{F6043FC9-53BB-48A7-9C29-23318307B833}"/>
                </a:ext>
              </a:extLst>
            </p:cNvPr>
            <p:cNvSpPr/>
            <p:nvPr/>
          </p:nvSpPr>
          <p:spPr>
            <a:xfrm>
              <a:off x="9304458" y="776021"/>
              <a:ext cx="28" cy="761"/>
            </a:xfrm>
            <a:custGeom>
              <a:avLst/>
              <a:gdLst>
                <a:gd name="connsiteX0" fmla="*/ 28 w 28"/>
                <a:gd name="connsiteY0" fmla="*/ 762 h 761"/>
                <a:gd name="connsiteX1" fmla="*/ 28 w 28"/>
                <a:gd name="connsiteY1" fmla="*/ 762 h 761"/>
                <a:gd name="connsiteX2" fmla="*/ 28 w 28"/>
                <a:gd name="connsiteY2" fmla="*/ 0 h 761"/>
              </a:gdLst>
              <a:ahLst/>
              <a:cxnLst>
                <a:cxn ang="0">
                  <a:pos x="connsiteX0" y="connsiteY0"/>
                </a:cxn>
                <a:cxn ang="0">
                  <a:pos x="connsiteX1" y="connsiteY1"/>
                </a:cxn>
                <a:cxn ang="0">
                  <a:pos x="connsiteX2" y="connsiteY2"/>
                </a:cxn>
              </a:cxnLst>
              <a:rect l="l" t="t" r="r" b="b"/>
              <a:pathLst>
                <a:path w="28" h="761">
                  <a:moveTo>
                    <a:pt x="28" y="762"/>
                  </a:moveTo>
                  <a:lnTo>
                    <a:pt x="28" y="762"/>
                  </a:lnTo>
                  <a:cubicBezTo>
                    <a:pt x="-9" y="509"/>
                    <a:pt x="-9" y="253"/>
                    <a:pt x="28" y="0"/>
                  </a:cubicBezTo>
                  <a:close/>
                </a:path>
              </a:pathLst>
            </a:custGeom>
            <a:solidFill>
              <a:srgbClr val="000000"/>
            </a:solidFill>
            <a:ln w="12690"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F1D90530-D23A-4EAD-AA60-CB25B6211C0C}"/>
                </a:ext>
              </a:extLst>
            </p:cNvPr>
            <p:cNvSpPr/>
            <p:nvPr/>
          </p:nvSpPr>
          <p:spPr>
            <a:xfrm>
              <a:off x="10164570" y="59941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92A0EB76-8A4E-4524-888A-F78D1A7D1BFF}"/>
                </a:ext>
              </a:extLst>
            </p:cNvPr>
            <p:cNvSpPr/>
            <p:nvPr/>
          </p:nvSpPr>
          <p:spPr>
            <a:xfrm>
              <a:off x="10161903" y="59674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24" name="Freeform: Shape 423">
              <a:extLst>
                <a:ext uri="{FF2B5EF4-FFF2-40B4-BE49-F238E27FC236}">
                  <a16:creationId xmlns:a16="http://schemas.microsoft.com/office/drawing/2014/main" id="{BB2AC324-EDC1-4C3A-87A0-7AF3651448B8}"/>
                </a:ext>
              </a:extLst>
            </p:cNvPr>
            <p:cNvSpPr/>
            <p:nvPr/>
          </p:nvSpPr>
          <p:spPr>
            <a:xfrm>
              <a:off x="10154412" y="601060"/>
              <a:ext cx="10284" cy="211914"/>
            </a:xfrm>
            <a:custGeom>
              <a:avLst/>
              <a:gdLst>
                <a:gd name="connsiteX0" fmla="*/ 10284 w 10284"/>
                <a:gd name="connsiteY0" fmla="*/ 1016 h 211914"/>
                <a:gd name="connsiteX1" fmla="*/ 10284 w 10284"/>
                <a:gd name="connsiteY1" fmla="*/ 1016 h 211914"/>
                <a:gd name="connsiteX2" fmla="*/ 10284 w 10284"/>
                <a:gd name="connsiteY2" fmla="*/ 1016 h 211914"/>
                <a:gd name="connsiteX3" fmla="*/ 8634 w 10284"/>
                <a:gd name="connsiteY3" fmla="*/ 3174 h 211914"/>
                <a:gd name="connsiteX4" fmla="*/ 0 w 10284"/>
                <a:gd name="connsiteY4" fmla="*/ 9269 h 211914"/>
                <a:gd name="connsiteX5" fmla="*/ 0 w 10284"/>
                <a:gd name="connsiteY5" fmla="*/ 206956 h 211914"/>
                <a:gd name="connsiteX6" fmla="*/ 5193 w 10284"/>
                <a:gd name="connsiteY6" fmla="*/ 211913 h 211914"/>
                <a:gd name="connsiteX7" fmla="*/ 5332 w 10284"/>
                <a:gd name="connsiteY7" fmla="*/ 211908 h 211914"/>
                <a:gd name="connsiteX8" fmla="*/ 8888 w 10284"/>
                <a:gd name="connsiteY8" fmla="*/ 210638 h 211914"/>
                <a:gd name="connsiteX9" fmla="*/ 9650 w 10284"/>
                <a:gd name="connsiteY9" fmla="*/ 209877 h 211914"/>
                <a:gd name="connsiteX10" fmla="*/ 9650 w 10284"/>
                <a:gd name="connsiteY10" fmla="*/ 209115 h 211914"/>
                <a:gd name="connsiteX11" fmla="*/ 9650 w 10284"/>
                <a:gd name="connsiteY11" fmla="*/ 208226 h 211914"/>
                <a:gd name="connsiteX12" fmla="*/ 9650 w 10284"/>
                <a:gd name="connsiteY12" fmla="*/ 207337 h 211914"/>
                <a:gd name="connsiteX13" fmla="*/ 9650 w 10284"/>
                <a:gd name="connsiteY13" fmla="*/ 207337 h 211914"/>
                <a:gd name="connsiteX14" fmla="*/ 9650 w 10284"/>
                <a:gd name="connsiteY14" fmla="*/ 0 h 211914"/>
                <a:gd name="connsiteX15" fmla="*/ 10284 w 10284"/>
                <a:gd name="connsiteY15" fmla="*/ 1016 h 21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84" h="211914">
                  <a:moveTo>
                    <a:pt x="10284" y="1016"/>
                  </a:moveTo>
                  <a:lnTo>
                    <a:pt x="10284" y="1016"/>
                  </a:lnTo>
                  <a:lnTo>
                    <a:pt x="10284" y="1016"/>
                  </a:lnTo>
                  <a:cubicBezTo>
                    <a:pt x="9929" y="1869"/>
                    <a:pt x="9370" y="2613"/>
                    <a:pt x="8634" y="3174"/>
                  </a:cubicBezTo>
                  <a:lnTo>
                    <a:pt x="0" y="9269"/>
                  </a:lnTo>
                  <a:lnTo>
                    <a:pt x="0" y="206956"/>
                  </a:lnTo>
                  <a:cubicBezTo>
                    <a:pt x="64" y="209761"/>
                    <a:pt x="2399" y="211979"/>
                    <a:pt x="5193" y="211913"/>
                  </a:cubicBezTo>
                  <a:cubicBezTo>
                    <a:pt x="5243" y="211912"/>
                    <a:pt x="5282" y="211911"/>
                    <a:pt x="5332" y="211908"/>
                  </a:cubicBezTo>
                  <a:cubicBezTo>
                    <a:pt x="6627" y="211921"/>
                    <a:pt x="7898" y="211471"/>
                    <a:pt x="8888" y="210638"/>
                  </a:cubicBezTo>
                  <a:lnTo>
                    <a:pt x="9650" y="209877"/>
                  </a:lnTo>
                  <a:lnTo>
                    <a:pt x="9650" y="209115"/>
                  </a:lnTo>
                  <a:lnTo>
                    <a:pt x="9650" y="208226"/>
                  </a:lnTo>
                  <a:cubicBezTo>
                    <a:pt x="9650" y="208226"/>
                    <a:pt x="9650" y="207591"/>
                    <a:pt x="9650" y="207337"/>
                  </a:cubicBezTo>
                  <a:cubicBezTo>
                    <a:pt x="9650" y="207083"/>
                    <a:pt x="9650" y="207337"/>
                    <a:pt x="9650" y="207337"/>
                  </a:cubicBezTo>
                  <a:lnTo>
                    <a:pt x="9650" y="0"/>
                  </a:lnTo>
                  <a:cubicBezTo>
                    <a:pt x="9929" y="296"/>
                    <a:pt x="10145" y="640"/>
                    <a:pt x="10284" y="1016"/>
                  </a:cubicBezTo>
                  <a:close/>
                </a:path>
              </a:pathLst>
            </a:custGeom>
            <a:solidFill>
              <a:srgbClr val="000000"/>
            </a:solidFill>
            <a:ln w="12690"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418E70CF-5AA9-4C31-9390-818667BA69E6}"/>
                </a:ext>
              </a:extLst>
            </p:cNvPr>
            <p:cNvSpPr/>
            <p:nvPr/>
          </p:nvSpPr>
          <p:spPr>
            <a:xfrm>
              <a:off x="10163554" y="59775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86E32131-CF28-41BD-B7D9-7F8AA18CC5C9}"/>
                </a:ext>
              </a:extLst>
            </p:cNvPr>
            <p:cNvSpPr/>
            <p:nvPr/>
          </p:nvSpPr>
          <p:spPr>
            <a:xfrm>
              <a:off x="9721989" y="602203"/>
              <a:ext cx="442326" cy="308022"/>
            </a:xfrm>
            <a:custGeom>
              <a:avLst/>
              <a:gdLst>
                <a:gd name="connsiteX0" fmla="*/ 2128 w 442326"/>
                <a:gd name="connsiteY0" fmla="*/ 299261 h 308022"/>
                <a:gd name="connsiteX1" fmla="*/ 706 w 442326"/>
                <a:gd name="connsiteY1" fmla="*/ 305566 h 308022"/>
                <a:gd name="connsiteX2" fmla="*/ 1112 w 442326"/>
                <a:gd name="connsiteY2" fmla="*/ 306118 h 308022"/>
                <a:gd name="connsiteX3" fmla="*/ 5429 w 442326"/>
                <a:gd name="connsiteY3" fmla="*/ 308022 h 308022"/>
                <a:gd name="connsiteX4" fmla="*/ 8604 w 442326"/>
                <a:gd name="connsiteY4" fmla="*/ 307006 h 308022"/>
                <a:gd name="connsiteX5" fmla="*/ 8604 w 442326"/>
                <a:gd name="connsiteY5" fmla="*/ 307006 h 308022"/>
                <a:gd name="connsiteX6" fmla="*/ 10635 w 442326"/>
                <a:gd name="connsiteY6" fmla="*/ 305483 h 308022"/>
                <a:gd name="connsiteX7" fmla="*/ 432042 w 442326"/>
                <a:gd name="connsiteY7" fmla="*/ 8253 h 308022"/>
                <a:gd name="connsiteX8" fmla="*/ 440676 w 442326"/>
                <a:gd name="connsiteY8" fmla="*/ 2158 h 308022"/>
                <a:gd name="connsiteX9" fmla="*/ 442327 w 442326"/>
                <a:gd name="connsiteY9" fmla="*/ 0 h 308022"/>
                <a:gd name="connsiteX10" fmla="*/ 437376 w 442326"/>
                <a:gd name="connsiteY10" fmla="*/ 3174 h 308022"/>
                <a:gd name="connsiteX11" fmla="*/ 435725 w 442326"/>
                <a:gd name="connsiteY11" fmla="*/ 3174 h 308022"/>
                <a:gd name="connsiteX12" fmla="*/ 426075 w 442326"/>
                <a:gd name="connsiteY12" fmla="*/ 254 h 308022"/>
                <a:gd name="connsiteX13" fmla="*/ 4413 w 442326"/>
                <a:gd name="connsiteY13" fmla="*/ 298119 h 30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2326" h="308022">
                  <a:moveTo>
                    <a:pt x="2128" y="299261"/>
                  </a:moveTo>
                  <a:cubicBezTo>
                    <a:pt x="-5" y="300608"/>
                    <a:pt x="-640" y="303432"/>
                    <a:pt x="706" y="305566"/>
                  </a:cubicBezTo>
                  <a:cubicBezTo>
                    <a:pt x="821" y="305760"/>
                    <a:pt x="960" y="305945"/>
                    <a:pt x="1112" y="306118"/>
                  </a:cubicBezTo>
                  <a:cubicBezTo>
                    <a:pt x="2204" y="307345"/>
                    <a:pt x="3779" y="308039"/>
                    <a:pt x="5429" y="308022"/>
                  </a:cubicBezTo>
                  <a:cubicBezTo>
                    <a:pt x="6572" y="308014"/>
                    <a:pt x="7677" y="307660"/>
                    <a:pt x="8604" y="307006"/>
                  </a:cubicBezTo>
                  <a:lnTo>
                    <a:pt x="8604" y="307006"/>
                  </a:lnTo>
                  <a:lnTo>
                    <a:pt x="10635" y="305483"/>
                  </a:lnTo>
                  <a:lnTo>
                    <a:pt x="432042" y="8253"/>
                  </a:lnTo>
                  <a:lnTo>
                    <a:pt x="440676" y="2158"/>
                  </a:lnTo>
                  <a:cubicBezTo>
                    <a:pt x="441413" y="1597"/>
                    <a:pt x="441972" y="853"/>
                    <a:pt x="442327" y="0"/>
                  </a:cubicBezTo>
                  <a:cubicBezTo>
                    <a:pt x="441464" y="1955"/>
                    <a:pt x="439508" y="3205"/>
                    <a:pt x="437376" y="3174"/>
                  </a:cubicBezTo>
                  <a:lnTo>
                    <a:pt x="435725" y="3174"/>
                  </a:lnTo>
                  <a:lnTo>
                    <a:pt x="426075" y="254"/>
                  </a:lnTo>
                  <a:lnTo>
                    <a:pt x="4413" y="298119"/>
                  </a:lnTo>
                  <a:close/>
                </a:path>
              </a:pathLst>
            </a:custGeom>
            <a:solidFill>
              <a:srgbClr val="000000"/>
            </a:solidFill>
            <a:ln w="12690" cap="flat">
              <a:noFill/>
              <a:prstDash val="solid"/>
              <a:miter/>
            </a:ln>
          </p:spPr>
          <p:txBody>
            <a:bodyPr rtlCol="0" anchor="ctr"/>
            <a:lstStyle/>
            <a:p>
              <a:endParaRPr lang="en-US"/>
            </a:p>
          </p:txBody>
        </p:sp>
        <p:sp>
          <p:nvSpPr>
            <p:cNvPr id="427" name="Freeform: Shape 426">
              <a:extLst>
                <a:ext uri="{FF2B5EF4-FFF2-40B4-BE49-F238E27FC236}">
                  <a16:creationId xmlns:a16="http://schemas.microsoft.com/office/drawing/2014/main" id="{10DCF982-3340-45BF-8803-F41F525416C1}"/>
                </a:ext>
              </a:extLst>
            </p:cNvPr>
            <p:cNvSpPr/>
            <p:nvPr/>
          </p:nvSpPr>
          <p:spPr>
            <a:xfrm>
              <a:off x="10164824" y="599410"/>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cubicBezTo>
                    <a:pt x="0" y="762"/>
                    <a:pt x="0" y="762"/>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BAA1CADF-DF18-4677-8966-1400B2033FF9}"/>
                </a:ext>
              </a:extLst>
            </p:cNvPr>
            <p:cNvSpPr/>
            <p:nvPr/>
          </p:nvSpPr>
          <p:spPr>
            <a:xfrm>
              <a:off x="10164062" y="59839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91A1F337-3BD9-434E-9886-B1BD638024CE}"/>
                </a:ext>
              </a:extLst>
            </p:cNvPr>
            <p:cNvSpPr/>
            <p:nvPr/>
          </p:nvSpPr>
          <p:spPr>
            <a:xfrm>
              <a:off x="10162539" y="59674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30" name="Freeform: Shape 429">
              <a:extLst>
                <a:ext uri="{FF2B5EF4-FFF2-40B4-BE49-F238E27FC236}">
                  <a16:creationId xmlns:a16="http://schemas.microsoft.com/office/drawing/2014/main" id="{CF6A41A9-EAFF-4D6C-ADCA-7D0EEDE44594}"/>
                </a:ext>
              </a:extLst>
            </p:cNvPr>
            <p:cNvSpPr/>
            <p:nvPr/>
          </p:nvSpPr>
          <p:spPr>
            <a:xfrm>
              <a:off x="11317061" y="1395"/>
              <a:ext cx="868716" cy="271074"/>
            </a:xfrm>
            <a:custGeom>
              <a:avLst/>
              <a:gdLst>
                <a:gd name="connsiteX0" fmla="*/ 7237 w 868716"/>
                <a:gd name="connsiteY0" fmla="*/ 3555 h 271074"/>
                <a:gd name="connsiteX1" fmla="*/ 1777 w 868716"/>
                <a:gd name="connsiteY1" fmla="*/ 8380 h 271074"/>
                <a:gd name="connsiteX2" fmla="*/ 0 w 868716"/>
                <a:gd name="connsiteY2" fmla="*/ 8380 h 271074"/>
                <a:gd name="connsiteX3" fmla="*/ 0 w 868716"/>
                <a:gd name="connsiteY3" fmla="*/ 8380 h 271074"/>
                <a:gd name="connsiteX4" fmla="*/ 868717 w 868716"/>
                <a:gd name="connsiteY4" fmla="*/ 271075 h 271074"/>
                <a:gd name="connsiteX5" fmla="*/ 868717 w 868716"/>
                <a:gd name="connsiteY5" fmla="*/ 260663 h 271074"/>
                <a:gd name="connsiteX6" fmla="*/ 7237 w 868716"/>
                <a:gd name="connsiteY6" fmla="*/ 0 h 27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716" h="271074">
                  <a:moveTo>
                    <a:pt x="7237" y="3555"/>
                  </a:moveTo>
                  <a:cubicBezTo>
                    <a:pt x="7033" y="6381"/>
                    <a:pt x="4609" y="8525"/>
                    <a:pt x="1777" y="8380"/>
                  </a:cubicBezTo>
                  <a:lnTo>
                    <a:pt x="0" y="8380"/>
                  </a:lnTo>
                  <a:lnTo>
                    <a:pt x="0" y="8380"/>
                  </a:lnTo>
                  <a:lnTo>
                    <a:pt x="868717" y="271075"/>
                  </a:lnTo>
                  <a:lnTo>
                    <a:pt x="868717" y="260663"/>
                  </a:lnTo>
                  <a:lnTo>
                    <a:pt x="7237" y="0"/>
                  </a:lnTo>
                  <a:close/>
                </a:path>
              </a:pathLst>
            </a:custGeom>
            <a:solidFill>
              <a:srgbClr val="000000"/>
            </a:solidFill>
            <a:ln w="12690"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12FC9C3C-0D48-45D6-AEB3-C453107DA2A0}"/>
                </a:ext>
              </a:extLst>
            </p:cNvPr>
            <p:cNvSpPr/>
            <p:nvPr/>
          </p:nvSpPr>
          <p:spPr>
            <a:xfrm>
              <a:off x="11313467" y="-1"/>
              <a:ext cx="10830" cy="8815"/>
            </a:xfrm>
            <a:custGeom>
              <a:avLst/>
              <a:gdLst>
                <a:gd name="connsiteX0" fmla="*/ 10831 w 10830"/>
                <a:gd name="connsiteY0" fmla="*/ 4952 h 8815"/>
                <a:gd name="connsiteX1" fmla="*/ 10831 w 10830"/>
                <a:gd name="connsiteY1" fmla="*/ 0 h 8815"/>
                <a:gd name="connsiteX2" fmla="*/ 38 w 10830"/>
                <a:gd name="connsiteY2" fmla="*/ 0 h 8815"/>
                <a:gd name="connsiteX3" fmla="*/ 38 w 10830"/>
                <a:gd name="connsiteY3" fmla="*/ 4952 h 8815"/>
                <a:gd name="connsiteX4" fmla="*/ 38 w 10830"/>
                <a:gd name="connsiteY4" fmla="*/ 4952 h 8815"/>
                <a:gd name="connsiteX5" fmla="*/ 38 w 10830"/>
                <a:gd name="connsiteY5" fmla="*/ 5967 h 8815"/>
                <a:gd name="connsiteX6" fmla="*/ 38 w 10830"/>
                <a:gd name="connsiteY6" fmla="*/ 6856 h 8815"/>
                <a:gd name="connsiteX7" fmla="*/ 38 w 10830"/>
                <a:gd name="connsiteY7" fmla="*/ 7618 h 8815"/>
                <a:gd name="connsiteX8" fmla="*/ 38 w 10830"/>
                <a:gd name="connsiteY8" fmla="*/ 8380 h 8815"/>
                <a:gd name="connsiteX9" fmla="*/ 927 w 10830"/>
                <a:gd name="connsiteY9" fmla="*/ 8380 h 8815"/>
                <a:gd name="connsiteX10" fmla="*/ 1943 w 10830"/>
                <a:gd name="connsiteY10" fmla="*/ 8380 h 8815"/>
                <a:gd name="connsiteX11" fmla="*/ 3720 w 10830"/>
                <a:gd name="connsiteY11" fmla="*/ 8380 h 8815"/>
                <a:gd name="connsiteX12" fmla="*/ 10576 w 10830"/>
                <a:gd name="connsiteY12" fmla="*/ 5689 h 8815"/>
                <a:gd name="connsiteX13" fmla="*/ 10831 w 10830"/>
                <a:gd name="connsiteY13" fmla="*/ 4952 h 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30" h="8815">
                  <a:moveTo>
                    <a:pt x="10831" y="4952"/>
                  </a:moveTo>
                  <a:lnTo>
                    <a:pt x="10831" y="0"/>
                  </a:lnTo>
                  <a:lnTo>
                    <a:pt x="38" y="0"/>
                  </a:lnTo>
                  <a:lnTo>
                    <a:pt x="38" y="4952"/>
                  </a:lnTo>
                  <a:lnTo>
                    <a:pt x="38" y="4952"/>
                  </a:lnTo>
                  <a:cubicBezTo>
                    <a:pt x="-13" y="5288"/>
                    <a:pt x="-13" y="5631"/>
                    <a:pt x="38" y="5967"/>
                  </a:cubicBezTo>
                  <a:cubicBezTo>
                    <a:pt x="38" y="5967"/>
                    <a:pt x="38" y="6602"/>
                    <a:pt x="38" y="6856"/>
                  </a:cubicBezTo>
                  <a:lnTo>
                    <a:pt x="38" y="7618"/>
                  </a:lnTo>
                  <a:cubicBezTo>
                    <a:pt x="0" y="7871"/>
                    <a:pt x="0" y="8127"/>
                    <a:pt x="38" y="8380"/>
                  </a:cubicBezTo>
                  <a:lnTo>
                    <a:pt x="927" y="8380"/>
                  </a:lnTo>
                  <a:lnTo>
                    <a:pt x="1943" y="8380"/>
                  </a:lnTo>
                  <a:lnTo>
                    <a:pt x="3720" y="8380"/>
                  </a:lnTo>
                  <a:cubicBezTo>
                    <a:pt x="6361" y="9529"/>
                    <a:pt x="9421" y="8324"/>
                    <a:pt x="10576" y="5689"/>
                  </a:cubicBezTo>
                  <a:cubicBezTo>
                    <a:pt x="10678" y="5450"/>
                    <a:pt x="10767" y="5204"/>
                    <a:pt x="10831" y="4952"/>
                  </a:cubicBezTo>
                  <a:close/>
                </a:path>
              </a:pathLst>
            </a:custGeom>
            <a:solidFill>
              <a:srgbClr val="000000"/>
            </a:solidFill>
            <a:ln w="12690"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79E51CA5-3194-4EB3-ABF5-3B215A71322E}"/>
                </a:ext>
              </a:extLst>
            </p:cNvPr>
            <p:cNvSpPr/>
            <p:nvPr/>
          </p:nvSpPr>
          <p:spPr>
            <a:xfrm>
              <a:off x="11970693" y="-1"/>
              <a:ext cx="215211" cy="65134"/>
            </a:xfrm>
            <a:custGeom>
              <a:avLst/>
              <a:gdLst>
                <a:gd name="connsiteX0" fmla="*/ 0 w 215211"/>
                <a:gd name="connsiteY0" fmla="*/ 0 h 65134"/>
                <a:gd name="connsiteX1" fmla="*/ 215211 w 215211"/>
                <a:gd name="connsiteY1" fmla="*/ 65134 h 65134"/>
                <a:gd name="connsiteX2" fmla="*/ 215211 w 215211"/>
                <a:gd name="connsiteY2" fmla="*/ 54723 h 65134"/>
                <a:gd name="connsiteX3" fmla="*/ 34154 w 215211"/>
                <a:gd name="connsiteY3" fmla="*/ 0 h 65134"/>
                <a:gd name="connsiteX4" fmla="*/ 0 w 215211"/>
                <a:gd name="connsiteY4" fmla="*/ 0 h 65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11" h="65134">
                  <a:moveTo>
                    <a:pt x="0" y="0"/>
                  </a:moveTo>
                  <a:lnTo>
                    <a:pt x="215211" y="65134"/>
                  </a:lnTo>
                  <a:lnTo>
                    <a:pt x="215211" y="54723"/>
                  </a:lnTo>
                  <a:lnTo>
                    <a:pt x="34154" y="0"/>
                  </a:lnTo>
                  <a:lnTo>
                    <a:pt x="0" y="0"/>
                  </a:lnTo>
                  <a:close/>
                </a:path>
              </a:pathLst>
            </a:custGeom>
            <a:solidFill>
              <a:srgbClr val="000000"/>
            </a:solidFill>
            <a:ln w="12690" cap="flat">
              <a:noFill/>
              <a:prstDash val="solid"/>
              <a:miter/>
            </a:ln>
          </p:spPr>
          <p:txBody>
            <a:bodyPr rtlCol="0" anchor="ctr"/>
            <a:lstStyle/>
            <a:p>
              <a:endParaRPr lang="en-US"/>
            </a:p>
          </p:txBody>
        </p:sp>
        <p:sp>
          <p:nvSpPr>
            <p:cNvPr id="433" name="Freeform: Shape 432">
              <a:extLst>
                <a:ext uri="{FF2B5EF4-FFF2-40B4-BE49-F238E27FC236}">
                  <a16:creationId xmlns:a16="http://schemas.microsoft.com/office/drawing/2014/main" id="{17DF473D-3984-4FF9-9D10-AF6D336F38E1}"/>
                </a:ext>
              </a:extLst>
            </p:cNvPr>
            <p:cNvSpPr/>
            <p:nvPr/>
          </p:nvSpPr>
          <p:spPr>
            <a:xfrm>
              <a:off x="6527818" y="3719879"/>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 name="connsiteX4" fmla="*/ 0 w 12696"/>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12696">
                  <a:moveTo>
                    <a:pt x="0" y="0"/>
                  </a:moveTo>
                  <a:lnTo>
                    <a:pt x="0" y="0"/>
                  </a:lnTo>
                  <a:lnTo>
                    <a:pt x="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2BDD9C9C-12DE-48F1-AA54-D352BA07816F}"/>
                </a:ext>
              </a:extLst>
            </p:cNvPr>
            <p:cNvSpPr/>
            <p:nvPr/>
          </p:nvSpPr>
          <p:spPr>
            <a:xfrm>
              <a:off x="6532516" y="3621733"/>
              <a:ext cx="55866" cy="95352"/>
            </a:xfrm>
            <a:custGeom>
              <a:avLst/>
              <a:gdLst>
                <a:gd name="connsiteX0" fmla="*/ 51295 w 55866"/>
                <a:gd name="connsiteY0" fmla="*/ 6221 h 95352"/>
                <a:gd name="connsiteX1" fmla="*/ 45835 w 55866"/>
                <a:gd name="connsiteY1" fmla="*/ 1283 h 95352"/>
                <a:gd name="connsiteX2" fmla="*/ 45835 w 55866"/>
                <a:gd name="connsiteY2" fmla="*/ 1270 h 95352"/>
                <a:gd name="connsiteX3" fmla="*/ 45835 w 55866"/>
                <a:gd name="connsiteY3" fmla="*/ 0 h 95352"/>
                <a:gd name="connsiteX4" fmla="*/ 762 w 55866"/>
                <a:gd name="connsiteY4" fmla="*/ 74149 h 95352"/>
                <a:gd name="connsiteX5" fmla="*/ 762 w 55866"/>
                <a:gd name="connsiteY5" fmla="*/ 93194 h 95352"/>
                <a:gd name="connsiteX6" fmla="*/ 762 w 55866"/>
                <a:gd name="connsiteY6" fmla="*/ 93194 h 95352"/>
                <a:gd name="connsiteX7" fmla="*/ 762 w 55866"/>
                <a:gd name="connsiteY7" fmla="*/ 93829 h 95352"/>
                <a:gd name="connsiteX8" fmla="*/ 0 w 55866"/>
                <a:gd name="connsiteY8" fmla="*/ 95352 h 95352"/>
                <a:gd name="connsiteX9" fmla="*/ 0 w 55866"/>
                <a:gd name="connsiteY9" fmla="*/ 95352 h 95352"/>
                <a:gd name="connsiteX10" fmla="*/ 55866 w 55866"/>
                <a:gd name="connsiteY10" fmla="*/ 3428 h 95352"/>
                <a:gd name="connsiteX11" fmla="*/ 55866 w 55866"/>
                <a:gd name="connsiteY11" fmla="*/ 3428 h 95352"/>
                <a:gd name="connsiteX12" fmla="*/ 51295 w 55866"/>
                <a:gd name="connsiteY12" fmla="*/ 6221 h 9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866" h="95352">
                  <a:moveTo>
                    <a:pt x="51295" y="6221"/>
                  </a:moveTo>
                  <a:cubicBezTo>
                    <a:pt x="48426" y="6361"/>
                    <a:pt x="45975" y="4152"/>
                    <a:pt x="45835" y="1283"/>
                  </a:cubicBezTo>
                  <a:cubicBezTo>
                    <a:pt x="45835" y="1283"/>
                    <a:pt x="45835" y="1270"/>
                    <a:pt x="45835" y="1270"/>
                  </a:cubicBezTo>
                  <a:lnTo>
                    <a:pt x="45835" y="0"/>
                  </a:lnTo>
                  <a:lnTo>
                    <a:pt x="762" y="74149"/>
                  </a:lnTo>
                  <a:lnTo>
                    <a:pt x="762" y="93194"/>
                  </a:lnTo>
                  <a:cubicBezTo>
                    <a:pt x="762" y="93194"/>
                    <a:pt x="762" y="93194"/>
                    <a:pt x="762" y="93194"/>
                  </a:cubicBezTo>
                  <a:lnTo>
                    <a:pt x="762" y="93829"/>
                  </a:lnTo>
                  <a:cubicBezTo>
                    <a:pt x="660" y="94400"/>
                    <a:pt x="394" y="94933"/>
                    <a:pt x="0" y="95352"/>
                  </a:cubicBezTo>
                  <a:lnTo>
                    <a:pt x="0" y="95352"/>
                  </a:lnTo>
                  <a:lnTo>
                    <a:pt x="55866" y="3428"/>
                  </a:lnTo>
                  <a:cubicBezTo>
                    <a:pt x="55866" y="3428"/>
                    <a:pt x="55866" y="3428"/>
                    <a:pt x="55866" y="3428"/>
                  </a:cubicBezTo>
                  <a:cubicBezTo>
                    <a:pt x="54914" y="5079"/>
                    <a:pt x="53200" y="6133"/>
                    <a:pt x="51295" y="6221"/>
                  </a:cubicBezTo>
                  <a:close/>
                </a:path>
              </a:pathLst>
            </a:custGeom>
            <a:solidFill>
              <a:srgbClr val="000000"/>
            </a:solidFill>
            <a:ln w="12690" cap="flat">
              <a:no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75B1A7F1-ACDA-4ADF-9518-AEEF6C64CF2E}"/>
                </a:ext>
              </a:extLst>
            </p:cNvPr>
            <p:cNvSpPr/>
            <p:nvPr/>
          </p:nvSpPr>
          <p:spPr>
            <a:xfrm>
              <a:off x="6527818" y="3719879"/>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211A2F32-4BAA-4F37-B227-0C426F1461E8}"/>
                </a:ext>
              </a:extLst>
            </p:cNvPr>
            <p:cNvSpPr/>
            <p:nvPr/>
          </p:nvSpPr>
          <p:spPr>
            <a:xfrm>
              <a:off x="5718015" y="3575644"/>
              <a:ext cx="809803" cy="144494"/>
            </a:xfrm>
            <a:custGeom>
              <a:avLst/>
              <a:gdLst>
                <a:gd name="connsiteX0" fmla="*/ 804471 w 809803"/>
                <a:gd name="connsiteY0" fmla="*/ 139283 h 144494"/>
                <a:gd name="connsiteX1" fmla="*/ 804471 w 809803"/>
                <a:gd name="connsiteY1" fmla="*/ 133442 h 144494"/>
                <a:gd name="connsiteX2" fmla="*/ 6856 w 809803"/>
                <a:gd name="connsiteY2" fmla="*/ 0 h 144494"/>
                <a:gd name="connsiteX3" fmla="*/ 6856 w 809803"/>
                <a:gd name="connsiteY3" fmla="*/ 4063 h 144494"/>
                <a:gd name="connsiteX4" fmla="*/ 1663 w 809803"/>
                <a:gd name="connsiteY4" fmla="*/ 9015 h 144494"/>
                <a:gd name="connsiteX5" fmla="*/ 1524 w 809803"/>
                <a:gd name="connsiteY5" fmla="*/ 9015 h 144494"/>
                <a:gd name="connsiteX6" fmla="*/ 0 w 809803"/>
                <a:gd name="connsiteY6" fmla="*/ 9015 h 144494"/>
                <a:gd name="connsiteX7" fmla="*/ 0 w 809803"/>
                <a:gd name="connsiteY7" fmla="*/ 9015 h 144494"/>
                <a:gd name="connsiteX8" fmla="*/ 808915 w 809803"/>
                <a:gd name="connsiteY8" fmla="*/ 144489 h 144494"/>
                <a:gd name="connsiteX9" fmla="*/ 809804 w 809803"/>
                <a:gd name="connsiteY9" fmla="*/ 144489 h 144494"/>
                <a:gd name="connsiteX10" fmla="*/ 804471 w 809803"/>
                <a:gd name="connsiteY10" fmla="*/ 139677 h 144494"/>
                <a:gd name="connsiteX11" fmla="*/ 804471 w 809803"/>
                <a:gd name="connsiteY11" fmla="*/ 139283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9803" h="144494">
                  <a:moveTo>
                    <a:pt x="804471" y="139283"/>
                  </a:moveTo>
                  <a:lnTo>
                    <a:pt x="804471" y="133442"/>
                  </a:lnTo>
                  <a:lnTo>
                    <a:pt x="6856" y="0"/>
                  </a:lnTo>
                  <a:lnTo>
                    <a:pt x="6856" y="4063"/>
                  </a:lnTo>
                  <a:cubicBezTo>
                    <a:pt x="6793" y="6869"/>
                    <a:pt x="4456" y="9091"/>
                    <a:pt x="1663" y="9015"/>
                  </a:cubicBezTo>
                  <a:cubicBezTo>
                    <a:pt x="1612" y="9015"/>
                    <a:pt x="1574" y="9015"/>
                    <a:pt x="1524" y="9015"/>
                  </a:cubicBezTo>
                  <a:lnTo>
                    <a:pt x="0" y="9015"/>
                  </a:lnTo>
                  <a:lnTo>
                    <a:pt x="0" y="9015"/>
                  </a:lnTo>
                  <a:lnTo>
                    <a:pt x="808915" y="144489"/>
                  </a:lnTo>
                  <a:lnTo>
                    <a:pt x="809804" y="144489"/>
                  </a:lnTo>
                  <a:cubicBezTo>
                    <a:pt x="806997" y="144628"/>
                    <a:pt x="804611" y="142470"/>
                    <a:pt x="804471" y="139677"/>
                  </a:cubicBezTo>
                  <a:cubicBezTo>
                    <a:pt x="804471" y="139537"/>
                    <a:pt x="804471" y="139410"/>
                    <a:pt x="804471" y="139283"/>
                  </a:cubicBezTo>
                  <a:close/>
                </a:path>
              </a:pathLst>
            </a:custGeom>
            <a:solidFill>
              <a:srgbClr val="000000"/>
            </a:solidFill>
            <a:ln w="12690" cap="flat">
              <a:no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D42139D6-10F7-4F8F-9156-A968422AF2C5}"/>
                </a:ext>
              </a:extLst>
            </p:cNvPr>
            <p:cNvSpPr/>
            <p:nvPr/>
          </p:nvSpPr>
          <p:spPr>
            <a:xfrm>
              <a:off x="6533151" y="3715816"/>
              <a:ext cx="12696" cy="634"/>
            </a:xfrm>
            <a:custGeom>
              <a:avLst/>
              <a:gdLst>
                <a:gd name="connsiteX0" fmla="*/ 0 w 12696"/>
                <a:gd name="connsiteY0" fmla="*/ 0 h 634"/>
                <a:gd name="connsiteX1" fmla="*/ 0 w 12696"/>
                <a:gd name="connsiteY1" fmla="*/ 0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0"/>
                  </a:lnTo>
                  <a:cubicBezTo>
                    <a:pt x="0" y="0"/>
                    <a:pt x="0" y="0"/>
                    <a:pt x="0" y="635"/>
                  </a:cubicBezTo>
                  <a:close/>
                </a:path>
              </a:pathLst>
            </a:custGeom>
            <a:solidFill>
              <a:srgbClr val="000000"/>
            </a:solidFill>
            <a:ln w="12690" cap="flat">
              <a:no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73A866ED-C782-4108-91FC-D73C5CFA59C3}"/>
                </a:ext>
              </a:extLst>
            </p:cNvPr>
            <p:cNvSpPr/>
            <p:nvPr/>
          </p:nvSpPr>
          <p:spPr>
            <a:xfrm>
              <a:off x="5714656" y="3473944"/>
              <a:ext cx="56" cy="888"/>
            </a:xfrm>
            <a:custGeom>
              <a:avLst/>
              <a:gdLst>
                <a:gd name="connsiteX0" fmla="*/ 57 w 56"/>
                <a:gd name="connsiteY0" fmla="*/ 0 h 888"/>
                <a:gd name="connsiteX1" fmla="*/ 57 w 56"/>
                <a:gd name="connsiteY1" fmla="*/ 889 h 888"/>
                <a:gd name="connsiteX2" fmla="*/ 57 w 56"/>
                <a:gd name="connsiteY2" fmla="*/ 889 h 888"/>
              </a:gdLst>
              <a:ahLst/>
              <a:cxnLst>
                <a:cxn ang="0">
                  <a:pos x="connsiteX0" y="connsiteY0"/>
                </a:cxn>
                <a:cxn ang="0">
                  <a:pos x="connsiteX1" y="connsiteY1"/>
                </a:cxn>
                <a:cxn ang="0">
                  <a:pos x="connsiteX2" y="connsiteY2"/>
                </a:cxn>
              </a:cxnLst>
              <a:rect l="l" t="t" r="r" b="b"/>
              <a:pathLst>
                <a:path w="56" h="888">
                  <a:moveTo>
                    <a:pt x="57" y="0"/>
                  </a:moveTo>
                  <a:cubicBezTo>
                    <a:pt x="-19" y="292"/>
                    <a:pt x="-19" y="597"/>
                    <a:pt x="57" y="889"/>
                  </a:cubicBezTo>
                  <a:lnTo>
                    <a:pt x="57" y="889"/>
                  </a:lnTo>
                  <a:close/>
                </a:path>
              </a:pathLst>
            </a:custGeom>
            <a:solidFill>
              <a:srgbClr val="000000"/>
            </a:solidFill>
            <a:ln w="12690" cap="flat">
              <a:no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3CE5462E-9E0C-4F8C-84B0-315D69C0A83E}"/>
                </a:ext>
              </a:extLst>
            </p:cNvPr>
            <p:cNvSpPr/>
            <p:nvPr/>
          </p:nvSpPr>
          <p:spPr>
            <a:xfrm>
              <a:off x="5714929" y="3476610"/>
              <a:ext cx="9941" cy="107336"/>
            </a:xfrm>
            <a:custGeom>
              <a:avLst/>
              <a:gdLst>
                <a:gd name="connsiteX0" fmla="*/ 9942 w 9941"/>
                <a:gd name="connsiteY0" fmla="*/ 103097 h 107336"/>
                <a:gd name="connsiteX1" fmla="*/ 9942 w 9941"/>
                <a:gd name="connsiteY1" fmla="*/ 5459 h 107336"/>
                <a:gd name="connsiteX2" fmla="*/ 3594 w 9941"/>
                <a:gd name="connsiteY2" fmla="*/ 4444 h 107336"/>
                <a:gd name="connsiteX3" fmla="*/ 1816 w 9941"/>
                <a:gd name="connsiteY3" fmla="*/ 3809 h 107336"/>
                <a:gd name="connsiteX4" fmla="*/ 1816 w 9941"/>
                <a:gd name="connsiteY4" fmla="*/ 3809 h 107336"/>
                <a:gd name="connsiteX5" fmla="*/ 800 w 9941"/>
                <a:gd name="connsiteY5" fmla="*/ 2920 h 107336"/>
                <a:gd name="connsiteX6" fmla="*/ 800 w 9941"/>
                <a:gd name="connsiteY6" fmla="*/ 2920 h 107336"/>
                <a:gd name="connsiteX7" fmla="*/ 800 w 9941"/>
                <a:gd name="connsiteY7" fmla="*/ 2920 h 107336"/>
                <a:gd name="connsiteX8" fmla="*/ 38 w 9941"/>
                <a:gd name="connsiteY8" fmla="*/ 1396 h 107336"/>
                <a:gd name="connsiteX9" fmla="*/ 38 w 9941"/>
                <a:gd name="connsiteY9" fmla="*/ 0 h 107336"/>
                <a:gd name="connsiteX10" fmla="*/ 38 w 9941"/>
                <a:gd name="connsiteY10" fmla="*/ 0 h 107336"/>
                <a:gd name="connsiteX11" fmla="*/ 38 w 9941"/>
                <a:gd name="connsiteY11" fmla="*/ 103478 h 107336"/>
                <a:gd name="connsiteX12" fmla="*/ 38 w 9941"/>
                <a:gd name="connsiteY12" fmla="*/ 104113 h 107336"/>
                <a:gd name="connsiteX13" fmla="*/ 38 w 9941"/>
                <a:gd name="connsiteY13" fmla="*/ 105002 h 107336"/>
                <a:gd name="connsiteX14" fmla="*/ 38 w 9941"/>
                <a:gd name="connsiteY14" fmla="*/ 105890 h 107336"/>
                <a:gd name="connsiteX15" fmla="*/ 38 w 9941"/>
                <a:gd name="connsiteY15" fmla="*/ 106652 h 107336"/>
                <a:gd name="connsiteX16" fmla="*/ 800 w 9941"/>
                <a:gd name="connsiteY16" fmla="*/ 107287 h 107336"/>
                <a:gd name="connsiteX17" fmla="*/ 1689 w 9941"/>
                <a:gd name="connsiteY17" fmla="*/ 107287 h 107336"/>
                <a:gd name="connsiteX18" fmla="*/ 2705 w 9941"/>
                <a:gd name="connsiteY18" fmla="*/ 107287 h 107336"/>
                <a:gd name="connsiteX19" fmla="*/ 4228 w 9941"/>
                <a:gd name="connsiteY19" fmla="*/ 107287 h 107336"/>
                <a:gd name="connsiteX20" fmla="*/ 9942 w 9941"/>
                <a:gd name="connsiteY20" fmla="*/ 103097 h 10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41" h="107336">
                  <a:moveTo>
                    <a:pt x="9942" y="103097"/>
                  </a:moveTo>
                  <a:lnTo>
                    <a:pt x="9942" y="5459"/>
                  </a:lnTo>
                  <a:lnTo>
                    <a:pt x="3594" y="4444"/>
                  </a:lnTo>
                  <a:lnTo>
                    <a:pt x="1816" y="3809"/>
                  </a:lnTo>
                  <a:lnTo>
                    <a:pt x="1816" y="3809"/>
                  </a:lnTo>
                  <a:cubicBezTo>
                    <a:pt x="1397" y="3619"/>
                    <a:pt x="1041" y="3301"/>
                    <a:pt x="800" y="2920"/>
                  </a:cubicBezTo>
                  <a:lnTo>
                    <a:pt x="800" y="2920"/>
                  </a:lnTo>
                  <a:lnTo>
                    <a:pt x="800" y="2920"/>
                  </a:lnTo>
                  <a:cubicBezTo>
                    <a:pt x="445" y="2463"/>
                    <a:pt x="191" y="1955"/>
                    <a:pt x="38" y="1396"/>
                  </a:cubicBezTo>
                  <a:lnTo>
                    <a:pt x="38" y="0"/>
                  </a:lnTo>
                  <a:cubicBezTo>
                    <a:pt x="38" y="0"/>
                    <a:pt x="38" y="0"/>
                    <a:pt x="38" y="0"/>
                  </a:cubicBezTo>
                  <a:lnTo>
                    <a:pt x="38" y="103478"/>
                  </a:lnTo>
                  <a:cubicBezTo>
                    <a:pt x="38" y="103478"/>
                    <a:pt x="38" y="103478"/>
                    <a:pt x="38" y="104113"/>
                  </a:cubicBezTo>
                  <a:cubicBezTo>
                    <a:pt x="-13" y="104405"/>
                    <a:pt x="-13" y="104709"/>
                    <a:pt x="38" y="105002"/>
                  </a:cubicBezTo>
                  <a:lnTo>
                    <a:pt x="38" y="105890"/>
                  </a:lnTo>
                  <a:lnTo>
                    <a:pt x="38" y="106652"/>
                  </a:lnTo>
                  <a:lnTo>
                    <a:pt x="800" y="107287"/>
                  </a:lnTo>
                  <a:lnTo>
                    <a:pt x="1689" y="107287"/>
                  </a:lnTo>
                  <a:lnTo>
                    <a:pt x="2705" y="107287"/>
                  </a:lnTo>
                  <a:lnTo>
                    <a:pt x="4228" y="107287"/>
                  </a:lnTo>
                  <a:cubicBezTo>
                    <a:pt x="6958" y="107668"/>
                    <a:pt x="9485" y="105814"/>
                    <a:pt x="9942" y="103097"/>
                  </a:cubicBezTo>
                  <a:close/>
                </a:path>
              </a:pathLst>
            </a:custGeom>
            <a:solidFill>
              <a:srgbClr val="000000"/>
            </a:solidFill>
            <a:ln w="12690"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1AB001F1-2469-44A1-928B-F59DD18655B7}"/>
                </a:ext>
              </a:extLst>
            </p:cNvPr>
            <p:cNvSpPr/>
            <p:nvPr/>
          </p:nvSpPr>
          <p:spPr>
            <a:xfrm>
              <a:off x="5714110" y="3475341"/>
              <a:ext cx="95" cy="1650"/>
            </a:xfrm>
            <a:custGeom>
              <a:avLst/>
              <a:gdLst>
                <a:gd name="connsiteX0" fmla="*/ 95 w 95"/>
                <a:gd name="connsiteY0" fmla="*/ 0 h 1650"/>
                <a:gd name="connsiteX1" fmla="*/ 95 w 95"/>
                <a:gd name="connsiteY1" fmla="*/ 1651 h 1650"/>
                <a:gd name="connsiteX2" fmla="*/ 95 w 95"/>
                <a:gd name="connsiteY2" fmla="*/ 0 h 1650"/>
              </a:gdLst>
              <a:ahLst/>
              <a:cxnLst>
                <a:cxn ang="0">
                  <a:pos x="connsiteX0" y="connsiteY0"/>
                </a:cxn>
                <a:cxn ang="0">
                  <a:pos x="connsiteX1" y="connsiteY1"/>
                </a:cxn>
                <a:cxn ang="0">
                  <a:pos x="connsiteX2" y="connsiteY2"/>
                </a:cxn>
              </a:cxnLst>
              <a:rect l="l" t="t" r="r" b="b"/>
              <a:pathLst>
                <a:path w="95" h="1650">
                  <a:moveTo>
                    <a:pt x="95" y="0"/>
                  </a:moveTo>
                  <a:lnTo>
                    <a:pt x="95" y="1651"/>
                  </a:lnTo>
                  <a:cubicBezTo>
                    <a:pt x="-32" y="1105"/>
                    <a:pt x="-32" y="546"/>
                    <a:pt x="95" y="0"/>
                  </a:cubicBezTo>
                  <a:close/>
                </a:path>
              </a:pathLst>
            </a:custGeom>
            <a:solidFill>
              <a:srgbClr val="000000"/>
            </a:solidFill>
            <a:ln w="12690"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6F85ED7D-9490-4930-911A-836F995D0267}"/>
                </a:ext>
              </a:extLst>
            </p:cNvPr>
            <p:cNvSpPr/>
            <p:nvPr/>
          </p:nvSpPr>
          <p:spPr>
            <a:xfrm>
              <a:off x="5716618" y="348029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B31BB379-A8AC-48A4-AA8A-ABF0911F3018}"/>
                </a:ext>
              </a:extLst>
            </p:cNvPr>
            <p:cNvSpPr/>
            <p:nvPr/>
          </p:nvSpPr>
          <p:spPr>
            <a:xfrm>
              <a:off x="5714967" y="3365387"/>
              <a:ext cx="82275" cy="108175"/>
            </a:xfrm>
            <a:custGeom>
              <a:avLst/>
              <a:gdLst>
                <a:gd name="connsiteX0" fmla="*/ 5460 w 82275"/>
                <a:gd name="connsiteY0" fmla="*/ 106018 h 108175"/>
                <a:gd name="connsiteX1" fmla="*/ 13332 w 82275"/>
                <a:gd name="connsiteY1" fmla="*/ 107287 h 108175"/>
                <a:gd name="connsiteX2" fmla="*/ 82276 w 82275"/>
                <a:gd name="connsiteY2" fmla="*/ 8253 h 108175"/>
                <a:gd name="connsiteX3" fmla="*/ 78593 w 82275"/>
                <a:gd name="connsiteY3" fmla="*/ 7491 h 108175"/>
                <a:gd name="connsiteX4" fmla="*/ 74366 w 82275"/>
                <a:gd name="connsiteY4" fmla="*/ 1917 h 108175"/>
                <a:gd name="connsiteX5" fmla="*/ 74404 w 82275"/>
                <a:gd name="connsiteY5" fmla="*/ 1651 h 108175"/>
                <a:gd name="connsiteX6" fmla="*/ 75165 w 82275"/>
                <a:gd name="connsiteY6" fmla="*/ 0 h 108175"/>
                <a:gd name="connsiteX7" fmla="*/ 75165 w 82275"/>
                <a:gd name="connsiteY7" fmla="*/ 0 h 108175"/>
                <a:gd name="connsiteX8" fmla="*/ 0 w 82275"/>
                <a:gd name="connsiteY8" fmla="*/ 108176 h 108175"/>
                <a:gd name="connsiteX9" fmla="*/ 0 w 82275"/>
                <a:gd name="connsiteY9" fmla="*/ 108176 h 108175"/>
                <a:gd name="connsiteX10" fmla="*/ 0 w 82275"/>
                <a:gd name="connsiteY10" fmla="*/ 108176 h 108175"/>
                <a:gd name="connsiteX11" fmla="*/ 5460 w 82275"/>
                <a:gd name="connsiteY11" fmla="*/ 106018 h 10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275" h="108175">
                  <a:moveTo>
                    <a:pt x="5460" y="106018"/>
                  </a:moveTo>
                  <a:lnTo>
                    <a:pt x="13332" y="107287"/>
                  </a:lnTo>
                  <a:lnTo>
                    <a:pt x="82276" y="8253"/>
                  </a:lnTo>
                  <a:lnTo>
                    <a:pt x="78593" y="7491"/>
                  </a:lnTo>
                  <a:cubicBezTo>
                    <a:pt x="75889" y="7123"/>
                    <a:pt x="73985" y="4622"/>
                    <a:pt x="74366" y="1917"/>
                  </a:cubicBezTo>
                  <a:cubicBezTo>
                    <a:pt x="74378" y="1828"/>
                    <a:pt x="74391" y="1739"/>
                    <a:pt x="74404" y="1651"/>
                  </a:cubicBezTo>
                  <a:cubicBezTo>
                    <a:pt x="74531" y="1054"/>
                    <a:pt x="74784" y="482"/>
                    <a:pt x="75165" y="0"/>
                  </a:cubicBezTo>
                  <a:lnTo>
                    <a:pt x="75165" y="0"/>
                  </a:lnTo>
                  <a:lnTo>
                    <a:pt x="0" y="108176"/>
                  </a:lnTo>
                  <a:lnTo>
                    <a:pt x="0" y="108176"/>
                  </a:lnTo>
                  <a:lnTo>
                    <a:pt x="0" y="108176"/>
                  </a:lnTo>
                  <a:cubicBezTo>
                    <a:pt x="1219" y="106424"/>
                    <a:pt x="3378" y="105586"/>
                    <a:pt x="5460" y="106018"/>
                  </a:cubicBezTo>
                  <a:close/>
                </a:path>
              </a:pathLst>
            </a:custGeom>
            <a:solidFill>
              <a:srgbClr val="000000"/>
            </a:solidFill>
            <a:ln w="12690" cap="flat">
              <a:no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B7A269DC-C4C1-480F-B7FD-3E51547EDA3A}"/>
                </a:ext>
              </a:extLst>
            </p:cNvPr>
            <p:cNvSpPr/>
            <p:nvPr/>
          </p:nvSpPr>
          <p:spPr>
            <a:xfrm>
              <a:off x="6587239" y="35157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4166CAC5-EB0F-4AFF-9FBC-91C3549591E5}"/>
                </a:ext>
              </a:extLst>
            </p:cNvPr>
            <p:cNvSpPr/>
            <p:nvPr/>
          </p:nvSpPr>
          <p:spPr>
            <a:xfrm>
              <a:off x="6589652" y="351901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546BAE84-FF27-4080-8B20-469BE53CDA6B}"/>
                </a:ext>
              </a:extLst>
            </p:cNvPr>
            <p:cNvSpPr/>
            <p:nvPr/>
          </p:nvSpPr>
          <p:spPr>
            <a:xfrm>
              <a:off x="6588509" y="351698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950F0C00-B7AC-437C-B000-7A5F496295DB}"/>
                </a:ext>
              </a:extLst>
            </p:cNvPr>
            <p:cNvSpPr/>
            <p:nvPr/>
          </p:nvSpPr>
          <p:spPr>
            <a:xfrm>
              <a:off x="5789244" y="3364879"/>
              <a:ext cx="795328" cy="158074"/>
            </a:xfrm>
            <a:custGeom>
              <a:avLst/>
              <a:gdLst>
                <a:gd name="connsiteX0" fmla="*/ 4317 w 795328"/>
                <a:gd name="connsiteY0" fmla="*/ 7999 h 158074"/>
                <a:gd name="connsiteX1" fmla="*/ 7999 w 795328"/>
                <a:gd name="connsiteY1" fmla="*/ 8761 h 158074"/>
                <a:gd name="connsiteX2" fmla="*/ 786315 w 795328"/>
                <a:gd name="connsiteY2" fmla="*/ 158074 h 158074"/>
                <a:gd name="connsiteX3" fmla="*/ 789742 w 795328"/>
                <a:gd name="connsiteY3" fmla="*/ 152234 h 158074"/>
                <a:gd name="connsiteX4" fmla="*/ 789742 w 795328"/>
                <a:gd name="connsiteY4" fmla="*/ 152234 h 158074"/>
                <a:gd name="connsiteX5" fmla="*/ 790504 w 795328"/>
                <a:gd name="connsiteY5" fmla="*/ 151472 h 158074"/>
                <a:gd name="connsiteX6" fmla="*/ 791393 w 795328"/>
                <a:gd name="connsiteY6" fmla="*/ 151472 h 158074"/>
                <a:gd name="connsiteX7" fmla="*/ 792155 w 795328"/>
                <a:gd name="connsiteY7" fmla="*/ 151472 h 158074"/>
                <a:gd name="connsiteX8" fmla="*/ 793298 w 795328"/>
                <a:gd name="connsiteY8" fmla="*/ 151472 h 158074"/>
                <a:gd name="connsiteX9" fmla="*/ 794314 w 795328"/>
                <a:gd name="connsiteY9" fmla="*/ 151472 h 158074"/>
                <a:gd name="connsiteX10" fmla="*/ 795329 w 795328"/>
                <a:gd name="connsiteY10" fmla="*/ 151472 h 158074"/>
                <a:gd name="connsiteX11" fmla="*/ 795329 w 795328"/>
                <a:gd name="connsiteY11" fmla="*/ 151472 h 158074"/>
                <a:gd name="connsiteX12" fmla="*/ 6222 w 795328"/>
                <a:gd name="connsiteY12" fmla="*/ 0 h 158074"/>
                <a:gd name="connsiteX13" fmla="*/ 4190 w 795328"/>
                <a:gd name="connsiteY13" fmla="*/ 0 h 158074"/>
                <a:gd name="connsiteX14" fmla="*/ 2286 w 795328"/>
                <a:gd name="connsiteY14" fmla="*/ 762 h 158074"/>
                <a:gd name="connsiteX15" fmla="*/ 2286 w 795328"/>
                <a:gd name="connsiteY15" fmla="*/ 762 h 158074"/>
                <a:gd name="connsiteX16" fmla="*/ 1397 w 795328"/>
                <a:gd name="connsiteY16" fmla="*/ 1524 h 158074"/>
                <a:gd name="connsiteX17" fmla="*/ 762 w 795328"/>
                <a:gd name="connsiteY17" fmla="*/ 2159 h 158074"/>
                <a:gd name="connsiteX18" fmla="*/ 0 w 795328"/>
                <a:gd name="connsiteY18" fmla="*/ 3809 h 158074"/>
                <a:gd name="connsiteX19" fmla="*/ 4317 w 795328"/>
                <a:gd name="connsiteY19" fmla="*/ 7999 h 15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5328" h="158074">
                  <a:moveTo>
                    <a:pt x="4317" y="7999"/>
                  </a:moveTo>
                  <a:lnTo>
                    <a:pt x="7999" y="8761"/>
                  </a:lnTo>
                  <a:lnTo>
                    <a:pt x="786315" y="158074"/>
                  </a:lnTo>
                  <a:lnTo>
                    <a:pt x="789742" y="152234"/>
                  </a:lnTo>
                  <a:lnTo>
                    <a:pt x="789742" y="152234"/>
                  </a:lnTo>
                  <a:lnTo>
                    <a:pt x="790504" y="151472"/>
                  </a:lnTo>
                  <a:lnTo>
                    <a:pt x="791393" y="151472"/>
                  </a:lnTo>
                  <a:lnTo>
                    <a:pt x="792155" y="151472"/>
                  </a:lnTo>
                  <a:lnTo>
                    <a:pt x="793298" y="151472"/>
                  </a:lnTo>
                  <a:lnTo>
                    <a:pt x="794314" y="151472"/>
                  </a:lnTo>
                  <a:lnTo>
                    <a:pt x="795329" y="151472"/>
                  </a:lnTo>
                  <a:lnTo>
                    <a:pt x="795329" y="151472"/>
                  </a:lnTo>
                  <a:lnTo>
                    <a:pt x="6222" y="0"/>
                  </a:lnTo>
                  <a:lnTo>
                    <a:pt x="4190" y="0"/>
                  </a:lnTo>
                  <a:cubicBezTo>
                    <a:pt x="3504" y="102"/>
                    <a:pt x="2844" y="356"/>
                    <a:pt x="2286" y="762"/>
                  </a:cubicBezTo>
                  <a:lnTo>
                    <a:pt x="2286" y="762"/>
                  </a:lnTo>
                  <a:lnTo>
                    <a:pt x="1397" y="1524"/>
                  </a:lnTo>
                  <a:lnTo>
                    <a:pt x="762" y="2159"/>
                  </a:lnTo>
                  <a:cubicBezTo>
                    <a:pt x="381" y="2641"/>
                    <a:pt x="127" y="3213"/>
                    <a:pt x="0" y="3809"/>
                  </a:cubicBezTo>
                  <a:cubicBezTo>
                    <a:pt x="330" y="6018"/>
                    <a:pt x="2095" y="7732"/>
                    <a:pt x="4317" y="7999"/>
                  </a:cubicBezTo>
                  <a:close/>
                </a:path>
              </a:pathLst>
            </a:custGeom>
            <a:solidFill>
              <a:srgbClr val="000000"/>
            </a:solidFill>
            <a:ln w="12690" cap="flat">
              <a:no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43691CF2-AAE3-426A-9B8F-2113504417EB}"/>
                </a:ext>
              </a:extLst>
            </p:cNvPr>
            <p:cNvSpPr/>
            <p:nvPr/>
          </p:nvSpPr>
          <p:spPr>
            <a:xfrm>
              <a:off x="6585334" y="3515081"/>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FA54988E-1663-4A89-93AB-5AA8A97BD3B5}"/>
                </a:ext>
              </a:extLst>
            </p:cNvPr>
            <p:cNvSpPr/>
            <p:nvPr/>
          </p:nvSpPr>
          <p:spPr>
            <a:xfrm>
              <a:off x="6587747" y="351622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96762854-B103-49F3-9871-B022A68CAB68}"/>
                </a:ext>
              </a:extLst>
            </p:cNvPr>
            <p:cNvSpPr/>
            <p:nvPr/>
          </p:nvSpPr>
          <p:spPr>
            <a:xfrm>
              <a:off x="6579494" y="3518890"/>
              <a:ext cx="10433" cy="109070"/>
            </a:xfrm>
            <a:custGeom>
              <a:avLst/>
              <a:gdLst>
                <a:gd name="connsiteX0" fmla="*/ 10157 w 10433"/>
                <a:gd name="connsiteY0" fmla="*/ 0 h 109070"/>
                <a:gd name="connsiteX1" fmla="*/ 10157 w 10433"/>
                <a:gd name="connsiteY1" fmla="*/ 2920 h 109070"/>
                <a:gd name="connsiteX2" fmla="*/ 0 w 10433"/>
                <a:gd name="connsiteY2" fmla="*/ 19680 h 109070"/>
                <a:gd name="connsiteX3" fmla="*/ 0 w 10433"/>
                <a:gd name="connsiteY3" fmla="*/ 104113 h 109070"/>
                <a:gd name="connsiteX4" fmla="*/ 5447 w 10433"/>
                <a:gd name="connsiteY4" fmla="*/ 109065 h 109070"/>
                <a:gd name="connsiteX5" fmla="*/ 5460 w 10433"/>
                <a:gd name="connsiteY5" fmla="*/ 109065 h 109070"/>
                <a:gd name="connsiteX6" fmla="*/ 10284 w 10433"/>
                <a:gd name="connsiteY6" fmla="*/ 106271 h 109070"/>
                <a:gd name="connsiteX7" fmla="*/ 10284 w 10433"/>
                <a:gd name="connsiteY7" fmla="*/ 105383 h 109070"/>
                <a:gd name="connsiteX8" fmla="*/ 10284 w 10433"/>
                <a:gd name="connsiteY8" fmla="*/ 104367 h 109070"/>
                <a:gd name="connsiteX9" fmla="*/ 10284 w 10433"/>
                <a:gd name="connsiteY9" fmla="*/ 635 h 109070"/>
                <a:gd name="connsiteX10" fmla="*/ 10284 w 10433"/>
                <a:gd name="connsiteY10" fmla="*/ 635 h 10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33" h="109070">
                  <a:moveTo>
                    <a:pt x="10157" y="0"/>
                  </a:moveTo>
                  <a:cubicBezTo>
                    <a:pt x="10525" y="940"/>
                    <a:pt x="10525" y="1981"/>
                    <a:pt x="10157" y="2920"/>
                  </a:cubicBezTo>
                  <a:lnTo>
                    <a:pt x="0" y="19680"/>
                  </a:lnTo>
                  <a:lnTo>
                    <a:pt x="0" y="104113"/>
                  </a:lnTo>
                  <a:cubicBezTo>
                    <a:pt x="139" y="106982"/>
                    <a:pt x="2577" y="109205"/>
                    <a:pt x="5447" y="109065"/>
                  </a:cubicBezTo>
                  <a:cubicBezTo>
                    <a:pt x="5447" y="109065"/>
                    <a:pt x="5460" y="109065"/>
                    <a:pt x="5460" y="109065"/>
                  </a:cubicBezTo>
                  <a:cubicBezTo>
                    <a:pt x="7453" y="109065"/>
                    <a:pt x="9294" y="107998"/>
                    <a:pt x="10284" y="106271"/>
                  </a:cubicBezTo>
                  <a:cubicBezTo>
                    <a:pt x="10284" y="106271"/>
                    <a:pt x="10284" y="106271"/>
                    <a:pt x="10284" y="105383"/>
                  </a:cubicBezTo>
                  <a:cubicBezTo>
                    <a:pt x="10335" y="105053"/>
                    <a:pt x="10335" y="104697"/>
                    <a:pt x="10284" y="104367"/>
                  </a:cubicBezTo>
                  <a:lnTo>
                    <a:pt x="10284" y="635"/>
                  </a:lnTo>
                  <a:cubicBezTo>
                    <a:pt x="10284" y="635"/>
                    <a:pt x="10284" y="635"/>
                    <a:pt x="10284" y="635"/>
                  </a:cubicBezTo>
                  <a:close/>
                </a:path>
              </a:pathLst>
            </a:custGeom>
            <a:solidFill>
              <a:srgbClr val="000000"/>
            </a:solidFill>
            <a:ln w="12690"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7D656834-BA1C-417A-9200-A295006E4626}"/>
                </a:ext>
              </a:extLst>
            </p:cNvPr>
            <p:cNvSpPr/>
            <p:nvPr/>
          </p:nvSpPr>
          <p:spPr>
            <a:xfrm>
              <a:off x="6588763" y="3517239"/>
              <a:ext cx="47" cy="635"/>
            </a:xfrm>
            <a:custGeom>
              <a:avLst/>
              <a:gdLst>
                <a:gd name="connsiteX0" fmla="*/ 0 w 47"/>
                <a:gd name="connsiteY0" fmla="*/ 635 h 635"/>
                <a:gd name="connsiteX1" fmla="*/ 0 w 47"/>
                <a:gd name="connsiteY1" fmla="*/ 0 h 635"/>
                <a:gd name="connsiteX2" fmla="*/ 0 w 47"/>
                <a:gd name="connsiteY2" fmla="*/ 0 h 635"/>
              </a:gdLst>
              <a:ahLst/>
              <a:cxnLst>
                <a:cxn ang="0">
                  <a:pos x="connsiteX0" y="connsiteY0"/>
                </a:cxn>
                <a:cxn ang="0">
                  <a:pos x="connsiteX1" y="connsiteY1"/>
                </a:cxn>
                <a:cxn ang="0">
                  <a:pos x="connsiteX2" y="connsiteY2"/>
                </a:cxn>
              </a:cxnLst>
              <a:rect l="l" t="t" r="r" b="b"/>
              <a:pathLst>
                <a:path w="47" h="635">
                  <a:moveTo>
                    <a:pt x="0" y="635"/>
                  </a:moveTo>
                  <a:cubicBezTo>
                    <a:pt x="64" y="432"/>
                    <a:pt x="64" y="203"/>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50DDDCEC-87D5-424A-9047-1C1A72065F18}"/>
                </a:ext>
              </a:extLst>
            </p:cNvPr>
            <p:cNvSpPr/>
            <p:nvPr/>
          </p:nvSpPr>
          <p:spPr>
            <a:xfrm>
              <a:off x="6583811" y="351457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57500A7E-75C2-4A02-81BF-B43F42FEAB9E}"/>
                </a:ext>
              </a:extLst>
            </p:cNvPr>
            <p:cNvSpPr/>
            <p:nvPr/>
          </p:nvSpPr>
          <p:spPr>
            <a:xfrm>
              <a:off x="6525279" y="3513431"/>
              <a:ext cx="61856" cy="95733"/>
            </a:xfrm>
            <a:custGeom>
              <a:avLst/>
              <a:gdLst>
                <a:gd name="connsiteX0" fmla="*/ 58786 w 61856"/>
                <a:gd name="connsiteY0" fmla="*/ 1143 h 95733"/>
                <a:gd name="connsiteX1" fmla="*/ 57770 w 61856"/>
                <a:gd name="connsiteY1" fmla="*/ 1143 h 95733"/>
                <a:gd name="connsiteX2" fmla="*/ 56628 w 61856"/>
                <a:gd name="connsiteY2" fmla="*/ 1143 h 95733"/>
                <a:gd name="connsiteX3" fmla="*/ 55866 w 61856"/>
                <a:gd name="connsiteY3" fmla="*/ 1143 h 95733"/>
                <a:gd name="connsiteX4" fmla="*/ 54977 w 61856"/>
                <a:gd name="connsiteY4" fmla="*/ 1143 h 95733"/>
                <a:gd name="connsiteX5" fmla="*/ 54216 w 61856"/>
                <a:gd name="connsiteY5" fmla="*/ 1904 h 95733"/>
                <a:gd name="connsiteX6" fmla="*/ 54216 w 61856"/>
                <a:gd name="connsiteY6" fmla="*/ 1904 h 95733"/>
                <a:gd name="connsiteX7" fmla="*/ 50787 w 61856"/>
                <a:gd name="connsiteY7" fmla="*/ 7745 h 95733"/>
                <a:gd name="connsiteX8" fmla="*/ 0 w 61856"/>
                <a:gd name="connsiteY8" fmla="*/ 91162 h 95733"/>
                <a:gd name="connsiteX9" fmla="*/ 3809 w 61856"/>
                <a:gd name="connsiteY9" fmla="*/ 91162 h 95733"/>
                <a:gd name="connsiteX10" fmla="*/ 3809 w 61856"/>
                <a:gd name="connsiteY10" fmla="*/ 91162 h 95733"/>
                <a:gd name="connsiteX11" fmla="*/ 4698 w 61856"/>
                <a:gd name="connsiteY11" fmla="*/ 91162 h 95733"/>
                <a:gd name="connsiteX12" fmla="*/ 5587 w 61856"/>
                <a:gd name="connsiteY12" fmla="*/ 91162 h 95733"/>
                <a:gd name="connsiteX13" fmla="*/ 6348 w 61856"/>
                <a:gd name="connsiteY13" fmla="*/ 91797 h 95733"/>
                <a:gd name="connsiteX14" fmla="*/ 6348 w 61856"/>
                <a:gd name="connsiteY14" fmla="*/ 92559 h 95733"/>
                <a:gd name="connsiteX15" fmla="*/ 6348 w 61856"/>
                <a:gd name="connsiteY15" fmla="*/ 93448 h 95733"/>
                <a:gd name="connsiteX16" fmla="*/ 6348 w 61856"/>
                <a:gd name="connsiteY16" fmla="*/ 94464 h 95733"/>
                <a:gd name="connsiteX17" fmla="*/ 6348 w 61856"/>
                <a:gd name="connsiteY17" fmla="*/ 94464 h 95733"/>
                <a:gd name="connsiteX18" fmla="*/ 6348 w 61856"/>
                <a:gd name="connsiteY18" fmla="*/ 95733 h 95733"/>
                <a:gd name="connsiteX19" fmla="*/ 51422 w 61856"/>
                <a:gd name="connsiteY19" fmla="*/ 21204 h 95733"/>
                <a:gd name="connsiteX20" fmla="*/ 61580 w 61856"/>
                <a:gd name="connsiteY20" fmla="*/ 4444 h 95733"/>
                <a:gd name="connsiteX21" fmla="*/ 61580 w 61856"/>
                <a:gd name="connsiteY21" fmla="*/ 1524 h 95733"/>
                <a:gd name="connsiteX22" fmla="*/ 61580 w 61856"/>
                <a:gd name="connsiteY22" fmla="*/ 1524 h 95733"/>
                <a:gd name="connsiteX23" fmla="*/ 61580 w 61856"/>
                <a:gd name="connsiteY23" fmla="*/ 1524 h 95733"/>
                <a:gd name="connsiteX24" fmla="*/ 61580 w 61856"/>
                <a:gd name="connsiteY24" fmla="*/ 635 h 95733"/>
                <a:gd name="connsiteX25" fmla="*/ 61580 w 61856"/>
                <a:gd name="connsiteY25" fmla="*/ 635 h 95733"/>
                <a:gd name="connsiteX26" fmla="*/ 61580 w 61856"/>
                <a:gd name="connsiteY26" fmla="*/ 635 h 95733"/>
                <a:gd name="connsiteX27" fmla="*/ 60818 w 61856"/>
                <a:gd name="connsiteY27" fmla="*/ 0 h 95733"/>
                <a:gd name="connsiteX28" fmla="*/ 60818 w 61856"/>
                <a:gd name="connsiteY28" fmla="*/ 0 h 95733"/>
                <a:gd name="connsiteX29" fmla="*/ 60818 w 61856"/>
                <a:gd name="connsiteY29" fmla="*/ 0 h 95733"/>
                <a:gd name="connsiteX30" fmla="*/ 59802 w 61856"/>
                <a:gd name="connsiteY30" fmla="*/ 0 h 9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1856" h="95733">
                  <a:moveTo>
                    <a:pt x="58786" y="1143"/>
                  </a:moveTo>
                  <a:lnTo>
                    <a:pt x="57770" y="1143"/>
                  </a:lnTo>
                  <a:lnTo>
                    <a:pt x="56628" y="1143"/>
                  </a:lnTo>
                  <a:lnTo>
                    <a:pt x="55866" y="1143"/>
                  </a:lnTo>
                  <a:lnTo>
                    <a:pt x="54977" y="1143"/>
                  </a:lnTo>
                  <a:cubicBezTo>
                    <a:pt x="54698" y="1358"/>
                    <a:pt x="54431" y="1625"/>
                    <a:pt x="54216" y="1904"/>
                  </a:cubicBezTo>
                  <a:lnTo>
                    <a:pt x="54216" y="1904"/>
                  </a:lnTo>
                  <a:lnTo>
                    <a:pt x="50787" y="7745"/>
                  </a:lnTo>
                  <a:lnTo>
                    <a:pt x="0" y="91162"/>
                  </a:lnTo>
                  <a:lnTo>
                    <a:pt x="3809" y="91162"/>
                  </a:lnTo>
                  <a:lnTo>
                    <a:pt x="3809" y="91162"/>
                  </a:lnTo>
                  <a:lnTo>
                    <a:pt x="4698" y="91162"/>
                  </a:lnTo>
                  <a:lnTo>
                    <a:pt x="5587" y="91162"/>
                  </a:lnTo>
                  <a:lnTo>
                    <a:pt x="6348" y="91797"/>
                  </a:lnTo>
                  <a:lnTo>
                    <a:pt x="6348" y="92559"/>
                  </a:lnTo>
                  <a:cubicBezTo>
                    <a:pt x="6348" y="92559"/>
                    <a:pt x="6348" y="93194"/>
                    <a:pt x="6348" y="93448"/>
                  </a:cubicBezTo>
                  <a:cubicBezTo>
                    <a:pt x="6400" y="93778"/>
                    <a:pt x="6400" y="94133"/>
                    <a:pt x="6348" y="94464"/>
                  </a:cubicBezTo>
                  <a:cubicBezTo>
                    <a:pt x="6348" y="94464"/>
                    <a:pt x="6348" y="94464"/>
                    <a:pt x="6348" y="94464"/>
                  </a:cubicBezTo>
                  <a:lnTo>
                    <a:pt x="6348" y="95733"/>
                  </a:lnTo>
                  <a:lnTo>
                    <a:pt x="51422" y="21204"/>
                  </a:lnTo>
                  <a:lnTo>
                    <a:pt x="61580" y="4444"/>
                  </a:lnTo>
                  <a:cubicBezTo>
                    <a:pt x="61948" y="3504"/>
                    <a:pt x="61948" y="2463"/>
                    <a:pt x="61580" y="1524"/>
                  </a:cubicBezTo>
                  <a:lnTo>
                    <a:pt x="61580" y="1524"/>
                  </a:lnTo>
                  <a:cubicBezTo>
                    <a:pt x="61580" y="1524"/>
                    <a:pt x="61580" y="1524"/>
                    <a:pt x="61580" y="1524"/>
                  </a:cubicBezTo>
                  <a:lnTo>
                    <a:pt x="61580" y="635"/>
                  </a:lnTo>
                  <a:lnTo>
                    <a:pt x="61580" y="635"/>
                  </a:lnTo>
                  <a:lnTo>
                    <a:pt x="61580" y="635"/>
                  </a:lnTo>
                  <a:lnTo>
                    <a:pt x="60818" y="0"/>
                  </a:lnTo>
                  <a:lnTo>
                    <a:pt x="60818" y="0"/>
                  </a:lnTo>
                  <a:lnTo>
                    <a:pt x="60818" y="0"/>
                  </a:lnTo>
                  <a:lnTo>
                    <a:pt x="59802" y="0"/>
                  </a:lnTo>
                  <a:close/>
                </a:path>
              </a:pathLst>
            </a:custGeom>
            <a:solidFill>
              <a:srgbClr val="000000"/>
            </a:solidFill>
            <a:ln w="12690" cap="flat">
              <a:no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5AD139F3-7F07-4850-8296-D7A393252CFF}"/>
                </a:ext>
              </a:extLst>
            </p:cNvPr>
            <p:cNvSpPr/>
            <p:nvPr/>
          </p:nvSpPr>
          <p:spPr>
            <a:xfrm>
              <a:off x="6522486" y="3612338"/>
              <a:ext cx="10712" cy="108558"/>
            </a:xfrm>
            <a:custGeom>
              <a:avLst/>
              <a:gdLst>
                <a:gd name="connsiteX0" fmla="*/ 10665 w 10712"/>
                <a:gd name="connsiteY0" fmla="*/ 103097 h 108558"/>
                <a:gd name="connsiteX1" fmla="*/ 10665 w 10712"/>
                <a:gd name="connsiteY1" fmla="*/ 103097 h 108558"/>
                <a:gd name="connsiteX2" fmla="*/ 10665 w 10712"/>
                <a:gd name="connsiteY2" fmla="*/ 0 h 108558"/>
                <a:gd name="connsiteX3" fmla="*/ 10665 w 10712"/>
                <a:gd name="connsiteY3" fmla="*/ 0 h 108558"/>
                <a:gd name="connsiteX4" fmla="*/ 10665 w 10712"/>
                <a:gd name="connsiteY4" fmla="*/ 1396 h 108558"/>
                <a:gd name="connsiteX5" fmla="*/ 5332 w 10712"/>
                <a:gd name="connsiteY5" fmla="*/ 5332 h 108558"/>
                <a:gd name="connsiteX6" fmla="*/ 4444 w 10712"/>
                <a:gd name="connsiteY6" fmla="*/ 5332 h 108558"/>
                <a:gd name="connsiteX7" fmla="*/ 0 w 10712"/>
                <a:gd name="connsiteY7" fmla="*/ 4571 h 108558"/>
                <a:gd name="connsiteX8" fmla="*/ 0 w 10712"/>
                <a:gd name="connsiteY8" fmla="*/ 103605 h 108558"/>
                <a:gd name="connsiteX9" fmla="*/ 5193 w 10712"/>
                <a:gd name="connsiteY9" fmla="*/ 108557 h 108558"/>
                <a:gd name="connsiteX10" fmla="*/ 5332 w 10712"/>
                <a:gd name="connsiteY10" fmla="*/ 108557 h 108558"/>
                <a:gd name="connsiteX11" fmla="*/ 5332 w 10712"/>
                <a:gd name="connsiteY11" fmla="*/ 108557 h 108558"/>
                <a:gd name="connsiteX12" fmla="*/ 7745 w 10712"/>
                <a:gd name="connsiteY12" fmla="*/ 107922 h 108558"/>
                <a:gd name="connsiteX13" fmla="*/ 7745 w 10712"/>
                <a:gd name="connsiteY13" fmla="*/ 107922 h 108558"/>
                <a:gd name="connsiteX14" fmla="*/ 7745 w 10712"/>
                <a:gd name="connsiteY14" fmla="*/ 107922 h 108558"/>
                <a:gd name="connsiteX15" fmla="*/ 7745 w 10712"/>
                <a:gd name="connsiteY15" fmla="*/ 107922 h 108558"/>
                <a:gd name="connsiteX16" fmla="*/ 8634 w 10712"/>
                <a:gd name="connsiteY16" fmla="*/ 106906 h 108558"/>
                <a:gd name="connsiteX17" fmla="*/ 9396 w 10712"/>
                <a:gd name="connsiteY17" fmla="*/ 105382 h 108558"/>
                <a:gd name="connsiteX18" fmla="*/ 10665 w 10712"/>
                <a:gd name="connsiteY18" fmla="*/ 103097 h 10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12" h="108558">
                  <a:moveTo>
                    <a:pt x="10665" y="103097"/>
                  </a:moveTo>
                  <a:cubicBezTo>
                    <a:pt x="10665" y="103097"/>
                    <a:pt x="10665" y="103097"/>
                    <a:pt x="10665" y="103097"/>
                  </a:cubicBezTo>
                  <a:lnTo>
                    <a:pt x="10665" y="0"/>
                  </a:lnTo>
                  <a:cubicBezTo>
                    <a:pt x="10665" y="0"/>
                    <a:pt x="10665" y="0"/>
                    <a:pt x="10665" y="0"/>
                  </a:cubicBezTo>
                  <a:cubicBezTo>
                    <a:pt x="10728" y="470"/>
                    <a:pt x="10728" y="940"/>
                    <a:pt x="10665" y="1396"/>
                  </a:cubicBezTo>
                  <a:cubicBezTo>
                    <a:pt x="10018" y="3784"/>
                    <a:pt x="7808" y="5422"/>
                    <a:pt x="5332" y="5332"/>
                  </a:cubicBezTo>
                  <a:lnTo>
                    <a:pt x="4444" y="5332"/>
                  </a:lnTo>
                  <a:lnTo>
                    <a:pt x="0" y="4571"/>
                  </a:lnTo>
                  <a:lnTo>
                    <a:pt x="0" y="103605"/>
                  </a:lnTo>
                  <a:cubicBezTo>
                    <a:pt x="64" y="106411"/>
                    <a:pt x="2399" y="108633"/>
                    <a:pt x="5193" y="108557"/>
                  </a:cubicBezTo>
                  <a:cubicBezTo>
                    <a:pt x="5243" y="108557"/>
                    <a:pt x="5281" y="108557"/>
                    <a:pt x="5332" y="108557"/>
                  </a:cubicBezTo>
                  <a:lnTo>
                    <a:pt x="5332" y="108557"/>
                  </a:lnTo>
                  <a:cubicBezTo>
                    <a:pt x="6170" y="108544"/>
                    <a:pt x="7009" y="108328"/>
                    <a:pt x="7745" y="107922"/>
                  </a:cubicBezTo>
                  <a:lnTo>
                    <a:pt x="7745" y="107922"/>
                  </a:lnTo>
                  <a:lnTo>
                    <a:pt x="7745" y="107922"/>
                  </a:lnTo>
                  <a:lnTo>
                    <a:pt x="7745" y="107922"/>
                  </a:lnTo>
                  <a:cubicBezTo>
                    <a:pt x="8101" y="107643"/>
                    <a:pt x="8405" y="107300"/>
                    <a:pt x="8634" y="106906"/>
                  </a:cubicBezTo>
                  <a:cubicBezTo>
                    <a:pt x="9040" y="106487"/>
                    <a:pt x="9294" y="105954"/>
                    <a:pt x="9396" y="105382"/>
                  </a:cubicBezTo>
                  <a:cubicBezTo>
                    <a:pt x="9396" y="105382"/>
                    <a:pt x="10665" y="103351"/>
                    <a:pt x="10665" y="103097"/>
                  </a:cubicBezTo>
                  <a:close/>
                </a:path>
              </a:pathLst>
            </a:custGeom>
            <a:solidFill>
              <a:srgbClr val="000000"/>
            </a:solidFill>
            <a:ln w="12690" cap="flat">
              <a:no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9026E143-7586-44D1-895D-49FA2505EDAF}"/>
                </a:ext>
              </a:extLst>
            </p:cNvPr>
            <p:cNvSpPr/>
            <p:nvPr/>
          </p:nvSpPr>
          <p:spPr>
            <a:xfrm>
              <a:off x="5714205" y="3472201"/>
              <a:ext cx="818231" cy="143695"/>
            </a:xfrm>
            <a:custGeom>
              <a:avLst/>
              <a:gdLst>
                <a:gd name="connsiteX0" fmla="*/ 0 w 818231"/>
                <a:gd name="connsiteY0" fmla="*/ 5044 h 143695"/>
                <a:gd name="connsiteX1" fmla="*/ 762 w 818231"/>
                <a:gd name="connsiteY1" fmla="*/ 6568 h 143695"/>
                <a:gd name="connsiteX2" fmla="*/ 762 w 818231"/>
                <a:gd name="connsiteY2" fmla="*/ 6568 h 143695"/>
                <a:gd name="connsiteX3" fmla="*/ 762 w 818231"/>
                <a:gd name="connsiteY3" fmla="*/ 6568 h 143695"/>
                <a:gd name="connsiteX4" fmla="*/ 1778 w 818231"/>
                <a:gd name="connsiteY4" fmla="*/ 7457 h 143695"/>
                <a:gd name="connsiteX5" fmla="*/ 1778 w 818231"/>
                <a:gd name="connsiteY5" fmla="*/ 7457 h 143695"/>
                <a:gd name="connsiteX6" fmla="*/ 3555 w 818231"/>
                <a:gd name="connsiteY6" fmla="*/ 8091 h 143695"/>
                <a:gd name="connsiteX7" fmla="*/ 9904 w 818231"/>
                <a:gd name="connsiteY7" fmla="*/ 9107 h 143695"/>
                <a:gd name="connsiteX8" fmla="*/ 807519 w 818231"/>
                <a:gd name="connsiteY8" fmla="*/ 142931 h 143695"/>
                <a:gd name="connsiteX9" fmla="*/ 811962 w 818231"/>
                <a:gd name="connsiteY9" fmla="*/ 143692 h 143695"/>
                <a:gd name="connsiteX10" fmla="*/ 812851 w 818231"/>
                <a:gd name="connsiteY10" fmla="*/ 143692 h 143695"/>
                <a:gd name="connsiteX11" fmla="*/ 818183 w 818231"/>
                <a:gd name="connsiteY11" fmla="*/ 139756 h 143695"/>
                <a:gd name="connsiteX12" fmla="*/ 818183 w 818231"/>
                <a:gd name="connsiteY12" fmla="*/ 138360 h 143695"/>
                <a:gd name="connsiteX13" fmla="*/ 818183 w 818231"/>
                <a:gd name="connsiteY13" fmla="*/ 137344 h 143695"/>
                <a:gd name="connsiteX14" fmla="*/ 818183 w 818231"/>
                <a:gd name="connsiteY14" fmla="*/ 136455 h 143695"/>
                <a:gd name="connsiteX15" fmla="*/ 818183 w 818231"/>
                <a:gd name="connsiteY15" fmla="*/ 135693 h 143695"/>
                <a:gd name="connsiteX16" fmla="*/ 817422 w 818231"/>
                <a:gd name="connsiteY16" fmla="*/ 135058 h 143695"/>
                <a:gd name="connsiteX17" fmla="*/ 816533 w 818231"/>
                <a:gd name="connsiteY17" fmla="*/ 135058 h 143695"/>
                <a:gd name="connsiteX18" fmla="*/ 815644 w 818231"/>
                <a:gd name="connsiteY18" fmla="*/ 135058 h 143695"/>
                <a:gd name="connsiteX19" fmla="*/ 815644 w 818231"/>
                <a:gd name="connsiteY19" fmla="*/ 135058 h 143695"/>
                <a:gd name="connsiteX20" fmla="*/ 811835 w 818231"/>
                <a:gd name="connsiteY20" fmla="*/ 135058 h 143695"/>
                <a:gd name="connsiteX21" fmla="*/ 15109 w 818231"/>
                <a:gd name="connsiteY21" fmla="*/ 1362 h 143695"/>
                <a:gd name="connsiteX22" fmla="*/ 7237 w 818231"/>
                <a:gd name="connsiteY22" fmla="*/ 93 h 143695"/>
                <a:gd name="connsiteX23" fmla="*/ 1397 w 818231"/>
                <a:gd name="connsiteY23" fmla="*/ 3140 h 143695"/>
                <a:gd name="connsiteX24" fmla="*/ 1397 w 818231"/>
                <a:gd name="connsiteY24" fmla="*/ 3140 h 143695"/>
                <a:gd name="connsiteX25" fmla="*/ 1397 w 818231"/>
                <a:gd name="connsiteY25" fmla="*/ 3140 h 143695"/>
                <a:gd name="connsiteX26" fmla="*/ 1397 w 818231"/>
                <a:gd name="connsiteY26" fmla="*/ 4790 h 14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8231" h="143695">
                  <a:moveTo>
                    <a:pt x="0" y="5044"/>
                  </a:moveTo>
                  <a:cubicBezTo>
                    <a:pt x="153" y="5603"/>
                    <a:pt x="406" y="6111"/>
                    <a:pt x="762" y="6568"/>
                  </a:cubicBezTo>
                  <a:lnTo>
                    <a:pt x="762" y="6568"/>
                  </a:lnTo>
                  <a:lnTo>
                    <a:pt x="762" y="6568"/>
                  </a:lnTo>
                  <a:cubicBezTo>
                    <a:pt x="1003" y="6949"/>
                    <a:pt x="1359" y="7266"/>
                    <a:pt x="1778" y="7457"/>
                  </a:cubicBezTo>
                  <a:lnTo>
                    <a:pt x="1778" y="7457"/>
                  </a:lnTo>
                  <a:lnTo>
                    <a:pt x="3555" y="8091"/>
                  </a:lnTo>
                  <a:lnTo>
                    <a:pt x="9904" y="9107"/>
                  </a:lnTo>
                  <a:lnTo>
                    <a:pt x="807519" y="142931"/>
                  </a:lnTo>
                  <a:lnTo>
                    <a:pt x="811962" y="143692"/>
                  </a:lnTo>
                  <a:lnTo>
                    <a:pt x="812851" y="143692"/>
                  </a:lnTo>
                  <a:cubicBezTo>
                    <a:pt x="815327" y="143781"/>
                    <a:pt x="817536" y="142143"/>
                    <a:pt x="818183" y="139756"/>
                  </a:cubicBezTo>
                  <a:cubicBezTo>
                    <a:pt x="818247" y="139299"/>
                    <a:pt x="818247" y="138817"/>
                    <a:pt x="818183" y="138360"/>
                  </a:cubicBezTo>
                  <a:cubicBezTo>
                    <a:pt x="818235" y="138029"/>
                    <a:pt x="818235" y="137674"/>
                    <a:pt x="818183" y="137344"/>
                  </a:cubicBezTo>
                  <a:cubicBezTo>
                    <a:pt x="818183" y="137344"/>
                    <a:pt x="818183" y="137344"/>
                    <a:pt x="818183" y="136455"/>
                  </a:cubicBezTo>
                  <a:lnTo>
                    <a:pt x="818183" y="135693"/>
                  </a:lnTo>
                  <a:lnTo>
                    <a:pt x="817422" y="135058"/>
                  </a:lnTo>
                  <a:lnTo>
                    <a:pt x="816533" y="135058"/>
                  </a:lnTo>
                  <a:lnTo>
                    <a:pt x="815644" y="135058"/>
                  </a:lnTo>
                  <a:lnTo>
                    <a:pt x="815644" y="135058"/>
                  </a:lnTo>
                  <a:lnTo>
                    <a:pt x="811835" y="135058"/>
                  </a:lnTo>
                  <a:lnTo>
                    <a:pt x="15109" y="1362"/>
                  </a:lnTo>
                  <a:lnTo>
                    <a:pt x="7237" y="93"/>
                  </a:lnTo>
                  <a:cubicBezTo>
                    <a:pt x="4825" y="-365"/>
                    <a:pt x="2412" y="905"/>
                    <a:pt x="1397" y="3140"/>
                  </a:cubicBezTo>
                  <a:lnTo>
                    <a:pt x="1397" y="3140"/>
                  </a:lnTo>
                  <a:lnTo>
                    <a:pt x="1397" y="3140"/>
                  </a:lnTo>
                  <a:cubicBezTo>
                    <a:pt x="1270" y="3686"/>
                    <a:pt x="1270" y="4244"/>
                    <a:pt x="1397" y="4790"/>
                  </a:cubicBezTo>
                  <a:close/>
                </a:path>
              </a:pathLst>
            </a:custGeom>
            <a:solidFill>
              <a:srgbClr val="000000"/>
            </a:solidFill>
            <a:ln w="12690" cap="flat">
              <a:no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55C13327-3B0B-4D90-BAD4-BADA134FD9FD}"/>
                </a:ext>
              </a:extLst>
            </p:cNvPr>
            <p:cNvSpPr/>
            <p:nvPr/>
          </p:nvSpPr>
          <p:spPr>
            <a:xfrm>
              <a:off x="4078220" y="3046065"/>
              <a:ext cx="175216" cy="148170"/>
            </a:xfrm>
            <a:custGeom>
              <a:avLst/>
              <a:gdLst>
                <a:gd name="connsiteX0" fmla="*/ 166709 w 175216"/>
                <a:gd name="connsiteY0" fmla="*/ 2158 h 148170"/>
                <a:gd name="connsiteX1" fmla="*/ 166709 w 175216"/>
                <a:gd name="connsiteY1" fmla="*/ 0 h 148170"/>
                <a:gd name="connsiteX2" fmla="*/ 1650 w 175216"/>
                <a:gd name="connsiteY2" fmla="*/ 134204 h 148170"/>
                <a:gd name="connsiteX3" fmla="*/ 1650 w 175216"/>
                <a:gd name="connsiteY3" fmla="*/ 145250 h 148170"/>
                <a:gd name="connsiteX4" fmla="*/ 1650 w 175216"/>
                <a:gd name="connsiteY4" fmla="*/ 145885 h 148170"/>
                <a:gd name="connsiteX5" fmla="*/ 1650 w 175216"/>
                <a:gd name="connsiteY5" fmla="*/ 145885 h 148170"/>
                <a:gd name="connsiteX6" fmla="*/ 1650 w 175216"/>
                <a:gd name="connsiteY6" fmla="*/ 145885 h 148170"/>
                <a:gd name="connsiteX7" fmla="*/ 0 w 175216"/>
                <a:gd name="connsiteY7" fmla="*/ 148171 h 148170"/>
                <a:gd name="connsiteX8" fmla="*/ 0 w 175216"/>
                <a:gd name="connsiteY8" fmla="*/ 148171 h 148170"/>
                <a:gd name="connsiteX9" fmla="*/ 175216 w 175216"/>
                <a:gd name="connsiteY9" fmla="*/ 5840 h 148170"/>
                <a:gd name="connsiteX10" fmla="*/ 175216 w 175216"/>
                <a:gd name="connsiteY10" fmla="*/ 5840 h 148170"/>
                <a:gd name="connsiteX11" fmla="*/ 171534 w 175216"/>
                <a:gd name="connsiteY11" fmla="*/ 7237 h 148170"/>
                <a:gd name="connsiteX12" fmla="*/ 166709 w 175216"/>
                <a:gd name="connsiteY12" fmla="*/ 2158 h 14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216" h="148170">
                  <a:moveTo>
                    <a:pt x="166709" y="2158"/>
                  </a:moveTo>
                  <a:lnTo>
                    <a:pt x="166709" y="0"/>
                  </a:lnTo>
                  <a:lnTo>
                    <a:pt x="1650" y="134204"/>
                  </a:lnTo>
                  <a:lnTo>
                    <a:pt x="1650" y="145250"/>
                  </a:lnTo>
                  <a:cubicBezTo>
                    <a:pt x="1650" y="145250"/>
                    <a:pt x="1650" y="145250"/>
                    <a:pt x="1650" y="145885"/>
                  </a:cubicBezTo>
                  <a:lnTo>
                    <a:pt x="1650" y="145885"/>
                  </a:lnTo>
                  <a:lnTo>
                    <a:pt x="1650" y="145885"/>
                  </a:lnTo>
                  <a:cubicBezTo>
                    <a:pt x="1358" y="146812"/>
                    <a:pt x="787" y="147612"/>
                    <a:pt x="0" y="148171"/>
                  </a:cubicBezTo>
                  <a:lnTo>
                    <a:pt x="0" y="148171"/>
                  </a:lnTo>
                  <a:lnTo>
                    <a:pt x="175216" y="5840"/>
                  </a:lnTo>
                  <a:lnTo>
                    <a:pt x="175216" y="5840"/>
                  </a:lnTo>
                  <a:cubicBezTo>
                    <a:pt x="174175" y="6691"/>
                    <a:pt x="172880" y="7186"/>
                    <a:pt x="171534" y="7237"/>
                  </a:cubicBezTo>
                  <a:cubicBezTo>
                    <a:pt x="168855" y="7047"/>
                    <a:pt x="166773" y="4837"/>
                    <a:pt x="166709" y="2158"/>
                  </a:cubicBezTo>
                  <a:close/>
                </a:path>
              </a:pathLst>
            </a:custGeom>
            <a:solidFill>
              <a:srgbClr val="000000"/>
            </a:solidFill>
            <a:ln w="12690" cap="flat">
              <a:no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6494F0A3-1A67-4EEF-936B-54283EA0D6D6}"/>
                </a:ext>
              </a:extLst>
            </p:cNvPr>
            <p:cNvSpPr/>
            <p:nvPr/>
          </p:nvSpPr>
          <p:spPr>
            <a:xfrm>
              <a:off x="4079616" y="3192585"/>
              <a:ext cx="12696" cy="761"/>
            </a:xfrm>
            <a:custGeom>
              <a:avLst/>
              <a:gdLst>
                <a:gd name="connsiteX0" fmla="*/ 0 w 12696"/>
                <a:gd name="connsiteY0" fmla="*/ 0 h 761"/>
                <a:gd name="connsiteX1" fmla="*/ 0 w 12696"/>
                <a:gd name="connsiteY1" fmla="*/ 0 h 761"/>
                <a:gd name="connsiteX2" fmla="*/ 0 w 12696"/>
                <a:gd name="connsiteY2" fmla="*/ 762 h 761"/>
                <a:gd name="connsiteX3" fmla="*/ 0 w 12696"/>
                <a:gd name="connsiteY3" fmla="*/ 0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lnTo>
                    <a:pt x="0" y="0"/>
                  </a:lnTo>
                  <a:cubicBezTo>
                    <a:pt x="0" y="0"/>
                    <a:pt x="0" y="0"/>
                    <a:pt x="0" y="762"/>
                  </a:cubicBezTo>
                  <a:lnTo>
                    <a:pt x="0" y="0"/>
                  </a:lnTo>
                  <a:close/>
                </a:path>
              </a:pathLst>
            </a:custGeom>
            <a:solidFill>
              <a:srgbClr val="000000"/>
            </a:solidFill>
            <a:ln w="12690" cap="flat">
              <a:no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A87597E6-1548-458B-A935-415FF880178D}"/>
                </a:ext>
              </a:extLst>
            </p:cNvPr>
            <p:cNvSpPr/>
            <p:nvPr/>
          </p:nvSpPr>
          <p:spPr>
            <a:xfrm>
              <a:off x="0" y="2163009"/>
              <a:ext cx="4074411" cy="1033011"/>
            </a:xfrm>
            <a:custGeom>
              <a:avLst/>
              <a:gdLst>
                <a:gd name="connsiteX0" fmla="*/ 4068952 w 4074411"/>
                <a:gd name="connsiteY0" fmla="*/ 1028306 h 1033011"/>
                <a:gd name="connsiteX1" fmla="*/ 4068952 w 4074411"/>
                <a:gd name="connsiteY1" fmla="*/ 1021831 h 1033011"/>
                <a:gd name="connsiteX2" fmla="*/ 0 w 4074411"/>
                <a:gd name="connsiteY2" fmla="*/ 0 h 1033011"/>
                <a:gd name="connsiteX3" fmla="*/ 0 w 4074411"/>
                <a:gd name="connsiteY3" fmla="*/ 10157 h 1033011"/>
                <a:gd name="connsiteX4" fmla="*/ 4072888 w 4074411"/>
                <a:gd name="connsiteY4" fmla="*/ 1033004 h 1033011"/>
                <a:gd name="connsiteX5" fmla="*/ 4074411 w 4074411"/>
                <a:gd name="connsiteY5" fmla="*/ 1033004 h 1033011"/>
                <a:gd name="connsiteX6" fmla="*/ 4068952 w 4074411"/>
                <a:gd name="connsiteY6" fmla="*/ 1028306 h 103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4411" h="1033011">
                  <a:moveTo>
                    <a:pt x="4068952" y="1028306"/>
                  </a:moveTo>
                  <a:lnTo>
                    <a:pt x="4068952" y="1021831"/>
                  </a:lnTo>
                  <a:lnTo>
                    <a:pt x="0" y="0"/>
                  </a:lnTo>
                  <a:lnTo>
                    <a:pt x="0" y="10157"/>
                  </a:lnTo>
                  <a:lnTo>
                    <a:pt x="4072888" y="1033004"/>
                  </a:lnTo>
                  <a:lnTo>
                    <a:pt x="4074411" y="1033004"/>
                  </a:lnTo>
                  <a:cubicBezTo>
                    <a:pt x="4071631" y="1033156"/>
                    <a:pt x="4069218" y="1031087"/>
                    <a:pt x="4068952" y="1028306"/>
                  </a:cubicBezTo>
                  <a:close/>
                </a:path>
              </a:pathLst>
            </a:custGeom>
            <a:solidFill>
              <a:srgbClr val="000000"/>
            </a:solidFill>
            <a:ln w="12690"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6DD2092A-6421-4834-83B2-8ADAA61CE85A}"/>
                </a:ext>
              </a:extLst>
            </p:cNvPr>
            <p:cNvSpPr/>
            <p:nvPr/>
          </p:nvSpPr>
          <p:spPr>
            <a:xfrm>
              <a:off x="4069078" y="3089742"/>
              <a:ext cx="10538" cy="106531"/>
            </a:xfrm>
            <a:custGeom>
              <a:avLst/>
              <a:gdLst>
                <a:gd name="connsiteX0" fmla="*/ 10538 w 10538"/>
                <a:gd name="connsiteY0" fmla="*/ 102208 h 106531"/>
                <a:gd name="connsiteX1" fmla="*/ 10538 w 10538"/>
                <a:gd name="connsiteY1" fmla="*/ 101574 h 106531"/>
                <a:gd name="connsiteX2" fmla="*/ 10538 w 10538"/>
                <a:gd name="connsiteY2" fmla="*/ 0 h 106531"/>
                <a:gd name="connsiteX3" fmla="*/ 8761 w 10538"/>
                <a:gd name="connsiteY3" fmla="*/ 1524 h 106531"/>
                <a:gd name="connsiteX4" fmla="*/ 8761 w 10538"/>
                <a:gd name="connsiteY4" fmla="*/ 1524 h 106531"/>
                <a:gd name="connsiteX5" fmla="*/ 5460 w 10538"/>
                <a:gd name="connsiteY5" fmla="*/ 2666 h 106531"/>
                <a:gd name="connsiteX6" fmla="*/ 3936 w 10538"/>
                <a:gd name="connsiteY6" fmla="*/ 2666 h 106531"/>
                <a:gd name="connsiteX7" fmla="*/ 0 w 10538"/>
                <a:gd name="connsiteY7" fmla="*/ 1778 h 106531"/>
                <a:gd name="connsiteX8" fmla="*/ 0 w 10538"/>
                <a:gd name="connsiteY8" fmla="*/ 101574 h 106531"/>
                <a:gd name="connsiteX9" fmla="*/ 5447 w 10538"/>
                <a:gd name="connsiteY9" fmla="*/ 106525 h 106531"/>
                <a:gd name="connsiteX10" fmla="*/ 5460 w 10538"/>
                <a:gd name="connsiteY10" fmla="*/ 106525 h 106531"/>
                <a:gd name="connsiteX11" fmla="*/ 8380 w 10538"/>
                <a:gd name="connsiteY11" fmla="*/ 105636 h 106531"/>
                <a:gd name="connsiteX12" fmla="*/ 8380 w 10538"/>
                <a:gd name="connsiteY12" fmla="*/ 105636 h 106531"/>
                <a:gd name="connsiteX13" fmla="*/ 8380 w 10538"/>
                <a:gd name="connsiteY13" fmla="*/ 105636 h 106531"/>
                <a:gd name="connsiteX14" fmla="*/ 10030 w 10538"/>
                <a:gd name="connsiteY14" fmla="*/ 103351 h 106531"/>
                <a:gd name="connsiteX15" fmla="*/ 10538 w 10538"/>
                <a:gd name="connsiteY15" fmla="*/ 102208 h 10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531">
                  <a:moveTo>
                    <a:pt x="10538" y="102208"/>
                  </a:moveTo>
                  <a:cubicBezTo>
                    <a:pt x="10538" y="102208"/>
                    <a:pt x="10538" y="102208"/>
                    <a:pt x="10538" y="101574"/>
                  </a:cubicBezTo>
                  <a:lnTo>
                    <a:pt x="10538" y="0"/>
                  </a:lnTo>
                  <a:lnTo>
                    <a:pt x="8761" y="1524"/>
                  </a:lnTo>
                  <a:lnTo>
                    <a:pt x="8761" y="1524"/>
                  </a:lnTo>
                  <a:cubicBezTo>
                    <a:pt x="7808" y="2235"/>
                    <a:pt x="6653" y="2641"/>
                    <a:pt x="5460" y="2666"/>
                  </a:cubicBezTo>
                  <a:lnTo>
                    <a:pt x="3936" y="2666"/>
                  </a:lnTo>
                  <a:lnTo>
                    <a:pt x="0" y="1778"/>
                  </a:lnTo>
                  <a:lnTo>
                    <a:pt x="0" y="101574"/>
                  </a:lnTo>
                  <a:cubicBezTo>
                    <a:pt x="139" y="104443"/>
                    <a:pt x="2577" y="106665"/>
                    <a:pt x="5447" y="106525"/>
                  </a:cubicBezTo>
                  <a:cubicBezTo>
                    <a:pt x="5447" y="106525"/>
                    <a:pt x="5460" y="106525"/>
                    <a:pt x="5460" y="106525"/>
                  </a:cubicBezTo>
                  <a:cubicBezTo>
                    <a:pt x="6488" y="106487"/>
                    <a:pt x="7504" y="106170"/>
                    <a:pt x="8380" y="105636"/>
                  </a:cubicBezTo>
                  <a:lnTo>
                    <a:pt x="8380" y="105636"/>
                  </a:lnTo>
                  <a:lnTo>
                    <a:pt x="8380" y="105636"/>
                  </a:lnTo>
                  <a:cubicBezTo>
                    <a:pt x="9167" y="105078"/>
                    <a:pt x="9738" y="104278"/>
                    <a:pt x="10030" y="103351"/>
                  </a:cubicBezTo>
                  <a:cubicBezTo>
                    <a:pt x="10030" y="103351"/>
                    <a:pt x="10538" y="102462"/>
                    <a:pt x="10538" y="102208"/>
                  </a:cubicBezTo>
                  <a:close/>
                </a:path>
              </a:pathLst>
            </a:custGeom>
            <a:solidFill>
              <a:srgbClr val="000000"/>
            </a:solidFill>
            <a:ln w="12690"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06F54617-2992-43C1-AAD9-D647E6D70C2A}"/>
                </a:ext>
              </a:extLst>
            </p:cNvPr>
            <p:cNvSpPr/>
            <p:nvPr/>
          </p:nvSpPr>
          <p:spPr>
            <a:xfrm>
              <a:off x="4074411" y="3091519"/>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36" y="698"/>
                    <a:pt x="1193" y="1092"/>
                    <a:pt x="0" y="1143"/>
                  </a:cubicBezTo>
                  <a:cubicBezTo>
                    <a:pt x="1193" y="1117"/>
                    <a:pt x="2349" y="711"/>
                    <a:pt x="3301" y="0"/>
                  </a:cubicBezTo>
                  <a:close/>
                </a:path>
              </a:pathLst>
            </a:custGeom>
            <a:solidFill>
              <a:srgbClr val="000000"/>
            </a:solidFill>
            <a:ln w="12690"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BA5923F2-9693-4E79-9A58-0EEFA9D10225}"/>
                </a:ext>
              </a:extLst>
            </p:cNvPr>
            <p:cNvSpPr/>
            <p:nvPr/>
          </p:nvSpPr>
          <p:spPr>
            <a:xfrm>
              <a:off x="0" y="2059404"/>
              <a:ext cx="4074411" cy="1033003"/>
            </a:xfrm>
            <a:custGeom>
              <a:avLst/>
              <a:gdLst>
                <a:gd name="connsiteX0" fmla="*/ 4070729 w 4074411"/>
                <a:gd name="connsiteY0" fmla="*/ 1024624 h 1033003"/>
                <a:gd name="connsiteX1" fmla="*/ 4073015 w 4074411"/>
                <a:gd name="connsiteY1" fmla="*/ 1022847 h 1033003"/>
                <a:gd name="connsiteX2" fmla="*/ 0 w 4074411"/>
                <a:gd name="connsiteY2" fmla="*/ 0 h 1033003"/>
                <a:gd name="connsiteX3" fmla="*/ 0 w 4074411"/>
                <a:gd name="connsiteY3" fmla="*/ 10157 h 1033003"/>
                <a:gd name="connsiteX4" fmla="*/ 4068952 w 4074411"/>
                <a:gd name="connsiteY4" fmla="*/ 1032115 h 1033003"/>
                <a:gd name="connsiteX5" fmla="*/ 4072888 w 4074411"/>
                <a:gd name="connsiteY5" fmla="*/ 1033004 h 1033003"/>
                <a:gd name="connsiteX6" fmla="*/ 4074411 w 4074411"/>
                <a:gd name="connsiteY6" fmla="*/ 1033004 h 1033003"/>
                <a:gd name="connsiteX7" fmla="*/ 4070348 w 4074411"/>
                <a:gd name="connsiteY7" fmla="*/ 1031353 h 1033003"/>
                <a:gd name="connsiteX8" fmla="*/ 4070627 w 4074411"/>
                <a:gd name="connsiteY8" fmla="*/ 1024713 h 1033003"/>
                <a:gd name="connsiteX9" fmla="*/ 4070729 w 4074411"/>
                <a:gd name="connsiteY9" fmla="*/ 1024624 h 103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4411" h="1033003">
                  <a:moveTo>
                    <a:pt x="4070729" y="1024624"/>
                  </a:moveTo>
                  <a:lnTo>
                    <a:pt x="4073015" y="1022847"/>
                  </a:lnTo>
                  <a:lnTo>
                    <a:pt x="0" y="0"/>
                  </a:lnTo>
                  <a:lnTo>
                    <a:pt x="0" y="10157"/>
                  </a:lnTo>
                  <a:lnTo>
                    <a:pt x="4068952" y="1032115"/>
                  </a:lnTo>
                  <a:lnTo>
                    <a:pt x="4072888" y="1033004"/>
                  </a:lnTo>
                  <a:lnTo>
                    <a:pt x="4074411" y="1033004"/>
                  </a:lnTo>
                  <a:cubicBezTo>
                    <a:pt x="4072888" y="1033004"/>
                    <a:pt x="4071440" y="1032407"/>
                    <a:pt x="4070348" y="1031353"/>
                  </a:cubicBezTo>
                  <a:cubicBezTo>
                    <a:pt x="4068596" y="1029449"/>
                    <a:pt x="4068723" y="1026478"/>
                    <a:pt x="4070627" y="1024713"/>
                  </a:cubicBezTo>
                  <a:cubicBezTo>
                    <a:pt x="4070666" y="1024688"/>
                    <a:pt x="4070691" y="1024649"/>
                    <a:pt x="4070729" y="1024624"/>
                  </a:cubicBezTo>
                  <a:close/>
                </a:path>
              </a:pathLst>
            </a:custGeom>
            <a:solidFill>
              <a:srgbClr val="000000"/>
            </a:solidFill>
            <a:ln w="12690" cap="flat">
              <a:no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3AD43E4F-7972-4C5F-BC2C-7FCB54D5254C}"/>
                </a:ext>
              </a:extLst>
            </p:cNvPr>
            <p:cNvSpPr/>
            <p:nvPr/>
          </p:nvSpPr>
          <p:spPr>
            <a:xfrm>
              <a:off x="4255214" y="2941825"/>
              <a:ext cx="12696" cy="634"/>
            </a:xfrm>
            <a:custGeom>
              <a:avLst/>
              <a:gdLst>
                <a:gd name="connsiteX0" fmla="*/ 0 w 12696"/>
                <a:gd name="connsiteY0" fmla="*/ 635 h 634"/>
                <a:gd name="connsiteX1" fmla="*/ 0 w 12696"/>
                <a:gd name="connsiteY1" fmla="*/ 0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EE81EAC6-A27B-4346-B097-B315BA65C034}"/>
                </a:ext>
              </a:extLst>
            </p:cNvPr>
            <p:cNvSpPr/>
            <p:nvPr/>
          </p:nvSpPr>
          <p:spPr>
            <a:xfrm>
              <a:off x="4255721" y="2943602"/>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25F2C9C1-1BC2-4FC9-8897-59614DD34C59}"/>
                </a:ext>
              </a:extLst>
            </p:cNvPr>
            <p:cNvSpPr/>
            <p:nvPr/>
          </p:nvSpPr>
          <p:spPr>
            <a:xfrm>
              <a:off x="4252674" y="2941063"/>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89E87B49-296B-49E5-8B72-164BD6475B09}"/>
                </a:ext>
              </a:extLst>
            </p:cNvPr>
            <p:cNvSpPr/>
            <p:nvPr/>
          </p:nvSpPr>
          <p:spPr>
            <a:xfrm>
              <a:off x="0" y="1870223"/>
              <a:ext cx="4251023" cy="1076807"/>
            </a:xfrm>
            <a:custGeom>
              <a:avLst/>
              <a:gdLst>
                <a:gd name="connsiteX0" fmla="*/ 4239343 w 4251023"/>
                <a:gd name="connsiteY0" fmla="*/ 1076808 h 1076807"/>
                <a:gd name="connsiteX1" fmla="*/ 4246707 w 4251023"/>
                <a:gd name="connsiteY1" fmla="*/ 1070840 h 1076807"/>
                <a:gd name="connsiteX2" fmla="*/ 4246707 w 4251023"/>
                <a:gd name="connsiteY2" fmla="*/ 1070840 h 1076807"/>
                <a:gd name="connsiteX3" fmla="*/ 4247850 w 4251023"/>
                <a:gd name="connsiteY3" fmla="*/ 1070205 h 1076807"/>
                <a:gd name="connsiteX4" fmla="*/ 4249882 w 4251023"/>
                <a:gd name="connsiteY4" fmla="*/ 1070205 h 1076807"/>
                <a:gd name="connsiteX5" fmla="*/ 4251024 w 4251023"/>
                <a:gd name="connsiteY5" fmla="*/ 1070205 h 1076807"/>
                <a:gd name="connsiteX6" fmla="*/ 4251024 w 4251023"/>
                <a:gd name="connsiteY6" fmla="*/ 1070205 h 1076807"/>
                <a:gd name="connsiteX7" fmla="*/ 0 w 4251023"/>
                <a:gd name="connsiteY7" fmla="*/ 0 h 1076807"/>
                <a:gd name="connsiteX8" fmla="*/ 0 w 4251023"/>
                <a:gd name="connsiteY8" fmla="*/ 10157 h 107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023" h="1076807">
                  <a:moveTo>
                    <a:pt x="4239343" y="1076808"/>
                  </a:moveTo>
                  <a:lnTo>
                    <a:pt x="4246707" y="1070840"/>
                  </a:lnTo>
                  <a:lnTo>
                    <a:pt x="4246707" y="1070840"/>
                  </a:lnTo>
                  <a:lnTo>
                    <a:pt x="4247850" y="1070205"/>
                  </a:lnTo>
                  <a:lnTo>
                    <a:pt x="4249882" y="1070205"/>
                  </a:lnTo>
                  <a:lnTo>
                    <a:pt x="4251024" y="1070205"/>
                  </a:lnTo>
                  <a:lnTo>
                    <a:pt x="4251024" y="1070205"/>
                  </a:lnTo>
                  <a:lnTo>
                    <a:pt x="0" y="0"/>
                  </a:lnTo>
                  <a:lnTo>
                    <a:pt x="0" y="10157"/>
                  </a:lnTo>
                  <a:close/>
                </a:path>
              </a:pathLst>
            </a:custGeom>
            <a:solidFill>
              <a:srgbClr val="000000"/>
            </a:solidFill>
            <a:ln w="12690"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2492A7ED-719D-4B95-A2CB-7D4D6C02A3DC}"/>
                </a:ext>
              </a:extLst>
            </p:cNvPr>
            <p:cNvSpPr/>
            <p:nvPr/>
          </p:nvSpPr>
          <p:spPr>
            <a:xfrm>
              <a:off x="4252547" y="294017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66" name="Freeform: Shape 465">
              <a:extLst>
                <a:ext uri="{FF2B5EF4-FFF2-40B4-BE49-F238E27FC236}">
                  <a16:creationId xmlns:a16="http://schemas.microsoft.com/office/drawing/2014/main" id="{3CA4CE9F-2651-4818-8DA5-9CCD41469892}"/>
                </a:ext>
              </a:extLst>
            </p:cNvPr>
            <p:cNvSpPr/>
            <p:nvPr/>
          </p:nvSpPr>
          <p:spPr>
            <a:xfrm>
              <a:off x="4250389" y="293979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EACB584D-4529-45F6-BE06-8F4B5908E333}"/>
                </a:ext>
              </a:extLst>
            </p:cNvPr>
            <p:cNvSpPr/>
            <p:nvPr/>
          </p:nvSpPr>
          <p:spPr>
            <a:xfrm>
              <a:off x="4255340" y="294296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73D371AF-04EE-4333-A193-9FA99F5D2570}"/>
                </a:ext>
              </a:extLst>
            </p:cNvPr>
            <p:cNvSpPr/>
            <p:nvPr/>
          </p:nvSpPr>
          <p:spPr>
            <a:xfrm>
              <a:off x="4253690" y="2941317"/>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lnTo>
                    <a:pt x="0" y="0"/>
                  </a:lnTo>
                  <a:close/>
                </a:path>
              </a:pathLst>
            </a:custGeom>
            <a:solidFill>
              <a:srgbClr val="000000"/>
            </a:solidFill>
            <a:ln w="12690" cap="flat">
              <a:noFill/>
              <a:prstDash val="solid"/>
              <a:miter/>
            </a:ln>
          </p:spPr>
          <p:txBody>
            <a:bodyPr rtlCol="0" anchor="ctr"/>
            <a:lstStyle/>
            <a:p>
              <a:endParaRPr lang="en-US"/>
            </a:p>
          </p:txBody>
        </p:sp>
        <p:sp>
          <p:nvSpPr>
            <p:cNvPr id="469" name="Freeform: Shape 468">
              <a:extLst>
                <a:ext uri="{FF2B5EF4-FFF2-40B4-BE49-F238E27FC236}">
                  <a16:creationId xmlns:a16="http://schemas.microsoft.com/office/drawing/2014/main" id="{AF992755-64B5-4176-BC40-24C03AC066DC}"/>
                </a:ext>
              </a:extLst>
            </p:cNvPr>
            <p:cNvSpPr/>
            <p:nvPr/>
          </p:nvSpPr>
          <p:spPr>
            <a:xfrm>
              <a:off x="4244929" y="2943983"/>
              <a:ext cx="10726" cy="109197"/>
            </a:xfrm>
            <a:custGeom>
              <a:avLst/>
              <a:gdLst>
                <a:gd name="connsiteX0" fmla="*/ 10666 w 10726"/>
                <a:gd name="connsiteY0" fmla="*/ 0 h 109197"/>
                <a:gd name="connsiteX1" fmla="*/ 9015 w 10726"/>
                <a:gd name="connsiteY1" fmla="*/ 4317 h 109197"/>
                <a:gd name="connsiteX2" fmla="*/ 0 w 10726"/>
                <a:gd name="connsiteY2" fmla="*/ 11681 h 109197"/>
                <a:gd name="connsiteX3" fmla="*/ 0 w 10726"/>
                <a:gd name="connsiteY3" fmla="*/ 104240 h 109197"/>
                <a:gd name="connsiteX4" fmla="*/ 5447 w 10726"/>
                <a:gd name="connsiteY4" fmla="*/ 109192 h 109197"/>
                <a:gd name="connsiteX5" fmla="*/ 5460 w 10726"/>
                <a:gd name="connsiteY5" fmla="*/ 109192 h 109197"/>
                <a:gd name="connsiteX6" fmla="*/ 9142 w 10726"/>
                <a:gd name="connsiteY6" fmla="*/ 107795 h 109197"/>
                <a:gd name="connsiteX7" fmla="*/ 9904 w 10726"/>
                <a:gd name="connsiteY7" fmla="*/ 106906 h 109197"/>
                <a:gd name="connsiteX8" fmla="*/ 9904 w 10726"/>
                <a:gd name="connsiteY8" fmla="*/ 106906 h 109197"/>
                <a:gd name="connsiteX9" fmla="*/ 9904 w 10726"/>
                <a:gd name="connsiteY9" fmla="*/ 106018 h 109197"/>
                <a:gd name="connsiteX10" fmla="*/ 9904 w 10726"/>
                <a:gd name="connsiteY10" fmla="*/ 105002 h 109197"/>
                <a:gd name="connsiteX11" fmla="*/ 9904 w 10726"/>
                <a:gd name="connsiteY11" fmla="*/ 105002 h 109197"/>
                <a:gd name="connsiteX12" fmla="*/ 9904 w 10726"/>
                <a:gd name="connsiteY12" fmla="*/ 381 h 109197"/>
                <a:gd name="connsiteX13" fmla="*/ 10666 w 10726"/>
                <a:gd name="connsiteY13" fmla="*/ 0 h 10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26" h="109197">
                  <a:moveTo>
                    <a:pt x="10666" y="0"/>
                  </a:moveTo>
                  <a:cubicBezTo>
                    <a:pt x="10932" y="1638"/>
                    <a:pt x="10310" y="3288"/>
                    <a:pt x="9015" y="4317"/>
                  </a:cubicBezTo>
                  <a:lnTo>
                    <a:pt x="0" y="11681"/>
                  </a:lnTo>
                  <a:lnTo>
                    <a:pt x="0" y="104240"/>
                  </a:lnTo>
                  <a:cubicBezTo>
                    <a:pt x="140" y="107109"/>
                    <a:pt x="2577" y="109331"/>
                    <a:pt x="5447" y="109192"/>
                  </a:cubicBezTo>
                  <a:cubicBezTo>
                    <a:pt x="5447" y="109192"/>
                    <a:pt x="5460" y="109192"/>
                    <a:pt x="5460" y="109192"/>
                  </a:cubicBezTo>
                  <a:cubicBezTo>
                    <a:pt x="6806" y="109141"/>
                    <a:pt x="8101" y="108646"/>
                    <a:pt x="9142" y="107795"/>
                  </a:cubicBezTo>
                  <a:lnTo>
                    <a:pt x="9904" y="106906"/>
                  </a:lnTo>
                  <a:lnTo>
                    <a:pt x="9904" y="106906"/>
                  </a:lnTo>
                  <a:cubicBezTo>
                    <a:pt x="9955" y="106614"/>
                    <a:pt x="9955" y="106310"/>
                    <a:pt x="9904" y="106018"/>
                  </a:cubicBezTo>
                  <a:cubicBezTo>
                    <a:pt x="9980" y="105687"/>
                    <a:pt x="9980" y="105332"/>
                    <a:pt x="9904" y="105002"/>
                  </a:cubicBezTo>
                  <a:lnTo>
                    <a:pt x="9904" y="105002"/>
                  </a:lnTo>
                  <a:lnTo>
                    <a:pt x="9904" y="381"/>
                  </a:lnTo>
                  <a:cubicBezTo>
                    <a:pt x="9904" y="381"/>
                    <a:pt x="10666" y="127"/>
                    <a:pt x="10666" y="0"/>
                  </a:cubicBezTo>
                  <a:close/>
                </a:path>
              </a:pathLst>
            </a:custGeom>
            <a:solidFill>
              <a:srgbClr val="000000"/>
            </a:solidFill>
            <a:ln w="12690"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5993AA16-81FD-4D1B-95D8-C46937945B61}"/>
                </a:ext>
              </a:extLst>
            </p:cNvPr>
            <p:cNvSpPr/>
            <p:nvPr/>
          </p:nvSpPr>
          <p:spPr>
            <a:xfrm>
              <a:off x="4069810" y="2939793"/>
              <a:ext cx="186480" cy="152233"/>
            </a:xfrm>
            <a:custGeom>
              <a:avLst/>
              <a:gdLst>
                <a:gd name="connsiteX0" fmla="*/ 180706 w 186480"/>
                <a:gd name="connsiteY0" fmla="*/ 0 h 152233"/>
                <a:gd name="connsiteX1" fmla="*/ 178674 w 186480"/>
                <a:gd name="connsiteY1" fmla="*/ 0 h 152233"/>
                <a:gd name="connsiteX2" fmla="*/ 177532 w 186480"/>
                <a:gd name="connsiteY2" fmla="*/ 635 h 152233"/>
                <a:gd name="connsiteX3" fmla="*/ 177532 w 186480"/>
                <a:gd name="connsiteY3" fmla="*/ 635 h 152233"/>
                <a:gd name="connsiteX4" fmla="*/ 170168 w 186480"/>
                <a:gd name="connsiteY4" fmla="*/ 6602 h 152233"/>
                <a:gd name="connsiteX5" fmla="*/ 3839 w 186480"/>
                <a:gd name="connsiteY5" fmla="*/ 141822 h 152233"/>
                <a:gd name="connsiteX6" fmla="*/ 1554 w 186480"/>
                <a:gd name="connsiteY6" fmla="*/ 143600 h 152233"/>
                <a:gd name="connsiteX7" fmla="*/ 1211 w 186480"/>
                <a:gd name="connsiteY7" fmla="*/ 150240 h 152233"/>
                <a:gd name="connsiteX8" fmla="*/ 1554 w 186480"/>
                <a:gd name="connsiteY8" fmla="*/ 150583 h 152233"/>
                <a:gd name="connsiteX9" fmla="*/ 5617 w 186480"/>
                <a:gd name="connsiteY9" fmla="*/ 152234 h 152233"/>
                <a:gd name="connsiteX10" fmla="*/ 8918 w 186480"/>
                <a:gd name="connsiteY10" fmla="*/ 151091 h 152233"/>
                <a:gd name="connsiteX11" fmla="*/ 8918 w 186480"/>
                <a:gd name="connsiteY11" fmla="*/ 151091 h 152233"/>
                <a:gd name="connsiteX12" fmla="*/ 10695 w 186480"/>
                <a:gd name="connsiteY12" fmla="*/ 149567 h 152233"/>
                <a:gd name="connsiteX13" fmla="*/ 175754 w 186480"/>
                <a:gd name="connsiteY13" fmla="*/ 15363 h 152233"/>
                <a:gd name="connsiteX14" fmla="*/ 184769 w 186480"/>
                <a:gd name="connsiteY14" fmla="*/ 7999 h 152233"/>
                <a:gd name="connsiteX15" fmla="*/ 186419 w 186480"/>
                <a:gd name="connsiteY15" fmla="*/ 3682 h 152233"/>
                <a:gd name="connsiteX16" fmla="*/ 186419 w 186480"/>
                <a:gd name="connsiteY16" fmla="*/ 3682 h 152233"/>
                <a:gd name="connsiteX17" fmla="*/ 186419 w 186480"/>
                <a:gd name="connsiteY17" fmla="*/ 3047 h 152233"/>
                <a:gd name="connsiteX18" fmla="*/ 186419 w 186480"/>
                <a:gd name="connsiteY18" fmla="*/ 2032 h 152233"/>
                <a:gd name="connsiteX19" fmla="*/ 186419 w 186480"/>
                <a:gd name="connsiteY19" fmla="*/ 2032 h 152233"/>
                <a:gd name="connsiteX20" fmla="*/ 186419 w 186480"/>
                <a:gd name="connsiteY20" fmla="*/ 2032 h 152233"/>
                <a:gd name="connsiteX21" fmla="*/ 186419 w 186480"/>
                <a:gd name="connsiteY21" fmla="*/ 2032 h 152233"/>
                <a:gd name="connsiteX22" fmla="*/ 185404 w 186480"/>
                <a:gd name="connsiteY22" fmla="*/ 2032 h 152233"/>
                <a:gd name="connsiteX23" fmla="*/ 185404 w 186480"/>
                <a:gd name="connsiteY23" fmla="*/ 2032 h 152233"/>
                <a:gd name="connsiteX24" fmla="*/ 184769 w 186480"/>
                <a:gd name="connsiteY24" fmla="*/ 2032 h 152233"/>
                <a:gd name="connsiteX25" fmla="*/ 183880 w 186480"/>
                <a:gd name="connsiteY25" fmla="*/ 2032 h 15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6480" h="152233">
                  <a:moveTo>
                    <a:pt x="180706" y="0"/>
                  </a:moveTo>
                  <a:lnTo>
                    <a:pt x="178674" y="0"/>
                  </a:lnTo>
                  <a:lnTo>
                    <a:pt x="177532" y="635"/>
                  </a:lnTo>
                  <a:lnTo>
                    <a:pt x="177532" y="635"/>
                  </a:lnTo>
                  <a:lnTo>
                    <a:pt x="170168" y="6602"/>
                  </a:lnTo>
                  <a:lnTo>
                    <a:pt x="3839" y="141822"/>
                  </a:lnTo>
                  <a:lnTo>
                    <a:pt x="1554" y="143600"/>
                  </a:lnTo>
                  <a:cubicBezTo>
                    <a:pt x="-376" y="145339"/>
                    <a:pt x="-529" y="148310"/>
                    <a:pt x="1211" y="150240"/>
                  </a:cubicBezTo>
                  <a:cubicBezTo>
                    <a:pt x="1312" y="150355"/>
                    <a:pt x="1427" y="150469"/>
                    <a:pt x="1554" y="150583"/>
                  </a:cubicBezTo>
                  <a:cubicBezTo>
                    <a:pt x="2646" y="151637"/>
                    <a:pt x="4106" y="152234"/>
                    <a:pt x="5617" y="152234"/>
                  </a:cubicBezTo>
                  <a:cubicBezTo>
                    <a:pt x="6810" y="152183"/>
                    <a:pt x="7953" y="151789"/>
                    <a:pt x="8918" y="151091"/>
                  </a:cubicBezTo>
                  <a:lnTo>
                    <a:pt x="8918" y="151091"/>
                  </a:lnTo>
                  <a:lnTo>
                    <a:pt x="10695" y="149567"/>
                  </a:lnTo>
                  <a:lnTo>
                    <a:pt x="175754" y="15363"/>
                  </a:lnTo>
                  <a:lnTo>
                    <a:pt x="184769" y="7999"/>
                  </a:lnTo>
                  <a:cubicBezTo>
                    <a:pt x="186064" y="6971"/>
                    <a:pt x="186686" y="5320"/>
                    <a:pt x="186419" y="3682"/>
                  </a:cubicBezTo>
                  <a:lnTo>
                    <a:pt x="186419" y="3682"/>
                  </a:lnTo>
                  <a:cubicBezTo>
                    <a:pt x="186419" y="3682"/>
                    <a:pt x="186419" y="3682"/>
                    <a:pt x="186419" y="3047"/>
                  </a:cubicBezTo>
                  <a:cubicBezTo>
                    <a:pt x="186457" y="2705"/>
                    <a:pt x="186457" y="2374"/>
                    <a:pt x="186419" y="2032"/>
                  </a:cubicBezTo>
                  <a:lnTo>
                    <a:pt x="186419" y="2032"/>
                  </a:lnTo>
                  <a:lnTo>
                    <a:pt x="186419" y="2032"/>
                  </a:lnTo>
                  <a:lnTo>
                    <a:pt x="186419" y="2032"/>
                  </a:lnTo>
                  <a:lnTo>
                    <a:pt x="185404" y="2032"/>
                  </a:lnTo>
                  <a:lnTo>
                    <a:pt x="185404" y="2032"/>
                  </a:lnTo>
                  <a:lnTo>
                    <a:pt x="184769" y="2032"/>
                  </a:lnTo>
                  <a:lnTo>
                    <a:pt x="183880" y="2032"/>
                  </a:lnTo>
                  <a:close/>
                </a:path>
              </a:pathLst>
            </a:custGeom>
            <a:solidFill>
              <a:srgbClr val="000000"/>
            </a:solidFill>
            <a:ln w="12690" cap="flat">
              <a:no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8EE3622B-32AF-4A35-96CA-AF688ADDCA6E}"/>
                </a:ext>
              </a:extLst>
            </p:cNvPr>
            <p:cNvSpPr/>
            <p:nvPr/>
          </p:nvSpPr>
          <p:spPr>
            <a:xfrm>
              <a:off x="5453540" y="3394463"/>
              <a:ext cx="94464" cy="128236"/>
            </a:xfrm>
            <a:custGeom>
              <a:avLst/>
              <a:gdLst>
                <a:gd name="connsiteX0" fmla="*/ 90020 w 94464"/>
                <a:gd name="connsiteY0" fmla="*/ 6348 h 128236"/>
                <a:gd name="connsiteX1" fmla="*/ 84561 w 94464"/>
                <a:gd name="connsiteY1" fmla="*/ 1524 h 128236"/>
                <a:gd name="connsiteX2" fmla="*/ 84561 w 94464"/>
                <a:gd name="connsiteY2" fmla="*/ 0 h 128236"/>
                <a:gd name="connsiteX3" fmla="*/ 1016 w 94464"/>
                <a:gd name="connsiteY3" fmla="*/ 109826 h 128236"/>
                <a:gd name="connsiteX4" fmla="*/ 1016 w 94464"/>
                <a:gd name="connsiteY4" fmla="*/ 126459 h 128236"/>
                <a:gd name="connsiteX5" fmla="*/ 1016 w 94464"/>
                <a:gd name="connsiteY5" fmla="*/ 126459 h 128236"/>
                <a:gd name="connsiteX6" fmla="*/ 0 w 94464"/>
                <a:gd name="connsiteY6" fmla="*/ 128237 h 128236"/>
                <a:gd name="connsiteX7" fmla="*/ 0 w 94464"/>
                <a:gd name="connsiteY7" fmla="*/ 128237 h 128236"/>
                <a:gd name="connsiteX8" fmla="*/ 94464 w 94464"/>
                <a:gd name="connsiteY8" fmla="*/ 4698 h 128236"/>
                <a:gd name="connsiteX9" fmla="*/ 90020 w 94464"/>
                <a:gd name="connsiteY9" fmla="*/ 6348 h 12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464" h="128236">
                  <a:moveTo>
                    <a:pt x="90020" y="6348"/>
                  </a:moveTo>
                  <a:cubicBezTo>
                    <a:pt x="87189" y="6488"/>
                    <a:pt x="84764" y="4355"/>
                    <a:pt x="84561" y="1524"/>
                  </a:cubicBezTo>
                  <a:lnTo>
                    <a:pt x="84561" y="0"/>
                  </a:lnTo>
                  <a:lnTo>
                    <a:pt x="1016" y="109826"/>
                  </a:lnTo>
                  <a:lnTo>
                    <a:pt x="1016" y="126459"/>
                  </a:lnTo>
                  <a:cubicBezTo>
                    <a:pt x="1016" y="126459"/>
                    <a:pt x="1016" y="126459"/>
                    <a:pt x="1016" y="126459"/>
                  </a:cubicBezTo>
                  <a:cubicBezTo>
                    <a:pt x="800" y="127119"/>
                    <a:pt x="457" y="127716"/>
                    <a:pt x="0" y="128237"/>
                  </a:cubicBezTo>
                  <a:lnTo>
                    <a:pt x="0" y="128237"/>
                  </a:lnTo>
                  <a:lnTo>
                    <a:pt x="94464" y="4698"/>
                  </a:lnTo>
                  <a:cubicBezTo>
                    <a:pt x="93335" y="5929"/>
                    <a:pt x="91684" y="6539"/>
                    <a:pt x="90020" y="6348"/>
                  </a:cubicBezTo>
                  <a:close/>
                </a:path>
              </a:pathLst>
            </a:custGeom>
            <a:solidFill>
              <a:srgbClr val="000000"/>
            </a:solidFill>
            <a:ln w="12690" cap="flat">
              <a:no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F125A9B1-DF13-4FB5-A4AC-499B6143DAFF}"/>
                </a:ext>
              </a:extLst>
            </p:cNvPr>
            <p:cNvSpPr/>
            <p:nvPr/>
          </p:nvSpPr>
          <p:spPr>
            <a:xfrm>
              <a:off x="4368342" y="3319933"/>
              <a:ext cx="1080246" cy="204416"/>
            </a:xfrm>
            <a:custGeom>
              <a:avLst/>
              <a:gdLst>
                <a:gd name="connsiteX0" fmla="*/ 1075421 w 1080246"/>
                <a:gd name="connsiteY0" fmla="*/ 199592 h 204416"/>
                <a:gd name="connsiteX1" fmla="*/ 1075421 w 1080246"/>
                <a:gd name="connsiteY1" fmla="*/ 193498 h 204416"/>
                <a:gd name="connsiteX2" fmla="*/ 6983 w 1080246"/>
                <a:gd name="connsiteY2" fmla="*/ 0 h 204416"/>
                <a:gd name="connsiteX3" fmla="*/ 6983 w 1080246"/>
                <a:gd name="connsiteY3" fmla="*/ 4063 h 204416"/>
                <a:gd name="connsiteX4" fmla="*/ 1663 w 1080246"/>
                <a:gd name="connsiteY4" fmla="*/ 8887 h 204416"/>
                <a:gd name="connsiteX5" fmla="*/ 1651 w 1080246"/>
                <a:gd name="connsiteY5" fmla="*/ 8887 h 204416"/>
                <a:gd name="connsiteX6" fmla="*/ 0 w 1080246"/>
                <a:gd name="connsiteY6" fmla="*/ 8887 h 204416"/>
                <a:gd name="connsiteX7" fmla="*/ 0 w 1080246"/>
                <a:gd name="connsiteY7" fmla="*/ 8887 h 204416"/>
                <a:gd name="connsiteX8" fmla="*/ 1079230 w 1080246"/>
                <a:gd name="connsiteY8" fmla="*/ 204417 h 204416"/>
                <a:gd name="connsiteX9" fmla="*/ 1080246 w 1080246"/>
                <a:gd name="connsiteY9" fmla="*/ 204417 h 204416"/>
                <a:gd name="connsiteX10" fmla="*/ 1075421 w 1080246"/>
                <a:gd name="connsiteY10" fmla="*/ 199592 h 2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0246" h="204416">
                  <a:moveTo>
                    <a:pt x="1075421" y="199592"/>
                  </a:moveTo>
                  <a:lnTo>
                    <a:pt x="1075421" y="193498"/>
                  </a:lnTo>
                  <a:lnTo>
                    <a:pt x="6983" y="0"/>
                  </a:lnTo>
                  <a:lnTo>
                    <a:pt x="6983" y="4063"/>
                  </a:lnTo>
                  <a:cubicBezTo>
                    <a:pt x="6844" y="6869"/>
                    <a:pt x="4470" y="9027"/>
                    <a:pt x="1663" y="8887"/>
                  </a:cubicBezTo>
                  <a:cubicBezTo>
                    <a:pt x="1663" y="8887"/>
                    <a:pt x="1651" y="8887"/>
                    <a:pt x="1651" y="8887"/>
                  </a:cubicBezTo>
                  <a:lnTo>
                    <a:pt x="0" y="8887"/>
                  </a:lnTo>
                  <a:lnTo>
                    <a:pt x="0" y="8887"/>
                  </a:lnTo>
                  <a:lnTo>
                    <a:pt x="1079230" y="204417"/>
                  </a:lnTo>
                  <a:lnTo>
                    <a:pt x="1080246" y="204417"/>
                  </a:lnTo>
                  <a:cubicBezTo>
                    <a:pt x="1077631" y="204290"/>
                    <a:pt x="1075548" y="202208"/>
                    <a:pt x="1075421" y="199592"/>
                  </a:cubicBezTo>
                  <a:close/>
                </a:path>
              </a:pathLst>
            </a:custGeom>
            <a:solidFill>
              <a:srgbClr val="000000"/>
            </a:solidFill>
            <a:ln w="12690" cap="flat">
              <a:no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BA7E8F16-EE6A-4945-986B-1EEFE520CC5E}"/>
                </a:ext>
              </a:extLst>
            </p:cNvPr>
            <p:cNvSpPr/>
            <p:nvPr/>
          </p:nvSpPr>
          <p:spPr>
            <a:xfrm>
              <a:off x="5454429" y="3520414"/>
              <a:ext cx="12696" cy="988"/>
            </a:xfrm>
            <a:custGeom>
              <a:avLst/>
              <a:gdLst>
                <a:gd name="connsiteX0" fmla="*/ 0 w 12696"/>
                <a:gd name="connsiteY0" fmla="*/ 0 h 988"/>
                <a:gd name="connsiteX1" fmla="*/ 0 w 12696"/>
                <a:gd name="connsiteY1" fmla="*/ 0 h 988"/>
                <a:gd name="connsiteX2" fmla="*/ 0 w 12696"/>
                <a:gd name="connsiteY2" fmla="*/ 762 h 988"/>
                <a:gd name="connsiteX3" fmla="*/ 0 w 12696"/>
                <a:gd name="connsiteY3" fmla="*/ 0 h 988"/>
              </a:gdLst>
              <a:ahLst/>
              <a:cxnLst>
                <a:cxn ang="0">
                  <a:pos x="connsiteX0" y="connsiteY0"/>
                </a:cxn>
                <a:cxn ang="0">
                  <a:pos x="connsiteX1" y="connsiteY1"/>
                </a:cxn>
                <a:cxn ang="0">
                  <a:pos x="connsiteX2" y="connsiteY2"/>
                </a:cxn>
                <a:cxn ang="0">
                  <a:pos x="connsiteX3" y="connsiteY3"/>
                </a:cxn>
              </a:cxnLst>
              <a:rect l="l" t="t" r="r" b="b"/>
              <a:pathLst>
                <a:path w="12696" h="988">
                  <a:moveTo>
                    <a:pt x="0" y="0"/>
                  </a:moveTo>
                  <a:lnTo>
                    <a:pt x="0" y="0"/>
                  </a:lnTo>
                  <a:cubicBezTo>
                    <a:pt x="0" y="0"/>
                    <a:pt x="0" y="0"/>
                    <a:pt x="0" y="762"/>
                  </a:cubicBezTo>
                  <a:cubicBezTo>
                    <a:pt x="0" y="1524"/>
                    <a:pt x="0" y="127"/>
                    <a:pt x="0" y="0"/>
                  </a:cubicBezTo>
                  <a:close/>
                </a:path>
              </a:pathLst>
            </a:custGeom>
            <a:solidFill>
              <a:srgbClr val="000000"/>
            </a:solidFill>
            <a:ln w="12690"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99562970-C81E-4B6C-B8D0-84B278460B13}"/>
                </a:ext>
              </a:extLst>
            </p:cNvPr>
            <p:cNvSpPr/>
            <p:nvPr/>
          </p:nvSpPr>
          <p:spPr>
            <a:xfrm>
              <a:off x="4365295" y="3218105"/>
              <a:ext cx="12696" cy="761"/>
            </a:xfrm>
            <a:custGeom>
              <a:avLst/>
              <a:gdLst>
                <a:gd name="connsiteX0" fmla="*/ 0 w 12696"/>
                <a:gd name="connsiteY0" fmla="*/ 0 h 761"/>
                <a:gd name="connsiteX1" fmla="*/ 0 w 12696"/>
                <a:gd name="connsiteY1" fmla="*/ 762 h 761"/>
              </a:gdLst>
              <a:ahLst/>
              <a:cxnLst>
                <a:cxn ang="0">
                  <a:pos x="connsiteX0" y="connsiteY0"/>
                </a:cxn>
                <a:cxn ang="0">
                  <a:pos x="connsiteX1" y="connsiteY1"/>
                </a:cxn>
              </a:cxnLst>
              <a:rect l="l" t="t" r="r" b="b"/>
              <a:pathLst>
                <a:path w="12696" h="761">
                  <a:moveTo>
                    <a:pt x="0" y="0"/>
                  </a:moveTo>
                  <a:lnTo>
                    <a:pt x="0" y="762"/>
                  </a:lnTo>
                  <a:close/>
                </a:path>
              </a:pathLst>
            </a:custGeom>
            <a:solidFill>
              <a:srgbClr val="000000"/>
            </a:solidFill>
            <a:ln w="12690"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C29525FA-4DE7-422B-8FF4-DE510CBEB96F}"/>
                </a:ext>
              </a:extLst>
            </p:cNvPr>
            <p:cNvSpPr/>
            <p:nvPr/>
          </p:nvSpPr>
          <p:spPr>
            <a:xfrm>
              <a:off x="4365971" y="3220772"/>
              <a:ext cx="9354" cy="106167"/>
            </a:xfrm>
            <a:custGeom>
              <a:avLst/>
              <a:gdLst>
                <a:gd name="connsiteX0" fmla="*/ 9355 w 9354"/>
                <a:gd name="connsiteY0" fmla="*/ 103224 h 106167"/>
                <a:gd name="connsiteX1" fmla="*/ 9355 w 9354"/>
                <a:gd name="connsiteY1" fmla="*/ 5587 h 106167"/>
                <a:gd name="connsiteX2" fmla="*/ 2879 w 9354"/>
                <a:gd name="connsiteY2" fmla="*/ 4444 h 106167"/>
                <a:gd name="connsiteX3" fmla="*/ 721 w 9354"/>
                <a:gd name="connsiteY3" fmla="*/ 3555 h 106167"/>
                <a:gd name="connsiteX4" fmla="*/ 721 w 9354"/>
                <a:gd name="connsiteY4" fmla="*/ 3555 h 106167"/>
                <a:gd name="connsiteX5" fmla="*/ 721 w 9354"/>
                <a:gd name="connsiteY5" fmla="*/ 3555 h 106167"/>
                <a:gd name="connsiteX6" fmla="*/ 86 w 9354"/>
                <a:gd name="connsiteY6" fmla="*/ 2793 h 106167"/>
                <a:gd name="connsiteX7" fmla="*/ 86 w 9354"/>
                <a:gd name="connsiteY7" fmla="*/ 1905 h 106167"/>
                <a:gd name="connsiteX8" fmla="*/ 86 w 9354"/>
                <a:gd name="connsiteY8" fmla="*/ 1016 h 106167"/>
                <a:gd name="connsiteX9" fmla="*/ 86 w 9354"/>
                <a:gd name="connsiteY9" fmla="*/ 0 h 106167"/>
                <a:gd name="connsiteX10" fmla="*/ 86 w 9354"/>
                <a:gd name="connsiteY10" fmla="*/ 0 h 106167"/>
                <a:gd name="connsiteX11" fmla="*/ 86 w 9354"/>
                <a:gd name="connsiteY11" fmla="*/ 0 h 106167"/>
                <a:gd name="connsiteX12" fmla="*/ 86 w 9354"/>
                <a:gd name="connsiteY12" fmla="*/ 103605 h 106167"/>
                <a:gd name="connsiteX13" fmla="*/ 86 w 9354"/>
                <a:gd name="connsiteY13" fmla="*/ 103605 h 106167"/>
                <a:gd name="connsiteX14" fmla="*/ 86 w 9354"/>
                <a:gd name="connsiteY14" fmla="*/ 104494 h 106167"/>
                <a:gd name="connsiteX15" fmla="*/ 86 w 9354"/>
                <a:gd name="connsiteY15" fmla="*/ 105383 h 106167"/>
                <a:gd name="connsiteX16" fmla="*/ 86 w 9354"/>
                <a:gd name="connsiteY16" fmla="*/ 106144 h 106167"/>
                <a:gd name="connsiteX17" fmla="*/ 848 w 9354"/>
                <a:gd name="connsiteY17" fmla="*/ 106144 h 106167"/>
                <a:gd name="connsiteX18" fmla="*/ 1736 w 9354"/>
                <a:gd name="connsiteY18" fmla="*/ 106144 h 106167"/>
                <a:gd name="connsiteX19" fmla="*/ 2625 w 9354"/>
                <a:gd name="connsiteY19" fmla="*/ 106144 h 106167"/>
                <a:gd name="connsiteX20" fmla="*/ 4276 w 9354"/>
                <a:gd name="connsiteY20" fmla="*/ 106144 h 106167"/>
                <a:gd name="connsiteX21" fmla="*/ 9355 w 9354"/>
                <a:gd name="connsiteY21" fmla="*/ 103224 h 10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54" h="106167">
                  <a:moveTo>
                    <a:pt x="9355" y="103224"/>
                  </a:moveTo>
                  <a:lnTo>
                    <a:pt x="9355" y="5587"/>
                  </a:lnTo>
                  <a:lnTo>
                    <a:pt x="2879" y="4444"/>
                  </a:lnTo>
                  <a:cubicBezTo>
                    <a:pt x="2117" y="4279"/>
                    <a:pt x="1381" y="3974"/>
                    <a:pt x="721" y="3555"/>
                  </a:cubicBezTo>
                  <a:lnTo>
                    <a:pt x="721" y="3555"/>
                  </a:lnTo>
                  <a:lnTo>
                    <a:pt x="721" y="3555"/>
                  </a:lnTo>
                  <a:cubicBezTo>
                    <a:pt x="721" y="3555"/>
                    <a:pt x="721" y="3555"/>
                    <a:pt x="86" y="2793"/>
                  </a:cubicBezTo>
                  <a:cubicBezTo>
                    <a:pt x="22" y="2501"/>
                    <a:pt x="22" y="2197"/>
                    <a:pt x="86" y="1905"/>
                  </a:cubicBezTo>
                  <a:cubicBezTo>
                    <a:pt x="10" y="1612"/>
                    <a:pt x="10" y="1308"/>
                    <a:pt x="86" y="1016"/>
                  </a:cubicBezTo>
                  <a:cubicBezTo>
                    <a:pt x="86" y="1016"/>
                    <a:pt x="86" y="1016"/>
                    <a:pt x="86" y="0"/>
                  </a:cubicBezTo>
                  <a:lnTo>
                    <a:pt x="86" y="0"/>
                  </a:lnTo>
                  <a:cubicBezTo>
                    <a:pt x="86" y="0"/>
                    <a:pt x="86" y="0"/>
                    <a:pt x="86" y="0"/>
                  </a:cubicBezTo>
                  <a:lnTo>
                    <a:pt x="86" y="103605"/>
                  </a:lnTo>
                  <a:cubicBezTo>
                    <a:pt x="86" y="103605"/>
                    <a:pt x="86" y="103605"/>
                    <a:pt x="86" y="103605"/>
                  </a:cubicBezTo>
                  <a:cubicBezTo>
                    <a:pt x="35" y="103897"/>
                    <a:pt x="35" y="104202"/>
                    <a:pt x="86" y="104494"/>
                  </a:cubicBezTo>
                  <a:cubicBezTo>
                    <a:pt x="-29" y="104773"/>
                    <a:pt x="-29" y="105103"/>
                    <a:pt x="86" y="105383"/>
                  </a:cubicBezTo>
                  <a:lnTo>
                    <a:pt x="86" y="106144"/>
                  </a:lnTo>
                  <a:lnTo>
                    <a:pt x="848" y="106144"/>
                  </a:lnTo>
                  <a:lnTo>
                    <a:pt x="1736" y="106144"/>
                  </a:lnTo>
                  <a:lnTo>
                    <a:pt x="2625" y="106144"/>
                  </a:lnTo>
                  <a:lnTo>
                    <a:pt x="4276" y="106144"/>
                  </a:lnTo>
                  <a:cubicBezTo>
                    <a:pt x="6421" y="106347"/>
                    <a:pt x="8453" y="105180"/>
                    <a:pt x="9355" y="103224"/>
                  </a:cubicBezTo>
                  <a:close/>
                </a:path>
              </a:pathLst>
            </a:custGeom>
            <a:solidFill>
              <a:srgbClr val="000000"/>
            </a:solidFill>
            <a:ln w="12690" cap="flat">
              <a:noFill/>
              <a:prstDash val="solid"/>
              <a:miter/>
            </a:ln>
          </p:spPr>
          <p:txBody>
            <a:bodyPr rtlCol="0" anchor="ctr"/>
            <a:lstStyle/>
            <a:p>
              <a:endParaRPr lang="en-US"/>
            </a:p>
          </p:txBody>
        </p:sp>
        <p:sp>
          <p:nvSpPr>
            <p:cNvPr id="476" name="Freeform: Shape 475">
              <a:extLst>
                <a:ext uri="{FF2B5EF4-FFF2-40B4-BE49-F238E27FC236}">
                  <a16:creationId xmlns:a16="http://schemas.microsoft.com/office/drawing/2014/main" id="{958CF054-7460-42EF-9790-F4AD08877FB2}"/>
                </a:ext>
              </a:extLst>
            </p:cNvPr>
            <p:cNvSpPr/>
            <p:nvPr/>
          </p:nvSpPr>
          <p:spPr>
            <a:xfrm>
              <a:off x="4499500" y="306180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00E108BD-4905-49ED-AD89-9C726E9807F0}"/>
                </a:ext>
              </a:extLst>
            </p:cNvPr>
            <p:cNvSpPr/>
            <p:nvPr/>
          </p:nvSpPr>
          <p:spPr>
            <a:xfrm>
              <a:off x="4364658" y="3217851"/>
              <a:ext cx="256" cy="1015"/>
            </a:xfrm>
            <a:custGeom>
              <a:avLst/>
              <a:gdLst>
                <a:gd name="connsiteX0" fmla="*/ 256 w 256"/>
                <a:gd name="connsiteY0" fmla="*/ 1016 h 1015"/>
                <a:gd name="connsiteX1" fmla="*/ 256 w 256"/>
                <a:gd name="connsiteY1" fmla="*/ 1016 h 1015"/>
                <a:gd name="connsiteX2" fmla="*/ 256 w 256"/>
                <a:gd name="connsiteY2" fmla="*/ 0 h 1015"/>
                <a:gd name="connsiteX3" fmla="*/ 129 w 256"/>
                <a:gd name="connsiteY3" fmla="*/ 889 h 1015"/>
                <a:gd name="connsiteX4" fmla="*/ 256 w 256"/>
                <a:gd name="connsiteY4" fmla="*/ 1016 h 1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 h="1015">
                  <a:moveTo>
                    <a:pt x="256" y="1016"/>
                  </a:moveTo>
                  <a:cubicBezTo>
                    <a:pt x="256" y="1016"/>
                    <a:pt x="256" y="1016"/>
                    <a:pt x="256" y="1016"/>
                  </a:cubicBezTo>
                  <a:cubicBezTo>
                    <a:pt x="231" y="673"/>
                    <a:pt x="231" y="343"/>
                    <a:pt x="256" y="0"/>
                  </a:cubicBezTo>
                  <a:cubicBezTo>
                    <a:pt x="-23" y="216"/>
                    <a:pt x="-87" y="609"/>
                    <a:pt x="129" y="889"/>
                  </a:cubicBezTo>
                  <a:cubicBezTo>
                    <a:pt x="167" y="940"/>
                    <a:pt x="205" y="978"/>
                    <a:pt x="256" y="1016"/>
                  </a:cubicBezTo>
                  <a:close/>
                </a:path>
              </a:pathLst>
            </a:custGeom>
            <a:solidFill>
              <a:srgbClr val="000000"/>
            </a:solidFill>
            <a:ln w="12690" cap="flat">
              <a:no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6CE54D8E-9694-46FC-941F-CFF130900AC6}"/>
                </a:ext>
              </a:extLst>
            </p:cNvPr>
            <p:cNvSpPr/>
            <p:nvPr/>
          </p:nvSpPr>
          <p:spPr>
            <a:xfrm>
              <a:off x="4365676" y="3062571"/>
              <a:ext cx="140173" cy="154772"/>
            </a:xfrm>
            <a:custGeom>
              <a:avLst/>
              <a:gdLst>
                <a:gd name="connsiteX0" fmla="*/ 13967 w 140173"/>
                <a:gd name="connsiteY0" fmla="*/ 154646 h 154772"/>
                <a:gd name="connsiteX1" fmla="*/ 140173 w 140173"/>
                <a:gd name="connsiteY1" fmla="*/ 7745 h 154772"/>
                <a:gd name="connsiteX2" fmla="*/ 136872 w 140173"/>
                <a:gd name="connsiteY2" fmla="*/ 7745 h 154772"/>
                <a:gd name="connsiteX3" fmla="*/ 132796 w 140173"/>
                <a:gd name="connsiteY3" fmla="*/ 1828 h 154772"/>
                <a:gd name="connsiteX4" fmla="*/ 132809 w 140173"/>
                <a:gd name="connsiteY4" fmla="*/ 1778 h 154772"/>
                <a:gd name="connsiteX5" fmla="*/ 133698 w 140173"/>
                <a:gd name="connsiteY5" fmla="*/ 0 h 154772"/>
                <a:gd name="connsiteX6" fmla="*/ 0 w 140173"/>
                <a:gd name="connsiteY6" fmla="*/ 154773 h 154772"/>
                <a:gd name="connsiteX7" fmla="*/ 0 w 140173"/>
                <a:gd name="connsiteY7" fmla="*/ 154773 h 154772"/>
                <a:gd name="connsiteX8" fmla="*/ 5460 w 140173"/>
                <a:gd name="connsiteY8" fmla="*/ 152741 h 15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73" h="154772">
                  <a:moveTo>
                    <a:pt x="13967" y="154646"/>
                  </a:moveTo>
                  <a:lnTo>
                    <a:pt x="140173" y="7745"/>
                  </a:lnTo>
                  <a:lnTo>
                    <a:pt x="136872" y="7745"/>
                  </a:lnTo>
                  <a:cubicBezTo>
                    <a:pt x="134117" y="7237"/>
                    <a:pt x="132288" y="4583"/>
                    <a:pt x="132796" y="1828"/>
                  </a:cubicBezTo>
                  <a:cubicBezTo>
                    <a:pt x="132796" y="1816"/>
                    <a:pt x="132809" y="1790"/>
                    <a:pt x="132809" y="1778"/>
                  </a:cubicBezTo>
                  <a:cubicBezTo>
                    <a:pt x="133025" y="1155"/>
                    <a:pt x="133329" y="546"/>
                    <a:pt x="133698" y="0"/>
                  </a:cubicBezTo>
                  <a:lnTo>
                    <a:pt x="0" y="154773"/>
                  </a:lnTo>
                  <a:lnTo>
                    <a:pt x="0" y="154773"/>
                  </a:lnTo>
                  <a:cubicBezTo>
                    <a:pt x="1333" y="153173"/>
                    <a:pt x="3403" y="152398"/>
                    <a:pt x="5460" y="152741"/>
                  </a:cubicBezTo>
                  <a:close/>
                </a:path>
              </a:pathLst>
            </a:custGeom>
            <a:solidFill>
              <a:srgbClr val="000000"/>
            </a:solidFill>
            <a:ln w="12690" cap="flat">
              <a:no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ACAB4EF7-5C3F-4753-AFD7-0E9E45555E3B}"/>
                </a:ext>
              </a:extLst>
            </p:cNvPr>
            <p:cNvSpPr/>
            <p:nvPr/>
          </p:nvSpPr>
          <p:spPr>
            <a:xfrm>
              <a:off x="4365930" y="3224961"/>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cubicBezTo>
                    <a:pt x="635" y="0"/>
                    <a:pt x="635" y="0"/>
                    <a:pt x="0" y="0"/>
                  </a:cubicBezTo>
                  <a:close/>
                </a:path>
              </a:pathLst>
            </a:custGeom>
            <a:solidFill>
              <a:srgbClr val="000000"/>
            </a:solidFill>
            <a:ln w="12690" cap="flat">
              <a:no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B70243E6-91D4-4154-8A9D-739A7639A377}"/>
                </a:ext>
              </a:extLst>
            </p:cNvPr>
            <p:cNvSpPr/>
            <p:nvPr/>
          </p:nvSpPr>
          <p:spPr>
            <a:xfrm>
              <a:off x="5548512" y="329009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CA5DF0C5-387A-4C77-975F-D3952424B1E5}"/>
                </a:ext>
              </a:extLst>
            </p:cNvPr>
            <p:cNvSpPr/>
            <p:nvPr/>
          </p:nvSpPr>
          <p:spPr>
            <a:xfrm>
              <a:off x="5548512" y="329200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985544F6-B794-4A24-8D73-2A8FF3302B69}"/>
                </a:ext>
              </a:extLst>
            </p:cNvPr>
            <p:cNvSpPr/>
            <p:nvPr/>
          </p:nvSpPr>
          <p:spPr>
            <a:xfrm>
              <a:off x="5546988" y="328844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83" name="Freeform: Shape 482">
              <a:extLst>
                <a:ext uri="{FF2B5EF4-FFF2-40B4-BE49-F238E27FC236}">
                  <a16:creationId xmlns:a16="http://schemas.microsoft.com/office/drawing/2014/main" id="{0A947B56-3D39-4366-A6BA-46C8E190A169}"/>
                </a:ext>
              </a:extLst>
            </p:cNvPr>
            <p:cNvSpPr/>
            <p:nvPr/>
          </p:nvSpPr>
          <p:spPr>
            <a:xfrm>
              <a:off x="4498501" y="3059819"/>
              <a:ext cx="1046074" cy="234974"/>
            </a:xfrm>
            <a:custGeom>
              <a:avLst/>
              <a:gdLst>
                <a:gd name="connsiteX0" fmla="*/ 4046 w 1046074"/>
                <a:gd name="connsiteY0" fmla="*/ 9862 h 234974"/>
                <a:gd name="connsiteX1" fmla="*/ 7347 w 1046074"/>
                <a:gd name="connsiteY1" fmla="*/ 9862 h 234974"/>
                <a:gd name="connsiteX2" fmla="*/ 1035790 w 1046074"/>
                <a:gd name="connsiteY2" fmla="*/ 234975 h 234974"/>
                <a:gd name="connsiteX3" fmla="*/ 1040361 w 1046074"/>
                <a:gd name="connsiteY3" fmla="*/ 229134 h 234974"/>
                <a:gd name="connsiteX4" fmla="*/ 1040361 w 1046074"/>
                <a:gd name="connsiteY4" fmla="*/ 229134 h 234974"/>
                <a:gd name="connsiteX5" fmla="*/ 1041250 w 1046074"/>
                <a:gd name="connsiteY5" fmla="*/ 228373 h 234974"/>
                <a:gd name="connsiteX6" fmla="*/ 1042012 w 1046074"/>
                <a:gd name="connsiteY6" fmla="*/ 228373 h 234974"/>
                <a:gd name="connsiteX7" fmla="*/ 1043027 w 1046074"/>
                <a:gd name="connsiteY7" fmla="*/ 228373 h 234974"/>
                <a:gd name="connsiteX8" fmla="*/ 1045059 w 1046074"/>
                <a:gd name="connsiteY8" fmla="*/ 228373 h 234974"/>
                <a:gd name="connsiteX9" fmla="*/ 1046075 w 1046074"/>
                <a:gd name="connsiteY9" fmla="*/ 228373 h 234974"/>
                <a:gd name="connsiteX10" fmla="*/ 1046075 w 1046074"/>
                <a:gd name="connsiteY10" fmla="*/ 228373 h 234974"/>
                <a:gd name="connsiteX11" fmla="*/ 1046075 w 1046074"/>
                <a:gd name="connsiteY11" fmla="*/ 228373 h 234974"/>
                <a:gd name="connsiteX12" fmla="*/ 6712 w 1046074"/>
                <a:gd name="connsiteY12" fmla="*/ 86 h 234974"/>
                <a:gd name="connsiteX13" fmla="*/ 4554 w 1046074"/>
                <a:gd name="connsiteY13" fmla="*/ 86 h 234974"/>
                <a:gd name="connsiteX14" fmla="*/ 2776 w 1046074"/>
                <a:gd name="connsiteY14" fmla="*/ 86 h 234974"/>
                <a:gd name="connsiteX15" fmla="*/ 2776 w 1046074"/>
                <a:gd name="connsiteY15" fmla="*/ 86 h 234974"/>
                <a:gd name="connsiteX16" fmla="*/ 1253 w 1046074"/>
                <a:gd name="connsiteY16" fmla="*/ 1228 h 234974"/>
                <a:gd name="connsiteX17" fmla="*/ 1253 w 1046074"/>
                <a:gd name="connsiteY17" fmla="*/ 1228 h 234974"/>
                <a:gd name="connsiteX18" fmla="*/ 1253 w 1046074"/>
                <a:gd name="connsiteY18" fmla="*/ 1228 h 234974"/>
                <a:gd name="connsiteX19" fmla="*/ 364 w 1046074"/>
                <a:gd name="connsiteY19" fmla="*/ 3006 h 234974"/>
                <a:gd name="connsiteX20" fmla="*/ 3196 w 1046074"/>
                <a:gd name="connsiteY20" fmla="*/ 9608 h 234974"/>
                <a:gd name="connsiteX21" fmla="*/ 4046 w 1046074"/>
                <a:gd name="connsiteY21" fmla="*/ 9862 h 23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6074" h="234974">
                  <a:moveTo>
                    <a:pt x="4046" y="9862"/>
                  </a:moveTo>
                  <a:lnTo>
                    <a:pt x="7347" y="9862"/>
                  </a:lnTo>
                  <a:lnTo>
                    <a:pt x="1035790" y="234975"/>
                  </a:lnTo>
                  <a:lnTo>
                    <a:pt x="1040361" y="229134"/>
                  </a:lnTo>
                  <a:lnTo>
                    <a:pt x="1040361" y="229134"/>
                  </a:lnTo>
                  <a:cubicBezTo>
                    <a:pt x="1040361" y="229134"/>
                    <a:pt x="1040996" y="229134"/>
                    <a:pt x="1041250" y="228373"/>
                  </a:cubicBezTo>
                  <a:lnTo>
                    <a:pt x="1042012" y="228373"/>
                  </a:lnTo>
                  <a:lnTo>
                    <a:pt x="1043027" y="228373"/>
                  </a:lnTo>
                  <a:lnTo>
                    <a:pt x="1045059" y="228373"/>
                  </a:lnTo>
                  <a:lnTo>
                    <a:pt x="1046075" y="228373"/>
                  </a:lnTo>
                  <a:lnTo>
                    <a:pt x="1046075" y="228373"/>
                  </a:lnTo>
                  <a:lnTo>
                    <a:pt x="1046075" y="228373"/>
                  </a:lnTo>
                  <a:lnTo>
                    <a:pt x="6712" y="86"/>
                  </a:lnTo>
                  <a:lnTo>
                    <a:pt x="4554" y="86"/>
                  </a:lnTo>
                  <a:cubicBezTo>
                    <a:pt x="3970" y="-29"/>
                    <a:pt x="3361" y="-29"/>
                    <a:pt x="2776" y="86"/>
                  </a:cubicBezTo>
                  <a:lnTo>
                    <a:pt x="2776" y="86"/>
                  </a:lnTo>
                  <a:lnTo>
                    <a:pt x="1253" y="1228"/>
                  </a:lnTo>
                  <a:lnTo>
                    <a:pt x="1253" y="1228"/>
                  </a:lnTo>
                  <a:lnTo>
                    <a:pt x="1253" y="1228"/>
                  </a:lnTo>
                  <a:cubicBezTo>
                    <a:pt x="885" y="1774"/>
                    <a:pt x="580" y="2384"/>
                    <a:pt x="364" y="3006"/>
                  </a:cubicBezTo>
                  <a:cubicBezTo>
                    <a:pt x="-677" y="5609"/>
                    <a:pt x="592" y="8567"/>
                    <a:pt x="3196" y="9608"/>
                  </a:cubicBezTo>
                  <a:cubicBezTo>
                    <a:pt x="3475" y="9710"/>
                    <a:pt x="3754" y="9799"/>
                    <a:pt x="4046" y="9862"/>
                  </a:cubicBezTo>
                  <a:close/>
                </a:path>
              </a:pathLst>
            </a:custGeom>
            <a:solidFill>
              <a:srgbClr val="000000"/>
            </a:solidFill>
            <a:ln w="12690" cap="flat">
              <a:noFill/>
              <a:prstDash val="solid"/>
              <a:miter/>
            </a:ln>
          </p:spPr>
          <p:txBody>
            <a:bodyPr rtlCol="0" anchor="ctr"/>
            <a:lstStyle/>
            <a:p>
              <a:endParaRPr lang="en-US"/>
            </a:p>
          </p:txBody>
        </p:sp>
        <p:sp>
          <p:nvSpPr>
            <p:cNvPr id="484" name="Freeform: Shape 483">
              <a:extLst>
                <a:ext uri="{FF2B5EF4-FFF2-40B4-BE49-F238E27FC236}">
                  <a16:creationId xmlns:a16="http://schemas.microsoft.com/office/drawing/2014/main" id="{A3F20888-7E8F-405F-8F84-6D4356ECB7EA}"/>
                </a:ext>
              </a:extLst>
            </p:cNvPr>
            <p:cNvSpPr/>
            <p:nvPr/>
          </p:nvSpPr>
          <p:spPr>
            <a:xfrm>
              <a:off x="5545211" y="3288369"/>
              <a:ext cx="888" cy="76"/>
            </a:xfrm>
            <a:custGeom>
              <a:avLst/>
              <a:gdLst>
                <a:gd name="connsiteX0" fmla="*/ 889 w 888"/>
                <a:gd name="connsiteY0" fmla="*/ 76 h 76"/>
                <a:gd name="connsiteX1" fmla="*/ 0 w 888"/>
                <a:gd name="connsiteY1" fmla="*/ 76 h 76"/>
                <a:gd name="connsiteX2" fmla="*/ 0 w 888"/>
                <a:gd name="connsiteY2" fmla="*/ 76 h 76"/>
                <a:gd name="connsiteX3" fmla="*/ 889 w 888"/>
                <a:gd name="connsiteY3" fmla="*/ 76 h 76"/>
              </a:gdLst>
              <a:ahLst/>
              <a:cxnLst>
                <a:cxn ang="0">
                  <a:pos x="connsiteX0" y="connsiteY0"/>
                </a:cxn>
                <a:cxn ang="0">
                  <a:pos x="connsiteX1" y="connsiteY1"/>
                </a:cxn>
                <a:cxn ang="0">
                  <a:pos x="connsiteX2" y="connsiteY2"/>
                </a:cxn>
                <a:cxn ang="0">
                  <a:pos x="connsiteX3" y="connsiteY3"/>
                </a:cxn>
              </a:cxnLst>
              <a:rect l="l" t="t" r="r" b="b"/>
              <a:pathLst>
                <a:path w="888" h="76">
                  <a:moveTo>
                    <a:pt x="889" y="76"/>
                  </a:moveTo>
                  <a:cubicBezTo>
                    <a:pt x="597" y="-25"/>
                    <a:pt x="292" y="-25"/>
                    <a:pt x="0" y="76"/>
                  </a:cubicBezTo>
                  <a:lnTo>
                    <a:pt x="0" y="76"/>
                  </a:lnTo>
                  <a:cubicBezTo>
                    <a:pt x="292" y="0"/>
                    <a:pt x="597" y="0"/>
                    <a:pt x="889" y="76"/>
                  </a:cubicBezTo>
                  <a:close/>
                </a:path>
              </a:pathLst>
            </a:custGeom>
            <a:solidFill>
              <a:srgbClr val="000000"/>
            </a:solidFill>
            <a:ln w="12690" cap="flat">
              <a:noFill/>
              <a:prstDash val="solid"/>
              <a:miter/>
            </a:ln>
          </p:spPr>
          <p:txBody>
            <a:bodyPr rtlCol="0" anchor="ctr"/>
            <a:lstStyle/>
            <a:p>
              <a:endParaRPr lang="en-US"/>
            </a:p>
          </p:txBody>
        </p:sp>
        <p:sp>
          <p:nvSpPr>
            <p:cNvPr id="485" name="Freeform: Shape 484">
              <a:extLst>
                <a:ext uri="{FF2B5EF4-FFF2-40B4-BE49-F238E27FC236}">
                  <a16:creationId xmlns:a16="http://schemas.microsoft.com/office/drawing/2014/main" id="{74F7AF4D-E4E1-4FB0-BED3-DBE9567D3A34}"/>
                </a:ext>
              </a:extLst>
            </p:cNvPr>
            <p:cNvSpPr/>
            <p:nvPr/>
          </p:nvSpPr>
          <p:spPr>
            <a:xfrm>
              <a:off x="5537720" y="3291873"/>
              <a:ext cx="10800" cy="108798"/>
            </a:xfrm>
            <a:custGeom>
              <a:avLst/>
              <a:gdLst>
                <a:gd name="connsiteX0" fmla="*/ 10792 w 10800"/>
                <a:gd name="connsiteY0" fmla="*/ 127 h 108798"/>
                <a:gd name="connsiteX1" fmla="*/ 9904 w 10800"/>
                <a:gd name="connsiteY1" fmla="*/ 3301 h 108798"/>
                <a:gd name="connsiteX2" fmla="*/ 0 w 10800"/>
                <a:gd name="connsiteY2" fmla="*/ 15998 h 108798"/>
                <a:gd name="connsiteX3" fmla="*/ 0 w 10800"/>
                <a:gd name="connsiteY3" fmla="*/ 103986 h 108798"/>
                <a:gd name="connsiteX4" fmla="*/ 6069 w 10800"/>
                <a:gd name="connsiteY4" fmla="*/ 108760 h 108798"/>
                <a:gd name="connsiteX5" fmla="*/ 10031 w 10800"/>
                <a:gd name="connsiteY5" fmla="*/ 106272 h 108798"/>
                <a:gd name="connsiteX6" fmla="*/ 10031 w 10800"/>
                <a:gd name="connsiteY6" fmla="*/ 105383 h 108798"/>
                <a:gd name="connsiteX7" fmla="*/ 10031 w 10800"/>
                <a:gd name="connsiteY7" fmla="*/ 104494 h 108798"/>
                <a:gd name="connsiteX8" fmla="*/ 10031 w 10800"/>
                <a:gd name="connsiteY8" fmla="*/ 0 h 10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 h="108798">
                  <a:moveTo>
                    <a:pt x="10792" y="127"/>
                  </a:moveTo>
                  <a:cubicBezTo>
                    <a:pt x="10856" y="1257"/>
                    <a:pt x="10539" y="2374"/>
                    <a:pt x="9904" y="3301"/>
                  </a:cubicBezTo>
                  <a:lnTo>
                    <a:pt x="0" y="15998"/>
                  </a:lnTo>
                  <a:lnTo>
                    <a:pt x="0" y="103986"/>
                  </a:lnTo>
                  <a:cubicBezTo>
                    <a:pt x="356" y="106983"/>
                    <a:pt x="3073" y="109116"/>
                    <a:pt x="6069" y="108760"/>
                  </a:cubicBezTo>
                  <a:cubicBezTo>
                    <a:pt x="7695" y="108570"/>
                    <a:pt x="9155" y="107655"/>
                    <a:pt x="10031" y="106272"/>
                  </a:cubicBezTo>
                  <a:cubicBezTo>
                    <a:pt x="10094" y="105980"/>
                    <a:pt x="10094" y="105675"/>
                    <a:pt x="10031" y="105383"/>
                  </a:cubicBezTo>
                  <a:cubicBezTo>
                    <a:pt x="10031" y="105383"/>
                    <a:pt x="10031" y="104748"/>
                    <a:pt x="10031" y="104494"/>
                  </a:cubicBezTo>
                  <a:lnTo>
                    <a:pt x="10031" y="0"/>
                  </a:lnTo>
                  <a:close/>
                </a:path>
              </a:pathLst>
            </a:custGeom>
            <a:solidFill>
              <a:srgbClr val="000000"/>
            </a:solidFill>
            <a:ln w="12690" cap="flat">
              <a:noFill/>
              <a:prstDash val="solid"/>
              <a:miter/>
            </a:ln>
          </p:spPr>
          <p:txBody>
            <a:bodyPr rtlCol="0" anchor="ctr"/>
            <a:lstStyle/>
            <a:p>
              <a:endParaRPr lang="en-US"/>
            </a:p>
          </p:txBody>
        </p:sp>
        <p:sp>
          <p:nvSpPr>
            <p:cNvPr id="486" name="Freeform: Shape 485">
              <a:extLst>
                <a:ext uri="{FF2B5EF4-FFF2-40B4-BE49-F238E27FC236}">
                  <a16:creationId xmlns:a16="http://schemas.microsoft.com/office/drawing/2014/main" id="{DF1F3792-F8F9-4129-9A50-E0FFAB01B5B0}"/>
                </a:ext>
              </a:extLst>
            </p:cNvPr>
            <p:cNvSpPr/>
            <p:nvPr/>
          </p:nvSpPr>
          <p:spPr>
            <a:xfrm>
              <a:off x="5546988" y="3288699"/>
              <a:ext cx="634" cy="635"/>
            </a:xfrm>
            <a:custGeom>
              <a:avLst/>
              <a:gdLst>
                <a:gd name="connsiteX0" fmla="*/ 635 w 634"/>
                <a:gd name="connsiteY0" fmla="*/ 635 h 635"/>
                <a:gd name="connsiteX1" fmla="*/ 0 w 634"/>
                <a:gd name="connsiteY1" fmla="*/ 0 h 635"/>
                <a:gd name="connsiteX2" fmla="*/ 0 w 634"/>
                <a:gd name="connsiteY2" fmla="*/ 0 h 635"/>
              </a:gdLst>
              <a:ahLst/>
              <a:cxnLst>
                <a:cxn ang="0">
                  <a:pos x="connsiteX0" y="connsiteY0"/>
                </a:cxn>
                <a:cxn ang="0">
                  <a:pos x="connsiteX1" y="connsiteY1"/>
                </a:cxn>
                <a:cxn ang="0">
                  <a:pos x="connsiteX2" y="connsiteY2"/>
                </a:cxn>
              </a:cxnLst>
              <a:rect l="l" t="t" r="r" b="b"/>
              <a:pathLst>
                <a:path w="634" h="635">
                  <a:moveTo>
                    <a:pt x="635" y="635"/>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87" name="Freeform: Shape 486">
              <a:extLst>
                <a:ext uri="{FF2B5EF4-FFF2-40B4-BE49-F238E27FC236}">
                  <a16:creationId xmlns:a16="http://schemas.microsoft.com/office/drawing/2014/main" id="{A95D78D5-F26B-4D6A-8010-6F25DCDEA420}"/>
                </a:ext>
              </a:extLst>
            </p:cNvPr>
            <p:cNvSpPr/>
            <p:nvPr/>
          </p:nvSpPr>
          <p:spPr>
            <a:xfrm>
              <a:off x="5543560" y="328742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488" name="Freeform: Shape 487">
              <a:extLst>
                <a:ext uri="{FF2B5EF4-FFF2-40B4-BE49-F238E27FC236}">
                  <a16:creationId xmlns:a16="http://schemas.microsoft.com/office/drawing/2014/main" id="{2EA6CE54-927E-4B72-943A-8D6DFBD3D0DF}"/>
                </a:ext>
              </a:extLst>
            </p:cNvPr>
            <p:cNvSpPr/>
            <p:nvPr/>
          </p:nvSpPr>
          <p:spPr>
            <a:xfrm>
              <a:off x="5548512" y="3290096"/>
              <a:ext cx="12696" cy="888"/>
            </a:xfrm>
            <a:custGeom>
              <a:avLst/>
              <a:gdLst>
                <a:gd name="connsiteX0" fmla="*/ 0 w 12696"/>
                <a:gd name="connsiteY0" fmla="*/ 889 h 888"/>
                <a:gd name="connsiteX1" fmla="*/ 0 w 12696"/>
                <a:gd name="connsiteY1" fmla="*/ 0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89" name="Freeform: Shape 488">
              <a:extLst>
                <a:ext uri="{FF2B5EF4-FFF2-40B4-BE49-F238E27FC236}">
                  <a16:creationId xmlns:a16="http://schemas.microsoft.com/office/drawing/2014/main" id="{88590B5E-A2AA-4DE5-A1C1-28894A64A298}"/>
                </a:ext>
              </a:extLst>
            </p:cNvPr>
            <p:cNvSpPr/>
            <p:nvPr/>
          </p:nvSpPr>
          <p:spPr>
            <a:xfrm>
              <a:off x="5446937" y="3287556"/>
              <a:ext cx="100439" cy="128871"/>
            </a:xfrm>
            <a:custGeom>
              <a:avLst/>
              <a:gdLst>
                <a:gd name="connsiteX0" fmla="*/ 97131 w 100439"/>
                <a:gd name="connsiteY0" fmla="*/ 0 h 128871"/>
                <a:gd name="connsiteX1" fmla="*/ 95099 w 100439"/>
                <a:gd name="connsiteY1" fmla="*/ 0 h 128871"/>
                <a:gd name="connsiteX2" fmla="*/ 94084 w 100439"/>
                <a:gd name="connsiteY2" fmla="*/ 0 h 128871"/>
                <a:gd name="connsiteX3" fmla="*/ 93322 w 100439"/>
                <a:gd name="connsiteY3" fmla="*/ 0 h 128871"/>
                <a:gd name="connsiteX4" fmla="*/ 92433 w 100439"/>
                <a:gd name="connsiteY4" fmla="*/ 762 h 128871"/>
                <a:gd name="connsiteX5" fmla="*/ 92433 w 100439"/>
                <a:gd name="connsiteY5" fmla="*/ 762 h 128871"/>
                <a:gd name="connsiteX6" fmla="*/ 87862 w 100439"/>
                <a:gd name="connsiteY6" fmla="*/ 6603 h 128871"/>
                <a:gd name="connsiteX7" fmla="*/ 0 w 100439"/>
                <a:gd name="connsiteY7" fmla="*/ 122904 h 128871"/>
                <a:gd name="connsiteX8" fmla="*/ 3555 w 100439"/>
                <a:gd name="connsiteY8" fmla="*/ 123539 h 128871"/>
                <a:gd name="connsiteX9" fmla="*/ 3555 w 100439"/>
                <a:gd name="connsiteY9" fmla="*/ 123539 h 128871"/>
                <a:gd name="connsiteX10" fmla="*/ 4444 w 100439"/>
                <a:gd name="connsiteY10" fmla="*/ 123539 h 128871"/>
                <a:gd name="connsiteX11" fmla="*/ 5333 w 100439"/>
                <a:gd name="connsiteY11" fmla="*/ 124174 h 128871"/>
                <a:gd name="connsiteX12" fmla="*/ 6095 w 100439"/>
                <a:gd name="connsiteY12" fmla="*/ 124809 h 128871"/>
                <a:gd name="connsiteX13" fmla="*/ 6095 w 100439"/>
                <a:gd name="connsiteY13" fmla="*/ 125571 h 128871"/>
                <a:gd name="connsiteX14" fmla="*/ 6095 w 100439"/>
                <a:gd name="connsiteY14" fmla="*/ 126332 h 128871"/>
                <a:gd name="connsiteX15" fmla="*/ 6095 w 100439"/>
                <a:gd name="connsiteY15" fmla="*/ 127348 h 128871"/>
                <a:gd name="connsiteX16" fmla="*/ 6095 w 100439"/>
                <a:gd name="connsiteY16" fmla="*/ 127348 h 128871"/>
                <a:gd name="connsiteX17" fmla="*/ 6095 w 100439"/>
                <a:gd name="connsiteY17" fmla="*/ 128871 h 128871"/>
                <a:gd name="connsiteX18" fmla="*/ 89640 w 100439"/>
                <a:gd name="connsiteY18" fmla="*/ 19426 h 128871"/>
                <a:gd name="connsiteX19" fmla="*/ 99543 w 100439"/>
                <a:gd name="connsiteY19" fmla="*/ 6729 h 128871"/>
                <a:gd name="connsiteX20" fmla="*/ 100432 w 100439"/>
                <a:gd name="connsiteY20" fmla="*/ 3555 h 128871"/>
                <a:gd name="connsiteX21" fmla="*/ 100432 w 100439"/>
                <a:gd name="connsiteY21" fmla="*/ 3555 h 128871"/>
                <a:gd name="connsiteX22" fmla="*/ 100432 w 100439"/>
                <a:gd name="connsiteY22" fmla="*/ 3555 h 128871"/>
                <a:gd name="connsiteX23" fmla="*/ 100432 w 100439"/>
                <a:gd name="connsiteY23" fmla="*/ 2667 h 128871"/>
                <a:gd name="connsiteX24" fmla="*/ 100432 w 100439"/>
                <a:gd name="connsiteY24" fmla="*/ 2667 h 128871"/>
                <a:gd name="connsiteX25" fmla="*/ 100432 w 100439"/>
                <a:gd name="connsiteY25" fmla="*/ 2667 h 128871"/>
                <a:gd name="connsiteX26" fmla="*/ 99797 w 100439"/>
                <a:gd name="connsiteY26" fmla="*/ 2032 h 128871"/>
                <a:gd name="connsiteX27" fmla="*/ 99797 w 100439"/>
                <a:gd name="connsiteY27" fmla="*/ 2032 h 128871"/>
                <a:gd name="connsiteX28" fmla="*/ 99162 w 100439"/>
                <a:gd name="connsiteY28" fmla="*/ 2032 h 128871"/>
                <a:gd name="connsiteX29" fmla="*/ 98147 w 100439"/>
                <a:gd name="connsiteY29" fmla="*/ 2032 h 12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439" h="128871">
                  <a:moveTo>
                    <a:pt x="97131" y="0"/>
                  </a:moveTo>
                  <a:lnTo>
                    <a:pt x="95099" y="0"/>
                  </a:lnTo>
                  <a:lnTo>
                    <a:pt x="94084" y="0"/>
                  </a:lnTo>
                  <a:lnTo>
                    <a:pt x="93322" y="0"/>
                  </a:lnTo>
                  <a:cubicBezTo>
                    <a:pt x="93322" y="0"/>
                    <a:pt x="92687" y="0"/>
                    <a:pt x="92433" y="762"/>
                  </a:cubicBezTo>
                  <a:lnTo>
                    <a:pt x="92433" y="762"/>
                  </a:lnTo>
                  <a:lnTo>
                    <a:pt x="87862" y="6603"/>
                  </a:lnTo>
                  <a:lnTo>
                    <a:pt x="0" y="122904"/>
                  </a:lnTo>
                  <a:lnTo>
                    <a:pt x="3555" y="123539"/>
                  </a:lnTo>
                  <a:lnTo>
                    <a:pt x="3555" y="123539"/>
                  </a:lnTo>
                  <a:lnTo>
                    <a:pt x="4444" y="123539"/>
                  </a:lnTo>
                  <a:lnTo>
                    <a:pt x="5333" y="124174"/>
                  </a:lnTo>
                  <a:lnTo>
                    <a:pt x="6095" y="124809"/>
                  </a:lnTo>
                  <a:lnTo>
                    <a:pt x="6095" y="125571"/>
                  </a:lnTo>
                  <a:cubicBezTo>
                    <a:pt x="6183" y="125812"/>
                    <a:pt x="6183" y="126091"/>
                    <a:pt x="6095" y="126332"/>
                  </a:cubicBezTo>
                  <a:cubicBezTo>
                    <a:pt x="6145" y="126662"/>
                    <a:pt x="6145" y="127018"/>
                    <a:pt x="6095" y="127348"/>
                  </a:cubicBezTo>
                  <a:cubicBezTo>
                    <a:pt x="6095" y="127348"/>
                    <a:pt x="6095" y="127348"/>
                    <a:pt x="6095" y="127348"/>
                  </a:cubicBezTo>
                  <a:lnTo>
                    <a:pt x="6095" y="128871"/>
                  </a:lnTo>
                  <a:lnTo>
                    <a:pt x="89640" y="19426"/>
                  </a:lnTo>
                  <a:lnTo>
                    <a:pt x="99543" y="6729"/>
                  </a:lnTo>
                  <a:cubicBezTo>
                    <a:pt x="100178" y="5802"/>
                    <a:pt x="100495" y="4685"/>
                    <a:pt x="100432" y="3555"/>
                  </a:cubicBezTo>
                  <a:lnTo>
                    <a:pt x="100432" y="3555"/>
                  </a:lnTo>
                  <a:lnTo>
                    <a:pt x="100432" y="3555"/>
                  </a:lnTo>
                  <a:lnTo>
                    <a:pt x="100432" y="2667"/>
                  </a:lnTo>
                  <a:lnTo>
                    <a:pt x="100432" y="2667"/>
                  </a:lnTo>
                  <a:lnTo>
                    <a:pt x="100432" y="2667"/>
                  </a:lnTo>
                  <a:lnTo>
                    <a:pt x="99797" y="2032"/>
                  </a:lnTo>
                  <a:lnTo>
                    <a:pt x="99797" y="2032"/>
                  </a:lnTo>
                  <a:lnTo>
                    <a:pt x="99162" y="2032"/>
                  </a:lnTo>
                  <a:cubicBezTo>
                    <a:pt x="98832" y="1930"/>
                    <a:pt x="98477" y="1930"/>
                    <a:pt x="98147" y="2032"/>
                  </a:cubicBezTo>
                  <a:close/>
                </a:path>
              </a:pathLst>
            </a:custGeom>
            <a:solidFill>
              <a:srgbClr val="000000"/>
            </a:solidFill>
            <a:ln w="12690" cap="flat">
              <a:noFill/>
              <a:prstDash val="solid"/>
              <a:miter/>
            </a:ln>
          </p:spPr>
          <p:txBody>
            <a:bodyPr rtlCol="0" anchor="ctr"/>
            <a:lstStyle/>
            <a:p>
              <a:endParaRPr lang="en-US"/>
            </a:p>
          </p:txBody>
        </p:sp>
        <p:sp>
          <p:nvSpPr>
            <p:cNvPr id="490" name="Freeform: Shape 489">
              <a:extLst>
                <a:ext uri="{FF2B5EF4-FFF2-40B4-BE49-F238E27FC236}">
                  <a16:creationId xmlns:a16="http://schemas.microsoft.com/office/drawing/2014/main" id="{80C90B00-9F30-4A94-9562-C6B1DF952158}"/>
                </a:ext>
              </a:extLst>
            </p:cNvPr>
            <p:cNvSpPr/>
            <p:nvPr/>
          </p:nvSpPr>
          <p:spPr>
            <a:xfrm>
              <a:off x="5443763" y="3415412"/>
              <a:ext cx="10712" cy="109090"/>
            </a:xfrm>
            <a:custGeom>
              <a:avLst/>
              <a:gdLst>
                <a:gd name="connsiteX0" fmla="*/ 10665 w 10712"/>
                <a:gd name="connsiteY0" fmla="*/ 104494 h 109090"/>
                <a:gd name="connsiteX1" fmla="*/ 10665 w 10712"/>
                <a:gd name="connsiteY1" fmla="*/ 0 h 109090"/>
                <a:gd name="connsiteX2" fmla="*/ 10665 w 10712"/>
                <a:gd name="connsiteY2" fmla="*/ 0 h 109090"/>
                <a:gd name="connsiteX3" fmla="*/ 10665 w 10712"/>
                <a:gd name="connsiteY3" fmla="*/ 1396 h 109090"/>
                <a:gd name="connsiteX4" fmla="*/ 5333 w 10712"/>
                <a:gd name="connsiteY4" fmla="*/ 5333 h 109090"/>
                <a:gd name="connsiteX5" fmla="*/ 4317 w 10712"/>
                <a:gd name="connsiteY5" fmla="*/ 5333 h 109090"/>
                <a:gd name="connsiteX6" fmla="*/ 0 w 10712"/>
                <a:gd name="connsiteY6" fmla="*/ 4571 h 109090"/>
                <a:gd name="connsiteX7" fmla="*/ 0 w 10712"/>
                <a:gd name="connsiteY7" fmla="*/ 104113 h 109090"/>
                <a:gd name="connsiteX8" fmla="*/ 5320 w 10712"/>
                <a:gd name="connsiteY8" fmla="*/ 108938 h 109090"/>
                <a:gd name="connsiteX9" fmla="*/ 5333 w 10712"/>
                <a:gd name="connsiteY9" fmla="*/ 108938 h 109090"/>
                <a:gd name="connsiteX10" fmla="*/ 5333 w 10712"/>
                <a:gd name="connsiteY10" fmla="*/ 108938 h 109090"/>
                <a:gd name="connsiteX11" fmla="*/ 7618 w 10712"/>
                <a:gd name="connsiteY11" fmla="*/ 108938 h 109090"/>
                <a:gd name="connsiteX12" fmla="*/ 7618 w 10712"/>
                <a:gd name="connsiteY12" fmla="*/ 108938 h 109090"/>
                <a:gd name="connsiteX13" fmla="*/ 7618 w 10712"/>
                <a:gd name="connsiteY13" fmla="*/ 108938 h 109090"/>
                <a:gd name="connsiteX14" fmla="*/ 7618 w 10712"/>
                <a:gd name="connsiteY14" fmla="*/ 108938 h 109090"/>
                <a:gd name="connsiteX15" fmla="*/ 8253 w 10712"/>
                <a:gd name="connsiteY15" fmla="*/ 108303 h 109090"/>
                <a:gd name="connsiteX16" fmla="*/ 9269 w 10712"/>
                <a:gd name="connsiteY16" fmla="*/ 106526 h 109090"/>
                <a:gd name="connsiteX17" fmla="*/ 10665 w 10712"/>
                <a:gd name="connsiteY17" fmla="*/ 104494 h 10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12" h="109090">
                  <a:moveTo>
                    <a:pt x="10665" y="104494"/>
                  </a:moveTo>
                  <a:lnTo>
                    <a:pt x="10665" y="0"/>
                  </a:lnTo>
                  <a:cubicBezTo>
                    <a:pt x="10665" y="0"/>
                    <a:pt x="10665" y="0"/>
                    <a:pt x="10665" y="0"/>
                  </a:cubicBezTo>
                  <a:cubicBezTo>
                    <a:pt x="10729" y="457"/>
                    <a:pt x="10729" y="927"/>
                    <a:pt x="10665" y="1396"/>
                  </a:cubicBezTo>
                  <a:cubicBezTo>
                    <a:pt x="10056" y="3822"/>
                    <a:pt x="7821" y="5472"/>
                    <a:pt x="5333" y="5333"/>
                  </a:cubicBezTo>
                  <a:lnTo>
                    <a:pt x="4317" y="5333"/>
                  </a:lnTo>
                  <a:lnTo>
                    <a:pt x="0" y="4571"/>
                  </a:lnTo>
                  <a:lnTo>
                    <a:pt x="0" y="104113"/>
                  </a:lnTo>
                  <a:cubicBezTo>
                    <a:pt x="139" y="106919"/>
                    <a:pt x="2514" y="109077"/>
                    <a:pt x="5320" y="108938"/>
                  </a:cubicBezTo>
                  <a:cubicBezTo>
                    <a:pt x="5320" y="108938"/>
                    <a:pt x="5333" y="108938"/>
                    <a:pt x="5333" y="108938"/>
                  </a:cubicBezTo>
                  <a:lnTo>
                    <a:pt x="5333" y="108938"/>
                  </a:lnTo>
                  <a:cubicBezTo>
                    <a:pt x="6082" y="109141"/>
                    <a:pt x="6869" y="109141"/>
                    <a:pt x="7618" y="108938"/>
                  </a:cubicBezTo>
                  <a:lnTo>
                    <a:pt x="7618" y="108938"/>
                  </a:lnTo>
                  <a:lnTo>
                    <a:pt x="7618" y="108938"/>
                  </a:lnTo>
                  <a:lnTo>
                    <a:pt x="7618" y="108938"/>
                  </a:lnTo>
                  <a:cubicBezTo>
                    <a:pt x="7618" y="108938"/>
                    <a:pt x="7618" y="108938"/>
                    <a:pt x="8253" y="108303"/>
                  </a:cubicBezTo>
                  <a:cubicBezTo>
                    <a:pt x="8710" y="107783"/>
                    <a:pt x="9053" y="107185"/>
                    <a:pt x="9269" y="106526"/>
                  </a:cubicBezTo>
                  <a:cubicBezTo>
                    <a:pt x="9269" y="106526"/>
                    <a:pt x="10665" y="104748"/>
                    <a:pt x="10665" y="104494"/>
                  </a:cubicBezTo>
                  <a:close/>
                </a:path>
              </a:pathLst>
            </a:custGeom>
            <a:solidFill>
              <a:srgbClr val="000000"/>
            </a:solidFill>
            <a:ln w="12690" cap="flat">
              <a:noFill/>
              <a:prstDash val="solid"/>
              <a:miter/>
            </a:ln>
          </p:spPr>
          <p:txBody>
            <a:bodyPr rtlCol="0" anchor="ctr"/>
            <a:lstStyle/>
            <a:p>
              <a:endParaRPr lang="en-US"/>
            </a:p>
          </p:txBody>
        </p:sp>
        <p:sp>
          <p:nvSpPr>
            <p:cNvPr id="491" name="Freeform: Shape 490">
              <a:extLst>
                <a:ext uri="{FF2B5EF4-FFF2-40B4-BE49-F238E27FC236}">
                  <a16:creationId xmlns:a16="http://schemas.microsoft.com/office/drawing/2014/main" id="{6F08CD80-6939-4C1F-ABC5-7228BE3BA676}"/>
                </a:ext>
              </a:extLst>
            </p:cNvPr>
            <p:cNvSpPr/>
            <p:nvPr/>
          </p:nvSpPr>
          <p:spPr>
            <a:xfrm>
              <a:off x="4364603" y="3215359"/>
              <a:ext cx="1089130" cy="204759"/>
            </a:xfrm>
            <a:custGeom>
              <a:avLst/>
              <a:gdLst>
                <a:gd name="connsiteX0" fmla="*/ 57 w 1089130"/>
                <a:gd name="connsiteY0" fmla="*/ 5793 h 204759"/>
                <a:gd name="connsiteX1" fmla="*/ 57 w 1089130"/>
                <a:gd name="connsiteY1" fmla="*/ 6682 h 204759"/>
                <a:gd name="connsiteX2" fmla="*/ 57 w 1089130"/>
                <a:gd name="connsiteY2" fmla="*/ 7571 h 204759"/>
                <a:gd name="connsiteX3" fmla="*/ 692 w 1089130"/>
                <a:gd name="connsiteY3" fmla="*/ 8333 h 204759"/>
                <a:gd name="connsiteX4" fmla="*/ 1327 w 1089130"/>
                <a:gd name="connsiteY4" fmla="*/ 8333 h 204759"/>
                <a:gd name="connsiteX5" fmla="*/ 3485 w 1089130"/>
                <a:gd name="connsiteY5" fmla="*/ 9222 h 204759"/>
                <a:gd name="connsiteX6" fmla="*/ 9961 w 1089130"/>
                <a:gd name="connsiteY6" fmla="*/ 10364 h 204759"/>
                <a:gd name="connsiteX7" fmla="*/ 1078399 w 1089130"/>
                <a:gd name="connsiteY7" fmla="*/ 203989 h 204759"/>
                <a:gd name="connsiteX8" fmla="*/ 1082715 w 1089130"/>
                <a:gd name="connsiteY8" fmla="*/ 204751 h 204759"/>
                <a:gd name="connsiteX9" fmla="*/ 1083731 w 1089130"/>
                <a:gd name="connsiteY9" fmla="*/ 204751 h 204759"/>
                <a:gd name="connsiteX10" fmla="*/ 1089064 w 1089130"/>
                <a:gd name="connsiteY10" fmla="*/ 200815 h 204759"/>
                <a:gd name="connsiteX11" fmla="*/ 1089064 w 1089130"/>
                <a:gd name="connsiteY11" fmla="*/ 199418 h 204759"/>
                <a:gd name="connsiteX12" fmla="*/ 1089064 w 1089130"/>
                <a:gd name="connsiteY12" fmla="*/ 198402 h 204759"/>
                <a:gd name="connsiteX13" fmla="*/ 1089064 w 1089130"/>
                <a:gd name="connsiteY13" fmla="*/ 197641 h 204759"/>
                <a:gd name="connsiteX14" fmla="*/ 1089064 w 1089130"/>
                <a:gd name="connsiteY14" fmla="*/ 196879 h 204759"/>
                <a:gd name="connsiteX15" fmla="*/ 1088302 w 1089130"/>
                <a:gd name="connsiteY15" fmla="*/ 196244 h 204759"/>
                <a:gd name="connsiteX16" fmla="*/ 1087413 w 1089130"/>
                <a:gd name="connsiteY16" fmla="*/ 195609 h 204759"/>
                <a:gd name="connsiteX17" fmla="*/ 1086524 w 1089130"/>
                <a:gd name="connsiteY17" fmla="*/ 195609 h 204759"/>
                <a:gd name="connsiteX18" fmla="*/ 1086524 w 1089130"/>
                <a:gd name="connsiteY18" fmla="*/ 195609 h 204759"/>
                <a:gd name="connsiteX19" fmla="*/ 1082969 w 1089130"/>
                <a:gd name="connsiteY19" fmla="*/ 194974 h 204759"/>
                <a:gd name="connsiteX20" fmla="*/ 16436 w 1089130"/>
                <a:gd name="connsiteY20" fmla="*/ 1731 h 204759"/>
                <a:gd name="connsiteX21" fmla="*/ 7802 w 1089130"/>
                <a:gd name="connsiteY21" fmla="*/ 80 h 204759"/>
                <a:gd name="connsiteX22" fmla="*/ 2343 w 1089130"/>
                <a:gd name="connsiteY22" fmla="*/ 2111 h 204759"/>
                <a:gd name="connsiteX23" fmla="*/ 2343 w 1089130"/>
                <a:gd name="connsiteY23" fmla="*/ 2111 h 204759"/>
                <a:gd name="connsiteX24" fmla="*/ 2343 w 1089130"/>
                <a:gd name="connsiteY24" fmla="*/ 2111 h 204759"/>
                <a:gd name="connsiteX25" fmla="*/ 2343 w 1089130"/>
                <a:gd name="connsiteY25" fmla="*/ 3127 h 204759"/>
                <a:gd name="connsiteX26" fmla="*/ 2343 w 1089130"/>
                <a:gd name="connsiteY26" fmla="*/ 3127 h 204759"/>
                <a:gd name="connsiteX27" fmla="*/ 2343 w 1089130"/>
                <a:gd name="connsiteY27" fmla="*/ 3762 h 204759"/>
                <a:gd name="connsiteX28" fmla="*/ 57 w 1089130"/>
                <a:gd name="connsiteY28" fmla="*/ 5793 h 20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9130" h="204759">
                  <a:moveTo>
                    <a:pt x="57" y="5793"/>
                  </a:moveTo>
                  <a:cubicBezTo>
                    <a:pt x="-19" y="6086"/>
                    <a:pt x="-19" y="6390"/>
                    <a:pt x="57" y="6682"/>
                  </a:cubicBezTo>
                  <a:cubicBezTo>
                    <a:pt x="-6" y="6974"/>
                    <a:pt x="-6" y="7279"/>
                    <a:pt x="57" y="7571"/>
                  </a:cubicBezTo>
                  <a:cubicBezTo>
                    <a:pt x="57" y="7571"/>
                    <a:pt x="57" y="7571"/>
                    <a:pt x="692" y="8333"/>
                  </a:cubicBezTo>
                  <a:cubicBezTo>
                    <a:pt x="1327" y="9095"/>
                    <a:pt x="692" y="8333"/>
                    <a:pt x="1327" y="8333"/>
                  </a:cubicBezTo>
                  <a:cubicBezTo>
                    <a:pt x="1987" y="8752"/>
                    <a:pt x="2723" y="9057"/>
                    <a:pt x="3485" y="9222"/>
                  </a:cubicBezTo>
                  <a:lnTo>
                    <a:pt x="9961" y="10364"/>
                  </a:lnTo>
                  <a:lnTo>
                    <a:pt x="1078399" y="203989"/>
                  </a:lnTo>
                  <a:lnTo>
                    <a:pt x="1082715" y="204751"/>
                  </a:lnTo>
                  <a:lnTo>
                    <a:pt x="1083731" y="204751"/>
                  </a:lnTo>
                  <a:cubicBezTo>
                    <a:pt x="1086220" y="204891"/>
                    <a:pt x="1088454" y="203240"/>
                    <a:pt x="1089064" y="200815"/>
                  </a:cubicBezTo>
                  <a:cubicBezTo>
                    <a:pt x="1089127" y="200345"/>
                    <a:pt x="1089127" y="199888"/>
                    <a:pt x="1089064" y="199418"/>
                  </a:cubicBezTo>
                  <a:cubicBezTo>
                    <a:pt x="1089115" y="199088"/>
                    <a:pt x="1089115" y="198733"/>
                    <a:pt x="1089064" y="198402"/>
                  </a:cubicBezTo>
                  <a:cubicBezTo>
                    <a:pt x="1089153" y="198161"/>
                    <a:pt x="1089153" y="197882"/>
                    <a:pt x="1089064" y="197641"/>
                  </a:cubicBezTo>
                  <a:lnTo>
                    <a:pt x="1089064" y="196879"/>
                  </a:lnTo>
                  <a:lnTo>
                    <a:pt x="1088302" y="196244"/>
                  </a:lnTo>
                  <a:lnTo>
                    <a:pt x="1087413" y="195609"/>
                  </a:lnTo>
                  <a:lnTo>
                    <a:pt x="1086524" y="195609"/>
                  </a:lnTo>
                  <a:lnTo>
                    <a:pt x="1086524" y="195609"/>
                  </a:lnTo>
                  <a:lnTo>
                    <a:pt x="1082969" y="194974"/>
                  </a:lnTo>
                  <a:lnTo>
                    <a:pt x="16436" y="1731"/>
                  </a:lnTo>
                  <a:lnTo>
                    <a:pt x="7802" y="80"/>
                  </a:lnTo>
                  <a:cubicBezTo>
                    <a:pt x="5745" y="-263"/>
                    <a:pt x="3676" y="512"/>
                    <a:pt x="2343" y="2111"/>
                  </a:cubicBezTo>
                  <a:lnTo>
                    <a:pt x="2343" y="2111"/>
                  </a:lnTo>
                  <a:lnTo>
                    <a:pt x="2343" y="2111"/>
                  </a:lnTo>
                  <a:cubicBezTo>
                    <a:pt x="2317" y="2454"/>
                    <a:pt x="2317" y="2784"/>
                    <a:pt x="2343" y="3127"/>
                  </a:cubicBezTo>
                  <a:lnTo>
                    <a:pt x="2343" y="3127"/>
                  </a:lnTo>
                  <a:lnTo>
                    <a:pt x="2343" y="3762"/>
                  </a:lnTo>
                  <a:cubicBezTo>
                    <a:pt x="2343" y="3762"/>
                    <a:pt x="-70" y="5539"/>
                    <a:pt x="57" y="5793"/>
                  </a:cubicBezTo>
                  <a:close/>
                </a:path>
              </a:pathLst>
            </a:custGeom>
            <a:solidFill>
              <a:schemeClr val="accent1">
                <a:lumMod val="75000"/>
              </a:schemeClr>
            </a:solidFill>
            <a:ln w="12690" cap="flat">
              <a:noFill/>
              <a:prstDash val="solid"/>
              <a:miter/>
            </a:ln>
          </p:spPr>
          <p:txBody>
            <a:bodyPr rtlCol="0" anchor="ctr"/>
            <a:lstStyle/>
            <a:p>
              <a:endParaRPr lang="en-US"/>
            </a:p>
          </p:txBody>
        </p:sp>
        <p:sp>
          <p:nvSpPr>
            <p:cNvPr id="492" name="Freeform: Shape 491">
              <a:extLst>
                <a:ext uri="{FF2B5EF4-FFF2-40B4-BE49-F238E27FC236}">
                  <a16:creationId xmlns:a16="http://schemas.microsoft.com/office/drawing/2014/main" id="{D0519E3A-1811-40B7-B877-57422A9A8D5C}"/>
                </a:ext>
              </a:extLst>
            </p:cNvPr>
            <p:cNvSpPr/>
            <p:nvPr/>
          </p:nvSpPr>
          <p:spPr>
            <a:xfrm>
              <a:off x="8653393" y="4101034"/>
              <a:ext cx="97638" cy="84687"/>
            </a:xfrm>
            <a:custGeom>
              <a:avLst/>
              <a:gdLst>
                <a:gd name="connsiteX0" fmla="*/ 88370 w 97638"/>
                <a:gd name="connsiteY0" fmla="*/ 2032 h 84687"/>
                <a:gd name="connsiteX1" fmla="*/ 88370 w 97638"/>
                <a:gd name="connsiteY1" fmla="*/ 0 h 84687"/>
                <a:gd name="connsiteX2" fmla="*/ 1651 w 97638"/>
                <a:gd name="connsiteY2" fmla="*/ 70721 h 84687"/>
                <a:gd name="connsiteX3" fmla="*/ 1651 w 97638"/>
                <a:gd name="connsiteY3" fmla="*/ 81640 h 84687"/>
                <a:gd name="connsiteX4" fmla="*/ 1651 w 97638"/>
                <a:gd name="connsiteY4" fmla="*/ 82401 h 84687"/>
                <a:gd name="connsiteX5" fmla="*/ 1651 w 97638"/>
                <a:gd name="connsiteY5" fmla="*/ 82401 h 84687"/>
                <a:gd name="connsiteX6" fmla="*/ 1651 w 97638"/>
                <a:gd name="connsiteY6" fmla="*/ 82401 h 84687"/>
                <a:gd name="connsiteX7" fmla="*/ 0 w 97638"/>
                <a:gd name="connsiteY7" fmla="*/ 84687 h 84687"/>
                <a:gd name="connsiteX8" fmla="*/ 0 w 97638"/>
                <a:gd name="connsiteY8" fmla="*/ 84687 h 84687"/>
                <a:gd name="connsiteX9" fmla="*/ 97639 w 97638"/>
                <a:gd name="connsiteY9" fmla="*/ 5206 h 84687"/>
                <a:gd name="connsiteX10" fmla="*/ 97639 w 97638"/>
                <a:gd name="connsiteY10" fmla="*/ 5206 h 84687"/>
                <a:gd name="connsiteX11" fmla="*/ 93957 w 97638"/>
                <a:gd name="connsiteY11" fmla="*/ 6475 h 84687"/>
                <a:gd name="connsiteX12" fmla="*/ 88370 w 97638"/>
                <a:gd name="connsiteY12" fmla="*/ 2032 h 8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638" h="84687">
                  <a:moveTo>
                    <a:pt x="88370" y="2032"/>
                  </a:moveTo>
                  <a:lnTo>
                    <a:pt x="88370" y="0"/>
                  </a:lnTo>
                  <a:lnTo>
                    <a:pt x="1651" y="70721"/>
                  </a:lnTo>
                  <a:lnTo>
                    <a:pt x="1651" y="81640"/>
                  </a:lnTo>
                  <a:cubicBezTo>
                    <a:pt x="1702" y="81894"/>
                    <a:pt x="1702" y="82148"/>
                    <a:pt x="1651" y="82401"/>
                  </a:cubicBezTo>
                  <a:cubicBezTo>
                    <a:pt x="1651" y="82401"/>
                    <a:pt x="1651" y="82401"/>
                    <a:pt x="1651" y="82401"/>
                  </a:cubicBezTo>
                  <a:lnTo>
                    <a:pt x="1651" y="82401"/>
                  </a:lnTo>
                  <a:cubicBezTo>
                    <a:pt x="1346" y="83316"/>
                    <a:pt x="762" y="84103"/>
                    <a:pt x="0" y="84687"/>
                  </a:cubicBezTo>
                  <a:lnTo>
                    <a:pt x="0" y="84687"/>
                  </a:lnTo>
                  <a:lnTo>
                    <a:pt x="97639" y="5206"/>
                  </a:lnTo>
                  <a:lnTo>
                    <a:pt x="97639" y="5206"/>
                  </a:lnTo>
                  <a:cubicBezTo>
                    <a:pt x="96585" y="6018"/>
                    <a:pt x="95290" y="6463"/>
                    <a:pt x="93957" y="6475"/>
                  </a:cubicBezTo>
                  <a:cubicBezTo>
                    <a:pt x="91214" y="6704"/>
                    <a:pt x="88764" y="4761"/>
                    <a:pt x="88370" y="2032"/>
                  </a:cubicBezTo>
                  <a:close/>
                </a:path>
              </a:pathLst>
            </a:custGeom>
            <a:solidFill>
              <a:srgbClr val="000000"/>
            </a:solidFill>
            <a:ln w="12690" cap="flat">
              <a:noFill/>
              <a:prstDash val="solid"/>
              <a:miter/>
            </a:ln>
          </p:spPr>
          <p:txBody>
            <a:bodyPr rtlCol="0" anchor="ctr"/>
            <a:lstStyle/>
            <a:p>
              <a:endParaRPr lang="en-US"/>
            </a:p>
          </p:txBody>
        </p:sp>
        <p:sp>
          <p:nvSpPr>
            <p:cNvPr id="493" name="Freeform: Shape 492">
              <a:extLst>
                <a:ext uri="{FF2B5EF4-FFF2-40B4-BE49-F238E27FC236}">
                  <a16:creationId xmlns:a16="http://schemas.microsoft.com/office/drawing/2014/main" id="{1BA5CB48-9C1F-4CE2-986D-4365813F3388}"/>
                </a:ext>
              </a:extLst>
            </p:cNvPr>
            <p:cNvSpPr/>
            <p:nvPr/>
          </p:nvSpPr>
          <p:spPr>
            <a:xfrm>
              <a:off x="8251920" y="4080593"/>
              <a:ext cx="397410" cy="106906"/>
            </a:xfrm>
            <a:custGeom>
              <a:avLst/>
              <a:gdLst>
                <a:gd name="connsiteX0" fmla="*/ 392205 w 397410"/>
                <a:gd name="connsiteY0" fmla="*/ 101827 h 106906"/>
                <a:gd name="connsiteX1" fmla="*/ 392205 w 397410"/>
                <a:gd name="connsiteY1" fmla="*/ 95479 h 106906"/>
                <a:gd name="connsiteX2" fmla="*/ 7110 w 397410"/>
                <a:gd name="connsiteY2" fmla="*/ 0 h 106906"/>
                <a:gd name="connsiteX3" fmla="*/ 7110 w 397410"/>
                <a:gd name="connsiteY3" fmla="*/ 3682 h 106906"/>
                <a:gd name="connsiteX4" fmla="*/ 1778 w 397410"/>
                <a:gd name="connsiteY4" fmla="*/ 8634 h 106906"/>
                <a:gd name="connsiteX5" fmla="*/ 0 w 397410"/>
                <a:gd name="connsiteY5" fmla="*/ 8634 h 106906"/>
                <a:gd name="connsiteX6" fmla="*/ 0 w 397410"/>
                <a:gd name="connsiteY6" fmla="*/ 8634 h 106906"/>
                <a:gd name="connsiteX7" fmla="*/ 396014 w 397410"/>
                <a:gd name="connsiteY7" fmla="*/ 106906 h 106906"/>
                <a:gd name="connsiteX8" fmla="*/ 397410 w 397410"/>
                <a:gd name="connsiteY8" fmla="*/ 106906 h 106906"/>
                <a:gd name="connsiteX9" fmla="*/ 392205 w 397410"/>
                <a:gd name="connsiteY9" fmla="*/ 101827 h 10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410" h="106906">
                  <a:moveTo>
                    <a:pt x="392205" y="101827"/>
                  </a:moveTo>
                  <a:lnTo>
                    <a:pt x="392205" y="95479"/>
                  </a:lnTo>
                  <a:lnTo>
                    <a:pt x="7110" y="0"/>
                  </a:lnTo>
                  <a:lnTo>
                    <a:pt x="7110" y="3682"/>
                  </a:lnTo>
                  <a:cubicBezTo>
                    <a:pt x="6971" y="6501"/>
                    <a:pt x="4609" y="8710"/>
                    <a:pt x="1778" y="8634"/>
                  </a:cubicBezTo>
                  <a:cubicBezTo>
                    <a:pt x="1193" y="8760"/>
                    <a:pt x="584" y="8760"/>
                    <a:pt x="0" y="8634"/>
                  </a:cubicBezTo>
                  <a:lnTo>
                    <a:pt x="0" y="8634"/>
                  </a:lnTo>
                  <a:lnTo>
                    <a:pt x="396014" y="106906"/>
                  </a:lnTo>
                  <a:lnTo>
                    <a:pt x="397410" y="106906"/>
                  </a:lnTo>
                  <a:cubicBezTo>
                    <a:pt x="394580" y="106906"/>
                    <a:pt x="392269" y="104659"/>
                    <a:pt x="392205" y="101827"/>
                  </a:cubicBezTo>
                  <a:close/>
                </a:path>
              </a:pathLst>
            </a:custGeom>
            <a:solidFill>
              <a:srgbClr val="000000"/>
            </a:solidFill>
            <a:ln w="12690" cap="flat">
              <a:noFill/>
              <a:prstDash val="solid"/>
              <a:miter/>
            </a:ln>
          </p:spPr>
          <p:txBody>
            <a:bodyPr rtlCol="0" anchor="ctr"/>
            <a:lstStyle/>
            <a:p>
              <a:endParaRPr lang="en-US"/>
            </a:p>
          </p:txBody>
        </p:sp>
        <p:sp>
          <p:nvSpPr>
            <p:cNvPr id="494" name="Freeform: Shape 493">
              <a:extLst>
                <a:ext uri="{FF2B5EF4-FFF2-40B4-BE49-F238E27FC236}">
                  <a16:creationId xmlns:a16="http://schemas.microsoft.com/office/drawing/2014/main" id="{B4BA4B6D-A5E7-463E-9E58-D5E59CBE33BD}"/>
                </a:ext>
              </a:extLst>
            </p:cNvPr>
            <p:cNvSpPr/>
            <p:nvPr/>
          </p:nvSpPr>
          <p:spPr>
            <a:xfrm>
              <a:off x="8654791" y="4183816"/>
              <a:ext cx="47" cy="761"/>
            </a:xfrm>
            <a:custGeom>
              <a:avLst/>
              <a:gdLst>
                <a:gd name="connsiteX0" fmla="*/ 0 w 47"/>
                <a:gd name="connsiteY0" fmla="*/ 0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0"/>
                  </a:moveTo>
                  <a:cubicBezTo>
                    <a:pt x="0" y="0"/>
                    <a:pt x="0" y="0"/>
                    <a:pt x="0" y="0"/>
                  </a:cubicBezTo>
                  <a:cubicBezTo>
                    <a:pt x="64" y="254"/>
                    <a:pt x="64" y="508"/>
                    <a:pt x="0" y="762"/>
                  </a:cubicBezTo>
                  <a:close/>
                </a:path>
              </a:pathLst>
            </a:custGeom>
            <a:solidFill>
              <a:srgbClr val="000000"/>
            </a:solidFill>
            <a:ln w="12690" cap="flat">
              <a:noFill/>
              <a:prstDash val="solid"/>
              <a:miter/>
            </a:ln>
          </p:spPr>
          <p:txBody>
            <a:bodyPr rtlCol="0" anchor="ctr"/>
            <a:lstStyle/>
            <a:p>
              <a:endParaRPr lang="en-US"/>
            </a:p>
          </p:txBody>
        </p:sp>
        <p:sp>
          <p:nvSpPr>
            <p:cNvPr id="495" name="Freeform: Shape 494">
              <a:extLst>
                <a:ext uri="{FF2B5EF4-FFF2-40B4-BE49-F238E27FC236}">
                  <a16:creationId xmlns:a16="http://schemas.microsoft.com/office/drawing/2014/main" id="{FC885A14-C193-45D1-B4C5-6A8057EB8555}"/>
                </a:ext>
              </a:extLst>
            </p:cNvPr>
            <p:cNvSpPr/>
            <p:nvPr/>
          </p:nvSpPr>
          <p:spPr>
            <a:xfrm>
              <a:off x="8249889" y="397762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496" name="Freeform: Shape 495">
              <a:extLst>
                <a:ext uri="{FF2B5EF4-FFF2-40B4-BE49-F238E27FC236}">
                  <a16:creationId xmlns:a16="http://schemas.microsoft.com/office/drawing/2014/main" id="{227EA2EF-CA49-4E99-BC12-D8AFD5A1D419}"/>
                </a:ext>
              </a:extLst>
            </p:cNvPr>
            <p:cNvSpPr/>
            <p:nvPr/>
          </p:nvSpPr>
          <p:spPr>
            <a:xfrm>
              <a:off x="8248689" y="3979146"/>
              <a:ext cx="56" cy="56"/>
            </a:xfrm>
            <a:custGeom>
              <a:avLst/>
              <a:gdLst>
                <a:gd name="connsiteX0" fmla="*/ 56 w 56"/>
                <a:gd name="connsiteY0" fmla="*/ 0 h 56"/>
                <a:gd name="connsiteX1" fmla="*/ 56 w 56"/>
                <a:gd name="connsiteY1" fmla="*/ 0 h 56"/>
                <a:gd name="connsiteX2" fmla="*/ 56 w 56"/>
                <a:gd name="connsiteY2" fmla="*/ 0 h 56"/>
                <a:gd name="connsiteX3" fmla="*/ 56 w 56"/>
                <a:gd name="connsiteY3" fmla="*/ 0 h 56"/>
              </a:gdLst>
              <a:ahLst/>
              <a:cxnLst>
                <a:cxn ang="0">
                  <a:pos x="connsiteX0" y="connsiteY0"/>
                </a:cxn>
                <a:cxn ang="0">
                  <a:pos x="connsiteX1" y="connsiteY1"/>
                </a:cxn>
                <a:cxn ang="0">
                  <a:pos x="connsiteX2" y="connsiteY2"/>
                </a:cxn>
                <a:cxn ang="0">
                  <a:pos x="connsiteX3" y="connsiteY3"/>
                </a:cxn>
              </a:cxnLst>
              <a:rect l="l" t="t" r="r" b="b"/>
              <a:pathLst>
                <a:path w="56" h="56">
                  <a:moveTo>
                    <a:pt x="56" y="0"/>
                  </a:moveTo>
                  <a:lnTo>
                    <a:pt x="56" y="0"/>
                  </a:lnTo>
                  <a:lnTo>
                    <a:pt x="56" y="0"/>
                  </a:lnTo>
                  <a:cubicBezTo>
                    <a:pt x="56" y="0"/>
                    <a:pt x="-71" y="127"/>
                    <a:pt x="56" y="0"/>
                  </a:cubicBezTo>
                  <a:close/>
                </a:path>
              </a:pathLst>
            </a:custGeom>
            <a:solidFill>
              <a:srgbClr val="000000"/>
            </a:solidFill>
            <a:ln w="12690" cap="flat">
              <a:noFill/>
              <a:prstDash val="solid"/>
              <a:miter/>
            </a:ln>
          </p:spPr>
          <p:txBody>
            <a:bodyPr rtlCol="0" anchor="ctr"/>
            <a:lstStyle/>
            <a:p>
              <a:endParaRPr lang="en-US"/>
            </a:p>
          </p:txBody>
        </p:sp>
        <p:sp>
          <p:nvSpPr>
            <p:cNvPr id="497" name="Freeform: Shape 496">
              <a:extLst>
                <a:ext uri="{FF2B5EF4-FFF2-40B4-BE49-F238E27FC236}">
                  <a16:creationId xmlns:a16="http://schemas.microsoft.com/office/drawing/2014/main" id="{01354500-E234-42B8-9379-E7DFBD4258EE}"/>
                </a:ext>
              </a:extLst>
            </p:cNvPr>
            <p:cNvSpPr/>
            <p:nvPr/>
          </p:nvSpPr>
          <p:spPr>
            <a:xfrm>
              <a:off x="8249587" y="3982447"/>
              <a:ext cx="9443" cy="106493"/>
            </a:xfrm>
            <a:custGeom>
              <a:avLst/>
              <a:gdLst>
                <a:gd name="connsiteX0" fmla="*/ 9443 w 9443"/>
                <a:gd name="connsiteY0" fmla="*/ 101827 h 106493"/>
                <a:gd name="connsiteX1" fmla="*/ 9443 w 9443"/>
                <a:gd name="connsiteY1" fmla="*/ 5079 h 106493"/>
                <a:gd name="connsiteX2" fmla="*/ 2587 w 9443"/>
                <a:gd name="connsiteY2" fmla="*/ 3428 h 106493"/>
                <a:gd name="connsiteX3" fmla="*/ 2587 w 9443"/>
                <a:gd name="connsiteY3" fmla="*/ 3428 h 106493"/>
                <a:gd name="connsiteX4" fmla="*/ 1825 w 9443"/>
                <a:gd name="connsiteY4" fmla="*/ 3428 h 106493"/>
                <a:gd name="connsiteX5" fmla="*/ 682 w 9443"/>
                <a:gd name="connsiteY5" fmla="*/ 2666 h 106493"/>
                <a:gd name="connsiteX6" fmla="*/ 682 w 9443"/>
                <a:gd name="connsiteY6" fmla="*/ 2666 h 106493"/>
                <a:gd name="connsiteX7" fmla="*/ 682 w 9443"/>
                <a:gd name="connsiteY7" fmla="*/ 2666 h 106493"/>
                <a:gd name="connsiteX8" fmla="*/ 48 w 9443"/>
                <a:gd name="connsiteY8" fmla="*/ 1777 h 106493"/>
                <a:gd name="connsiteX9" fmla="*/ 48 w 9443"/>
                <a:gd name="connsiteY9" fmla="*/ 1016 h 106493"/>
                <a:gd name="connsiteX10" fmla="*/ 48 w 9443"/>
                <a:gd name="connsiteY10" fmla="*/ 0 h 106493"/>
                <a:gd name="connsiteX11" fmla="*/ 48 w 9443"/>
                <a:gd name="connsiteY11" fmla="*/ 0 h 106493"/>
                <a:gd name="connsiteX12" fmla="*/ 48 w 9443"/>
                <a:gd name="connsiteY12" fmla="*/ 0 h 106493"/>
                <a:gd name="connsiteX13" fmla="*/ 48 w 9443"/>
                <a:gd name="connsiteY13" fmla="*/ 103097 h 106493"/>
                <a:gd name="connsiteX14" fmla="*/ 48 w 9443"/>
                <a:gd name="connsiteY14" fmla="*/ 103097 h 106493"/>
                <a:gd name="connsiteX15" fmla="*/ 48 w 9443"/>
                <a:gd name="connsiteY15" fmla="*/ 103986 h 106493"/>
                <a:gd name="connsiteX16" fmla="*/ 48 w 9443"/>
                <a:gd name="connsiteY16" fmla="*/ 104875 h 106493"/>
                <a:gd name="connsiteX17" fmla="*/ 48 w 9443"/>
                <a:gd name="connsiteY17" fmla="*/ 105637 h 106493"/>
                <a:gd name="connsiteX18" fmla="*/ 809 w 9443"/>
                <a:gd name="connsiteY18" fmla="*/ 106398 h 106493"/>
                <a:gd name="connsiteX19" fmla="*/ 1571 w 9443"/>
                <a:gd name="connsiteY19" fmla="*/ 106398 h 106493"/>
                <a:gd name="connsiteX20" fmla="*/ 2587 w 9443"/>
                <a:gd name="connsiteY20" fmla="*/ 106398 h 106493"/>
                <a:gd name="connsiteX21" fmla="*/ 4365 w 9443"/>
                <a:gd name="connsiteY21" fmla="*/ 106398 h 106493"/>
                <a:gd name="connsiteX22" fmla="*/ 9443 w 9443"/>
                <a:gd name="connsiteY22" fmla="*/ 101827 h 10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443" h="106493">
                  <a:moveTo>
                    <a:pt x="9443" y="101827"/>
                  </a:moveTo>
                  <a:lnTo>
                    <a:pt x="9443" y="5079"/>
                  </a:lnTo>
                  <a:lnTo>
                    <a:pt x="2587" y="3428"/>
                  </a:lnTo>
                  <a:lnTo>
                    <a:pt x="2587" y="3428"/>
                  </a:lnTo>
                  <a:lnTo>
                    <a:pt x="1825" y="3428"/>
                  </a:lnTo>
                  <a:lnTo>
                    <a:pt x="682" y="2666"/>
                  </a:lnTo>
                  <a:lnTo>
                    <a:pt x="682" y="2666"/>
                  </a:lnTo>
                  <a:lnTo>
                    <a:pt x="682" y="2666"/>
                  </a:lnTo>
                  <a:cubicBezTo>
                    <a:pt x="403" y="2425"/>
                    <a:pt x="187" y="2120"/>
                    <a:pt x="48" y="1777"/>
                  </a:cubicBezTo>
                  <a:cubicBezTo>
                    <a:pt x="-3" y="1524"/>
                    <a:pt x="-3" y="1270"/>
                    <a:pt x="48" y="1016"/>
                  </a:cubicBezTo>
                  <a:cubicBezTo>
                    <a:pt x="-16" y="685"/>
                    <a:pt x="-16" y="330"/>
                    <a:pt x="48" y="0"/>
                  </a:cubicBezTo>
                  <a:lnTo>
                    <a:pt x="48" y="0"/>
                  </a:lnTo>
                  <a:lnTo>
                    <a:pt x="48" y="0"/>
                  </a:lnTo>
                  <a:lnTo>
                    <a:pt x="48" y="103097"/>
                  </a:lnTo>
                  <a:lnTo>
                    <a:pt x="48" y="103097"/>
                  </a:lnTo>
                  <a:cubicBezTo>
                    <a:pt x="-16" y="103389"/>
                    <a:pt x="-16" y="103694"/>
                    <a:pt x="48" y="103986"/>
                  </a:cubicBezTo>
                  <a:lnTo>
                    <a:pt x="48" y="104875"/>
                  </a:lnTo>
                  <a:lnTo>
                    <a:pt x="48" y="105637"/>
                  </a:lnTo>
                  <a:lnTo>
                    <a:pt x="809" y="106398"/>
                  </a:lnTo>
                  <a:lnTo>
                    <a:pt x="1571" y="106398"/>
                  </a:lnTo>
                  <a:lnTo>
                    <a:pt x="2587" y="106398"/>
                  </a:lnTo>
                  <a:cubicBezTo>
                    <a:pt x="3171" y="106525"/>
                    <a:pt x="3781" y="106525"/>
                    <a:pt x="4365" y="106398"/>
                  </a:cubicBezTo>
                  <a:cubicBezTo>
                    <a:pt x="6955" y="106360"/>
                    <a:pt x="9126" y="104405"/>
                    <a:pt x="9443" y="101827"/>
                  </a:cubicBezTo>
                  <a:close/>
                </a:path>
              </a:pathLst>
            </a:custGeom>
            <a:solidFill>
              <a:srgbClr val="000000"/>
            </a:solidFill>
            <a:ln w="12690" cap="flat">
              <a:noFill/>
              <a:prstDash val="solid"/>
              <a:miter/>
            </a:ln>
          </p:spPr>
          <p:txBody>
            <a:bodyPr rtlCol="0" anchor="ctr"/>
            <a:lstStyle/>
            <a:p>
              <a:endParaRPr lang="en-US"/>
            </a:p>
          </p:txBody>
        </p:sp>
        <p:sp>
          <p:nvSpPr>
            <p:cNvPr id="498" name="Freeform: Shape 497">
              <a:extLst>
                <a:ext uri="{FF2B5EF4-FFF2-40B4-BE49-F238E27FC236}">
                  <a16:creationId xmlns:a16="http://schemas.microsoft.com/office/drawing/2014/main" id="{A5306ED4-8069-4612-AABC-43308C774495}"/>
                </a:ext>
              </a:extLst>
            </p:cNvPr>
            <p:cNvSpPr/>
            <p:nvPr/>
          </p:nvSpPr>
          <p:spPr>
            <a:xfrm>
              <a:off x="8643998" y="4080846"/>
              <a:ext cx="10830" cy="106277"/>
            </a:xfrm>
            <a:custGeom>
              <a:avLst/>
              <a:gdLst>
                <a:gd name="connsiteX0" fmla="*/ 10793 w 10830"/>
                <a:gd name="connsiteY0" fmla="*/ 102335 h 106277"/>
                <a:gd name="connsiteX1" fmla="*/ 10793 w 10830"/>
                <a:gd name="connsiteY1" fmla="*/ 101574 h 106277"/>
                <a:gd name="connsiteX2" fmla="*/ 10793 w 10830"/>
                <a:gd name="connsiteY2" fmla="*/ 0 h 106277"/>
                <a:gd name="connsiteX3" fmla="*/ 8888 w 10830"/>
                <a:gd name="connsiteY3" fmla="*/ 1396 h 106277"/>
                <a:gd name="connsiteX4" fmla="*/ 8888 w 10830"/>
                <a:gd name="connsiteY4" fmla="*/ 1396 h 106277"/>
                <a:gd name="connsiteX5" fmla="*/ 5460 w 10830"/>
                <a:gd name="connsiteY5" fmla="*/ 2539 h 106277"/>
                <a:gd name="connsiteX6" fmla="*/ 4063 w 10830"/>
                <a:gd name="connsiteY6" fmla="*/ 2539 h 106277"/>
                <a:gd name="connsiteX7" fmla="*/ 0 w 10830"/>
                <a:gd name="connsiteY7" fmla="*/ 1524 h 106277"/>
                <a:gd name="connsiteX8" fmla="*/ 0 w 10830"/>
                <a:gd name="connsiteY8" fmla="*/ 101320 h 106277"/>
                <a:gd name="connsiteX9" fmla="*/ 5447 w 10830"/>
                <a:gd name="connsiteY9" fmla="*/ 106271 h 106277"/>
                <a:gd name="connsiteX10" fmla="*/ 5460 w 10830"/>
                <a:gd name="connsiteY10" fmla="*/ 106271 h 106277"/>
                <a:gd name="connsiteX11" fmla="*/ 8380 w 10830"/>
                <a:gd name="connsiteY11" fmla="*/ 105382 h 106277"/>
                <a:gd name="connsiteX12" fmla="*/ 8380 w 10830"/>
                <a:gd name="connsiteY12" fmla="*/ 105382 h 106277"/>
                <a:gd name="connsiteX13" fmla="*/ 8380 w 10830"/>
                <a:gd name="connsiteY13" fmla="*/ 105382 h 106277"/>
                <a:gd name="connsiteX14" fmla="*/ 10031 w 10830"/>
                <a:gd name="connsiteY14" fmla="*/ 103097 h 106277"/>
                <a:gd name="connsiteX15" fmla="*/ 10793 w 10830"/>
                <a:gd name="connsiteY15" fmla="*/ 102335 h 10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30" h="106277">
                  <a:moveTo>
                    <a:pt x="10793" y="102335"/>
                  </a:moveTo>
                  <a:cubicBezTo>
                    <a:pt x="10843" y="102082"/>
                    <a:pt x="10843" y="101827"/>
                    <a:pt x="10793" y="101574"/>
                  </a:cubicBezTo>
                  <a:lnTo>
                    <a:pt x="10793" y="0"/>
                  </a:lnTo>
                  <a:lnTo>
                    <a:pt x="8888" y="1396"/>
                  </a:lnTo>
                  <a:lnTo>
                    <a:pt x="8888" y="1396"/>
                  </a:lnTo>
                  <a:cubicBezTo>
                    <a:pt x="7898" y="2146"/>
                    <a:pt x="6704" y="2552"/>
                    <a:pt x="5460" y="2539"/>
                  </a:cubicBezTo>
                  <a:lnTo>
                    <a:pt x="4063" y="2539"/>
                  </a:lnTo>
                  <a:lnTo>
                    <a:pt x="0" y="1524"/>
                  </a:lnTo>
                  <a:lnTo>
                    <a:pt x="0" y="101320"/>
                  </a:lnTo>
                  <a:cubicBezTo>
                    <a:pt x="139" y="104189"/>
                    <a:pt x="2577" y="106411"/>
                    <a:pt x="5447" y="106271"/>
                  </a:cubicBezTo>
                  <a:cubicBezTo>
                    <a:pt x="5447" y="106271"/>
                    <a:pt x="5460" y="106271"/>
                    <a:pt x="5460" y="106271"/>
                  </a:cubicBezTo>
                  <a:cubicBezTo>
                    <a:pt x="6501" y="106246"/>
                    <a:pt x="7504" y="105941"/>
                    <a:pt x="8380" y="105382"/>
                  </a:cubicBezTo>
                  <a:lnTo>
                    <a:pt x="8380" y="105382"/>
                  </a:lnTo>
                  <a:lnTo>
                    <a:pt x="8380" y="105382"/>
                  </a:lnTo>
                  <a:cubicBezTo>
                    <a:pt x="9142" y="104799"/>
                    <a:pt x="9726" y="104011"/>
                    <a:pt x="10031" y="103097"/>
                  </a:cubicBezTo>
                  <a:cubicBezTo>
                    <a:pt x="10361" y="102932"/>
                    <a:pt x="10628" y="102666"/>
                    <a:pt x="10793" y="102335"/>
                  </a:cubicBezTo>
                  <a:close/>
                </a:path>
              </a:pathLst>
            </a:custGeom>
            <a:solidFill>
              <a:srgbClr val="000000"/>
            </a:solidFill>
            <a:ln w="12690" cap="flat">
              <a:noFill/>
              <a:prstDash val="solid"/>
              <a:miter/>
            </a:ln>
          </p:spPr>
          <p:txBody>
            <a:bodyPr rtlCol="0" anchor="ctr"/>
            <a:lstStyle/>
            <a:p>
              <a:endParaRPr lang="en-US"/>
            </a:p>
          </p:txBody>
        </p:sp>
        <p:sp>
          <p:nvSpPr>
            <p:cNvPr id="499" name="Freeform: Shape 498">
              <a:extLst>
                <a:ext uri="{FF2B5EF4-FFF2-40B4-BE49-F238E27FC236}">
                  <a16:creationId xmlns:a16="http://schemas.microsoft.com/office/drawing/2014/main" id="{733335C4-A4F0-4973-A1BA-40112BB74C66}"/>
                </a:ext>
              </a:extLst>
            </p:cNvPr>
            <p:cNvSpPr/>
            <p:nvPr/>
          </p:nvSpPr>
          <p:spPr>
            <a:xfrm>
              <a:off x="8248618" y="3978511"/>
              <a:ext cx="12696" cy="1015"/>
            </a:xfrm>
            <a:custGeom>
              <a:avLst/>
              <a:gdLst>
                <a:gd name="connsiteX0" fmla="*/ 0 w 12696"/>
                <a:gd name="connsiteY0" fmla="*/ 1016 h 1015"/>
                <a:gd name="connsiteX1" fmla="*/ 0 w 12696"/>
                <a:gd name="connsiteY1" fmla="*/ 1016 h 1015"/>
                <a:gd name="connsiteX2" fmla="*/ 0 w 12696"/>
                <a:gd name="connsiteY2" fmla="*/ 1016 h 1015"/>
                <a:gd name="connsiteX3" fmla="*/ 0 w 12696"/>
                <a:gd name="connsiteY3" fmla="*/ 0 h 1015"/>
              </a:gdLst>
              <a:ahLst/>
              <a:cxnLst>
                <a:cxn ang="0">
                  <a:pos x="connsiteX0" y="connsiteY0"/>
                </a:cxn>
                <a:cxn ang="0">
                  <a:pos x="connsiteX1" y="connsiteY1"/>
                </a:cxn>
                <a:cxn ang="0">
                  <a:pos x="connsiteX2" y="connsiteY2"/>
                </a:cxn>
                <a:cxn ang="0">
                  <a:pos x="connsiteX3" y="connsiteY3"/>
                </a:cxn>
              </a:cxnLst>
              <a:rect l="l" t="t" r="r" b="b"/>
              <a:pathLst>
                <a:path w="12696" h="1015">
                  <a:moveTo>
                    <a:pt x="0" y="1016"/>
                  </a:moveTo>
                  <a:lnTo>
                    <a:pt x="0" y="1016"/>
                  </a:lnTo>
                  <a:lnTo>
                    <a:pt x="0" y="1016"/>
                  </a:lnTo>
                  <a:cubicBezTo>
                    <a:pt x="0" y="1016"/>
                    <a:pt x="0" y="381"/>
                    <a:pt x="0" y="0"/>
                  </a:cubicBezTo>
                  <a:close/>
                </a:path>
              </a:pathLst>
            </a:custGeom>
            <a:solidFill>
              <a:srgbClr val="000000"/>
            </a:solidFill>
            <a:ln w="12690" cap="flat">
              <a:noFill/>
              <a:prstDash val="solid"/>
              <a:miter/>
            </a:ln>
          </p:spPr>
          <p:txBody>
            <a:bodyPr rtlCol="0" anchor="ctr"/>
            <a:lstStyle/>
            <a:p>
              <a:endParaRPr lang="en-US"/>
            </a:p>
          </p:txBody>
        </p:sp>
        <p:sp>
          <p:nvSpPr>
            <p:cNvPr id="500" name="Freeform: Shape 499">
              <a:extLst>
                <a:ext uri="{FF2B5EF4-FFF2-40B4-BE49-F238E27FC236}">
                  <a16:creationId xmlns:a16="http://schemas.microsoft.com/office/drawing/2014/main" id="{F19B09F9-53A3-492E-9E23-3041DA0CE44D}"/>
                </a:ext>
              </a:extLst>
            </p:cNvPr>
            <p:cNvSpPr/>
            <p:nvPr/>
          </p:nvSpPr>
          <p:spPr>
            <a:xfrm>
              <a:off x="8249634" y="3977749"/>
              <a:ext cx="761" cy="888"/>
            </a:xfrm>
            <a:custGeom>
              <a:avLst/>
              <a:gdLst>
                <a:gd name="connsiteX0" fmla="*/ 0 w 761"/>
                <a:gd name="connsiteY0" fmla="*/ 127 h 888"/>
                <a:gd name="connsiteX1" fmla="*/ 0 w 761"/>
                <a:gd name="connsiteY1" fmla="*/ 888 h 888"/>
                <a:gd name="connsiteX2" fmla="*/ 762 w 761"/>
                <a:gd name="connsiteY2" fmla="*/ 0 h 888"/>
              </a:gdLst>
              <a:ahLst/>
              <a:cxnLst>
                <a:cxn ang="0">
                  <a:pos x="connsiteX0" y="connsiteY0"/>
                </a:cxn>
                <a:cxn ang="0">
                  <a:pos x="connsiteX1" y="connsiteY1"/>
                </a:cxn>
                <a:cxn ang="0">
                  <a:pos x="connsiteX2" y="connsiteY2"/>
                </a:cxn>
              </a:cxnLst>
              <a:rect l="l" t="t" r="r" b="b"/>
              <a:pathLst>
                <a:path w="761" h="888">
                  <a:moveTo>
                    <a:pt x="0" y="127"/>
                  </a:moveTo>
                  <a:lnTo>
                    <a:pt x="0" y="888"/>
                  </a:lnTo>
                  <a:lnTo>
                    <a:pt x="762" y="0"/>
                  </a:lnTo>
                  <a:close/>
                </a:path>
              </a:pathLst>
            </a:custGeom>
            <a:solidFill>
              <a:srgbClr val="000000"/>
            </a:solidFill>
            <a:ln w="12690" cap="flat">
              <a:noFill/>
              <a:prstDash val="solid"/>
              <a:miter/>
            </a:ln>
          </p:spPr>
          <p:txBody>
            <a:bodyPr rtlCol="0" anchor="ctr"/>
            <a:lstStyle/>
            <a:p>
              <a:endParaRPr lang="en-US"/>
            </a:p>
          </p:txBody>
        </p:sp>
        <p:sp>
          <p:nvSpPr>
            <p:cNvPr id="501" name="Freeform: Shape 500">
              <a:extLst>
                <a:ext uri="{FF2B5EF4-FFF2-40B4-BE49-F238E27FC236}">
                  <a16:creationId xmlns:a16="http://schemas.microsoft.com/office/drawing/2014/main" id="{1BA72C4D-EAAD-4AA5-B96F-669C7F34FC34}"/>
                </a:ext>
              </a:extLst>
            </p:cNvPr>
            <p:cNvSpPr/>
            <p:nvPr/>
          </p:nvSpPr>
          <p:spPr>
            <a:xfrm>
              <a:off x="8649584" y="4082624"/>
              <a:ext cx="3428" cy="1143"/>
            </a:xfrm>
            <a:custGeom>
              <a:avLst/>
              <a:gdLst>
                <a:gd name="connsiteX0" fmla="*/ 3428 w 3428"/>
                <a:gd name="connsiteY0" fmla="*/ 0 h 1143"/>
                <a:gd name="connsiteX1" fmla="*/ 0 w 3428"/>
                <a:gd name="connsiteY1" fmla="*/ 1143 h 1143"/>
                <a:gd name="connsiteX2" fmla="*/ 3428 w 3428"/>
                <a:gd name="connsiteY2" fmla="*/ 0 h 1143"/>
              </a:gdLst>
              <a:ahLst/>
              <a:cxnLst>
                <a:cxn ang="0">
                  <a:pos x="connsiteX0" y="connsiteY0"/>
                </a:cxn>
                <a:cxn ang="0">
                  <a:pos x="connsiteX1" y="connsiteY1"/>
                </a:cxn>
                <a:cxn ang="0">
                  <a:pos x="connsiteX2" y="connsiteY2"/>
                </a:cxn>
              </a:cxnLst>
              <a:rect l="l" t="t" r="r" b="b"/>
              <a:pathLst>
                <a:path w="3428" h="1143">
                  <a:moveTo>
                    <a:pt x="3428" y="0"/>
                  </a:moveTo>
                  <a:cubicBezTo>
                    <a:pt x="2438" y="749"/>
                    <a:pt x="1245" y="1155"/>
                    <a:pt x="0" y="1143"/>
                  </a:cubicBezTo>
                  <a:cubicBezTo>
                    <a:pt x="1231" y="1155"/>
                    <a:pt x="2438" y="749"/>
                    <a:pt x="3428" y="0"/>
                  </a:cubicBezTo>
                  <a:close/>
                </a:path>
              </a:pathLst>
            </a:custGeom>
            <a:solidFill>
              <a:srgbClr val="000000"/>
            </a:solidFill>
            <a:ln w="12690" cap="flat">
              <a:noFill/>
              <a:prstDash val="solid"/>
              <a:miter/>
            </a:ln>
          </p:spPr>
          <p:txBody>
            <a:bodyPr rtlCol="0" anchor="ctr"/>
            <a:lstStyle/>
            <a:p>
              <a:endParaRPr lang="en-US"/>
            </a:p>
          </p:txBody>
        </p:sp>
        <p:sp>
          <p:nvSpPr>
            <p:cNvPr id="502" name="Freeform: Shape 501">
              <a:extLst>
                <a:ext uri="{FF2B5EF4-FFF2-40B4-BE49-F238E27FC236}">
                  <a16:creationId xmlns:a16="http://schemas.microsoft.com/office/drawing/2014/main" id="{70CD02B0-E189-4269-BE83-313848A521C3}"/>
                </a:ext>
              </a:extLst>
            </p:cNvPr>
            <p:cNvSpPr/>
            <p:nvPr/>
          </p:nvSpPr>
          <p:spPr>
            <a:xfrm>
              <a:off x="8252301" y="3979146"/>
              <a:ext cx="397410" cy="105002"/>
            </a:xfrm>
            <a:custGeom>
              <a:avLst/>
              <a:gdLst>
                <a:gd name="connsiteX0" fmla="*/ 394236 w 397410"/>
                <a:gd name="connsiteY0" fmla="*/ 96495 h 105002"/>
                <a:gd name="connsiteX1" fmla="*/ 396395 w 397410"/>
                <a:gd name="connsiteY1" fmla="*/ 94717 h 105002"/>
                <a:gd name="connsiteX2" fmla="*/ 12824 w 397410"/>
                <a:gd name="connsiteY2" fmla="*/ 0 h 105002"/>
                <a:gd name="connsiteX3" fmla="*/ 5460 w 397410"/>
                <a:gd name="connsiteY3" fmla="*/ 6095 h 105002"/>
                <a:gd name="connsiteX4" fmla="*/ 1904 w 397410"/>
                <a:gd name="connsiteY4" fmla="*/ 7237 h 105002"/>
                <a:gd name="connsiteX5" fmla="*/ 0 w 397410"/>
                <a:gd name="connsiteY5" fmla="*/ 7237 h 105002"/>
                <a:gd name="connsiteX6" fmla="*/ 0 w 397410"/>
                <a:gd name="connsiteY6" fmla="*/ 7237 h 105002"/>
                <a:gd name="connsiteX7" fmla="*/ 6856 w 397410"/>
                <a:gd name="connsiteY7" fmla="*/ 8888 h 105002"/>
                <a:gd name="connsiteX8" fmla="*/ 391951 w 397410"/>
                <a:gd name="connsiteY8" fmla="*/ 103986 h 105002"/>
                <a:gd name="connsiteX9" fmla="*/ 396014 w 397410"/>
                <a:gd name="connsiteY9" fmla="*/ 105002 h 105002"/>
                <a:gd name="connsiteX10" fmla="*/ 397410 w 397410"/>
                <a:gd name="connsiteY10" fmla="*/ 105002 h 105002"/>
                <a:gd name="connsiteX11" fmla="*/ 393347 w 397410"/>
                <a:gd name="connsiteY11" fmla="*/ 103351 h 105002"/>
                <a:gd name="connsiteX12" fmla="*/ 393716 w 397410"/>
                <a:gd name="connsiteY12" fmla="*/ 96901 h 105002"/>
                <a:gd name="connsiteX13" fmla="*/ 394236 w 397410"/>
                <a:gd name="connsiteY13" fmla="*/ 96495 h 1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7410" h="105002">
                  <a:moveTo>
                    <a:pt x="394236" y="96495"/>
                  </a:moveTo>
                  <a:lnTo>
                    <a:pt x="396395" y="94717"/>
                  </a:lnTo>
                  <a:lnTo>
                    <a:pt x="12824" y="0"/>
                  </a:lnTo>
                  <a:lnTo>
                    <a:pt x="5460" y="6095"/>
                  </a:lnTo>
                  <a:cubicBezTo>
                    <a:pt x="4431" y="6844"/>
                    <a:pt x="3187" y="7250"/>
                    <a:pt x="1904" y="7237"/>
                  </a:cubicBezTo>
                  <a:lnTo>
                    <a:pt x="0" y="7237"/>
                  </a:lnTo>
                  <a:lnTo>
                    <a:pt x="0" y="7237"/>
                  </a:lnTo>
                  <a:lnTo>
                    <a:pt x="6856" y="8888"/>
                  </a:lnTo>
                  <a:lnTo>
                    <a:pt x="391951" y="103986"/>
                  </a:lnTo>
                  <a:lnTo>
                    <a:pt x="396014" y="105002"/>
                  </a:lnTo>
                  <a:lnTo>
                    <a:pt x="397410" y="105002"/>
                  </a:lnTo>
                  <a:cubicBezTo>
                    <a:pt x="395887" y="105027"/>
                    <a:pt x="394414" y="104430"/>
                    <a:pt x="393347" y="103351"/>
                  </a:cubicBezTo>
                  <a:cubicBezTo>
                    <a:pt x="391671" y="101472"/>
                    <a:pt x="391836" y="98577"/>
                    <a:pt x="393716" y="96901"/>
                  </a:cubicBezTo>
                  <a:cubicBezTo>
                    <a:pt x="393881" y="96749"/>
                    <a:pt x="394059" y="96622"/>
                    <a:pt x="394236" y="96495"/>
                  </a:cubicBezTo>
                  <a:close/>
                </a:path>
              </a:pathLst>
            </a:custGeom>
            <a:solidFill>
              <a:srgbClr val="000000"/>
            </a:solidFill>
            <a:ln w="12690" cap="flat">
              <a:noFill/>
              <a:prstDash val="solid"/>
              <a:miter/>
            </a:ln>
          </p:spPr>
          <p:txBody>
            <a:bodyPr rtlCol="0" anchor="ctr"/>
            <a:lstStyle/>
            <a:p>
              <a:endParaRPr lang="en-US"/>
            </a:p>
          </p:txBody>
        </p:sp>
        <p:sp>
          <p:nvSpPr>
            <p:cNvPr id="503" name="Freeform: Shape 502">
              <a:extLst>
                <a:ext uri="{FF2B5EF4-FFF2-40B4-BE49-F238E27FC236}">
                  <a16:creationId xmlns:a16="http://schemas.microsoft.com/office/drawing/2014/main" id="{D312358A-E142-4CB1-A611-B77D81D60DA4}"/>
                </a:ext>
              </a:extLst>
            </p:cNvPr>
            <p:cNvSpPr/>
            <p:nvPr/>
          </p:nvSpPr>
          <p:spPr>
            <a:xfrm>
              <a:off x="8644992" y="4001492"/>
              <a:ext cx="97660" cy="82404"/>
            </a:xfrm>
            <a:custGeom>
              <a:avLst/>
              <a:gdLst>
                <a:gd name="connsiteX0" fmla="*/ 96772 w 97660"/>
                <a:gd name="connsiteY0" fmla="*/ 1524 h 82404"/>
                <a:gd name="connsiteX1" fmla="*/ 91692 w 97660"/>
                <a:gd name="connsiteY1" fmla="*/ 0 h 82404"/>
                <a:gd name="connsiteX2" fmla="*/ 2815 w 97660"/>
                <a:gd name="connsiteY2" fmla="*/ 71990 h 82404"/>
                <a:gd name="connsiteX3" fmla="*/ 1545 w 97660"/>
                <a:gd name="connsiteY3" fmla="*/ 74149 h 82404"/>
                <a:gd name="connsiteX4" fmla="*/ 1139 w 97660"/>
                <a:gd name="connsiteY4" fmla="*/ 80599 h 82404"/>
                <a:gd name="connsiteX5" fmla="*/ 1545 w 97660"/>
                <a:gd name="connsiteY5" fmla="*/ 81005 h 82404"/>
                <a:gd name="connsiteX6" fmla="*/ 9037 w 97660"/>
                <a:gd name="connsiteY6" fmla="*/ 81005 h 82404"/>
                <a:gd name="connsiteX7" fmla="*/ 9037 w 97660"/>
                <a:gd name="connsiteY7" fmla="*/ 81005 h 82404"/>
                <a:gd name="connsiteX8" fmla="*/ 10941 w 97660"/>
                <a:gd name="connsiteY8" fmla="*/ 79608 h 82404"/>
                <a:gd name="connsiteX9" fmla="*/ 97660 w 97660"/>
                <a:gd name="connsiteY9" fmla="*/ 8887 h 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60" h="82404">
                  <a:moveTo>
                    <a:pt x="96772" y="1524"/>
                  </a:moveTo>
                  <a:lnTo>
                    <a:pt x="91692" y="0"/>
                  </a:lnTo>
                  <a:lnTo>
                    <a:pt x="2815" y="71990"/>
                  </a:lnTo>
                  <a:lnTo>
                    <a:pt x="1545" y="74149"/>
                  </a:lnTo>
                  <a:cubicBezTo>
                    <a:pt x="-346" y="75825"/>
                    <a:pt x="-525" y="78707"/>
                    <a:pt x="1139" y="80599"/>
                  </a:cubicBezTo>
                  <a:cubicBezTo>
                    <a:pt x="1266" y="80738"/>
                    <a:pt x="1406" y="80878"/>
                    <a:pt x="1545" y="81005"/>
                  </a:cubicBezTo>
                  <a:cubicBezTo>
                    <a:pt x="3691" y="82871"/>
                    <a:pt x="6891" y="82871"/>
                    <a:pt x="9037" y="81005"/>
                  </a:cubicBezTo>
                  <a:lnTo>
                    <a:pt x="9037" y="81005"/>
                  </a:lnTo>
                  <a:lnTo>
                    <a:pt x="10941" y="79608"/>
                  </a:lnTo>
                  <a:lnTo>
                    <a:pt x="97660" y="8887"/>
                  </a:lnTo>
                  <a:close/>
                </a:path>
              </a:pathLst>
            </a:custGeom>
            <a:solidFill>
              <a:srgbClr val="000000"/>
            </a:solidFill>
            <a:ln w="12690" cap="flat">
              <a:noFill/>
              <a:prstDash val="solid"/>
              <a:miter/>
            </a:ln>
          </p:spPr>
          <p:txBody>
            <a:bodyPr rtlCol="0" anchor="ctr"/>
            <a:lstStyle/>
            <a:p>
              <a:endParaRPr lang="en-US"/>
            </a:p>
          </p:txBody>
        </p:sp>
        <p:sp>
          <p:nvSpPr>
            <p:cNvPr id="504" name="Freeform: Shape 503">
              <a:extLst>
                <a:ext uri="{FF2B5EF4-FFF2-40B4-BE49-F238E27FC236}">
                  <a16:creationId xmlns:a16="http://schemas.microsoft.com/office/drawing/2014/main" id="{16D8053F-620F-43B4-9DD3-4E629D8D71EC}"/>
                </a:ext>
              </a:extLst>
            </p:cNvPr>
            <p:cNvSpPr/>
            <p:nvPr/>
          </p:nvSpPr>
          <p:spPr>
            <a:xfrm>
              <a:off x="8751540" y="3996667"/>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05" name="Freeform: Shape 504">
              <a:extLst>
                <a:ext uri="{FF2B5EF4-FFF2-40B4-BE49-F238E27FC236}">
                  <a16:creationId xmlns:a16="http://schemas.microsoft.com/office/drawing/2014/main" id="{30FE5E95-6AC3-49E3-95A6-BA42914E57F5}"/>
                </a:ext>
              </a:extLst>
            </p:cNvPr>
            <p:cNvSpPr/>
            <p:nvPr/>
          </p:nvSpPr>
          <p:spPr>
            <a:xfrm>
              <a:off x="8749381" y="3995397"/>
              <a:ext cx="761" cy="12696"/>
            </a:xfrm>
            <a:custGeom>
              <a:avLst/>
              <a:gdLst>
                <a:gd name="connsiteX0" fmla="*/ 762 w 761"/>
                <a:gd name="connsiteY0" fmla="*/ 0 h 12696"/>
                <a:gd name="connsiteX1" fmla="*/ 0 w 761"/>
                <a:gd name="connsiteY1" fmla="*/ 0 h 12696"/>
                <a:gd name="connsiteX2" fmla="*/ 762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762" y="0"/>
                  </a:lnTo>
                  <a:close/>
                </a:path>
              </a:pathLst>
            </a:custGeom>
            <a:solidFill>
              <a:srgbClr val="000000"/>
            </a:solidFill>
            <a:ln w="12690" cap="flat">
              <a:noFill/>
              <a:prstDash val="solid"/>
              <a:miter/>
            </a:ln>
          </p:spPr>
          <p:txBody>
            <a:bodyPr rtlCol="0" anchor="ctr"/>
            <a:lstStyle/>
            <a:p>
              <a:endParaRPr lang="en-US"/>
            </a:p>
          </p:txBody>
        </p:sp>
        <p:sp>
          <p:nvSpPr>
            <p:cNvPr id="506" name="Freeform: Shape 505">
              <a:extLst>
                <a:ext uri="{FF2B5EF4-FFF2-40B4-BE49-F238E27FC236}">
                  <a16:creationId xmlns:a16="http://schemas.microsoft.com/office/drawing/2014/main" id="{9628339E-C4C2-449B-8FEA-BD0B0CA7EAAC}"/>
                </a:ext>
              </a:extLst>
            </p:cNvPr>
            <p:cNvSpPr/>
            <p:nvPr/>
          </p:nvSpPr>
          <p:spPr>
            <a:xfrm>
              <a:off x="8752429" y="3997683"/>
              <a:ext cx="47" cy="762"/>
            </a:xfrm>
            <a:custGeom>
              <a:avLst/>
              <a:gdLst>
                <a:gd name="connsiteX0" fmla="*/ 0 w 47"/>
                <a:gd name="connsiteY0" fmla="*/ 762 h 762"/>
                <a:gd name="connsiteX1" fmla="*/ 0 w 47"/>
                <a:gd name="connsiteY1" fmla="*/ 0 h 762"/>
                <a:gd name="connsiteX2" fmla="*/ 0 w 47"/>
                <a:gd name="connsiteY2" fmla="*/ 635 h 762"/>
              </a:gdLst>
              <a:ahLst/>
              <a:cxnLst>
                <a:cxn ang="0">
                  <a:pos x="connsiteX0" y="connsiteY0"/>
                </a:cxn>
                <a:cxn ang="0">
                  <a:pos x="connsiteX1" y="connsiteY1"/>
                </a:cxn>
                <a:cxn ang="0">
                  <a:pos x="connsiteX2" y="connsiteY2"/>
                </a:cxn>
              </a:cxnLst>
              <a:rect l="l" t="t" r="r" b="b"/>
              <a:pathLst>
                <a:path w="47" h="762">
                  <a:moveTo>
                    <a:pt x="0" y="762"/>
                  </a:moveTo>
                  <a:lnTo>
                    <a:pt x="0" y="0"/>
                  </a:lnTo>
                  <a:cubicBezTo>
                    <a:pt x="63" y="203"/>
                    <a:pt x="63" y="432"/>
                    <a:pt x="0" y="635"/>
                  </a:cubicBezTo>
                  <a:close/>
                </a:path>
              </a:pathLst>
            </a:custGeom>
            <a:solidFill>
              <a:srgbClr val="000000"/>
            </a:solidFill>
            <a:ln w="12690" cap="flat">
              <a:noFill/>
              <a:prstDash val="solid"/>
              <a:miter/>
            </a:ln>
          </p:spPr>
          <p:txBody>
            <a:bodyPr rtlCol="0" anchor="ctr"/>
            <a:lstStyle/>
            <a:p>
              <a:endParaRPr lang="en-US"/>
            </a:p>
          </p:txBody>
        </p:sp>
        <p:sp>
          <p:nvSpPr>
            <p:cNvPr id="507" name="Freeform: Shape 506">
              <a:extLst>
                <a:ext uri="{FF2B5EF4-FFF2-40B4-BE49-F238E27FC236}">
                  <a16:creationId xmlns:a16="http://schemas.microsoft.com/office/drawing/2014/main" id="{C97C4BD3-E168-4147-A362-73E0422A9943}"/>
                </a:ext>
              </a:extLst>
            </p:cNvPr>
            <p:cNvSpPr/>
            <p:nvPr/>
          </p:nvSpPr>
          <p:spPr>
            <a:xfrm>
              <a:off x="8575308" y="3951594"/>
              <a:ext cx="634" cy="761"/>
            </a:xfrm>
            <a:custGeom>
              <a:avLst/>
              <a:gdLst>
                <a:gd name="connsiteX0" fmla="*/ 635 w 634"/>
                <a:gd name="connsiteY0" fmla="*/ 762 h 761"/>
                <a:gd name="connsiteX1" fmla="*/ 635 w 634"/>
                <a:gd name="connsiteY1" fmla="*/ 762 h 761"/>
                <a:gd name="connsiteX2" fmla="*/ 0 w 634"/>
                <a:gd name="connsiteY2" fmla="*/ 0 h 761"/>
              </a:gdLst>
              <a:ahLst/>
              <a:cxnLst>
                <a:cxn ang="0">
                  <a:pos x="connsiteX0" y="connsiteY0"/>
                </a:cxn>
                <a:cxn ang="0">
                  <a:pos x="connsiteX1" y="connsiteY1"/>
                </a:cxn>
                <a:cxn ang="0">
                  <a:pos x="connsiteX2" y="connsiteY2"/>
                </a:cxn>
              </a:cxnLst>
              <a:rect l="l" t="t" r="r" b="b"/>
              <a:pathLst>
                <a:path w="634" h="761">
                  <a:moveTo>
                    <a:pt x="635" y="762"/>
                  </a:moveTo>
                  <a:lnTo>
                    <a:pt x="635" y="762"/>
                  </a:lnTo>
                  <a:lnTo>
                    <a:pt x="0" y="0"/>
                  </a:lnTo>
                  <a:close/>
                </a:path>
              </a:pathLst>
            </a:custGeom>
            <a:solidFill>
              <a:srgbClr val="000000"/>
            </a:solidFill>
            <a:ln w="12690" cap="flat">
              <a:noFill/>
              <a:prstDash val="solid"/>
              <a:miter/>
            </a:ln>
          </p:spPr>
          <p:txBody>
            <a:bodyPr rtlCol="0" anchor="ctr"/>
            <a:lstStyle/>
            <a:p>
              <a:endParaRPr lang="en-US"/>
            </a:p>
          </p:txBody>
        </p:sp>
        <p:sp>
          <p:nvSpPr>
            <p:cNvPr id="508" name="Freeform: Shape 507">
              <a:extLst>
                <a:ext uri="{FF2B5EF4-FFF2-40B4-BE49-F238E27FC236}">
                  <a16:creationId xmlns:a16="http://schemas.microsoft.com/office/drawing/2014/main" id="{894D17D4-1E29-4AA0-815C-AB69D707D3CA}"/>
                </a:ext>
              </a:extLst>
            </p:cNvPr>
            <p:cNvSpPr/>
            <p:nvPr/>
          </p:nvSpPr>
          <p:spPr>
            <a:xfrm>
              <a:off x="8576959" y="3878969"/>
              <a:ext cx="80624" cy="68181"/>
            </a:xfrm>
            <a:custGeom>
              <a:avLst/>
              <a:gdLst>
                <a:gd name="connsiteX0" fmla="*/ 4698 w 80624"/>
                <a:gd name="connsiteY0" fmla="*/ 65515 h 68181"/>
                <a:gd name="connsiteX1" fmla="*/ 13459 w 80624"/>
                <a:gd name="connsiteY1" fmla="*/ 68181 h 68181"/>
                <a:gd name="connsiteX2" fmla="*/ 78212 w 80624"/>
                <a:gd name="connsiteY2" fmla="*/ 15109 h 68181"/>
                <a:gd name="connsiteX3" fmla="*/ 78212 w 80624"/>
                <a:gd name="connsiteY3" fmla="*/ 4063 h 68181"/>
                <a:gd name="connsiteX4" fmla="*/ 80625 w 80624"/>
                <a:gd name="connsiteY4" fmla="*/ 0 h 68181"/>
                <a:gd name="connsiteX5" fmla="*/ 80625 w 80624"/>
                <a:gd name="connsiteY5" fmla="*/ 0 h 68181"/>
                <a:gd name="connsiteX6" fmla="*/ 32757 w 80624"/>
                <a:gd name="connsiteY6" fmla="*/ 39233 h 68181"/>
                <a:gd name="connsiteX7" fmla="*/ 0 w 80624"/>
                <a:gd name="connsiteY7" fmla="*/ 66150 h 68181"/>
                <a:gd name="connsiteX8" fmla="*/ 0 w 80624"/>
                <a:gd name="connsiteY8" fmla="*/ 66150 h 68181"/>
                <a:gd name="connsiteX9" fmla="*/ 4698 w 80624"/>
                <a:gd name="connsiteY9" fmla="*/ 65515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4" h="68181">
                  <a:moveTo>
                    <a:pt x="4698" y="65515"/>
                  </a:moveTo>
                  <a:lnTo>
                    <a:pt x="13459" y="68181"/>
                  </a:lnTo>
                  <a:lnTo>
                    <a:pt x="78212" y="15109"/>
                  </a:lnTo>
                  <a:lnTo>
                    <a:pt x="78212" y="4063"/>
                  </a:lnTo>
                  <a:cubicBezTo>
                    <a:pt x="78250" y="2374"/>
                    <a:pt x="79165" y="838"/>
                    <a:pt x="80625" y="0"/>
                  </a:cubicBezTo>
                  <a:lnTo>
                    <a:pt x="80625" y="0"/>
                  </a:lnTo>
                  <a:lnTo>
                    <a:pt x="32757" y="39233"/>
                  </a:lnTo>
                  <a:lnTo>
                    <a:pt x="0" y="66150"/>
                  </a:lnTo>
                  <a:lnTo>
                    <a:pt x="0" y="66150"/>
                  </a:lnTo>
                  <a:cubicBezTo>
                    <a:pt x="1409" y="65286"/>
                    <a:pt x="3111" y="65058"/>
                    <a:pt x="4698" y="65515"/>
                  </a:cubicBezTo>
                  <a:close/>
                </a:path>
              </a:pathLst>
            </a:custGeom>
            <a:solidFill>
              <a:srgbClr val="000000"/>
            </a:solidFill>
            <a:ln w="12690" cap="flat">
              <a:noFill/>
              <a:prstDash val="solid"/>
              <a:miter/>
            </a:ln>
          </p:spPr>
          <p:txBody>
            <a:bodyPr rtlCol="0" anchor="ctr"/>
            <a:lstStyle/>
            <a:p>
              <a:endParaRPr lang="en-US"/>
            </a:p>
          </p:txBody>
        </p:sp>
        <p:sp>
          <p:nvSpPr>
            <p:cNvPr id="509" name="Freeform: Shape 508">
              <a:extLst>
                <a:ext uri="{FF2B5EF4-FFF2-40B4-BE49-F238E27FC236}">
                  <a16:creationId xmlns:a16="http://schemas.microsoft.com/office/drawing/2014/main" id="{E6507F78-5F78-4A16-91A5-9B3982DF5E14}"/>
                </a:ext>
              </a:extLst>
            </p:cNvPr>
            <p:cNvSpPr/>
            <p:nvPr/>
          </p:nvSpPr>
          <p:spPr>
            <a:xfrm>
              <a:off x="8664567" y="3879731"/>
              <a:ext cx="12696" cy="634"/>
            </a:xfrm>
            <a:custGeom>
              <a:avLst/>
              <a:gdLst>
                <a:gd name="connsiteX0" fmla="*/ 0 w 12696"/>
                <a:gd name="connsiteY0" fmla="*/ 0 h 634"/>
                <a:gd name="connsiteX1" fmla="*/ 0 w 12696"/>
                <a:gd name="connsiteY1" fmla="*/ 0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0"/>
                  </a:lnTo>
                  <a:lnTo>
                    <a:pt x="0" y="635"/>
                  </a:lnTo>
                  <a:close/>
                </a:path>
              </a:pathLst>
            </a:custGeom>
            <a:solidFill>
              <a:srgbClr val="000000"/>
            </a:solidFill>
            <a:ln w="12690" cap="flat">
              <a:noFill/>
              <a:prstDash val="solid"/>
              <a:miter/>
            </a:ln>
          </p:spPr>
          <p:txBody>
            <a:bodyPr rtlCol="0" anchor="ctr"/>
            <a:lstStyle/>
            <a:p>
              <a:endParaRPr lang="en-US"/>
            </a:p>
          </p:txBody>
        </p:sp>
        <p:sp>
          <p:nvSpPr>
            <p:cNvPr id="510" name="Freeform: Shape 509">
              <a:extLst>
                <a:ext uri="{FF2B5EF4-FFF2-40B4-BE49-F238E27FC236}">
                  <a16:creationId xmlns:a16="http://schemas.microsoft.com/office/drawing/2014/main" id="{9D84C3A3-6F86-465A-A31E-51528EB7CD5E}"/>
                </a:ext>
              </a:extLst>
            </p:cNvPr>
            <p:cNvSpPr/>
            <p:nvPr/>
          </p:nvSpPr>
          <p:spPr>
            <a:xfrm>
              <a:off x="8468782" y="3801519"/>
              <a:ext cx="191848" cy="67895"/>
            </a:xfrm>
            <a:custGeom>
              <a:avLst/>
              <a:gdLst>
                <a:gd name="connsiteX0" fmla="*/ 2920 w 191848"/>
                <a:gd name="connsiteY0" fmla="*/ 8634 h 67895"/>
                <a:gd name="connsiteX1" fmla="*/ 635 w 191848"/>
                <a:gd name="connsiteY1" fmla="*/ 10538 h 67895"/>
                <a:gd name="connsiteX2" fmla="*/ 187913 w 191848"/>
                <a:gd name="connsiteY2" fmla="*/ 67166 h 67895"/>
                <a:gd name="connsiteX3" fmla="*/ 190071 w 191848"/>
                <a:gd name="connsiteY3" fmla="*/ 67800 h 67895"/>
                <a:gd name="connsiteX4" fmla="*/ 191849 w 191848"/>
                <a:gd name="connsiteY4" fmla="*/ 67800 h 67895"/>
                <a:gd name="connsiteX5" fmla="*/ 186389 w 191848"/>
                <a:gd name="connsiteY5" fmla="*/ 62861 h 67895"/>
                <a:gd name="connsiteX6" fmla="*/ 186389 w 191848"/>
                <a:gd name="connsiteY6" fmla="*/ 62848 h 67895"/>
                <a:gd name="connsiteX7" fmla="*/ 186389 w 191848"/>
                <a:gd name="connsiteY7" fmla="*/ 56119 h 67895"/>
                <a:gd name="connsiteX8" fmla="*/ 1016 w 191848"/>
                <a:gd name="connsiteY8" fmla="*/ 0 h 67895"/>
                <a:gd name="connsiteX9" fmla="*/ 0 w 191848"/>
                <a:gd name="connsiteY9" fmla="*/ 0 h 67895"/>
                <a:gd name="connsiteX10" fmla="*/ 3047 w 191848"/>
                <a:gd name="connsiteY10" fmla="*/ 1524 h 67895"/>
                <a:gd name="connsiteX11" fmla="*/ 3618 w 191848"/>
                <a:gd name="connsiteY11" fmla="*/ 7961 h 67895"/>
                <a:gd name="connsiteX12" fmla="*/ 2920 w 191848"/>
                <a:gd name="connsiteY12" fmla="*/ 8634 h 6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848" h="67895">
                  <a:moveTo>
                    <a:pt x="2920" y="8634"/>
                  </a:moveTo>
                  <a:lnTo>
                    <a:pt x="635" y="10538"/>
                  </a:lnTo>
                  <a:lnTo>
                    <a:pt x="187913" y="67166"/>
                  </a:lnTo>
                  <a:lnTo>
                    <a:pt x="190071" y="67800"/>
                  </a:lnTo>
                  <a:cubicBezTo>
                    <a:pt x="190655" y="67927"/>
                    <a:pt x="191265" y="67927"/>
                    <a:pt x="191849" y="67800"/>
                  </a:cubicBezTo>
                  <a:cubicBezTo>
                    <a:pt x="188979" y="67940"/>
                    <a:pt x="186529" y="65731"/>
                    <a:pt x="186389" y="62861"/>
                  </a:cubicBezTo>
                  <a:cubicBezTo>
                    <a:pt x="186389" y="62861"/>
                    <a:pt x="186389" y="62848"/>
                    <a:pt x="186389" y="62848"/>
                  </a:cubicBezTo>
                  <a:lnTo>
                    <a:pt x="186389" y="56119"/>
                  </a:lnTo>
                  <a:lnTo>
                    <a:pt x="1016" y="0"/>
                  </a:lnTo>
                  <a:lnTo>
                    <a:pt x="0" y="0"/>
                  </a:lnTo>
                  <a:cubicBezTo>
                    <a:pt x="1155" y="165"/>
                    <a:pt x="2222" y="698"/>
                    <a:pt x="3047" y="1524"/>
                  </a:cubicBezTo>
                  <a:cubicBezTo>
                    <a:pt x="4978" y="3149"/>
                    <a:pt x="5231" y="6031"/>
                    <a:pt x="3618" y="7961"/>
                  </a:cubicBezTo>
                  <a:cubicBezTo>
                    <a:pt x="3403" y="8215"/>
                    <a:pt x="3174" y="8431"/>
                    <a:pt x="2920" y="8634"/>
                  </a:cubicBezTo>
                  <a:close/>
                </a:path>
              </a:pathLst>
            </a:custGeom>
            <a:solidFill>
              <a:srgbClr val="000000"/>
            </a:solidFill>
            <a:ln w="12690" cap="flat">
              <a:noFill/>
              <a:prstDash val="solid"/>
              <a:miter/>
            </a:ln>
          </p:spPr>
          <p:txBody>
            <a:bodyPr rtlCol="0" anchor="ctr"/>
            <a:lstStyle/>
            <a:p>
              <a:endParaRPr lang="en-US"/>
            </a:p>
          </p:txBody>
        </p:sp>
        <p:sp>
          <p:nvSpPr>
            <p:cNvPr id="511" name="Freeform: Shape 510">
              <a:extLst>
                <a:ext uri="{FF2B5EF4-FFF2-40B4-BE49-F238E27FC236}">
                  <a16:creationId xmlns:a16="http://schemas.microsoft.com/office/drawing/2014/main" id="{EEA9919D-47AF-4795-8E10-3C1DA5DCCC32}"/>
                </a:ext>
              </a:extLst>
            </p:cNvPr>
            <p:cNvSpPr/>
            <p:nvPr/>
          </p:nvSpPr>
          <p:spPr>
            <a:xfrm>
              <a:off x="8665780" y="3865510"/>
              <a:ext cx="56" cy="761"/>
            </a:xfrm>
            <a:custGeom>
              <a:avLst/>
              <a:gdLst>
                <a:gd name="connsiteX0" fmla="*/ 56 w 56"/>
                <a:gd name="connsiteY0" fmla="*/ 0 h 761"/>
                <a:gd name="connsiteX1" fmla="*/ 56 w 56"/>
                <a:gd name="connsiteY1" fmla="*/ 762 h 761"/>
                <a:gd name="connsiteX2" fmla="*/ 56 w 56"/>
                <a:gd name="connsiteY2" fmla="*/ 762 h 761"/>
                <a:gd name="connsiteX3" fmla="*/ 56 w 56"/>
                <a:gd name="connsiteY3" fmla="*/ 0 h 761"/>
              </a:gdLst>
              <a:ahLst/>
              <a:cxnLst>
                <a:cxn ang="0">
                  <a:pos x="connsiteX0" y="connsiteY0"/>
                </a:cxn>
                <a:cxn ang="0">
                  <a:pos x="connsiteX1" y="connsiteY1"/>
                </a:cxn>
                <a:cxn ang="0">
                  <a:pos x="connsiteX2" y="connsiteY2"/>
                </a:cxn>
                <a:cxn ang="0">
                  <a:pos x="connsiteX3" y="connsiteY3"/>
                </a:cxn>
              </a:cxnLst>
              <a:rect l="l" t="t" r="r" b="b"/>
              <a:pathLst>
                <a:path w="56" h="761">
                  <a:moveTo>
                    <a:pt x="56" y="0"/>
                  </a:moveTo>
                  <a:lnTo>
                    <a:pt x="56" y="762"/>
                  </a:lnTo>
                  <a:lnTo>
                    <a:pt x="56" y="762"/>
                  </a:lnTo>
                  <a:cubicBezTo>
                    <a:pt x="56" y="762"/>
                    <a:pt x="-71" y="254"/>
                    <a:pt x="56" y="0"/>
                  </a:cubicBezTo>
                  <a:close/>
                </a:path>
              </a:pathLst>
            </a:custGeom>
            <a:solidFill>
              <a:srgbClr val="000000"/>
            </a:solidFill>
            <a:ln w="12690" cap="flat">
              <a:noFill/>
              <a:prstDash val="solid"/>
              <a:miter/>
            </a:ln>
          </p:spPr>
          <p:txBody>
            <a:bodyPr rtlCol="0" anchor="ctr"/>
            <a:lstStyle/>
            <a:p>
              <a:endParaRPr lang="en-US"/>
            </a:p>
          </p:txBody>
        </p:sp>
        <p:sp>
          <p:nvSpPr>
            <p:cNvPr id="512" name="Freeform: Shape 511">
              <a:extLst>
                <a:ext uri="{FF2B5EF4-FFF2-40B4-BE49-F238E27FC236}">
                  <a16:creationId xmlns:a16="http://schemas.microsoft.com/office/drawing/2014/main" id="{AC090B7C-2FD2-4A43-A7A5-F2CB1049570D}"/>
                </a:ext>
              </a:extLst>
            </p:cNvPr>
            <p:cNvSpPr/>
            <p:nvPr/>
          </p:nvSpPr>
          <p:spPr>
            <a:xfrm>
              <a:off x="8247679" y="3800376"/>
              <a:ext cx="224884" cy="184356"/>
            </a:xfrm>
            <a:custGeom>
              <a:avLst/>
              <a:gdLst>
                <a:gd name="connsiteX0" fmla="*/ 814 w 224884"/>
                <a:gd name="connsiteY0" fmla="*/ 181944 h 184356"/>
                <a:gd name="connsiteX1" fmla="*/ 814 w 224884"/>
                <a:gd name="connsiteY1" fmla="*/ 182705 h 184356"/>
                <a:gd name="connsiteX2" fmla="*/ 1448 w 224884"/>
                <a:gd name="connsiteY2" fmla="*/ 183594 h 184356"/>
                <a:gd name="connsiteX3" fmla="*/ 1448 w 224884"/>
                <a:gd name="connsiteY3" fmla="*/ 183594 h 184356"/>
                <a:gd name="connsiteX4" fmla="*/ 1448 w 224884"/>
                <a:gd name="connsiteY4" fmla="*/ 183594 h 184356"/>
                <a:gd name="connsiteX5" fmla="*/ 2590 w 224884"/>
                <a:gd name="connsiteY5" fmla="*/ 184356 h 184356"/>
                <a:gd name="connsiteX6" fmla="*/ 3352 w 224884"/>
                <a:gd name="connsiteY6" fmla="*/ 184356 h 184356"/>
                <a:gd name="connsiteX7" fmla="*/ 5257 w 224884"/>
                <a:gd name="connsiteY7" fmla="*/ 184356 h 184356"/>
                <a:gd name="connsiteX8" fmla="*/ 8813 w 224884"/>
                <a:gd name="connsiteY8" fmla="*/ 183213 h 184356"/>
                <a:gd name="connsiteX9" fmla="*/ 16176 w 224884"/>
                <a:gd name="connsiteY9" fmla="*/ 177119 h 184356"/>
                <a:gd name="connsiteX10" fmla="*/ 220976 w 224884"/>
                <a:gd name="connsiteY10" fmla="*/ 10411 h 184356"/>
                <a:gd name="connsiteX11" fmla="*/ 223261 w 224884"/>
                <a:gd name="connsiteY11" fmla="*/ 8507 h 184356"/>
                <a:gd name="connsiteX12" fmla="*/ 223808 w 224884"/>
                <a:gd name="connsiteY12" fmla="*/ 2069 h 184356"/>
                <a:gd name="connsiteX13" fmla="*/ 223261 w 224884"/>
                <a:gd name="connsiteY13" fmla="*/ 1524 h 184356"/>
                <a:gd name="connsiteX14" fmla="*/ 220214 w 224884"/>
                <a:gd name="connsiteY14" fmla="*/ 0 h 184356"/>
                <a:gd name="connsiteX15" fmla="*/ 217294 w 224884"/>
                <a:gd name="connsiteY15" fmla="*/ 0 h 184356"/>
                <a:gd name="connsiteX16" fmla="*/ 216151 w 224884"/>
                <a:gd name="connsiteY16" fmla="*/ 635 h 184356"/>
                <a:gd name="connsiteX17" fmla="*/ 216151 w 224884"/>
                <a:gd name="connsiteY17" fmla="*/ 635 h 184356"/>
                <a:gd name="connsiteX18" fmla="*/ 1702 w 224884"/>
                <a:gd name="connsiteY18" fmla="*/ 175341 h 184356"/>
                <a:gd name="connsiteX19" fmla="*/ 1702 w 224884"/>
                <a:gd name="connsiteY19" fmla="*/ 175341 h 184356"/>
                <a:gd name="connsiteX20" fmla="*/ 940 w 224884"/>
                <a:gd name="connsiteY20" fmla="*/ 176230 h 184356"/>
                <a:gd name="connsiteX21" fmla="*/ 940 w 224884"/>
                <a:gd name="connsiteY21" fmla="*/ 176230 h 184356"/>
                <a:gd name="connsiteX22" fmla="*/ 940 w 224884"/>
                <a:gd name="connsiteY22" fmla="*/ 176230 h 184356"/>
                <a:gd name="connsiteX23" fmla="*/ 940 w 224884"/>
                <a:gd name="connsiteY23" fmla="*/ 177246 h 184356"/>
                <a:gd name="connsiteX24" fmla="*/ 940 w 224884"/>
                <a:gd name="connsiteY24" fmla="*/ 177881 h 184356"/>
                <a:gd name="connsiteX25" fmla="*/ 940 w 224884"/>
                <a:gd name="connsiteY25" fmla="*/ 177881 h 184356"/>
                <a:gd name="connsiteX26" fmla="*/ 699 w 224884"/>
                <a:gd name="connsiteY26" fmla="*/ 181829 h 184356"/>
                <a:gd name="connsiteX27" fmla="*/ 814 w 224884"/>
                <a:gd name="connsiteY27" fmla="*/ 181944 h 18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884" h="184356">
                  <a:moveTo>
                    <a:pt x="814" y="181944"/>
                  </a:moveTo>
                  <a:cubicBezTo>
                    <a:pt x="762" y="182198"/>
                    <a:pt x="762" y="182452"/>
                    <a:pt x="814" y="182705"/>
                  </a:cubicBezTo>
                  <a:cubicBezTo>
                    <a:pt x="953" y="183048"/>
                    <a:pt x="1168" y="183353"/>
                    <a:pt x="1448" y="183594"/>
                  </a:cubicBezTo>
                  <a:lnTo>
                    <a:pt x="1448" y="183594"/>
                  </a:lnTo>
                  <a:lnTo>
                    <a:pt x="1448" y="183594"/>
                  </a:lnTo>
                  <a:lnTo>
                    <a:pt x="2590" y="184356"/>
                  </a:lnTo>
                  <a:lnTo>
                    <a:pt x="3352" y="184356"/>
                  </a:lnTo>
                  <a:lnTo>
                    <a:pt x="5257" y="184356"/>
                  </a:lnTo>
                  <a:cubicBezTo>
                    <a:pt x="6540" y="184369"/>
                    <a:pt x="7783" y="183962"/>
                    <a:pt x="8813" y="183213"/>
                  </a:cubicBezTo>
                  <a:lnTo>
                    <a:pt x="16176" y="177119"/>
                  </a:lnTo>
                  <a:lnTo>
                    <a:pt x="220976" y="10411"/>
                  </a:lnTo>
                  <a:lnTo>
                    <a:pt x="223261" y="8507"/>
                  </a:lnTo>
                  <a:cubicBezTo>
                    <a:pt x="225192" y="6882"/>
                    <a:pt x="225433" y="3999"/>
                    <a:pt x="223808" y="2069"/>
                  </a:cubicBezTo>
                  <a:cubicBezTo>
                    <a:pt x="223643" y="1866"/>
                    <a:pt x="223452" y="1689"/>
                    <a:pt x="223261" y="1524"/>
                  </a:cubicBezTo>
                  <a:cubicBezTo>
                    <a:pt x="222436" y="698"/>
                    <a:pt x="221370" y="165"/>
                    <a:pt x="220214" y="0"/>
                  </a:cubicBezTo>
                  <a:lnTo>
                    <a:pt x="217294" y="0"/>
                  </a:lnTo>
                  <a:lnTo>
                    <a:pt x="216151" y="635"/>
                  </a:lnTo>
                  <a:lnTo>
                    <a:pt x="216151" y="635"/>
                  </a:lnTo>
                  <a:lnTo>
                    <a:pt x="1702" y="175341"/>
                  </a:lnTo>
                  <a:lnTo>
                    <a:pt x="1702" y="175341"/>
                  </a:lnTo>
                  <a:lnTo>
                    <a:pt x="940" y="176230"/>
                  </a:lnTo>
                  <a:cubicBezTo>
                    <a:pt x="940" y="176230"/>
                    <a:pt x="940" y="176230"/>
                    <a:pt x="940" y="176230"/>
                  </a:cubicBezTo>
                  <a:cubicBezTo>
                    <a:pt x="940" y="176230"/>
                    <a:pt x="940" y="176230"/>
                    <a:pt x="940" y="176230"/>
                  </a:cubicBezTo>
                  <a:cubicBezTo>
                    <a:pt x="940" y="176230"/>
                    <a:pt x="940" y="176865"/>
                    <a:pt x="940" y="177246"/>
                  </a:cubicBezTo>
                  <a:cubicBezTo>
                    <a:pt x="927" y="177462"/>
                    <a:pt x="927" y="177665"/>
                    <a:pt x="940" y="177881"/>
                  </a:cubicBezTo>
                  <a:lnTo>
                    <a:pt x="940" y="177881"/>
                  </a:lnTo>
                  <a:cubicBezTo>
                    <a:pt x="-216" y="178909"/>
                    <a:pt x="-317" y="180674"/>
                    <a:pt x="699" y="181829"/>
                  </a:cubicBezTo>
                  <a:cubicBezTo>
                    <a:pt x="737" y="181868"/>
                    <a:pt x="775" y="181906"/>
                    <a:pt x="814" y="181944"/>
                  </a:cubicBezTo>
                  <a:close/>
                </a:path>
              </a:pathLst>
            </a:custGeom>
            <a:solidFill>
              <a:srgbClr val="000000"/>
            </a:solidFill>
            <a:ln w="12690" cap="flat">
              <a:noFill/>
              <a:prstDash val="solid"/>
              <a:miter/>
            </a:ln>
          </p:spPr>
          <p:txBody>
            <a:bodyPr rtlCol="0" anchor="ctr"/>
            <a:lstStyle/>
            <a:p>
              <a:endParaRPr lang="en-US"/>
            </a:p>
          </p:txBody>
        </p:sp>
        <p:sp>
          <p:nvSpPr>
            <p:cNvPr id="513" name="Freeform: Shape 512">
              <a:extLst>
                <a:ext uri="{FF2B5EF4-FFF2-40B4-BE49-F238E27FC236}">
                  <a16:creationId xmlns:a16="http://schemas.microsoft.com/office/drawing/2014/main" id="{69AD6B8A-AF28-4C12-961F-0C6EC561D582}"/>
                </a:ext>
              </a:extLst>
            </p:cNvPr>
            <p:cNvSpPr/>
            <p:nvPr/>
          </p:nvSpPr>
          <p:spPr>
            <a:xfrm>
              <a:off x="4273497" y="2096097"/>
              <a:ext cx="28" cy="761"/>
            </a:xfrm>
            <a:custGeom>
              <a:avLst/>
              <a:gdLst>
                <a:gd name="connsiteX0" fmla="*/ 0 w 28"/>
                <a:gd name="connsiteY0" fmla="*/ 0 h 761"/>
                <a:gd name="connsiteX1" fmla="*/ 0 w 28"/>
                <a:gd name="connsiteY1" fmla="*/ 762 h 761"/>
                <a:gd name="connsiteX2" fmla="*/ 0 w 28"/>
                <a:gd name="connsiteY2" fmla="*/ 127 h 761"/>
              </a:gdLst>
              <a:ahLst/>
              <a:cxnLst>
                <a:cxn ang="0">
                  <a:pos x="connsiteX0" y="connsiteY0"/>
                </a:cxn>
                <a:cxn ang="0">
                  <a:pos x="connsiteX1" y="connsiteY1"/>
                </a:cxn>
                <a:cxn ang="0">
                  <a:pos x="connsiteX2" y="connsiteY2"/>
                </a:cxn>
              </a:cxnLst>
              <a:rect l="l" t="t" r="r" b="b"/>
              <a:pathLst>
                <a:path w="28" h="761">
                  <a:moveTo>
                    <a:pt x="0" y="0"/>
                  </a:moveTo>
                  <a:cubicBezTo>
                    <a:pt x="38" y="254"/>
                    <a:pt x="38" y="508"/>
                    <a:pt x="0" y="762"/>
                  </a:cubicBezTo>
                  <a:cubicBezTo>
                    <a:pt x="38" y="546"/>
                    <a:pt x="38" y="343"/>
                    <a:pt x="0" y="127"/>
                  </a:cubicBezTo>
                  <a:close/>
                </a:path>
              </a:pathLst>
            </a:custGeom>
            <a:solidFill>
              <a:srgbClr val="000000"/>
            </a:solidFill>
            <a:ln w="12690" cap="flat">
              <a:noFill/>
              <a:prstDash val="solid"/>
              <a:miter/>
            </a:ln>
          </p:spPr>
          <p:txBody>
            <a:bodyPr rtlCol="0" anchor="ctr"/>
            <a:lstStyle/>
            <a:p>
              <a:endParaRPr lang="en-US"/>
            </a:p>
          </p:txBody>
        </p:sp>
        <p:sp>
          <p:nvSpPr>
            <p:cNvPr id="514" name="Freeform: Shape 513">
              <a:extLst>
                <a:ext uri="{FF2B5EF4-FFF2-40B4-BE49-F238E27FC236}">
                  <a16:creationId xmlns:a16="http://schemas.microsoft.com/office/drawing/2014/main" id="{9A603DE7-A7A5-4F5E-9A34-61103AB8062A}"/>
                </a:ext>
              </a:extLst>
            </p:cNvPr>
            <p:cNvSpPr/>
            <p:nvPr/>
          </p:nvSpPr>
          <p:spPr>
            <a:xfrm>
              <a:off x="4132435" y="2094955"/>
              <a:ext cx="134332" cy="120999"/>
            </a:xfrm>
            <a:custGeom>
              <a:avLst/>
              <a:gdLst>
                <a:gd name="connsiteX0" fmla="*/ 134332 w 134332"/>
                <a:gd name="connsiteY0" fmla="*/ 0 h 120999"/>
                <a:gd name="connsiteX1" fmla="*/ 133570 w 134332"/>
                <a:gd name="connsiteY1" fmla="*/ 0 h 120999"/>
                <a:gd name="connsiteX2" fmla="*/ 0 w 134332"/>
                <a:gd name="connsiteY2" fmla="*/ 108303 h 120999"/>
                <a:gd name="connsiteX3" fmla="*/ 0 w 134332"/>
                <a:gd name="connsiteY3" fmla="*/ 121000 h 120999"/>
                <a:gd name="connsiteX4" fmla="*/ 131793 w 134332"/>
                <a:gd name="connsiteY4" fmla="*/ 14093 h 120999"/>
                <a:gd name="connsiteX5" fmla="*/ 131793 w 134332"/>
                <a:gd name="connsiteY5" fmla="*/ 3174 h 120999"/>
                <a:gd name="connsiteX6" fmla="*/ 134332 w 134332"/>
                <a:gd name="connsiteY6" fmla="*/ 0 h 12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2" h="120999">
                  <a:moveTo>
                    <a:pt x="134332" y="0"/>
                  </a:moveTo>
                  <a:lnTo>
                    <a:pt x="133570" y="0"/>
                  </a:lnTo>
                  <a:lnTo>
                    <a:pt x="0" y="108303"/>
                  </a:lnTo>
                  <a:lnTo>
                    <a:pt x="0" y="121000"/>
                  </a:lnTo>
                  <a:lnTo>
                    <a:pt x="131793" y="14093"/>
                  </a:lnTo>
                  <a:lnTo>
                    <a:pt x="131793" y="3174"/>
                  </a:lnTo>
                  <a:cubicBezTo>
                    <a:pt x="132110" y="1790"/>
                    <a:pt x="133050" y="622"/>
                    <a:pt x="134332" y="0"/>
                  </a:cubicBezTo>
                  <a:close/>
                </a:path>
              </a:pathLst>
            </a:custGeom>
            <a:solidFill>
              <a:srgbClr val="000000"/>
            </a:solidFill>
            <a:ln w="12690" cap="flat">
              <a:noFill/>
              <a:prstDash val="solid"/>
              <a:miter/>
            </a:ln>
          </p:spPr>
          <p:txBody>
            <a:bodyPr rtlCol="0" anchor="ctr"/>
            <a:lstStyle/>
            <a:p>
              <a:endParaRPr lang="en-US"/>
            </a:p>
          </p:txBody>
        </p:sp>
        <p:sp>
          <p:nvSpPr>
            <p:cNvPr id="515" name="Freeform: Shape 514">
              <a:extLst>
                <a:ext uri="{FF2B5EF4-FFF2-40B4-BE49-F238E27FC236}">
                  <a16:creationId xmlns:a16="http://schemas.microsoft.com/office/drawing/2014/main" id="{E0CB2059-0114-4616-B2EB-2D1571ADD958}"/>
                </a:ext>
              </a:extLst>
            </p:cNvPr>
            <p:cNvSpPr/>
            <p:nvPr/>
          </p:nvSpPr>
          <p:spPr>
            <a:xfrm>
              <a:off x="4271719" y="2094955"/>
              <a:ext cx="888" cy="12696"/>
            </a:xfrm>
            <a:custGeom>
              <a:avLst/>
              <a:gdLst>
                <a:gd name="connsiteX0" fmla="*/ 0 w 888"/>
                <a:gd name="connsiteY0" fmla="*/ 0 h 12696"/>
                <a:gd name="connsiteX1" fmla="*/ 889 w 888"/>
                <a:gd name="connsiteY1" fmla="*/ 0 h 12696"/>
                <a:gd name="connsiteX2" fmla="*/ 889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889" y="0"/>
                  </a:lnTo>
                  <a:lnTo>
                    <a:pt x="889" y="0"/>
                  </a:lnTo>
                  <a:close/>
                </a:path>
              </a:pathLst>
            </a:custGeom>
            <a:solidFill>
              <a:srgbClr val="000000"/>
            </a:solidFill>
            <a:ln w="12690" cap="flat">
              <a:noFill/>
              <a:prstDash val="solid"/>
              <a:miter/>
            </a:ln>
          </p:spPr>
          <p:txBody>
            <a:bodyPr rtlCol="0" anchor="ctr"/>
            <a:lstStyle/>
            <a:p>
              <a:endParaRPr lang="en-US"/>
            </a:p>
          </p:txBody>
        </p:sp>
        <p:sp>
          <p:nvSpPr>
            <p:cNvPr id="516" name="Freeform: Shape 515">
              <a:extLst>
                <a:ext uri="{FF2B5EF4-FFF2-40B4-BE49-F238E27FC236}">
                  <a16:creationId xmlns:a16="http://schemas.microsoft.com/office/drawing/2014/main" id="{65C55171-A1EB-4A2C-8A87-4CE977F74C31}"/>
                </a:ext>
              </a:extLst>
            </p:cNvPr>
            <p:cNvSpPr/>
            <p:nvPr/>
          </p:nvSpPr>
          <p:spPr>
            <a:xfrm>
              <a:off x="4296859" y="1976621"/>
              <a:ext cx="12696" cy="761"/>
            </a:xfrm>
            <a:custGeom>
              <a:avLst/>
              <a:gdLst>
                <a:gd name="connsiteX0" fmla="*/ 0 w 12696"/>
                <a:gd name="connsiteY0" fmla="*/ 762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cubicBezTo>
                    <a:pt x="0" y="762"/>
                    <a:pt x="0" y="762"/>
                    <a:pt x="0" y="762"/>
                  </a:cubicBezTo>
                  <a:cubicBezTo>
                    <a:pt x="0" y="762"/>
                    <a:pt x="0" y="762"/>
                    <a:pt x="0" y="0"/>
                  </a:cubicBezTo>
                  <a:close/>
                </a:path>
              </a:pathLst>
            </a:custGeom>
            <a:solidFill>
              <a:srgbClr val="000000"/>
            </a:solidFill>
            <a:ln w="12690" cap="flat">
              <a:noFill/>
              <a:prstDash val="solid"/>
              <a:miter/>
            </a:ln>
          </p:spPr>
          <p:txBody>
            <a:bodyPr rtlCol="0" anchor="ctr"/>
            <a:lstStyle/>
            <a:p>
              <a:endParaRPr lang="en-US"/>
            </a:p>
          </p:txBody>
        </p:sp>
        <p:sp>
          <p:nvSpPr>
            <p:cNvPr id="517" name="Freeform: Shape 516">
              <a:extLst>
                <a:ext uri="{FF2B5EF4-FFF2-40B4-BE49-F238E27FC236}">
                  <a16:creationId xmlns:a16="http://schemas.microsoft.com/office/drawing/2014/main" id="{128843D5-CF66-491C-B006-AA2C451A7FE8}"/>
                </a:ext>
              </a:extLst>
            </p:cNvPr>
            <p:cNvSpPr/>
            <p:nvPr/>
          </p:nvSpPr>
          <p:spPr>
            <a:xfrm>
              <a:off x="4132435" y="1924565"/>
              <a:ext cx="160868" cy="55484"/>
            </a:xfrm>
            <a:custGeom>
              <a:avLst/>
              <a:gdLst>
                <a:gd name="connsiteX0" fmla="*/ 160869 w 160868"/>
                <a:gd name="connsiteY0" fmla="*/ 48882 h 55484"/>
                <a:gd name="connsiteX1" fmla="*/ 0 w 160868"/>
                <a:gd name="connsiteY1" fmla="*/ 0 h 55484"/>
                <a:gd name="connsiteX2" fmla="*/ 0 w 160868"/>
                <a:gd name="connsiteY2" fmla="*/ 10411 h 55484"/>
                <a:gd name="connsiteX3" fmla="*/ 148553 w 160868"/>
                <a:gd name="connsiteY3" fmla="*/ 55485 h 55484"/>
                <a:gd name="connsiteX4" fmla="*/ 155536 w 160868"/>
                <a:gd name="connsiteY4" fmla="*/ 49771 h 55484"/>
                <a:gd name="connsiteX5" fmla="*/ 156298 w 160868"/>
                <a:gd name="connsiteY5" fmla="*/ 49771 h 55484"/>
                <a:gd name="connsiteX6" fmla="*/ 157187 w 160868"/>
                <a:gd name="connsiteY6" fmla="*/ 49771 h 55484"/>
                <a:gd name="connsiteX7" fmla="*/ 159091 w 160868"/>
                <a:gd name="connsiteY7" fmla="*/ 49771 h 55484"/>
                <a:gd name="connsiteX8" fmla="*/ 160361 w 160868"/>
                <a:gd name="connsiteY8" fmla="*/ 49771 h 55484"/>
                <a:gd name="connsiteX9" fmla="*/ 160361 w 160868"/>
                <a:gd name="connsiteY9" fmla="*/ 49771 h 55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68" h="55484">
                  <a:moveTo>
                    <a:pt x="160869" y="48882"/>
                  </a:moveTo>
                  <a:lnTo>
                    <a:pt x="0" y="0"/>
                  </a:lnTo>
                  <a:lnTo>
                    <a:pt x="0" y="10411"/>
                  </a:lnTo>
                  <a:lnTo>
                    <a:pt x="148553" y="55485"/>
                  </a:lnTo>
                  <a:lnTo>
                    <a:pt x="155536" y="49771"/>
                  </a:lnTo>
                  <a:lnTo>
                    <a:pt x="156298" y="49771"/>
                  </a:lnTo>
                  <a:lnTo>
                    <a:pt x="157187" y="49771"/>
                  </a:lnTo>
                  <a:lnTo>
                    <a:pt x="159091" y="49771"/>
                  </a:lnTo>
                  <a:lnTo>
                    <a:pt x="160361" y="49771"/>
                  </a:lnTo>
                  <a:lnTo>
                    <a:pt x="160361" y="49771"/>
                  </a:lnTo>
                  <a:close/>
                </a:path>
              </a:pathLst>
            </a:custGeom>
            <a:solidFill>
              <a:srgbClr val="000000"/>
            </a:solidFill>
            <a:ln w="12690" cap="flat">
              <a:noFill/>
              <a:prstDash val="solid"/>
              <a:miter/>
            </a:ln>
          </p:spPr>
          <p:txBody>
            <a:bodyPr rtlCol="0" anchor="ctr"/>
            <a:lstStyle/>
            <a:p>
              <a:endParaRPr lang="en-US"/>
            </a:p>
          </p:txBody>
        </p:sp>
        <p:sp>
          <p:nvSpPr>
            <p:cNvPr id="518" name="Freeform: Shape 517">
              <a:extLst>
                <a:ext uri="{FF2B5EF4-FFF2-40B4-BE49-F238E27FC236}">
                  <a16:creationId xmlns:a16="http://schemas.microsoft.com/office/drawing/2014/main" id="{D98533B7-2574-407F-B1AD-1DAED12DD09C}"/>
                </a:ext>
              </a:extLst>
            </p:cNvPr>
            <p:cNvSpPr/>
            <p:nvPr/>
          </p:nvSpPr>
          <p:spPr>
            <a:xfrm>
              <a:off x="4295970" y="19753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19" name="Freeform: Shape 518">
              <a:extLst>
                <a:ext uri="{FF2B5EF4-FFF2-40B4-BE49-F238E27FC236}">
                  <a16:creationId xmlns:a16="http://schemas.microsoft.com/office/drawing/2014/main" id="{0139B57D-B408-4119-A9DA-BE7DC279E52A}"/>
                </a:ext>
              </a:extLst>
            </p:cNvPr>
            <p:cNvSpPr/>
            <p:nvPr/>
          </p:nvSpPr>
          <p:spPr>
            <a:xfrm>
              <a:off x="4294573" y="1974082"/>
              <a:ext cx="635" cy="12696"/>
            </a:xfrm>
            <a:custGeom>
              <a:avLst/>
              <a:gdLst>
                <a:gd name="connsiteX0" fmla="*/ 0 w 635"/>
                <a:gd name="connsiteY0" fmla="*/ 0 h 12696"/>
                <a:gd name="connsiteX1" fmla="*/ 0 w 635"/>
                <a:gd name="connsiteY1" fmla="*/ 0 h 12696"/>
                <a:gd name="connsiteX2" fmla="*/ 635 w 635"/>
                <a:gd name="connsiteY2" fmla="*/ 0 h 12696"/>
              </a:gdLst>
              <a:ahLst/>
              <a:cxnLst>
                <a:cxn ang="0">
                  <a:pos x="connsiteX0" y="connsiteY0"/>
                </a:cxn>
                <a:cxn ang="0">
                  <a:pos x="connsiteX1" y="connsiteY1"/>
                </a:cxn>
                <a:cxn ang="0">
                  <a:pos x="connsiteX2" y="connsiteY2"/>
                </a:cxn>
              </a:cxnLst>
              <a:rect l="l" t="t" r="r" b="b"/>
              <a:pathLst>
                <a:path w="635" h="12696">
                  <a:moveTo>
                    <a:pt x="0" y="0"/>
                  </a:moveTo>
                  <a:lnTo>
                    <a:pt x="0" y="0"/>
                  </a:lnTo>
                  <a:lnTo>
                    <a:pt x="635" y="0"/>
                  </a:lnTo>
                  <a:close/>
                </a:path>
              </a:pathLst>
            </a:custGeom>
            <a:solidFill>
              <a:srgbClr val="000000"/>
            </a:solidFill>
            <a:ln w="12690" cap="flat">
              <a:noFill/>
              <a:prstDash val="solid"/>
              <a:miter/>
            </a:ln>
          </p:spPr>
          <p:txBody>
            <a:bodyPr rtlCol="0" anchor="ctr"/>
            <a:lstStyle/>
            <a:p>
              <a:endParaRPr lang="en-US"/>
            </a:p>
          </p:txBody>
        </p:sp>
        <p:sp>
          <p:nvSpPr>
            <p:cNvPr id="520" name="Freeform: Shape 519">
              <a:extLst>
                <a:ext uri="{FF2B5EF4-FFF2-40B4-BE49-F238E27FC236}">
                  <a16:creationId xmlns:a16="http://schemas.microsoft.com/office/drawing/2014/main" id="{67145433-BFC4-4EC4-80C9-56DCDE8EE789}"/>
                </a:ext>
              </a:extLst>
            </p:cNvPr>
            <p:cNvSpPr/>
            <p:nvPr/>
          </p:nvSpPr>
          <p:spPr>
            <a:xfrm>
              <a:off x="4286246" y="1978018"/>
              <a:ext cx="10800" cy="90400"/>
            </a:xfrm>
            <a:custGeom>
              <a:avLst/>
              <a:gdLst>
                <a:gd name="connsiteX0" fmla="*/ 10740 w 10800"/>
                <a:gd name="connsiteY0" fmla="*/ 78085 h 90400"/>
                <a:gd name="connsiteX1" fmla="*/ 10740 w 10800"/>
                <a:gd name="connsiteY1" fmla="*/ 0 h 90400"/>
                <a:gd name="connsiteX2" fmla="*/ 10740 w 10800"/>
                <a:gd name="connsiteY2" fmla="*/ 0 h 90400"/>
                <a:gd name="connsiteX3" fmla="*/ 10740 w 10800"/>
                <a:gd name="connsiteY3" fmla="*/ 0 h 90400"/>
                <a:gd name="connsiteX4" fmla="*/ 9089 w 10800"/>
                <a:gd name="connsiteY4" fmla="*/ 4317 h 90400"/>
                <a:gd name="connsiteX5" fmla="*/ 74 w 10800"/>
                <a:gd name="connsiteY5" fmla="*/ 11681 h 90400"/>
                <a:gd name="connsiteX6" fmla="*/ 74 w 10800"/>
                <a:gd name="connsiteY6" fmla="*/ 89639 h 90400"/>
                <a:gd name="connsiteX7" fmla="*/ 74 w 10800"/>
                <a:gd name="connsiteY7" fmla="*/ 90401 h 90400"/>
                <a:gd name="connsiteX8" fmla="*/ 1725 w 10800"/>
                <a:gd name="connsiteY8" fmla="*/ 86084 h 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 h="90400">
                  <a:moveTo>
                    <a:pt x="10740" y="78085"/>
                  </a:moveTo>
                  <a:lnTo>
                    <a:pt x="10740" y="0"/>
                  </a:lnTo>
                  <a:lnTo>
                    <a:pt x="10740" y="0"/>
                  </a:lnTo>
                  <a:cubicBezTo>
                    <a:pt x="10740" y="0"/>
                    <a:pt x="10740" y="0"/>
                    <a:pt x="10740" y="0"/>
                  </a:cubicBezTo>
                  <a:cubicBezTo>
                    <a:pt x="11006" y="1638"/>
                    <a:pt x="10384" y="3288"/>
                    <a:pt x="9089" y="4317"/>
                  </a:cubicBezTo>
                  <a:lnTo>
                    <a:pt x="74" y="11681"/>
                  </a:lnTo>
                  <a:lnTo>
                    <a:pt x="74" y="89639"/>
                  </a:lnTo>
                  <a:cubicBezTo>
                    <a:pt x="74" y="89639"/>
                    <a:pt x="74" y="89639"/>
                    <a:pt x="74" y="90401"/>
                  </a:cubicBezTo>
                  <a:cubicBezTo>
                    <a:pt x="-230" y="88763"/>
                    <a:pt x="417" y="87099"/>
                    <a:pt x="1725" y="86084"/>
                  </a:cubicBezTo>
                  <a:close/>
                </a:path>
              </a:pathLst>
            </a:custGeom>
            <a:solidFill>
              <a:srgbClr val="000000"/>
            </a:solidFill>
            <a:ln w="12690" cap="flat">
              <a:noFill/>
              <a:prstDash val="solid"/>
              <a:miter/>
            </a:ln>
          </p:spPr>
          <p:txBody>
            <a:bodyPr rtlCol="0" anchor="ctr"/>
            <a:lstStyle/>
            <a:p>
              <a:endParaRPr lang="en-US"/>
            </a:p>
          </p:txBody>
        </p:sp>
        <p:sp>
          <p:nvSpPr>
            <p:cNvPr id="521" name="Freeform: Shape 520">
              <a:extLst>
                <a:ext uri="{FF2B5EF4-FFF2-40B4-BE49-F238E27FC236}">
                  <a16:creationId xmlns:a16="http://schemas.microsoft.com/office/drawing/2014/main" id="{DA68C83A-2A2B-4647-9E5D-5F1EF16EA13A}"/>
                </a:ext>
              </a:extLst>
            </p:cNvPr>
            <p:cNvSpPr/>
            <p:nvPr/>
          </p:nvSpPr>
          <p:spPr>
            <a:xfrm>
              <a:off x="4291526" y="197332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522" name="Freeform: Shape 521">
              <a:extLst>
                <a:ext uri="{FF2B5EF4-FFF2-40B4-BE49-F238E27FC236}">
                  <a16:creationId xmlns:a16="http://schemas.microsoft.com/office/drawing/2014/main" id="{68EE031A-6520-4847-BB6B-4432ED889105}"/>
                </a:ext>
              </a:extLst>
            </p:cNvPr>
            <p:cNvSpPr/>
            <p:nvPr/>
          </p:nvSpPr>
          <p:spPr>
            <a:xfrm>
              <a:off x="4293050" y="19734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523" name="Freeform: Shape 522">
              <a:extLst>
                <a:ext uri="{FF2B5EF4-FFF2-40B4-BE49-F238E27FC236}">
                  <a16:creationId xmlns:a16="http://schemas.microsoft.com/office/drawing/2014/main" id="{40FEE130-5556-4949-AC41-AFF2C3C4A6D7}"/>
                </a:ext>
              </a:extLst>
            </p:cNvPr>
            <p:cNvSpPr/>
            <p:nvPr/>
          </p:nvSpPr>
          <p:spPr>
            <a:xfrm>
              <a:off x="4294573" y="1974082"/>
              <a:ext cx="888" cy="634"/>
            </a:xfrm>
            <a:custGeom>
              <a:avLst/>
              <a:gdLst>
                <a:gd name="connsiteX0" fmla="*/ 0 w 888"/>
                <a:gd name="connsiteY0" fmla="*/ 0 h 634"/>
                <a:gd name="connsiteX1" fmla="*/ 889 w 888"/>
                <a:gd name="connsiteY1" fmla="*/ 635 h 634"/>
                <a:gd name="connsiteX2" fmla="*/ 889 w 888"/>
                <a:gd name="connsiteY2" fmla="*/ 635 h 634"/>
              </a:gdLst>
              <a:ahLst/>
              <a:cxnLst>
                <a:cxn ang="0">
                  <a:pos x="connsiteX0" y="connsiteY0"/>
                </a:cxn>
                <a:cxn ang="0">
                  <a:pos x="connsiteX1" y="connsiteY1"/>
                </a:cxn>
                <a:cxn ang="0">
                  <a:pos x="connsiteX2" y="connsiteY2"/>
                </a:cxn>
              </a:cxnLst>
              <a:rect l="l" t="t" r="r" b="b"/>
              <a:pathLst>
                <a:path w="888" h="634">
                  <a:moveTo>
                    <a:pt x="0" y="0"/>
                  </a:moveTo>
                  <a:cubicBezTo>
                    <a:pt x="343" y="140"/>
                    <a:pt x="647" y="356"/>
                    <a:pt x="889" y="635"/>
                  </a:cubicBezTo>
                  <a:lnTo>
                    <a:pt x="889" y="635"/>
                  </a:lnTo>
                  <a:close/>
                </a:path>
              </a:pathLst>
            </a:custGeom>
            <a:solidFill>
              <a:srgbClr val="000000"/>
            </a:solidFill>
            <a:ln w="12690" cap="flat">
              <a:noFill/>
              <a:prstDash val="solid"/>
              <a:miter/>
            </a:ln>
          </p:spPr>
          <p:txBody>
            <a:bodyPr rtlCol="0" anchor="ctr"/>
            <a:lstStyle/>
            <a:p>
              <a:endParaRPr lang="en-US"/>
            </a:p>
          </p:txBody>
        </p:sp>
        <p:sp>
          <p:nvSpPr>
            <p:cNvPr id="524" name="Freeform: Shape 523">
              <a:extLst>
                <a:ext uri="{FF2B5EF4-FFF2-40B4-BE49-F238E27FC236}">
                  <a16:creationId xmlns:a16="http://schemas.microsoft.com/office/drawing/2014/main" id="{9EF7A5A7-90C8-4E41-8D10-0C5EE4872398}"/>
                </a:ext>
              </a:extLst>
            </p:cNvPr>
            <p:cNvSpPr/>
            <p:nvPr/>
          </p:nvSpPr>
          <p:spPr>
            <a:xfrm>
              <a:off x="4296097" y="1975352"/>
              <a:ext cx="12696" cy="1015"/>
            </a:xfrm>
            <a:custGeom>
              <a:avLst/>
              <a:gdLst>
                <a:gd name="connsiteX0" fmla="*/ 0 w 12696"/>
                <a:gd name="connsiteY0" fmla="*/ 0 h 1015"/>
                <a:gd name="connsiteX1" fmla="*/ 0 w 12696"/>
                <a:gd name="connsiteY1" fmla="*/ 1016 h 1015"/>
                <a:gd name="connsiteX2" fmla="*/ 0 w 12696"/>
                <a:gd name="connsiteY2" fmla="*/ 1016 h 1015"/>
              </a:gdLst>
              <a:ahLst/>
              <a:cxnLst>
                <a:cxn ang="0">
                  <a:pos x="connsiteX0" y="connsiteY0"/>
                </a:cxn>
                <a:cxn ang="0">
                  <a:pos x="connsiteX1" y="connsiteY1"/>
                </a:cxn>
                <a:cxn ang="0">
                  <a:pos x="connsiteX2" y="connsiteY2"/>
                </a:cxn>
              </a:cxnLst>
              <a:rect l="l" t="t" r="r" b="b"/>
              <a:pathLst>
                <a:path w="12696" h="1015">
                  <a:moveTo>
                    <a:pt x="0" y="0"/>
                  </a:moveTo>
                  <a:lnTo>
                    <a:pt x="0" y="1016"/>
                  </a:lnTo>
                  <a:lnTo>
                    <a:pt x="0" y="1016"/>
                  </a:lnTo>
                  <a:close/>
                </a:path>
              </a:pathLst>
            </a:custGeom>
            <a:solidFill>
              <a:srgbClr val="000000"/>
            </a:solidFill>
            <a:ln w="12690" cap="flat">
              <a:noFill/>
              <a:prstDash val="solid"/>
              <a:miter/>
            </a:ln>
          </p:spPr>
          <p:txBody>
            <a:bodyPr rtlCol="0" anchor="ctr"/>
            <a:lstStyle/>
            <a:p>
              <a:endParaRPr lang="en-US"/>
            </a:p>
          </p:txBody>
        </p:sp>
        <p:sp>
          <p:nvSpPr>
            <p:cNvPr id="525" name="Freeform: Shape 524">
              <a:extLst>
                <a:ext uri="{FF2B5EF4-FFF2-40B4-BE49-F238E27FC236}">
                  <a16:creationId xmlns:a16="http://schemas.microsoft.com/office/drawing/2014/main" id="{4C7C7DE0-B1F8-4959-8C1C-4FB60FD63EBE}"/>
                </a:ext>
              </a:extLst>
            </p:cNvPr>
            <p:cNvSpPr/>
            <p:nvPr/>
          </p:nvSpPr>
          <p:spPr>
            <a:xfrm>
              <a:off x="4133832" y="1974336"/>
              <a:ext cx="163324" cy="138901"/>
            </a:xfrm>
            <a:custGeom>
              <a:avLst/>
              <a:gdLst>
                <a:gd name="connsiteX0" fmla="*/ 163028 w 163324"/>
                <a:gd name="connsiteY0" fmla="*/ 3047 h 138901"/>
                <a:gd name="connsiteX1" fmla="*/ 163028 w 163324"/>
                <a:gd name="connsiteY1" fmla="*/ 3047 h 138901"/>
                <a:gd name="connsiteX2" fmla="*/ 163028 w 163324"/>
                <a:gd name="connsiteY2" fmla="*/ 2285 h 138901"/>
                <a:gd name="connsiteX3" fmla="*/ 163028 w 163324"/>
                <a:gd name="connsiteY3" fmla="*/ 1270 h 138901"/>
                <a:gd name="connsiteX4" fmla="*/ 163028 w 163324"/>
                <a:gd name="connsiteY4" fmla="*/ 1270 h 138901"/>
                <a:gd name="connsiteX5" fmla="*/ 163028 w 163324"/>
                <a:gd name="connsiteY5" fmla="*/ 635 h 138901"/>
                <a:gd name="connsiteX6" fmla="*/ 163028 w 163324"/>
                <a:gd name="connsiteY6" fmla="*/ 635 h 138901"/>
                <a:gd name="connsiteX7" fmla="*/ 162139 w 163324"/>
                <a:gd name="connsiteY7" fmla="*/ 0 h 138901"/>
                <a:gd name="connsiteX8" fmla="*/ 162139 w 163324"/>
                <a:gd name="connsiteY8" fmla="*/ 0 h 138901"/>
                <a:gd name="connsiteX9" fmla="*/ 161377 w 163324"/>
                <a:gd name="connsiteY9" fmla="*/ 0 h 138901"/>
                <a:gd name="connsiteX10" fmla="*/ 160615 w 163324"/>
                <a:gd name="connsiteY10" fmla="*/ 0 h 138901"/>
                <a:gd name="connsiteX11" fmla="*/ 159345 w 163324"/>
                <a:gd name="connsiteY11" fmla="*/ 0 h 138901"/>
                <a:gd name="connsiteX12" fmla="*/ 157187 w 163324"/>
                <a:gd name="connsiteY12" fmla="*/ 0 h 138901"/>
                <a:gd name="connsiteX13" fmla="*/ 156298 w 163324"/>
                <a:gd name="connsiteY13" fmla="*/ 0 h 138901"/>
                <a:gd name="connsiteX14" fmla="*/ 155536 w 163324"/>
                <a:gd name="connsiteY14" fmla="*/ 0 h 138901"/>
                <a:gd name="connsiteX15" fmla="*/ 148553 w 163324"/>
                <a:gd name="connsiteY15" fmla="*/ 5713 h 138901"/>
                <a:gd name="connsiteX16" fmla="*/ 0 w 163324"/>
                <a:gd name="connsiteY16" fmla="*/ 126205 h 138901"/>
                <a:gd name="connsiteX17" fmla="*/ 0 w 163324"/>
                <a:gd name="connsiteY17" fmla="*/ 138902 h 138901"/>
                <a:gd name="connsiteX18" fmla="*/ 153759 w 163324"/>
                <a:gd name="connsiteY18" fmla="*/ 14220 h 138901"/>
                <a:gd name="connsiteX19" fmla="*/ 162773 w 163324"/>
                <a:gd name="connsiteY19" fmla="*/ 6856 h 138901"/>
                <a:gd name="connsiteX20" fmla="*/ 163028 w 163324"/>
                <a:gd name="connsiteY20" fmla="*/ 3047 h 1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324" h="138901">
                  <a:moveTo>
                    <a:pt x="163028" y="3047"/>
                  </a:moveTo>
                  <a:lnTo>
                    <a:pt x="163028" y="3047"/>
                  </a:lnTo>
                  <a:cubicBezTo>
                    <a:pt x="163028" y="3047"/>
                    <a:pt x="163028" y="2412"/>
                    <a:pt x="163028" y="2285"/>
                  </a:cubicBezTo>
                  <a:lnTo>
                    <a:pt x="163028" y="1270"/>
                  </a:lnTo>
                  <a:lnTo>
                    <a:pt x="163028" y="1270"/>
                  </a:lnTo>
                  <a:cubicBezTo>
                    <a:pt x="163066" y="1054"/>
                    <a:pt x="163066" y="851"/>
                    <a:pt x="163028" y="635"/>
                  </a:cubicBezTo>
                  <a:lnTo>
                    <a:pt x="163028" y="635"/>
                  </a:lnTo>
                  <a:cubicBezTo>
                    <a:pt x="162786" y="356"/>
                    <a:pt x="162482" y="140"/>
                    <a:pt x="162139" y="0"/>
                  </a:cubicBezTo>
                  <a:lnTo>
                    <a:pt x="162139" y="0"/>
                  </a:lnTo>
                  <a:lnTo>
                    <a:pt x="161377" y="0"/>
                  </a:lnTo>
                  <a:lnTo>
                    <a:pt x="160615" y="0"/>
                  </a:lnTo>
                  <a:lnTo>
                    <a:pt x="159345" y="0"/>
                  </a:lnTo>
                  <a:lnTo>
                    <a:pt x="157187" y="0"/>
                  </a:lnTo>
                  <a:lnTo>
                    <a:pt x="156298" y="0"/>
                  </a:lnTo>
                  <a:lnTo>
                    <a:pt x="155536" y="0"/>
                  </a:lnTo>
                  <a:lnTo>
                    <a:pt x="148553" y="5713"/>
                  </a:lnTo>
                  <a:lnTo>
                    <a:pt x="0" y="126205"/>
                  </a:lnTo>
                  <a:lnTo>
                    <a:pt x="0" y="138902"/>
                  </a:lnTo>
                  <a:lnTo>
                    <a:pt x="153759" y="14220"/>
                  </a:lnTo>
                  <a:lnTo>
                    <a:pt x="162773" y="6856"/>
                  </a:lnTo>
                  <a:cubicBezTo>
                    <a:pt x="163408" y="5688"/>
                    <a:pt x="163497" y="4291"/>
                    <a:pt x="163028" y="3047"/>
                  </a:cubicBezTo>
                  <a:close/>
                </a:path>
              </a:pathLst>
            </a:custGeom>
            <a:solidFill>
              <a:srgbClr val="000000"/>
            </a:solidFill>
            <a:ln w="12690" cap="flat">
              <a:noFill/>
              <a:prstDash val="solid"/>
              <a:miter/>
            </a:ln>
          </p:spPr>
          <p:txBody>
            <a:bodyPr rtlCol="0" anchor="ctr"/>
            <a:lstStyle/>
            <a:p>
              <a:endParaRPr lang="en-US"/>
            </a:p>
          </p:txBody>
        </p:sp>
        <p:sp>
          <p:nvSpPr>
            <p:cNvPr id="526" name="Freeform: Shape 525">
              <a:extLst>
                <a:ext uri="{FF2B5EF4-FFF2-40B4-BE49-F238E27FC236}">
                  <a16:creationId xmlns:a16="http://schemas.microsoft.com/office/drawing/2014/main" id="{22593155-227D-4388-BBDF-8E6D85546973}"/>
                </a:ext>
              </a:extLst>
            </p:cNvPr>
            <p:cNvSpPr/>
            <p:nvPr/>
          </p:nvSpPr>
          <p:spPr>
            <a:xfrm>
              <a:off x="6073780" y="2978011"/>
              <a:ext cx="42153" cy="28186"/>
            </a:xfrm>
            <a:custGeom>
              <a:avLst/>
              <a:gdLst>
                <a:gd name="connsiteX0" fmla="*/ 42154 w 42153"/>
                <a:gd name="connsiteY0" fmla="*/ 5713 h 28186"/>
                <a:gd name="connsiteX1" fmla="*/ 38471 w 42153"/>
                <a:gd name="connsiteY1" fmla="*/ 6983 h 28186"/>
                <a:gd name="connsiteX2" fmla="*/ 33012 w 42153"/>
                <a:gd name="connsiteY2" fmla="*/ 2158 h 28186"/>
                <a:gd name="connsiteX3" fmla="*/ 33012 w 42153"/>
                <a:gd name="connsiteY3" fmla="*/ 0 h 28186"/>
                <a:gd name="connsiteX4" fmla="*/ 0 w 42153"/>
                <a:gd name="connsiteY4" fmla="*/ 26917 h 28186"/>
                <a:gd name="connsiteX5" fmla="*/ 2412 w 42153"/>
                <a:gd name="connsiteY5" fmla="*/ 26917 h 28186"/>
                <a:gd name="connsiteX6" fmla="*/ 14347 w 42153"/>
                <a:gd name="connsiteY6" fmla="*/ 28187 h 28186"/>
                <a:gd name="connsiteX7" fmla="*/ 42026 w 42153"/>
                <a:gd name="connsiteY7" fmla="*/ 5459 h 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53" h="28186">
                  <a:moveTo>
                    <a:pt x="42154" y="5713"/>
                  </a:moveTo>
                  <a:cubicBezTo>
                    <a:pt x="41100" y="6526"/>
                    <a:pt x="39805" y="6970"/>
                    <a:pt x="38471" y="6983"/>
                  </a:cubicBezTo>
                  <a:cubicBezTo>
                    <a:pt x="35640" y="7123"/>
                    <a:pt x="33215" y="4990"/>
                    <a:pt x="33012" y="2158"/>
                  </a:cubicBezTo>
                  <a:lnTo>
                    <a:pt x="33012" y="0"/>
                  </a:lnTo>
                  <a:lnTo>
                    <a:pt x="0" y="26917"/>
                  </a:lnTo>
                  <a:lnTo>
                    <a:pt x="2412" y="26917"/>
                  </a:lnTo>
                  <a:lnTo>
                    <a:pt x="14347" y="28187"/>
                  </a:lnTo>
                  <a:lnTo>
                    <a:pt x="42026" y="5459"/>
                  </a:lnTo>
                  <a:close/>
                </a:path>
              </a:pathLst>
            </a:custGeom>
            <a:solidFill>
              <a:srgbClr val="000000"/>
            </a:solidFill>
            <a:ln w="12690" cap="flat">
              <a:noFill/>
              <a:prstDash val="solid"/>
              <a:miter/>
            </a:ln>
          </p:spPr>
          <p:txBody>
            <a:bodyPr rtlCol="0" anchor="ctr"/>
            <a:lstStyle/>
            <a:p>
              <a:endParaRPr lang="en-US"/>
            </a:p>
          </p:txBody>
        </p:sp>
        <p:sp>
          <p:nvSpPr>
            <p:cNvPr id="527" name="Freeform: Shape 526">
              <a:extLst>
                <a:ext uri="{FF2B5EF4-FFF2-40B4-BE49-F238E27FC236}">
                  <a16:creationId xmlns:a16="http://schemas.microsoft.com/office/drawing/2014/main" id="{AC787DD7-AB0D-4206-85FF-1EE86EBF8A11}"/>
                </a:ext>
              </a:extLst>
            </p:cNvPr>
            <p:cNvSpPr/>
            <p:nvPr/>
          </p:nvSpPr>
          <p:spPr>
            <a:xfrm>
              <a:off x="4267656" y="2702365"/>
              <a:ext cx="1555107" cy="478284"/>
            </a:xfrm>
            <a:custGeom>
              <a:avLst/>
              <a:gdLst>
                <a:gd name="connsiteX0" fmla="*/ 1555107 w 1555107"/>
                <a:gd name="connsiteY0" fmla="*/ 468001 h 478284"/>
                <a:gd name="connsiteX1" fmla="*/ 7364 w 1555107"/>
                <a:gd name="connsiteY1" fmla="*/ 0 h 478284"/>
                <a:gd name="connsiteX2" fmla="*/ 7364 w 1555107"/>
                <a:gd name="connsiteY2" fmla="*/ 3555 h 478284"/>
                <a:gd name="connsiteX3" fmla="*/ 1917 w 1555107"/>
                <a:gd name="connsiteY3" fmla="*/ 8507 h 478284"/>
                <a:gd name="connsiteX4" fmla="*/ 1904 w 1555107"/>
                <a:gd name="connsiteY4" fmla="*/ 8507 h 478284"/>
                <a:gd name="connsiteX5" fmla="*/ 0 w 1555107"/>
                <a:gd name="connsiteY5" fmla="*/ 8507 h 478284"/>
                <a:gd name="connsiteX6" fmla="*/ 0 w 1555107"/>
                <a:gd name="connsiteY6" fmla="*/ 8507 h 478284"/>
                <a:gd name="connsiteX7" fmla="*/ 1554853 w 1555107"/>
                <a:gd name="connsiteY7" fmla="*/ 478285 h 478284"/>
                <a:gd name="connsiteX8" fmla="*/ 1554853 w 1555107"/>
                <a:gd name="connsiteY8" fmla="*/ 468001 h 47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107" h="478284">
                  <a:moveTo>
                    <a:pt x="1555107" y="468001"/>
                  </a:moveTo>
                  <a:lnTo>
                    <a:pt x="7364" y="0"/>
                  </a:lnTo>
                  <a:lnTo>
                    <a:pt x="7364" y="3555"/>
                  </a:lnTo>
                  <a:cubicBezTo>
                    <a:pt x="7224" y="6424"/>
                    <a:pt x="4787" y="8646"/>
                    <a:pt x="1917" y="8507"/>
                  </a:cubicBezTo>
                  <a:cubicBezTo>
                    <a:pt x="1917" y="8507"/>
                    <a:pt x="1904" y="8507"/>
                    <a:pt x="1904" y="8507"/>
                  </a:cubicBezTo>
                  <a:cubicBezTo>
                    <a:pt x="1270" y="8621"/>
                    <a:pt x="635" y="8621"/>
                    <a:pt x="0" y="8507"/>
                  </a:cubicBezTo>
                  <a:lnTo>
                    <a:pt x="0" y="8507"/>
                  </a:lnTo>
                  <a:lnTo>
                    <a:pt x="1554853" y="478285"/>
                  </a:lnTo>
                  <a:lnTo>
                    <a:pt x="1554853" y="468001"/>
                  </a:lnTo>
                  <a:close/>
                </a:path>
              </a:pathLst>
            </a:custGeom>
            <a:solidFill>
              <a:srgbClr val="000000"/>
            </a:solidFill>
            <a:ln w="12690"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35C7C518-AA2E-4B2B-9221-CB253E2B3D7A}"/>
                </a:ext>
              </a:extLst>
            </p:cNvPr>
            <p:cNvSpPr/>
            <p:nvPr/>
          </p:nvSpPr>
          <p:spPr>
            <a:xfrm>
              <a:off x="5853617" y="2567526"/>
              <a:ext cx="10538" cy="511423"/>
            </a:xfrm>
            <a:custGeom>
              <a:avLst/>
              <a:gdLst>
                <a:gd name="connsiteX0" fmla="*/ 10538 w 10538"/>
                <a:gd name="connsiteY0" fmla="*/ 488569 h 511423"/>
                <a:gd name="connsiteX1" fmla="*/ 10538 w 10538"/>
                <a:gd name="connsiteY1" fmla="*/ 0 h 511423"/>
                <a:gd name="connsiteX2" fmla="*/ 8761 w 10538"/>
                <a:gd name="connsiteY2" fmla="*/ 1397 h 511423"/>
                <a:gd name="connsiteX3" fmla="*/ 8761 w 10538"/>
                <a:gd name="connsiteY3" fmla="*/ 1397 h 511423"/>
                <a:gd name="connsiteX4" fmla="*/ 5460 w 10538"/>
                <a:gd name="connsiteY4" fmla="*/ 2539 h 511423"/>
                <a:gd name="connsiteX5" fmla="*/ 3682 w 10538"/>
                <a:gd name="connsiteY5" fmla="*/ 2539 h 511423"/>
                <a:gd name="connsiteX6" fmla="*/ 0 w 10538"/>
                <a:gd name="connsiteY6" fmla="*/ 1524 h 511423"/>
                <a:gd name="connsiteX7" fmla="*/ 0 w 10538"/>
                <a:gd name="connsiteY7" fmla="*/ 511423 h 511423"/>
                <a:gd name="connsiteX8" fmla="*/ 0 w 10538"/>
                <a:gd name="connsiteY8" fmla="*/ 510534 h 5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38" h="511423">
                  <a:moveTo>
                    <a:pt x="10538" y="488569"/>
                  </a:moveTo>
                  <a:lnTo>
                    <a:pt x="10538" y="0"/>
                  </a:lnTo>
                  <a:lnTo>
                    <a:pt x="8761" y="1397"/>
                  </a:lnTo>
                  <a:lnTo>
                    <a:pt x="8761" y="1397"/>
                  </a:lnTo>
                  <a:cubicBezTo>
                    <a:pt x="7834" y="2171"/>
                    <a:pt x="6666" y="2577"/>
                    <a:pt x="5460" y="2539"/>
                  </a:cubicBezTo>
                  <a:cubicBezTo>
                    <a:pt x="4876" y="2666"/>
                    <a:pt x="4266" y="2666"/>
                    <a:pt x="3682" y="2539"/>
                  </a:cubicBezTo>
                  <a:lnTo>
                    <a:pt x="0" y="1524"/>
                  </a:lnTo>
                  <a:lnTo>
                    <a:pt x="0" y="511423"/>
                  </a:lnTo>
                  <a:lnTo>
                    <a:pt x="0" y="510534"/>
                  </a:lnTo>
                  <a:close/>
                </a:path>
              </a:pathLst>
            </a:custGeom>
            <a:solidFill>
              <a:srgbClr val="000000"/>
            </a:solidFill>
            <a:ln w="12690"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794E8630-6A9A-44CE-BD05-7209E42308CF}"/>
                </a:ext>
              </a:extLst>
            </p:cNvPr>
            <p:cNvSpPr/>
            <p:nvPr/>
          </p:nvSpPr>
          <p:spPr>
            <a:xfrm>
              <a:off x="5858822" y="2569050"/>
              <a:ext cx="3301" cy="1145"/>
            </a:xfrm>
            <a:custGeom>
              <a:avLst/>
              <a:gdLst>
                <a:gd name="connsiteX0" fmla="*/ 3301 w 3301"/>
                <a:gd name="connsiteY0" fmla="*/ 0 h 1145"/>
                <a:gd name="connsiteX1" fmla="*/ 0 w 3301"/>
                <a:gd name="connsiteY1" fmla="*/ 1143 h 1145"/>
                <a:gd name="connsiteX2" fmla="*/ 3301 w 3301"/>
                <a:gd name="connsiteY2" fmla="*/ 0 h 1145"/>
              </a:gdLst>
              <a:ahLst/>
              <a:cxnLst>
                <a:cxn ang="0">
                  <a:pos x="connsiteX0" y="connsiteY0"/>
                </a:cxn>
                <a:cxn ang="0">
                  <a:pos x="connsiteX1" y="connsiteY1"/>
                </a:cxn>
                <a:cxn ang="0">
                  <a:pos x="connsiteX2" y="connsiteY2"/>
                </a:cxn>
              </a:cxnLst>
              <a:rect l="l" t="t" r="r" b="b"/>
              <a:pathLst>
                <a:path w="3301" h="1145">
                  <a:moveTo>
                    <a:pt x="3301" y="0"/>
                  </a:moveTo>
                  <a:cubicBezTo>
                    <a:pt x="2362" y="736"/>
                    <a:pt x="1193" y="1130"/>
                    <a:pt x="0" y="1143"/>
                  </a:cubicBezTo>
                  <a:cubicBezTo>
                    <a:pt x="1206" y="1181"/>
                    <a:pt x="2374" y="775"/>
                    <a:pt x="3301" y="0"/>
                  </a:cubicBezTo>
                  <a:close/>
                </a:path>
              </a:pathLst>
            </a:custGeom>
            <a:solidFill>
              <a:srgbClr val="000000"/>
            </a:solidFill>
            <a:ln w="12690"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AEE64439-8EE6-432B-80C0-926FD0C3CB09}"/>
                </a:ext>
              </a:extLst>
            </p:cNvPr>
            <p:cNvSpPr/>
            <p:nvPr/>
          </p:nvSpPr>
          <p:spPr>
            <a:xfrm>
              <a:off x="4263808" y="2079987"/>
              <a:ext cx="1595014" cy="490224"/>
            </a:xfrm>
            <a:custGeom>
              <a:avLst/>
              <a:gdLst>
                <a:gd name="connsiteX0" fmla="*/ 1595015 w 1595014"/>
                <a:gd name="connsiteY0" fmla="*/ 490205 h 490224"/>
                <a:gd name="connsiteX1" fmla="*/ 1590952 w 1595014"/>
                <a:gd name="connsiteY1" fmla="*/ 488681 h 490224"/>
                <a:gd name="connsiteX2" fmla="*/ 1590609 w 1595014"/>
                <a:gd name="connsiteY2" fmla="*/ 482041 h 490224"/>
                <a:gd name="connsiteX3" fmla="*/ 1590952 w 1595014"/>
                <a:gd name="connsiteY3" fmla="*/ 481698 h 490224"/>
                <a:gd name="connsiteX4" fmla="*/ 1593364 w 1595014"/>
                <a:gd name="connsiteY4" fmla="*/ 479794 h 490224"/>
                <a:gd name="connsiteX5" fmla="*/ 10070 w 1595014"/>
                <a:gd name="connsiteY5" fmla="*/ 1128 h 490224"/>
                <a:gd name="connsiteX6" fmla="*/ 7150 w 1595014"/>
                <a:gd name="connsiteY6" fmla="*/ 239 h 490224"/>
                <a:gd name="connsiteX7" fmla="*/ 293 w 1595014"/>
                <a:gd name="connsiteY7" fmla="*/ 3413 h 490224"/>
                <a:gd name="connsiteX8" fmla="*/ 3074 w 1595014"/>
                <a:gd name="connsiteY8" fmla="*/ 9444 h 490224"/>
                <a:gd name="connsiteX9" fmla="*/ 3721 w 1595014"/>
                <a:gd name="connsiteY9" fmla="*/ 9635 h 490224"/>
                <a:gd name="connsiteX10" fmla="*/ 10705 w 1595014"/>
                <a:gd name="connsiteY10" fmla="*/ 11666 h 490224"/>
                <a:gd name="connsiteX11" fmla="*/ 1030768 w 1595014"/>
                <a:gd name="connsiteY11" fmla="*/ 319688 h 490224"/>
                <a:gd name="connsiteX12" fmla="*/ 1589428 w 1595014"/>
                <a:gd name="connsiteY12" fmla="*/ 488935 h 490224"/>
                <a:gd name="connsiteX13" fmla="*/ 1593110 w 1595014"/>
                <a:gd name="connsiteY13" fmla="*/ 489951 h 490224"/>
                <a:gd name="connsiteX14" fmla="*/ 1595015 w 1595014"/>
                <a:gd name="connsiteY14" fmla="*/ 490205 h 49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5014" h="490224">
                  <a:moveTo>
                    <a:pt x="1595015" y="490205"/>
                  </a:moveTo>
                  <a:cubicBezTo>
                    <a:pt x="1593516" y="490231"/>
                    <a:pt x="1592069" y="489685"/>
                    <a:pt x="1590952" y="488681"/>
                  </a:cubicBezTo>
                  <a:cubicBezTo>
                    <a:pt x="1589022" y="486942"/>
                    <a:pt x="1588869" y="483971"/>
                    <a:pt x="1590609" y="482041"/>
                  </a:cubicBezTo>
                  <a:cubicBezTo>
                    <a:pt x="1590711" y="481927"/>
                    <a:pt x="1590825" y="481813"/>
                    <a:pt x="1590952" y="481698"/>
                  </a:cubicBezTo>
                  <a:lnTo>
                    <a:pt x="1593364" y="479794"/>
                  </a:lnTo>
                  <a:lnTo>
                    <a:pt x="10070" y="1128"/>
                  </a:lnTo>
                  <a:lnTo>
                    <a:pt x="7150" y="239"/>
                  </a:lnTo>
                  <a:cubicBezTo>
                    <a:pt x="4395" y="-586"/>
                    <a:pt x="1449" y="785"/>
                    <a:pt x="293" y="3413"/>
                  </a:cubicBezTo>
                  <a:cubicBezTo>
                    <a:pt x="-608" y="5851"/>
                    <a:pt x="636" y="8543"/>
                    <a:pt x="3074" y="9444"/>
                  </a:cubicBezTo>
                  <a:cubicBezTo>
                    <a:pt x="3290" y="9521"/>
                    <a:pt x="3506" y="9584"/>
                    <a:pt x="3721" y="9635"/>
                  </a:cubicBezTo>
                  <a:lnTo>
                    <a:pt x="10705" y="11666"/>
                  </a:lnTo>
                  <a:lnTo>
                    <a:pt x="1030768" y="319688"/>
                  </a:lnTo>
                  <a:lnTo>
                    <a:pt x="1589428" y="488935"/>
                  </a:lnTo>
                  <a:lnTo>
                    <a:pt x="1593110" y="489951"/>
                  </a:lnTo>
                  <a:cubicBezTo>
                    <a:pt x="1593720" y="490180"/>
                    <a:pt x="1594367" y="490269"/>
                    <a:pt x="1595015" y="490205"/>
                  </a:cubicBezTo>
                  <a:close/>
                </a:path>
              </a:pathLst>
            </a:custGeom>
            <a:solidFill>
              <a:srgbClr val="000000"/>
            </a:solidFill>
            <a:ln w="12690" cap="flat">
              <a:noFill/>
              <a:prstDash val="solid"/>
              <a:miter/>
            </a:ln>
          </p:spPr>
          <p:txBody>
            <a:bodyPr rtlCol="0" anchor="ctr"/>
            <a:lstStyle/>
            <a:p>
              <a:endParaRPr lang="en-US"/>
            </a:p>
          </p:txBody>
        </p:sp>
        <p:sp>
          <p:nvSpPr>
            <p:cNvPr id="531" name="Freeform: Shape 530">
              <a:extLst>
                <a:ext uri="{FF2B5EF4-FFF2-40B4-BE49-F238E27FC236}">
                  <a16:creationId xmlns:a16="http://schemas.microsoft.com/office/drawing/2014/main" id="{FE0D58B4-77D7-452B-9EE8-AC3AAE2A10DD}"/>
                </a:ext>
              </a:extLst>
            </p:cNvPr>
            <p:cNvSpPr/>
            <p:nvPr/>
          </p:nvSpPr>
          <p:spPr>
            <a:xfrm>
              <a:off x="4524005" y="1874286"/>
              <a:ext cx="1589896" cy="487299"/>
            </a:xfrm>
            <a:custGeom>
              <a:avLst/>
              <a:gdLst>
                <a:gd name="connsiteX0" fmla="*/ 1585326 w 1589896"/>
                <a:gd name="connsiteY0" fmla="*/ 480697 h 487299"/>
                <a:gd name="connsiteX1" fmla="*/ 1586341 w 1589896"/>
                <a:gd name="connsiteY1" fmla="*/ 480697 h 487299"/>
                <a:gd name="connsiteX2" fmla="*/ 1587484 w 1589896"/>
                <a:gd name="connsiteY2" fmla="*/ 480697 h 487299"/>
                <a:gd name="connsiteX3" fmla="*/ 1589897 w 1589896"/>
                <a:gd name="connsiteY3" fmla="*/ 480697 h 487299"/>
                <a:gd name="connsiteX4" fmla="*/ 1007620 w 1589896"/>
                <a:gd name="connsiteY4" fmla="*/ 304721 h 487299"/>
                <a:gd name="connsiteX5" fmla="*/ 762 w 1589896"/>
                <a:gd name="connsiteY5" fmla="*/ 0 h 487299"/>
                <a:gd name="connsiteX6" fmla="*/ 0 w 1589896"/>
                <a:gd name="connsiteY6" fmla="*/ 0 h 487299"/>
                <a:gd name="connsiteX7" fmla="*/ 3047 w 1589896"/>
                <a:gd name="connsiteY7" fmla="*/ 1397 h 487299"/>
                <a:gd name="connsiteX8" fmla="*/ 3390 w 1589896"/>
                <a:gd name="connsiteY8" fmla="*/ 8037 h 487299"/>
                <a:gd name="connsiteX9" fmla="*/ 3047 w 1589896"/>
                <a:gd name="connsiteY9" fmla="*/ 8380 h 487299"/>
                <a:gd name="connsiteX10" fmla="*/ 762 w 1589896"/>
                <a:gd name="connsiteY10" fmla="*/ 10284 h 487299"/>
                <a:gd name="connsiteX11" fmla="*/ 1577708 w 1589896"/>
                <a:gd name="connsiteY11" fmla="*/ 487300 h 487299"/>
                <a:gd name="connsiteX12" fmla="*/ 1584564 w 1589896"/>
                <a:gd name="connsiteY12" fmla="*/ 481586 h 48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896" h="487299">
                  <a:moveTo>
                    <a:pt x="1585326" y="480697"/>
                  </a:moveTo>
                  <a:lnTo>
                    <a:pt x="1586341" y="480697"/>
                  </a:lnTo>
                  <a:lnTo>
                    <a:pt x="1587484" y="480697"/>
                  </a:lnTo>
                  <a:lnTo>
                    <a:pt x="1589897" y="480697"/>
                  </a:lnTo>
                  <a:lnTo>
                    <a:pt x="1007620" y="304721"/>
                  </a:lnTo>
                  <a:lnTo>
                    <a:pt x="762" y="0"/>
                  </a:lnTo>
                  <a:lnTo>
                    <a:pt x="0" y="0"/>
                  </a:lnTo>
                  <a:cubicBezTo>
                    <a:pt x="1117" y="203"/>
                    <a:pt x="2171" y="686"/>
                    <a:pt x="3047" y="1397"/>
                  </a:cubicBezTo>
                  <a:cubicBezTo>
                    <a:pt x="4977" y="3136"/>
                    <a:pt x="5129" y="6107"/>
                    <a:pt x="3390" y="8037"/>
                  </a:cubicBezTo>
                  <a:cubicBezTo>
                    <a:pt x="3289" y="8151"/>
                    <a:pt x="3174" y="8266"/>
                    <a:pt x="3047" y="8380"/>
                  </a:cubicBezTo>
                  <a:lnTo>
                    <a:pt x="762" y="10284"/>
                  </a:lnTo>
                  <a:lnTo>
                    <a:pt x="1577708" y="487300"/>
                  </a:lnTo>
                  <a:lnTo>
                    <a:pt x="1584564" y="481586"/>
                  </a:lnTo>
                  <a:close/>
                </a:path>
              </a:pathLst>
            </a:custGeom>
            <a:solidFill>
              <a:srgbClr val="000000"/>
            </a:solidFill>
            <a:ln w="12690" cap="flat">
              <a:noFill/>
              <a:prstDash val="solid"/>
              <a:miter/>
            </a:ln>
          </p:spPr>
          <p:txBody>
            <a:bodyPr rtlCol="0" anchor="ctr"/>
            <a:lstStyle/>
            <a:p>
              <a:endParaRPr lang="en-US"/>
            </a:p>
          </p:txBody>
        </p:sp>
        <p:sp>
          <p:nvSpPr>
            <p:cNvPr id="532" name="Freeform: Shape 531">
              <a:extLst>
                <a:ext uri="{FF2B5EF4-FFF2-40B4-BE49-F238E27FC236}">
                  <a16:creationId xmlns:a16="http://schemas.microsoft.com/office/drawing/2014/main" id="{94DC7205-73D8-41F2-8707-75C22064304F}"/>
                </a:ext>
              </a:extLst>
            </p:cNvPr>
            <p:cNvSpPr/>
            <p:nvPr/>
          </p:nvSpPr>
          <p:spPr>
            <a:xfrm>
              <a:off x="6117076" y="2356253"/>
              <a:ext cx="28" cy="761"/>
            </a:xfrm>
            <a:custGeom>
              <a:avLst/>
              <a:gdLst>
                <a:gd name="connsiteX0" fmla="*/ 0 w 28"/>
                <a:gd name="connsiteY0" fmla="*/ 762 h 761"/>
                <a:gd name="connsiteX1" fmla="*/ 0 w 28"/>
                <a:gd name="connsiteY1" fmla="*/ 0 h 761"/>
                <a:gd name="connsiteX2" fmla="*/ 0 w 28"/>
                <a:gd name="connsiteY2" fmla="*/ 0 h 761"/>
              </a:gdLst>
              <a:ahLst/>
              <a:cxnLst>
                <a:cxn ang="0">
                  <a:pos x="connsiteX0" y="connsiteY0"/>
                </a:cxn>
                <a:cxn ang="0">
                  <a:pos x="connsiteX1" y="connsiteY1"/>
                </a:cxn>
                <a:cxn ang="0">
                  <a:pos x="connsiteX2" y="connsiteY2"/>
                </a:cxn>
              </a:cxnLst>
              <a:rect l="l" t="t" r="r" b="b"/>
              <a:pathLst>
                <a:path w="28" h="761">
                  <a:moveTo>
                    <a:pt x="0" y="762"/>
                  </a:moveTo>
                  <a:cubicBezTo>
                    <a:pt x="38" y="508"/>
                    <a:pt x="38" y="254"/>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533" name="Freeform: Shape 532">
              <a:extLst>
                <a:ext uri="{FF2B5EF4-FFF2-40B4-BE49-F238E27FC236}">
                  <a16:creationId xmlns:a16="http://schemas.microsoft.com/office/drawing/2014/main" id="{17D58846-AB51-4324-AA25-7188492B38B9}"/>
                </a:ext>
              </a:extLst>
            </p:cNvPr>
            <p:cNvSpPr/>
            <p:nvPr/>
          </p:nvSpPr>
          <p:spPr>
            <a:xfrm>
              <a:off x="6117584" y="2358030"/>
              <a:ext cx="12696" cy="888"/>
            </a:xfrm>
            <a:custGeom>
              <a:avLst/>
              <a:gdLst>
                <a:gd name="connsiteX0" fmla="*/ 0 w 12696"/>
                <a:gd name="connsiteY0" fmla="*/ 889 h 888"/>
                <a:gd name="connsiteX1" fmla="*/ 0 w 12696"/>
                <a:gd name="connsiteY1" fmla="*/ 0 h 888"/>
                <a:gd name="connsiteX2" fmla="*/ 0 w 12696"/>
                <a:gd name="connsiteY2" fmla="*/ 0 h 888"/>
                <a:gd name="connsiteX3" fmla="*/ 0 w 12696"/>
                <a:gd name="connsiteY3" fmla="*/ 889 h 888"/>
              </a:gdLst>
              <a:ahLst/>
              <a:cxnLst>
                <a:cxn ang="0">
                  <a:pos x="connsiteX0" y="connsiteY0"/>
                </a:cxn>
                <a:cxn ang="0">
                  <a:pos x="connsiteX1" y="connsiteY1"/>
                </a:cxn>
                <a:cxn ang="0">
                  <a:pos x="connsiteX2" y="connsiteY2"/>
                </a:cxn>
                <a:cxn ang="0">
                  <a:pos x="connsiteX3" y="connsiteY3"/>
                </a:cxn>
              </a:cxnLst>
              <a:rect l="l" t="t" r="r" b="b"/>
              <a:pathLst>
                <a:path w="12696" h="888">
                  <a:moveTo>
                    <a:pt x="0" y="889"/>
                  </a:moveTo>
                  <a:cubicBezTo>
                    <a:pt x="0" y="889"/>
                    <a:pt x="0" y="889"/>
                    <a:pt x="0" y="0"/>
                  </a:cubicBezTo>
                  <a:lnTo>
                    <a:pt x="0" y="0"/>
                  </a:lnTo>
                  <a:cubicBezTo>
                    <a:pt x="0" y="0"/>
                    <a:pt x="0" y="635"/>
                    <a:pt x="0" y="889"/>
                  </a:cubicBezTo>
                  <a:close/>
                </a:path>
              </a:pathLst>
            </a:custGeom>
            <a:solidFill>
              <a:srgbClr val="000000"/>
            </a:solidFill>
            <a:ln w="12690" cap="flat">
              <a:noFill/>
              <a:prstDash val="solid"/>
              <a:miter/>
            </a:ln>
          </p:spPr>
          <p:txBody>
            <a:bodyPr rtlCol="0" anchor="ctr"/>
            <a:lstStyle/>
            <a:p>
              <a:endParaRPr lang="en-US"/>
            </a:p>
          </p:txBody>
        </p:sp>
        <p:sp>
          <p:nvSpPr>
            <p:cNvPr id="534" name="Freeform: Shape 533">
              <a:extLst>
                <a:ext uri="{FF2B5EF4-FFF2-40B4-BE49-F238E27FC236}">
                  <a16:creationId xmlns:a16="http://schemas.microsoft.com/office/drawing/2014/main" id="{880E0F3D-9E93-42D7-BCB4-37514957C5FF}"/>
                </a:ext>
              </a:extLst>
            </p:cNvPr>
            <p:cNvSpPr/>
            <p:nvPr/>
          </p:nvSpPr>
          <p:spPr>
            <a:xfrm>
              <a:off x="6115044" y="2355491"/>
              <a:ext cx="888" cy="12696"/>
            </a:xfrm>
            <a:custGeom>
              <a:avLst/>
              <a:gdLst>
                <a:gd name="connsiteX0" fmla="*/ 889 w 888"/>
                <a:gd name="connsiteY0" fmla="*/ 0 h 12696"/>
                <a:gd name="connsiteX1" fmla="*/ 0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35" name="Freeform: Shape 534">
              <a:extLst>
                <a:ext uri="{FF2B5EF4-FFF2-40B4-BE49-F238E27FC236}">
                  <a16:creationId xmlns:a16="http://schemas.microsoft.com/office/drawing/2014/main" id="{03D6C66E-DC5F-4672-96B4-9C990ABF1456}"/>
                </a:ext>
              </a:extLst>
            </p:cNvPr>
            <p:cNvSpPr/>
            <p:nvPr/>
          </p:nvSpPr>
          <p:spPr>
            <a:xfrm>
              <a:off x="6113521" y="2354348"/>
              <a:ext cx="888" cy="12696"/>
            </a:xfrm>
            <a:custGeom>
              <a:avLst/>
              <a:gdLst>
                <a:gd name="connsiteX0" fmla="*/ 0 w 888"/>
                <a:gd name="connsiteY0" fmla="*/ 0 h 12696"/>
                <a:gd name="connsiteX1" fmla="*/ 889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889" y="0"/>
                  </a:lnTo>
                  <a:lnTo>
                    <a:pt x="0" y="0"/>
                  </a:lnTo>
                  <a:close/>
                </a:path>
              </a:pathLst>
            </a:custGeom>
            <a:solidFill>
              <a:srgbClr val="000000"/>
            </a:solidFill>
            <a:ln w="12690" cap="flat">
              <a:noFill/>
              <a:prstDash val="solid"/>
              <a:miter/>
            </a:ln>
          </p:spPr>
          <p:txBody>
            <a:bodyPr rtlCol="0" anchor="ctr"/>
            <a:lstStyle/>
            <a:p>
              <a:endParaRPr lang="en-US"/>
            </a:p>
          </p:txBody>
        </p:sp>
        <p:sp>
          <p:nvSpPr>
            <p:cNvPr id="536" name="Freeform: Shape 535">
              <a:extLst>
                <a:ext uri="{FF2B5EF4-FFF2-40B4-BE49-F238E27FC236}">
                  <a16:creationId xmlns:a16="http://schemas.microsoft.com/office/drawing/2014/main" id="{965E7175-3120-42A1-BD91-91165FD9440A}"/>
                </a:ext>
              </a:extLst>
            </p:cNvPr>
            <p:cNvSpPr/>
            <p:nvPr/>
          </p:nvSpPr>
          <p:spPr>
            <a:xfrm>
              <a:off x="6115425" y="2355745"/>
              <a:ext cx="761" cy="12696"/>
            </a:xfrm>
            <a:custGeom>
              <a:avLst/>
              <a:gdLst>
                <a:gd name="connsiteX0" fmla="*/ 762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762" y="0"/>
                  </a:lnTo>
                  <a:lnTo>
                    <a:pt x="0" y="0"/>
                  </a:lnTo>
                  <a:close/>
                </a:path>
              </a:pathLst>
            </a:custGeom>
            <a:solidFill>
              <a:srgbClr val="000000"/>
            </a:solidFill>
            <a:ln w="12690" cap="flat">
              <a:noFill/>
              <a:prstDash val="solid"/>
              <a:miter/>
            </a:ln>
          </p:spPr>
          <p:txBody>
            <a:bodyPr rtlCol="0" anchor="ctr"/>
            <a:lstStyle/>
            <a:p>
              <a:endParaRPr lang="en-US"/>
            </a:p>
          </p:txBody>
        </p:sp>
        <p:sp>
          <p:nvSpPr>
            <p:cNvPr id="537" name="Freeform: Shape 536">
              <a:extLst>
                <a:ext uri="{FF2B5EF4-FFF2-40B4-BE49-F238E27FC236}">
                  <a16:creationId xmlns:a16="http://schemas.microsoft.com/office/drawing/2014/main" id="{362A6FF1-2A61-4074-AA53-7A03532C6760}"/>
                </a:ext>
              </a:extLst>
            </p:cNvPr>
            <p:cNvSpPr/>
            <p:nvPr/>
          </p:nvSpPr>
          <p:spPr>
            <a:xfrm>
              <a:off x="6111489" y="235422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538" name="Freeform: Shape 537">
              <a:extLst>
                <a:ext uri="{FF2B5EF4-FFF2-40B4-BE49-F238E27FC236}">
                  <a16:creationId xmlns:a16="http://schemas.microsoft.com/office/drawing/2014/main" id="{0E53A99C-D931-4B97-B8B8-F37DEFFCA969}"/>
                </a:ext>
              </a:extLst>
            </p:cNvPr>
            <p:cNvSpPr/>
            <p:nvPr/>
          </p:nvSpPr>
          <p:spPr>
            <a:xfrm>
              <a:off x="6117203" y="235726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39" name="Freeform: Shape 538">
              <a:extLst>
                <a:ext uri="{FF2B5EF4-FFF2-40B4-BE49-F238E27FC236}">
                  <a16:creationId xmlns:a16="http://schemas.microsoft.com/office/drawing/2014/main" id="{6CFCB3CB-8196-4B1E-A729-739027447423}"/>
                </a:ext>
              </a:extLst>
            </p:cNvPr>
            <p:cNvSpPr/>
            <p:nvPr/>
          </p:nvSpPr>
          <p:spPr>
            <a:xfrm>
              <a:off x="6106791" y="2359046"/>
              <a:ext cx="10468" cy="625319"/>
            </a:xfrm>
            <a:custGeom>
              <a:avLst/>
              <a:gdLst>
                <a:gd name="connsiteX0" fmla="*/ 9015 w 10468"/>
                <a:gd name="connsiteY0" fmla="*/ 3682 h 625319"/>
                <a:gd name="connsiteX1" fmla="*/ 0 w 10468"/>
                <a:gd name="connsiteY1" fmla="*/ 11046 h 625319"/>
                <a:gd name="connsiteX2" fmla="*/ 0 w 10468"/>
                <a:gd name="connsiteY2" fmla="*/ 620488 h 625319"/>
                <a:gd name="connsiteX3" fmla="*/ 5460 w 10468"/>
                <a:gd name="connsiteY3" fmla="*/ 625313 h 625319"/>
                <a:gd name="connsiteX4" fmla="*/ 9142 w 10468"/>
                <a:gd name="connsiteY4" fmla="*/ 624043 h 625319"/>
                <a:gd name="connsiteX5" fmla="*/ 9776 w 10468"/>
                <a:gd name="connsiteY5" fmla="*/ 623154 h 625319"/>
                <a:gd name="connsiteX6" fmla="*/ 10411 w 10468"/>
                <a:gd name="connsiteY6" fmla="*/ 622393 h 625319"/>
                <a:gd name="connsiteX7" fmla="*/ 10411 w 10468"/>
                <a:gd name="connsiteY7" fmla="*/ 621631 h 625319"/>
                <a:gd name="connsiteX8" fmla="*/ 10411 w 10468"/>
                <a:gd name="connsiteY8" fmla="*/ 620615 h 625319"/>
                <a:gd name="connsiteX9" fmla="*/ 10411 w 10468"/>
                <a:gd name="connsiteY9" fmla="*/ 620615 h 625319"/>
                <a:gd name="connsiteX10" fmla="*/ 10411 w 10468"/>
                <a:gd name="connsiteY10" fmla="*/ 0 h 625319"/>
                <a:gd name="connsiteX11" fmla="*/ 10411 w 10468"/>
                <a:gd name="connsiteY11" fmla="*/ 0 h 625319"/>
                <a:gd name="connsiteX12" fmla="*/ 10411 w 10468"/>
                <a:gd name="connsiteY12" fmla="*/ 0 h 625319"/>
                <a:gd name="connsiteX13" fmla="*/ 9015 w 10468"/>
                <a:gd name="connsiteY13" fmla="*/ 3682 h 62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68" h="625319">
                  <a:moveTo>
                    <a:pt x="9015" y="3682"/>
                  </a:moveTo>
                  <a:lnTo>
                    <a:pt x="0" y="11046"/>
                  </a:lnTo>
                  <a:lnTo>
                    <a:pt x="0" y="620488"/>
                  </a:lnTo>
                  <a:cubicBezTo>
                    <a:pt x="203" y="623319"/>
                    <a:pt x="2628" y="625452"/>
                    <a:pt x="5460" y="625313"/>
                  </a:cubicBezTo>
                  <a:cubicBezTo>
                    <a:pt x="6793" y="625300"/>
                    <a:pt x="8088" y="624856"/>
                    <a:pt x="9142" y="624043"/>
                  </a:cubicBezTo>
                  <a:lnTo>
                    <a:pt x="9776" y="623154"/>
                  </a:lnTo>
                  <a:lnTo>
                    <a:pt x="10411" y="622393"/>
                  </a:lnTo>
                  <a:cubicBezTo>
                    <a:pt x="10411" y="622393"/>
                    <a:pt x="10411" y="622393"/>
                    <a:pt x="10411" y="621631"/>
                  </a:cubicBezTo>
                  <a:cubicBezTo>
                    <a:pt x="10487" y="621300"/>
                    <a:pt x="10487" y="620945"/>
                    <a:pt x="10411" y="620615"/>
                  </a:cubicBezTo>
                  <a:lnTo>
                    <a:pt x="10411" y="620615"/>
                  </a:lnTo>
                  <a:lnTo>
                    <a:pt x="10411" y="0"/>
                  </a:lnTo>
                  <a:lnTo>
                    <a:pt x="10411" y="0"/>
                  </a:lnTo>
                  <a:cubicBezTo>
                    <a:pt x="10411" y="0"/>
                    <a:pt x="10411" y="0"/>
                    <a:pt x="10411" y="0"/>
                  </a:cubicBezTo>
                  <a:cubicBezTo>
                    <a:pt x="10526" y="1371"/>
                    <a:pt x="10018" y="2730"/>
                    <a:pt x="9015" y="3682"/>
                  </a:cubicBezTo>
                  <a:close/>
                </a:path>
              </a:pathLst>
            </a:custGeom>
            <a:solidFill>
              <a:srgbClr val="000000"/>
            </a:solidFill>
            <a:ln w="12690" cap="flat">
              <a:noFill/>
              <a:prstDash val="solid"/>
              <a:miter/>
            </a:ln>
          </p:spPr>
          <p:txBody>
            <a:bodyPr rtlCol="0" anchor="ctr"/>
            <a:lstStyle/>
            <a:p>
              <a:endParaRPr lang="en-US"/>
            </a:p>
          </p:txBody>
        </p:sp>
        <p:sp>
          <p:nvSpPr>
            <p:cNvPr id="540" name="Freeform: Shape 539">
              <a:extLst>
                <a:ext uri="{FF2B5EF4-FFF2-40B4-BE49-F238E27FC236}">
                  <a16:creationId xmlns:a16="http://schemas.microsoft.com/office/drawing/2014/main" id="{B4AED7C0-0D1B-4A17-A324-38B5FDFBC3BD}"/>
                </a:ext>
              </a:extLst>
            </p:cNvPr>
            <p:cNvSpPr/>
            <p:nvPr/>
          </p:nvSpPr>
          <p:spPr>
            <a:xfrm>
              <a:off x="5855618" y="2355999"/>
              <a:ext cx="261899" cy="214829"/>
            </a:xfrm>
            <a:custGeom>
              <a:avLst/>
              <a:gdLst>
                <a:gd name="connsiteX0" fmla="*/ 260188 w 261899"/>
                <a:gd name="connsiteY0" fmla="*/ 6729 h 214829"/>
                <a:gd name="connsiteX1" fmla="*/ 261839 w 261899"/>
                <a:gd name="connsiteY1" fmla="*/ 2412 h 214829"/>
                <a:gd name="connsiteX2" fmla="*/ 261839 w 261899"/>
                <a:gd name="connsiteY2" fmla="*/ 2412 h 214829"/>
                <a:gd name="connsiteX3" fmla="*/ 261839 w 261899"/>
                <a:gd name="connsiteY3" fmla="*/ 1651 h 214829"/>
                <a:gd name="connsiteX4" fmla="*/ 261839 w 261899"/>
                <a:gd name="connsiteY4" fmla="*/ 762 h 214829"/>
                <a:gd name="connsiteX5" fmla="*/ 261839 w 261899"/>
                <a:gd name="connsiteY5" fmla="*/ 762 h 214829"/>
                <a:gd name="connsiteX6" fmla="*/ 261839 w 261899"/>
                <a:gd name="connsiteY6" fmla="*/ 762 h 214829"/>
                <a:gd name="connsiteX7" fmla="*/ 261839 w 261899"/>
                <a:gd name="connsiteY7" fmla="*/ 762 h 214829"/>
                <a:gd name="connsiteX8" fmla="*/ 260823 w 261899"/>
                <a:gd name="connsiteY8" fmla="*/ 0 h 214829"/>
                <a:gd name="connsiteX9" fmla="*/ 260823 w 261899"/>
                <a:gd name="connsiteY9" fmla="*/ 0 h 214829"/>
                <a:gd name="connsiteX10" fmla="*/ 260823 w 261899"/>
                <a:gd name="connsiteY10" fmla="*/ 0 h 214829"/>
                <a:gd name="connsiteX11" fmla="*/ 260823 w 261899"/>
                <a:gd name="connsiteY11" fmla="*/ 0 h 214829"/>
                <a:gd name="connsiteX12" fmla="*/ 259934 w 261899"/>
                <a:gd name="connsiteY12" fmla="*/ 0 h 214829"/>
                <a:gd name="connsiteX13" fmla="*/ 257903 w 261899"/>
                <a:gd name="connsiteY13" fmla="*/ 0 h 214829"/>
                <a:gd name="connsiteX14" fmla="*/ 256760 w 261899"/>
                <a:gd name="connsiteY14" fmla="*/ 0 h 214829"/>
                <a:gd name="connsiteX15" fmla="*/ 255744 w 261899"/>
                <a:gd name="connsiteY15" fmla="*/ 0 h 214829"/>
                <a:gd name="connsiteX16" fmla="*/ 254982 w 261899"/>
                <a:gd name="connsiteY16" fmla="*/ 0 h 214829"/>
                <a:gd name="connsiteX17" fmla="*/ 248126 w 261899"/>
                <a:gd name="connsiteY17" fmla="*/ 5713 h 214829"/>
                <a:gd name="connsiteX18" fmla="*/ 3966 w 261899"/>
                <a:gd name="connsiteY18" fmla="*/ 204417 h 214829"/>
                <a:gd name="connsiteX19" fmla="*/ 1554 w 261899"/>
                <a:gd name="connsiteY19" fmla="*/ 206321 h 214829"/>
                <a:gd name="connsiteX20" fmla="*/ 1211 w 261899"/>
                <a:gd name="connsiteY20" fmla="*/ 212962 h 214829"/>
                <a:gd name="connsiteX21" fmla="*/ 1554 w 261899"/>
                <a:gd name="connsiteY21" fmla="*/ 213305 h 214829"/>
                <a:gd name="connsiteX22" fmla="*/ 5617 w 261899"/>
                <a:gd name="connsiteY22" fmla="*/ 214828 h 214829"/>
                <a:gd name="connsiteX23" fmla="*/ 8918 w 261899"/>
                <a:gd name="connsiteY23" fmla="*/ 213686 h 214829"/>
                <a:gd name="connsiteX24" fmla="*/ 8918 w 261899"/>
                <a:gd name="connsiteY24" fmla="*/ 213686 h 214829"/>
                <a:gd name="connsiteX25" fmla="*/ 10695 w 261899"/>
                <a:gd name="connsiteY25" fmla="*/ 212289 h 214829"/>
                <a:gd name="connsiteX26" fmla="*/ 251554 w 261899"/>
                <a:gd name="connsiteY26" fmla="*/ 14093 h 21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1899" h="214829">
                  <a:moveTo>
                    <a:pt x="260188" y="6729"/>
                  </a:moveTo>
                  <a:cubicBezTo>
                    <a:pt x="261483" y="5701"/>
                    <a:pt x="262105" y="4050"/>
                    <a:pt x="261839" y="2412"/>
                  </a:cubicBezTo>
                  <a:lnTo>
                    <a:pt x="261839" y="2412"/>
                  </a:lnTo>
                  <a:lnTo>
                    <a:pt x="261839" y="1651"/>
                  </a:lnTo>
                  <a:lnTo>
                    <a:pt x="261839" y="762"/>
                  </a:lnTo>
                  <a:lnTo>
                    <a:pt x="261839" y="762"/>
                  </a:lnTo>
                  <a:cubicBezTo>
                    <a:pt x="261839" y="762"/>
                    <a:pt x="261839" y="762"/>
                    <a:pt x="261839" y="762"/>
                  </a:cubicBezTo>
                  <a:lnTo>
                    <a:pt x="261839" y="762"/>
                  </a:lnTo>
                  <a:lnTo>
                    <a:pt x="260823" y="0"/>
                  </a:lnTo>
                  <a:lnTo>
                    <a:pt x="260823" y="0"/>
                  </a:lnTo>
                  <a:lnTo>
                    <a:pt x="260823" y="0"/>
                  </a:lnTo>
                  <a:lnTo>
                    <a:pt x="260823" y="0"/>
                  </a:lnTo>
                  <a:lnTo>
                    <a:pt x="259934" y="0"/>
                  </a:lnTo>
                  <a:lnTo>
                    <a:pt x="257903" y="0"/>
                  </a:lnTo>
                  <a:lnTo>
                    <a:pt x="256760" y="0"/>
                  </a:lnTo>
                  <a:lnTo>
                    <a:pt x="255744" y="0"/>
                  </a:lnTo>
                  <a:lnTo>
                    <a:pt x="254982" y="0"/>
                  </a:lnTo>
                  <a:lnTo>
                    <a:pt x="248126" y="5713"/>
                  </a:lnTo>
                  <a:lnTo>
                    <a:pt x="3966" y="204417"/>
                  </a:lnTo>
                  <a:lnTo>
                    <a:pt x="1554" y="206321"/>
                  </a:lnTo>
                  <a:cubicBezTo>
                    <a:pt x="-376" y="208061"/>
                    <a:pt x="-529" y="211032"/>
                    <a:pt x="1211" y="212962"/>
                  </a:cubicBezTo>
                  <a:cubicBezTo>
                    <a:pt x="1312" y="213076"/>
                    <a:pt x="1427" y="213190"/>
                    <a:pt x="1554" y="213305"/>
                  </a:cubicBezTo>
                  <a:cubicBezTo>
                    <a:pt x="2671" y="214308"/>
                    <a:pt x="4118" y="214854"/>
                    <a:pt x="5617" y="214828"/>
                  </a:cubicBezTo>
                  <a:cubicBezTo>
                    <a:pt x="6810" y="214816"/>
                    <a:pt x="7978" y="214422"/>
                    <a:pt x="8918" y="213686"/>
                  </a:cubicBezTo>
                  <a:lnTo>
                    <a:pt x="8918" y="213686"/>
                  </a:lnTo>
                  <a:lnTo>
                    <a:pt x="10695" y="212289"/>
                  </a:lnTo>
                  <a:lnTo>
                    <a:pt x="251554" y="14093"/>
                  </a:lnTo>
                  <a:close/>
                </a:path>
              </a:pathLst>
            </a:custGeom>
            <a:solidFill>
              <a:srgbClr val="000000"/>
            </a:solidFill>
            <a:ln w="12690" cap="flat">
              <a:noFill/>
              <a:prstDash val="solid"/>
              <a:miter/>
            </a:ln>
          </p:spPr>
          <p:txBody>
            <a:bodyPr rtlCol="0" anchor="ctr"/>
            <a:lstStyle/>
            <a:p>
              <a:endParaRPr lang="en-US"/>
            </a:p>
          </p:txBody>
        </p:sp>
        <p:sp>
          <p:nvSpPr>
            <p:cNvPr id="541" name="Freeform: Shape 540">
              <a:extLst>
                <a:ext uri="{FF2B5EF4-FFF2-40B4-BE49-F238E27FC236}">
                  <a16:creationId xmlns:a16="http://schemas.microsoft.com/office/drawing/2014/main" id="{F23CEAAA-7FBB-48C5-8E19-A5BA0A01E37F}"/>
                </a:ext>
              </a:extLst>
            </p:cNvPr>
            <p:cNvSpPr/>
            <p:nvPr/>
          </p:nvSpPr>
          <p:spPr>
            <a:xfrm>
              <a:off x="3877483" y="2399676"/>
              <a:ext cx="253936" cy="212162"/>
            </a:xfrm>
            <a:custGeom>
              <a:avLst/>
              <a:gdLst>
                <a:gd name="connsiteX0" fmla="*/ 244160 w 253936"/>
                <a:gd name="connsiteY0" fmla="*/ 2158 h 212162"/>
                <a:gd name="connsiteX1" fmla="*/ 244160 w 253936"/>
                <a:gd name="connsiteY1" fmla="*/ 0 h 212162"/>
                <a:gd name="connsiteX2" fmla="*/ 1524 w 253936"/>
                <a:gd name="connsiteY2" fmla="*/ 197561 h 212162"/>
                <a:gd name="connsiteX3" fmla="*/ 1524 w 253936"/>
                <a:gd name="connsiteY3" fmla="*/ 208480 h 212162"/>
                <a:gd name="connsiteX4" fmla="*/ 1524 w 253936"/>
                <a:gd name="connsiteY4" fmla="*/ 209242 h 212162"/>
                <a:gd name="connsiteX5" fmla="*/ 1524 w 253936"/>
                <a:gd name="connsiteY5" fmla="*/ 210003 h 212162"/>
                <a:gd name="connsiteX6" fmla="*/ 1524 w 253936"/>
                <a:gd name="connsiteY6" fmla="*/ 210003 h 212162"/>
                <a:gd name="connsiteX7" fmla="*/ 0 w 253936"/>
                <a:gd name="connsiteY7" fmla="*/ 212162 h 212162"/>
                <a:gd name="connsiteX8" fmla="*/ 0 w 253936"/>
                <a:gd name="connsiteY8" fmla="*/ 212162 h 212162"/>
                <a:gd name="connsiteX9" fmla="*/ 253937 w 253936"/>
                <a:gd name="connsiteY9" fmla="*/ 5841 h 212162"/>
                <a:gd name="connsiteX10" fmla="*/ 253937 w 253936"/>
                <a:gd name="connsiteY10" fmla="*/ 5841 h 212162"/>
                <a:gd name="connsiteX11" fmla="*/ 250254 w 253936"/>
                <a:gd name="connsiteY11" fmla="*/ 7237 h 212162"/>
                <a:gd name="connsiteX12" fmla="*/ 244236 w 253936"/>
                <a:gd name="connsiteY12" fmla="*/ 2996 h 212162"/>
                <a:gd name="connsiteX13" fmla="*/ 244160 w 253936"/>
                <a:gd name="connsiteY13" fmla="*/ 2158 h 21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936" h="212162">
                  <a:moveTo>
                    <a:pt x="244160" y="2158"/>
                  </a:moveTo>
                  <a:lnTo>
                    <a:pt x="244160" y="0"/>
                  </a:lnTo>
                  <a:lnTo>
                    <a:pt x="1524" y="197561"/>
                  </a:lnTo>
                  <a:lnTo>
                    <a:pt x="1524" y="208480"/>
                  </a:lnTo>
                  <a:cubicBezTo>
                    <a:pt x="1524" y="208480"/>
                    <a:pt x="1524" y="208480"/>
                    <a:pt x="1524" y="209242"/>
                  </a:cubicBezTo>
                  <a:cubicBezTo>
                    <a:pt x="1587" y="209496"/>
                    <a:pt x="1587" y="209750"/>
                    <a:pt x="1524" y="210003"/>
                  </a:cubicBezTo>
                  <a:lnTo>
                    <a:pt x="1524" y="210003"/>
                  </a:lnTo>
                  <a:cubicBezTo>
                    <a:pt x="1206" y="210842"/>
                    <a:pt x="685" y="211591"/>
                    <a:pt x="0" y="212162"/>
                  </a:cubicBezTo>
                  <a:lnTo>
                    <a:pt x="0" y="212162"/>
                  </a:lnTo>
                  <a:lnTo>
                    <a:pt x="253937" y="5841"/>
                  </a:lnTo>
                  <a:lnTo>
                    <a:pt x="253937" y="5841"/>
                  </a:lnTo>
                  <a:cubicBezTo>
                    <a:pt x="252921" y="6742"/>
                    <a:pt x="251613" y="7237"/>
                    <a:pt x="250254" y="7237"/>
                  </a:cubicBezTo>
                  <a:cubicBezTo>
                    <a:pt x="247423" y="7732"/>
                    <a:pt x="244731" y="5828"/>
                    <a:pt x="244236" y="2996"/>
                  </a:cubicBezTo>
                  <a:cubicBezTo>
                    <a:pt x="244185" y="2717"/>
                    <a:pt x="244160" y="2438"/>
                    <a:pt x="244160" y="2158"/>
                  </a:cubicBezTo>
                  <a:close/>
                </a:path>
              </a:pathLst>
            </a:custGeom>
            <a:solidFill>
              <a:srgbClr val="000000"/>
            </a:solidFill>
            <a:ln w="12690" cap="flat">
              <a:noFill/>
              <a:prstDash val="solid"/>
              <a:miter/>
            </a:ln>
          </p:spPr>
          <p:txBody>
            <a:bodyPr rtlCol="0" anchor="ctr"/>
            <a:lstStyle/>
            <a:p>
              <a:endParaRPr lang="en-US"/>
            </a:p>
          </p:txBody>
        </p:sp>
        <p:sp>
          <p:nvSpPr>
            <p:cNvPr id="542" name="Freeform: Shape 541">
              <a:extLst>
                <a:ext uri="{FF2B5EF4-FFF2-40B4-BE49-F238E27FC236}">
                  <a16:creationId xmlns:a16="http://schemas.microsoft.com/office/drawing/2014/main" id="{04B7A516-29C3-4C37-AFF2-C297459F8832}"/>
                </a:ext>
              </a:extLst>
            </p:cNvPr>
            <p:cNvSpPr/>
            <p:nvPr/>
          </p:nvSpPr>
          <p:spPr>
            <a:xfrm>
              <a:off x="3878752" y="2608917"/>
              <a:ext cx="57" cy="888"/>
            </a:xfrm>
            <a:custGeom>
              <a:avLst/>
              <a:gdLst>
                <a:gd name="connsiteX0" fmla="*/ 0 w 57"/>
                <a:gd name="connsiteY0" fmla="*/ 762 h 888"/>
                <a:gd name="connsiteX1" fmla="*/ 0 w 57"/>
                <a:gd name="connsiteY1" fmla="*/ 0 h 888"/>
                <a:gd name="connsiteX2" fmla="*/ 0 w 57"/>
                <a:gd name="connsiteY2" fmla="*/ 889 h 888"/>
              </a:gdLst>
              <a:ahLst/>
              <a:cxnLst>
                <a:cxn ang="0">
                  <a:pos x="connsiteX0" y="connsiteY0"/>
                </a:cxn>
                <a:cxn ang="0">
                  <a:pos x="connsiteX1" y="connsiteY1"/>
                </a:cxn>
                <a:cxn ang="0">
                  <a:pos x="connsiteX2" y="connsiteY2"/>
                </a:cxn>
              </a:cxnLst>
              <a:rect l="l" t="t" r="r" b="b"/>
              <a:pathLst>
                <a:path w="57" h="888">
                  <a:moveTo>
                    <a:pt x="0" y="762"/>
                  </a:moveTo>
                  <a:cubicBezTo>
                    <a:pt x="64" y="508"/>
                    <a:pt x="64" y="254"/>
                    <a:pt x="0" y="0"/>
                  </a:cubicBezTo>
                  <a:cubicBezTo>
                    <a:pt x="76" y="292"/>
                    <a:pt x="76" y="597"/>
                    <a:pt x="0" y="889"/>
                  </a:cubicBezTo>
                  <a:close/>
                </a:path>
              </a:pathLst>
            </a:custGeom>
            <a:solidFill>
              <a:srgbClr val="000000"/>
            </a:solidFill>
            <a:ln w="12690" cap="flat">
              <a:noFill/>
              <a:prstDash val="solid"/>
              <a:miter/>
            </a:ln>
          </p:spPr>
          <p:txBody>
            <a:bodyPr rtlCol="0" anchor="ctr"/>
            <a:lstStyle/>
            <a:p>
              <a:endParaRPr lang="en-US"/>
            </a:p>
          </p:txBody>
        </p:sp>
        <p:sp>
          <p:nvSpPr>
            <p:cNvPr id="543" name="Freeform: Shape 542">
              <a:extLst>
                <a:ext uri="{FF2B5EF4-FFF2-40B4-BE49-F238E27FC236}">
                  <a16:creationId xmlns:a16="http://schemas.microsoft.com/office/drawing/2014/main" id="{68CD83F1-4616-4221-A8D9-32DCC4568D8A}"/>
                </a:ext>
              </a:extLst>
            </p:cNvPr>
            <p:cNvSpPr/>
            <p:nvPr/>
          </p:nvSpPr>
          <p:spPr>
            <a:xfrm>
              <a:off x="610590" y="1618447"/>
              <a:ext cx="3263719" cy="994484"/>
            </a:xfrm>
            <a:custGeom>
              <a:avLst/>
              <a:gdLst>
                <a:gd name="connsiteX0" fmla="*/ 3257625 w 3263719"/>
                <a:gd name="connsiteY0" fmla="*/ 989708 h 994484"/>
                <a:gd name="connsiteX1" fmla="*/ 3257625 w 3263719"/>
                <a:gd name="connsiteY1" fmla="*/ 982979 h 994484"/>
                <a:gd name="connsiteX2" fmla="*/ 7237 w 3263719"/>
                <a:gd name="connsiteY2" fmla="*/ 0 h 994484"/>
                <a:gd name="connsiteX3" fmla="*/ 7237 w 3263719"/>
                <a:gd name="connsiteY3" fmla="*/ 3555 h 994484"/>
                <a:gd name="connsiteX4" fmla="*/ 1905 w 3263719"/>
                <a:gd name="connsiteY4" fmla="*/ 8507 h 994484"/>
                <a:gd name="connsiteX5" fmla="*/ 0 w 3263719"/>
                <a:gd name="connsiteY5" fmla="*/ 8507 h 994484"/>
                <a:gd name="connsiteX6" fmla="*/ 0 w 3263719"/>
                <a:gd name="connsiteY6" fmla="*/ 8507 h 994484"/>
                <a:gd name="connsiteX7" fmla="*/ 3261941 w 3263719"/>
                <a:gd name="connsiteY7" fmla="*/ 994406 h 994484"/>
                <a:gd name="connsiteX8" fmla="*/ 3263719 w 3263719"/>
                <a:gd name="connsiteY8" fmla="*/ 994406 h 994484"/>
                <a:gd name="connsiteX9" fmla="*/ 3257688 w 3263719"/>
                <a:gd name="connsiteY9" fmla="*/ 990191 h 994484"/>
                <a:gd name="connsiteX10" fmla="*/ 3257625 w 3263719"/>
                <a:gd name="connsiteY10" fmla="*/ 989708 h 99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3719" h="994484">
                  <a:moveTo>
                    <a:pt x="3257625" y="989708"/>
                  </a:moveTo>
                  <a:lnTo>
                    <a:pt x="3257625" y="982979"/>
                  </a:lnTo>
                  <a:lnTo>
                    <a:pt x="7237" y="0"/>
                  </a:lnTo>
                  <a:lnTo>
                    <a:pt x="7237" y="3555"/>
                  </a:lnTo>
                  <a:cubicBezTo>
                    <a:pt x="7100" y="6386"/>
                    <a:pt x="4732" y="8583"/>
                    <a:pt x="1905" y="8507"/>
                  </a:cubicBezTo>
                  <a:cubicBezTo>
                    <a:pt x="1279" y="8659"/>
                    <a:pt x="626" y="8659"/>
                    <a:pt x="0" y="8507"/>
                  </a:cubicBezTo>
                  <a:lnTo>
                    <a:pt x="0" y="8507"/>
                  </a:lnTo>
                  <a:lnTo>
                    <a:pt x="3261941" y="994406"/>
                  </a:lnTo>
                  <a:lnTo>
                    <a:pt x="3263719" y="994406"/>
                  </a:lnTo>
                  <a:cubicBezTo>
                    <a:pt x="3260887" y="994901"/>
                    <a:pt x="3258183" y="993022"/>
                    <a:pt x="3257688" y="990191"/>
                  </a:cubicBezTo>
                  <a:cubicBezTo>
                    <a:pt x="3257663" y="990026"/>
                    <a:pt x="3257637" y="989873"/>
                    <a:pt x="3257625" y="989708"/>
                  </a:cubicBezTo>
                  <a:close/>
                </a:path>
              </a:pathLst>
            </a:custGeom>
            <a:solidFill>
              <a:srgbClr val="000000"/>
            </a:solidFill>
            <a:ln w="12690" cap="flat">
              <a:noFill/>
              <a:prstDash val="solid"/>
              <a:miter/>
            </a:ln>
          </p:spPr>
          <p:txBody>
            <a:bodyPr rtlCol="0" anchor="ctr"/>
            <a:lstStyle/>
            <a:p>
              <a:endParaRPr lang="en-US"/>
            </a:p>
          </p:txBody>
        </p:sp>
        <p:sp>
          <p:nvSpPr>
            <p:cNvPr id="544" name="Freeform: Shape 543">
              <a:extLst>
                <a:ext uri="{FF2B5EF4-FFF2-40B4-BE49-F238E27FC236}">
                  <a16:creationId xmlns:a16="http://schemas.microsoft.com/office/drawing/2014/main" id="{45F2294F-B3DC-4EEC-B3D5-7C0746DD8107}"/>
                </a:ext>
              </a:extLst>
            </p:cNvPr>
            <p:cNvSpPr/>
            <p:nvPr/>
          </p:nvSpPr>
          <p:spPr>
            <a:xfrm>
              <a:off x="606908" y="99910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45" name="Freeform: Shape 544">
              <a:extLst>
                <a:ext uri="{FF2B5EF4-FFF2-40B4-BE49-F238E27FC236}">
                  <a16:creationId xmlns:a16="http://schemas.microsoft.com/office/drawing/2014/main" id="{AFD01514-D07B-4B94-9C2B-BD1532A15D68}"/>
                </a:ext>
              </a:extLst>
            </p:cNvPr>
            <p:cNvSpPr/>
            <p:nvPr/>
          </p:nvSpPr>
          <p:spPr>
            <a:xfrm>
              <a:off x="608050" y="9974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46" name="Freeform: Shape 545">
              <a:extLst>
                <a:ext uri="{FF2B5EF4-FFF2-40B4-BE49-F238E27FC236}">
                  <a16:creationId xmlns:a16="http://schemas.microsoft.com/office/drawing/2014/main" id="{2B26793C-C015-4DE2-B950-97E5C482E700}"/>
                </a:ext>
              </a:extLst>
            </p:cNvPr>
            <p:cNvSpPr/>
            <p:nvPr/>
          </p:nvSpPr>
          <p:spPr>
            <a:xfrm>
              <a:off x="608255" y="1002276"/>
              <a:ext cx="8937" cy="624030"/>
            </a:xfrm>
            <a:custGeom>
              <a:avLst/>
              <a:gdLst>
                <a:gd name="connsiteX0" fmla="*/ 8937 w 8937"/>
                <a:gd name="connsiteY0" fmla="*/ 619726 h 624030"/>
                <a:gd name="connsiteX1" fmla="*/ 8937 w 8937"/>
                <a:gd name="connsiteY1" fmla="*/ 5586 h 624030"/>
                <a:gd name="connsiteX2" fmla="*/ 1827 w 8937"/>
                <a:gd name="connsiteY2" fmla="*/ 3428 h 624030"/>
                <a:gd name="connsiteX3" fmla="*/ 1827 w 8937"/>
                <a:gd name="connsiteY3" fmla="*/ 3428 h 624030"/>
                <a:gd name="connsiteX4" fmla="*/ 1065 w 8937"/>
                <a:gd name="connsiteY4" fmla="*/ 3428 h 624030"/>
                <a:gd name="connsiteX5" fmla="*/ 50 w 8937"/>
                <a:gd name="connsiteY5" fmla="*/ 2666 h 624030"/>
                <a:gd name="connsiteX6" fmla="*/ 50 w 8937"/>
                <a:gd name="connsiteY6" fmla="*/ 2666 h 624030"/>
                <a:gd name="connsiteX7" fmla="*/ 50 w 8937"/>
                <a:gd name="connsiteY7" fmla="*/ 2666 h 624030"/>
                <a:gd name="connsiteX8" fmla="*/ 50 w 8937"/>
                <a:gd name="connsiteY8" fmla="*/ 1778 h 624030"/>
                <a:gd name="connsiteX9" fmla="*/ 50 w 8937"/>
                <a:gd name="connsiteY9" fmla="*/ 889 h 624030"/>
                <a:gd name="connsiteX10" fmla="*/ 50 w 8937"/>
                <a:gd name="connsiteY10" fmla="*/ 0 h 624030"/>
                <a:gd name="connsiteX11" fmla="*/ 50 w 8937"/>
                <a:gd name="connsiteY11" fmla="*/ 0 h 624030"/>
                <a:gd name="connsiteX12" fmla="*/ 50 w 8937"/>
                <a:gd name="connsiteY12" fmla="*/ 0 h 624030"/>
                <a:gd name="connsiteX13" fmla="*/ 50 w 8937"/>
                <a:gd name="connsiteY13" fmla="*/ 621250 h 624030"/>
                <a:gd name="connsiteX14" fmla="*/ 50 w 8937"/>
                <a:gd name="connsiteY14" fmla="*/ 622265 h 624030"/>
                <a:gd name="connsiteX15" fmla="*/ 50 w 8937"/>
                <a:gd name="connsiteY15" fmla="*/ 623027 h 624030"/>
                <a:gd name="connsiteX16" fmla="*/ 684 w 8937"/>
                <a:gd name="connsiteY16" fmla="*/ 623916 h 624030"/>
                <a:gd name="connsiteX17" fmla="*/ 684 w 8937"/>
                <a:gd name="connsiteY17" fmla="*/ 623916 h 624030"/>
                <a:gd name="connsiteX18" fmla="*/ 1573 w 8937"/>
                <a:gd name="connsiteY18" fmla="*/ 623916 h 624030"/>
                <a:gd name="connsiteX19" fmla="*/ 2589 w 8937"/>
                <a:gd name="connsiteY19" fmla="*/ 623916 h 624030"/>
                <a:gd name="connsiteX20" fmla="*/ 4493 w 8937"/>
                <a:gd name="connsiteY20" fmla="*/ 623916 h 624030"/>
                <a:gd name="connsiteX21" fmla="*/ 8937 w 8937"/>
                <a:gd name="connsiteY21" fmla="*/ 619726 h 6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937" h="624030">
                  <a:moveTo>
                    <a:pt x="8937" y="619726"/>
                  </a:moveTo>
                  <a:lnTo>
                    <a:pt x="8937" y="5586"/>
                  </a:lnTo>
                  <a:lnTo>
                    <a:pt x="1827" y="3428"/>
                  </a:lnTo>
                  <a:lnTo>
                    <a:pt x="1827" y="3428"/>
                  </a:lnTo>
                  <a:lnTo>
                    <a:pt x="1065" y="3428"/>
                  </a:lnTo>
                  <a:cubicBezTo>
                    <a:pt x="677" y="3248"/>
                    <a:pt x="331" y="2989"/>
                    <a:pt x="50" y="2666"/>
                  </a:cubicBezTo>
                  <a:cubicBezTo>
                    <a:pt x="50" y="2666"/>
                    <a:pt x="50" y="2666"/>
                    <a:pt x="50" y="2666"/>
                  </a:cubicBezTo>
                  <a:lnTo>
                    <a:pt x="50" y="2666"/>
                  </a:lnTo>
                  <a:cubicBezTo>
                    <a:pt x="-17" y="2374"/>
                    <a:pt x="-17" y="2071"/>
                    <a:pt x="50" y="1778"/>
                  </a:cubicBezTo>
                  <a:lnTo>
                    <a:pt x="50" y="889"/>
                  </a:lnTo>
                  <a:cubicBezTo>
                    <a:pt x="50" y="889"/>
                    <a:pt x="50" y="889"/>
                    <a:pt x="50" y="0"/>
                  </a:cubicBezTo>
                  <a:lnTo>
                    <a:pt x="50" y="0"/>
                  </a:lnTo>
                  <a:lnTo>
                    <a:pt x="50" y="0"/>
                  </a:lnTo>
                  <a:lnTo>
                    <a:pt x="50" y="621250"/>
                  </a:lnTo>
                  <a:cubicBezTo>
                    <a:pt x="-8" y="621580"/>
                    <a:pt x="-8" y="621935"/>
                    <a:pt x="50" y="622265"/>
                  </a:cubicBezTo>
                  <a:cubicBezTo>
                    <a:pt x="50" y="622265"/>
                    <a:pt x="50" y="622265"/>
                    <a:pt x="50" y="623027"/>
                  </a:cubicBezTo>
                  <a:cubicBezTo>
                    <a:pt x="187" y="623370"/>
                    <a:pt x="404" y="623675"/>
                    <a:pt x="684" y="623916"/>
                  </a:cubicBezTo>
                  <a:lnTo>
                    <a:pt x="684" y="623916"/>
                  </a:lnTo>
                  <a:lnTo>
                    <a:pt x="1573" y="623916"/>
                  </a:lnTo>
                  <a:lnTo>
                    <a:pt x="2589" y="623916"/>
                  </a:lnTo>
                  <a:cubicBezTo>
                    <a:pt x="3215" y="624068"/>
                    <a:pt x="3867" y="624068"/>
                    <a:pt x="4493" y="623916"/>
                  </a:cubicBezTo>
                  <a:cubicBezTo>
                    <a:pt x="6724" y="623624"/>
                    <a:pt x="8517" y="621935"/>
                    <a:pt x="8937" y="619726"/>
                  </a:cubicBezTo>
                  <a:close/>
                </a:path>
              </a:pathLst>
            </a:custGeom>
            <a:solidFill>
              <a:srgbClr val="000000"/>
            </a:solidFill>
            <a:ln w="12690" cap="flat">
              <a:noFill/>
              <a:prstDash val="solid"/>
              <a:miter/>
            </a:ln>
          </p:spPr>
          <p:txBody>
            <a:bodyPr rtlCol="0" anchor="ctr"/>
            <a:lstStyle/>
            <a:p>
              <a:endParaRPr lang="en-US"/>
            </a:p>
          </p:txBody>
        </p:sp>
        <p:sp>
          <p:nvSpPr>
            <p:cNvPr id="547" name="Freeform: Shape 546">
              <a:extLst>
                <a:ext uri="{FF2B5EF4-FFF2-40B4-BE49-F238E27FC236}">
                  <a16:creationId xmlns:a16="http://schemas.microsoft.com/office/drawing/2014/main" id="{3F0058AC-7E67-47B2-AC06-72FE0C63CAB3}"/>
                </a:ext>
              </a:extLst>
            </p:cNvPr>
            <p:cNvSpPr/>
            <p:nvPr/>
          </p:nvSpPr>
          <p:spPr>
            <a:xfrm>
              <a:off x="3868341" y="1988937"/>
              <a:ext cx="10538" cy="624303"/>
            </a:xfrm>
            <a:custGeom>
              <a:avLst/>
              <a:gdLst>
                <a:gd name="connsiteX0" fmla="*/ 10538 w 10538"/>
                <a:gd name="connsiteY0" fmla="*/ 619980 h 624303"/>
                <a:gd name="connsiteX1" fmla="*/ 10538 w 10538"/>
                <a:gd name="connsiteY1" fmla="*/ 619218 h 624303"/>
                <a:gd name="connsiteX2" fmla="*/ 10538 w 10538"/>
                <a:gd name="connsiteY2" fmla="*/ 0 h 624303"/>
                <a:gd name="connsiteX3" fmla="*/ 8760 w 10538"/>
                <a:gd name="connsiteY3" fmla="*/ 1524 h 624303"/>
                <a:gd name="connsiteX4" fmla="*/ 8760 w 10538"/>
                <a:gd name="connsiteY4" fmla="*/ 1524 h 624303"/>
                <a:gd name="connsiteX5" fmla="*/ 5460 w 10538"/>
                <a:gd name="connsiteY5" fmla="*/ 2666 h 624303"/>
                <a:gd name="connsiteX6" fmla="*/ 3682 w 10538"/>
                <a:gd name="connsiteY6" fmla="*/ 2666 h 624303"/>
                <a:gd name="connsiteX7" fmla="*/ 0 w 10538"/>
                <a:gd name="connsiteY7" fmla="*/ 1524 h 624303"/>
                <a:gd name="connsiteX8" fmla="*/ 0 w 10538"/>
                <a:gd name="connsiteY8" fmla="*/ 619345 h 624303"/>
                <a:gd name="connsiteX9" fmla="*/ 5447 w 10538"/>
                <a:gd name="connsiteY9" fmla="*/ 624297 h 624303"/>
                <a:gd name="connsiteX10" fmla="*/ 5460 w 10538"/>
                <a:gd name="connsiteY10" fmla="*/ 624297 h 624303"/>
                <a:gd name="connsiteX11" fmla="*/ 8253 w 10538"/>
                <a:gd name="connsiteY11" fmla="*/ 623408 h 624303"/>
                <a:gd name="connsiteX12" fmla="*/ 8253 w 10538"/>
                <a:gd name="connsiteY12" fmla="*/ 623408 h 624303"/>
                <a:gd name="connsiteX13" fmla="*/ 8253 w 10538"/>
                <a:gd name="connsiteY13" fmla="*/ 623408 h 624303"/>
                <a:gd name="connsiteX14" fmla="*/ 9776 w 10538"/>
                <a:gd name="connsiteY14" fmla="*/ 621250 h 624303"/>
                <a:gd name="connsiteX15" fmla="*/ 10538 w 10538"/>
                <a:gd name="connsiteY15" fmla="*/ 619980 h 62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624303">
                  <a:moveTo>
                    <a:pt x="10538" y="619980"/>
                  </a:moveTo>
                  <a:cubicBezTo>
                    <a:pt x="10538" y="619980"/>
                    <a:pt x="10538" y="619980"/>
                    <a:pt x="10538" y="619218"/>
                  </a:cubicBezTo>
                  <a:lnTo>
                    <a:pt x="10538" y="0"/>
                  </a:lnTo>
                  <a:lnTo>
                    <a:pt x="8760" y="1524"/>
                  </a:lnTo>
                  <a:lnTo>
                    <a:pt x="8760" y="1524"/>
                  </a:lnTo>
                  <a:cubicBezTo>
                    <a:pt x="7808" y="2235"/>
                    <a:pt x="6653" y="2641"/>
                    <a:pt x="5460" y="2666"/>
                  </a:cubicBezTo>
                  <a:lnTo>
                    <a:pt x="3682" y="2666"/>
                  </a:lnTo>
                  <a:lnTo>
                    <a:pt x="0" y="1524"/>
                  </a:lnTo>
                  <a:lnTo>
                    <a:pt x="0" y="619345"/>
                  </a:lnTo>
                  <a:cubicBezTo>
                    <a:pt x="139" y="622215"/>
                    <a:pt x="2577" y="624437"/>
                    <a:pt x="5447" y="624297"/>
                  </a:cubicBezTo>
                  <a:cubicBezTo>
                    <a:pt x="5447" y="624297"/>
                    <a:pt x="5460" y="624297"/>
                    <a:pt x="5460" y="624297"/>
                  </a:cubicBezTo>
                  <a:cubicBezTo>
                    <a:pt x="6450" y="624259"/>
                    <a:pt x="7415" y="623942"/>
                    <a:pt x="8253" y="623408"/>
                  </a:cubicBezTo>
                  <a:lnTo>
                    <a:pt x="8253" y="623408"/>
                  </a:lnTo>
                  <a:lnTo>
                    <a:pt x="8253" y="623408"/>
                  </a:lnTo>
                  <a:cubicBezTo>
                    <a:pt x="8938" y="622837"/>
                    <a:pt x="9459" y="622088"/>
                    <a:pt x="9776" y="621250"/>
                  </a:cubicBezTo>
                  <a:cubicBezTo>
                    <a:pt x="10208" y="620958"/>
                    <a:pt x="10475" y="620488"/>
                    <a:pt x="10538" y="619980"/>
                  </a:cubicBezTo>
                  <a:close/>
                </a:path>
              </a:pathLst>
            </a:custGeom>
            <a:solidFill>
              <a:srgbClr val="000000"/>
            </a:solidFill>
            <a:ln w="12690" cap="flat">
              <a:noFill/>
              <a:prstDash val="solid"/>
              <a:miter/>
            </a:ln>
          </p:spPr>
          <p:txBody>
            <a:bodyPr rtlCol="0" anchor="ctr"/>
            <a:lstStyle/>
            <a:p>
              <a:endParaRPr lang="en-US"/>
            </a:p>
          </p:txBody>
        </p:sp>
        <p:sp>
          <p:nvSpPr>
            <p:cNvPr id="548" name="Freeform: Shape 547">
              <a:extLst>
                <a:ext uri="{FF2B5EF4-FFF2-40B4-BE49-F238E27FC236}">
                  <a16:creationId xmlns:a16="http://schemas.microsoft.com/office/drawing/2014/main" id="{6F8438A6-17C8-4A4B-B053-244F6CC99366}"/>
                </a:ext>
              </a:extLst>
            </p:cNvPr>
            <p:cNvSpPr/>
            <p:nvPr/>
          </p:nvSpPr>
          <p:spPr>
            <a:xfrm>
              <a:off x="607289" y="997579"/>
              <a:ext cx="761" cy="888"/>
            </a:xfrm>
            <a:custGeom>
              <a:avLst/>
              <a:gdLst>
                <a:gd name="connsiteX0" fmla="*/ 635 w 761"/>
                <a:gd name="connsiteY0" fmla="*/ 127 h 888"/>
                <a:gd name="connsiteX1" fmla="*/ 0 w 761"/>
                <a:gd name="connsiteY1" fmla="*/ 889 h 888"/>
                <a:gd name="connsiteX2" fmla="*/ 762 w 761"/>
                <a:gd name="connsiteY2" fmla="*/ 0 h 888"/>
              </a:gdLst>
              <a:ahLst/>
              <a:cxnLst>
                <a:cxn ang="0">
                  <a:pos x="connsiteX0" y="connsiteY0"/>
                </a:cxn>
                <a:cxn ang="0">
                  <a:pos x="connsiteX1" y="connsiteY1"/>
                </a:cxn>
                <a:cxn ang="0">
                  <a:pos x="connsiteX2" y="connsiteY2"/>
                </a:cxn>
              </a:cxnLst>
              <a:rect l="l" t="t" r="r" b="b"/>
              <a:pathLst>
                <a:path w="761" h="888">
                  <a:moveTo>
                    <a:pt x="635" y="127"/>
                  </a:moveTo>
                  <a:lnTo>
                    <a:pt x="0" y="889"/>
                  </a:lnTo>
                  <a:lnTo>
                    <a:pt x="762" y="0"/>
                  </a:lnTo>
                  <a:close/>
                </a:path>
              </a:pathLst>
            </a:custGeom>
            <a:solidFill>
              <a:srgbClr val="000000"/>
            </a:solidFill>
            <a:ln w="12690" cap="flat">
              <a:noFill/>
              <a:prstDash val="solid"/>
              <a:miter/>
            </a:ln>
          </p:spPr>
          <p:txBody>
            <a:bodyPr rtlCol="0" anchor="ctr"/>
            <a:lstStyle/>
            <a:p>
              <a:endParaRPr lang="en-US"/>
            </a:p>
          </p:txBody>
        </p:sp>
        <p:sp>
          <p:nvSpPr>
            <p:cNvPr id="549" name="Freeform: Shape 548">
              <a:extLst>
                <a:ext uri="{FF2B5EF4-FFF2-40B4-BE49-F238E27FC236}">
                  <a16:creationId xmlns:a16="http://schemas.microsoft.com/office/drawing/2014/main" id="{9DAF7FD5-5A56-41B7-958C-C727FBEE341B}"/>
                </a:ext>
              </a:extLst>
            </p:cNvPr>
            <p:cNvSpPr/>
            <p:nvPr/>
          </p:nvSpPr>
          <p:spPr>
            <a:xfrm>
              <a:off x="606781" y="998467"/>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endParaRPr lang="en-US"/>
            </a:p>
          </p:txBody>
        </p:sp>
        <p:sp>
          <p:nvSpPr>
            <p:cNvPr id="550" name="Freeform: Shape 549">
              <a:extLst>
                <a:ext uri="{FF2B5EF4-FFF2-40B4-BE49-F238E27FC236}">
                  <a16:creationId xmlns:a16="http://schemas.microsoft.com/office/drawing/2014/main" id="{195A0C3F-D67C-4386-99B4-3335B4EE2D2C}"/>
                </a:ext>
              </a:extLst>
            </p:cNvPr>
            <p:cNvSpPr/>
            <p:nvPr/>
          </p:nvSpPr>
          <p:spPr>
            <a:xfrm>
              <a:off x="3873674" y="1990588"/>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24" y="673"/>
                    <a:pt x="1181" y="1067"/>
                    <a:pt x="0" y="1143"/>
                  </a:cubicBezTo>
                  <a:cubicBezTo>
                    <a:pt x="1193" y="1117"/>
                    <a:pt x="2349" y="711"/>
                    <a:pt x="3301" y="0"/>
                  </a:cubicBezTo>
                  <a:close/>
                </a:path>
              </a:pathLst>
            </a:custGeom>
            <a:solidFill>
              <a:srgbClr val="000000"/>
            </a:solidFill>
            <a:ln w="12690" cap="flat">
              <a:noFill/>
              <a:prstDash val="solid"/>
              <a:miter/>
            </a:ln>
          </p:spPr>
          <p:txBody>
            <a:bodyPr rtlCol="0" anchor="ctr"/>
            <a:lstStyle/>
            <a:p>
              <a:endParaRPr lang="en-US"/>
            </a:p>
          </p:txBody>
        </p:sp>
        <p:sp>
          <p:nvSpPr>
            <p:cNvPr id="551" name="Freeform: Shape 550">
              <a:extLst>
                <a:ext uri="{FF2B5EF4-FFF2-40B4-BE49-F238E27FC236}">
                  <a16:creationId xmlns:a16="http://schemas.microsoft.com/office/drawing/2014/main" id="{C2DF9787-FEEB-41DB-B32C-8AB385920AEE}"/>
                </a:ext>
              </a:extLst>
            </p:cNvPr>
            <p:cNvSpPr/>
            <p:nvPr/>
          </p:nvSpPr>
          <p:spPr>
            <a:xfrm>
              <a:off x="609574" y="999102"/>
              <a:ext cx="3263591" cy="992628"/>
            </a:xfrm>
            <a:custGeom>
              <a:avLst/>
              <a:gdLst>
                <a:gd name="connsiteX0" fmla="*/ 3260418 w 3263591"/>
                <a:gd name="connsiteY0" fmla="*/ 983995 h 992628"/>
                <a:gd name="connsiteX1" fmla="*/ 3262957 w 3263591"/>
                <a:gd name="connsiteY1" fmla="*/ 981582 h 992628"/>
                <a:gd name="connsiteX2" fmla="*/ 12570 w 3263591"/>
                <a:gd name="connsiteY2" fmla="*/ 0 h 992628"/>
                <a:gd name="connsiteX3" fmla="*/ 5587 w 3263591"/>
                <a:gd name="connsiteY3" fmla="*/ 5586 h 992628"/>
                <a:gd name="connsiteX4" fmla="*/ 2031 w 3263591"/>
                <a:gd name="connsiteY4" fmla="*/ 6856 h 992628"/>
                <a:gd name="connsiteX5" fmla="*/ 0 w 3263591"/>
                <a:gd name="connsiteY5" fmla="*/ 6856 h 992628"/>
                <a:gd name="connsiteX6" fmla="*/ 0 w 3263591"/>
                <a:gd name="connsiteY6" fmla="*/ 6856 h 992628"/>
                <a:gd name="connsiteX7" fmla="*/ 7110 w 3263591"/>
                <a:gd name="connsiteY7" fmla="*/ 9015 h 992628"/>
                <a:gd name="connsiteX8" fmla="*/ 3258132 w 3263591"/>
                <a:gd name="connsiteY8" fmla="*/ 991486 h 992628"/>
                <a:gd name="connsiteX9" fmla="*/ 3261815 w 3263591"/>
                <a:gd name="connsiteY9" fmla="*/ 992628 h 992628"/>
                <a:gd name="connsiteX10" fmla="*/ 3263592 w 3263591"/>
                <a:gd name="connsiteY10" fmla="*/ 992628 h 992628"/>
                <a:gd name="connsiteX11" fmla="*/ 3259529 w 3263591"/>
                <a:gd name="connsiteY11" fmla="*/ 990978 h 992628"/>
                <a:gd name="connsiteX12" fmla="*/ 3259961 w 3263591"/>
                <a:gd name="connsiteY12" fmla="*/ 984350 h 992628"/>
                <a:gd name="connsiteX13" fmla="*/ 3260418 w 3263591"/>
                <a:gd name="connsiteY13" fmla="*/ 983995 h 9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3591" h="992628">
                  <a:moveTo>
                    <a:pt x="3260418" y="983995"/>
                  </a:moveTo>
                  <a:lnTo>
                    <a:pt x="3262957" y="981582"/>
                  </a:lnTo>
                  <a:lnTo>
                    <a:pt x="12570" y="0"/>
                  </a:lnTo>
                  <a:lnTo>
                    <a:pt x="5587" y="5586"/>
                  </a:lnTo>
                  <a:cubicBezTo>
                    <a:pt x="4596" y="6430"/>
                    <a:pt x="3332" y="6880"/>
                    <a:pt x="2031" y="6856"/>
                  </a:cubicBezTo>
                  <a:cubicBezTo>
                    <a:pt x="1361" y="6990"/>
                    <a:pt x="670" y="6990"/>
                    <a:pt x="0" y="6856"/>
                  </a:cubicBezTo>
                  <a:lnTo>
                    <a:pt x="0" y="6856"/>
                  </a:lnTo>
                  <a:lnTo>
                    <a:pt x="7110" y="9015"/>
                  </a:lnTo>
                  <a:lnTo>
                    <a:pt x="3258132" y="991486"/>
                  </a:lnTo>
                  <a:lnTo>
                    <a:pt x="3261815" y="992628"/>
                  </a:lnTo>
                  <a:lnTo>
                    <a:pt x="3263592" y="992628"/>
                  </a:lnTo>
                  <a:cubicBezTo>
                    <a:pt x="3262081" y="992603"/>
                    <a:pt x="3260634" y="992019"/>
                    <a:pt x="3259529" y="990978"/>
                  </a:cubicBezTo>
                  <a:cubicBezTo>
                    <a:pt x="3257815" y="989022"/>
                    <a:pt x="3258005" y="986064"/>
                    <a:pt x="3259961" y="984350"/>
                  </a:cubicBezTo>
                  <a:cubicBezTo>
                    <a:pt x="3260100" y="984223"/>
                    <a:pt x="3260253" y="984109"/>
                    <a:pt x="3260418" y="983995"/>
                  </a:cubicBezTo>
                  <a:close/>
                </a:path>
              </a:pathLst>
            </a:custGeom>
            <a:solidFill>
              <a:srgbClr val="000000"/>
            </a:solidFill>
            <a:ln w="12690" cap="flat">
              <a:noFill/>
              <a:prstDash val="solid"/>
              <a:miter/>
            </a:ln>
          </p:spPr>
          <p:txBody>
            <a:bodyPr rtlCol="0" anchor="ctr"/>
            <a:lstStyle/>
            <a:p>
              <a:endParaRPr lang="en-US"/>
            </a:p>
          </p:txBody>
        </p:sp>
        <p:sp>
          <p:nvSpPr>
            <p:cNvPr id="552" name="Freeform: Shape 551">
              <a:extLst>
                <a:ext uri="{FF2B5EF4-FFF2-40B4-BE49-F238E27FC236}">
                  <a16:creationId xmlns:a16="http://schemas.microsoft.com/office/drawing/2014/main" id="{4E9E8912-8BF6-4E01-819C-648E11FC21A3}"/>
                </a:ext>
              </a:extLst>
            </p:cNvPr>
            <p:cNvSpPr/>
            <p:nvPr/>
          </p:nvSpPr>
          <p:spPr>
            <a:xfrm>
              <a:off x="606477" y="773786"/>
              <a:ext cx="281665" cy="230875"/>
            </a:xfrm>
            <a:custGeom>
              <a:avLst/>
              <a:gdLst>
                <a:gd name="connsiteX0" fmla="*/ 50 w 281665"/>
                <a:gd name="connsiteY0" fmla="*/ 228236 h 230875"/>
                <a:gd name="connsiteX1" fmla="*/ 50 w 281665"/>
                <a:gd name="connsiteY1" fmla="*/ 229125 h 230875"/>
                <a:gd name="connsiteX2" fmla="*/ 50 w 281665"/>
                <a:gd name="connsiteY2" fmla="*/ 230014 h 230875"/>
                <a:gd name="connsiteX3" fmla="*/ 50 w 281665"/>
                <a:gd name="connsiteY3" fmla="*/ 230014 h 230875"/>
                <a:gd name="connsiteX4" fmla="*/ 50 w 281665"/>
                <a:gd name="connsiteY4" fmla="*/ 230014 h 230875"/>
                <a:gd name="connsiteX5" fmla="*/ 1065 w 281665"/>
                <a:gd name="connsiteY5" fmla="*/ 230776 h 230875"/>
                <a:gd name="connsiteX6" fmla="*/ 1827 w 281665"/>
                <a:gd name="connsiteY6" fmla="*/ 230776 h 230875"/>
                <a:gd name="connsiteX7" fmla="*/ 3859 w 281665"/>
                <a:gd name="connsiteY7" fmla="*/ 230776 h 230875"/>
                <a:gd name="connsiteX8" fmla="*/ 7414 w 281665"/>
                <a:gd name="connsiteY8" fmla="*/ 229506 h 230875"/>
                <a:gd name="connsiteX9" fmla="*/ 14397 w 281665"/>
                <a:gd name="connsiteY9" fmla="*/ 223919 h 230875"/>
                <a:gd name="connsiteX10" fmla="*/ 279761 w 281665"/>
                <a:gd name="connsiteY10" fmla="*/ 10234 h 230875"/>
                <a:gd name="connsiteX11" fmla="*/ 279761 w 281665"/>
                <a:gd name="connsiteY11" fmla="*/ 10234 h 230875"/>
                <a:gd name="connsiteX12" fmla="*/ 276219 w 281665"/>
                <a:gd name="connsiteY12" fmla="*/ 4401 h 230875"/>
                <a:gd name="connsiteX13" fmla="*/ 276332 w 281665"/>
                <a:gd name="connsiteY13" fmla="*/ 4012 h 230875"/>
                <a:gd name="connsiteX14" fmla="*/ 281665 w 281665"/>
                <a:gd name="connsiteY14" fmla="*/ 711 h 230875"/>
                <a:gd name="connsiteX15" fmla="*/ 276079 w 281665"/>
                <a:gd name="connsiteY15" fmla="*/ 711 h 230875"/>
                <a:gd name="connsiteX16" fmla="*/ 275063 w 281665"/>
                <a:gd name="connsiteY16" fmla="*/ 711 h 230875"/>
                <a:gd name="connsiteX17" fmla="*/ 1700 w 281665"/>
                <a:gd name="connsiteY17" fmla="*/ 223665 h 230875"/>
                <a:gd name="connsiteX18" fmla="*/ 1700 w 281665"/>
                <a:gd name="connsiteY18" fmla="*/ 223665 h 230875"/>
                <a:gd name="connsiteX19" fmla="*/ 938 w 281665"/>
                <a:gd name="connsiteY19" fmla="*/ 224554 h 230875"/>
                <a:gd name="connsiteX20" fmla="*/ 938 w 281665"/>
                <a:gd name="connsiteY20" fmla="*/ 224554 h 230875"/>
                <a:gd name="connsiteX21" fmla="*/ 938 w 281665"/>
                <a:gd name="connsiteY21" fmla="*/ 224554 h 230875"/>
                <a:gd name="connsiteX22" fmla="*/ 938 w 281665"/>
                <a:gd name="connsiteY22" fmla="*/ 225443 h 230875"/>
                <a:gd name="connsiteX23" fmla="*/ 938 w 281665"/>
                <a:gd name="connsiteY23" fmla="*/ 226205 h 230875"/>
                <a:gd name="connsiteX24" fmla="*/ 938 w 281665"/>
                <a:gd name="connsiteY24" fmla="*/ 226205 h 230875"/>
                <a:gd name="connsiteX25" fmla="*/ 50 w 281665"/>
                <a:gd name="connsiteY25" fmla="*/ 228236 h 23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1665" h="230875">
                  <a:moveTo>
                    <a:pt x="50" y="228236"/>
                  </a:moveTo>
                  <a:lnTo>
                    <a:pt x="50" y="229125"/>
                  </a:lnTo>
                  <a:cubicBezTo>
                    <a:pt x="-17" y="229417"/>
                    <a:pt x="-17" y="229721"/>
                    <a:pt x="50" y="230014"/>
                  </a:cubicBezTo>
                  <a:lnTo>
                    <a:pt x="50" y="230014"/>
                  </a:lnTo>
                  <a:cubicBezTo>
                    <a:pt x="50" y="230014"/>
                    <a:pt x="50" y="230014"/>
                    <a:pt x="50" y="230014"/>
                  </a:cubicBezTo>
                  <a:cubicBezTo>
                    <a:pt x="331" y="230336"/>
                    <a:pt x="677" y="230595"/>
                    <a:pt x="1065" y="230776"/>
                  </a:cubicBezTo>
                  <a:lnTo>
                    <a:pt x="1827" y="230776"/>
                  </a:lnTo>
                  <a:cubicBezTo>
                    <a:pt x="2497" y="230909"/>
                    <a:pt x="3188" y="230909"/>
                    <a:pt x="3859" y="230776"/>
                  </a:cubicBezTo>
                  <a:cubicBezTo>
                    <a:pt x="5159" y="230800"/>
                    <a:pt x="6423" y="230349"/>
                    <a:pt x="7414" y="229506"/>
                  </a:cubicBezTo>
                  <a:lnTo>
                    <a:pt x="14397" y="223919"/>
                  </a:lnTo>
                  <a:lnTo>
                    <a:pt x="279761" y="10234"/>
                  </a:lnTo>
                  <a:lnTo>
                    <a:pt x="279761" y="10234"/>
                  </a:lnTo>
                  <a:cubicBezTo>
                    <a:pt x="277172" y="9600"/>
                    <a:pt x="275587" y="6990"/>
                    <a:pt x="276219" y="4401"/>
                  </a:cubicBezTo>
                  <a:cubicBezTo>
                    <a:pt x="276252" y="4270"/>
                    <a:pt x="276289" y="4141"/>
                    <a:pt x="276332" y="4012"/>
                  </a:cubicBezTo>
                  <a:cubicBezTo>
                    <a:pt x="277207" y="1873"/>
                    <a:pt x="279361" y="540"/>
                    <a:pt x="281665" y="711"/>
                  </a:cubicBezTo>
                  <a:cubicBezTo>
                    <a:pt x="279924" y="-237"/>
                    <a:pt x="277821" y="-237"/>
                    <a:pt x="276079" y="711"/>
                  </a:cubicBezTo>
                  <a:lnTo>
                    <a:pt x="275063" y="711"/>
                  </a:lnTo>
                  <a:lnTo>
                    <a:pt x="1700" y="223665"/>
                  </a:lnTo>
                  <a:lnTo>
                    <a:pt x="1700" y="223665"/>
                  </a:lnTo>
                  <a:lnTo>
                    <a:pt x="938" y="224554"/>
                  </a:lnTo>
                  <a:lnTo>
                    <a:pt x="938" y="224554"/>
                  </a:lnTo>
                  <a:lnTo>
                    <a:pt x="938" y="224554"/>
                  </a:lnTo>
                  <a:cubicBezTo>
                    <a:pt x="938" y="224554"/>
                    <a:pt x="938" y="224554"/>
                    <a:pt x="938" y="225443"/>
                  </a:cubicBezTo>
                  <a:cubicBezTo>
                    <a:pt x="938" y="226332"/>
                    <a:pt x="938" y="225443"/>
                    <a:pt x="938" y="226205"/>
                  </a:cubicBezTo>
                  <a:lnTo>
                    <a:pt x="938" y="226205"/>
                  </a:lnTo>
                  <a:cubicBezTo>
                    <a:pt x="938" y="226205"/>
                    <a:pt x="50" y="227982"/>
                    <a:pt x="50" y="228236"/>
                  </a:cubicBezTo>
                  <a:close/>
                </a:path>
              </a:pathLst>
            </a:custGeom>
            <a:solidFill>
              <a:srgbClr val="000000"/>
            </a:solidFill>
            <a:ln w="12690" cap="flat">
              <a:noFill/>
              <a:prstDash val="solid"/>
              <a:miter/>
            </a:ln>
          </p:spPr>
          <p:txBody>
            <a:bodyPr rtlCol="0" anchor="ctr"/>
            <a:lstStyle/>
            <a:p>
              <a:endParaRPr lang="en-US"/>
            </a:p>
          </p:txBody>
        </p:sp>
        <p:sp>
          <p:nvSpPr>
            <p:cNvPr id="553" name="Freeform: Shape 552">
              <a:extLst>
                <a:ext uri="{FF2B5EF4-FFF2-40B4-BE49-F238E27FC236}">
                  <a16:creationId xmlns:a16="http://schemas.microsoft.com/office/drawing/2014/main" id="{58911875-0F5F-4468-A95A-E355A32BB514}"/>
                </a:ext>
              </a:extLst>
            </p:cNvPr>
            <p:cNvSpPr/>
            <p:nvPr/>
          </p:nvSpPr>
          <p:spPr>
            <a:xfrm>
              <a:off x="4131038" y="1777537"/>
              <a:ext cx="112" cy="12696"/>
            </a:xfrm>
            <a:custGeom>
              <a:avLst/>
              <a:gdLst>
                <a:gd name="connsiteX0" fmla="*/ 0 w 112"/>
                <a:gd name="connsiteY0" fmla="*/ 0 h 12696"/>
                <a:gd name="connsiteX1" fmla="*/ 0 w 112"/>
                <a:gd name="connsiteY1" fmla="*/ 0 h 12696"/>
                <a:gd name="connsiteX2" fmla="*/ 0 w 112"/>
                <a:gd name="connsiteY2" fmla="*/ 0 h 12696"/>
                <a:gd name="connsiteX3" fmla="*/ 0 w 112"/>
                <a:gd name="connsiteY3" fmla="*/ 0 h 12696"/>
                <a:gd name="connsiteX4" fmla="*/ 0 w 112"/>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 h="12696">
                  <a:moveTo>
                    <a:pt x="0" y="0"/>
                  </a:moveTo>
                  <a:lnTo>
                    <a:pt x="0" y="0"/>
                  </a:lnTo>
                  <a:cubicBezTo>
                    <a:pt x="0" y="0"/>
                    <a:pt x="0" y="0"/>
                    <a:pt x="0" y="0"/>
                  </a:cubicBezTo>
                  <a:lnTo>
                    <a:pt x="0" y="0"/>
                  </a:lnTo>
                  <a:cubicBezTo>
                    <a:pt x="0" y="0"/>
                    <a:pt x="254" y="0"/>
                    <a:pt x="0" y="0"/>
                  </a:cubicBezTo>
                  <a:close/>
                </a:path>
              </a:pathLst>
            </a:custGeom>
            <a:solidFill>
              <a:srgbClr val="000000"/>
            </a:solidFill>
            <a:ln w="12690" cap="flat">
              <a:noFill/>
              <a:prstDash val="solid"/>
              <a:miter/>
            </a:ln>
          </p:spPr>
          <p:txBody>
            <a:bodyPr rtlCol="0" anchor="ctr"/>
            <a:lstStyle/>
            <a:p>
              <a:endParaRPr lang="en-US"/>
            </a:p>
          </p:txBody>
        </p:sp>
        <p:sp>
          <p:nvSpPr>
            <p:cNvPr id="554" name="Freeform: Shape 553">
              <a:extLst>
                <a:ext uri="{FF2B5EF4-FFF2-40B4-BE49-F238E27FC236}">
                  <a16:creationId xmlns:a16="http://schemas.microsoft.com/office/drawing/2014/main" id="{6A5F502C-D5C1-4210-BDB2-FA8309FA479F}"/>
                </a:ext>
              </a:extLst>
            </p:cNvPr>
            <p:cNvSpPr/>
            <p:nvPr/>
          </p:nvSpPr>
          <p:spPr>
            <a:xfrm>
              <a:off x="4132054" y="177880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555" name="Freeform: Shape 554">
              <a:extLst>
                <a:ext uri="{FF2B5EF4-FFF2-40B4-BE49-F238E27FC236}">
                  <a16:creationId xmlns:a16="http://schemas.microsoft.com/office/drawing/2014/main" id="{A826345C-EEB1-4DF0-900A-7C13F47A9D11}"/>
                </a:ext>
              </a:extLst>
            </p:cNvPr>
            <p:cNvSpPr/>
            <p:nvPr/>
          </p:nvSpPr>
          <p:spPr>
            <a:xfrm>
              <a:off x="3868565" y="1782489"/>
              <a:ext cx="253332" cy="208733"/>
            </a:xfrm>
            <a:custGeom>
              <a:avLst/>
              <a:gdLst>
                <a:gd name="connsiteX0" fmla="*/ 253078 w 253332"/>
                <a:gd name="connsiteY0" fmla="*/ 1524 h 208733"/>
                <a:gd name="connsiteX1" fmla="*/ 247999 w 253332"/>
                <a:gd name="connsiteY1" fmla="*/ 0 h 208733"/>
                <a:gd name="connsiteX2" fmla="*/ 3966 w 253332"/>
                <a:gd name="connsiteY2" fmla="*/ 198196 h 208733"/>
                <a:gd name="connsiteX3" fmla="*/ 1554 w 253332"/>
                <a:gd name="connsiteY3" fmla="*/ 200100 h 208733"/>
                <a:gd name="connsiteX4" fmla="*/ 1211 w 253332"/>
                <a:gd name="connsiteY4" fmla="*/ 206741 h 208733"/>
                <a:gd name="connsiteX5" fmla="*/ 1554 w 253332"/>
                <a:gd name="connsiteY5" fmla="*/ 207083 h 208733"/>
                <a:gd name="connsiteX6" fmla="*/ 5617 w 253332"/>
                <a:gd name="connsiteY6" fmla="*/ 208734 h 208733"/>
                <a:gd name="connsiteX7" fmla="*/ 8918 w 253332"/>
                <a:gd name="connsiteY7" fmla="*/ 207591 h 208733"/>
                <a:gd name="connsiteX8" fmla="*/ 8918 w 253332"/>
                <a:gd name="connsiteY8" fmla="*/ 207591 h 208733"/>
                <a:gd name="connsiteX9" fmla="*/ 10695 w 253332"/>
                <a:gd name="connsiteY9" fmla="*/ 206067 h 208733"/>
                <a:gd name="connsiteX10" fmla="*/ 253332 w 253332"/>
                <a:gd name="connsiteY10" fmla="*/ 8634 h 20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332" h="208733">
                  <a:moveTo>
                    <a:pt x="253078" y="1524"/>
                  </a:moveTo>
                  <a:lnTo>
                    <a:pt x="247999" y="0"/>
                  </a:lnTo>
                  <a:lnTo>
                    <a:pt x="3966" y="198196"/>
                  </a:lnTo>
                  <a:lnTo>
                    <a:pt x="1554" y="200100"/>
                  </a:lnTo>
                  <a:cubicBezTo>
                    <a:pt x="-376" y="201840"/>
                    <a:pt x="-529" y="204811"/>
                    <a:pt x="1211" y="206741"/>
                  </a:cubicBezTo>
                  <a:cubicBezTo>
                    <a:pt x="1312" y="206855"/>
                    <a:pt x="1427" y="206969"/>
                    <a:pt x="1554" y="207083"/>
                  </a:cubicBezTo>
                  <a:cubicBezTo>
                    <a:pt x="2658" y="208124"/>
                    <a:pt x="4106" y="208708"/>
                    <a:pt x="5617" y="208734"/>
                  </a:cubicBezTo>
                  <a:cubicBezTo>
                    <a:pt x="6797" y="208658"/>
                    <a:pt x="7940" y="208264"/>
                    <a:pt x="8918" y="207591"/>
                  </a:cubicBezTo>
                  <a:lnTo>
                    <a:pt x="8918" y="207591"/>
                  </a:lnTo>
                  <a:lnTo>
                    <a:pt x="10695" y="206067"/>
                  </a:lnTo>
                  <a:lnTo>
                    <a:pt x="253332" y="8634"/>
                  </a:lnTo>
                  <a:close/>
                </a:path>
              </a:pathLst>
            </a:custGeom>
            <a:solidFill>
              <a:srgbClr val="000000"/>
            </a:solidFill>
            <a:ln w="12690" cap="flat">
              <a:noFill/>
              <a:prstDash val="solid"/>
              <a:miter/>
            </a:ln>
          </p:spPr>
          <p:txBody>
            <a:bodyPr rtlCol="0" anchor="ctr"/>
            <a:lstStyle/>
            <a:p>
              <a:endParaRPr lang="en-US"/>
            </a:p>
          </p:txBody>
        </p:sp>
        <p:sp>
          <p:nvSpPr>
            <p:cNvPr id="556" name="Freeform: Shape 555">
              <a:extLst>
                <a:ext uri="{FF2B5EF4-FFF2-40B4-BE49-F238E27FC236}">
                  <a16:creationId xmlns:a16="http://schemas.microsoft.com/office/drawing/2014/main" id="{86DE631D-CB71-45D5-8E33-2EDF6337BC8C}"/>
                </a:ext>
              </a:extLst>
            </p:cNvPr>
            <p:cNvSpPr/>
            <p:nvPr/>
          </p:nvSpPr>
          <p:spPr>
            <a:xfrm>
              <a:off x="4129896" y="1776394"/>
              <a:ext cx="761" cy="12696"/>
            </a:xfrm>
            <a:custGeom>
              <a:avLst/>
              <a:gdLst>
                <a:gd name="connsiteX0" fmla="*/ 0 w 761"/>
                <a:gd name="connsiteY0" fmla="*/ 0 h 12696"/>
                <a:gd name="connsiteX1" fmla="*/ 0 w 761"/>
                <a:gd name="connsiteY1" fmla="*/ 0 h 12696"/>
                <a:gd name="connsiteX2" fmla="*/ 762 w 761"/>
                <a:gd name="connsiteY2" fmla="*/ 0 h 12696"/>
                <a:gd name="connsiteX3" fmla="*/ 762 w 761"/>
                <a:gd name="connsiteY3" fmla="*/ 0 h 12696"/>
              </a:gdLst>
              <a:ahLst/>
              <a:cxnLst>
                <a:cxn ang="0">
                  <a:pos x="connsiteX0" y="connsiteY0"/>
                </a:cxn>
                <a:cxn ang="0">
                  <a:pos x="connsiteX1" y="connsiteY1"/>
                </a:cxn>
                <a:cxn ang="0">
                  <a:pos x="connsiteX2" y="connsiteY2"/>
                </a:cxn>
                <a:cxn ang="0">
                  <a:pos x="connsiteX3" y="connsiteY3"/>
                </a:cxn>
              </a:cxnLst>
              <a:rect l="l" t="t" r="r" b="b"/>
              <a:pathLst>
                <a:path w="761" h="12696">
                  <a:moveTo>
                    <a:pt x="0" y="0"/>
                  </a:moveTo>
                  <a:lnTo>
                    <a:pt x="0" y="0"/>
                  </a:lnTo>
                  <a:lnTo>
                    <a:pt x="762" y="0"/>
                  </a:lnTo>
                  <a:lnTo>
                    <a:pt x="762" y="0"/>
                  </a:lnTo>
                  <a:close/>
                </a:path>
              </a:pathLst>
            </a:custGeom>
            <a:solidFill>
              <a:srgbClr val="000000"/>
            </a:solidFill>
            <a:ln w="12690" cap="flat">
              <a:noFill/>
              <a:prstDash val="solid"/>
              <a:miter/>
            </a:ln>
          </p:spPr>
          <p:txBody>
            <a:bodyPr rtlCol="0" anchor="ctr"/>
            <a:lstStyle/>
            <a:p>
              <a:endParaRPr lang="en-US"/>
            </a:p>
          </p:txBody>
        </p:sp>
        <p:sp>
          <p:nvSpPr>
            <p:cNvPr id="557" name="Freeform: Shape 556">
              <a:extLst>
                <a:ext uri="{FF2B5EF4-FFF2-40B4-BE49-F238E27FC236}">
                  <a16:creationId xmlns:a16="http://schemas.microsoft.com/office/drawing/2014/main" id="{26CF45D7-1225-478A-9D53-FD476387FC7B}"/>
                </a:ext>
              </a:extLst>
            </p:cNvPr>
            <p:cNvSpPr/>
            <p:nvPr/>
          </p:nvSpPr>
          <p:spPr>
            <a:xfrm>
              <a:off x="7753696" y="3139500"/>
              <a:ext cx="54898" cy="40007"/>
            </a:xfrm>
            <a:custGeom>
              <a:avLst/>
              <a:gdLst>
                <a:gd name="connsiteX0" fmla="*/ 54850 w 54898"/>
                <a:gd name="connsiteY0" fmla="*/ 7631 h 40007"/>
                <a:gd name="connsiteX1" fmla="*/ 54850 w 54898"/>
                <a:gd name="connsiteY1" fmla="*/ 7631 h 40007"/>
                <a:gd name="connsiteX2" fmla="*/ 54850 w 54898"/>
                <a:gd name="connsiteY2" fmla="*/ 6742 h 40007"/>
                <a:gd name="connsiteX3" fmla="*/ 54850 w 54898"/>
                <a:gd name="connsiteY3" fmla="*/ 6742 h 40007"/>
                <a:gd name="connsiteX4" fmla="*/ 54850 w 54898"/>
                <a:gd name="connsiteY4" fmla="*/ 5980 h 40007"/>
                <a:gd name="connsiteX5" fmla="*/ 54850 w 54898"/>
                <a:gd name="connsiteY5" fmla="*/ 4837 h 40007"/>
                <a:gd name="connsiteX6" fmla="*/ 53454 w 54898"/>
                <a:gd name="connsiteY6" fmla="*/ 1409 h 40007"/>
                <a:gd name="connsiteX7" fmla="*/ 45835 w 54898"/>
                <a:gd name="connsiteY7" fmla="*/ 1409 h 40007"/>
                <a:gd name="connsiteX8" fmla="*/ 44058 w 54898"/>
                <a:gd name="connsiteY8" fmla="*/ 2933 h 40007"/>
                <a:gd name="connsiteX9" fmla="*/ 0 w 54898"/>
                <a:gd name="connsiteY9" fmla="*/ 38738 h 40007"/>
                <a:gd name="connsiteX10" fmla="*/ 4063 w 54898"/>
                <a:gd name="connsiteY10" fmla="*/ 38738 h 40007"/>
                <a:gd name="connsiteX11" fmla="*/ 15998 w 54898"/>
                <a:gd name="connsiteY11" fmla="*/ 40007 h 40007"/>
                <a:gd name="connsiteX12" fmla="*/ 54723 w 54898"/>
                <a:gd name="connsiteY12" fmla="*/ 8646 h 4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98" h="40007">
                  <a:moveTo>
                    <a:pt x="54850" y="7631"/>
                  </a:moveTo>
                  <a:lnTo>
                    <a:pt x="54850" y="7631"/>
                  </a:lnTo>
                  <a:lnTo>
                    <a:pt x="54850" y="6742"/>
                  </a:lnTo>
                  <a:lnTo>
                    <a:pt x="54850" y="6742"/>
                  </a:lnTo>
                  <a:cubicBezTo>
                    <a:pt x="54850" y="6742"/>
                    <a:pt x="54850" y="6742"/>
                    <a:pt x="54850" y="5980"/>
                  </a:cubicBezTo>
                  <a:cubicBezTo>
                    <a:pt x="54914" y="5599"/>
                    <a:pt x="54914" y="5218"/>
                    <a:pt x="54850" y="4837"/>
                  </a:cubicBezTo>
                  <a:cubicBezTo>
                    <a:pt x="54863" y="3555"/>
                    <a:pt x="54355" y="2323"/>
                    <a:pt x="53454" y="1409"/>
                  </a:cubicBezTo>
                  <a:cubicBezTo>
                    <a:pt x="51270" y="-470"/>
                    <a:pt x="48019" y="-470"/>
                    <a:pt x="45835" y="1409"/>
                  </a:cubicBezTo>
                  <a:lnTo>
                    <a:pt x="44058" y="2933"/>
                  </a:lnTo>
                  <a:lnTo>
                    <a:pt x="0" y="38738"/>
                  </a:lnTo>
                  <a:lnTo>
                    <a:pt x="4063" y="38738"/>
                  </a:lnTo>
                  <a:lnTo>
                    <a:pt x="15998" y="40007"/>
                  </a:lnTo>
                  <a:lnTo>
                    <a:pt x="54723" y="8646"/>
                  </a:lnTo>
                  <a:close/>
                </a:path>
              </a:pathLst>
            </a:custGeom>
            <a:solidFill>
              <a:srgbClr val="000000"/>
            </a:solidFill>
            <a:ln w="12690" cap="flat">
              <a:noFill/>
              <a:prstDash val="solid"/>
              <a:miter/>
            </a:ln>
          </p:spPr>
          <p:txBody>
            <a:bodyPr rtlCol="0" anchor="ctr"/>
            <a:lstStyle/>
            <a:p>
              <a:endParaRPr lang="en-US"/>
            </a:p>
          </p:txBody>
        </p:sp>
        <p:sp>
          <p:nvSpPr>
            <p:cNvPr id="558" name="Freeform: Shape 557">
              <a:extLst>
                <a:ext uri="{FF2B5EF4-FFF2-40B4-BE49-F238E27FC236}">
                  <a16:creationId xmlns:a16="http://schemas.microsoft.com/office/drawing/2014/main" id="{55CD4A31-97D6-4203-833B-B83BD8969BEF}"/>
                </a:ext>
              </a:extLst>
            </p:cNvPr>
            <p:cNvSpPr/>
            <p:nvPr/>
          </p:nvSpPr>
          <p:spPr>
            <a:xfrm>
              <a:off x="7044306" y="2988295"/>
              <a:ext cx="19" cy="888"/>
            </a:xfrm>
            <a:custGeom>
              <a:avLst/>
              <a:gdLst>
                <a:gd name="connsiteX0" fmla="*/ 19 w 19"/>
                <a:gd name="connsiteY0" fmla="*/ 0 h 888"/>
                <a:gd name="connsiteX1" fmla="*/ 19 w 19"/>
                <a:gd name="connsiteY1" fmla="*/ 889 h 888"/>
                <a:gd name="connsiteX2" fmla="*/ 19 w 19"/>
                <a:gd name="connsiteY2" fmla="*/ 254 h 888"/>
              </a:gdLst>
              <a:ahLst/>
              <a:cxnLst>
                <a:cxn ang="0">
                  <a:pos x="connsiteX0" y="connsiteY0"/>
                </a:cxn>
                <a:cxn ang="0">
                  <a:pos x="connsiteX1" y="connsiteY1"/>
                </a:cxn>
                <a:cxn ang="0">
                  <a:pos x="connsiteX2" y="connsiteY2"/>
                </a:cxn>
              </a:cxnLst>
              <a:rect l="l" t="t" r="r" b="b"/>
              <a:pathLst>
                <a:path w="19" h="888">
                  <a:moveTo>
                    <a:pt x="19" y="0"/>
                  </a:moveTo>
                  <a:cubicBezTo>
                    <a:pt x="-6" y="292"/>
                    <a:pt x="-6" y="597"/>
                    <a:pt x="19" y="889"/>
                  </a:cubicBezTo>
                  <a:lnTo>
                    <a:pt x="19" y="254"/>
                  </a:lnTo>
                  <a:close/>
                </a:path>
              </a:pathLst>
            </a:custGeom>
            <a:solidFill>
              <a:srgbClr val="000000"/>
            </a:solidFill>
            <a:ln w="12690" cap="flat">
              <a:noFill/>
              <a:prstDash val="solid"/>
              <a:miter/>
            </a:ln>
          </p:spPr>
          <p:txBody>
            <a:bodyPr rtlCol="0" anchor="ctr"/>
            <a:lstStyle/>
            <a:p>
              <a:endParaRPr lang="en-US"/>
            </a:p>
          </p:txBody>
        </p:sp>
        <p:sp>
          <p:nvSpPr>
            <p:cNvPr id="559" name="Freeform: Shape 558">
              <a:extLst>
                <a:ext uri="{FF2B5EF4-FFF2-40B4-BE49-F238E27FC236}">
                  <a16:creationId xmlns:a16="http://schemas.microsoft.com/office/drawing/2014/main" id="{30A07E9A-D7BF-4BE3-91AB-8756980A0F3D}"/>
                </a:ext>
              </a:extLst>
            </p:cNvPr>
            <p:cNvSpPr/>
            <p:nvPr/>
          </p:nvSpPr>
          <p:spPr>
            <a:xfrm>
              <a:off x="7044404" y="2990707"/>
              <a:ext cx="10966" cy="114143"/>
            </a:xfrm>
            <a:custGeom>
              <a:avLst/>
              <a:gdLst>
                <a:gd name="connsiteX0" fmla="*/ 2968 w 10966"/>
                <a:gd name="connsiteY0" fmla="*/ 4825 h 114143"/>
                <a:gd name="connsiteX1" fmla="*/ 937 w 10966"/>
                <a:gd name="connsiteY1" fmla="*/ 3809 h 114143"/>
                <a:gd name="connsiteX2" fmla="*/ 937 w 10966"/>
                <a:gd name="connsiteY2" fmla="*/ 3809 h 114143"/>
                <a:gd name="connsiteX3" fmla="*/ 937 w 10966"/>
                <a:gd name="connsiteY3" fmla="*/ 3809 h 114143"/>
                <a:gd name="connsiteX4" fmla="*/ 48 w 10966"/>
                <a:gd name="connsiteY4" fmla="*/ 2920 h 114143"/>
                <a:gd name="connsiteX5" fmla="*/ 48 w 10966"/>
                <a:gd name="connsiteY5" fmla="*/ 2032 h 114143"/>
                <a:gd name="connsiteX6" fmla="*/ 48 w 10966"/>
                <a:gd name="connsiteY6" fmla="*/ 1143 h 114143"/>
                <a:gd name="connsiteX7" fmla="*/ 48 w 10966"/>
                <a:gd name="connsiteY7" fmla="*/ 0 h 114143"/>
                <a:gd name="connsiteX8" fmla="*/ 48 w 10966"/>
                <a:gd name="connsiteY8" fmla="*/ 0 h 114143"/>
                <a:gd name="connsiteX9" fmla="*/ 48 w 10966"/>
                <a:gd name="connsiteY9" fmla="*/ 635 h 114143"/>
                <a:gd name="connsiteX10" fmla="*/ 48 w 10966"/>
                <a:gd name="connsiteY10" fmla="*/ 114143 h 114143"/>
                <a:gd name="connsiteX11" fmla="*/ 6142 w 10966"/>
                <a:gd name="connsiteY11" fmla="*/ 114143 h 114143"/>
                <a:gd name="connsiteX12" fmla="*/ 10967 w 10966"/>
                <a:gd name="connsiteY12" fmla="*/ 114143 h 114143"/>
                <a:gd name="connsiteX13" fmla="*/ 10967 w 10966"/>
                <a:gd name="connsiteY13" fmla="*/ 6094 h 1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6" h="114143">
                  <a:moveTo>
                    <a:pt x="2968" y="4825"/>
                  </a:moveTo>
                  <a:cubicBezTo>
                    <a:pt x="2219" y="4672"/>
                    <a:pt x="1508" y="4317"/>
                    <a:pt x="937" y="3809"/>
                  </a:cubicBezTo>
                  <a:lnTo>
                    <a:pt x="937" y="3809"/>
                  </a:lnTo>
                  <a:cubicBezTo>
                    <a:pt x="937" y="3809"/>
                    <a:pt x="937" y="3809"/>
                    <a:pt x="937" y="3809"/>
                  </a:cubicBezTo>
                  <a:lnTo>
                    <a:pt x="48" y="2920"/>
                  </a:lnTo>
                  <a:cubicBezTo>
                    <a:pt x="60" y="2628"/>
                    <a:pt x="60" y="2323"/>
                    <a:pt x="48" y="2032"/>
                  </a:cubicBezTo>
                  <a:cubicBezTo>
                    <a:pt x="10" y="1739"/>
                    <a:pt x="10" y="1435"/>
                    <a:pt x="48" y="1143"/>
                  </a:cubicBezTo>
                  <a:cubicBezTo>
                    <a:pt x="-16" y="762"/>
                    <a:pt x="-16" y="381"/>
                    <a:pt x="48" y="0"/>
                  </a:cubicBezTo>
                  <a:lnTo>
                    <a:pt x="48" y="0"/>
                  </a:lnTo>
                  <a:cubicBezTo>
                    <a:pt x="-16" y="203"/>
                    <a:pt x="-16" y="432"/>
                    <a:pt x="48" y="635"/>
                  </a:cubicBezTo>
                  <a:lnTo>
                    <a:pt x="48" y="114143"/>
                  </a:lnTo>
                  <a:lnTo>
                    <a:pt x="6142" y="114143"/>
                  </a:lnTo>
                  <a:lnTo>
                    <a:pt x="10967" y="114143"/>
                  </a:lnTo>
                  <a:lnTo>
                    <a:pt x="10967" y="6094"/>
                  </a:lnTo>
                  <a:close/>
                </a:path>
              </a:pathLst>
            </a:custGeom>
            <a:solidFill>
              <a:srgbClr val="000000"/>
            </a:solidFill>
            <a:ln w="12690" cap="flat">
              <a:noFill/>
              <a:prstDash val="solid"/>
              <a:miter/>
            </a:ln>
          </p:spPr>
          <p:txBody>
            <a:bodyPr rtlCol="0" anchor="ctr"/>
            <a:lstStyle/>
            <a:p>
              <a:endParaRPr lang="en-US"/>
            </a:p>
          </p:txBody>
        </p:sp>
        <p:sp>
          <p:nvSpPr>
            <p:cNvPr id="560" name="Freeform: Shape 559">
              <a:extLst>
                <a:ext uri="{FF2B5EF4-FFF2-40B4-BE49-F238E27FC236}">
                  <a16:creationId xmlns:a16="http://schemas.microsoft.com/office/drawing/2014/main" id="{D6B2FCFB-99B8-48D1-984E-D887679D6885}"/>
                </a:ext>
              </a:extLst>
            </p:cNvPr>
            <p:cNvSpPr/>
            <p:nvPr/>
          </p:nvSpPr>
          <p:spPr>
            <a:xfrm>
              <a:off x="7565276" y="3128594"/>
              <a:ext cx="10791" cy="29710"/>
            </a:xfrm>
            <a:custGeom>
              <a:avLst/>
              <a:gdLst>
                <a:gd name="connsiteX0" fmla="*/ 8761 w 10791"/>
                <a:gd name="connsiteY0" fmla="*/ 1904 h 29710"/>
                <a:gd name="connsiteX1" fmla="*/ 8761 w 10791"/>
                <a:gd name="connsiteY1" fmla="*/ 1904 h 29710"/>
                <a:gd name="connsiteX2" fmla="*/ 5332 w 10791"/>
                <a:gd name="connsiteY2" fmla="*/ 3047 h 29710"/>
                <a:gd name="connsiteX3" fmla="*/ 3936 w 10791"/>
                <a:gd name="connsiteY3" fmla="*/ 3047 h 29710"/>
                <a:gd name="connsiteX4" fmla="*/ 0 w 10791"/>
                <a:gd name="connsiteY4" fmla="*/ 2032 h 29710"/>
                <a:gd name="connsiteX5" fmla="*/ 0 w 10791"/>
                <a:gd name="connsiteY5" fmla="*/ 29075 h 29710"/>
                <a:gd name="connsiteX6" fmla="*/ 5967 w 10791"/>
                <a:gd name="connsiteY6" fmla="*/ 29710 h 29710"/>
                <a:gd name="connsiteX7" fmla="*/ 10792 w 10791"/>
                <a:gd name="connsiteY7" fmla="*/ 29710 h 29710"/>
                <a:gd name="connsiteX8" fmla="*/ 10792 w 10791"/>
                <a:gd name="connsiteY8" fmla="*/ 0 h 2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29710">
                  <a:moveTo>
                    <a:pt x="8761" y="1904"/>
                  </a:moveTo>
                  <a:lnTo>
                    <a:pt x="8761" y="1904"/>
                  </a:lnTo>
                  <a:cubicBezTo>
                    <a:pt x="7745" y="2603"/>
                    <a:pt x="6564" y="2996"/>
                    <a:pt x="5332" y="3047"/>
                  </a:cubicBezTo>
                  <a:lnTo>
                    <a:pt x="3936" y="3047"/>
                  </a:lnTo>
                  <a:lnTo>
                    <a:pt x="0" y="2032"/>
                  </a:lnTo>
                  <a:lnTo>
                    <a:pt x="0" y="29075"/>
                  </a:lnTo>
                  <a:lnTo>
                    <a:pt x="5967" y="29710"/>
                  </a:lnTo>
                  <a:lnTo>
                    <a:pt x="10792" y="29710"/>
                  </a:lnTo>
                  <a:lnTo>
                    <a:pt x="10792" y="0"/>
                  </a:lnTo>
                  <a:close/>
                </a:path>
              </a:pathLst>
            </a:custGeom>
            <a:solidFill>
              <a:srgbClr val="000000"/>
            </a:solidFill>
            <a:ln w="12690" cap="flat">
              <a:noFill/>
              <a:prstDash val="solid"/>
              <a:miter/>
            </a:ln>
          </p:spPr>
          <p:txBody>
            <a:bodyPr rtlCol="0" anchor="ctr"/>
            <a:lstStyle/>
            <a:p>
              <a:endParaRPr lang="en-US"/>
            </a:p>
          </p:txBody>
        </p:sp>
        <p:sp>
          <p:nvSpPr>
            <p:cNvPr id="561" name="Freeform: Shape 560">
              <a:extLst>
                <a:ext uri="{FF2B5EF4-FFF2-40B4-BE49-F238E27FC236}">
                  <a16:creationId xmlns:a16="http://schemas.microsoft.com/office/drawing/2014/main" id="{F3B873D0-E326-4AD9-8BDB-C0124BBCCB2D}"/>
                </a:ext>
              </a:extLst>
            </p:cNvPr>
            <p:cNvSpPr/>
            <p:nvPr/>
          </p:nvSpPr>
          <p:spPr>
            <a:xfrm>
              <a:off x="7043690" y="2989438"/>
              <a:ext cx="12696" cy="761"/>
            </a:xfrm>
            <a:custGeom>
              <a:avLst/>
              <a:gdLst>
                <a:gd name="connsiteX0" fmla="*/ 0 w 12696"/>
                <a:gd name="connsiteY0" fmla="*/ 0 h 761"/>
                <a:gd name="connsiteX1" fmla="*/ 0 w 12696"/>
                <a:gd name="connsiteY1" fmla="*/ 0 h 761"/>
                <a:gd name="connsiteX2" fmla="*/ 0 w 12696"/>
                <a:gd name="connsiteY2" fmla="*/ 762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lnTo>
                    <a:pt x="0" y="0"/>
                  </a:lnTo>
                  <a:lnTo>
                    <a:pt x="0" y="762"/>
                  </a:lnTo>
                  <a:lnTo>
                    <a:pt x="0" y="762"/>
                  </a:lnTo>
                  <a:close/>
                </a:path>
              </a:pathLst>
            </a:custGeom>
            <a:solidFill>
              <a:srgbClr val="000000"/>
            </a:solidFill>
            <a:ln w="12690" cap="flat">
              <a:noFill/>
              <a:prstDash val="solid"/>
              <a:miter/>
            </a:ln>
          </p:spPr>
          <p:txBody>
            <a:bodyPr rtlCol="0" anchor="ctr"/>
            <a:lstStyle/>
            <a:p>
              <a:endParaRPr lang="en-US"/>
            </a:p>
          </p:txBody>
        </p:sp>
        <p:sp>
          <p:nvSpPr>
            <p:cNvPr id="562" name="Freeform: Shape 561">
              <a:extLst>
                <a:ext uri="{FF2B5EF4-FFF2-40B4-BE49-F238E27FC236}">
                  <a16:creationId xmlns:a16="http://schemas.microsoft.com/office/drawing/2014/main" id="{3329C669-5158-4B59-8F3D-C70309B79591}"/>
                </a:ext>
              </a:extLst>
            </p:cNvPr>
            <p:cNvSpPr/>
            <p:nvPr/>
          </p:nvSpPr>
          <p:spPr>
            <a:xfrm>
              <a:off x="7044833" y="2987660"/>
              <a:ext cx="12696" cy="634"/>
            </a:xfrm>
            <a:custGeom>
              <a:avLst/>
              <a:gdLst>
                <a:gd name="connsiteX0" fmla="*/ 0 w 12696"/>
                <a:gd name="connsiteY0" fmla="*/ 0 h 634"/>
                <a:gd name="connsiteX1" fmla="*/ 0 w 12696"/>
                <a:gd name="connsiteY1" fmla="*/ 635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635"/>
                  </a:lnTo>
                  <a:lnTo>
                    <a:pt x="0" y="635"/>
                  </a:lnTo>
                  <a:close/>
                </a:path>
              </a:pathLst>
            </a:custGeom>
            <a:solidFill>
              <a:srgbClr val="000000"/>
            </a:solidFill>
            <a:ln w="12690" cap="flat">
              <a:noFill/>
              <a:prstDash val="solid"/>
              <a:miter/>
            </a:ln>
          </p:spPr>
          <p:txBody>
            <a:bodyPr rtlCol="0" anchor="ctr"/>
            <a:lstStyle/>
            <a:p>
              <a:endParaRPr lang="en-US"/>
            </a:p>
          </p:txBody>
        </p:sp>
        <p:sp>
          <p:nvSpPr>
            <p:cNvPr id="563" name="Freeform: Shape 562">
              <a:extLst>
                <a:ext uri="{FF2B5EF4-FFF2-40B4-BE49-F238E27FC236}">
                  <a16:creationId xmlns:a16="http://schemas.microsoft.com/office/drawing/2014/main" id="{C0180C1A-B8A0-465D-8409-9805C17AEF7D}"/>
                </a:ext>
              </a:extLst>
            </p:cNvPr>
            <p:cNvSpPr/>
            <p:nvPr/>
          </p:nvSpPr>
          <p:spPr>
            <a:xfrm>
              <a:off x="7570354" y="3130625"/>
              <a:ext cx="3428" cy="1142"/>
            </a:xfrm>
            <a:custGeom>
              <a:avLst/>
              <a:gdLst>
                <a:gd name="connsiteX0" fmla="*/ 3428 w 3428"/>
                <a:gd name="connsiteY0" fmla="*/ 0 h 1142"/>
                <a:gd name="connsiteX1" fmla="*/ 0 w 3428"/>
                <a:gd name="connsiteY1" fmla="*/ 1143 h 1142"/>
                <a:gd name="connsiteX2" fmla="*/ 3428 w 3428"/>
                <a:gd name="connsiteY2" fmla="*/ 0 h 1142"/>
              </a:gdLst>
              <a:ahLst/>
              <a:cxnLst>
                <a:cxn ang="0">
                  <a:pos x="connsiteX0" y="connsiteY0"/>
                </a:cxn>
                <a:cxn ang="0">
                  <a:pos x="connsiteX1" y="connsiteY1"/>
                </a:cxn>
                <a:cxn ang="0">
                  <a:pos x="connsiteX2" y="connsiteY2"/>
                </a:cxn>
              </a:cxnLst>
              <a:rect l="l" t="t" r="r" b="b"/>
              <a:pathLst>
                <a:path w="3428" h="1142">
                  <a:moveTo>
                    <a:pt x="3428" y="0"/>
                  </a:moveTo>
                  <a:cubicBezTo>
                    <a:pt x="2412" y="698"/>
                    <a:pt x="1231" y="1092"/>
                    <a:pt x="0" y="1143"/>
                  </a:cubicBezTo>
                  <a:cubicBezTo>
                    <a:pt x="1231" y="1092"/>
                    <a:pt x="2412" y="698"/>
                    <a:pt x="3428" y="0"/>
                  </a:cubicBezTo>
                  <a:close/>
                </a:path>
              </a:pathLst>
            </a:custGeom>
            <a:solidFill>
              <a:srgbClr val="000000"/>
            </a:solidFill>
            <a:ln w="12690" cap="flat">
              <a:noFill/>
              <a:prstDash val="solid"/>
              <a:miter/>
            </a:ln>
          </p:spPr>
          <p:txBody>
            <a:bodyPr rtlCol="0" anchor="ctr"/>
            <a:lstStyle/>
            <a:p>
              <a:endParaRPr lang="en-US"/>
            </a:p>
          </p:txBody>
        </p:sp>
        <p:sp>
          <p:nvSpPr>
            <p:cNvPr id="564" name="Freeform: Shape 563">
              <a:extLst>
                <a:ext uri="{FF2B5EF4-FFF2-40B4-BE49-F238E27FC236}">
                  <a16:creationId xmlns:a16="http://schemas.microsoft.com/office/drawing/2014/main" id="{8AB68D1F-6E7A-4BE6-A5A2-C93C08A132E2}"/>
                </a:ext>
              </a:extLst>
            </p:cNvPr>
            <p:cNvSpPr/>
            <p:nvPr/>
          </p:nvSpPr>
          <p:spPr>
            <a:xfrm>
              <a:off x="7045849" y="2988549"/>
              <a:ext cx="525014" cy="143218"/>
            </a:xfrm>
            <a:custGeom>
              <a:avLst/>
              <a:gdLst>
                <a:gd name="connsiteX0" fmla="*/ 521459 w 525014"/>
                <a:gd name="connsiteY0" fmla="*/ 134839 h 143218"/>
                <a:gd name="connsiteX1" fmla="*/ 523617 w 525014"/>
                <a:gd name="connsiteY1" fmla="*/ 133061 h 143218"/>
                <a:gd name="connsiteX2" fmla="*/ 13204 w 525014"/>
                <a:gd name="connsiteY2" fmla="*/ 0 h 143218"/>
                <a:gd name="connsiteX3" fmla="*/ 7619 w 525014"/>
                <a:gd name="connsiteY3" fmla="*/ 5840 h 143218"/>
                <a:gd name="connsiteX4" fmla="*/ 3555 w 525014"/>
                <a:gd name="connsiteY4" fmla="*/ 7491 h 143218"/>
                <a:gd name="connsiteX5" fmla="*/ 0 w 525014"/>
                <a:gd name="connsiteY5" fmla="*/ 6221 h 143218"/>
                <a:gd name="connsiteX6" fmla="*/ 2032 w 525014"/>
                <a:gd name="connsiteY6" fmla="*/ 7237 h 143218"/>
                <a:gd name="connsiteX7" fmla="*/ 9015 w 525014"/>
                <a:gd name="connsiteY7" fmla="*/ 9015 h 143218"/>
                <a:gd name="connsiteX8" fmla="*/ 519681 w 525014"/>
                <a:gd name="connsiteY8" fmla="*/ 142203 h 143218"/>
                <a:gd name="connsiteX9" fmla="*/ 523617 w 525014"/>
                <a:gd name="connsiteY9" fmla="*/ 143219 h 143218"/>
                <a:gd name="connsiteX10" fmla="*/ 525014 w 525014"/>
                <a:gd name="connsiteY10" fmla="*/ 143219 h 143218"/>
                <a:gd name="connsiteX11" fmla="*/ 521077 w 525014"/>
                <a:gd name="connsiteY11" fmla="*/ 141568 h 143218"/>
                <a:gd name="connsiteX12" fmla="*/ 521167 w 525014"/>
                <a:gd name="connsiteY12" fmla="*/ 135106 h 143218"/>
                <a:gd name="connsiteX13" fmla="*/ 521459 w 525014"/>
                <a:gd name="connsiteY13" fmla="*/ 134839 h 14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014" h="143218">
                  <a:moveTo>
                    <a:pt x="521459" y="134839"/>
                  </a:moveTo>
                  <a:lnTo>
                    <a:pt x="523617" y="133061"/>
                  </a:lnTo>
                  <a:lnTo>
                    <a:pt x="13204" y="0"/>
                  </a:lnTo>
                  <a:lnTo>
                    <a:pt x="7619" y="5840"/>
                  </a:lnTo>
                  <a:cubicBezTo>
                    <a:pt x="6526" y="6894"/>
                    <a:pt x="5079" y="7491"/>
                    <a:pt x="3555" y="7491"/>
                  </a:cubicBezTo>
                  <a:cubicBezTo>
                    <a:pt x="2260" y="7453"/>
                    <a:pt x="1016" y="7009"/>
                    <a:pt x="0" y="6221"/>
                  </a:cubicBezTo>
                  <a:cubicBezTo>
                    <a:pt x="584" y="6729"/>
                    <a:pt x="1283" y="7085"/>
                    <a:pt x="2032" y="7237"/>
                  </a:cubicBezTo>
                  <a:lnTo>
                    <a:pt x="9015" y="9015"/>
                  </a:lnTo>
                  <a:lnTo>
                    <a:pt x="519681" y="142203"/>
                  </a:lnTo>
                  <a:lnTo>
                    <a:pt x="523617" y="143219"/>
                  </a:lnTo>
                  <a:lnTo>
                    <a:pt x="525014" y="143219"/>
                  </a:lnTo>
                  <a:cubicBezTo>
                    <a:pt x="523541" y="143181"/>
                    <a:pt x="522131" y="142597"/>
                    <a:pt x="521077" y="141568"/>
                  </a:cubicBezTo>
                  <a:cubicBezTo>
                    <a:pt x="519313" y="139765"/>
                    <a:pt x="519351" y="136870"/>
                    <a:pt x="521167" y="135106"/>
                  </a:cubicBezTo>
                  <a:cubicBezTo>
                    <a:pt x="521256" y="135017"/>
                    <a:pt x="521357" y="134928"/>
                    <a:pt x="521459" y="134839"/>
                  </a:cubicBezTo>
                  <a:close/>
                </a:path>
              </a:pathLst>
            </a:custGeom>
            <a:solidFill>
              <a:srgbClr val="000000"/>
            </a:solidFill>
            <a:ln w="12690" cap="flat">
              <a:noFill/>
              <a:prstDash val="solid"/>
              <a:miter/>
            </a:ln>
          </p:spPr>
          <p:txBody>
            <a:bodyPr rtlCol="0" anchor="ctr"/>
            <a:lstStyle/>
            <a:p>
              <a:endParaRPr lang="en-US"/>
            </a:p>
          </p:txBody>
        </p:sp>
        <p:sp>
          <p:nvSpPr>
            <p:cNvPr id="565" name="Freeform: Shape 564">
              <a:extLst>
                <a:ext uri="{FF2B5EF4-FFF2-40B4-BE49-F238E27FC236}">
                  <a16:creationId xmlns:a16="http://schemas.microsoft.com/office/drawing/2014/main" id="{04097F6A-BBCD-42A8-9B12-FDA539928EFC}"/>
                </a:ext>
              </a:extLst>
            </p:cNvPr>
            <p:cNvSpPr/>
            <p:nvPr/>
          </p:nvSpPr>
          <p:spPr>
            <a:xfrm>
              <a:off x="7043535" y="2767499"/>
              <a:ext cx="222820" cy="227778"/>
            </a:xfrm>
            <a:custGeom>
              <a:avLst/>
              <a:gdLst>
                <a:gd name="connsiteX0" fmla="*/ 28 w 222820"/>
                <a:gd name="connsiteY0" fmla="*/ 223843 h 227778"/>
                <a:gd name="connsiteX1" fmla="*/ 28 w 222820"/>
                <a:gd name="connsiteY1" fmla="*/ 224732 h 227778"/>
                <a:gd name="connsiteX2" fmla="*/ 28 w 222820"/>
                <a:gd name="connsiteY2" fmla="*/ 225621 h 227778"/>
                <a:gd name="connsiteX3" fmla="*/ 917 w 222820"/>
                <a:gd name="connsiteY3" fmla="*/ 226509 h 227778"/>
                <a:gd name="connsiteX4" fmla="*/ 917 w 222820"/>
                <a:gd name="connsiteY4" fmla="*/ 226509 h 227778"/>
                <a:gd name="connsiteX5" fmla="*/ 917 w 222820"/>
                <a:gd name="connsiteY5" fmla="*/ 226509 h 227778"/>
                <a:gd name="connsiteX6" fmla="*/ 4472 w 222820"/>
                <a:gd name="connsiteY6" fmla="*/ 227779 h 227778"/>
                <a:gd name="connsiteX7" fmla="*/ 8535 w 222820"/>
                <a:gd name="connsiteY7" fmla="*/ 226128 h 227778"/>
                <a:gd name="connsiteX8" fmla="*/ 14122 w 222820"/>
                <a:gd name="connsiteY8" fmla="*/ 220288 h 227778"/>
                <a:gd name="connsiteX9" fmla="*/ 219049 w 222820"/>
                <a:gd name="connsiteY9" fmla="*/ 10284 h 227778"/>
                <a:gd name="connsiteX10" fmla="*/ 219049 w 222820"/>
                <a:gd name="connsiteY10" fmla="*/ 10284 h 227778"/>
                <a:gd name="connsiteX11" fmla="*/ 221207 w 222820"/>
                <a:gd name="connsiteY11" fmla="*/ 7999 h 227778"/>
                <a:gd name="connsiteX12" fmla="*/ 221804 w 222820"/>
                <a:gd name="connsiteY12" fmla="*/ 1739 h 227778"/>
                <a:gd name="connsiteX13" fmla="*/ 221207 w 222820"/>
                <a:gd name="connsiteY13" fmla="*/ 1143 h 227778"/>
                <a:gd name="connsiteX14" fmla="*/ 218160 w 222820"/>
                <a:gd name="connsiteY14" fmla="*/ 0 h 227778"/>
                <a:gd name="connsiteX15" fmla="*/ 217144 w 222820"/>
                <a:gd name="connsiteY15" fmla="*/ 0 h 227778"/>
                <a:gd name="connsiteX16" fmla="*/ 216002 w 222820"/>
                <a:gd name="connsiteY16" fmla="*/ 0 h 227778"/>
                <a:gd name="connsiteX17" fmla="*/ 215113 w 222820"/>
                <a:gd name="connsiteY17" fmla="*/ 0 h 227778"/>
                <a:gd name="connsiteX18" fmla="*/ 214097 w 222820"/>
                <a:gd name="connsiteY18" fmla="*/ 762 h 227778"/>
                <a:gd name="connsiteX19" fmla="*/ 214097 w 222820"/>
                <a:gd name="connsiteY19" fmla="*/ 762 h 227778"/>
                <a:gd name="connsiteX20" fmla="*/ 1933 w 222820"/>
                <a:gd name="connsiteY20" fmla="*/ 219526 h 227778"/>
                <a:gd name="connsiteX21" fmla="*/ 1933 w 222820"/>
                <a:gd name="connsiteY21" fmla="*/ 219526 h 227778"/>
                <a:gd name="connsiteX22" fmla="*/ 1298 w 222820"/>
                <a:gd name="connsiteY22" fmla="*/ 220415 h 227778"/>
                <a:gd name="connsiteX23" fmla="*/ 1298 w 222820"/>
                <a:gd name="connsiteY23" fmla="*/ 221050 h 227778"/>
                <a:gd name="connsiteX24" fmla="*/ 1298 w 222820"/>
                <a:gd name="connsiteY24" fmla="*/ 222065 h 227778"/>
                <a:gd name="connsiteX25" fmla="*/ 28 w 222820"/>
                <a:gd name="connsiteY25" fmla="*/ 223843 h 22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2820" h="227778">
                  <a:moveTo>
                    <a:pt x="28" y="223843"/>
                  </a:moveTo>
                  <a:cubicBezTo>
                    <a:pt x="-9" y="224135"/>
                    <a:pt x="-9" y="224440"/>
                    <a:pt x="28" y="224732"/>
                  </a:cubicBezTo>
                  <a:cubicBezTo>
                    <a:pt x="41" y="225024"/>
                    <a:pt x="41" y="225328"/>
                    <a:pt x="28" y="225621"/>
                  </a:cubicBezTo>
                  <a:lnTo>
                    <a:pt x="917" y="226509"/>
                  </a:lnTo>
                  <a:cubicBezTo>
                    <a:pt x="917" y="226509"/>
                    <a:pt x="917" y="226509"/>
                    <a:pt x="917" y="226509"/>
                  </a:cubicBezTo>
                  <a:lnTo>
                    <a:pt x="917" y="226509"/>
                  </a:lnTo>
                  <a:cubicBezTo>
                    <a:pt x="1933" y="227296"/>
                    <a:pt x="3177" y="227741"/>
                    <a:pt x="4472" y="227779"/>
                  </a:cubicBezTo>
                  <a:cubicBezTo>
                    <a:pt x="5996" y="227779"/>
                    <a:pt x="7443" y="227182"/>
                    <a:pt x="8535" y="226128"/>
                  </a:cubicBezTo>
                  <a:lnTo>
                    <a:pt x="14122" y="220288"/>
                  </a:lnTo>
                  <a:lnTo>
                    <a:pt x="219049" y="10284"/>
                  </a:lnTo>
                  <a:lnTo>
                    <a:pt x="219049" y="10284"/>
                  </a:lnTo>
                  <a:lnTo>
                    <a:pt x="221207" y="7999"/>
                  </a:lnTo>
                  <a:cubicBezTo>
                    <a:pt x="223099" y="6437"/>
                    <a:pt x="223366" y="3631"/>
                    <a:pt x="221804" y="1739"/>
                  </a:cubicBezTo>
                  <a:cubicBezTo>
                    <a:pt x="221626" y="1524"/>
                    <a:pt x="221423" y="1321"/>
                    <a:pt x="221207" y="1143"/>
                  </a:cubicBezTo>
                  <a:cubicBezTo>
                    <a:pt x="220331" y="457"/>
                    <a:pt x="219265" y="51"/>
                    <a:pt x="218160" y="0"/>
                  </a:cubicBezTo>
                  <a:lnTo>
                    <a:pt x="217144" y="0"/>
                  </a:lnTo>
                  <a:lnTo>
                    <a:pt x="216002" y="0"/>
                  </a:lnTo>
                  <a:lnTo>
                    <a:pt x="215113" y="0"/>
                  </a:lnTo>
                  <a:cubicBezTo>
                    <a:pt x="214719" y="165"/>
                    <a:pt x="214363" y="432"/>
                    <a:pt x="214097" y="762"/>
                  </a:cubicBezTo>
                  <a:lnTo>
                    <a:pt x="214097" y="762"/>
                  </a:lnTo>
                  <a:lnTo>
                    <a:pt x="1933" y="219526"/>
                  </a:lnTo>
                  <a:lnTo>
                    <a:pt x="1933" y="219526"/>
                  </a:lnTo>
                  <a:lnTo>
                    <a:pt x="1298" y="220415"/>
                  </a:lnTo>
                  <a:lnTo>
                    <a:pt x="1298" y="221050"/>
                  </a:lnTo>
                  <a:lnTo>
                    <a:pt x="1298" y="222065"/>
                  </a:lnTo>
                  <a:cubicBezTo>
                    <a:pt x="701" y="222510"/>
                    <a:pt x="257" y="223132"/>
                    <a:pt x="28" y="223843"/>
                  </a:cubicBezTo>
                  <a:close/>
                </a:path>
              </a:pathLst>
            </a:custGeom>
            <a:solidFill>
              <a:srgbClr val="000000"/>
            </a:solidFill>
            <a:ln w="12690" cap="flat">
              <a:noFill/>
              <a:prstDash val="solid"/>
              <a:miter/>
            </a:ln>
          </p:spPr>
          <p:txBody>
            <a:bodyPr rtlCol="0" anchor="ctr"/>
            <a:lstStyle/>
            <a:p>
              <a:endParaRPr lang="en-US"/>
            </a:p>
          </p:txBody>
        </p:sp>
        <p:sp>
          <p:nvSpPr>
            <p:cNvPr id="566" name="Freeform: Shape 565">
              <a:extLst>
                <a:ext uri="{FF2B5EF4-FFF2-40B4-BE49-F238E27FC236}">
                  <a16:creationId xmlns:a16="http://schemas.microsoft.com/office/drawing/2014/main" id="{3B68B931-EE14-47B2-A600-D760E722CC5C}"/>
                </a:ext>
              </a:extLst>
            </p:cNvPr>
            <p:cNvSpPr/>
            <p:nvPr/>
          </p:nvSpPr>
          <p:spPr>
            <a:xfrm>
              <a:off x="7565685" y="2931655"/>
              <a:ext cx="244415" cy="200366"/>
            </a:xfrm>
            <a:custGeom>
              <a:avLst/>
              <a:gdLst>
                <a:gd name="connsiteX0" fmla="*/ 242862 w 244415"/>
                <a:gd name="connsiteY0" fmla="*/ 8393 h 200366"/>
                <a:gd name="connsiteX1" fmla="*/ 243205 w 244415"/>
                <a:gd name="connsiteY1" fmla="*/ 1752 h 200366"/>
                <a:gd name="connsiteX2" fmla="*/ 242862 w 244415"/>
                <a:gd name="connsiteY2" fmla="*/ 1409 h 200366"/>
                <a:gd name="connsiteX3" fmla="*/ 235244 w 244415"/>
                <a:gd name="connsiteY3" fmla="*/ 1409 h 200366"/>
                <a:gd name="connsiteX4" fmla="*/ 235244 w 244415"/>
                <a:gd name="connsiteY4" fmla="*/ 1409 h 200366"/>
                <a:gd name="connsiteX5" fmla="*/ 228261 w 244415"/>
                <a:gd name="connsiteY5" fmla="*/ 6996 h 200366"/>
                <a:gd name="connsiteX6" fmla="*/ 3273 w 244415"/>
                <a:gd name="connsiteY6" fmla="*/ 190082 h 200366"/>
                <a:gd name="connsiteX7" fmla="*/ 1623 w 244415"/>
                <a:gd name="connsiteY7" fmla="*/ 191733 h 200366"/>
                <a:gd name="connsiteX8" fmla="*/ 1076 w 244415"/>
                <a:gd name="connsiteY8" fmla="*/ 198170 h 200366"/>
                <a:gd name="connsiteX9" fmla="*/ 1623 w 244415"/>
                <a:gd name="connsiteY9" fmla="*/ 198716 h 200366"/>
                <a:gd name="connsiteX10" fmla="*/ 5559 w 244415"/>
                <a:gd name="connsiteY10" fmla="*/ 200367 h 200366"/>
                <a:gd name="connsiteX11" fmla="*/ 8987 w 244415"/>
                <a:gd name="connsiteY11" fmla="*/ 199224 h 200366"/>
                <a:gd name="connsiteX12" fmla="*/ 8987 w 244415"/>
                <a:gd name="connsiteY12" fmla="*/ 199224 h 200366"/>
                <a:gd name="connsiteX13" fmla="*/ 10764 w 244415"/>
                <a:gd name="connsiteY13" fmla="*/ 197700 h 200366"/>
                <a:gd name="connsiteX14" fmla="*/ 234101 w 244415"/>
                <a:gd name="connsiteY14" fmla="*/ 16011 h 200366"/>
                <a:gd name="connsiteX15" fmla="*/ 243116 w 244415"/>
                <a:gd name="connsiteY15" fmla="*/ 8773 h 2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15" h="200366">
                  <a:moveTo>
                    <a:pt x="242862" y="8393"/>
                  </a:moveTo>
                  <a:cubicBezTo>
                    <a:pt x="244792" y="6653"/>
                    <a:pt x="244945" y="3682"/>
                    <a:pt x="243205" y="1752"/>
                  </a:cubicBezTo>
                  <a:cubicBezTo>
                    <a:pt x="243103" y="1638"/>
                    <a:pt x="242989" y="1524"/>
                    <a:pt x="242862" y="1409"/>
                  </a:cubicBezTo>
                  <a:cubicBezTo>
                    <a:pt x="240678" y="-470"/>
                    <a:pt x="237428" y="-470"/>
                    <a:pt x="235244" y="1409"/>
                  </a:cubicBezTo>
                  <a:lnTo>
                    <a:pt x="235244" y="1409"/>
                  </a:lnTo>
                  <a:lnTo>
                    <a:pt x="228261" y="6996"/>
                  </a:lnTo>
                  <a:lnTo>
                    <a:pt x="3273" y="190082"/>
                  </a:lnTo>
                  <a:lnTo>
                    <a:pt x="1623" y="191733"/>
                  </a:lnTo>
                  <a:cubicBezTo>
                    <a:pt x="-307" y="193358"/>
                    <a:pt x="-549" y="196240"/>
                    <a:pt x="1076" y="198170"/>
                  </a:cubicBezTo>
                  <a:cubicBezTo>
                    <a:pt x="1241" y="198373"/>
                    <a:pt x="1432" y="198551"/>
                    <a:pt x="1623" y="198716"/>
                  </a:cubicBezTo>
                  <a:cubicBezTo>
                    <a:pt x="2676" y="199745"/>
                    <a:pt x="4085" y="200329"/>
                    <a:pt x="5559" y="200367"/>
                  </a:cubicBezTo>
                  <a:cubicBezTo>
                    <a:pt x="6790" y="200316"/>
                    <a:pt x="7971" y="199922"/>
                    <a:pt x="8987" y="199224"/>
                  </a:cubicBezTo>
                  <a:lnTo>
                    <a:pt x="8987" y="199224"/>
                  </a:lnTo>
                  <a:lnTo>
                    <a:pt x="10764" y="197700"/>
                  </a:lnTo>
                  <a:lnTo>
                    <a:pt x="234101" y="16011"/>
                  </a:lnTo>
                  <a:lnTo>
                    <a:pt x="243116" y="8773"/>
                  </a:lnTo>
                  <a:close/>
                </a:path>
              </a:pathLst>
            </a:custGeom>
            <a:solidFill>
              <a:srgbClr val="000000"/>
            </a:solidFill>
            <a:ln w="12690" cap="flat">
              <a:noFill/>
              <a:prstDash val="solid"/>
              <a:miter/>
            </a:ln>
          </p:spPr>
          <p:txBody>
            <a:bodyPr rtlCol="0" anchor="ctr"/>
            <a:lstStyle/>
            <a:p>
              <a:endParaRPr lang="en-US"/>
            </a:p>
          </p:txBody>
        </p:sp>
        <p:sp>
          <p:nvSpPr>
            <p:cNvPr id="567" name="Freeform: Shape 566">
              <a:extLst>
                <a:ext uri="{FF2B5EF4-FFF2-40B4-BE49-F238E27FC236}">
                  <a16:creationId xmlns:a16="http://schemas.microsoft.com/office/drawing/2014/main" id="{92B17FA7-823C-402E-B484-CF6E90BE926B}"/>
                </a:ext>
              </a:extLst>
            </p:cNvPr>
            <p:cNvSpPr/>
            <p:nvPr/>
          </p:nvSpPr>
          <p:spPr>
            <a:xfrm>
              <a:off x="8753699" y="4055453"/>
              <a:ext cx="1077579" cy="336335"/>
            </a:xfrm>
            <a:custGeom>
              <a:avLst/>
              <a:gdLst>
                <a:gd name="connsiteX0" fmla="*/ 1075294 w 1077579"/>
                <a:gd name="connsiteY0" fmla="*/ 336082 h 336335"/>
                <a:gd name="connsiteX1" fmla="*/ 1074532 w 1077579"/>
                <a:gd name="connsiteY1" fmla="*/ 336082 h 336335"/>
                <a:gd name="connsiteX2" fmla="*/ 1073898 w 1077579"/>
                <a:gd name="connsiteY2" fmla="*/ 335320 h 336335"/>
                <a:gd name="connsiteX3" fmla="*/ 1073898 w 1077579"/>
                <a:gd name="connsiteY3" fmla="*/ 335320 h 336335"/>
                <a:gd name="connsiteX4" fmla="*/ 1073898 w 1077579"/>
                <a:gd name="connsiteY4" fmla="*/ 334431 h 336335"/>
                <a:gd name="connsiteX5" fmla="*/ 1073898 w 1077579"/>
                <a:gd name="connsiteY5" fmla="*/ 333416 h 336335"/>
                <a:gd name="connsiteX6" fmla="*/ 1073898 w 1077579"/>
                <a:gd name="connsiteY6" fmla="*/ 324909 h 336335"/>
                <a:gd name="connsiteX7" fmla="*/ 0 w 1077579"/>
                <a:gd name="connsiteY7" fmla="*/ 0 h 336335"/>
                <a:gd name="connsiteX8" fmla="*/ 0 w 1077579"/>
                <a:gd name="connsiteY8" fmla="*/ 10284 h 336335"/>
                <a:gd name="connsiteX9" fmla="*/ 1077580 w 1077579"/>
                <a:gd name="connsiteY9" fmla="*/ 336336 h 336335"/>
                <a:gd name="connsiteX10" fmla="*/ 1077580 w 1077579"/>
                <a:gd name="connsiteY10" fmla="*/ 336336 h 33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579" h="336335">
                  <a:moveTo>
                    <a:pt x="1075294" y="336082"/>
                  </a:moveTo>
                  <a:lnTo>
                    <a:pt x="1074532" y="336082"/>
                  </a:lnTo>
                  <a:cubicBezTo>
                    <a:pt x="1074228" y="335930"/>
                    <a:pt x="1073999" y="335650"/>
                    <a:pt x="1073898" y="335320"/>
                  </a:cubicBezTo>
                  <a:lnTo>
                    <a:pt x="1073898" y="335320"/>
                  </a:lnTo>
                  <a:cubicBezTo>
                    <a:pt x="1073910" y="335028"/>
                    <a:pt x="1073910" y="334723"/>
                    <a:pt x="1073898" y="334431"/>
                  </a:cubicBezTo>
                  <a:cubicBezTo>
                    <a:pt x="1073898" y="334431"/>
                    <a:pt x="1073898" y="333796"/>
                    <a:pt x="1073898" y="333416"/>
                  </a:cubicBezTo>
                  <a:lnTo>
                    <a:pt x="1073898" y="324909"/>
                  </a:lnTo>
                  <a:lnTo>
                    <a:pt x="0" y="0"/>
                  </a:lnTo>
                  <a:lnTo>
                    <a:pt x="0" y="10284"/>
                  </a:lnTo>
                  <a:lnTo>
                    <a:pt x="1077580" y="336336"/>
                  </a:lnTo>
                  <a:lnTo>
                    <a:pt x="1077580" y="336336"/>
                  </a:lnTo>
                  <a:close/>
                </a:path>
              </a:pathLst>
            </a:custGeom>
            <a:solidFill>
              <a:srgbClr val="000000"/>
            </a:solidFill>
            <a:ln w="12690"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325EAD3D-658D-49FD-87E2-79BB7520E290}"/>
                </a:ext>
              </a:extLst>
            </p:cNvPr>
            <p:cNvSpPr/>
            <p:nvPr/>
          </p:nvSpPr>
          <p:spPr>
            <a:xfrm>
              <a:off x="5826572" y="3347231"/>
              <a:ext cx="2872148" cy="449844"/>
            </a:xfrm>
            <a:custGeom>
              <a:avLst/>
              <a:gdLst>
                <a:gd name="connsiteX0" fmla="*/ 2872149 w 2872148"/>
                <a:gd name="connsiteY0" fmla="*/ 441464 h 449844"/>
                <a:gd name="connsiteX1" fmla="*/ 6983 w 2872148"/>
                <a:gd name="connsiteY1" fmla="*/ 0 h 449844"/>
                <a:gd name="connsiteX2" fmla="*/ 6983 w 2872148"/>
                <a:gd name="connsiteY2" fmla="*/ 4698 h 449844"/>
                <a:gd name="connsiteX3" fmla="*/ 1536 w 2872148"/>
                <a:gd name="connsiteY3" fmla="*/ 9650 h 449844"/>
                <a:gd name="connsiteX4" fmla="*/ 1524 w 2872148"/>
                <a:gd name="connsiteY4" fmla="*/ 9650 h 449844"/>
                <a:gd name="connsiteX5" fmla="*/ 0 w 2872148"/>
                <a:gd name="connsiteY5" fmla="*/ 9650 h 449844"/>
                <a:gd name="connsiteX6" fmla="*/ 1270 w 2872148"/>
                <a:gd name="connsiteY6" fmla="*/ 9650 h 449844"/>
                <a:gd name="connsiteX7" fmla="*/ 2861864 w 2872148"/>
                <a:gd name="connsiteY7" fmla="*/ 449844 h 449844"/>
                <a:gd name="connsiteX8" fmla="*/ 2870245 w 2872148"/>
                <a:gd name="connsiteY8" fmla="*/ 443115 h 44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2148" h="449844">
                  <a:moveTo>
                    <a:pt x="2872149" y="441464"/>
                  </a:moveTo>
                  <a:lnTo>
                    <a:pt x="6983" y="0"/>
                  </a:lnTo>
                  <a:lnTo>
                    <a:pt x="6983" y="4698"/>
                  </a:lnTo>
                  <a:cubicBezTo>
                    <a:pt x="6844" y="7567"/>
                    <a:pt x="4406" y="9789"/>
                    <a:pt x="1536" y="9650"/>
                  </a:cubicBezTo>
                  <a:cubicBezTo>
                    <a:pt x="1536" y="9650"/>
                    <a:pt x="1524" y="9650"/>
                    <a:pt x="1524" y="9650"/>
                  </a:cubicBezTo>
                  <a:lnTo>
                    <a:pt x="0" y="9650"/>
                  </a:lnTo>
                  <a:lnTo>
                    <a:pt x="1270" y="9650"/>
                  </a:lnTo>
                  <a:lnTo>
                    <a:pt x="2861864" y="449844"/>
                  </a:lnTo>
                  <a:lnTo>
                    <a:pt x="2870245" y="443115"/>
                  </a:lnTo>
                  <a:close/>
                </a:path>
              </a:pathLst>
            </a:custGeom>
            <a:solidFill>
              <a:srgbClr val="000000"/>
            </a:solidFill>
            <a:ln w="12690"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CE2E845E-6E70-49AB-94B8-94F3C01425F0}"/>
                </a:ext>
              </a:extLst>
            </p:cNvPr>
            <p:cNvSpPr/>
            <p:nvPr/>
          </p:nvSpPr>
          <p:spPr>
            <a:xfrm>
              <a:off x="9826485" y="4183944"/>
              <a:ext cx="10633" cy="203781"/>
            </a:xfrm>
            <a:custGeom>
              <a:avLst/>
              <a:gdLst>
                <a:gd name="connsiteX0" fmla="*/ 3777 w 10633"/>
                <a:gd name="connsiteY0" fmla="*/ 1143 h 203781"/>
                <a:gd name="connsiteX1" fmla="*/ 3777 w 10633"/>
                <a:gd name="connsiteY1" fmla="*/ 1143 h 203781"/>
                <a:gd name="connsiteX2" fmla="*/ 95 w 10633"/>
                <a:gd name="connsiteY2" fmla="*/ 0 h 203781"/>
                <a:gd name="connsiteX3" fmla="*/ 95 w 10633"/>
                <a:gd name="connsiteY3" fmla="*/ 203782 h 203781"/>
                <a:gd name="connsiteX4" fmla="*/ 95 w 10633"/>
                <a:gd name="connsiteY4" fmla="*/ 202132 h 203781"/>
                <a:gd name="connsiteX5" fmla="*/ 6824 w 10633"/>
                <a:gd name="connsiteY5" fmla="*/ 198830 h 203781"/>
                <a:gd name="connsiteX6" fmla="*/ 10634 w 10633"/>
                <a:gd name="connsiteY6" fmla="*/ 199973 h 203781"/>
                <a:gd name="connsiteX7" fmla="*/ 10634 w 10633"/>
                <a:gd name="connsiteY7" fmla="*/ 3174 h 20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3" h="203781">
                  <a:moveTo>
                    <a:pt x="3777" y="1143"/>
                  </a:moveTo>
                  <a:lnTo>
                    <a:pt x="3777" y="1143"/>
                  </a:lnTo>
                  <a:lnTo>
                    <a:pt x="95" y="0"/>
                  </a:lnTo>
                  <a:lnTo>
                    <a:pt x="95" y="203782"/>
                  </a:lnTo>
                  <a:cubicBezTo>
                    <a:pt x="-32" y="203236"/>
                    <a:pt x="-32" y="202678"/>
                    <a:pt x="95" y="202132"/>
                  </a:cubicBezTo>
                  <a:cubicBezTo>
                    <a:pt x="1111" y="199427"/>
                    <a:pt x="4057" y="197980"/>
                    <a:pt x="6824" y="198830"/>
                  </a:cubicBezTo>
                  <a:lnTo>
                    <a:pt x="10634" y="199973"/>
                  </a:lnTo>
                  <a:lnTo>
                    <a:pt x="10634" y="3174"/>
                  </a:lnTo>
                  <a:close/>
                </a:path>
              </a:pathLst>
            </a:custGeom>
            <a:solidFill>
              <a:srgbClr val="000000"/>
            </a:solidFill>
            <a:ln w="12690"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CE09F9A6-13EB-49E1-9849-771472751E85}"/>
                </a:ext>
              </a:extLst>
            </p:cNvPr>
            <p:cNvSpPr/>
            <p:nvPr/>
          </p:nvSpPr>
          <p:spPr>
            <a:xfrm>
              <a:off x="8655486" y="3824754"/>
              <a:ext cx="114" cy="635"/>
            </a:xfrm>
            <a:custGeom>
              <a:avLst/>
              <a:gdLst>
                <a:gd name="connsiteX0" fmla="*/ 67 w 114"/>
                <a:gd name="connsiteY0" fmla="*/ 0 h 635"/>
                <a:gd name="connsiteX1" fmla="*/ 67 w 114"/>
                <a:gd name="connsiteY1" fmla="*/ 0 h 635"/>
                <a:gd name="connsiteX2" fmla="*/ 67 w 114"/>
                <a:gd name="connsiteY2" fmla="*/ 635 h 635"/>
                <a:gd name="connsiteX3" fmla="*/ 67 w 114"/>
                <a:gd name="connsiteY3" fmla="*/ 635 h 635"/>
                <a:gd name="connsiteX4" fmla="*/ 67 w 114"/>
                <a:gd name="connsiteY4" fmla="*/ 0 h 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 h="635">
                  <a:moveTo>
                    <a:pt x="67" y="0"/>
                  </a:moveTo>
                  <a:lnTo>
                    <a:pt x="67" y="0"/>
                  </a:lnTo>
                  <a:cubicBezTo>
                    <a:pt x="130" y="203"/>
                    <a:pt x="130" y="432"/>
                    <a:pt x="67" y="635"/>
                  </a:cubicBezTo>
                  <a:lnTo>
                    <a:pt x="67" y="635"/>
                  </a:lnTo>
                  <a:cubicBezTo>
                    <a:pt x="-22" y="432"/>
                    <a:pt x="-22" y="203"/>
                    <a:pt x="67" y="0"/>
                  </a:cubicBezTo>
                  <a:close/>
                </a:path>
              </a:pathLst>
            </a:custGeom>
            <a:solidFill>
              <a:srgbClr val="000000"/>
            </a:solidFill>
            <a:ln w="12690"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CF0B6847-19D7-48C0-86BA-A1CDA198E9B9}"/>
                </a:ext>
              </a:extLst>
            </p:cNvPr>
            <p:cNvSpPr/>
            <p:nvPr/>
          </p:nvSpPr>
          <p:spPr>
            <a:xfrm>
              <a:off x="8666726" y="3826151"/>
              <a:ext cx="1164679" cy="359443"/>
            </a:xfrm>
            <a:custGeom>
              <a:avLst/>
              <a:gdLst>
                <a:gd name="connsiteX0" fmla="*/ 1163409 w 1164679"/>
                <a:gd name="connsiteY0" fmla="*/ 358936 h 359443"/>
                <a:gd name="connsiteX1" fmla="*/ 1163409 w 1164679"/>
                <a:gd name="connsiteY1" fmla="*/ 358936 h 359443"/>
                <a:gd name="connsiteX2" fmla="*/ 1162521 w 1164679"/>
                <a:gd name="connsiteY2" fmla="*/ 358936 h 359443"/>
                <a:gd name="connsiteX3" fmla="*/ 1161505 w 1164679"/>
                <a:gd name="connsiteY3" fmla="*/ 358174 h 359443"/>
                <a:gd name="connsiteX4" fmla="*/ 1161505 w 1164679"/>
                <a:gd name="connsiteY4" fmla="*/ 358174 h 359443"/>
                <a:gd name="connsiteX5" fmla="*/ 1161505 w 1164679"/>
                <a:gd name="connsiteY5" fmla="*/ 358174 h 359443"/>
                <a:gd name="connsiteX6" fmla="*/ 1161505 w 1164679"/>
                <a:gd name="connsiteY6" fmla="*/ 357285 h 359443"/>
                <a:gd name="connsiteX7" fmla="*/ 1161505 w 1164679"/>
                <a:gd name="connsiteY7" fmla="*/ 356397 h 359443"/>
                <a:gd name="connsiteX8" fmla="*/ 1161505 w 1164679"/>
                <a:gd name="connsiteY8" fmla="*/ 355508 h 359443"/>
                <a:gd name="connsiteX9" fmla="*/ 1161505 w 1164679"/>
                <a:gd name="connsiteY9" fmla="*/ 354492 h 359443"/>
                <a:gd name="connsiteX10" fmla="*/ 1161505 w 1164679"/>
                <a:gd name="connsiteY10" fmla="*/ 353857 h 359443"/>
                <a:gd name="connsiteX11" fmla="*/ 1161505 w 1164679"/>
                <a:gd name="connsiteY11" fmla="*/ 353857 h 359443"/>
                <a:gd name="connsiteX12" fmla="*/ 1161505 w 1164679"/>
                <a:gd name="connsiteY12" fmla="*/ 353095 h 359443"/>
                <a:gd name="connsiteX13" fmla="*/ 1162267 w 1164679"/>
                <a:gd name="connsiteY13" fmla="*/ 352206 h 359443"/>
                <a:gd name="connsiteX14" fmla="*/ 1162267 w 1164679"/>
                <a:gd name="connsiteY14" fmla="*/ 352206 h 359443"/>
                <a:gd name="connsiteX15" fmla="*/ 1164680 w 1164679"/>
                <a:gd name="connsiteY15" fmla="*/ 350302 h 359443"/>
                <a:gd name="connsiteX16" fmla="*/ 5078 w 1164679"/>
                <a:gd name="connsiteY16" fmla="*/ 0 h 359443"/>
                <a:gd name="connsiteX17" fmla="*/ 0 w 1164679"/>
                <a:gd name="connsiteY17" fmla="*/ 4063 h 359443"/>
                <a:gd name="connsiteX18" fmla="*/ 0 w 1164679"/>
                <a:gd name="connsiteY18" fmla="*/ 8761 h 359443"/>
                <a:gd name="connsiteX19" fmla="*/ 1160489 w 1164679"/>
                <a:gd name="connsiteY19" fmla="*/ 359444 h 35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679" h="359443">
                  <a:moveTo>
                    <a:pt x="1163409" y="358936"/>
                  </a:moveTo>
                  <a:lnTo>
                    <a:pt x="1163409" y="358936"/>
                  </a:lnTo>
                  <a:lnTo>
                    <a:pt x="1162521" y="358936"/>
                  </a:lnTo>
                  <a:lnTo>
                    <a:pt x="1161505" y="358174"/>
                  </a:lnTo>
                  <a:lnTo>
                    <a:pt x="1161505" y="358174"/>
                  </a:lnTo>
                  <a:lnTo>
                    <a:pt x="1161505" y="358174"/>
                  </a:lnTo>
                  <a:lnTo>
                    <a:pt x="1161505" y="357285"/>
                  </a:lnTo>
                  <a:cubicBezTo>
                    <a:pt x="1161454" y="356993"/>
                    <a:pt x="1161454" y="356688"/>
                    <a:pt x="1161505" y="356397"/>
                  </a:cubicBezTo>
                  <a:cubicBezTo>
                    <a:pt x="1161442" y="356104"/>
                    <a:pt x="1161442" y="355800"/>
                    <a:pt x="1161505" y="355508"/>
                  </a:cubicBezTo>
                  <a:lnTo>
                    <a:pt x="1161505" y="354492"/>
                  </a:lnTo>
                  <a:cubicBezTo>
                    <a:pt x="1161505" y="354492"/>
                    <a:pt x="1161505" y="354492"/>
                    <a:pt x="1161505" y="353857"/>
                  </a:cubicBezTo>
                  <a:lnTo>
                    <a:pt x="1161505" y="353857"/>
                  </a:lnTo>
                  <a:lnTo>
                    <a:pt x="1161505" y="353095"/>
                  </a:lnTo>
                  <a:lnTo>
                    <a:pt x="1162267" y="352206"/>
                  </a:lnTo>
                  <a:cubicBezTo>
                    <a:pt x="1162267" y="352206"/>
                    <a:pt x="1162267" y="352206"/>
                    <a:pt x="1162267" y="352206"/>
                  </a:cubicBezTo>
                  <a:lnTo>
                    <a:pt x="1164680" y="350302"/>
                  </a:lnTo>
                  <a:lnTo>
                    <a:pt x="5078" y="0"/>
                  </a:lnTo>
                  <a:lnTo>
                    <a:pt x="0" y="4063"/>
                  </a:lnTo>
                  <a:lnTo>
                    <a:pt x="0" y="8761"/>
                  </a:lnTo>
                  <a:lnTo>
                    <a:pt x="1160489" y="359444"/>
                  </a:lnTo>
                  <a:close/>
                </a:path>
              </a:pathLst>
            </a:custGeom>
            <a:solidFill>
              <a:srgbClr val="000000"/>
            </a:solidFill>
            <a:ln w="12690"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7A0D1969-2309-4527-B565-0D382ACAE20A}"/>
                </a:ext>
              </a:extLst>
            </p:cNvPr>
            <p:cNvSpPr/>
            <p:nvPr/>
          </p:nvSpPr>
          <p:spPr>
            <a:xfrm>
              <a:off x="9828739" y="3715943"/>
              <a:ext cx="569960" cy="461779"/>
            </a:xfrm>
            <a:custGeom>
              <a:avLst/>
              <a:gdLst>
                <a:gd name="connsiteX0" fmla="*/ 566914 w 569960"/>
                <a:gd name="connsiteY0" fmla="*/ 8634 h 461779"/>
                <a:gd name="connsiteX1" fmla="*/ 563447 w 569960"/>
                <a:gd name="connsiteY1" fmla="*/ 2552 h 461779"/>
                <a:gd name="connsiteX2" fmla="*/ 563485 w 569960"/>
                <a:gd name="connsiteY2" fmla="*/ 2412 h 461779"/>
                <a:gd name="connsiteX3" fmla="*/ 565517 w 569960"/>
                <a:gd name="connsiteY3" fmla="*/ 0 h 461779"/>
                <a:gd name="connsiteX4" fmla="*/ 565517 w 569960"/>
                <a:gd name="connsiteY4" fmla="*/ 0 h 461779"/>
                <a:gd name="connsiteX5" fmla="*/ 558533 w 569960"/>
                <a:gd name="connsiteY5" fmla="*/ 5586 h 461779"/>
                <a:gd name="connsiteX6" fmla="*/ 2412 w 569960"/>
                <a:gd name="connsiteY6" fmla="*/ 458478 h 461779"/>
                <a:gd name="connsiteX7" fmla="*/ 0 w 569960"/>
                <a:gd name="connsiteY7" fmla="*/ 460382 h 461779"/>
                <a:gd name="connsiteX8" fmla="*/ 0 w 569960"/>
                <a:gd name="connsiteY8" fmla="*/ 460382 h 461779"/>
                <a:gd name="connsiteX9" fmla="*/ 5460 w 569960"/>
                <a:gd name="connsiteY9" fmla="*/ 459113 h 461779"/>
                <a:gd name="connsiteX10" fmla="*/ 14347 w 569960"/>
                <a:gd name="connsiteY10" fmla="*/ 461779 h 461779"/>
                <a:gd name="connsiteX11" fmla="*/ 569961 w 569960"/>
                <a:gd name="connsiteY11" fmla="*/ 9523 h 46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9960" h="461779">
                  <a:moveTo>
                    <a:pt x="566914" y="8634"/>
                  </a:moveTo>
                  <a:cubicBezTo>
                    <a:pt x="564273" y="7910"/>
                    <a:pt x="562723" y="5193"/>
                    <a:pt x="563447" y="2552"/>
                  </a:cubicBezTo>
                  <a:cubicBezTo>
                    <a:pt x="563460" y="2501"/>
                    <a:pt x="563473" y="2463"/>
                    <a:pt x="563485" y="2412"/>
                  </a:cubicBezTo>
                  <a:cubicBezTo>
                    <a:pt x="563904" y="1422"/>
                    <a:pt x="564615" y="584"/>
                    <a:pt x="565517" y="0"/>
                  </a:cubicBezTo>
                  <a:lnTo>
                    <a:pt x="565517" y="0"/>
                  </a:lnTo>
                  <a:lnTo>
                    <a:pt x="558533" y="5586"/>
                  </a:lnTo>
                  <a:lnTo>
                    <a:pt x="2412" y="458478"/>
                  </a:lnTo>
                  <a:lnTo>
                    <a:pt x="0" y="460382"/>
                  </a:lnTo>
                  <a:cubicBezTo>
                    <a:pt x="0" y="460382"/>
                    <a:pt x="0" y="460382"/>
                    <a:pt x="0" y="460382"/>
                  </a:cubicBezTo>
                  <a:cubicBezTo>
                    <a:pt x="1499" y="459075"/>
                    <a:pt x="3542" y="458605"/>
                    <a:pt x="5460" y="459113"/>
                  </a:cubicBezTo>
                  <a:lnTo>
                    <a:pt x="14347" y="461779"/>
                  </a:lnTo>
                  <a:lnTo>
                    <a:pt x="569961" y="9523"/>
                  </a:lnTo>
                  <a:close/>
                </a:path>
              </a:pathLst>
            </a:custGeom>
            <a:solidFill>
              <a:srgbClr val="000000"/>
            </a:solidFill>
            <a:ln w="12690" cap="flat">
              <a:noFill/>
              <a:prstDash val="solid"/>
              <a:miter/>
            </a:ln>
          </p:spPr>
          <p:txBody>
            <a:bodyPr rtlCol="0" anchor="ctr"/>
            <a:lstStyle/>
            <a:p>
              <a:endParaRPr lang="en-US"/>
            </a:p>
          </p:txBody>
        </p:sp>
        <p:sp>
          <p:nvSpPr>
            <p:cNvPr id="573" name="Freeform: Shape 572">
              <a:extLst>
                <a:ext uri="{FF2B5EF4-FFF2-40B4-BE49-F238E27FC236}">
                  <a16:creationId xmlns:a16="http://schemas.microsoft.com/office/drawing/2014/main" id="{0A5D9D3E-7913-4F41-9245-F3F8CFB57DFC}"/>
                </a:ext>
              </a:extLst>
            </p:cNvPr>
            <p:cNvSpPr/>
            <p:nvPr/>
          </p:nvSpPr>
          <p:spPr>
            <a:xfrm>
              <a:off x="9828104" y="41838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74" name="Freeform: Shape 573">
              <a:extLst>
                <a:ext uri="{FF2B5EF4-FFF2-40B4-BE49-F238E27FC236}">
                  <a16:creationId xmlns:a16="http://schemas.microsoft.com/office/drawing/2014/main" id="{6F433BA3-B2E0-456B-A0B6-481438B9997A}"/>
                </a:ext>
              </a:extLst>
            </p:cNvPr>
            <p:cNvSpPr/>
            <p:nvPr/>
          </p:nvSpPr>
          <p:spPr>
            <a:xfrm>
              <a:off x="5823017" y="3142941"/>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575" name="Freeform: Shape 574">
              <a:extLst>
                <a:ext uri="{FF2B5EF4-FFF2-40B4-BE49-F238E27FC236}">
                  <a16:creationId xmlns:a16="http://schemas.microsoft.com/office/drawing/2014/main" id="{6D9E2D1F-52BC-4F16-B043-6F54EF066A6B}"/>
                </a:ext>
              </a:extLst>
            </p:cNvPr>
            <p:cNvSpPr/>
            <p:nvPr/>
          </p:nvSpPr>
          <p:spPr>
            <a:xfrm>
              <a:off x="5833556" y="3140528"/>
              <a:ext cx="3082407" cy="482728"/>
            </a:xfrm>
            <a:custGeom>
              <a:avLst/>
              <a:gdLst>
                <a:gd name="connsiteX0" fmla="*/ 0 w 3082407"/>
                <a:gd name="connsiteY0" fmla="*/ 9649 h 482728"/>
                <a:gd name="connsiteX1" fmla="*/ 3068949 w 3082407"/>
                <a:gd name="connsiteY1" fmla="*/ 482729 h 482728"/>
                <a:gd name="connsiteX2" fmla="*/ 3077330 w 3082407"/>
                <a:gd name="connsiteY2" fmla="*/ 475999 h 482728"/>
                <a:gd name="connsiteX3" fmla="*/ 3082408 w 3082407"/>
                <a:gd name="connsiteY3" fmla="*/ 474984 h 482728"/>
                <a:gd name="connsiteX4" fmla="*/ 3081773 w 3082407"/>
                <a:gd name="connsiteY4" fmla="*/ 474984 h 482728"/>
                <a:gd name="connsiteX5" fmla="*/ 2285 w 3082407"/>
                <a:gd name="connsiteY5" fmla="*/ 0 h 482728"/>
                <a:gd name="connsiteX6" fmla="*/ 0 w 3082407"/>
                <a:gd name="connsiteY6" fmla="*/ 4825 h 48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407" h="482728">
                  <a:moveTo>
                    <a:pt x="0" y="9649"/>
                  </a:moveTo>
                  <a:lnTo>
                    <a:pt x="3068949" y="482729"/>
                  </a:lnTo>
                  <a:lnTo>
                    <a:pt x="3077330" y="475999"/>
                  </a:lnTo>
                  <a:cubicBezTo>
                    <a:pt x="3078739" y="474806"/>
                    <a:pt x="3080656" y="474425"/>
                    <a:pt x="3082408" y="474984"/>
                  </a:cubicBezTo>
                  <a:lnTo>
                    <a:pt x="3081773" y="474984"/>
                  </a:lnTo>
                  <a:lnTo>
                    <a:pt x="2285" y="0"/>
                  </a:lnTo>
                  <a:lnTo>
                    <a:pt x="0" y="4825"/>
                  </a:lnTo>
                  <a:close/>
                </a:path>
              </a:pathLst>
            </a:custGeom>
            <a:solidFill>
              <a:srgbClr val="000000"/>
            </a:solidFill>
            <a:ln w="12690" cap="flat">
              <a:noFill/>
              <a:prstDash val="solid"/>
              <a:miter/>
            </a:ln>
          </p:spPr>
          <p:txBody>
            <a:bodyPr rtlCol="0" anchor="ctr"/>
            <a:lstStyle/>
            <a:p>
              <a:endParaRPr lang="en-US"/>
            </a:p>
          </p:txBody>
        </p:sp>
        <p:sp>
          <p:nvSpPr>
            <p:cNvPr id="576" name="Freeform: Shape 575">
              <a:extLst>
                <a:ext uri="{FF2B5EF4-FFF2-40B4-BE49-F238E27FC236}">
                  <a16:creationId xmlns:a16="http://schemas.microsoft.com/office/drawing/2014/main" id="{851A2706-F22E-4245-BA88-DC99D77E414B}"/>
                </a:ext>
              </a:extLst>
            </p:cNvPr>
            <p:cNvSpPr/>
            <p:nvPr/>
          </p:nvSpPr>
          <p:spPr>
            <a:xfrm>
              <a:off x="8919773" y="362097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577" name="Freeform: Shape 576">
              <a:extLst>
                <a:ext uri="{FF2B5EF4-FFF2-40B4-BE49-F238E27FC236}">
                  <a16:creationId xmlns:a16="http://schemas.microsoft.com/office/drawing/2014/main" id="{47E8660C-2934-424D-8975-FA77D4983B30}"/>
                </a:ext>
              </a:extLst>
            </p:cNvPr>
            <p:cNvSpPr/>
            <p:nvPr/>
          </p:nvSpPr>
          <p:spPr>
            <a:xfrm>
              <a:off x="11519067" y="324794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78" name="Freeform: Shape 577">
              <a:extLst>
                <a:ext uri="{FF2B5EF4-FFF2-40B4-BE49-F238E27FC236}">
                  <a16:creationId xmlns:a16="http://schemas.microsoft.com/office/drawing/2014/main" id="{5025475E-C4F9-444D-900C-5530FCC025E8}"/>
                </a:ext>
              </a:extLst>
            </p:cNvPr>
            <p:cNvSpPr/>
            <p:nvPr/>
          </p:nvSpPr>
          <p:spPr>
            <a:xfrm>
              <a:off x="11449234" y="3247181"/>
              <a:ext cx="62849" cy="64245"/>
            </a:xfrm>
            <a:custGeom>
              <a:avLst/>
              <a:gdLst>
                <a:gd name="connsiteX0" fmla="*/ 62849 w 62849"/>
                <a:gd name="connsiteY0" fmla="*/ 0 h 64245"/>
                <a:gd name="connsiteX1" fmla="*/ 62215 w 62849"/>
                <a:gd name="connsiteY1" fmla="*/ 0 h 64245"/>
                <a:gd name="connsiteX2" fmla="*/ 1524 w 62849"/>
                <a:gd name="connsiteY2" fmla="*/ 49644 h 64245"/>
                <a:gd name="connsiteX3" fmla="*/ 1524 w 62849"/>
                <a:gd name="connsiteY3" fmla="*/ 60563 h 64245"/>
                <a:gd name="connsiteX4" fmla="*/ 1524 w 62849"/>
                <a:gd name="connsiteY4" fmla="*/ 61325 h 64245"/>
                <a:gd name="connsiteX5" fmla="*/ 1524 w 62849"/>
                <a:gd name="connsiteY5" fmla="*/ 62214 h 64245"/>
                <a:gd name="connsiteX6" fmla="*/ 1524 w 62849"/>
                <a:gd name="connsiteY6" fmla="*/ 62214 h 64245"/>
                <a:gd name="connsiteX7" fmla="*/ 0 w 62849"/>
                <a:gd name="connsiteY7" fmla="*/ 64245 h 64245"/>
                <a:gd name="connsiteX8" fmla="*/ 0 w 62849"/>
                <a:gd name="connsiteY8" fmla="*/ 64245 h 64245"/>
                <a:gd name="connsiteX9" fmla="*/ 60691 w 62849"/>
                <a:gd name="connsiteY9" fmla="*/ 14601 h 64245"/>
                <a:gd name="connsiteX10" fmla="*/ 60691 w 62849"/>
                <a:gd name="connsiteY10" fmla="*/ 3682 h 64245"/>
                <a:gd name="connsiteX11" fmla="*/ 62849 w 62849"/>
                <a:gd name="connsiteY11" fmla="*/ 0 h 6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49" h="64245">
                  <a:moveTo>
                    <a:pt x="62849" y="0"/>
                  </a:moveTo>
                  <a:lnTo>
                    <a:pt x="62215" y="0"/>
                  </a:lnTo>
                  <a:lnTo>
                    <a:pt x="1524" y="49644"/>
                  </a:lnTo>
                  <a:lnTo>
                    <a:pt x="1524" y="60563"/>
                  </a:lnTo>
                  <a:cubicBezTo>
                    <a:pt x="1524" y="60563"/>
                    <a:pt x="1524" y="60563"/>
                    <a:pt x="1524" y="61325"/>
                  </a:cubicBezTo>
                  <a:cubicBezTo>
                    <a:pt x="1524" y="62087"/>
                    <a:pt x="1524" y="61960"/>
                    <a:pt x="1524" y="62214"/>
                  </a:cubicBezTo>
                  <a:lnTo>
                    <a:pt x="1524" y="62214"/>
                  </a:lnTo>
                  <a:cubicBezTo>
                    <a:pt x="1181" y="63001"/>
                    <a:pt x="660" y="63687"/>
                    <a:pt x="0" y="64245"/>
                  </a:cubicBezTo>
                  <a:lnTo>
                    <a:pt x="0" y="64245"/>
                  </a:lnTo>
                  <a:lnTo>
                    <a:pt x="60691" y="14601"/>
                  </a:lnTo>
                  <a:lnTo>
                    <a:pt x="60691" y="3682"/>
                  </a:lnTo>
                  <a:cubicBezTo>
                    <a:pt x="60805" y="2184"/>
                    <a:pt x="61592" y="825"/>
                    <a:pt x="62849" y="0"/>
                  </a:cubicBezTo>
                  <a:close/>
                </a:path>
              </a:pathLst>
            </a:custGeom>
            <a:solidFill>
              <a:srgbClr val="000000"/>
            </a:solidFill>
            <a:ln w="12690" cap="flat">
              <a:noFill/>
              <a:prstDash val="solid"/>
              <a:miter/>
            </a:ln>
          </p:spPr>
          <p:txBody>
            <a:bodyPr rtlCol="0" anchor="ctr"/>
            <a:lstStyle/>
            <a:p>
              <a:endParaRPr lang="en-US"/>
            </a:p>
          </p:txBody>
        </p:sp>
        <p:sp>
          <p:nvSpPr>
            <p:cNvPr id="579" name="Freeform: Shape 578">
              <a:extLst>
                <a:ext uri="{FF2B5EF4-FFF2-40B4-BE49-F238E27FC236}">
                  <a16:creationId xmlns:a16="http://schemas.microsoft.com/office/drawing/2014/main" id="{B60D164B-7B29-4FF3-A199-2A7C1E3CF597}"/>
                </a:ext>
              </a:extLst>
            </p:cNvPr>
            <p:cNvSpPr/>
            <p:nvPr/>
          </p:nvSpPr>
          <p:spPr>
            <a:xfrm>
              <a:off x="11450504" y="3308612"/>
              <a:ext cx="12696" cy="1289"/>
            </a:xfrm>
            <a:custGeom>
              <a:avLst/>
              <a:gdLst>
                <a:gd name="connsiteX0" fmla="*/ 0 w 12696"/>
                <a:gd name="connsiteY0" fmla="*/ 1163 h 1289"/>
                <a:gd name="connsiteX1" fmla="*/ 0 w 12696"/>
                <a:gd name="connsiteY1" fmla="*/ 274 h 1289"/>
                <a:gd name="connsiteX2" fmla="*/ 0 w 12696"/>
                <a:gd name="connsiteY2" fmla="*/ 1290 h 1289"/>
              </a:gdLst>
              <a:ahLst/>
              <a:cxnLst>
                <a:cxn ang="0">
                  <a:pos x="connsiteX0" y="connsiteY0"/>
                </a:cxn>
                <a:cxn ang="0">
                  <a:pos x="connsiteX1" y="connsiteY1"/>
                </a:cxn>
                <a:cxn ang="0">
                  <a:pos x="connsiteX2" y="connsiteY2"/>
                </a:cxn>
              </a:cxnLst>
              <a:rect l="l" t="t" r="r" b="b"/>
              <a:pathLst>
                <a:path w="12696" h="1289">
                  <a:moveTo>
                    <a:pt x="0" y="1163"/>
                  </a:moveTo>
                  <a:cubicBezTo>
                    <a:pt x="0" y="1163"/>
                    <a:pt x="0" y="1163"/>
                    <a:pt x="0" y="274"/>
                  </a:cubicBezTo>
                  <a:cubicBezTo>
                    <a:pt x="0" y="-614"/>
                    <a:pt x="0" y="909"/>
                    <a:pt x="0" y="1290"/>
                  </a:cubicBezTo>
                  <a:close/>
                </a:path>
              </a:pathLst>
            </a:custGeom>
            <a:solidFill>
              <a:srgbClr val="000000"/>
            </a:solidFill>
            <a:ln w="12690" cap="flat">
              <a:noFill/>
              <a:prstDash val="solid"/>
              <a:miter/>
            </a:ln>
          </p:spPr>
          <p:txBody>
            <a:bodyPr rtlCol="0" anchor="ctr"/>
            <a:lstStyle/>
            <a:p>
              <a:endParaRPr lang="en-US"/>
            </a:p>
          </p:txBody>
        </p:sp>
        <p:sp>
          <p:nvSpPr>
            <p:cNvPr id="580" name="Freeform: Shape 579">
              <a:extLst>
                <a:ext uri="{FF2B5EF4-FFF2-40B4-BE49-F238E27FC236}">
                  <a16:creationId xmlns:a16="http://schemas.microsoft.com/office/drawing/2014/main" id="{9BA5C683-F0E6-4E49-AF39-5A5CA0168BC9}"/>
                </a:ext>
              </a:extLst>
            </p:cNvPr>
            <p:cNvSpPr/>
            <p:nvPr/>
          </p:nvSpPr>
          <p:spPr>
            <a:xfrm>
              <a:off x="11308553" y="3261147"/>
              <a:ext cx="136745" cy="51431"/>
            </a:xfrm>
            <a:custGeom>
              <a:avLst/>
              <a:gdLst>
                <a:gd name="connsiteX0" fmla="*/ 131286 w 136745"/>
                <a:gd name="connsiteY0" fmla="*/ 46978 h 51431"/>
                <a:gd name="connsiteX1" fmla="*/ 131286 w 136745"/>
                <a:gd name="connsiteY1" fmla="*/ 39995 h 51431"/>
                <a:gd name="connsiteX2" fmla="*/ 0 w 136745"/>
                <a:gd name="connsiteY2" fmla="*/ 0 h 51431"/>
                <a:gd name="connsiteX3" fmla="*/ 0 w 136745"/>
                <a:gd name="connsiteY3" fmla="*/ 10284 h 51431"/>
                <a:gd name="connsiteX4" fmla="*/ 134967 w 136745"/>
                <a:gd name="connsiteY4" fmla="*/ 51422 h 51431"/>
                <a:gd name="connsiteX5" fmla="*/ 136745 w 136745"/>
                <a:gd name="connsiteY5" fmla="*/ 51422 h 51431"/>
                <a:gd name="connsiteX6" fmla="*/ 131286 w 136745"/>
                <a:gd name="connsiteY6" fmla="*/ 46978 h 5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45" h="51431">
                  <a:moveTo>
                    <a:pt x="131286" y="46978"/>
                  </a:moveTo>
                  <a:lnTo>
                    <a:pt x="131286" y="39995"/>
                  </a:lnTo>
                  <a:lnTo>
                    <a:pt x="0" y="0"/>
                  </a:lnTo>
                  <a:lnTo>
                    <a:pt x="0" y="10284"/>
                  </a:lnTo>
                  <a:lnTo>
                    <a:pt x="134967" y="51422"/>
                  </a:lnTo>
                  <a:lnTo>
                    <a:pt x="136745" y="51422"/>
                  </a:lnTo>
                  <a:cubicBezTo>
                    <a:pt x="134054" y="51587"/>
                    <a:pt x="131679" y="49657"/>
                    <a:pt x="131286" y="46978"/>
                  </a:cubicBezTo>
                  <a:close/>
                </a:path>
              </a:pathLst>
            </a:custGeom>
            <a:solidFill>
              <a:srgbClr val="000000"/>
            </a:solidFill>
            <a:ln w="12690" cap="flat">
              <a:noFill/>
              <a:prstDash val="solid"/>
              <a:miter/>
            </a:ln>
          </p:spPr>
          <p:txBody>
            <a:bodyPr rtlCol="0" anchor="ctr"/>
            <a:lstStyle/>
            <a:p>
              <a:endParaRPr lang="en-US"/>
            </a:p>
          </p:txBody>
        </p:sp>
        <p:sp>
          <p:nvSpPr>
            <p:cNvPr id="581" name="Freeform: Shape 580">
              <a:extLst>
                <a:ext uri="{FF2B5EF4-FFF2-40B4-BE49-F238E27FC236}">
                  <a16:creationId xmlns:a16="http://schemas.microsoft.com/office/drawing/2014/main" id="{AB3DE9B2-4448-4FC7-B443-424CBC1AE4FA}"/>
                </a:ext>
              </a:extLst>
            </p:cNvPr>
            <p:cNvSpPr/>
            <p:nvPr/>
          </p:nvSpPr>
          <p:spPr>
            <a:xfrm>
              <a:off x="11440093" y="3206551"/>
              <a:ext cx="10537" cy="106404"/>
            </a:xfrm>
            <a:custGeom>
              <a:avLst/>
              <a:gdLst>
                <a:gd name="connsiteX0" fmla="*/ 10538 w 10537"/>
                <a:gd name="connsiteY0" fmla="*/ 102335 h 106404"/>
                <a:gd name="connsiteX1" fmla="*/ 10538 w 10537"/>
                <a:gd name="connsiteY1" fmla="*/ 101573 h 106404"/>
                <a:gd name="connsiteX2" fmla="*/ 10538 w 10537"/>
                <a:gd name="connsiteY2" fmla="*/ 0 h 106404"/>
                <a:gd name="connsiteX3" fmla="*/ 8761 w 10537"/>
                <a:gd name="connsiteY3" fmla="*/ 1397 h 106404"/>
                <a:gd name="connsiteX4" fmla="*/ 8761 w 10537"/>
                <a:gd name="connsiteY4" fmla="*/ 1397 h 106404"/>
                <a:gd name="connsiteX5" fmla="*/ 5460 w 10537"/>
                <a:gd name="connsiteY5" fmla="*/ 2539 h 106404"/>
                <a:gd name="connsiteX6" fmla="*/ 3682 w 10537"/>
                <a:gd name="connsiteY6" fmla="*/ 2539 h 106404"/>
                <a:gd name="connsiteX7" fmla="*/ 0 w 10537"/>
                <a:gd name="connsiteY7" fmla="*/ 1524 h 106404"/>
                <a:gd name="connsiteX8" fmla="*/ 0 w 10537"/>
                <a:gd name="connsiteY8" fmla="*/ 101447 h 106404"/>
                <a:gd name="connsiteX9" fmla="*/ 5446 w 10537"/>
                <a:gd name="connsiteY9" fmla="*/ 106398 h 106404"/>
                <a:gd name="connsiteX10" fmla="*/ 5460 w 10537"/>
                <a:gd name="connsiteY10" fmla="*/ 106398 h 106404"/>
                <a:gd name="connsiteX11" fmla="*/ 8252 w 10537"/>
                <a:gd name="connsiteY11" fmla="*/ 105636 h 106404"/>
                <a:gd name="connsiteX12" fmla="*/ 8252 w 10537"/>
                <a:gd name="connsiteY12" fmla="*/ 105636 h 106404"/>
                <a:gd name="connsiteX13" fmla="*/ 8252 w 10537"/>
                <a:gd name="connsiteY13" fmla="*/ 105636 h 106404"/>
                <a:gd name="connsiteX14" fmla="*/ 9776 w 10537"/>
                <a:gd name="connsiteY14" fmla="*/ 103605 h 106404"/>
                <a:gd name="connsiteX15" fmla="*/ 10538 w 10537"/>
                <a:gd name="connsiteY15" fmla="*/ 10233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7" h="106404">
                  <a:moveTo>
                    <a:pt x="10538" y="102335"/>
                  </a:moveTo>
                  <a:cubicBezTo>
                    <a:pt x="10538" y="102335"/>
                    <a:pt x="10538" y="102335"/>
                    <a:pt x="10538" y="101573"/>
                  </a:cubicBezTo>
                  <a:lnTo>
                    <a:pt x="10538" y="0"/>
                  </a:lnTo>
                  <a:lnTo>
                    <a:pt x="8761" y="1397"/>
                  </a:lnTo>
                  <a:lnTo>
                    <a:pt x="8761" y="1397"/>
                  </a:lnTo>
                  <a:cubicBezTo>
                    <a:pt x="7821" y="2133"/>
                    <a:pt x="6653" y="2527"/>
                    <a:pt x="5460" y="2539"/>
                  </a:cubicBezTo>
                  <a:cubicBezTo>
                    <a:pt x="4875" y="2666"/>
                    <a:pt x="4266" y="2666"/>
                    <a:pt x="3682" y="2539"/>
                  </a:cubicBezTo>
                  <a:lnTo>
                    <a:pt x="0" y="1524"/>
                  </a:lnTo>
                  <a:lnTo>
                    <a:pt x="0" y="101447"/>
                  </a:lnTo>
                  <a:cubicBezTo>
                    <a:pt x="139" y="104316"/>
                    <a:pt x="2577" y="106538"/>
                    <a:pt x="5446" y="106398"/>
                  </a:cubicBezTo>
                  <a:cubicBezTo>
                    <a:pt x="5446" y="106398"/>
                    <a:pt x="5460" y="106398"/>
                    <a:pt x="5460" y="106398"/>
                  </a:cubicBezTo>
                  <a:cubicBezTo>
                    <a:pt x="6437" y="106347"/>
                    <a:pt x="7389" y="106081"/>
                    <a:pt x="8252" y="105636"/>
                  </a:cubicBezTo>
                  <a:lnTo>
                    <a:pt x="8252" y="105636"/>
                  </a:lnTo>
                  <a:lnTo>
                    <a:pt x="8252" y="105636"/>
                  </a:lnTo>
                  <a:cubicBezTo>
                    <a:pt x="8900" y="105078"/>
                    <a:pt x="9433" y="104392"/>
                    <a:pt x="9776" y="103605"/>
                  </a:cubicBezTo>
                  <a:cubicBezTo>
                    <a:pt x="9776" y="103605"/>
                    <a:pt x="10411" y="102716"/>
                    <a:pt x="10538" y="102335"/>
                  </a:cubicBezTo>
                  <a:close/>
                </a:path>
              </a:pathLst>
            </a:custGeom>
            <a:solidFill>
              <a:srgbClr val="000000"/>
            </a:solidFill>
            <a:ln w="12690" cap="flat">
              <a:noFill/>
              <a:prstDash val="solid"/>
              <a:miter/>
            </a:ln>
          </p:spPr>
          <p:txBody>
            <a:bodyPr rtlCol="0" anchor="ctr"/>
            <a:lstStyle/>
            <a:p>
              <a:endParaRPr lang="en-US"/>
            </a:p>
          </p:txBody>
        </p:sp>
        <p:sp>
          <p:nvSpPr>
            <p:cNvPr id="582" name="Freeform: Shape 581">
              <a:extLst>
                <a:ext uri="{FF2B5EF4-FFF2-40B4-BE49-F238E27FC236}">
                  <a16:creationId xmlns:a16="http://schemas.microsoft.com/office/drawing/2014/main" id="{FAB2F728-3C32-4318-AC0A-B150D6855D1D}"/>
                </a:ext>
              </a:extLst>
            </p:cNvPr>
            <p:cNvSpPr/>
            <p:nvPr/>
          </p:nvSpPr>
          <p:spPr>
            <a:xfrm>
              <a:off x="11308680" y="3157796"/>
              <a:ext cx="136617" cy="51516"/>
            </a:xfrm>
            <a:custGeom>
              <a:avLst/>
              <a:gdLst>
                <a:gd name="connsiteX0" fmla="*/ 133063 w 136617"/>
                <a:gd name="connsiteY0" fmla="*/ 43169 h 51516"/>
                <a:gd name="connsiteX1" fmla="*/ 135476 w 136617"/>
                <a:gd name="connsiteY1" fmla="*/ 41264 h 51516"/>
                <a:gd name="connsiteX2" fmla="*/ 0 w 136617"/>
                <a:gd name="connsiteY2" fmla="*/ 0 h 51516"/>
                <a:gd name="connsiteX3" fmla="*/ 0 w 136617"/>
                <a:gd name="connsiteY3" fmla="*/ 10411 h 51516"/>
                <a:gd name="connsiteX4" fmla="*/ 131158 w 136617"/>
                <a:gd name="connsiteY4" fmla="*/ 50406 h 51516"/>
                <a:gd name="connsiteX5" fmla="*/ 134840 w 136617"/>
                <a:gd name="connsiteY5" fmla="*/ 51422 h 51516"/>
                <a:gd name="connsiteX6" fmla="*/ 136618 w 136617"/>
                <a:gd name="connsiteY6" fmla="*/ 51422 h 51516"/>
                <a:gd name="connsiteX7" fmla="*/ 132555 w 136617"/>
                <a:gd name="connsiteY7" fmla="*/ 49771 h 51516"/>
                <a:gd name="connsiteX8" fmla="*/ 132885 w 136617"/>
                <a:gd name="connsiteY8" fmla="*/ 43321 h 51516"/>
                <a:gd name="connsiteX9" fmla="*/ 133063 w 136617"/>
                <a:gd name="connsiteY9" fmla="*/ 43169 h 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617" h="51516">
                  <a:moveTo>
                    <a:pt x="133063" y="43169"/>
                  </a:moveTo>
                  <a:lnTo>
                    <a:pt x="135476" y="41264"/>
                  </a:lnTo>
                  <a:lnTo>
                    <a:pt x="0" y="0"/>
                  </a:lnTo>
                  <a:lnTo>
                    <a:pt x="0" y="10411"/>
                  </a:lnTo>
                  <a:lnTo>
                    <a:pt x="131158" y="50406"/>
                  </a:lnTo>
                  <a:lnTo>
                    <a:pt x="134840" y="51422"/>
                  </a:lnTo>
                  <a:cubicBezTo>
                    <a:pt x="135425" y="51549"/>
                    <a:pt x="136034" y="51549"/>
                    <a:pt x="136618" y="51422"/>
                  </a:cubicBezTo>
                  <a:cubicBezTo>
                    <a:pt x="135094" y="51485"/>
                    <a:pt x="133609" y="50876"/>
                    <a:pt x="132555" y="49771"/>
                  </a:cubicBezTo>
                  <a:cubicBezTo>
                    <a:pt x="130866" y="47892"/>
                    <a:pt x="131019" y="45010"/>
                    <a:pt x="132885" y="43321"/>
                  </a:cubicBezTo>
                  <a:cubicBezTo>
                    <a:pt x="132949" y="43270"/>
                    <a:pt x="133000" y="43219"/>
                    <a:pt x="133063" y="43169"/>
                  </a:cubicBezTo>
                  <a:close/>
                </a:path>
              </a:pathLst>
            </a:custGeom>
            <a:solidFill>
              <a:srgbClr val="000000"/>
            </a:solidFill>
            <a:ln w="12690" cap="flat">
              <a:noFill/>
              <a:prstDash val="solid"/>
              <a:miter/>
            </a:ln>
          </p:spPr>
          <p:txBody>
            <a:bodyPr rtlCol="0" anchor="ctr"/>
            <a:lstStyle/>
            <a:p>
              <a:endParaRPr lang="en-US"/>
            </a:p>
          </p:txBody>
        </p:sp>
        <p:sp>
          <p:nvSpPr>
            <p:cNvPr id="583" name="Freeform: Shape 582">
              <a:extLst>
                <a:ext uri="{FF2B5EF4-FFF2-40B4-BE49-F238E27FC236}">
                  <a16:creationId xmlns:a16="http://schemas.microsoft.com/office/drawing/2014/main" id="{BDA095EC-B11E-4EB7-BF5B-85AA4DBD80FF}"/>
                </a:ext>
              </a:extLst>
            </p:cNvPr>
            <p:cNvSpPr/>
            <p:nvPr/>
          </p:nvSpPr>
          <p:spPr>
            <a:xfrm>
              <a:off x="11445425" y="3208329"/>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1" y="736"/>
                    <a:pt x="1193" y="1130"/>
                    <a:pt x="0" y="1143"/>
                  </a:cubicBezTo>
                  <a:cubicBezTo>
                    <a:pt x="1193" y="1130"/>
                    <a:pt x="2361" y="736"/>
                    <a:pt x="3301" y="0"/>
                  </a:cubicBezTo>
                  <a:close/>
                </a:path>
              </a:pathLst>
            </a:custGeom>
            <a:solidFill>
              <a:srgbClr val="000000"/>
            </a:solidFill>
            <a:ln w="12690" cap="flat">
              <a:noFill/>
              <a:prstDash val="solid"/>
              <a:miter/>
            </a:ln>
          </p:spPr>
          <p:txBody>
            <a:bodyPr rtlCol="0" anchor="ctr"/>
            <a:lstStyle/>
            <a:p>
              <a:endParaRPr lang="en-US"/>
            </a:p>
          </p:txBody>
        </p:sp>
        <p:sp>
          <p:nvSpPr>
            <p:cNvPr id="584" name="Freeform: Shape 583">
              <a:extLst>
                <a:ext uri="{FF2B5EF4-FFF2-40B4-BE49-F238E27FC236}">
                  <a16:creationId xmlns:a16="http://schemas.microsoft.com/office/drawing/2014/main" id="{44AC4327-2457-4D5A-A280-A716BD0AA1B4}"/>
                </a:ext>
              </a:extLst>
            </p:cNvPr>
            <p:cNvSpPr/>
            <p:nvPr/>
          </p:nvSpPr>
          <p:spPr>
            <a:xfrm>
              <a:off x="11818966" y="2899432"/>
              <a:ext cx="761" cy="112"/>
            </a:xfrm>
            <a:custGeom>
              <a:avLst/>
              <a:gdLst>
                <a:gd name="connsiteX0" fmla="*/ 762 w 761"/>
                <a:gd name="connsiteY0" fmla="*/ 113 h 112"/>
                <a:gd name="connsiteX1" fmla="*/ 0 w 761"/>
                <a:gd name="connsiteY1" fmla="*/ 113 h 112"/>
                <a:gd name="connsiteX2" fmla="*/ 0 w 761"/>
                <a:gd name="connsiteY2" fmla="*/ 113 h 112"/>
                <a:gd name="connsiteX3" fmla="*/ 762 w 761"/>
                <a:gd name="connsiteY3" fmla="*/ 113 h 112"/>
              </a:gdLst>
              <a:ahLst/>
              <a:cxnLst>
                <a:cxn ang="0">
                  <a:pos x="connsiteX0" y="connsiteY0"/>
                </a:cxn>
                <a:cxn ang="0">
                  <a:pos x="connsiteX1" y="connsiteY1"/>
                </a:cxn>
                <a:cxn ang="0">
                  <a:pos x="connsiteX2" y="connsiteY2"/>
                </a:cxn>
                <a:cxn ang="0">
                  <a:pos x="connsiteX3" y="connsiteY3"/>
                </a:cxn>
              </a:cxnLst>
              <a:rect l="l" t="t" r="r" b="b"/>
              <a:pathLst>
                <a:path w="761" h="112">
                  <a:moveTo>
                    <a:pt x="762" y="113"/>
                  </a:moveTo>
                  <a:cubicBezTo>
                    <a:pt x="762" y="113"/>
                    <a:pt x="762" y="113"/>
                    <a:pt x="0" y="113"/>
                  </a:cubicBezTo>
                  <a:lnTo>
                    <a:pt x="0" y="113"/>
                  </a:lnTo>
                  <a:cubicBezTo>
                    <a:pt x="0" y="113"/>
                    <a:pt x="635" y="-141"/>
                    <a:pt x="762" y="113"/>
                  </a:cubicBezTo>
                  <a:close/>
                </a:path>
              </a:pathLst>
            </a:custGeom>
            <a:solidFill>
              <a:srgbClr val="000000"/>
            </a:solidFill>
            <a:ln w="12690" cap="flat">
              <a:noFill/>
              <a:prstDash val="solid"/>
              <a:miter/>
            </a:ln>
          </p:spPr>
          <p:txBody>
            <a:bodyPr rtlCol="0" anchor="ctr"/>
            <a:lstStyle/>
            <a:p>
              <a:endParaRPr lang="en-US"/>
            </a:p>
          </p:txBody>
        </p:sp>
        <p:sp>
          <p:nvSpPr>
            <p:cNvPr id="585" name="Freeform: Shape 584">
              <a:extLst>
                <a:ext uri="{FF2B5EF4-FFF2-40B4-BE49-F238E27FC236}">
                  <a16:creationId xmlns:a16="http://schemas.microsoft.com/office/drawing/2014/main" id="{8BA86C55-201D-4337-AB76-A435B2B64EF3}"/>
                </a:ext>
              </a:extLst>
            </p:cNvPr>
            <p:cNvSpPr/>
            <p:nvPr/>
          </p:nvSpPr>
          <p:spPr>
            <a:xfrm>
              <a:off x="11820744" y="2900307"/>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86" name="Freeform: Shape 585">
              <a:extLst>
                <a:ext uri="{FF2B5EF4-FFF2-40B4-BE49-F238E27FC236}">
                  <a16:creationId xmlns:a16="http://schemas.microsoft.com/office/drawing/2014/main" id="{245BD389-1219-4FF1-A2C0-026F97288269}"/>
                </a:ext>
              </a:extLst>
            </p:cNvPr>
            <p:cNvSpPr/>
            <p:nvPr/>
          </p:nvSpPr>
          <p:spPr>
            <a:xfrm>
              <a:off x="11821505" y="2902084"/>
              <a:ext cx="38" cy="761"/>
            </a:xfrm>
            <a:custGeom>
              <a:avLst/>
              <a:gdLst>
                <a:gd name="connsiteX0" fmla="*/ 0 w 38"/>
                <a:gd name="connsiteY0" fmla="*/ 762 h 761"/>
                <a:gd name="connsiteX1" fmla="*/ 0 w 38"/>
                <a:gd name="connsiteY1" fmla="*/ 0 h 761"/>
                <a:gd name="connsiteX2" fmla="*/ 0 w 38"/>
                <a:gd name="connsiteY2" fmla="*/ 0 h 761"/>
                <a:gd name="connsiteX3" fmla="*/ 0 w 38"/>
                <a:gd name="connsiteY3" fmla="*/ 762 h 761"/>
              </a:gdLst>
              <a:ahLst/>
              <a:cxnLst>
                <a:cxn ang="0">
                  <a:pos x="connsiteX0" y="connsiteY0"/>
                </a:cxn>
                <a:cxn ang="0">
                  <a:pos x="connsiteX1" y="connsiteY1"/>
                </a:cxn>
                <a:cxn ang="0">
                  <a:pos x="connsiteX2" y="connsiteY2"/>
                </a:cxn>
                <a:cxn ang="0">
                  <a:pos x="connsiteX3" y="connsiteY3"/>
                </a:cxn>
              </a:cxnLst>
              <a:rect l="l" t="t" r="r" b="b"/>
              <a:pathLst>
                <a:path w="38" h="761">
                  <a:moveTo>
                    <a:pt x="0" y="762"/>
                  </a:moveTo>
                  <a:cubicBezTo>
                    <a:pt x="51" y="508"/>
                    <a:pt x="51" y="254"/>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endParaRPr lang="en-US"/>
            </a:p>
          </p:txBody>
        </p:sp>
        <p:sp>
          <p:nvSpPr>
            <p:cNvPr id="587" name="Freeform: Shape 586">
              <a:extLst>
                <a:ext uri="{FF2B5EF4-FFF2-40B4-BE49-F238E27FC236}">
                  <a16:creationId xmlns:a16="http://schemas.microsoft.com/office/drawing/2014/main" id="{BB2DA4D3-F128-4DAF-A6B6-3076BE338450}"/>
                </a:ext>
              </a:extLst>
            </p:cNvPr>
            <p:cNvSpPr/>
            <p:nvPr/>
          </p:nvSpPr>
          <p:spPr>
            <a:xfrm>
              <a:off x="11601725" y="2835046"/>
              <a:ext cx="214955" cy="69070"/>
            </a:xfrm>
            <a:custGeom>
              <a:avLst/>
              <a:gdLst>
                <a:gd name="connsiteX0" fmla="*/ 5331 w 214955"/>
                <a:gd name="connsiteY0" fmla="*/ 0 h 69070"/>
                <a:gd name="connsiteX1" fmla="*/ 4315 w 214955"/>
                <a:gd name="connsiteY1" fmla="*/ 0 h 69070"/>
                <a:gd name="connsiteX2" fmla="*/ 3299 w 214955"/>
                <a:gd name="connsiteY2" fmla="*/ 0 h 69070"/>
                <a:gd name="connsiteX3" fmla="*/ 2410 w 214955"/>
                <a:gd name="connsiteY3" fmla="*/ 0 h 69070"/>
                <a:gd name="connsiteX4" fmla="*/ 252 w 214955"/>
                <a:gd name="connsiteY4" fmla="*/ 2412 h 69070"/>
                <a:gd name="connsiteX5" fmla="*/ 3198 w 214955"/>
                <a:gd name="connsiteY5" fmla="*/ 8367 h 69070"/>
                <a:gd name="connsiteX6" fmla="*/ 3680 w 214955"/>
                <a:gd name="connsiteY6" fmla="*/ 8507 h 69070"/>
                <a:gd name="connsiteX7" fmla="*/ 6728 w 214955"/>
                <a:gd name="connsiteY7" fmla="*/ 9396 h 69070"/>
                <a:gd name="connsiteX8" fmla="*/ 203782 w 214955"/>
                <a:gd name="connsiteY8" fmla="*/ 69070 h 69070"/>
                <a:gd name="connsiteX9" fmla="*/ 210765 w 214955"/>
                <a:gd name="connsiteY9" fmla="*/ 63484 h 69070"/>
                <a:gd name="connsiteX10" fmla="*/ 210765 w 214955"/>
                <a:gd name="connsiteY10" fmla="*/ 63484 h 69070"/>
                <a:gd name="connsiteX11" fmla="*/ 211781 w 214955"/>
                <a:gd name="connsiteY11" fmla="*/ 63484 h 69070"/>
                <a:gd name="connsiteX12" fmla="*/ 212924 w 214955"/>
                <a:gd name="connsiteY12" fmla="*/ 63484 h 69070"/>
                <a:gd name="connsiteX13" fmla="*/ 213939 w 214955"/>
                <a:gd name="connsiteY13" fmla="*/ 63484 h 69070"/>
                <a:gd name="connsiteX14" fmla="*/ 214955 w 214955"/>
                <a:gd name="connsiteY14" fmla="*/ 63484 h 69070"/>
                <a:gd name="connsiteX15" fmla="*/ 214955 w 214955"/>
                <a:gd name="connsiteY15" fmla="*/ 63484 h 69070"/>
                <a:gd name="connsiteX16" fmla="*/ 5965 w 214955"/>
                <a:gd name="connsiteY16" fmla="*/ 0 h 69070"/>
                <a:gd name="connsiteX17" fmla="*/ 4188 w 214955"/>
                <a:gd name="connsiteY17" fmla="*/ 0 h 6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955" h="69070">
                  <a:moveTo>
                    <a:pt x="5331" y="0"/>
                  </a:moveTo>
                  <a:lnTo>
                    <a:pt x="4315" y="0"/>
                  </a:lnTo>
                  <a:lnTo>
                    <a:pt x="3299" y="0"/>
                  </a:lnTo>
                  <a:lnTo>
                    <a:pt x="2410" y="0"/>
                  </a:lnTo>
                  <a:cubicBezTo>
                    <a:pt x="1408" y="508"/>
                    <a:pt x="646" y="1371"/>
                    <a:pt x="252" y="2412"/>
                  </a:cubicBezTo>
                  <a:cubicBezTo>
                    <a:pt x="-586" y="4876"/>
                    <a:pt x="734" y="7542"/>
                    <a:pt x="3198" y="8367"/>
                  </a:cubicBezTo>
                  <a:cubicBezTo>
                    <a:pt x="3350" y="8431"/>
                    <a:pt x="3515" y="8469"/>
                    <a:pt x="3680" y="8507"/>
                  </a:cubicBezTo>
                  <a:lnTo>
                    <a:pt x="6728" y="9396"/>
                  </a:lnTo>
                  <a:lnTo>
                    <a:pt x="203782" y="69070"/>
                  </a:lnTo>
                  <a:lnTo>
                    <a:pt x="210765" y="63484"/>
                  </a:lnTo>
                  <a:lnTo>
                    <a:pt x="210765" y="63484"/>
                  </a:lnTo>
                  <a:lnTo>
                    <a:pt x="211781" y="63484"/>
                  </a:lnTo>
                  <a:lnTo>
                    <a:pt x="212924" y="63484"/>
                  </a:lnTo>
                  <a:lnTo>
                    <a:pt x="213939" y="63484"/>
                  </a:lnTo>
                  <a:lnTo>
                    <a:pt x="214955" y="63484"/>
                  </a:lnTo>
                  <a:lnTo>
                    <a:pt x="214955" y="63484"/>
                  </a:lnTo>
                  <a:lnTo>
                    <a:pt x="5965" y="0"/>
                  </a:lnTo>
                  <a:lnTo>
                    <a:pt x="4188" y="0"/>
                  </a:lnTo>
                  <a:close/>
                </a:path>
              </a:pathLst>
            </a:custGeom>
            <a:solidFill>
              <a:srgbClr val="000000"/>
            </a:solidFill>
            <a:ln w="12690" cap="flat">
              <a:noFill/>
              <a:prstDash val="solid"/>
              <a:miter/>
            </a:ln>
          </p:spPr>
          <p:txBody>
            <a:bodyPr rtlCol="0" anchor="ctr"/>
            <a:lstStyle/>
            <a:p>
              <a:endParaRPr lang="en-US"/>
            </a:p>
          </p:txBody>
        </p:sp>
        <p:sp>
          <p:nvSpPr>
            <p:cNvPr id="588" name="Freeform: Shape 587">
              <a:extLst>
                <a:ext uri="{FF2B5EF4-FFF2-40B4-BE49-F238E27FC236}">
                  <a16:creationId xmlns:a16="http://schemas.microsoft.com/office/drawing/2014/main" id="{3F70F715-DD14-4EF5-81B4-4487578EDD35}"/>
                </a:ext>
              </a:extLst>
            </p:cNvPr>
            <p:cNvSpPr/>
            <p:nvPr/>
          </p:nvSpPr>
          <p:spPr>
            <a:xfrm>
              <a:off x="11817315" y="2898656"/>
              <a:ext cx="1015" cy="12696"/>
            </a:xfrm>
            <a:custGeom>
              <a:avLst/>
              <a:gdLst>
                <a:gd name="connsiteX0" fmla="*/ 1016 w 1015"/>
                <a:gd name="connsiteY0" fmla="*/ 0 h 12696"/>
                <a:gd name="connsiteX1" fmla="*/ 0 w 1015"/>
                <a:gd name="connsiteY1" fmla="*/ 0 h 12696"/>
              </a:gdLst>
              <a:ahLst/>
              <a:cxnLst>
                <a:cxn ang="0">
                  <a:pos x="connsiteX0" y="connsiteY0"/>
                </a:cxn>
                <a:cxn ang="0">
                  <a:pos x="connsiteX1" y="connsiteY1"/>
                </a:cxn>
              </a:cxnLst>
              <a:rect l="l" t="t" r="r" b="b"/>
              <a:pathLst>
                <a:path w="1015" h="12696">
                  <a:moveTo>
                    <a:pt x="1016" y="0"/>
                  </a:moveTo>
                  <a:lnTo>
                    <a:pt x="0" y="0"/>
                  </a:lnTo>
                  <a:close/>
                </a:path>
              </a:pathLst>
            </a:custGeom>
            <a:solidFill>
              <a:srgbClr val="000000"/>
            </a:solidFill>
            <a:ln w="12690" cap="flat">
              <a:noFill/>
              <a:prstDash val="solid"/>
              <a:miter/>
            </a:ln>
          </p:spPr>
          <p:txBody>
            <a:bodyPr rtlCol="0" anchor="ctr"/>
            <a:lstStyle/>
            <a:p>
              <a:endParaRPr lang="en-US"/>
            </a:p>
          </p:txBody>
        </p:sp>
        <p:sp>
          <p:nvSpPr>
            <p:cNvPr id="589" name="Freeform: Shape 588">
              <a:extLst>
                <a:ext uri="{FF2B5EF4-FFF2-40B4-BE49-F238E27FC236}">
                  <a16:creationId xmlns:a16="http://schemas.microsoft.com/office/drawing/2014/main" id="{E77407F8-1976-435F-A68A-5CD4B4DBCE1C}"/>
                </a:ext>
              </a:extLst>
            </p:cNvPr>
            <p:cNvSpPr/>
            <p:nvPr/>
          </p:nvSpPr>
          <p:spPr>
            <a:xfrm>
              <a:off x="11816046" y="289814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590" name="Freeform: Shape 589">
              <a:extLst>
                <a:ext uri="{FF2B5EF4-FFF2-40B4-BE49-F238E27FC236}">
                  <a16:creationId xmlns:a16="http://schemas.microsoft.com/office/drawing/2014/main" id="{A9DB3EA9-7164-4EC5-913F-8863ED6E91F9}"/>
                </a:ext>
              </a:extLst>
            </p:cNvPr>
            <p:cNvSpPr/>
            <p:nvPr/>
          </p:nvSpPr>
          <p:spPr>
            <a:xfrm>
              <a:off x="11810713" y="2902973"/>
              <a:ext cx="10796" cy="57135"/>
            </a:xfrm>
            <a:custGeom>
              <a:avLst/>
              <a:gdLst>
                <a:gd name="connsiteX0" fmla="*/ 9014 w 10796"/>
                <a:gd name="connsiteY0" fmla="*/ 3809 h 57135"/>
                <a:gd name="connsiteX1" fmla="*/ 0 w 10796"/>
                <a:gd name="connsiteY1" fmla="*/ 11046 h 57135"/>
                <a:gd name="connsiteX2" fmla="*/ 0 w 10796"/>
                <a:gd name="connsiteY2" fmla="*/ 57135 h 57135"/>
                <a:gd name="connsiteX3" fmla="*/ 1524 w 10796"/>
                <a:gd name="connsiteY3" fmla="*/ 55739 h 57135"/>
                <a:gd name="connsiteX4" fmla="*/ 1524 w 10796"/>
                <a:gd name="connsiteY4" fmla="*/ 55739 h 57135"/>
                <a:gd name="connsiteX5" fmla="*/ 10792 w 10796"/>
                <a:gd name="connsiteY5" fmla="*/ 47613 h 57135"/>
                <a:gd name="connsiteX6" fmla="*/ 10792 w 10796"/>
                <a:gd name="connsiteY6" fmla="*/ 0 h 57135"/>
                <a:gd name="connsiteX7" fmla="*/ 10792 w 10796"/>
                <a:gd name="connsiteY7" fmla="*/ 0 h 57135"/>
                <a:gd name="connsiteX8" fmla="*/ 9014 w 10796"/>
                <a:gd name="connsiteY8" fmla="*/ 3809 h 5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 h="57135">
                  <a:moveTo>
                    <a:pt x="9014" y="3809"/>
                  </a:moveTo>
                  <a:lnTo>
                    <a:pt x="0" y="11046"/>
                  </a:lnTo>
                  <a:lnTo>
                    <a:pt x="0" y="57135"/>
                  </a:lnTo>
                  <a:lnTo>
                    <a:pt x="1524" y="55739"/>
                  </a:lnTo>
                  <a:lnTo>
                    <a:pt x="1524" y="55739"/>
                  </a:lnTo>
                  <a:lnTo>
                    <a:pt x="10792" y="47613"/>
                  </a:lnTo>
                  <a:lnTo>
                    <a:pt x="10792" y="0"/>
                  </a:lnTo>
                  <a:cubicBezTo>
                    <a:pt x="10792" y="0"/>
                    <a:pt x="10792" y="0"/>
                    <a:pt x="10792" y="0"/>
                  </a:cubicBezTo>
                  <a:cubicBezTo>
                    <a:pt x="10856" y="1486"/>
                    <a:pt x="10195" y="2908"/>
                    <a:pt x="9014" y="3809"/>
                  </a:cubicBezTo>
                  <a:close/>
                </a:path>
              </a:pathLst>
            </a:custGeom>
            <a:solidFill>
              <a:srgbClr val="000000"/>
            </a:solidFill>
            <a:ln w="12690" cap="flat">
              <a:noFill/>
              <a:prstDash val="solid"/>
              <a:miter/>
            </a:ln>
          </p:spPr>
          <p:txBody>
            <a:bodyPr rtlCol="0" anchor="ctr"/>
            <a:lstStyle/>
            <a:p>
              <a:endParaRPr lang="en-US"/>
            </a:p>
          </p:txBody>
        </p:sp>
        <p:sp>
          <p:nvSpPr>
            <p:cNvPr id="591" name="Freeform: Shape 590">
              <a:extLst>
                <a:ext uri="{FF2B5EF4-FFF2-40B4-BE49-F238E27FC236}">
                  <a16:creationId xmlns:a16="http://schemas.microsoft.com/office/drawing/2014/main" id="{12F5818C-E85F-4390-8E48-AB01B0FBC282}"/>
                </a:ext>
              </a:extLst>
            </p:cNvPr>
            <p:cNvSpPr/>
            <p:nvPr/>
          </p:nvSpPr>
          <p:spPr>
            <a:xfrm>
              <a:off x="11819982" y="289967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592" name="Freeform: Shape 591">
              <a:extLst>
                <a:ext uri="{FF2B5EF4-FFF2-40B4-BE49-F238E27FC236}">
                  <a16:creationId xmlns:a16="http://schemas.microsoft.com/office/drawing/2014/main" id="{4B3BF30F-7B0C-4BAB-B653-181E409E56DB}"/>
                </a:ext>
              </a:extLst>
            </p:cNvPr>
            <p:cNvSpPr/>
            <p:nvPr/>
          </p:nvSpPr>
          <p:spPr>
            <a:xfrm>
              <a:off x="11820744" y="2900688"/>
              <a:ext cx="12696" cy="634"/>
            </a:xfrm>
            <a:custGeom>
              <a:avLst/>
              <a:gdLst>
                <a:gd name="connsiteX0" fmla="*/ 0 w 12696"/>
                <a:gd name="connsiteY0" fmla="*/ 635 h 634"/>
                <a:gd name="connsiteX1" fmla="*/ 0 w 12696"/>
                <a:gd name="connsiteY1" fmla="*/ 635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635"/>
                  </a:lnTo>
                  <a:lnTo>
                    <a:pt x="0" y="0"/>
                  </a:lnTo>
                  <a:close/>
                </a:path>
              </a:pathLst>
            </a:custGeom>
            <a:solidFill>
              <a:srgbClr val="000000"/>
            </a:solidFill>
            <a:ln w="12690" cap="flat">
              <a:noFill/>
              <a:prstDash val="solid"/>
              <a:miter/>
            </a:ln>
          </p:spPr>
          <p:txBody>
            <a:bodyPr rtlCol="0" anchor="ctr"/>
            <a:lstStyle/>
            <a:p>
              <a:endParaRPr lang="en-US"/>
            </a:p>
          </p:txBody>
        </p:sp>
        <p:sp>
          <p:nvSpPr>
            <p:cNvPr id="593" name="Freeform: Shape 592">
              <a:extLst>
                <a:ext uri="{FF2B5EF4-FFF2-40B4-BE49-F238E27FC236}">
                  <a16:creationId xmlns:a16="http://schemas.microsoft.com/office/drawing/2014/main" id="{EC7A4833-191C-4412-BE9D-7206A7DB3E8A}"/>
                </a:ext>
              </a:extLst>
            </p:cNvPr>
            <p:cNvSpPr/>
            <p:nvPr/>
          </p:nvSpPr>
          <p:spPr>
            <a:xfrm>
              <a:off x="11440198" y="2898148"/>
              <a:ext cx="381368" cy="311835"/>
            </a:xfrm>
            <a:custGeom>
              <a:avLst/>
              <a:gdLst>
                <a:gd name="connsiteX0" fmla="*/ 376102 w 381368"/>
                <a:gd name="connsiteY0" fmla="*/ 0 h 311835"/>
                <a:gd name="connsiteX1" fmla="*/ 375086 w 381368"/>
                <a:gd name="connsiteY1" fmla="*/ 0 h 311835"/>
                <a:gd name="connsiteX2" fmla="*/ 373943 w 381368"/>
                <a:gd name="connsiteY2" fmla="*/ 0 h 311835"/>
                <a:gd name="connsiteX3" fmla="*/ 372928 w 381368"/>
                <a:gd name="connsiteY3" fmla="*/ 0 h 311835"/>
                <a:gd name="connsiteX4" fmla="*/ 372928 w 381368"/>
                <a:gd name="connsiteY4" fmla="*/ 0 h 311835"/>
                <a:gd name="connsiteX5" fmla="*/ 365944 w 381368"/>
                <a:gd name="connsiteY5" fmla="*/ 5587 h 311835"/>
                <a:gd name="connsiteX6" fmla="*/ 3958 w 381368"/>
                <a:gd name="connsiteY6" fmla="*/ 301420 h 311835"/>
                <a:gd name="connsiteX7" fmla="*/ 1546 w 381368"/>
                <a:gd name="connsiteY7" fmla="*/ 303324 h 311835"/>
                <a:gd name="connsiteX8" fmla="*/ 1139 w 381368"/>
                <a:gd name="connsiteY8" fmla="*/ 309774 h 311835"/>
                <a:gd name="connsiteX9" fmla="*/ 1546 w 381368"/>
                <a:gd name="connsiteY9" fmla="*/ 310181 h 311835"/>
                <a:gd name="connsiteX10" fmla="*/ 5608 w 381368"/>
                <a:gd name="connsiteY10" fmla="*/ 311831 h 311835"/>
                <a:gd name="connsiteX11" fmla="*/ 8909 w 381368"/>
                <a:gd name="connsiteY11" fmla="*/ 310688 h 311835"/>
                <a:gd name="connsiteX12" fmla="*/ 8909 w 381368"/>
                <a:gd name="connsiteY12" fmla="*/ 310688 h 311835"/>
                <a:gd name="connsiteX13" fmla="*/ 10687 w 381368"/>
                <a:gd name="connsiteY13" fmla="*/ 309292 h 311835"/>
                <a:gd name="connsiteX14" fmla="*/ 370642 w 381368"/>
                <a:gd name="connsiteY14" fmla="*/ 16506 h 311835"/>
                <a:gd name="connsiteX15" fmla="*/ 379657 w 381368"/>
                <a:gd name="connsiteY15" fmla="*/ 9269 h 311835"/>
                <a:gd name="connsiteX16" fmla="*/ 381307 w 381368"/>
                <a:gd name="connsiteY16" fmla="*/ 4952 h 311835"/>
                <a:gd name="connsiteX17" fmla="*/ 381307 w 381368"/>
                <a:gd name="connsiteY17" fmla="*/ 4952 h 311835"/>
                <a:gd name="connsiteX18" fmla="*/ 381307 w 381368"/>
                <a:gd name="connsiteY18" fmla="*/ 4190 h 311835"/>
                <a:gd name="connsiteX19" fmla="*/ 381307 w 381368"/>
                <a:gd name="connsiteY19" fmla="*/ 3301 h 311835"/>
                <a:gd name="connsiteX20" fmla="*/ 381307 w 381368"/>
                <a:gd name="connsiteY20" fmla="*/ 3301 h 311835"/>
                <a:gd name="connsiteX21" fmla="*/ 381307 w 381368"/>
                <a:gd name="connsiteY21" fmla="*/ 3301 h 311835"/>
                <a:gd name="connsiteX22" fmla="*/ 381307 w 381368"/>
                <a:gd name="connsiteY22" fmla="*/ 3301 h 311835"/>
                <a:gd name="connsiteX23" fmla="*/ 380419 w 381368"/>
                <a:gd name="connsiteY23" fmla="*/ 3301 h 311835"/>
                <a:gd name="connsiteX24" fmla="*/ 380419 w 381368"/>
                <a:gd name="connsiteY24" fmla="*/ 3301 h 311835"/>
                <a:gd name="connsiteX25" fmla="*/ 379784 w 381368"/>
                <a:gd name="connsiteY25" fmla="*/ 3301 h 311835"/>
                <a:gd name="connsiteX26" fmla="*/ 378768 w 381368"/>
                <a:gd name="connsiteY26" fmla="*/ 3301 h 3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368" h="311835">
                  <a:moveTo>
                    <a:pt x="376102" y="0"/>
                  </a:moveTo>
                  <a:lnTo>
                    <a:pt x="375086" y="0"/>
                  </a:lnTo>
                  <a:lnTo>
                    <a:pt x="373943" y="0"/>
                  </a:lnTo>
                  <a:lnTo>
                    <a:pt x="372928" y="0"/>
                  </a:lnTo>
                  <a:lnTo>
                    <a:pt x="372928" y="0"/>
                  </a:lnTo>
                  <a:lnTo>
                    <a:pt x="365944" y="5587"/>
                  </a:lnTo>
                  <a:lnTo>
                    <a:pt x="3958" y="301420"/>
                  </a:lnTo>
                  <a:lnTo>
                    <a:pt x="1546" y="303324"/>
                  </a:lnTo>
                  <a:cubicBezTo>
                    <a:pt x="-347" y="305000"/>
                    <a:pt x="-524" y="307883"/>
                    <a:pt x="1139" y="309774"/>
                  </a:cubicBezTo>
                  <a:cubicBezTo>
                    <a:pt x="1266" y="309914"/>
                    <a:pt x="1405" y="310054"/>
                    <a:pt x="1546" y="310181"/>
                  </a:cubicBezTo>
                  <a:cubicBezTo>
                    <a:pt x="2599" y="311285"/>
                    <a:pt x="4084" y="311895"/>
                    <a:pt x="5608" y="311831"/>
                  </a:cubicBezTo>
                  <a:cubicBezTo>
                    <a:pt x="6802" y="311818"/>
                    <a:pt x="7970" y="311425"/>
                    <a:pt x="8909" y="310688"/>
                  </a:cubicBezTo>
                  <a:lnTo>
                    <a:pt x="8909" y="310688"/>
                  </a:lnTo>
                  <a:lnTo>
                    <a:pt x="10687" y="309292"/>
                  </a:lnTo>
                  <a:lnTo>
                    <a:pt x="370642" y="16506"/>
                  </a:lnTo>
                  <a:lnTo>
                    <a:pt x="379657" y="9269"/>
                  </a:lnTo>
                  <a:cubicBezTo>
                    <a:pt x="380952" y="8240"/>
                    <a:pt x="381574" y="6590"/>
                    <a:pt x="381307" y="4952"/>
                  </a:cubicBezTo>
                  <a:lnTo>
                    <a:pt x="381307" y="4952"/>
                  </a:lnTo>
                  <a:cubicBezTo>
                    <a:pt x="381371" y="4698"/>
                    <a:pt x="381371" y="4444"/>
                    <a:pt x="381307" y="4190"/>
                  </a:cubicBezTo>
                  <a:lnTo>
                    <a:pt x="381307" y="3301"/>
                  </a:lnTo>
                  <a:lnTo>
                    <a:pt x="381307" y="3301"/>
                  </a:lnTo>
                  <a:lnTo>
                    <a:pt x="381307" y="3301"/>
                  </a:lnTo>
                  <a:lnTo>
                    <a:pt x="381307" y="3301"/>
                  </a:lnTo>
                  <a:lnTo>
                    <a:pt x="380419" y="3301"/>
                  </a:lnTo>
                  <a:lnTo>
                    <a:pt x="380419" y="3301"/>
                  </a:lnTo>
                  <a:lnTo>
                    <a:pt x="379784" y="3301"/>
                  </a:lnTo>
                  <a:lnTo>
                    <a:pt x="378768" y="3301"/>
                  </a:lnTo>
                  <a:close/>
                </a:path>
              </a:pathLst>
            </a:custGeom>
            <a:solidFill>
              <a:srgbClr val="000000"/>
            </a:solidFill>
            <a:ln w="12690" cap="flat">
              <a:noFill/>
              <a:prstDash val="solid"/>
              <a:miter/>
            </a:ln>
          </p:spPr>
          <p:txBody>
            <a:bodyPr rtlCol="0" anchor="ctr"/>
            <a:lstStyle/>
            <a:p>
              <a:endParaRPr lang="en-US"/>
            </a:p>
          </p:txBody>
        </p:sp>
        <p:sp>
          <p:nvSpPr>
            <p:cNvPr id="594" name="Freeform: Shape 593">
              <a:extLst>
                <a:ext uri="{FF2B5EF4-FFF2-40B4-BE49-F238E27FC236}">
                  <a16:creationId xmlns:a16="http://schemas.microsoft.com/office/drawing/2014/main" id="{731C477D-FC59-4663-8F6C-458C450A099F}"/>
                </a:ext>
              </a:extLst>
            </p:cNvPr>
            <p:cNvSpPr/>
            <p:nvPr/>
          </p:nvSpPr>
          <p:spPr>
            <a:xfrm>
              <a:off x="11190854" y="3654364"/>
              <a:ext cx="116049" cy="89765"/>
            </a:xfrm>
            <a:custGeom>
              <a:avLst/>
              <a:gdLst>
                <a:gd name="connsiteX0" fmla="*/ 107034 w 116049"/>
                <a:gd name="connsiteY0" fmla="*/ 2285 h 89765"/>
                <a:gd name="connsiteX1" fmla="*/ 107034 w 116049"/>
                <a:gd name="connsiteY1" fmla="*/ 0 h 89765"/>
                <a:gd name="connsiteX2" fmla="*/ 0 w 116049"/>
                <a:gd name="connsiteY2" fmla="*/ 87099 h 89765"/>
                <a:gd name="connsiteX3" fmla="*/ 2793 w 116049"/>
                <a:gd name="connsiteY3" fmla="*/ 87734 h 89765"/>
                <a:gd name="connsiteX4" fmla="*/ 2793 w 116049"/>
                <a:gd name="connsiteY4" fmla="*/ 87734 h 89765"/>
                <a:gd name="connsiteX5" fmla="*/ 12950 w 116049"/>
                <a:gd name="connsiteY5" fmla="*/ 89766 h 89765"/>
                <a:gd name="connsiteX6" fmla="*/ 116049 w 116049"/>
                <a:gd name="connsiteY6" fmla="*/ 5840 h 89765"/>
                <a:gd name="connsiteX7" fmla="*/ 116049 w 116049"/>
                <a:gd name="connsiteY7" fmla="*/ 5840 h 89765"/>
                <a:gd name="connsiteX8" fmla="*/ 112367 w 116049"/>
                <a:gd name="connsiteY8" fmla="*/ 7110 h 89765"/>
                <a:gd name="connsiteX9" fmla="*/ 107034 w 116049"/>
                <a:gd name="connsiteY9" fmla="*/ 2285 h 8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49" h="89765">
                  <a:moveTo>
                    <a:pt x="107034" y="2285"/>
                  </a:moveTo>
                  <a:lnTo>
                    <a:pt x="107034" y="0"/>
                  </a:lnTo>
                  <a:lnTo>
                    <a:pt x="0" y="87099"/>
                  </a:lnTo>
                  <a:lnTo>
                    <a:pt x="2793" y="87734"/>
                  </a:lnTo>
                  <a:lnTo>
                    <a:pt x="2793" y="87734"/>
                  </a:lnTo>
                  <a:lnTo>
                    <a:pt x="12950" y="89766"/>
                  </a:lnTo>
                  <a:lnTo>
                    <a:pt x="116049" y="5840"/>
                  </a:lnTo>
                  <a:lnTo>
                    <a:pt x="116049" y="5840"/>
                  </a:lnTo>
                  <a:cubicBezTo>
                    <a:pt x="114995" y="6653"/>
                    <a:pt x="113700" y="7097"/>
                    <a:pt x="112367" y="7110"/>
                  </a:cubicBezTo>
                  <a:cubicBezTo>
                    <a:pt x="109586" y="7186"/>
                    <a:pt x="107237" y="5066"/>
                    <a:pt x="107034" y="2285"/>
                  </a:cubicBezTo>
                  <a:close/>
                </a:path>
              </a:pathLst>
            </a:custGeom>
            <a:solidFill>
              <a:srgbClr val="000000"/>
            </a:solidFill>
            <a:ln w="12690" cap="flat">
              <a:noFill/>
              <a:prstDash val="solid"/>
              <a:miter/>
            </a:ln>
          </p:spPr>
          <p:txBody>
            <a:bodyPr rtlCol="0" anchor="ctr"/>
            <a:lstStyle/>
            <a:p>
              <a:endParaRPr lang="en-US"/>
            </a:p>
          </p:txBody>
        </p:sp>
        <p:sp>
          <p:nvSpPr>
            <p:cNvPr id="595" name="Freeform: Shape 594">
              <a:extLst>
                <a:ext uri="{FF2B5EF4-FFF2-40B4-BE49-F238E27FC236}">
                  <a16:creationId xmlns:a16="http://schemas.microsoft.com/office/drawing/2014/main" id="{0A8CF1FF-C7A4-47D3-9914-232F1747CB92}"/>
                </a:ext>
              </a:extLst>
            </p:cNvPr>
            <p:cNvSpPr/>
            <p:nvPr/>
          </p:nvSpPr>
          <p:spPr>
            <a:xfrm>
              <a:off x="11044460" y="3244261"/>
              <a:ext cx="10665" cy="468889"/>
            </a:xfrm>
            <a:custGeom>
              <a:avLst/>
              <a:gdLst>
                <a:gd name="connsiteX0" fmla="*/ 8761 w 10665"/>
                <a:gd name="connsiteY0" fmla="*/ 1524 h 468889"/>
                <a:gd name="connsiteX1" fmla="*/ 7237 w 10665"/>
                <a:gd name="connsiteY1" fmla="*/ 2412 h 468889"/>
                <a:gd name="connsiteX2" fmla="*/ 5460 w 10665"/>
                <a:gd name="connsiteY2" fmla="*/ 2412 h 468889"/>
                <a:gd name="connsiteX3" fmla="*/ 3683 w 10665"/>
                <a:gd name="connsiteY3" fmla="*/ 2412 h 468889"/>
                <a:gd name="connsiteX4" fmla="*/ 0 w 10665"/>
                <a:gd name="connsiteY4" fmla="*/ 1270 h 468889"/>
                <a:gd name="connsiteX5" fmla="*/ 0 w 10665"/>
                <a:gd name="connsiteY5" fmla="*/ 466604 h 468889"/>
                <a:gd name="connsiteX6" fmla="*/ 6603 w 10665"/>
                <a:gd name="connsiteY6" fmla="*/ 468001 h 468889"/>
                <a:gd name="connsiteX7" fmla="*/ 6603 w 10665"/>
                <a:gd name="connsiteY7" fmla="*/ 468001 h 468889"/>
                <a:gd name="connsiteX8" fmla="*/ 10666 w 10665"/>
                <a:gd name="connsiteY8" fmla="*/ 468889 h 468889"/>
                <a:gd name="connsiteX9" fmla="*/ 10666 w 10665"/>
                <a:gd name="connsiteY9" fmla="*/ 0 h 468889"/>
                <a:gd name="connsiteX10" fmla="*/ 8888 w 10665"/>
                <a:gd name="connsiteY10" fmla="*/ 1397 h 46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65" h="468889">
                  <a:moveTo>
                    <a:pt x="8761" y="1524"/>
                  </a:moveTo>
                  <a:lnTo>
                    <a:pt x="7237" y="2412"/>
                  </a:lnTo>
                  <a:lnTo>
                    <a:pt x="5460" y="2412"/>
                  </a:lnTo>
                  <a:cubicBezTo>
                    <a:pt x="4876" y="2539"/>
                    <a:pt x="4266" y="2539"/>
                    <a:pt x="3683" y="2412"/>
                  </a:cubicBezTo>
                  <a:lnTo>
                    <a:pt x="0" y="1270"/>
                  </a:lnTo>
                  <a:lnTo>
                    <a:pt x="0" y="466604"/>
                  </a:lnTo>
                  <a:lnTo>
                    <a:pt x="6603" y="468001"/>
                  </a:lnTo>
                  <a:lnTo>
                    <a:pt x="6603" y="468001"/>
                  </a:lnTo>
                  <a:lnTo>
                    <a:pt x="10666" y="468889"/>
                  </a:lnTo>
                  <a:lnTo>
                    <a:pt x="10666" y="0"/>
                  </a:lnTo>
                  <a:lnTo>
                    <a:pt x="8888" y="1397"/>
                  </a:lnTo>
                  <a:close/>
                </a:path>
              </a:pathLst>
            </a:custGeom>
            <a:solidFill>
              <a:srgbClr val="000000"/>
            </a:solidFill>
            <a:ln w="12690" cap="flat">
              <a:noFill/>
              <a:prstDash val="solid"/>
              <a:miter/>
            </a:ln>
          </p:spPr>
          <p:txBody>
            <a:bodyPr rtlCol="0" anchor="ctr"/>
            <a:lstStyle/>
            <a:p>
              <a:endParaRPr lang="en-US"/>
            </a:p>
          </p:txBody>
        </p:sp>
        <p:sp>
          <p:nvSpPr>
            <p:cNvPr id="596" name="Freeform: Shape 595">
              <a:extLst>
                <a:ext uri="{FF2B5EF4-FFF2-40B4-BE49-F238E27FC236}">
                  <a16:creationId xmlns:a16="http://schemas.microsoft.com/office/drawing/2014/main" id="{4FA93D4E-4F58-425A-A7D3-CC83EB6AACDB}"/>
                </a:ext>
              </a:extLst>
            </p:cNvPr>
            <p:cNvSpPr/>
            <p:nvPr/>
          </p:nvSpPr>
          <p:spPr>
            <a:xfrm>
              <a:off x="10627693" y="3110443"/>
              <a:ext cx="422100" cy="135562"/>
            </a:xfrm>
            <a:custGeom>
              <a:avLst/>
              <a:gdLst>
                <a:gd name="connsiteX0" fmla="*/ 5517 w 422100"/>
                <a:gd name="connsiteY0" fmla="*/ 248 h 135562"/>
                <a:gd name="connsiteX1" fmla="*/ 57 w 422100"/>
                <a:gd name="connsiteY1" fmla="*/ 1390 h 135562"/>
                <a:gd name="connsiteX2" fmla="*/ 57 w 422100"/>
                <a:gd name="connsiteY2" fmla="*/ 2279 h 135562"/>
                <a:gd name="connsiteX3" fmla="*/ 57 w 422100"/>
                <a:gd name="connsiteY3" fmla="*/ 3168 h 135562"/>
                <a:gd name="connsiteX4" fmla="*/ 57 w 422100"/>
                <a:gd name="connsiteY4" fmla="*/ 3930 h 135562"/>
                <a:gd name="connsiteX5" fmla="*/ 57 w 422100"/>
                <a:gd name="connsiteY5" fmla="*/ 4945 h 135562"/>
                <a:gd name="connsiteX6" fmla="*/ 57 w 422100"/>
                <a:gd name="connsiteY6" fmla="*/ 5834 h 135562"/>
                <a:gd name="connsiteX7" fmla="*/ 57 w 422100"/>
                <a:gd name="connsiteY7" fmla="*/ 6850 h 135562"/>
                <a:gd name="connsiteX8" fmla="*/ 57 w 422100"/>
                <a:gd name="connsiteY8" fmla="*/ 7612 h 135562"/>
                <a:gd name="connsiteX9" fmla="*/ 57 w 422100"/>
                <a:gd name="connsiteY9" fmla="*/ 8374 h 135562"/>
                <a:gd name="connsiteX10" fmla="*/ 1073 w 422100"/>
                <a:gd name="connsiteY10" fmla="*/ 9008 h 135562"/>
                <a:gd name="connsiteX11" fmla="*/ 1962 w 422100"/>
                <a:gd name="connsiteY11" fmla="*/ 9008 h 135562"/>
                <a:gd name="connsiteX12" fmla="*/ 1962 w 422100"/>
                <a:gd name="connsiteY12" fmla="*/ 9008 h 135562"/>
                <a:gd name="connsiteX13" fmla="*/ 9072 w 422100"/>
                <a:gd name="connsiteY13" fmla="*/ 11167 h 135562"/>
                <a:gd name="connsiteX14" fmla="*/ 416640 w 422100"/>
                <a:gd name="connsiteY14" fmla="*/ 134325 h 135562"/>
                <a:gd name="connsiteX15" fmla="*/ 420322 w 422100"/>
                <a:gd name="connsiteY15" fmla="*/ 135468 h 135562"/>
                <a:gd name="connsiteX16" fmla="*/ 422100 w 422100"/>
                <a:gd name="connsiteY16" fmla="*/ 135468 h 135562"/>
                <a:gd name="connsiteX17" fmla="*/ 418037 w 422100"/>
                <a:gd name="connsiteY17" fmla="*/ 133817 h 135562"/>
                <a:gd name="connsiteX18" fmla="*/ 417630 w 422100"/>
                <a:gd name="connsiteY18" fmla="*/ 127367 h 135562"/>
                <a:gd name="connsiteX19" fmla="*/ 418037 w 422100"/>
                <a:gd name="connsiteY19" fmla="*/ 126961 h 135562"/>
                <a:gd name="connsiteX20" fmla="*/ 420322 w 422100"/>
                <a:gd name="connsiteY20" fmla="*/ 125056 h 135562"/>
                <a:gd name="connsiteX21" fmla="*/ 14024 w 422100"/>
                <a:gd name="connsiteY21" fmla="*/ 2152 h 13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100" h="135562">
                  <a:moveTo>
                    <a:pt x="5517" y="248"/>
                  </a:moveTo>
                  <a:cubicBezTo>
                    <a:pt x="3625" y="-324"/>
                    <a:pt x="1568" y="108"/>
                    <a:pt x="57" y="1390"/>
                  </a:cubicBezTo>
                  <a:lnTo>
                    <a:pt x="57" y="2279"/>
                  </a:lnTo>
                  <a:lnTo>
                    <a:pt x="57" y="3168"/>
                  </a:lnTo>
                  <a:lnTo>
                    <a:pt x="57" y="3930"/>
                  </a:lnTo>
                  <a:cubicBezTo>
                    <a:pt x="7" y="4260"/>
                    <a:pt x="7" y="4615"/>
                    <a:pt x="57" y="4945"/>
                  </a:cubicBezTo>
                  <a:cubicBezTo>
                    <a:pt x="-19" y="5238"/>
                    <a:pt x="-19" y="5542"/>
                    <a:pt x="57" y="5834"/>
                  </a:cubicBezTo>
                  <a:cubicBezTo>
                    <a:pt x="7" y="6164"/>
                    <a:pt x="7" y="6520"/>
                    <a:pt x="57" y="6850"/>
                  </a:cubicBezTo>
                  <a:lnTo>
                    <a:pt x="57" y="7612"/>
                  </a:lnTo>
                  <a:lnTo>
                    <a:pt x="57" y="8374"/>
                  </a:lnTo>
                  <a:lnTo>
                    <a:pt x="1073" y="9008"/>
                  </a:lnTo>
                  <a:lnTo>
                    <a:pt x="1962" y="9008"/>
                  </a:lnTo>
                  <a:lnTo>
                    <a:pt x="1962" y="9008"/>
                  </a:lnTo>
                  <a:lnTo>
                    <a:pt x="9072" y="11167"/>
                  </a:lnTo>
                  <a:lnTo>
                    <a:pt x="416640" y="134325"/>
                  </a:lnTo>
                  <a:lnTo>
                    <a:pt x="420322" y="135468"/>
                  </a:lnTo>
                  <a:cubicBezTo>
                    <a:pt x="420906" y="135595"/>
                    <a:pt x="421516" y="135595"/>
                    <a:pt x="422100" y="135468"/>
                  </a:cubicBezTo>
                  <a:cubicBezTo>
                    <a:pt x="420576" y="135493"/>
                    <a:pt x="419103" y="134896"/>
                    <a:pt x="418037" y="133817"/>
                  </a:cubicBezTo>
                  <a:cubicBezTo>
                    <a:pt x="416145" y="132141"/>
                    <a:pt x="415967" y="129259"/>
                    <a:pt x="417630" y="127367"/>
                  </a:cubicBezTo>
                  <a:cubicBezTo>
                    <a:pt x="417757" y="127228"/>
                    <a:pt x="417897" y="127088"/>
                    <a:pt x="418037" y="126961"/>
                  </a:cubicBezTo>
                  <a:lnTo>
                    <a:pt x="420322" y="125056"/>
                  </a:lnTo>
                  <a:lnTo>
                    <a:pt x="14024" y="2152"/>
                  </a:lnTo>
                  <a:close/>
                </a:path>
              </a:pathLst>
            </a:custGeom>
            <a:solidFill>
              <a:srgbClr val="000000"/>
            </a:solidFill>
            <a:ln w="12690" cap="flat">
              <a:noFill/>
              <a:prstDash val="solid"/>
              <a:miter/>
            </a:ln>
          </p:spPr>
          <p:txBody>
            <a:bodyPr rtlCol="0" anchor="ctr"/>
            <a:lstStyle/>
            <a:p>
              <a:endParaRPr lang="en-US"/>
            </a:p>
          </p:txBody>
        </p:sp>
        <p:sp>
          <p:nvSpPr>
            <p:cNvPr id="597" name="Freeform: Shape 596">
              <a:extLst>
                <a:ext uri="{FF2B5EF4-FFF2-40B4-BE49-F238E27FC236}">
                  <a16:creationId xmlns:a16="http://schemas.microsoft.com/office/drawing/2014/main" id="{85E7C36D-DA35-4CAD-8A69-F15DFF0CBC58}"/>
                </a:ext>
              </a:extLst>
            </p:cNvPr>
            <p:cNvSpPr/>
            <p:nvPr/>
          </p:nvSpPr>
          <p:spPr>
            <a:xfrm>
              <a:off x="11308173" y="3032987"/>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98" name="Freeform: Shape 597">
              <a:extLst>
                <a:ext uri="{FF2B5EF4-FFF2-40B4-BE49-F238E27FC236}">
                  <a16:creationId xmlns:a16="http://schemas.microsoft.com/office/drawing/2014/main" id="{BE552C46-0DB1-4BC6-A93B-636D23778941}"/>
                </a:ext>
              </a:extLst>
            </p:cNvPr>
            <p:cNvSpPr/>
            <p:nvPr/>
          </p:nvSpPr>
          <p:spPr>
            <a:xfrm>
              <a:off x="11306268" y="3032226"/>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599" name="Freeform: Shape 598">
              <a:extLst>
                <a:ext uri="{FF2B5EF4-FFF2-40B4-BE49-F238E27FC236}">
                  <a16:creationId xmlns:a16="http://schemas.microsoft.com/office/drawing/2014/main" id="{F6140378-FDFB-4031-A37C-0834971DC2B1}"/>
                </a:ext>
              </a:extLst>
            </p:cNvPr>
            <p:cNvSpPr/>
            <p:nvPr/>
          </p:nvSpPr>
          <p:spPr>
            <a:xfrm>
              <a:off x="11308680" y="3034765"/>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endParaRPr lang="en-US"/>
            </a:p>
          </p:txBody>
        </p:sp>
        <p:sp>
          <p:nvSpPr>
            <p:cNvPr id="600" name="Freeform: Shape 599">
              <a:extLst>
                <a:ext uri="{FF2B5EF4-FFF2-40B4-BE49-F238E27FC236}">
                  <a16:creationId xmlns:a16="http://schemas.microsoft.com/office/drawing/2014/main" id="{040D2034-7E6D-47A8-BAC2-ACD318784616}"/>
                </a:ext>
              </a:extLst>
            </p:cNvPr>
            <p:cNvSpPr/>
            <p:nvPr/>
          </p:nvSpPr>
          <p:spPr>
            <a:xfrm>
              <a:off x="10883718" y="2905385"/>
              <a:ext cx="420391" cy="132553"/>
            </a:xfrm>
            <a:custGeom>
              <a:avLst/>
              <a:gdLst>
                <a:gd name="connsiteX0" fmla="*/ 6729 w 420391"/>
                <a:gd name="connsiteY0" fmla="*/ 5459 h 132553"/>
                <a:gd name="connsiteX1" fmla="*/ 1651 w 420391"/>
                <a:gd name="connsiteY1" fmla="*/ 8888 h 132553"/>
                <a:gd name="connsiteX2" fmla="*/ 0 w 420391"/>
                <a:gd name="connsiteY2" fmla="*/ 8888 h 132553"/>
                <a:gd name="connsiteX3" fmla="*/ 2920 w 420391"/>
                <a:gd name="connsiteY3" fmla="*/ 9777 h 132553"/>
                <a:gd name="connsiteX4" fmla="*/ 409218 w 420391"/>
                <a:gd name="connsiteY4" fmla="*/ 132554 h 132553"/>
                <a:gd name="connsiteX5" fmla="*/ 416074 w 420391"/>
                <a:gd name="connsiteY5" fmla="*/ 126967 h 132553"/>
                <a:gd name="connsiteX6" fmla="*/ 416074 w 420391"/>
                <a:gd name="connsiteY6" fmla="*/ 126967 h 132553"/>
                <a:gd name="connsiteX7" fmla="*/ 417217 w 420391"/>
                <a:gd name="connsiteY7" fmla="*/ 126967 h 132553"/>
                <a:gd name="connsiteX8" fmla="*/ 418233 w 420391"/>
                <a:gd name="connsiteY8" fmla="*/ 126967 h 132553"/>
                <a:gd name="connsiteX9" fmla="*/ 419249 w 420391"/>
                <a:gd name="connsiteY9" fmla="*/ 126967 h 132553"/>
                <a:gd name="connsiteX10" fmla="*/ 420392 w 420391"/>
                <a:gd name="connsiteY10" fmla="*/ 126967 h 132553"/>
                <a:gd name="connsiteX11" fmla="*/ 420392 w 420391"/>
                <a:gd name="connsiteY11" fmla="*/ 126967 h 132553"/>
                <a:gd name="connsiteX12" fmla="*/ 2540 w 420391"/>
                <a:gd name="connsiteY12" fmla="*/ 0 h 132553"/>
                <a:gd name="connsiteX13" fmla="*/ 6742 w 420391"/>
                <a:gd name="connsiteY13" fmla="*/ 5371 h 132553"/>
                <a:gd name="connsiteX14" fmla="*/ 6729 w 420391"/>
                <a:gd name="connsiteY14" fmla="*/ 5459 h 13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391" h="132553">
                  <a:moveTo>
                    <a:pt x="6729" y="5459"/>
                  </a:moveTo>
                  <a:cubicBezTo>
                    <a:pt x="5929" y="7555"/>
                    <a:pt x="3898" y="8926"/>
                    <a:pt x="1651" y="8888"/>
                  </a:cubicBezTo>
                  <a:lnTo>
                    <a:pt x="0" y="8888"/>
                  </a:lnTo>
                  <a:lnTo>
                    <a:pt x="2920" y="9777"/>
                  </a:lnTo>
                  <a:lnTo>
                    <a:pt x="409218" y="132554"/>
                  </a:lnTo>
                  <a:lnTo>
                    <a:pt x="416074" y="126967"/>
                  </a:lnTo>
                  <a:lnTo>
                    <a:pt x="416074" y="126967"/>
                  </a:lnTo>
                  <a:lnTo>
                    <a:pt x="417217" y="126967"/>
                  </a:lnTo>
                  <a:lnTo>
                    <a:pt x="418233" y="126967"/>
                  </a:lnTo>
                  <a:lnTo>
                    <a:pt x="419249" y="126967"/>
                  </a:lnTo>
                  <a:lnTo>
                    <a:pt x="420392" y="126967"/>
                  </a:lnTo>
                  <a:lnTo>
                    <a:pt x="420392" y="126967"/>
                  </a:lnTo>
                  <a:lnTo>
                    <a:pt x="2540" y="0"/>
                  </a:lnTo>
                  <a:cubicBezTo>
                    <a:pt x="5180" y="330"/>
                    <a:pt x="7059" y="2730"/>
                    <a:pt x="6742" y="5371"/>
                  </a:cubicBezTo>
                  <a:cubicBezTo>
                    <a:pt x="6742" y="5409"/>
                    <a:pt x="6729" y="5434"/>
                    <a:pt x="6729" y="5459"/>
                  </a:cubicBezTo>
                  <a:close/>
                </a:path>
              </a:pathLst>
            </a:custGeom>
            <a:solidFill>
              <a:srgbClr val="000000"/>
            </a:solidFill>
            <a:ln w="12690" cap="flat">
              <a:noFill/>
              <a:prstDash val="solid"/>
              <a:miter/>
            </a:ln>
          </p:spPr>
          <p:txBody>
            <a:bodyPr rtlCol="0" anchor="ctr"/>
            <a:lstStyle/>
            <a:p>
              <a:endParaRPr lang="en-US"/>
            </a:p>
          </p:txBody>
        </p:sp>
        <p:sp>
          <p:nvSpPr>
            <p:cNvPr id="601" name="Freeform: Shape 600">
              <a:extLst>
                <a:ext uri="{FF2B5EF4-FFF2-40B4-BE49-F238E27FC236}">
                  <a16:creationId xmlns:a16="http://schemas.microsoft.com/office/drawing/2014/main" id="{1A6DB887-4D10-4528-AE08-66E71BBF71D9}"/>
                </a:ext>
              </a:extLst>
            </p:cNvPr>
            <p:cNvSpPr/>
            <p:nvPr/>
          </p:nvSpPr>
          <p:spPr>
            <a:xfrm>
              <a:off x="11045327" y="3031718"/>
              <a:ext cx="254846" cy="214828"/>
            </a:xfrm>
            <a:custGeom>
              <a:avLst/>
              <a:gdLst>
                <a:gd name="connsiteX0" fmla="*/ 254847 w 254846"/>
                <a:gd name="connsiteY0" fmla="*/ 0 h 214828"/>
                <a:gd name="connsiteX1" fmla="*/ 254847 w 254846"/>
                <a:gd name="connsiteY1" fmla="*/ 0 h 214828"/>
                <a:gd name="connsiteX2" fmla="*/ 247991 w 254846"/>
                <a:gd name="connsiteY2" fmla="*/ 5587 h 214828"/>
                <a:gd name="connsiteX3" fmla="*/ 3830 w 254846"/>
                <a:gd name="connsiteY3" fmla="*/ 204417 h 214828"/>
                <a:gd name="connsiteX4" fmla="*/ 1545 w 254846"/>
                <a:gd name="connsiteY4" fmla="*/ 206321 h 214828"/>
                <a:gd name="connsiteX5" fmla="*/ 1139 w 254846"/>
                <a:gd name="connsiteY5" fmla="*/ 212771 h 214828"/>
                <a:gd name="connsiteX6" fmla="*/ 1545 w 254846"/>
                <a:gd name="connsiteY6" fmla="*/ 213178 h 214828"/>
                <a:gd name="connsiteX7" fmla="*/ 5608 w 254846"/>
                <a:gd name="connsiteY7" fmla="*/ 214828 h 214828"/>
                <a:gd name="connsiteX8" fmla="*/ 7386 w 254846"/>
                <a:gd name="connsiteY8" fmla="*/ 214828 h 214828"/>
                <a:gd name="connsiteX9" fmla="*/ 8909 w 254846"/>
                <a:gd name="connsiteY9" fmla="*/ 213940 h 214828"/>
                <a:gd name="connsiteX10" fmla="*/ 8909 w 254846"/>
                <a:gd name="connsiteY10" fmla="*/ 213940 h 214828"/>
                <a:gd name="connsiteX11" fmla="*/ 10687 w 254846"/>
                <a:gd name="connsiteY11" fmla="*/ 212543 h 214828"/>
                <a:gd name="connsiteX12" fmla="*/ 252562 w 254846"/>
                <a:gd name="connsiteY12" fmla="*/ 15490 h 214828"/>
                <a:gd name="connsiteX13" fmla="*/ 252562 w 254846"/>
                <a:gd name="connsiteY13" fmla="*/ 4571 h 214828"/>
                <a:gd name="connsiteX14" fmla="*/ 254847 w 254846"/>
                <a:gd name="connsiteY14" fmla="*/ 0 h 21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4846" h="214828">
                  <a:moveTo>
                    <a:pt x="254847" y="0"/>
                  </a:moveTo>
                  <a:lnTo>
                    <a:pt x="254847" y="0"/>
                  </a:lnTo>
                  <a:lnTo>
                    <a:pt x="247991" y="5587"/>
                  </a:lnTo>
                  <a:lnTo>
                    <a:pt x="3830" y="204417"/>
                  </a:lnTo>
                  <a:lnTo>
                    <a:pt x="1545" y="206321"/>
                  </a:lnTo>
                  <a:cubicBezTo>
                    <a:pt x="-347" y="207997"/>
                    <a:pt x="-524" y="210880"/>
                    <a:pt x="1139" y="212771"/>
                  </a:cubicBezTo>
                  <a:cubicBezTo>
                    <a:pt x="1266" y="212911"/>
                    <a:pt x="1406" y="213051"/>
                    <a:pt x="1545" y="213178"/>
                  </a:cubicBezTo>
                  <a:cubicBezTo>
                    <a:pt x="2611" y="214257"/>
                    <a:pt x="4085" y="214854"/>
                    <a:pt x="5608" y="214828"/>
                  </a:cubicBezTo>
                  <a:lnTo>
                    <a:pt x="7386" y="214828"/>
                  </a:lnTo>
                  <a:lnTo>
                    <a:pt x="8909" y="213940"/>
                  </a:lnTo>
                  <a:lnTo>
                    <a:pt x="8909" y="213940"/>
                  </a:lnTo>
                  <a:lnTo>
                    <a:pt x="10687" y="212543"/>
                  </a:lnTo>
                  <a:lnTo>
                    <a:pt x="252562" y="15490"/>
                  </a:lnTo>
                  <a:lnTo>
                    <a:pt x="252562" y="4571"/>
                  </a:lnTo>
                  <a:cubicBezTo>
                    <a:pt x="252384" y="2730"/>
                    <a:pt x="253272" y="965"/>
                    <a:pt x="254847" y="0"/>
                  </a:cubicBezTo>
                  <a:close/>
                </a:path>
              </a:pathLst>
            </a:custGeom>
            <a:solidFill>
              <a:srgbClr val="000000"/>
            </a:solidFill>
            <a:ln w="12690" cap="flat">
              <a:noFill/>
              <a:prstDash val="solid"/>
              <a:miter/>
            </a:ln>
          </p:spPr>
          <p:txBody>
            <a:bodyPr rtlCol="0" anchor="ctr"/>
            <a:lstStyle/>
            <a:p>
              <a:endParaRPr lang="en-US"/>
            </a:p>
          </p:txBody>
        </p:sp>
        <p:sp>
          <p:nvSpPr>
            <p:cNvPr id="602" name="Freeform: Shape 601">
              <a:extLst>
                <a:ext uri="{FF2B5EF4-FFF2-40B4-BE49-F238E27FC236}">
                  <a16:creationId xmlns:a16="http://schemas.microsoft.com/office/drawing/2014/main" id="{43D53B88-0CC9-4C2E-8D81-2ED89E137BEA}"/>
                </a:ext>
              </a:extLst>
            </p:cNvPr>
            <p:cNvSpPr/>
            <p:nvPr/>
          </p:nvSpPr>
          <p:spPr>
            <a:xfrm>
              <a:off x="11308553" y="3033749"/>
              <a:ext cx="57" cy="1015"/>
            </a:xfrm>
            <a:custGeom>
              <a:avLst/>
              <a:gdLst>
                <a:gd name="connsiteX0" fmla="*/ 0 w 57"/>
                <a:gd name="connsiteY0" fmla="*/ 762 h 1015"/>
                <a:gd name="connsiteX1" fmla="*/ 0 w 57"/>
                <a:gd name="connsiteY1" fmla="*/ 0 h 1015"/>
                <a:gd name="connsiteX2" fmla="*/ 0 w 57"/>
                <a:gd name="connsiteY2" fmla="*/ 1016 h 1015"/>
              </a:gdLst>
              <a:ahLst/>
              <a:cxnLst>
                <a:cxn ang="0">
                  <a:pos x="connsiteX0" y="connsiteY0"/>
                </a:cxn>
                <a:cxn ang="0">
                  <a:pos x="connsiteX1" y="connsiteY1"/>
                </a:cxn>
                <a:cxn ang="0">
                  <a:pos x="connsiteX2" y="connsiteY2"/>
                </a:cxn>
              </a:cxnLst>
              <a:rect l="l" t="t" r="r" b="b"/>
              <a:pathLst>
                <a:path w="57" h="1015">
                  <a:moveTo>
                    <a:pt x="0" y="762"/>
                  </a:moveTo>
                  <a:cubicBezTo>
                    <a:pt x="0" y="762"/>
                    <a:pt x="0" y="762"/>
                    <a:pt x="0" y="0"/>
                  </a:cubicBezTo>
                  <a:cubicBezTo>
                    <a:pt x="77" y="330"/>
                    <a:pt x="77" y="686"/>
                    <a:pt x="0" y="1016"/>
                  </a:cubicBezTo>
                  <a:close/>
                </a:path>
              </a:pathLst>
            </a:custGeom>
            <a:solidFill>
              <a:srgbClr val="000000"/>
            </a:solidFill>
            <a:ln w="12690" cap="flat">
              <a:noFill/>
              <a:prstDash val="solid"/>
              <a:miter/>
            </a:ln>
          </p:spPr>
          <p:txBody>
            <a:bodyPr rtlCol="0" anchor="ctr"/>
            <a:lstStyle/>
            <a:p>
              <a:endParaRPr lang="en-US"/>
            </a:p>
          </p:txBody>
        </p:sp>
        <p:sp>
          <p:nvSpPr>
            <p:cNvPr id="603" name="Freeform: Shape 602">
              <a:extLst>
                <a:ext uri="{FF2B5EF4-FFF2-40B4-BE49-F238E27FC236}">
                  <a16:creationId xmlns:a16="http://schemas.microsoft.com/office/drawing/2014/main" id="{6450B234-A296-4771-B7D8-B2E5D74E20C2}"/>
                </a:ext>
              </a:extLst>
            </p:cNvPr>
            <p:cNvSpPr/>
            <p:nvPr/>
          </p:nvSpPr>
          <p:spPr>
            <a:xfrm>
              <a:off x="11305506" y="3031718"/>
              <a:ext cx="761" cy="12696"/>
            </a:xfrm>
            <a:custGeom>
              <a:avLst/>
              <a:gdLst>
                <a:gd name="connsiteX0" fmla="*/ 762 w 761"/>
                <a:gd name="connsiteY0" fmla="*/ 0 h 12696"/>
                <a:gd name="connsiteX1" fmla="*/ 0 w 761"/>
                <a:gd name="connsiteY1" fmla="*/ 0 h 12696"/>
                <a:gd name="connsiteX2" fmla="*/ 762 w 761"/>
                <a:gd name="connsiteY2" fmla="*/ 0 h 12696"/>
              </a:gdLst>
              <a:ahLst/>
              <a:cxnLst>
                <a:cxn ang="0">
                  <a:pos x="connsiteX0" y="connsiteY0"/>
                </a:cxn>
                <a:cxn ang="0">
                  <a:pos x="connsiteX1" y="connsiteY1"/>
                </a:cxn>
                <a:cxn ang="0">
                  <a:pos x="connsiteX2" y="connsiteY2"/>
                </a:cxn>
              </a:cxnLst>
              <a:rect l="l" t="t" r="r" b="b"/>
              <a:pathLst>
                <a:path w="761" h="12696">
                  <a:moveTo>
                    <a:pt x="762" y="0"/>
                  </a:moveTo>
                  <a:cubicBezTo>
                    <a:pt x="762" y="0"/>
                    <a:pt x="762" y="0"/>
                    <a:pt x="0" y="0"/>
                  </a:cubicBezTo>
                  <a:lnTo>
                    <a:pt x="762" y="0"/>
                  </a:lnTo>
                  <a:close/>
                </a:path>
              </a:pathLst>
            </a:custGeom>
            <a:solidFill>
              <a:srgbClr val="000000"/>
            </a:solidFill>
            <a:ln w="12690" cap="flat">
              <a:noFill/>
              <a:prstDash val="solid"/>
              <a:miter/>
            </a:ln>
          </p:spPr>
          <p:txBody>
            <a:bodyPr rtlCol="0" anchor="ctr"/>
            <a:lstStyle/>
            <a:p>
              <a:endParaRPr lang="en-US"/>
            </a:p>
          </p:txBody>
        </p:sp>
        <p:sp>
          <p:nvSpPr>
            <p:cNvPr id="604" name="Freeform: Shape 603">
              <a:extLst>
                <a:ext uri="{FF2B5EF4-FFF2-40B4-BE49-F238E27FC236}">
                  <a16:creationId xmlns:a16="http://schemas.microsoft.com/office/drawing/2014/main" id="{D31C1287-2B78-4D81-A929-C72993856B18}"/>
                </a:ext>
              </a:extLst>
            </p:cNvPr>
            <p:cNvSpPr/>
            <p:nvPr/>
          </p:nvSpPr>
          <p:spPr>
            <a:xfrm>
              <a:off x="11307665" y="3032987"/>
              <a:ext cx="12696" cy="761"/>
            </a:xfrm>
            <a:custGeom>
              <a:avLst/>
              <a:gdLst>
                <a:gd name="connsiteX0" fmla="*/ 0 w 12696"/>
                <a:gd name="connsiteY0" fmla="*/ 0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cubicBezTo>
                    <a:pt x="0" y="0"/>
                    <a:pt x="0" y="0"/>
                    <a:pt x="0" y="0"/>
                  </a:cubicBezTo>
                  <a:lnTo>
                    <a:pt x="0" y="0"/>
                  </a:lnTo>
                  <a:lnTo>
                    <a:pt x="0" y="762"/>
                  </a:lnTo>
                  <a:close/>
                </a:path>
              </a:pathLst>
            </a:custGeom>
            <a:solidFill>
              <a:srgbClr val="000000"/>
            </a:solidFill>
            <a:ln w="12690" cap="flat">
              <a:noFill/>
              <a:prstDash val="solid"/>
              <a:miter/>
            </a:ln>
          </p:spPr>
          <p:txBody>
            <a:bodyPr rtlCol="0" anchor="ctr"/>
            <a:lstStyle/>
            <a:p>
              <a:endParaRPr lang="en-US"/>
            </a:p>
          </p:txBody>
        </p:sp>
        <p:sp>
          <p:nvSpPr>
            <p:cNvPr id="605" name="Freeform: Shape 604">
              <a:extLst>
                <a:ext uri="{FF2B5EF4-FFF2-40B4-BE49-F238E27FC236}">
                  <a16:creationId xmlns:a16="http://schemas.microsoft.com/office/drawing/2014/main" id="{33F8F802-FCE8-4FE3-8704-39D2B5FADC89}"/>
                </a:ext>
              </a:extLst>
            </p:cNvPr>
            <p:cNvSpPr/>
            <p:nvPr/>
          </p:nvSpPr>
          <p:spPr>
            <a:xfrm>
              <a:off x="12069760" y="2557510"/>
              <a:ext cx="115128" cy="42392"/>
            </a:xfrm>
            <a:custGeom>
              <a:avLst/>
              <a:gdLst>
                <a:gd name="connsiteX0" fmla="*/ 6951 w 115128"/>
                <a:gd name="connsiteY0" fmla="*/ 239 h 42392"/>
                <a:gd name="connsiteX1" fmla="*/ 95 w 115128"/>
                <a:gd name="connsiteY1" fmla="*/ 3413 h 42392"/>
                <a:gd name="connsiteX2" fmla="*/ 95 w 115128"/>
                <a:gd name="connsiteY2" fmla="*/ 5064 h 42392"/>
                <a:gd name="connsiteX3" fmla="*/ 95 w 115128"/>
                <a:gd name="connsiteY3" fmla="*/ 6080 h 42392"/>
                <a:gd name="connsiteX4" fmla="*/ 95 w 115128"/>
                <a:gd name="connsiteY4" fmla="*/ 6968 h 42392"/>
                <a:gd name="connsiteX5" fmla="*/ 730 w 115128"/>
                <a:gd name="connsiteY5" fmla="*/ 7730 h 42392"/>
                <a:gd name="connsiteX6" fmla="*/ 730 w 115128"/>
                <a:gd name="connsiteY6" fmla="*/ 8492 h 42392"/>
                <a:gd name="connsiteX7" fmla="*/ 1492 w 115128"/>
                <a:gd name="connsiteY7" fmla="*/ 8492 h 42392"/>
                <a:gd name="connsiteX8" fmla="*/ 2508 w 115128"/>
                <a:gd name="connsiteY8" fmla="*/ 8492 h 42392"/>
                <a:gd name="connsiteX9" fmla="*/ 2508 w 115128"/>
                <a:gd name="connsiteY9" fmla="*/ 8492 h 42392"/>
                <a:gd name="connsiteX10" fmla="*/ 115129 w 115128"/>
                <a:gd name="connsiteY10" fmla="*/ 42392 h 42392"/>
                <a:gd name="connsiteX11" fmla="*/ 115129 w 115128"/>
                <a:gd name="connsiteY11" fmla="*/ 32108 h 42392"/>
                <a:gd name="connsiteX12" fmla="*/ 9618 w 115128"/>
                <a:gd name="connsiteY12" fmla="*/ 239 h 4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128" h="42392">
                  <a:moveTo>
                    <a:pt x="6951" y="239"/>
                  </a:moveTo>
                  <a:cubicBezTo>
                    <a:pt x="4196" y="-586"/>
                    <a:pt x="1251" y="785"/>
                    <a:pt x="95" y="3413"/>
                  </a:cubicBezTo>
                  <a:cubicBezTo>
                    <a:pt x="-32" y="3959"/>
                    <a:pt x="-32" y="4518"/>
                    <a:pt x="95" y="5064"/>
                  </a:cubicBezTo>
                  <a:cubicBezTo>
                    <a:pt x="95" y="5064"/>
                    <a:pt x="95" y="5826"/>
                    <a:pt x="95" y="6080"/>
                  </a:cubicBezTo>
                  <a:cubicBezTo>
                    <a:pt x="95" y="6334"/>
                    <a:pt x="95" y="6715"/>
                    <a:pt x="95" y="6968"/>
                  </a:cubicBezTo>
                  <a:lnTo>
                    <a:pt x="730" y="7730"/>
                  </a:lnTo>
                  <a:lnTo>
                    <a:pt x="730" y="8492"/>
                  </a:lnTo>
                  <a:lnTo>
                    <a:pt x="1492" y="8492"/>
                  </a:lnTo>
                  <a:lnTo>
                    <a:pt x="2508" y="8492"/>
                  </a:lnTo>
                  <a:lnTo>
                    <a:pt x="2508" y="8492"/>
                  </a:lnTo>
                  <a:lnTo>
                    <a:pt x="115129" y="42392"/>
                  </a:lnTo>
                  <a:lnTo>
                    <a:pt x="115129" y="32108"/>
                  </a:lnTo>
                  <a:lnTo>
                    <a:pt x="9618" y="239"/>
                  </a:lnTo>
                  <a:close/>
                </a:path>
              </a:pathLst>
            </a:custGeom>
            <a:solidFill>
              <a:srgbClr val="000000"/>
            </a:solidFill>
            <a:ln w="12690" cap="flat">
              <a:noFill/>
              <a:prstDash val="solid"/>
              <a:miter/>
            </a:ln>
          </p:spPr>
          <p:txBody>
            <a:bodyPr rtlCol="0" anchor="ctr"/>
            <a:lstStyle/>
            <a:p>
              <a:endParaRPr lang="en-US"/>
            </a:p>
          </p:txBody>
        </p:sp>
        <p:sp>
          <p:nvSpPr>
            <p:cNvPr id="606" name="Freeform: Shape 605">
              <a:extLst>
                <a:ext uri="{FF2B5EF4-FFF2-40B4-BE49-F238E27FC236}">
                  <a16:creationId xmlns:a16="http://schemas.microsoft.com/office/drawing/2014/main" id="{00F383F2-495A-4D04-8C0B-5CD541B370FC}"/>
                </a:ext>
              </a:extLst>
            </p:cNvPr>
            <p:cNvSpPr/>
            <p:nvPr/>
          </p:nvSpPr>
          <p:spPr>
            <a:xfrm>
              <a:off x="12070560" y="2143685"/>
              <a:ext cx="115217" cy="42813"/>
            </a:xfrm>
            <a:custGeom>
              <a:avLst/>
              <a:gdLst>
                <a:gd name="connsiteX0" fmla="*/ 6151 w 115217"/>
                <a:gd name="connsiteY0" fmla="*/ 279 h 42813"/>
                <a:gd name="connsiteX1" fmla="*/ 692 w 115217"/>
                <a:gd name="connsiteY1" fmla="*/ 1422 h 42813"/>
                <a:gd name="connsiteX2" fmla="*/ 57 w 115217"/>
                <a:gd name="connsiteY2" fmla="*/ 2311 h 42813"/>
                <a:gd name="connsiteX3" fmla="*/ 57 w 115217"/>
                <a:gd name="connsiteY3" fmla="*/ 3073 h 42813"/>
                <a:gd name="connsiteX4" fmla="*/ 57 w 115217"/>
                <a:gd name="connsiteY4" fmla="*/ 3073 h 42813"/>
                <a:gd name="connsiteX5" fmla="*/ 57 w 115217"/>
                <a:gd name="connsiteY5" fmla="*/ 3708 h 42813"/>
                <a:gd name="connsiteX6" fmla="*/ 57 w 115217"/>
                <a:gd name="connsiteY6" fmla="*/ 4723 h 42813"/>
                <a:gd name="connsiteX7" fmla="*/ 57 w 115217"/>
                <a:gd name="connsiteY7" fmla="*/ 5612 h 42813"/>
                <a:gd name="connsiteX8" fmla="*/ 57 w 115217"/>
                <a:gd name="connsiteY8" fmla="*/ 6501 h 42813"/>
                <a:gd name="connsiteX9" fmla="*/ 57 w 115217"/>
                <a:gd name="connsiteY9" fmla="*/ 7390 h 42813"/>
                <a:gd name="connsiteX10" fmla="*/ 692 w 115217"/>
                <a:gd name="connsiteY10" fmla="*/ 8024 h 42813"/>
                <a:gd name="connsiteX11" fmla="*/ 1708 w 115217"/>
                <a:gd name="connsiteY11" fmla="*/ 8786 h 42813"/>
                <a:gd name="connsiteX12" fmla="*/ 2596 w 115217"/>
                <a:gd name="connsiteY12" fmla="*/ 8786 h 42813"/>
                <a:gd name="connsiteX13" fmla="*/ 2596 w 115217"/>
                <a:gd name="connsiteY13" fmla="*/ 8786 h 42813"/>
                <a:gd name="connsiteX14" fmla="*/ 9707 w 115217"/>
                <a:gd name="connsiteY14" fmla="*/ 10945 h 42813"/>
                <a:gd name="connsiteX15" fmla="*/ 115217 w 115217"/>
                <a:gd name="connsiteY15" fmla="*/ 42814 h 42813"/>
                <a:gd name="connsiteX16" fmla="*/ 115217 w 115217"/>
                <a:gd name="connsiteY16" fmla="*/ 32529 h 42813"/>
                <a:gd name="connsiteX17" fmla="*/ 14912 w 115217"/>
                <a:gd name="connsiteY17" fmla="*/ 2184 h 4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217" h="42813">
                  <a:moveTo>
                    <a:pt x="6151" y="279"/>
                  </a:moveTo>
                  <a:cubicBezTo>
                    <a:pt x="4260" y="-343"/>
                    <a:pt x="2177" y="89"/>
                    <a:pt x="692" y="1422"/>
                  </a:cubicBezTo>
                  <a:cubicBezTo>
                    <a:pt x="413" y="1663"/>
                    <a:pt x="196" y="1968"/>
                    <a:pt x="57" y="2311"/>
                  </a:cubicBezTo>
                  <a:cubicBezTo>
                    <a:pt x="19" y="2565"/>
                    <a:pt x="19" y="2819"/>
                    <a:pt x="57" y="3073"/>
                  </a:cubicBezTo>
                  <a:lnTo>
                    <a:pt x="57" y="3073"/>
                  </a:lnTo>
                  <a:lnTo>
                    <a:pt x="57" y="3708"/>
                  </a:lnTo>
                  <a:cubicBezTo>
                    <a:pt x="-7" y="4038"/>
                    <a:pt x="-7" y="4393"/>
                    <a:pt x="57" y="4723"/>
                  </a:cubicBezTo>
                  <a:cubicBezTo>
                    <a:pt x="-7" y="5015"/>
                    <a:pt x="-7" y="5320"/>
                    <a:pt x="57" y="5612"/>
                  </a:cubicBezTo>
                  <a:cubicBezTo>
                    <a:pt x="-19" y="5904"/>
                    <a:pt x="-19" y="6209"/>
                    <a:pt x="57" y="6501"/>
                  </a:cubicBezTo>
                  <a:cubicBezTo>
                    <a:pt x="31" y="6793"/>
                    <a:pt x="31" y="7098"/>
                    <a:pt x="57" y="7390"/>
                  </a:cubicBezTo>
                  <a:lnTo>
                    <a:pt x="692" y="8024"/>
                  </a:lnTo>
                  <a:cubicBezTo>
                    <a:pt x="971" y="8342"/>
                    <a:pt x="1314" y="8609"/>
                    <a:pt x="1708" y="8786"/>
                  </a:cubicBezTo>
                  <a:lnTo>
                    <a:pt x="2596" y="8786"/>
                  </a:lnTo>
                  <a:lnTo>
                    <a:pt x="2596" y="8786"/>
                  </a:lnTo>
                  <a:lnTo>
                    <a:pt x="9707" y="10945"/>
                  </a:lnTo>
                  <a:lnTo>
                    <a:pt x="115217" y="42814"/>
                  </a:lnTo>
                  <a:lnTo>
                    <a:pt x="115217" y="32529"/>
                  </a:lnTo>
                  <a:lnTo>
                    <a:pt x="14912" y="2184"/>
                  </a:lnTo>
                  <a:close/>
                </a:path>
              </a:pathLst>
            </a:custGeom>
            <a:solidFill>
              <a:srgbClr val="000000"/>
            </a:solidFill>
            <a:ln w="12690" cap="flat">
              <a:noFill/>
              <a:prstDash val="solid"/>
              <a:miter/>
            </a:ln>
          </p:spPr>
          <p:txBody>
            <a:bodyPr rtlCol="0" anchor="ctr"/>
            <a:lstStyle/>
            <a:p>
              <a:endParaRPr lang="en-US"/>
            </a:p>
          </p:txBody>
        </p:sp>
        <p:sp>
          <p:nvSpPr>
            <p:cNvPr id="607" name="Freeform: Shape 606">
              <a:extLst>
                <a:ext uri="{FF2B5EF4-FFF2-40B4-BE49-F238E27FC236}">
                  <a16:creationId xmlns:a16="http://schemas.microsoft.com/office/drawing/2014/main" id="{3A5CB5C7-2174-4571-8F04-ABC313A4C6D2}"/>
                </a:ext>
              </a:extLst>
            </p:cNvPr>
            <p:cNvSpPr/>
            <p:nvPr/>
          </p:nvSpPr>
          <p:spPr>
            <a:xfrm>
              <a:off x="11513100" y="3434457"/>
              <a:ext cx="672931" cy="224858"/>
            </a:xfrm>
            <a:custGeom>
              <a:avLst/>
              <a:gdLst>
                <a:gd name="connsiteX0" fmla="*/ 7364 w 672931"/>
                <a:gd name="connsiteY0" fmla="*/ 3555 h 224858"/>
                <a:gd name="connsiteX1" fmla="*/ 1904 w 672931"/>
                <a:gd name="connsiteY1" fmla="*/ 8380 h 224858"/>
                <a:gd name="connsiteX2" fmla="*/ 0 w 672931"/>
                <a:gd name="connsiteY2" fmla="*/ 8380 h 224858"/>
                <a:gd name="connsiteX3" fmla="*/ 0 w 672931"/>
                <a:gd name="connsiteY3" fmla="*/ 8380 h 224858"/>
                <a:gd name="connsiteX4" fmla="*/ 672932 w 672931"/>
                <a:gd name="connsiteY4" fmla="*/ 224859 h 224858"/>
                <a:gd name="connsiteX5" fmla="*/ 672932 w 672931"/>
                <a:gd name="connsiteY5" fmla="*/ 214448 h 224858"/>
                <a:gd name="connsiteX6" fmla="*/ 7364 w 672931"/>
                <a:gd name="connsiteY6" fmla="*/ 0 h 22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31" h="224858">
                  <a:moveTo>
                    <a:pt x="7364" y="3555"/>
                  </a:moveTo>
                  <a:cubicBezTo>
                    <a:pt x="7161" y="6386"/>
                    <a:pt x="4736" y="8519"/>
                    <a:pt x="1904" y="8380"/>
                  </a:cubicBezTo>
                  <a:lnTo>
                    <a:pt x="0" y="8380"/>
                  </a:lnTo>
                  <a:lnTo>
                    <a:pt x="0" y="8380"/>
                  </a:lnTo>
                  <a:lnTo>
                    <a:pt x="672932" y="224859"/>
                  </a:lnTo>
                  <a:lnTo>
                    <a:pt x="672932" y="214448"/>
                  </a:lnTo>
                  <a:lnTo>
                    <a:pt x="7364" y="0"/>
                  </a:lnTo>
                  <a:close/>
                </a:path>
              </a:pathLst>
            </a:custGeom>
            <a:solidFill>
              <a:schemeClr val="accent4"/>
            </a:solidFill>
            <a:ln w="12690" cap="flat">
              <a:noFill/>
              <a:prstDash val="solid"/>
              <a:miter/>
            </a:ln>
          </p:spPr>
          <p:txBody>
            <a:bodyPr rtlCol="0" anchor="ctr"/>
            <a:lstStyle/>
            <a:p>
              <a:endParaRPr lang="en-US"/>
            </a:p>
          </p:txBody>
        </p:sp>
        <p:sp>
          <p:nvSpPr>
            <p:cNvPr id="608" name="Freeform: Shape 607">
              <a:extLst>
                <a:ext uri="{FF2B5EF4-FFF2-40B4-BE49-F238E27FC236}">
                  <a16:creationId xmlns:a16="http://schemas.microsoft.com/office/drawing/2014/main" id="{056E8007-D843-4FB7-AA9E-1BEC565C6666}"/>
                </a:ext>
              </a:extLst>
            </p:cNvPr>
            <p:cNvSpPr/>
            <p:nvPr/>
          </p:nvSpPr>
          <p:spPr>
            <a:xfrm>
              <a:off x="11509926" y="3229025"/>
              <a:ext cx="9" cy="888"/>
            </a:xfrm>
            <a:custGeom>
              <a:avLst/>
              <a:gdLst>
                <a:gd name="connsiteX0" fmla="*/ 0 w 9"/>
                <a:gd name="connsiteY0" fmla="*/ 127 h 888"/>
                <a:gd name="connsiteX1" fmla="*/ 0 w 9"/>
                <a:gd name="connsiteY1" fmla="*/ 889 h 888"/>
                <a:gd name="connsiteX2" fmla="*/ 0 w 9"/>
                <a:gd name="connsiteY2" fmla="*/ 0 h 888"/>
              </a:gdLst>
              <a:ahLst/>
              <a:cxnLst>
                <a:cxn ang="0">
                  <a:pos x="connsiteX0" y="connsiteY0"/>
                </a:cxn>
                <a:cxn ang="0">
                  <a:pos x="connsiteX1" y="connsiteY1"/>
                </a:cxn>
                <a:cxn ang="0">
                  <a:pos x="connsiteX2" y="connsiteY2"/>
                </a:cxn>
              </a:cxnLst>
              <a:rect l="l" t="t" r="r" b="b"/>
              <a:pathLst>
                <a:path w="9" h="888">
                  <a:moveTo>
                    <a:pt x="0" y="127"/>
                  </a:moveTo>
                  <a:cubicBezTo>
                    <a:pt x="0" y="127"/>
                    <a:pt x="0" y="127"/>
                    <a:pt x="0" y="889"/>
                  </a:cubicBezTo>
                  <a:cubicBezTo>
                    <a:pt x="12" y="597"/>
                    <a:pt x="12" y="292"/>
                    <a:pt x="0" y="0"/>
                  </a:cubicBezTo>
                  <a:close/>
                </a:path>
              </a:pathLst>
            </a:custGeom>
            <a:solidFill>
              <a:srgbClr val="000000"/>
            </a:solidFill>
            <a:ln w="12690" cap="flat">
              <a:noFill/>
              <a:prstDash val="solid"/>
              <a:miter/>
            </a:ln>
          </p:spPr>
          <p:txBody>
            <a:bodyPr rtlCol="0" anchor="ctr"/>
            <a:lstStyle/>
            <a:p>
              <a:endParaRPr lang="en-US"/>
            </a:p>
          </p:txBody>
        </p:sp>
        <p:sp>
          <p:nvSpPr>
            <p:cNvPr id="609" name="Freeform: Shape 608">
              <a:extLst>
                <a:ext uri="{FF2B5EF4-FFF2-40B4-BE49-F238E27FC236}">
                  <a16:creationId xmlns:a16="http://schemas.microsoft.com/office/drawing/2014/main" id="{792DEF78-5B52-4AB5-98E5-4766575947E3}"/>
                </a:ext>
              </a:extLst>
            </p:cNvPr>
            <p:cNvSpPr/>
            <p:nvPr/>
          </p:nvSpPr>
          <p:spPr>
            <a:xfrm>
              <a:off x="11513100" y="3228390"/>
              <a:ext cx="672677" cy="223208"/>
            </a:xfrm>
            <a:custGeom>
              <a:avLst/>
              <a:gdLst>
                <a:gd name="connsiteX0" fmla="*/ 5713 w 672677"/>
                <a:gd name="connsiteY0" fmla="*/ 5967 h 223208"/>
                <a:gd name="connsiteX1" fmla="*/ 1904 w 672677"/>
                <a:gd name="connsiteY1" fmla="*/ 7364 h 223208"/>
                <a:gd name="connsiteX2" fmla="*/ 0 w 672677"/>
                <a:gd name="connsiteY2" fmla="*/ 7364 h 223208"/>
                <a:gd name="connsiteX3" fmla="*/ 0 w 672677"/>
                <a:gd name="connsiteY3" fmla="*/ 7364 h 223208"/>
                <a:gd name="connsiteX4" fmla="*/ 1777 w 672677"/>
                <a:gd name="connsiteY4" fmla="*/ 7364 h 223208"/>
                <a:gd name="connsiteX5" fmla="*/ 672678 w 672677"/>
                <a:gd name="connsiteY5" fmla="*/ 223208 h 223208"/>
                <a:gd name="connsiteX6" fmla="*/ 672678 w 672677"/>
                <a:gd name="connsiteY6" fmla="*/ 212797 h 223208"/>
                <a:gd name="connsiteX7" fmla="*/ 12443 w 672677"/>
                <a:gd name="connsiteY7" fmla="*/ 0 h 22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77" h="223208">
                  <a:moveTo>
                    <a:pt x="5713" y="5967"/>
                  </a:moveTo>
                  <a:cubicBezTo>
                    <a:pt x="4647" y="6869"/>
                    <a:pt x="3301" y="7364"/>
                    <a:pt x="1904" y="7364"/>
                  </a:cubicBezTo>
                  <a:lnTo>
                    <a:pt x="0" y="7364"/>
                  </a:lnTo>
                  <a:lnTo>
                    <a:pt x="0" y="7364"/>
                  </a:lnTo>
                  <a:lnTo>
                    <a:pt x="1777" y="7364"/>
                  </a:lnTo>
                  <a:lnTo>
                    <a:pt x="672678" y="223208"/>
                  </a:lnTo>
                  <a:lnTo>
                    <a:pt x="672678" y="212797"/>
                  </a:lnTo>
                  <a:lnTo>
                    <a:pt x="12443" y="0"/>
                  </a:lnTo>
                  <a:close/>
                </a:path>
              </a:pathLst>
            </a:custGeom>
            <a:solidFill>
              <a:srgbClr val="000000"/>
            </a:solidFill>
            <a:ln w="12690" cap="flat">
              <a:noFill/>
              <a:prstDash val="solid"/>
              <a:miter/>
            </a:ln>
          </p:spPr>
          <p:txBody>
            <a:bodyPr rtlCol="0" anchor="ctr"/>
            <a:lstStyle/>
            <a:p>
              <a:endParaRPr lang="en-US"/>
            </a:p>
          </p:txBody>
        </p:sp>
        <p:sp>
          <p:nvSpPr>
            <p:cNvPr id="610" name="Freeform: Shape 609">
              <a:extLst>
                <a:ext uri="{FF2B5EF4-FFF2-40B4-BE49-F238E27FC236}">
                  <a16:creationId xmlns:a16="http://schemas.microsoft.com/office/drawing/2014/main" id="{0372DF7C-7C4E-4099-A7D6-7571AF2C13A0}"/>
                </a:ext>
              </a:extLst>
            </p:cNvPr>
            <p:cNvSpPr/>
            <p:nvPr/>
          </p:nvSpPr>
          <p:spPr>
            <a:xfrm>
              <a:off x="12098423" y="2705793"/>
              <a:ext cx="87608" cy="36566"/>
            </a:xfrm>
            <a:custGeom>
              <a:avLst/>
              <a:gdLst>
                <a:gd name="connsiteX0" fmla="*/ 0 w 87608"/>
                <a:gd name="connsiteY0" fmla="*/ 0 h 36566"/>
                <a:gd name="connsiteX1" fmla="*/ 2920 w 87608"/>
                <a:gd name="connsiteY1" fmla="*/ 1270 h 36566"/>
                <a:gd name="connsiteX2" fmla="*/ 3263 w 87608"/>
                <a:gd name="connsiteY2" fmla="*/ 7910 h 36566"/>
                <a:gd name="connsiteX3" fmla="*/ 2920 w 87608"/>
                <a:gd name="connsiteY3" fmla="*/ 8253 h 36566"/>
                <a:gd name="connsiteX4" fmla="*/ 635 w 87608"/>
                <a:gd name="connsiteY4" fmla="*/ 10284 h 36566"/>
                <a:gd name="connsiteX5" fmla="*/ 87608 w 87608"/>
                <a:gd name="connsiteY5" fmla="*/ 36567 h 36566"/>
                <a:gd name="connsiteX6" fmla="*/ 87608 w 87608"/>
                <a:gd name="connsiteY6" fmla="*/ 26282 h 36566"/>
                <a:gd name="connsiteX7" fmla="*/ 889 w 87608"/>
                <a:gd name="connsiteY7" fmla="*/ 0 h 3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08" h="36566">
                  <a:moveTo>
                    <a:pt x="0" y="0"/>
                  </a:moveTo>
                  <a:cubicBezTo>
                    <a:pt x="1080" y="127"/>
                    <a:pt x="2095" y="571"/>
                    <a:pt x="2920" y="1270"/>
                  </a:cubicBezTo>
                  <a:cubicBezTo>
                    <a:pt x="4850" y="3009"/>
                    <a:pt x="5002" y="5980"/>
                    <a:pt x="3263" y="7910"/>
                  </a:cubicBezTo>
                  <a:cubicBezTo>
                    <a:pt x="3162" y="8024"/>
                    <a:pt x="3047" y="8139"/>
                    <a:pt x="2920" y="8253"/>
                  </a:cubicBezTo>
                  <a:lnTo>
                    <a:pt x="635" y="10284"/>
                  </a:lnTo>
                  <a:lnTo>
                    <a:pt x="87608" y="36567"/>
                  </a:lnTo>
                  <a:lnTo>
                    <a:pt x="87608" y="26282"/>
                  </a:lnTo>
                  <a:lnTo>
                    <a:pt x="889" y="0"/>
                  </a:lnTo>
                  <a:close/>
                </a:path>
              </a:pathLst>
            </a:custGeom>
            <a:solidFill>
              <a:srgbClr val="000000"/>
            </a:solidFill>
            <a:ln w="12690" cap="flat">
              <a:noFill/>
              <a:prstDash val="solid"/>
              <a:miter/>
            </a:ln>
          </p:spPr>
          <p:txBody>
            <a:bodyPr rtlCol="0" anchor="ctr"/>
            <a:lstStyle/>
            <a:p>
              <a:endParaRPr lang="en-US"/>
            </a:p>
          </p:txBody>
        </p:sp>
        <p:sp>
          <p:nvSpPr>
            <p:cNvPr id="611" name="Freeform: Shape 610">
              <a:extLst>
                <a:ext uri="{FF2B5EF4-FFF2-40B4-BE49-F238E27FC236}">
                  <a16:creationId xmlns:a16="http://schemas.microsoft.com/office/drawing/2014/main" id="{44A7381D-AB02-43E2-BB2B-6F049DC067C1}"/>
                </a:ext>
              </a:extLst>
            </p:cNvPr>
            <p:cNvSpPr/>
            <p:nvPr/>
          </p:nvSpPr>
          <p:spPr>
            <a:xfrm>
              <a:off x="11992024" y="4158042"/>
              <a:ext cx="189690" cy="251267"/>
            </a:xfrm>
            <a:custGeom>
              <a:avLst/>
              <a:gdLst>
                <a:gd name="connsiteX0" fmla="*/ 184231 w 189690"/>
                <a:gd name="connsiteY0" fmla="*/ 6475 h 251267"/>
                <a:gd name="connsiteX1" fmla="*/ 178899 w 189690"/>
                <a:gd name="connsiteY1" fmla="*/ 1663 h 251267"/>
                <a:gd name="connsiteX2" fmla="*/ 178899 w 189690"/>
                <a:gd name="connsiteY2" fmla="*/ 1524 h 251267"/>
                <a:gd name="connsiteX3" fmla="*/ 178899 w 189690"/>
                <a:gd name="connsiteY3" fmla="*/ 0 h 251267"/>
                <a:gd name="connsiteX4" fmla="*/ 0 w 189690"/>
                <a:gd name="connsiteY4" fmla="*/ 233746 h 251267"/>
                <a:gd name="connsiteX5" fmla="*/ 0 w 189690"/>
                <a:gd name="connsiteY5" fmla="*/ 249363 h 251267"/>
                <a:gd name="connsiteX6" fmla="*/ 0 w 189690"/>
                <a:gd name="connsiteY6" fmla="*/ 249363 h 251267"/>
                <a:gd name="connsiteX7" fmla="*/ 0 w 189690"/>
                <a:gd name="connsiteY7" fmla="*/ 250379 h 251267"/>
                <a:gd name="connsiteX8" fmla="*/ 0 w 189690"/>
                <a:gd name="connsiteY8" fmla="*/ 251268 h 251267"/>
                <a:gd name="connsiteX9" fmla="*/ 0 w 189690"/>
                <a:gd name="connsiteY9" fmla="*/ 251268 h 251267"/>
                <a:gd name="connsiteX10" fmla="*/ 189691 w 189690"/>
                <a:gd name="connsiteY10" fmla="*/ 3809 h 251267"/>
                <a:gd name="connsiteX11" fmla="*/ 189691 w 189690"/>
                <a:gd name="connsiteY11" fmla="*/ 3809 h 251267"/>
                <a:gd name="connsiteX12" fmla="*/ 184231 w 189690"/>
                <a:gd name="connsiteY12" fmla="*/ 6475 h 25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90" h="251267">
                  <a:moveTo>
                    <a:pt x="184231" y="6475"/>
                  </a:moveTo>
                  <a:cubicBezTo>
                    <a:pt x="181425" y="6615"/>
                    <a:pt x="179038" y="4457"/>
                    <a:pt x="178899" y="1663"/>
                  </a:cubicBezTo>
                  <a:cubicBezTo>
                    <a:pt x="178899" y="1613"/>
                    <a:pt x="178899" y="1575"/>
                    <a:pt x="178899" y="1524"/>
                  </a:cubicBezTo>
                  <a:lnTo>
                    <a:pt x="178899" y="0"/>
                  </a:lnTo>
                  <a:lnTo>
                    <a:pt x="0" y="233746"/>
                  </a:lnTo>
                  <a:lnTo>
                    <a:pt x="0" y="249363"/>
                  </a:lnTo>
                  <a:cubicBezTo>
                    <a:pt x="0" y="249363"/>
                    <a:pt x="0" y="249363"/>
                    <a:pt x="0" y="249363"/>
                  </a:cubicBezTo>
                  <a:cubicBezTo>
                    <a:pt x="0" y="249363"/>
                    <a:pt x="0" y="249998"/>
                    <a:pt x="0" y="250379"/>
                  </a:cubicBezTo>
                  <a:lnTo>
                    <a:pt x="0" y="251268"/>
                  </a:lnTo>
                  <a:lnTo>
                    <a:pt x="0" y="251268"/>
                  </a:lnTo>
                  <a:lnTo>
                    <a:pt x="189691" y="3809"/>
                  </a:lnTo>
                  <a:lnTo>
                    <a:pt x="189691" y="3809"/>
                  </a:lnTo>
                  <a:cubicBezTo>
                    <a:pt x="188599" y="5752"/>
                    <a:pt x="186427" y="6806"/>
                    <a:pt x="184231" y="6475"/>
                  </a:cubicBezTo>
                  <a:close/>
                </a:path>
              </a:pathLst>
            </a:custGeom>
            <a:solidFill>
              <a:srgbClr val="000000"/>
            </a:solidFill>
            <a:ln w="12690" cap="flat">
              <a:noFill/>
              <a:prstDash val="solid"/>
              <a:miter/>
            </a:ln>
          </p:spPr>
          <p:txBody>
            <a:bodyPr rtlCol="0" anchor="ctr"/>
            <a:lstStyle/>
            <a:p>
              <a:endParaRPr lang="en-US"/>
            </a:p>
          </p:txBody>
        </p:sp>
        <p:sp>
          <p:nvSpPr>
            <p:cNvPr id="612" name="Freeform: Shape 611">
              <a:extLst>
                <a:ext uri="{FF2B5EF4-FFF2-40B4-BE49-F238E27FC236}">
                  <a16:creationId xmlns:a16="http://schemas.microsoft.com/office/drawing/2014/main" id="{5221CEDD-2E0C-4609-8D6B-A1CDBE79C16D}"/>
                </a:ext>
              </a:extLst>
            </p:cNvPr>
            <p:cNvSpPr/>
            <p:nvPr/>
          </p:nvSpPr>
          <p:spPr>
            <a:xfrm>
              <a:off x="12177905" y="3948674"/>
              <a:ext cx="1015" cy="12696"/>
            </a:xfrm>
            <a:custGeom>
              <a:avLst/>
              <a:gdLst>
                <a:gd name="connsiteX0" fmla="*/ 1016 w 1015"/>
                <a:gd name="connsiteY0" fmla="*/ 0 h 12696"/>
                <a:gd name="connsiteX1" fmla="*/ 0 w 1015"/>
                <a:gd name="connsiteY1" fmla="*/ 0 h 12696"/>
                <a:gd name="connsiteX2" fmla="*/ 0 w 1015"/>
                <a:gd name="connsiteY2" fmla="*/ 0 h 12696"/>
              </a:gdLst>
              <a:ahLst/>
              <a:cxnLst>
                <a:cxn ang="0">
                  <a:pos x="connsiteX0" y="connsiteY0"/>
                </a:cxn>
                <a:cxn ang="0">
                  <a:pos x="connsiteX1" y="connsiteY1"/>
                </a:cxn>
                <a:cxn ang="0">
                  <a:pos x="connsiteX2" y="connsiteY2"/>
                </a:cxn>
              </a:cxnLst>
              <a:rect l="l" t="t" r="r" b="b"/>
              <a:pathLst>
                <a:path w="1015" h="12696">
                  <a:moveTo>
                    <a:pt x="1016"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13" name="Freeform: Shape 612">
              <a:extLst>
                <a:ext uri="{FF2B5EF4-FFF2-40B4-BE49-F238E27FC236}">
                  <a16:creationId xmlns:a16="http://schemas.microsoft.com/office/drawing/2014/main" id="{CB23C1D4-C987-48AC-B43C-8CEADAEB4A38}"/>
                </a:ext>
              </a:extLst>
            </p:cNvPr>
            <p:cNvSpPr/>
            <p:nvPr/>
          </p:nvSpPr>
          <p:spPr>
            <a:xfrm>
              <a:off x="12171049" y="3952737"/>
              <a:ext cx="10537" cy="211909"/>
            </a:xfrm>
            <a:custGeom>
              <a:avLst/>
              <a:gdLst>
                <a:gd name="connsiteX0" fmla="*/ 10538 w 10537"/>
                <a:gd name="connsiteY0" fmla="*/ 1143 h 211909"/>
                <a:gd name="connsiteX1" fmla="*/ 10538 w 10537"/>
                <a:gd name="connsiteY1" fmla="*/ 1143 h 211909"/>
                <a:gd name="connsiteX2" fmla="*/ 9776 w 10537"/>
                <a:gd name="connsiteY2" fmla="*/ 2793 h 211909"/>
                <a:gd name="connsiteX3" fmla="*/ 0 w 10537"/>
                <a:gd name="connsiteY3" fmla="*/ 15490 h 211909"/>
                <a:gd name="connsiteX4" fmla="*/ 0 w 10537"/>
                <a:gd name="connsiteY4" fmla="*/ 206956 h 211909"/>
                <a:gd name="connsiteX5" fmla="*/ 5193 w 10537"/>
                <a:gd name="connsiteY5" fmla="*/ 211908 h 211909"/>
                <a:gd name="connsiteX6" fmla="*/ 5332 w 10537"/>
                <a:gd name="connsiteY6" fmla="*/ 211908 h 211909"/>
                <a:gd name="connsiteX7" fmla="*/ 10030 w 10537"/>
                <a:gd name="connsiteY7" fmla="*/ 209369 h 211909"/>
                <a:gd name="connsiteX8" fmla="*/ 10030 w 10537"/>
                <a:gd name="connsiteY8" fmla="*/ 208480 h 211909"/>
                <a:gd name="connsiteX9" fmla="*/ 10030 w 10537"/>
                <a:gd name="connsiteY9" fmla="*/ 207464 h 211909"/>
                <a:gd name="connsiteX10" fmla="*/ 10030 w 10537"/>
                <a:gd name="connsiteY10" fmla="*/ 207464 h 211909"/>
                <a:gd name="connsiteX11" fmla="*/ 10030 w 10537"/>
                <a:gd name="connsiteY11" fmla="*/ 0 h 211909"/>
                <a:gd name="connsiteX12" fmla="*/ 10538 w 10537"/>
                <a:gd name="connsiteY12" fmla="*/ 1143 h 21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7" h="211909">
                  <a:moveTo>
                    <a:pt x="10538" y="1143"/>
                  </a:moveTo>
                  <a:lnTo>
                    <a:pt x="10538" y="1143"/>
                  </a:lnTo>
                  <a:cubicBezTo>
                    <a:pt x="10411" y="1739"/>
                    <a:pt x="10157" y="2311"/>
                    <a:pt x="9776" y="2793"/>
                  </a:cubicBezTo>
                  <a:lnTo>
                    <a:pt x="0" y="15490"/>
                  </a:lnTo>
                  <a:lnTo>
                    <a:pt x="0" y="206956"/>
                  </a:lnTo>
                  <a:cubicBezTo>
                    <a:pt x="63" y="209762"/>
                    <a:pt x="2399" y="211984"/>
                    <a:pt x="5193" y="211908"/>
                  </a:cubicBezTo>
                  <a:cubicBezTo>
                    <a:pt x="5243" y="211908"/>
                    <a:pt x="5281" y="211908"/>
                    <a:pt x="5332" y="211908"/>
                  </a:cubicBezTo>
                  <a:cubicBezTo>
                    <a:pt x="7237" y="211959"/>
                    <a:pt x="9027" y="210994"/>
                    <a:pt x="10030" y="209369"/>
                  </a:cubicBezTo>
                  <a:lnTo>
                    <a:pt x="10030" y="208480"/>
                  </a:lnTo>
                  <a:cubicBezTo>
                    <a:pt x="10081" y="208150"/>
                    <a:pt x="10081" y="207794"/>
                    <a:pt x="10030" y="207464"/>
                  </a:cubicBezTo>
                  <a:cubicBezTo>
                    <a:pt x="10030" y="207464"/>
                    <a:pt x="10030" y="207464"/>
                    <a:pt x="10030" y="207464"/>
                  </a:cubicBezTo>
                  <a:lnTo>
                    <a:pt x="10030" y="0"/>
                  </a:lnTo>
                  <a:cubicBezTo>
                    <a:pt x="10271" y="343"/>
                    <a:pt x="10436" y="736"/>
                    <a:pt x="10538" y="1143"/>
                  </a:cubicBezTo>
                  <a:close/>
                </a:path>
              </a:pathLst>
            </a:custGeom>
            <a:solidFill>
              <a:srgbClr val="000000"/>
            </a:solidFill>
            <a:ln w="12690" cap="flat">
              <a:noFill/>
              <a:prstDash val="solid"/>
              <a:miter/>
            </a:ln>
          </p:spPr>
          <p:txBody>
            <a:bodyPr rtlCol="0" anchor="ctr"/>
            <a:lstStyle/>
            <a:p>
              <a:endParaRPr lang="en-US"/>
            </a:p>
          </p:txBody>
        </p:sp>
        <p:sp>
          <p:nvSpPr>
            <p:cNvPr id="614" name="Freeform: Shape 613">
              <a:extLst>
                <a:ext uri="{FF2B5EF4-FFF2-40B4-BE49-F238E27FC236}">
                  <a16:creationId xmlns:a16="http://schemas.microsoft.com/office/drawing/2014/main" id="{177334C3-6332-4795-A390-2B4AF7593E57}"/>
                </a:ext>
              </a:extLst>
            </p:cNvPr>
            <p:cNvSpPr/>
            <p:nvPr/>
          </p:nvSpPr>
          <p:spPr>
            <a:xfrm>
              <a:off x="11981359" y="3950832"/>
              <a:ext cx="197054" cy="247712"/>
            </a:xfrm>
            <a:custGeom>
              <a:avLst/>
              <a:gdLst>
                <a:gd name="connsiteX0" fmla="*/ 6856 w 197054"/>
                <a:gd name="connsiteY0" fmla="*/ 244792 h 247712"/>
                <a:gd name="connsiteX1" fmla="*/ 6856 w 197054"/>
                <a:gd name="connsiteY1" fmla="*/ 244792 h 247712"/>
                <a:gd name="connsiteX2" fmla="*/ 7618 w 197054"/>
                <a:gd name="connsiteY2" fmla="*/ 244792 h 247712"/>
                <a:gd name="connsiteX3" fmla="*/ 7618 w 197054"/>
                <a:gd name="connsiteY3" fmla="*/ 244792 h 247712"/>
                <a:gd name="connsiteX4" fmla="*/ 7618 w 197054"/>
                <a:gd name="connsiteY4" fmla="*/ 244792 h 247712"/>
                <a:gd name="connsiteX5" fmla="*/ 7618 w 197054"/>
                <a:gd name="connsiteY5" fmla="*/ 244792 h 247712"/>
                <a:gd name="connsiteX6" fmla="*/ 7618 w 197054"/>
                <a:gd name="connsiteY6" fmla="*/ 244792 h 247712"/>
                <a:gd name="connsiteX7" fmla="*/ 7618 w 197054"/>
                <a:gd name="connsiteY7" fmla="*/ 244792 h 247712"/>
                <a:gd name="connsiteX8" fmla="*/ 7618 w 197054"/>
                <a:gd name="connsiteY8" fmla="*/ 244792 h 247712"/>
                <a:gd name="connsiteX9" fmla="*/ 7618 w 197054"/>
                <a:gd name="connsiteY9" fmla="*/ 245554 h 247712"/>
                <a:gd name="connsiteX10" fmla="*/ 7618 w 197054"/>
                <a:gd name="connsiteY10" fmla="*/ 247712 h 247712"/>
                <a:gd name="connsiteX11" fmla="*/ 186516 w 197054"/>
                <a:gd name="connsiteY11" fmla="*/ 14347 h 247712"/>
                <a:gd name="connsiteX12" fmla="*/ 196292 w 197054"/>
                <a:gd name="connsiteY12" fmla="*/ 1650 h 247712"/>
                <a:gd name="connsiteX13" fmla="*/ 197054 w 197054"/>
                <a:gd name="connsiteY13" fmla="*/ 0 h 247712"/>
                <a:gd name="connsiteX14" fmla="*/ 191849 w 197054"/>
                <a:gd name="connsiteY14" fmla="*/ 3809 h 247712"/>
                <a:gd name="connsiteX15" fmla="*/ 190706 w 197054"/>
                <a:gd name="connsiteY15" fmla="*/ 3809 h 247712"/>
                <a:gd name="connsiteX16" fmla="*/ 182834 w 197054"/>
                <a:gd name="connsiteY16" fmla="*/ 2158 h 247712"/>
                <a:gd name="connsiteX17" fmla="*/ 0 w 197054"/>
                <a:gd name="connsiteY17" fmla="*/ 240602 h 24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054" h="247712">
                  <a:moveTo>
                    <a:pt x="6856" y="244792"/>
                  </a:moveTo>
                  <a:lnTo>
                    <a:pt x="6856" y="244792"/>
                  </a:lnTo>
                  <a:lnTo>
                    <a:pt x="7618" y="244792"/>
                  </a:lnTo>
                  <a:lnTo>
                    <a:pt x="7618" y="244792"/>
                  </a:lnTo>
                  <a:lnTo>
                    <a:pt x="7618" y="244792"/>
                  </a:lnTo>
                  <a:lnTo>
                    <a:pt x="7618" y="244792"/>
                  </a:lnTo>
                  <a:lnTo>
                    <a:pt x="7618" y="244792"/>
                  </a:lnTo>
                  <a:cubicBezTo>
                    <a:pt x="7618" y="244792"/>
                    <a:pt x="7618" y="244792"/>
                    <a:pt x="7618" y="244792"/>
                  </a:cubicBezTo>
                  <a:cubicBezTo>
                    <a:pt x="7618" y="244792"/>
                    <a:pt x="7618" y="244792"/>
                    <a:pt x="7618" y="244792"/>
                  </a:cubicBezTo>
                  <a:cubicBezTo>
                    <a:pt x="7669" y="245046"/>
                    <a:pt x="7669" y="245300"/>
                    <a:pt x="7618" y="245554"/>
                  </a:cubicBezTo>
                  <a:lnTo>
                    <a:pt x="7618" y="247712"/>
                  </a:lnTo>
                  <a:lnTo>
                    <a:pt x="186516" y="14347"/>
                  </a:lnTo>
                  <a:lnTo>
                    <a:pt x="196292" y="1650"/>
                  </a:lnTo>
                  <a:cubicBezTo>
                    <a:pt x="196674" y="1168"/>
                    <a:pt x="196927" y="597"/>
                    <a:pt x="197054" y="0"/>
                  </a:cubicBezTo>
                  <a:cubicBezTo>
                    <a:pt x="196369" y="2298"/>
                    <a:pt x="194236" y="3847"/>
                    <a:pt x="191849" y="3809"/>
                  </a:cubicBezTo>
                  <a:lnTo>
                    <a:pt x="190706" y="3809"/>
                  </a:lnTo>
                  <a:lnTo>
                    <a:pt x="182834" y="2158"/>
                  </a:lnTo>
                  <a:lnTo>
                    <a:pt x="0" y="240602"/>
                  </a:lnTo>
                  <a:close/>
                </a:path>
              </a:pathLst>
            </a:custGeom>
            <a:solidFill>
              <a:srgbClr val="000000"/>
            </a:solidFill>
            <a:ln w="12690" cap="flat">
              <a:noFill/>
              <a:prstDash val="solid"/>
              <a:miter/>
            </a:ln>
          </p:spPr>
          <p:txBody>
            <a:bodyPr rtlCol="0" anchor="ctr"/>
            <a:lstStyle/>
            <a:p>
              <a:endParaRPr lang="en-US"/>
            </a:p>
          </p:txBody>
        </p:sp>
        <p:sp>
          <p:nvSpPr>
            <p:cNvPr id="615" name="Freeform: Shape 614">
              <a:extLst>
                <a:ext uri="{FF2B5EF4-FFF2-40B4-BE49-F238E27FC236}">
                  <a16:creationId xmlns:a16="http://schemas.microsoft.com/office/drawing/2014/main" id="{B0446DA4-CFE1-4C49-A455-7800BC5CE3D1}"/>
                </a:ext>
              </a:extLst>
            </p:cNvPr>
            <p:cNvSpPr/>
            <p:nvPr/>
          </p:nvSpPr>
          <p:spPr>
            <a:xfrm>
              <a:off x="12178540" y="3948636"/>
              <a:ext cx="888" cy="38"/>
            </a:xfrm>
            <a:custGeom>
              <a:avLst/>
              <a:gdLst>
                <a:gd name="connsiteX0" fmla="*/ 889 w 888"/>
                <a:gd name="connsiteY0" fmla="*/ 38 h 38"/>
                <a:gd name="connsiteX1" fmla="*/ 889 w 888"/>
                <a:gd name="connsiteY1" fmla="*/ 38 h 38"/>
                <a:gd name="connsiteX2" fmla="*/ 0 w 888"/>
                <a:gd name="connsiteY2" fmla="*/ 38 h 38"/>
                <a:gd name="connsiteX3" fmla="*/ 889 w 888"/>
                <a:gd name="connsiteY3" fmla="*/ 38 h 38"/>
              </a:gdLst>
              <a:ahLst/>
              <a:cxnLst>
                <a:cxn ang="0">
                  <a:pos x="connsiteX0" y="connsiteY0"/>
                </a:cxn>
                <a:cxn ang="0">
                  <a:pos x="connsiteX1" y="connsiteY1"/>
                </a:cxn>
                <a:cxn ang="0">
                  <a:pos x="connsiteX2" y="connsiteY2"/>
                </a:cxn>
                <a:cxn ang="0">
                  <a:pos x="connsiteX3" y="connsiteY3"/>
                </a:cxn>
              </a:cxnLst>
              <a:rect l="l" t="t" r="r" b="b"/>
              <a:pathLst>
                <a:path w="888" h="38">
                  <a:moveTo>
                    <a:pt x="889" y="38"/>
                  </a:moveTo>
                  <a:lnTo>
                    <a:pt x="889" y="38"/>
                  </a:lnTo>
                  <a:lnTo>
                    <a:pt x="0" y="38"/>
                  </a:lnTo>
                  <a:cubicBezTo>
                    <a:pt x="292" y="-13"/>
                    <a:pt x="597" y="-13"/>
                    <a:pt x="889" y="38"/>
                  </a:cubicBezTo>
                  <a:close/>
                </a:path>
              </a:pathLst>
            </a:custGeom>
            <a:solidFill>
              <a:srgbClr val="000000"/>
            </a:solidFill>
            <a:ln w="12690" cap="flat">
              <a:noFill/>
              <a:prstDash val="solid"/>
              <a:miter/>
            </a:ln>
          </p:spPr>
          <p:txBody>
            <a:bodyPr rtlCol="0" anchor="ctr"/>
            <a:lstStyle/>
            <a:p>
              <a:endParaRPr lang="en-US"/>
            </a:p>
          </p:txBody>
        </p:sp>
        <p:sp>
          <p:nvSpPr>
            <p:cNvPr id="616" name="Freeform: Shape 615">
              <a:extLst>
                <a:ext uri="{FF2B5EF4-FFF2-40B4-BE49-F238E27FC236}">
                  <a16:creationId xmlns:a16="http://schemas.microsoft.com/office/drawing/2014/main" id="{31138C6C-D77C-4334-A389-3900C21ADE94}"/>
                </a:ext>
              </a:extLst>
            </p:cNvPr>
            <p:cNvSpPr/>
            <p:nvPr/>
          </p:nvSpPr>
          <p:spPr>
            <a:xfrm>
              <a:off x="11988469" y="4196132"/>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17" name="Freeform: Shape 616">
              <a:extLst>
                <a:ext uri="{FF2B5EF4-FFF2-40B4-BE49-F238E27FC236}">
                  <a16:creationId xmlns:a16="http://schemas.microsoft.com/office/drawing/2014/main" id="{173768AE-7D92-4476-8FCE-96D9F89B922E}"/>
                </a:ext>
              </a:extLst>
            </p:cNvPr>
            <p:cNvSpPr/>
            <p:nvPr/>
          </p:nvSpPr>
          <p:spPr>
            <a:xfrm>
              <a:off x="11982120" y="4200322"/>
              <a:ext cx="10804" cy="207210"/>
            </a:xfrm>
            <a:custGeom>
              <a:avLst/>
              <a:gdLst>
                <a:gd name="connsiteX0" fmla="*/ 9903 w 10804"/>
                <a:gd name="connsiteY0" fmla="*/ 0 h 207210"/>
                <a:gd name="connsiteX1" fmla="*/ 9903 w 10804"/>
                <a:gd name="connsiteY1" fmla="*/ 0 h 207210"/>
                <a:gd name="connsiteX2" fmla="*/ 9903 w 10804"/>
                <a:gd name="connsiteY2" fmla="*/ 1016 h 207210"/>
                <a:gd name="connsiteX3" fmla="*/ 9903 w 10804"/>
                <a:gd name="connsiteY3" fmla="*/ 1016 h 207210"/>
                <a:gd name="connsiteX4" fmla="*/ 9903 w 10804"/>
                <a:gd name="connsiteY4" fmla="*/ 1016 h 207210"/>
                <a:gd name="connsiteX5" fmla="*/ 9903 w 10804"/>
                <a:gd name="connsiteY5" fmla="*/ 2032 h 207210"/>
                <a:gd name="connsiteX6" fmla="*/ 0 w 10804"/>
                <a:gd name="connsiteY6" fmla="*/ 14728 h 207210"/>
                <a:gd name="connsiteX7" fmla="*/ 0 w 10804"/>
                <a:gd name="connsiteY7" fmla="*/ 205179 h 207210"/>
                <a:gd name="connsiteX8" fmla="*/ 1015 w 10804"/>
                <a:gd name="connsiteY8" fmla="*/ 203909 h 207210"/>
                <a:gd name="connsiteX9" fmla="*/ 8507 w 10804"/>
                <a:gd name="connsiteY9" fmla="*/ 202766 h 207210"/>
                <a:gd name="connsiteX10" fmla="*/ 10792 w 10804"/>
                <a:gd name="connsiteY10" fmla="*/ 207210 h 207210"/>
                <a:gd name="connsiteX11" fmla="*/ 10792 w 10804"/>
                <a:gd name="connsiteY11" fmla="*/ 207210 h 207210"/>
                <a:gd name="connsiteX12" fmla="*/ 10792 w 10804"/>
                <a:gd name="connsiteY12" fmla="*/ 0 h 20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04" h="207210">
                  <a:moveTo>
                    <a:pt x="9903" y="0"/>
                  </a:moveTo>
                  <a:lnTo>
                    <a:pt x="9903" y="0"/>
                  </a:lnTo>
                  <a:cubicBezTo>
                    <a:pt x="9903" y="0"/>
                    <a:pt x="9903" y="635"/>
                    <a:pt x="9903" y="1016"/>
                  </a:cubicBezTo>
                  <a:cubicBezTo>
                    <a:pt x="9903" y="1396"/>
                    <a:pt x="9903" y="1016"/>
                    <a:pt x="9903" y="1016"/>
                  </a:cubicBezTo>
                  <a:lnTo>
                    <a:pt x="9903" y="1016"/>
                  </a:lnTo>
                  <a:cubicBezTo>
                    <a:pt x="9903" y="1016"/>
                    <a:pt x="9903" y="1777"/>
                    <a:pt x="9903" y="2032"/>
                  </a:cubicBezTo>
                  <a:lnTo>
                    <a:pt x="0" y="14728"/>
                  </a:lnTo>
                  <a:lnTo>
                    <a:pt x="0" y="205179"/>
                  </a:lnTo>
                  <a:lnTo>
                    <a:pt x="1015" y="203909"/>
                  </a:lnTo>
                  <a:cubicBezTo>
                    <a:pt x="2869" y="201687"/>
                    <a:pt x="6082" y="201204"/>
                    <a:pt x="8507" y="202766"/>
                  </a:cubicBezTo>
                  <a:cubicBezTo>
                    <a:pt x="10030" y="203706"/>
                    <a:pt x="10919" y="205420"/>
                    <a:pt x="10792" y="207210"/>
                  </a:cubicBezTo>
                  <a:cubicBezTo>
                    <a:pt x="10792" y="207210"/>
                    <a:pt x="10792" y="207210"/>
                    <a:pt x="10792" y="207210"/>
                  </a:cubicBezTo>
                  <a:lnTo>
                    <a:pt x="10792" y="0"/>
                  </a:lnTo>
                  <a:close/>
                </a:path>
              </a:pathLst>
            </a:custGeom>
            <a:solidFill>
              <a:srgbClr val="000000"/>
            </a:solidFill>
            <a:ln w="12690" cap="flat">
              <a:noFill/>
              <a:prstDash val="solid"/>
              <a:miter/>
            </a:ln>
          </p:spPr>
          <p:txBody>
            <a:bodyPr rtlCol="0" anchor="ctr"/>
            <a:lstStyle/>
            <a:p>
              <a:endParaRPr lang="en-US"/>
            </a:p>
          </p:txBody>
        </p:sp>
        <p:sp>
          <p:nvSpPr>
            <p:cNvPr id="618" name="Freeform: Shape 617">
              <a:extLst>
                <a:ext uri="{FF2B5EF4-FFF2-40B4-BE49-F238E27FC236}">
                  <a16:creationId xmlns:a16="http://schemas.microsoft.com/office/drawing/2014/main" id="{4E7F41C0-86B3-49E0-A57E-BB3C8A043AAE}"/>
                </a:ext>
              </a:extLst>
            </p:cNvPr>
            <p:cNvSpPr/>
            <p:nvPr/>
          </p:nvSpPr>
          <p:spPr>
            <a:xfrm>
              <a:off x="11990754" y="419740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1AAAAAB8-20D9-4473-A362-4A086692941E}"/>
                </a:ext>
              </a:extLst>
            </p:cNvPr>
            <p:cNvSpPr/>
            <p:nvPr/>
          </p:nvSpPr>
          <p:spPr>
            <a:xfrm>
              <a:off x="11991643" y="419892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49B2F375-282B-4950-8FD8-9322439E1F5F}"/>
                </a:ext>
              </a:extLst>
            </p:cNvPr>
            <p:cNvSpPr/>
            <p:nvPr/>
          </p:nvSpPr>
          <p:spPr>
            <a:xfrm>
              <a:off x="10392260" y="3715181"/>
              <a:ext cx="1596716" cy="487426"/>
            </a:xfrm>
            <a:custGeom>
              <a:avLst/>
              <a:gdLst>
                <a:gd name="connsiteX0" fmla="*/ 6439 w 1596716"/>
                <a:gd name="connsiteY0" fmla="*/ 0 h 487426"/>
                <a:gd name="connsiteX1" fmla="*/ 4154 w 1596716"/>
                <a:gd name="connsiteY1" fmla="*/ 0 h 487426"/>
                <a:gd name="connsiteX2" fmla="*/ 3265 w 1596716"/>
                <a:gd name="connsiteY2" fmla="*/ 0 h 487426"/>
                <a:gd name="connsiteX3" fmla="*/ 2249 w 1596716"/>
                <a:gd name="connsiteY3" fmla="*/ 0 h 487426"/>
                <a:gd name="connsiteX4" fmla="*/ 218 w 1596716"/>
                <a:gd name="connsiteY4" fmla="*/ 2412 h 487426"/>
                <a:gd name="connsiteX5" fmla="*/ 3506 w 1596716"/>
                <a:gd name="connsiteY5" fmla="*/ 8596 h 487426"/>
                <a:gd name="connsiteX6" fmla="*/ 3646 w 1596716"/>
                <a:gd name="connsiteY6" fmla="*/ 8634 h 487426"/>
                <a:gd name="connsiteX7" fmla="*/ 6566 w 1596716"/>
                <a:gd name="connsiteY7" fmla="*/ 9523 h 487426"/>
                <a:gd name="connsiteX8" fmla="*/ 1585797 w 1596716"/>
                <a:gd name="connsiteY8" fmla="*/ 487427 h 487426"/>
                <a:gd name="connsiteX9" fmla="*/ 1589860 w 1596716"/>
                <a:gd name="connsiteY9" fmla="*/ 482094 h 487426"/>
                <a:gd name="connsiteX10" fmla="*/ 1596716 w 1596716"/>
                <a:gd name="connsiteY10" fmla="*/ 480570 h 487426"/>
                <a:gd name="connsiteX11" fmla="*/ 1596716 w 1596716"/>
                <a:gd name="connsiteY11" fmla="*/ 480570 h 487426"/>
                <a:gd name="connsiteX12" fmla="*/ 1596716 w 1596716"/>
                <a:gd name="connsiteY12" fmla="*/ 480570 h 487426"/>
                <a:gd name="connsiteX13" fmla="*/ 1592908 w 1596716"/>
                <a:gd name="connsiteY13" fmla="*/ 479428 h 487426"/>
                <a:gd name="connsiteX14" fmla="*/ 15580 w 1596716"/>
                <a:gd name="connsiteY14" fmla="*/ 2793 h 487426"/>
                <a:gd name="connsiteX15" fmla="*/ 6820 w 1596716"/>
                <a:gd name="connsiteY15" fmla="*/ 127 h 48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716" h="487426">
                  <a:moveTo>
                    <a:pt x="6439" y="0"/>
                  </a:moveTo>
                  <a:lnTo>
                    <a:pt x="4154" y="0"/>
                  </a:lnTo>
                  <a:lnTo>
                    <a:pt x="3265" y="0"/>
                  </a:lnTo>
                  <a:lnTo>
                    <a:pt x="2249" y="0"/>
                  </a:lnTo>
                  <a:cubicBezTo>
                    <a:pt x="1348" y="584"/>
                    <a:pt x="637" y="1422"/>
                    <a:pt x="218" y="2412"/>
                  </a:cubicBezTo>
                  <a:cubicBezTo>
                    <a:pt x="-582" y="5028"/>
                    <a:pt x="890" y="7796"/>
                    <a:pt x="3506" y="8596"/>
                  </a:cubicBezTo>
                  <a:cubicBezTo>
                    <a:pt x="3557" y="8608"/>
                    <a:pt x="3595" y="8621"/>
                    <a:pt x="3646" y="8634"/>
                  </a:cubicBezTo>
                  <a:lnTo>
                    <a:pt x="6566" y="9523"/>
                  </a:lnTo>
                  <a:lnTo>
                    <a:pt x="1585797" y="487427"/>
                  </a:lnTo>
                  <a:lnTo>
                    <a:pt x="1589860" y="482094"/>
                  </a:lnTo>
                  <a:cubicBezTo>
                    <a:pt x="1591549" y="480114"/>
                    <a:pt x="1594342" y="479491"/>
                    <a:pt x="1596716" y="480570"/>
                  </a:cubicBezTo>
                  <a:lnTo>
                    <a:pt x="1596716" y="480570"/>
                  </a:lnTo>
                  <a:lnTo>
                    <a:pt x="1596716" y="480570"/>
                  </a:lnTo>
                  <a:lnTo>
                    <a:pt x="1592908" y="479428"/>
                  </a:lnTo>
                  <a:lnTo>
                    <a:pt x="15580" y="2793"/>
                  </a:lnTo>
                  <a:lnTo>
                    <a:pt x="6820" y="127"/>
                  </a:lnTo>
                  <a:close/>
                </a:path>
              </a:pathLst>
            </a:custGeom>
            <a:solidFill>
              <a:srgbClr val="000000"/>
            </a:solidFill>
            <a:ln w="12690"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3DBDF205-6BB2-409C-B048-6CA3279A6C58}"/>
                </a:ext>
              </a:extLst>
            </p:cNvPr>
            <p:cNvSpPr/>
            <p:nvPr/>
          </p:nvSpPr>
          <p:spPr>
            <a:xfrm>
              <a:off x="11990246" y="4196767"/>
              <a:ext cx="761" cy="761"/>
            </a:xfrm>
            <a:custGeom>
              <a:avLst/>
              <a:gdLst>
                <a:gd name="connsiteX0" fmla="*/ 0 w 761"/>
                <a:gd name="connsiteY0" fmla="*/ 0 h 761"/>
                <a:gd name="connsiteX1" fmla="*/ 0 w 761"/>
                <a:gd name="connsiteY1" fmla="*/ 0 h 761"/>
                <a:gd name="connsiteX2" fmla="*/ 762 w 761"/>
                <a:gd name="connsiteY2" fmla="*/ 762 h 761"/>
              </a:gdLst>
              <a:ahLst/>
              <a:cxnLst>
                <a:cxn ang="0">
                  <a:pos x="connsiteX0" y="connsiteY0"/>
                </a:cxn>
                <a:cxn ang="0">
                  <a:pos x="connsiteX1" y="connsiteY1"/>
                </a:cxn>
                <a:cxn ang="0">
                  <a:pos x="connsiteX2" y="connsiteY2"/>
                </a:cxn>
              </a:cxnLst>
              <a:rect l="l" t="t" r="r" b="b"/>
              <a:pathLst>
                <a:path w="761" h="761">
                  <a:moveTo>
                    <a:pt x="0" y="0"/>
                  </a:moveTo>
                  <a:lnTo>
                    <a:pt x="0" y="0"/>
                  </a:lnTo>
                  <a:lnTo>
                    <a:pt x="762" y="762"/>
                  </a:lnTo>
                  <a:close/>
                </a:path>
              </a:pathLst>
            </a:custGeom>
            <a:solidFill>
              <a:srgbClr val="000000"/>
            </a:solidFill>
            <a:ln w="12690"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75FFA951-A196-499F-90BE-BAF5D7EE6A96}"/>
                </a:ext>
              </a:extLst>
            </p:cNvPr>
            <p:cNvSpPr/>
            <p:nvPr/>
          </p:nvSpPr>
          <p:spPr>
            <a:xfrm>
              <a:off x="11991643" y="420184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BFFECB4C-1852-4902-AC84-48B96FCD144A}"/>
                </a:ext>
              </a:extLst>
            </p:cNvPr>
            <p:cNvSpPr/>
            <p:nvPr/>
          </p:nvSpPr>
          <p:spPr>
            <a:xfrm>
              <a:off x="11991897" y="420006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1BE4CAD1-5DB1-4B4F-B9A4-2D1417066C50}"/>
                </a:ext>
              </a:extLst>
            </p:cNvPr>
            <p:cNvSpPr/>
            <p:nvPr/>
          </p:nvSpPr>
          <p:spPr>
            <a:xfrm>
              <a:off x="11991389" y="4198291"/>
              <a:ext cx="12696" cy="888"/>
            </a:xfrm>
            <a:custGeom>
              <a:avLst/>
              <a:gdLst>
                <a:gd name="connsiteX0" fmla="*/ 0 w 12696"/>
                <a:gd name="connsiteY0" fmla="*/ 0 h 888"/>
                <a:gd name="connsiteX1" fmla="*/ 0 w 12696"/>
                <a:gd name="connsiteY1" fmla="*/ 0 h 888"/>
                <a:gd name="connsiteX2" fmla="*/ 0 w 12696"/>
                <a:gd name="connsiteY2" fmla="*/ 889 h 888"/>
              </a:gdLst>
              <a:ahLst/>
              <a:cxnLst>
                <a:cxn ang="0">
                  <a:pos x="connsiteX0" y="connsiteY0"/>
                </a:cxn>
                <a:cxn ang="0">
                  <a:pos x="connsiteX1" y="connsiteY1"/>
                </a:cxn>
                <a:cxn ang="0">
                  <a:pos x="connsiteX2" y="connsiteY2"/>
                </a:cxn>
              </a:cxnLst>
              <a:rect l="l" t="t" r="r" b="b"/>
              <a:pathLst>
                <a:path w="12696" h="888">
                  <a:moveTo>
                    <a:pt x="0" y="0"/>
                  </a:moveTo>
                  <a:cubicBezTo>
                    <a:pt x="0" y="0"/>
                    <a:pt x="0" y="0"/>
                    <a:pt x="0" y="0"/>
                  </a:cubicBezTo>
                  <a:lnTo>
                    <a:pt x="0" y="889"/>
                  </a:lnTo>
                  <a:close/>
                </a:path>
              </a:pathLst>
            </a:custGeom>
            <a:solidFill>
              <a:srgbClr val="000000"/>
            </a:solidFill>
            <a:ln w="12690"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CFAACC4C-16FD-4FE9-AFAF-4ECD6BA01BA3}"/>
                </a:ext>
              </a:extLst>
            </p:cNvPr>
            <p:cNvSpPr/>
            <p:nvPr/>
          </p:nvSpPr>
          <p:spPr>
            <a:xfrm>
              <a:off x="11106420" y="4888230"/>
              <a:ext cx="175470" cy="148932"/>
            </a:xfrm>
            <a:custGeom>
              <a:avLst/>
              <a:gdLst>
                <a:gd name="connsiteX0" fmla="*/ 166709 w 175470"/>
                <a:gd name="connsiteY0" fmla="*/ 1651 h 148932"/>
                <a:gd name="connsiteX1" fmla="*/ 166709 w 175470"/>
                <a:gd name="connsiteY1" fmla="*/ 0 h 148932"/>
                <a:gd name="connsiteX2" fmla="*/ 1651 w 175470"/>
                <a:gd name="connsiteY2" fmla="*/ 134331 h 148932"/>
                <a:gd name="connsiteX3" fmla="*/ 1651 w 175470"/>
                <a:gd name="connsiteY3" fmla="*/ 145250 h 148932"/>
                <a:gd name="connsiteX4" fmla="*/ 1651 w 175470"/>
                <a:gd name="connsiteY4" fmla="*/ 146012 h 148932"/>
                <a:gd name="connsiteX5" fmla="*/ 1651 w 175470"/>
                <a:gd name="connsiteY5" fmla="*/ 146774 h 148932"/>
                <a:gd name="connsiteX6" fmla="*/ 1651 w 175470"/>
                <a:gd name="connsiteY6" fmla="*/ 146774 h 148932"/>
                <a:gd name="connsiteX7" fmla="*/ 0 w 175470"/>
                <a:gd name="connsiteY7" fmla="*/ 148932 h 148932"/>
                <a:gd name="connsiteX8" fmla="*/ 0 w 175470"/>
                <a:gd name="connsiteY8" fmla="*/ 148932 h 148932"/>
                <a:gd name="connsiteX9" fmla="*/ 175470 w 175470"/>
                <a:gd name="connsiteY9" fmla="*/ 5840 h 148932"/>
                <a:gd name="connsiteX10" fmla="*/ 175470 w 175470"/>
                <a:gd name="connsiteY10" fmla="*/ 5840 h 148932"/>
                <a:gd name="connsiteX11" fmla="*/ 171788 w 175470"/>
                <a:gd name="connsiteY11" fmla="*/ 7237 h 148932"/>
                <a:gd name="connsiteX12" fmla="*/ 166697 w 175470"/>
                <a:gd name="connsiteY12" fmla="*/ 1917 h 148932"/>
                <a:gd name="connsiteX13" fmla="*/ 166709 w 175470"/>
                <a:gd name="connsiteY13" fmla="*/ 1651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470" h="148932">
                  <a:moveTo>
                    <a:pt x="166709" y="1651"/>
                  </a:moveTo>
                  <a:lnTo>
                    <a:pt x="166709" y="0"/>
                  </a:lnTo>
                  <a:lnTo>
                    <a:pt x="1651" y="134331"/>
                  </a:lnTo>
                  <a:lnTo>
                    <a:pt x="1651" y="145250"/>
                  </a:lnTo>
                  <a:cubicBezTo>
                    <a:pt x="1651" y="145250"/>
                    <a:pt x="1651" y="145250"/>
                    <a:pt x="1651" y="146012"/>
                  </a:cubicBezTo>
                  <a:cubicBezTo>
                    <a:pt x="1651" y="146774"/>
                    <a:pt x="1651" y="146012"/>
                    <a:pt x="1651" y="146774"/>
                  </a:cubicBezTo>
                  <a:lnTo>
                    <a:pt x="1651" y="146774"/>
                  </a:lnTo>
                  <a:cubicBezTo>
                    <a:pt x="1333" y="147650"/>
                    <a:pt x="762" y="148399"/>
                    <a:pt x="0" y="148932"/>
                  </a:cubicBezTo>
                  <a:lnTo>
                    <a:pt x="0" y="148932"/>
                  </a:lnTo>
                  <a:lnTo>
                    <a:pt x="175470" y="5840"/>
                  </a:lnTo>
                  <a:lnTo>
                    <a:pt x="175470" y="5840"/>
                  </a:lnTo>
                  <a:cubicBezTo>
                    <a:pt x="174467" y="6755"/>
                    <a:pt x="173147" y="7262"/>
                    <a:pt x="171788" y="7237"/>
                  </a:cubicBezTo>
                  <a:cubicBezTo>
                    <a:pt x="168919" y="7174"/>
                    <a:pt x="166633" y="4799"/>
                    <a:pt x="166697" y="1917"/>
                  </a:cubicBezTo>
                  <a:cubicBezTo>
                    <a:pt x="166697" y="1828"/>
                    <a:pt x="166709" y="1739"/>
                    <a:pt x="166709" y="1651"/>
                  </a:cubicBezTo>
                  <a:close/>
                </a:path>
              </a:pathLst>
            </a:custGeom>
            <a:solidFill>
              <a:srgbClr val="000000"/>
            </a:solidFill>
            <a:ln w="12690"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983B2806-5AF7-4B7C-845D-37C299292607}"/>
                </a:ext>
              </a:extLst>
            </p:cNvPr>
            <p:cNvSpPr/>
            <p:nvPr/>
          </p:nvSpPr>
          <p:spPr>
            <a:xfrm>
              <a:off x="9827215" y="4665910"/>
              <a:ext cx="1275650" cy="372013"/>
            </a:xfrm>
            <a:custGeom>
              <a:avLst/>
              <a:gdLst>
                <a:gd name="connsiteX0" fmla="*/ 1270444 w 1275650"/>
                <a:gd name="connsiteY0" fmla="*/ 367062 h 372013"/>
                <a:gd name="connsiteX1" fmla="*/ 1270444 w 1275650"/>
                <a:gd name="connsiteY1" fmla="*/ 360460 h 372013"/>
                <a:gd name="connsiteX2" fmla="*/ 7237 w 1275650"/>
                <a:gd name="connsiteY2" fmla="*/ 0 h 372013"/>
                <a:gd name="connsiteX3" fmla="*/ 7237 w 1275650"/>
                <a:gd name="connsiteY3" fmla="*/ 3555 h 372013"/>
                <a:gd name="connsiteX4" fmla="*/ 2044 w 1275650"/>
                <a:gd name="connsiteY4" fmla="*/ 8507 h 372013"/>
                <a:gd name="connsiteX5" fmla="*/ 1905 w 1275650"/>
                <a:gd name="connsiteY5" fmla="*/ 8507 h 372013"/>
                <a:gd name="connsiteX6" fmla="*/ 0 w 1275650"/>
                <a:gd name="connsiteY6" fmla="*/ 8507 h 372013"/>
                <a:gd name="connsiteX7" fmla="*/ 0 w 1275650"/>
                <a:gd name="connsiteY7" fmla="*/ 8507 h 372013"/>
                <a:gd name="connsiteX8" fmla="*/ 1274000 w 1275650"/>
                <a:gd name="connsiteY8" fmla="*/ 372014 h 372013"/>
                <a:gd name="connsiteX9" fmla="*/ 1275650 w 1275650"/>
                <a:gd name="connsiteY9" fmla="*/ 372014 h 372013"/>
                <a:gd name="connsiteX10" fmla="*/ 1270444 w 1275650"/>
                <a:gd name="connsiteY10" fmla="*/ 367062 h 37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650" h="372013">
                  <a:moveTo>
                    <a:pt x="1270444" y="367062"/>
                  </a:moveTo>
                  <a:lnTo>
                    <a:pt x="1270444" y="360460"/>
                  </a:lnTo>
                  <a:lnTo>
                    <a:pt x="7237" y="0"/>
                  </a:lnTo>
                  <a:lnTo>
                    <a:pt x="7237" y="3555"/>
                  </a:lnTo>
                  <a:cubicBezTo>
                    <a:pt x="7174" y="6361"/>
                    <a:pt x="4837" y="8583"/>
                    <a:pt x="2044" y="8507"/>
                  </a:cubicBezTo>
                  <a:cubicBezTo>
                    <a:pt x="1993" y="8507"/>
                    <a:pt x="1955" y="8507"/>
                    <a:pt x="1905" y="8507"/>
                  </a:cubicBezTo>
                  <a:lnTo>
                    <a:pt x="0" y="8507"/>
                  </a:lnTo>
                  <a:lnTo>
                    <a:pt x="0" y="8507"/>
                  </a:lnTo>
                  <a:lnTo>
                    <a:pt x="1274000" y="372014"/>
                  </a:lnTo>
                  <a:lnTo>
                    <a:pt x="1275650" y="372014"/>
                  </a:lnTo>
                  <a:cubicBezTo>
                    <a:pt x="1272870" y="372014"/>
                    <a:pt x="1270584" y="369842"/>
                    <a:pt x="1270444" y="367062"/>
                  </a:cubicBezTo>
                  <a:close/>
                </a:path>
              </a:pathLst>
            </a:custGeom>
            <a:solidFill>
              <a:srgbClr val="000000"/>
            </a:solidFill>
            <a:ln w="12690"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69EF44AA-6FE1-43DC-8A6B-285AB8EFAF35}"/>
                </a:ext>
              </a:extLst>
            </p:cNvPr>
            <p:cNvSpPr/>
            <p:nvPr/>
          </p:nvSpPr>
          <p:spPr>
            <a:xfrm>
              <a:off x="11108198" y="5033734"/>
              <a:ext cx="9" cy="888"/>
            </a:xfrm>
            <a:custGeom>
              <a:avLst/>
              <a:gdLst>
                <a:gd name="connsiteX0" fmla="*/ 0 w 9"/>
                <a:gd name="connsiteY0" fmla="*/ 762 h 888"/>
                <a:gd name="connsiteX1" fmla="*/ 0 w 9"/>
                <a:gd name="connsiteY1" fmla="*/ 0 h 888"/>
                <a:gd name="connsiteX2" fmla="*/ 0 w 9"/>
                <a:gd name="connsiteY2" fmla="*/ 889 h 888"/>
              </a:gdLst>
              <a:ahLst/>
              <a:cxnLst>
                <a:cxn ang="0">
                  <a:pos x="connsiteX0" y="connsiteY0"/>
                </a:cxn>
                <a:cxn ang="0">
                  <a:pos x="connsiteX1" y="connsiteY1"/>
                </a:cxn>
                <a:cxn ang="0">
                  <a:pos x="connsiteX2" y="connsiteY2"/>
                </a:cxn>
              </a:cxnLst>
              <a:rect l="l" t="t" r="r" b="b"/>
              <a:pathLst>
                <a:path w="9" h="888">
                  <a:moveTo>
                    <a:pt x="0" y="762"/>
                  </a:moveTo>
                  <a:cubicBezTo>
                    <a:pt x="0" y="762"/>
                    <a:pt x="0" y="762"/>
                    <a:pt x="0" y="0"/>
                  </a:cubicBezTo>
                  <a:cubicBezTo>
                    <a:pt x="12" y="292"/>
                    <a:pt x="12" y="597"/>
                    <a:pt x="0" y="889"/>
                  </a:cubicBezTo>
                  <a:close/>
                </a:path>
              </a:pathLst>
            </a:custGeom>
            <a:solidFill>
              <a:srgbClr val="000000"/>
            </a:solidFill>
            <a:ln w="12690"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AA63E7BA-40A6-4277-B9A8-779C9D50D67B}"/>
                </a:ext>
              </a:extLst>
            </p:cNvPr>
            <p:cNvSpPr/>
            <p:nvPr/>
          </p:nvSpPr>
          <p:spPr>
            <a:xfrm>
              <a:off x="9824168" y="456395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466FB710-8F73-466D-BA61-870BC92A5C9A}"/>
                </a:ext>
              </a:extLst>
            </p:cNvPr>
            <p:cNvSpPr/>
            <p:nvPr/>
          </p:nvSpPr>
          <p:spPr>
            <a:xfrm>
              <a:off x="9825437" y="456243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F3369068-6428-4A3A-AB08-1AD9F35580C5}"/>
                </a:ext>
              </a:extLst>
            </p:cNvPr>
            <p:cNvSpPr/>
            <p:nvPr/>
          </p:nvSpPr>
          <p:spPr>
            <a:xfrm>
              <a:off x="9825390" y="4567638"/>
              <a:ext cx="9069" cy="107160"/>
            </a:xfrm>
            <a:custGeom>
              <a:avLst/>
              <a:gdLst>
                <a:gd name="connsiteX0" fmla="*/ 9063 w 9069"/>
                <a:gd name="connsiteY0" fmla="*/ 101827 h 107160"/>
                <a:gd name="connsiteX1" fmla="*/ 9063 w 9069"/>
                <a:gd name="connsiteY1" fmla="*/ 4952 h 107160"/>
                <a:gd name="connsiteX2" fmla="*/ 1952 w 9069"/>
                <a:gd name="connsiteY2" fmla="*/ 3174 h 107160"/>
                <a:gd name="connsiteX3" fmla="*/ 1952 w 9069"/>
                <a:gd name="connsiteY3" fmla="*/ 3174 h 107160"/>
                <a:gd name="connsiteX4" fmla="*/ 1064 w 9069"/>
                <a:gd name="connsiteY4" fmla="*/ 3174 h 107160"/>
                <a:gd name="connsiteX5" fmla="*/ 48 w 9069"/>
                <a:gd name="connsiteY5" fmla="*/ 2539 h 107160"/>
                <a:gd name="connsiteX6" fmla="*/ 48 w 9069"/>
                <a:gd name="connsiteY6" fmla="*/ 2539 h 107160"/>
                <a:gd name="connsiteX7" fmla="*/ 48 w 9069"/>
                <a:gd name="connsiteY7" fmla="*/ 2539 h 107160"/>
                <a:gd name="connsiteX8" fmla="*/ 48 w 9069"/>
                <a:gd name="connsiteY8" fmla="*/ 1778 h 107160"/>
                <a:gd name="connsiteX9" fmla="*/ 48 w 9069"/>
                <a:gd name="connsiteY9" fmla="*/ 762 h 107160"/>
                <a:gd name="connsiteX10" fmla="*/ 48 w 9069"/>
                <a:gd name="connsiteY10" fmla="*/ 0 h 107160"/>
                <a:gd name="connsiteX11" fmla="*/ 48 w 9069"/>
                <a:gd name="connsiteY11" fmla="*/ 0 h 107160"/>
                <a:gd name="connsiteX12" fmla="*/ 48 w 9069"/>
                <a:gd name="connsiteY12" fmla="*/ 0 h 107160"/>
                <a:gd name="connsiteX13" fmla="*/ 48 w 9069"/>
                <a:gd name="connsiteY13" fmla="*/ 103732 h 107160"/>
                <a:gd name="connsiteX14" fmla="*/ 48 w 9069"/>
                <a:gd name="connsiteY14" fmla="*/ 104748 h 107160"/>
                <a:gd name="connsiteX15" fmla="*/ 48 w 9069"/>
                <a:gd name="connsiteY15" fmla="*/ 105637 h 107160"/>
                <a:gd name="connsiteX16" fmla="*/ 48 w 9069"/>
                <a:gd name="connsiteY16" fmla="*/ 106398 h 107160"/>
                <a:gd name="connsiteX17" fmla="*/ 683 w 9069"/>
                <a:gd name="connsiteY17" fmla="*/ 107160 h 107160"/>
                <a:gd name="connsiteX18" fmla="*/ 1445 w 9069"/>
                <a:gd name="connsiteY18" fmla="*/ 107160 h 107160"/>
                <a:gd name="connsiteX19" fmla="*/ 2460 w 9069"/>
                <a:gd name="connsiteY19" fmla="*/ 107160 h 107160"/>
                <a:gd name="connsiteX20" fmla="*/ 4365 w 9069"/>
                <a:gd name="connsiteY20" fmla="*/ 107160 h 107160"/>
                <a:gd name="connsiteX21" fmla="*/ 9063 w 9069"/>
                <a:gd name="connsiteY21" fmla="*/ 101827 h 10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69" h="107160">
                  <a:moveTo>
                    <a:pt x="9063" y="101827"/>
                  </a:moveTo>
                  <a:lnTo>
                    <a:pt x="9063" y="4952"/>
                  </a:lnTo>
                  <a:lnTo>
                    <a:pt x="1952" y="3174"/>
                  </a:lnTo>
                  <a:lnTo>
                    <a:pt x="1952" y="3174"/>
                  </a:lnTo>
                  <a:lnTo>
                    <a:pt x="1064" y="3174"/>
                  </a:lnTo>
                  <a:lnTo>
                    <a:pt x="48" y="2539"/>
                  </a:lnTo>
                  <a:lnTo>
                    <a:pt x="48" y="2539"/>
                  </a:lnTo>
                  <a:cubicBezTo>
                    <a:pt x="48" y="2539"/>
                    <a:pt x="48" y="2539"/>
                    <a:pt x="48" y="2539"/>
                  </a:cubicBezTo>
                  <a:lnTo>
                    <a:pt x="48" y="1778"/>
                  </a:lnTo>
                  <a:cubicBezTo>
                    <a:pt x="-3" y="1448"/>
                    <a:pt x="-3" y="1092"/>
                    <a:pt x="48" y="762"/>
                  </a:cubicBezTo>
                  <a:cubicBezTo>
                    <a:pt x="-16" y="508"/>
                    <a:pt x="-16" y="254"/>
                    <a:pt x="48" y="0"/>
                  </a:cubicBezTo>
                  <a:lnTo>
                    <a:pt x="48" y="0"/>
                  </a:lnTo>
                  <a:lnTo>
                    <a:pt x="48" y="0"/>
                  </a:lnTo>
                  <a:lnTo>
                    <a:pt x="48" y="103732"/>
                  </a:lnTo>
                  <a:cubicBezTo>
                    <a:pt x="48" y="103732"/>
                    <a:pt x="48" y="103732"/>
                    <a:pt x="48" y="104748"/>
                  </a:cubicBezTo>
                  <a:lnTo>
                    <a:pt x="48" y="105637"/>
                  </a:lnTo>
                  <a:lnTo>
                    <a:pt x="48" y="106398"/>
                  </a:lnTo>
                  <a:lnTo>
                    <a:pt x="683" y="107160"/>
                  </a:lnTo>
                  <a:lnTo>
                    <a:pt x="1445" y="107160"/>
                  </a:lnTo>
                  <a:lnTo>
                    <a:pt x="2460" y="107160"/>
                  </a:lnTo>
                  <a:lnTo>
                    <a:pt x="4365" y="107160"/>
                  </a:lnTo>
                  <a:cubicBezTo>
                    <a:pt x="7120" y="106957"/>
                    <a:pt x="9202" y="104583"/>
                    <a:pt x="9063" y="101827"/>
                  </a:cubicBezTo>
                  <a:close/>
                </a:path>
              </a:pathLst>
            </a:custGeom>
            <a:solidFill>
              <a:srgbClr val="000000"/>
            </a:solidFill>
            <a:ln w="12690"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5CCF168C-7F0C-41E2-BB50-3CAEBCCEF006}"/>
                </a:ext>
              </a:extLst>
            </p:cNvPr>
            <p:cNvSpPr/>
            <p:nvPr/>
          </p:nvSpPr>
          <p:spPr>
            <a:xfrm>
              <a:off x="11097786" y="4931399"/>
              <a:ext cx="10538" cy="106404"/>
            </a:xfrm>
            <a:custGeom>
              <a:avLst/>
              <a:gdLst>
                <a:gd name="connsiteX0" fmla="*/ 10539 w 10538"/>
                <a:gd name="connsiteY0" fmla="*/ 102335 h 106404"/>
                <a:gd name="connsiteX1" fmla="*/ 10539 w 10538"/>
                <a:gd name="connsiteY1" fmla="*/ 101574 h 106404"/>
                <a:gd name="connsiteX2" fmla="*/ 10539 w 10538"/>
                <a:gd name="connsiteY2" fmla="*/ 0 h 106404"/>
                <a:gd name="connsiteX3" fmla="*/ 8761 w 10538"/>
                <a:gd name="connsiteY3" fmla="*/ 1397 h 106404"/>
                <a:gd name="connsiteX4" fmla="*/ 8761 w 10538"/>
                <a:gd name="connsiteY4" fmla="*/ 1397 h 106404"/>
                <a:gd name="connsiteX5" fmla="*/ 5460 w 10538"/>
                <a:gd name="connsiteY5" fmla="*/ 2539 h 106404"/>
                <a:gd name="connsiteX6" fmla="*/ 3809 w 10538"/>
                <a:gd name="connsiteY6" fmla="*/ 2539 h 106404"/>
                <a:gd name="connsiteX7" fmla="*/ 0 w 10538"/>
                <a:gd name="connsiteY7" fmla="*/ 1524 h 106404"/>
                <a:gd name="connsiteX8" fmla="*/ 0 w 10538"/>
                <a:gd name="connsiteY8" fmla="*/ 101447 h 106404"/>
                <a:gd name="connsiteX9" fmla="*/ 5447 w 10538"/>
                <a:gd name="connsiteY9" fmla="*/ 106398 h 106404"/>
                <a:gd name="connsiteX10" fmla="*/ 5460 w 10538"/>
                <a:gd name="connsiteY10" fmla="*/ 106398 h 106404"/>
                <a:gd name="connsiteX11" fmla="*/ 8253 w 10538"/>
                <a:gd name="connsiteY11" fmla="*/ 105510 h 106404"/>
                <a:gd name="connsiteX12" fmla="*/ 8253 w 10538"/>
                <a:gd name="connsiteY12" fmla="*/ 105510 h 106404"/>
                <a:gd name="connsiteX13" fmla="*/ 8253 w 10538"/>
                <a:gd name="connsiteY13" fmla="*/ 105510 h 106404"/>
                <a:gd name="connsiteX14" fmla="*/ 9904 w 10538"/>
                <a:gd name="connsiteY14" fmla="*/ 103351 h 106404"/>
                <a:gd name="connsiteX15" fmla="*/ 10539 w 10538"/>
                <a:gd name="connsiteY15" fmla="*/ 10233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404">
                  <a:moveTo>
                    <a:pt x="10539" y="102335"/>
                  </a:moveTo>
                  <a:cubicBezTo>
                    <a:pt x="10539" y="102335"/>
                    <a:pt x="10539" y="102335"/>
                    <a:pt x="10539" y="101574"/>
                  </a:cubicBezTo>
                  <a:lnTo>
                    <a:pt x="10539" y="0"/>
                  </a:lnTo>
                  <a:lnTo>
                    <a:pt x="8761" y="1397"/>
                  </a:lnTo>
                  <a:lnTo>
                    <a:pt x="8761" y="1397"/>
                  </a:lnTo>
                  <a:cubicBezTo>
                    <a:pt x="7822" y="2133"/>
                    <a:pt x="6653" y="2527"/>
                    <a:pt x="5460" y="2539"/>
                  </a:cubicBezTo>
                  <a:cubicBezTo>
                    <a:pt x="4914" y="2679"/>
                    <a:pt x="4355" y="2679"/>
                    <a:pt x="3809" y="2539"/>
                  </a:cubicBezTo>
                  <a:lnTo>
                    <a:pt x="0" y="1524"/>
                  </a:lnTo>
                  <a:lnTo>
                    <a:pt x="0" y="101447"/>
                  </a:lnTo>
                  <a:cubicBezTo>
                    <a:pt x="139" y="104316"/>
                    <a:pt x="2577" y="106538"/>
                    <a:pt x="5447" y="106398"/>
                  </a:cubicBezTo>
                  <a:cubicBezTo>
                    <a:pt x="5447" y="106398"/>
                    <a:pt x="5460" y="106398"/>
                    <a:pt x="5460" y="106398"/>
                  </a:cubicBezTo>
                  <a:cubicBezTo>
                    <a:pt x="6450" y="106360"/>
                    <a:pt x="7415" y="106056"/>
                    <a:pt x="8253" y="105510"/>
                  </a:cubicBezTo>
                  <a:lnTo>
                    <a:pt x="8253" y="105510"/>
                  </a:lnTo>
                  <a:lnTo>
                    <a:pt x="8253" y="105510"/>
                  </a:lnTo>
                  <a:cubicBezTo>
                    <a:pt x="9015" y="104976"/>
                    <a:pt x="9586" y="104227"/>
                    <a:pt x="9904" y="103351"/>
                  </a:cubicBezTo>
                  <a:cubicBezTo>
                    <a:pt x="10145" y="103034"/>
                    <a:pt x="10348" y="102691"/>
                    <a:pt x="10539" y="102335"/>
                  </a:cubicBezTo>
                  <a:close/>
                </a:path>
              </a:pathLst>
            </a:custGeom>
            <a:solidFill>
              <a:srgbClr val="000000"/>
            </a:solidFill>
            <a:ln w="12690"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818796FA-2604-4AC4-9618-3B2EC95BE084}"/>
                </a:ext>
              </a:extLst>
            </p:cNvPr>
            <p:cNvSpPr/>
            <p:nvPr/>
          </p:nvSpPr>
          <p:spPr>
            <a:xfrm>
              <a:off x="9825145" y="4562559"/>
              <a:ext cx="673" cy="761"/>
            </a:xfrm>
            <a:custGeom>
              <a:avLst/>
              <a:gdLst>
                <a:gd name="connsiteX0" fmla="*/ 38 w 673"/>
                <a:gd name="connsiteY0" fmla="*/ 127 h 761"/>
                <a:gd name="connsiteX1" fmla="*/ 38 w 673"/>
                <a:gd name="connsiteY1" fmla="*/ 762 h 761"/>
                <a:gd name="connsiteX2" fmla="*/ 673 w 673"/>
                <a:gd name="connsiteY2" fmla="*/ 0 h 761"/>
              </a:gdLst>
              <a:ahLst/>
              <a:cxnLst>
                <a:cxn ang="0">
                  <a:pos x="connsiteX0" y="connsiteY0"/>
                </a:cxn>
                <a:cxn ang="0">
                  <a:pos x="connsiteX1" y="connsiteY1"/>
                </a:cxn>
                <a:cxn ang="0">
                  <a:pos x="connsiteX2" y="connsiteY2"/>
                </a:cxn>
              </a:cxnLst>
              <a:rect l="l" t="t" r="r" b="b"/>
              <a:pathLst>
                <a:path w="673" h="761">
                  <a:moveTo>
                    <a:pt x="38" y="127"/>
                  </a:moveTo>
                  <a:cubicBezTo>
                    <a:pt x="-13" y="330"/>
                    <a:pt x="-13" y="559"/>
                    <a:pt x="38" y="762"/>
                  </a:cubicBezTo>
                  <a:lnTo>
                    <a:pt x="673" y="0"/>
                  </a:lnTo>
                  <a:close/>
                </a:path>
              </a:pathLst>
            </a:custGeom>
            <a:solidFill>
              <a:srgbClr val="000000"/>
            </a:solidFill>
            <a:ln w="12690"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ACDE445B-CBAC-4AAF-88E3-3A80E815A33F}"/>
                </a:ext>
              </a:extLst>
            </p:cNvPr>
            <p:cNvSpPr/>
            <p:nvPr/>
          </p:nvSpPr>
          <p:spPr>
            <a:xfrm>
              <a:off x="9824003" y="4563575"/>
              <a:ext cx="37" cy="761"/>
            </a:xfrm>
            <a:custGeom>
              <a:avLst/>
              <a:gdLst>
                <a:gd name="connsiteX0" fmla="*/ 38 w 37"/>
                <a:gd name="connsiteY0" fmla="*/ 762 h 761"/>
                <a:gd name="connsiteX1" fmla="*/ 38 w 37"/>
                <a:gd name="connsiteY1" fmla="*/ 762 h 761"/>
                <a:gd name="connsiteX2" fmla="*/ 38 w 37"/>
                <a:gd name="connsiteY2" fmla="*/ 762 h 761"/>
                <a:gd name="connsiteX3" fmla="*/ 38 w 37"/>
                <a:gd name="connsiteY3" fmla="*/ 0 h 761"/>
              </a:gdLst>
              <a:ahLst/>
              <a:cxnLst>
                <a:cxn ang="0">
                  <a:pos x="connsiteX0" y="connsiteY0"/>
                </a:cxn>
                <a:cxn ang="0">
                  <a:pos x="connsiteX1" y="connsiteY1"/>
                </a:cxn>
                <a:cxn ang="0">
                  <a:pos x="connsiteX2" y="connsiteY2"/>
                </a:cxn>
                <a:cxn ang="0">
                  <a:pos x="connsiteX3" y="connsiteY3"/>
                </a:cxn>
              </a:cxnLst>
              <a:rect l="l" t="t" r="r" b="b"/>
              <a:pathLst>
                <a:path w="37" h="761">
                  <a:moveTo>
                    <a:pt x="38" y="762"/>
                  </a:moveTo>
                  <a:lnTo>
                    <a:pt x="38" y="762"/>
                  </a:lnTo>
                  <a:lnTo>
                    <a:pt x="38" y="762"/>
                  </a:lnTo>
                  <a:cubicBezTo>
                    <a:pt x="-13" y="508"/>
                    <a:pt x="-13" y="254"/>
                    <a:pt x="38" y="0"/>
                  </a:cubicBezTo>
                  <a:close/>
                </a:path>
              </a:pathLst>
            </a:custGeom>
            <a:solidFill>
              <a:srgbClr val="000000"/>
            </a:solidFill>
            <a:ln w="12690"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A5F97951-B24C-487D-BCEB-38DAFA3A8F52}"/>
                </a:ext>
              </a:extLst>
            </p:cNvPr>
            <p:cNvSpPr/>
            <p:nvPr/>
          </p:nvSpPr>
          <p:spPr>
            <a:xfrm>
              <a:off x="11103119" y="4933176"/>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2" y="736"/>
                    <a:pt x="1193" y="1130"/>
                    <a:pt x="0" y="1143"/>
                  </a:cubicBezTo>
                  <a:cubicBezTo>
                    <a:pt x="1193" y="1130"/>
                    <a:pt x="2362" y="736"/>
                    <a:pt x="3301" y="0"/>
                  </a:cubicBezTo>
                  <a:close/>
                </a:path>
              </a:pathLst>
            </a:custGeom>
            <a:solidFill>
              <a:srgbClr val="000000"/>
            </a:solidFill>
            <a:ln w="12690" cap="flat">
              <a:noFill/>
              <a:prstDash val="solid"/>
              <a:miter/>
            </a:ln>
          </p:spPr>
          <p:txBody>
            <a:bodyPr rtlCol="0" anchor="ctr"/>
            <a:lstStyle/>
            <a:p>
              <a:endParaRPr lang="en-US"/>
            </a:p>
          </p:txBody>
        </p:sp>
        <p:sp>
          <p:nvSpPr>
            <p:cNvPr id="635" name="Freeform: Shape 634">
              <a:extLst>
                <a:ext uri="{FF2B5EF4-FFF2-40B4-BE49-F238E27FC236}">
                  <a16:creationId xmlns:a16="http://schemas.microsoft.com/office/drawing/2014/main" id="{53C6B81E-7F4D-430A-BA35-384A9F3DA008}"/>
                </a:ext>
              </a:extLst>
            </p:cNvPr>
            <p:cNvSpPr/>
            <p:nvPr/>
          </p:nvSpPr>
          <p:spPr>
            <a:xfrm>
              <a:off x="9827469" y="4563829"/>
              <a:ext cx="1275649" cy="370594"/>
            </a:xfrm>
            <a:custGeom>
              <a:avLst/>
              <a:gdLst>
                <a:gd name="connsiteX0" fmla="*/ 1271968 w 1275649"/>
                <a:gd name="connsiteY0" fmla="*/ 362491 h 370594"/>
                <a:gd name="connsiteX1" fmla="*/ 1274253 w 1275649"/>
                <a:gd name="connsiteY1" fmla="*/ 360586 h 370594"/>
                <a:gd name="connsiteX2" fmla="*/ 12570 w 1275649"/>
                <a:gd name="connsiteY2" fmla="*/ 0 h 370594"/>
                <a:gd name="connsiteX3" fmla="*/ 5460 w 1275649"/>
                <a:gd name="connsiteY3" fmla="*/ 5713 h 370594"/>
                <a:gd name="connsiteX4" fmla="*/ 1904 w 1275649"/>
                <a:gd name="connsiteY4" fmla="*/ 6983 h 370594"/>
                <a:gd name="connsiteX5" fmla="*/ 0 w 1275649"/>
                <a:gd name="connsiteY5" fmla="*/ 6983 h 370594"/>
                <a:gd name="connsiteX6" fmla="*/ 0 w 1275649"/>
                <a:gd name="connsiteY6" fmla="*/ 6983 h 370594"/>
                <a:gd name="connsiteX7" fmla="*/ 6983 w 1275649"/>
                <a:gd name="connsiteY7" fmla="*/ 9015 h 370594"/>
                <a:gd name="connsiteX8" fmla="*/ 1270190 w 1275649"/>
                <a:gd name="connsiteY8" fmla="*/ 369474 h 370594"/>
                <a:gd name="connsiteX9" fmla="*/ 1273999 w 1275649"/>
                <a:gd name="connsiteY9" fmla="*/ 370490 h 370594"/>
                <a:gd name="connsiteX10" fmla="*/ 1275650 w 1275649"/>
                <a:gd name="connsiteY10" fmla="*/ 370490 h 370594"/>
                <a:gd name="connsiteX11" fmla="*/ 1271587 w 1275649"/>
                <a:gd name="connsiteY11" fmla="*/ 368966 h 370594"/>
                <a:gd name="connsiteX12" fmla="*/ 1271968 w 1275649"/>
                <a:gd name="connsiteY12" fmla="*/ 362491 h 37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5649" h="370594">
                  <a:moveTo>
                    <a:pt x="1271968" y="362491"/>
                  </a:moveTo>
                  <a:lnTo>
                    <a:pt x="1274253" y="360586"/>
                  </a:lnTo>
                  <a:lnTo>
                    <a:pt x="12570" y="0"/>
                  </a:lnTo>
                  <a:lnTo>
                    <a:pt x="5460" y="5713"/>
                  </a:lnTo>
                  <a:cubicBezTo>
                    <a:pt x="4469" y="6551"/>
                    <a:pt x="3200" y="7009"/>
                    <a:pt x="1904" y="6983"/>
                  </a:cubicBezTo>
                  <a:lnTo>
                    <a:pt x="0" y="6983"/>
                  </a:lnTo>
                  <a:lnTo>
                    <a:pt x="0" y="6983"/>
                  </a:lnTo>
                  <a:lnTo>
                    <a:pt x="6983" y="9015"/>
                  </a:lnTo>
                  <a:lnTo>
                    <a:pt x="1270190" y="369474"/>
                  </a:lnTo>
                  <a:lnTo>
                    <a:pt x="1273999" y="370490"/>
                  </a:lnTo>
                  <a:cubicBezTo>
                    <a:pt x="1274545" y="370629"/>
                    <a:pt x="1275104" y="370629"/>
                    <a:pt x="1275650" y="370490"/>
                  </a:cubicBezTo>
                  <a:cubicBezTo>
                    <a:pt x="1274152" y="370541"/>
                    <a:pt x="1272692" y="369995"/>
                    <a:pt x="1271587" y="368966"/>
                  </a:cubicBezTo>
                  <a:cubicBezTo>
                    <a:pt x="1269962" y="367049"/>
                    <a:pt x="1270127" y="364205"/>
                    <a:pt x="1271968" y="362491"/>
                  </a:cubicBezTo>
                  <a:close/>
                </a:path>
              </a:pathLst>
            </a:custGeom>
            <a:solidFill>
              <a:srgbClr val="000000"/>
            </a:solidFill>
            <a:ln w="12690" cap="flat">
              <a:noFill/>
              <a:prstDash val="solid"/>
              <a:miter/>
            </a:ln>
          </p:spPr>
          <p:txBody>
            <a:bodyPr rtlCol="0" anchor="ctr"/>
            <a:lstStyle/>
            <a:p>
              <a:endParaRPr lang="en-US"/>
            </a:p>
          </p:txBody>
        </p:sp>
        <p:sp>
          <p:nvSpPr>
            <p:cNvPr id="636" name="Freeform: Shape 635">
              <a:extLst>
                <a:ext uri="{FF2B5EF4-FFF2-40B4-BE49-F238E27FC236}">
                  <a16:creationId xmlns:a16="http://schemas.microsoft.com/office/drawing/2014/main" id="{943BBFE7-0B84-446A-BE40-DD3671B31D11}"/>
                </a:ext>
              </a:extLst>
            </p:cNvPr>
            <p:cNvSpPr/>
            <p:nvPr/>
          </p:nvSpPr>
          <p:spPr>
            <a:xfrm>
              <a:off x="10019407" y="4402679"/>
              <a:ext cx="1261087" cy="385627"/>
            </a:xfrm>
            <a:custGeom>
              <a:avLst/>
              <a:gdLst>
                <a:gd name="connsiteX0" fmla="*/ 3213 w 1261087"/>
                <a:gd name="connsiteY0" fmla="*/ 9424 h 385627"/>
                <a:gd name="connsiteX1" fmla="*/ 315808 w 1261087"/>
                <a:gd name="connsiteY1" fmla="*/ 103888 h 385627"/>
                <a:gd name="connsiteX2" fmla="*/ 1074951 w 1261087"/>
                <a:gd name="connsiteY2" fmla="*/ 333190 h 385627"/>
                <a:gd name="connsiteX3" fmla="*/ 1248644 w 1261087"/>
                <a:gd name="connsiteY3" fmla="*/ 385627 h 385627"/>
                <a:gd name="connsiteX4" fmla="*/ 1255501 w 1261087"/>
                <a:gd name="connsiteY4" fmla="*/ 380041 h 385627"/>
                <a:gd name="connsiteX5" fmla="*/ 1261087 w 1261087"/>
                <a:gd name="connsiteY5" fmla="*/ 379152 h 385627"/>
                <a:gd name="connsiteX6" fmla="*/ 1261087 w 1261087"/>
                <a:gd name="connsiteY6" fmla="*/ 379152 h 385627"/>
                <a:gd name="connsiteX7" fmla="*/ 6894 w 1261087"/>
                <a:gd name="connsiteY7" fmla="*/ 282 h 385627"/>
                <a:gd name="connsiteX8" fmla="*/ 38 w 1261087"/>
                <a:gd name="connsiteY8" fmla="*/ 3329 h 385627"/>
                <a:gd name="connsiteX9" fmla="*/ 38 w 1261087"/>
                <a:gd name="connsiteY9" fmla="*/ 4345 h 385627"/>
                <a:gd name="connsiteX10" fmla="*/ 3213 w 1261087"/>
                <a:gd name="connsiteY10" fmla="*/ 9424 h 38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1087" h="385627">
                  <a:moveTo>
                    <a:pt x="3213" y="9424"/>
                  </a:moveTo>
                  <a:lnTo>
                    <a:pt x="315808" y="103888"/>
                  </a:lnTo>
                  <a:lnTo>
                    <a:pt x="1074951" y="333190"/>
                  </a:lnTo>
                  <a:lnTo>
                    <a:pt x="1248644" y="385627"/>
                  </a:lnTo>
                  <a:lnTo>
                    <a:pt x="1255501" y="380041"/>
                  </a:lnTo>
                  <a:cubicBezTo>
                    <a:pt x="1257100" y="378822"/>
                    <a:pt x="1259196" y="378492"/>
                    <a:pt x="1261087" y="379152"/>
                  </a:cubicBezTo>
                  <a:lnTo>
                    <a:pt x="1261087" y="379152"/>
                  </a:lnTo>
                  <a:lnTo>
                    <a:pt x="6894" y="282"/>
                  </a:lnTo>
                  <a:cubicBezTo>
                    <a:pt x="4165" y="-619"/>
                    <a:pt x="1194" y="701"/>
                    <a:pt x="38" y="3329"/>
                  </a:cubicBezTo>
                  <a:cubicBezTo>
                    <a:pt x="-13" y="3660"/>
                    <a:pt x="-13" y="4003"/>
                    <a:pt x="38" y="4345"/>
                  </a:cubicBezTo>
                  <a:cubicBezTo>
                    <a:pt x="-165" y="6554"/>
                    <a:pt x="1130" y="8637"/>
                    <a:pt x="3213" y="9424"/>
                  </a:cubicBezTo>
                  <a:close/>
                </a:path>
              </a:pathLst>
            </a:custGeom>
            <a:solidFill>
              <a:srgbClr val="000000"/>
            </a:solidFill>
            <a:ln w="12690" cap="flat">
              <a:noFill/>
              <a:prstDash val="solid"/>
              <a:miter/>
            </a:ln>
          </p:spPr>
          <p:txBody>
            <a:bodyPr rtlCol="0" anchor="ctr"/>
            <a:lstStyle/>
            <a:p>
              <a:endParaRPr lang="en-US"/>
            </a:p>
          </p:txBody>
        </p:sp>
        <p:sp>
          <p:nvSpPr>
            <p:cNvPr id="637" name="Freeform: Shape 636">
              <a:extLst>
                <a:ext uri="{FF2B5EF4-FFF2-40B4-BE49-F238E27FC236}">
                  <a16:creationId xmlns:a16="http://schemas.microsoft.com/office/drawing/2014/main" id="{7DAE9C85-0B6D-405B-8AFC-4B194DE54046}"/>
                </a:ext>
              </a:extLst>
            </p:cNvPr>
            <p:cNvSpPr/>
            <p:nvPr/>
          </p:nvSpPr>
          <p:spPr>
            <a:xfrm>
              <a:off x="11283668" y="478729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cubicBezTo>
                    <a:pt x="64" y="432"/>
                    <a:pt x="64" y="203"/>
                    <a:pt x="0" y="0"/>
                  </a:cubicBezTo>
                  <a:cubicBezTo>
                    <a:pt x="50" y="254"/>
                    <a:pt x="50" y="508"/>
                    <a:pt x="0" y="762"/>
                  </a:cubicBezTo>
                  <a:close/>
                </a:path>
              </a:pathLst>
            </a:custGeom>
            <a:solidFill>
              <a:srgbClr val="000000"/>
            </a:solidFill>
            <a:ln w="12690" cap="flat">
              <a:noFill/>
              <a:prstDash val="solid"/>
              <a:miter/>
            </a:ln>
          </p:spPr>
          <p:txBody>
            <a:bodyPr rtlCol="0" anchor="ctr"/>
            <a:lstStyle/>
            <a:p>
              <a:endParaRPr lang="en-US"/>
            </a:p>
          </p:txBody>
        </p:sp>
        <p:sp>
          <p:nvSpPr>
            <p:cNvPr id="638" name="Freeform: Shape 637">
              <a:extLst>
                <a:ext uri="{FF2B5EF4-FFF2-40B4-BE49-F238E27FC236}">
                  <a16:creationId xmlns:a16="http://schemas.microsoft.com/office/drawing/2014/main" id="{5341BFD5-0C39-414D-A02F-11275A84E86F}"/>
                </a:ext>
              </a:extLst>
            </p:cNvPr>
            <p:cNvSpPr/>
            <p:nvPr/>
          </p:nvSpPr>
          <p:spPr>
            <a:xfrm>
              <a:off x="11099153" y="4783402"/>
              <a:ext cx="184435" cy="152824"/>
            </a:xfrm>
            <a:custGeom>
              <a:avLst/>
              <a:gdLst>
                <a:gd name="connsiteX0" fmla="*/ 182992 w 184435"/>
                <a:gd name="connsiteY0" fmla="*/ 6556 h 152824"/>
                <a:gd name="connsiteX1" fmla="*/ 184388 w 184435"/>
                <a:gd name="connsiteY1" fmla="*/ 4651 h 152824"/>
                <a:gd name="connsiteX2" fmla="*/ 184388 w 184435"/>
                <a:gd name="connsiteY2" fmla="*/ 3889 h 152824"/>
                <a:gd name="connsiteX3" fmla="*/ 184388 w 184435"/>
                <a:gd name="connsiteY3" fmla="*/ 2873 h 152824"/>
                <a:gd name="connsiteX4" fmla="*/ 184388 w 184435"/>
                <a:gd name="connsiteY4" fmla="*/ 1985 h 152824"/>
                <a:gd name="connsiteX5" fmla="*/ 184388 w 184435"/>
                <a:gd name="connsiteY5" fmla="*/ 1096 h 152824"/>
                <a:gd name="connsiteX6" fmla="*/ 184388 w 184435"/>
                <a:gd name="connsiteY6" fmla="*/ 334 h 152824"/>
                <a:gd name="connsiteX7" fmla="*/ 184388 w 184435"/>
                <a:gd name="connsiteY7" fmla="*/ 334 h 152824"/>
                <a:gd name="connsiteX8" fmla="*/ 184388 w 184435"/>
                <a:gd name="connsiteY8" fmla="*/ 334 h 152824"/>
                <a:gd name="connsiteX9" fmla="*/ 183626 w 184435"/>
                <a:gd name="connsiteY9" fmla="*/ 334 h 152824"/>
                <a:gd name="connsiteX10" fmla="*/ 182610 w 184435"/>
                <a:gd name="connsiteY10" fmla="*/ 334 h 152824"/>
                <a:gd name="connsiteX11" fmla="*/ 177024 w 184435"/>
                <a:gd name="connsiteY11" fmla="*/ 1223 h 152824"/>
                <a:gd name="connsiteX12" fmla="*/ 170168 w 184435"/>
                <a:gd name="connsiteY12" fmla="*/ 6809 h 152824"/>
                <a:gd name="connsiteX13" fmla="*/ 3839 w 184435"/>
                <a:gd name="connsiteY13" fmla="*/ 142410 h 152824"/>
                <a:gd name="connsiteX14" fmla="*/ 1554 w 184435"/>
                <a:gd name="connsiteY14" fmla="*/ 144315 h 152824"/>
                <a:gd name="connsiteX15" fmla="*/ 1211 w 184435"/>
                <a:gd name="connsiteY15" fmla="*/ 150955 h 152824"/>
                <a:gd name="connsiteX16" fmla="*/ 1554 w 184435"/>
                <a:gd name="connsiteY16" fmla="*/ 151298 h 152824"/>
                <a:gd name="connsiteX17" fmla="*/ 5617 w 184435"/>
                <a:gd name="connsiteY17" fmla="*/ 152822 h 152824"/>
                <a:gd name="connsiteX18" fmla="*/ 8918 w 184435"/>
                <a:gd name="connsiteY18" fmla="*/ 151679 h 152824"/>
                <a:gd name="connsiteX19" fmla="*/ 8918 w 184435"/>
                <a:gd name="connsiteY19" fmla="*/ 151679 h 152824"/>
                <a:gd name="connsiteX20" fmla="*/ 10696 w 184435"/>
                <a:gd name="connsiteY20" fmla="*/ 150282 h 152824"/>
                <a:gd name="connsiteX21" fmla="*/ 180833 w 184435"/>
                <a:gd name="connsiteY21" fmla="*/ 11634 h 15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435" h="152824">
                  <a:moveTo>
                    <a:pt x="182992" y="6556"/>
                  </a:moveTo>
                  <a:cubicBezTo>
                    <a:pt x="183664" y="6111"/>
                    <a:pt x="184160" y="5425"/>
                    <a:pt x="184388" y="4651"/>
                  </a:cubicBezTo>
                  <a:cubicBezTo>
                    <a:pt x="184439" y="4397"/>
                    <a:pt x="184439" y="4143"/>
                    <a:pt x="184388" y="3889"/>
                  </a:cubicBezTo>
                  <a:cubicBezTo>
                    <a:pt x="184452" y="3559"/>
                    <a:pt x="184452" y="3204"/>
                    <a:pt x="184388" y="2873"/>
                  </a:cubicBezTo>
                  <a:cubicBezTo>
                    <a:pt x="184452" y="2581"/>
                    <a:pt x="184452" y="2277"/>
                    <a:pt x="184388" y="1985"/>
                  </a:cubicBezTo>
                  <a:cubicBezTo>
                    <a:pt x="184388" y="1985"/>
                    <a:pt x="184388" y="1985"/>
                    <a:pt x="184388" y="1096"/>
                  </a:cubicBezTo>
                  <a:cubicBezTo>
                    <a:pt x="184388" y="207"/>
                    <a:pt x="184388" y="1096"/>
                    <a:pt x="184388" y="334"/>
                  </a:cubicBezTo>
                  <a:lnTo>
                    <a:pt x="184388" y="334"/>
                  </a:lnTo>
                  <a:lnTo>
                    <a:pt x="184388" y="334"/>
                  </a:lnTo>
                  <a:lnTo>
                    <a:pt x="183626" y="334"/>
                  </a:lnTo>
                  <a:lnTo>
                    <a:pt x="182610" y="334"/>
                  </a:lnTo>
                  <a:cubicBezTo>
                    <a:pt x="180719" y="-326"/>
                    <a:pt x="178624" y="4"/>
                    <a:pt x="177024" y="1223"/>
                  </a:cubicBezTo>
                  <a:lnTo>
                    <a:pt x="170168" y="6809"/>
                  </a:lnTo>
                  <a:lnTo>
                    <a:pt x="3839" y="142410"/>
                  </a:lnTo>
                  <a:lnTo>
                    <a:pt x="1554" y="144315"/>
                  </a:lnTo>
                  <a:cubicBezTo>
                    <a:pt x="-376" y="146054"/>
                    <a:pt x="-529" y="149025"/>
                    <a:pt x="1211" y="150955"/>
                  </a:cubicBezTo>
                  <a:cubicBezTo>
                    <a:pt x="1313" y="151069"/>
                    <a:pt x="1427" y="151184"/>
                    <a:pt x="1554" y="151298"/>
                  </a:cubicBezTo>
                  <a:cubicBezTo>
                    <a:pt x="2659" y="152326"/>
                    <a:pt x="4119" y="152872"/>
                    <a:pt x="5617" y="152822"/>
                  </a:cubicBezTo>
                  <a:cubicBezTo>
                    <a:pt x="6810" y="152809"/>
                    <a:pt x="7979" y="152415"/>
                    <a:pt x="8918" y="151679"/>
                  </a:cubicBezTo>
                  <a:lnTo>
                    <a:pt x="8918" y="151679"/>
                  </a:lnTo>
                  <a:lnTo>
                    <a:pt x="10696" y="150282"/>
                  </a:lnTo>
                  <a:lnTo>
                    <a:pt x="180833" y="11634"/>
                  </a:lnTo>
                  <a:close/>
                </a:path>
              </a:pathLst>
            </a:custGeom>
            <a:solidFill>
              <a:srgbClr val="000000"/>
            </a:solidFill>
            <a:ln w="12690" cap="flat">
              <a:noFill/>
              <a:prstDash val="solid"/>
              <a:miter/>
            </a:ln>
          </p:spPr>
          <p:txBody>
            <a:bodyPr rtlCol="0" anchor="ctr"/>
            <a:lstStyle/>
            <a:p>
              <a:endParaRPr lang="en-US"/>
            </a:p>
          </p:txBody>
        </p:sp>
        <p:sp>
          <p:nvSpPr>
            <p:cNvPr id="639" name="Freeform: Shape 638">
              <a:extLst>
                <a:ext uri="{FF2B5EF4-FFF2-40B4-BE49-F238E27FC236}">
                  <a16:creationId xmlns:a16="http://schemas.microsoft.com/office/drawing/2014/main" id="{957CD6AA-B64C-4035-8DBB-F9494D161B61}"/>
                </a:ext>
              </a:extLst>
            </p:cNvPr>
            <p:cNvSpPr/>
            <p:nvPr/>
          </p:nvSpPr>
          <p:spPr>
            <a:xfrm>
              <a:off x="11611754" y="4402557"/>
              <a:ext cx="379901" cy="502813"/>
            </a:xfrm>
            <a:custGeom>
              <a:avLst/>
              <a:gdLst>
                <a:gd name="connsiteX0" fmla="*/ 379890 w 379901"/>
                <a:gd name="connsiteY0" fmla="*/ 6372 h 502813"/>
                <a:gd name="connsiteX1" fmla="*/ 379890 w 379901"/>
                <a:gd name="connsiteY1" fmla="*/ 5357 h 502813"/>
                <a:gd name="connsiteX2" fmla="*/ 377604 w 379901"/>
                <a:gd name="connsiteY2" fmla="*/ 913 h 502813"/>
                <a:gd name="connsiteX3" fmla="*/ 370113 w 379901"/>
                <a:gd name="connsiteY3" fmla="*/ 2055 h 502813"/>
                <a:gd name="connsiteX4" fmla="*/ 369097 w 379901"/>
                <a:gd name="connsiteY4" fmla="*/ 3325 h 502813"/>
                <a:gd name="connsiteX5" fmla="*/ 889 w 379901"/>
                <a:gd name="connsiteY5" fmla="*/ 484276 h 502813"/>
                <a:gd name="connsiteX6" fmla="*/ 889 w 379901"/>
                <a:gd name="connsiteY6" fmla="*/ 499893 h 502813"/>
                <a:gd name="connsiteX7" fmla="*/ 889 w 379901"/>
                <a:gd name="connsiteY7" fmla="*/ 500655 h 502813"/>
                <a:gd name="connsiteX8" fmla="*/ 889 w 379901"/>
                <a:gd name="connsiteY8" fmla="*/ 501417 h 502813"/>
                <a:gd name="connsiteX9" fmla="*/ 889 w 379901"/>
                <a:gd name="connsiteY9" fmla="*/ 501417 h 502813"/>
                <a:gd name="connsiteX10" fmla="*/ 0 w 379901"/>
                <a:gd name="connsiteY10" fmla="*/ 502813 h 502813"/>
                <a:gd name="connsiteX11" fmla="*/ 0 w 379901"/>
                <a:gd name="connsiteY11" fmla="*/ 502813 h 502813"/>
                <a:gd name="connsiteX12" fmla="*/ 379001 w 379901"/>
                <a:gd name="connsiteY12" fmla="*/ 7642 h 502813"/>
                <a:gd name="connsiteX13" fmla="*/ 379001 w 379901"/>
                <a:gd name="connsiteY13" fmla="*/ 7642 h 50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901" h="502813">
                  <a:moveTo>
                    <a:pt x="379890" y="6372"/>
                  </a:moveTo>
                  <a:cubicBezTo>
                    <a:pt x="379890" y="6372"/>
                    <a:pt x="379890" y="5738"/>
                    <a:pt x="379890" y="5357"/>
                  </a:cubicBezTo>
                  <a:cubicBezTo>
                    <a:pt x="380016" y="3566"/>
                    <a:pt x="379128" y="1852"/>
                    <a:pt x="377604" y="913"/>
                  </a:cubicBezTo>
                  <a:cubicBezTo>
                    <a:pt x="375179" y="-649"/>
                    <a:pt x="371966" y="-167"/>
                    <a:pt x="370113" y="2055"/>
                  </a:cubicBezTo>
                  <a:lnTo>
                    <a:pt x="369097" y="3325"/>
                  </a:lnTo>
                  <a:lnTo>
                    <a:pt x="889" y="484276"/>
                  </a:lnTo>
                  <a:lnTo>
                    <a:pt x="889" y="499893"/>
                  </a:lnTo>
                  <a:cubicBezTo>
                    <a:pt x="889" y="499893"/>
                    <a:pt x="889" y="499893"/>
                    <a:pt x="889" y="500655"/>
                  </a:cubicBezTo>
                  <a:cubicBezTo>
                    <a:pt x="889" y="501417"/>
                    <a:pt x="889" y="500655"/>
                    <a:pt x="889" y="501417"/>
                  </a:cubicBezTo>
                  <a:lnTo>
                    <a:pt x="889" y="501417"/>
                  </a:lnTo>
                  <a:lnTo>
                    <a:pt x="0" y="502813"/>
                  </a:lnTo>
                  <a:cubicBezTo>
                    <a:pt x="0" y="502813"/>
                    <a:pt x="0" y="502813"/>
                    <a:pt x="0" y="502813"/>
                  </a:cubicBezTo>
                  <a:lnTo>
                    <a:pt x="379001" y="7642"/>
                  </a:lnTo>
                  <a:lnTo>
                    <a:pt x="379001" y="7642"/>
                  </a:lnTo>
                  <a:close/>
                </a:path>
              </a:pathLst>
            </a:custGeom>
            <a:solidFill>
              <a:srgbClr val="000000"/>
            </a:solidFill>
            <a:ln w="12690" cap="flat">
              <a:noFill/>
              <a:prstDash val="solid"/>
              <a:miter/>
            </a:ln>
          </p:spPr>
          <p:txBody>
            <a:bodyPr rtlCol="0" anchor="ctr"/>
            <a:lstStyle/>
            <a:p>
              <a:endParaRPr lang="en-US"/>
            </a:p>
          </p:txBody>
        </p:sp>
        <p:sp>
          <p:nvSpPr>
            <p:cNvPr id="640" name="Freeform: Shape 639">
              <a:extLst>
                <a:ext uri="{FF2B5EF4-FFF2-40B4-BE49-F238E27FC236}">
                  <a16:creationId xmlns:a16="http://schemas.microsoft.com/office/drawing/2014/main" id="{4D165065-B22C-4305-A1B7-3508D67B6882}"/>
                </a:ext>
              </a:extLst>
            </p:cNvPr>
            <p:cNvSpPr/>
            <p:nvPr/>
          </p:nvSpPr>
          <p:spPr>
            <a:xfrm>
              <a:off x="11273336" y="4805447"/>
              <a:ext cx="47" cy="1015"/>
            </a:xfrm>
            <a:custGeom>
              <a:avLst/>
              <a:gdLst>
                <a:gd name="connsiteX0" fmla="*/ 48 w 47"/>
                <a:gd name="connsiteY0" fmla="*/ 1016 h 1015"/>
                <a:gd name="connsiteX1" fmla="*/ 48 w 47"/>
                <a:gd name="connsiteY1" fmla="*/ 0 h 1015"/>
                <a:gd name="connsiteX2" fmla="*/ 48 w 47"/>
                <a:gd name="connsiteY2" fmla="*/ 1016 h 1015"/>
              </a:gdLst>
              <a:ahLst/>
              <a:cxnLst>
                <a:cxn ang="0">
                  <a:pos x="connsiteX0" y="connsiteY0"/>
                </a:cxn>
                <a:cxn ang="0">
                  <a:pos x="connsiteX1" y="connsiteY1"/>
                </a:cxn>
                <a:cxn ang="0">
                  <a:pos x="connsiteX2" y="connsiteY2"/>
                </a:cxn>
              </a:cxnLst>
              <a:rect l="l" t="t" r="r" b="b"/>
              <a:pathLst>
                <a:path w="47" h="1015">
                  <a:moveTo>
                    <a:pt x="48" y="1016"/>
                  </a:moveTo>
                  <a:cubicBezTo>
                    <a:pt x="-16" y="685"/>
                    <a:pt x="-16" y="330"/>
                    <a:pt x="48" y="0"/>
                  </a:cubicBezTo>
                  <a:lnTo>
                    <a:pt x="48" y="1016"/>
                  </a:lnTo>
                  <a:close/>
                </a:path>
              </a:pathLst>
            </a:custGeom>
            <a:solidFill>
              <a:srgbClr val="000000"/>
            </a:solidFill>
            <a:ln w="12690" cap="flat">
              <a:noFill/>
              <a:prstDash val="solid"/>
              <a:miter/>
            </a:ln>
          </p:spPr>
          <p:txBody>
            <a:bodyPr rtlCol="0" anchor="ctr"/>
            <a:lstStyle/>
            <a:p>
              <a:endParaRPr lang="en-US"/>
            </a:p>
          </p:txBody>
        </p:sp>
        <p:sp>
          <p:nvSpPr>
            <p:cNvPr id="641" name="Freeform: Shape 640">
              <a:extLst>
                <a:ext uri="{FF2B5EF4-FFF2-40B4-BE49-F238E27FC236}">
                  <a16:creationId xmlns:a16="http://schemas.microsoft.com/office/drawing/2014/main" id="{F2B85CB5-61C1-44B8-9825-A2472BB1649A}"/>
                </a:ext>
              </a:extLst>
            </p:cNvPr>
            <p:cNvSpPr/>
            <p:nvPr/>
          </p:nvSpPr>
          <p:spPr>
            <a:xfrm>
              <a:off x="11612760" y="4903212"/>
              <a:ext cx="9" cy="888"/>
            </a:xfrm>
            <a:custGeom>
              <a:avLst/>
              <a:gdLst>
                <a:gd name="connsiteX0" fmla="*/ 9 w 9"/>
                <a:gd name="connsiteY0" fmla="*/ 762 h 888"/>
                <a:gd name="connsiteX1" fmla="*/ 9 w 9"/>
                <a:gd name="connsiteY1" fmla="*/ 0 h 888"/>
                <a:gd name="connsiteX2" fmla="*/ 9 w 9"/>
                <a:gd name="connsiteY2" fmla="*/ 889 h 888"/>
              </a:gdLst>
              <a:ahLst/>
              <a:cxnLst>
                <a:cxn ang="0">
                  <a:pos x="connsiteX0" y="connsiteY0"/>
                </a:cxn>
                <a:cxn ang="0">
                  <a:pos x="connsiteX1" y="connsiteY1"/>
                </a:cxn>
                <a:cxn ang="0">
                  <a:pos x="connsiteX2" y="connsiteY2"/>
                </a:cxn>
              </a:cxnLst>
              <a:rect l="l" t="t" r="r" b="b"/>
              <a:pathLst>
                <a:path w="9" h="888">
                  <a:moveTo>
                    <a:pt x="9" y="762"/>
                  </a:moveTo>
                  <a:cubicBezTo>
                    <a:pt x="9" y="762"/>
                    <a:pt x="9" y="762"/>
                    <a:pt x="9" y="0"/>
                  </a:cubicBezTo>
                  <a:cubicBezTo>
                    <a:pt x="-3" y="292"/>
                    <a:pt x="-3" y="597"/>
                    <a:pt x="9" y="889"/>
                  </a:cubicBezTo>
                  <a:close/>
                </a:path>
              </a:pathLst>
            </a:custGeom>
            <a:solidFill>
              <a:srgbClr val="000000"/>
            </a:solidFill>
            <a:ln w="12690" cap="flat">
              <a:noFill/>
              <a:prstDash val="solid"/>
              <a:miter/>
            </a:ln>
          </p:spPr>
          <p:txBody>
            <a:bodyPr rtlCol="0" anchor="ctr"/>
            <a:lstStyle/>
            <a:p>
              <a:endParaRPr lang="en-US"/>
            </a:p>
          </p:txBody>
        </p:sp>
        <p:sp>
          <p:nvSpPr>
            <p:cNvPr id="642" name="Freeform: Shape 641">
              <a:extLst>
                <a:ext uri="{FF2B5EF4-FFF2-40B4-BE49-F238E27FC236}">
                  <a16:creationId xmlns:a16="http://schemas.microsoft.com/office/drawing/2014/main" id="{935F2256-7B90-47EB-885D-9CFBA1B18BDD}"/>
                </a:ext>
              </a:extLst>
            </p:cNvPr>
            <p:cNvSpPr/>
            <p:nvPr/>
          </p:nvSpPr>
          <p:spPr>
            <a:xfrm>
              <a:off x="11279351" y="4802527"/>
              <a:ext cx="328213" cy="104754"/>
            </a:xfrm>
            <a:custGeom>
              <a:avLst/>
              <a:gdLst>
                <a:gd name="connsiteX0" fmla="*/ 322880 w 328213"/>
                <a:gd name="connsiteY0" fmla="*/ 99923 h 104754"/>
                <a:gd name="connsiteX1" fmla="*/ 322880 w 328213"/>
                <a:gd name="connsiteY1" fmla="*/ 93194 h 104754"/>
                <a:gd name="connsiteX2" fmla="*/ 889 w 328213"/>
                <a:gd name="connsiteY2" fmla="*/ 0 h 104754"/>
                <a:gd name="connsiteX3" fmla="*/ 0 w 328213"/>
                <a:gd name="connsiteY3" fmla="*/ 0 h 104754"/>
                <a:gd name="connsiteX4" fmla="*/ 4698 w 328213"/>
                <a:gd name="connsiteY4" fmla="*/ 4825 h 104754"/>
                <a:gd name="connsiteX5" fmla="*/ 4698 w 328213"/>
                <a:gd name="connsiteY5" fmla="*/ 11554 h 104754"/>
                <a:gd name="connsiteX6" fmla="*/ 326563 w 328213"/>
                <a:gd name="connsiteY6" fmla="*/ 104748 h 104754"/>
                <a:gd name="connsiteX7" fmla="*/ 328213 w 328213"/>
                <a:gd name="connsiteY7" fmla="*/ 104748 h 104754"/>
                <a:gd name="connsiteX8" fmla="*/ 322880 w 328213"/>
                <a:gd name="connsiteY8" fmla="*/ 99936 h 104754"/>
                <a:gd name="connsiteX9" fmla="*/ 322880 w 328213"/>
                <a:gd name="connsiteY9" fmla="*/ 99923 h 10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213" h="104754">
                  <a:moveTo>
                    <a:pt x="322880" y="99923"/>
                  </a:moveTo>
                  <a:lnTo>
                    <a:pt x="322880" y="93194"/>
                  </a:lnTo>
                  <a:lnTo>
                    <a:pt x="889" y="0"/>
                  </a:lnTo>
                  <a:lnTo>
                    <a:pt x="0" y="0"/>
                  </a:lnTo>
                  <a:cubicBezTo>
                    <a:pt x="2565" y="191"/>
                    <a:pt x="4571" y="2260"/>
                    <a:pt x="4698" y="4825"/>
                  </a:cubicBezTo>
                  <a:lnTo>
                    <a:pt x="4698" y="11554"/>
                  </a:lnTo>
                  <a:lnTo>
                    <a:pt x="326563" y="104748"/>
                  </a:lnTo>
                  <a:lnTo>
                    <a:pt x="328213" y="104748"/>
                  </a:lnTo>
                  <a:cubicBezTo>
                    <a:pt x="325407" y="104887"/>
                    <a:pt x="323020" y="102742"/>
                    <a:pt x="322880" y="99936"/>
                  </a:cubicBezTo>
                  <a:cubicBezTo>
                    <a:pt x="322880" y="99936"/>
                    <a:pt x="322880" y="99923"/>
                    <a:pt x="322880" y="99923"/>
                  </a:cubicBezTo>
                  <a:close/>
                </a:path>
              </a:pathLst>
            </a:custGeom>
            <a:solidFill>
              <a:srgbClr val="000000"/>
            </a:solidFill>
            <a:ln w="12690" cap="flat">
              <a:noFill/>
              <a:prstDash val="solid"/>
              <a:miter/>
            </a:ln>
          </p:spPr>
          <p:txBody>
            <a:bodyPr rtlCol="0" anchor="ctr"/>
            <a:lstStyle/>
            <a:p>
              <a:endParaRPr lang="en-US"/>
            </a:p>
          </p:txBody>
        </p:sp>
        <p:sp>
          <p:nvSpPr>
            <p:cNvPr id="643" name="Freeform: Shape 642">
              <a:extLst>
                <a:ext uri="{FF2B5EF4-FFF2-40B4-BE49-F238E27FC236}">
                  <a16:creationId xmlns:a16="http://schemas.microsoft.com/office/drawing/2014/main" id="{8C7207F2-0C92-4CEA-B004-5B339852F28E}"/>
                </a:ext>
              </a:extLst>
            </p:cNvPr>
            <p:cNvSpPr/>
            <p:nvPr/>
          </p:nvSpPr>
          <p:spPr>
            <a:xfrm>
              <a:off x="9826993" y="4383166"/>
              <a:ext cx="166804" cy="51410"/>
            </a:xfrm>
            <a:custGeom>
              <a:avLst/>
              <a:gdLst>
                <a:gd name="connsiteX0" fmla="*/ 166805 w 166804"/>
                <a:gd name="connsiteY0" fmla="*/ 45951 h 51410"/>
                <a:gd name="connsiteX1" fmla="*/ 166805 w 166804"/>
                <a:gd name="connsiteY1" fmla="*/ 45951 h 51410"/>
                <a:gd name="connsiteX2" fmla="*/ 33108 w 166804"/>
                <a:gd name="connsiteY2" fmla="*/ 7861 h 51410"/>
                <a:gd name="connsiteX3" fmla="*/ 10634 w 166804"/>
                <a:gd name="connsiteY3" fmla="*/ 1386 h 51410"/>
                <a:gd name="connsiteX4" fmla="*/ 6825 w 166804"/>
                <a:gd name="connsiteY4" fmla="*/ 243 h 51410"/>
                <a:gd name="connsiteX5" fmla="*/ 95 w 166804"/>
                <a:gd name="connsiteY5" fmla="*/ 3544 h 51410"/>
                <a:gd name="connsiteX6" fmla="*/ 95 w 166804"/>
                <a:gd name="connsiteY6" fmla="*/ 5195 h 51410"/>
                <a:gd name="connsiteX7" fmla="*/ 95 w 166804"/>
                <a:gd name="connsiteY7" fmla="*/ 6211 h 51410"/>
                <a:gd name="connsiteX8" fmla="*/ 95 w 166804"/>
                <a:gd name="connsiteY8" fmla="*/ 7099 h 51410"/>
                <a:gd name="connsiteX9" fmla="*/ 95 w 166804"/>
                <a:gd name="connsiteY9" fmla="*/ 7099 h 51410"/>
                <a:gd name="connsiteX10" fmla="*/ 731 w 166804"/>
                <a:gd name="connsiteY10" fmla="*/ 7861 h 51410"/>
                <a:gd name="connsiteX11" fmla="*/ 1493 w 166804"/>
                <a:gd name="connsiteY11" fmla="*/ 7861 h 51410"/>
                <a:gd name="connsiteX12" fmla="*/ 2508 w 166804"/>
                <a:gd name="connsiteY12" fmla="*/ 7861 h 51410"/>
                <a:gd name="connsiteX13" fmla="*/ 2508 w 166804"/>
                <a:gd name="connsiteY13" fmla="*/ 7861 h 51410"/>
                <a:gd name="connsiteX14" fmla="*/ 153346 w 166804"/>
                <a:gd name="connsiteY14" fmla="*/ 51411 h 51410"/>
                <a:gd name="connsiteX15" fmla="*/ 160456 w 166804"/>
                <a:gd name="connsiteY15" fmla="*/ 45698 h 51410"/>
                <a:gd name="connsiteX16" fmla="*/ 166805 w 166804"/>
                <a:gd name="connsiteY16" fmla="*/ 45951 h 5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804" h="51410">
                  <a:moveTo>
                    <a:pt x="166805" y="45951"/>
                  </a:moveTo>
                  <a:lnTo>
                    <a:pt x="166805" y="45951"/>
                  </a:lnTo>
                  <a:lnTo>
                    <a:pt x="33108" y="7861"/>
                  </a:lnTo>
                  <a:lnTo>
                    <a:pt x="10634" y="1386"/>
                  </a:lnTo>
                  <a:lnTo>
                    <a:pt x="6825" y="243"/>
                  </a:lnTo>
                  <a:cubicBezTo>
                    <a:pt x="4057" y="-607"/>
                    <a:pt x="1111" y="840"/>
                    <a:pt x="95" y="3544"/>
                  </a:cubicBezTo>
                  <a:cubicBezTo>
                    <a:pt x="-32" y="4090"/>
                    <a:pt x="-32" y="4649"/>
                    <a:pt x="95" y="5195"/>
                  </a:cubicBezTo>
                  <a:cubicBezTo>
                    <a:pt x="95" y="5195"/>
                    <a:pt x="95" y="5830"/>
                    <a:pt x="95" y="6211"/>
                  </a:cubicBezTo>
                  <a:cubicBezTo>
                    <a:pt x="108" y="6503"/>
                    <a:pt x="108" y="6807"/>
                    <a:pt x="95" y="7099"/>
                  </a:cubicBezTo>
                  <a:lnTo>
                    <a:pt x="95" y="7099"/>
                  </a:lnTo>
                  <a:cubicBezTo>
                    <a:pt x="197" y="7430"/>
                    <a:pt x="425" y="7709"/>
                    <a:pt x="731" y="7861"/>
                  </a:cubicBezTo>
                  <a:lnTo>
                    <a:pt x="1493" y="7861"/>
                  </a:lnTo>
                  <a:lnTo>
                    <a:pt x="2508" y="7861"/>
                  </a:lnTo>
                  <a:lnTo>
                    <a:pt x="2508" y="7861"/>
                  </a:lnTo>
                  <a:lnTo>
                    <a:pt x="153346" y="51411"/>
                  </a:lnTo>
                  <a:lnTo>
                    <a:pt x="160456" y="45698"/>
                  </a:lnTo>
                  <a:cubicBezTo>
                    <a:pt x="162437" y="44529"/>
                    <a:pt x="164925" y="44618"/>
                    <a:pt x="166805" y="45951"/>
                  </a:cubicBezTo>
                  <a:close/>
                </a:path>
              </a:pathLst>
            </a:custGeom>
            <a:solidFill>
              <a:srgbClr val="000000"/>
            </a:solidFill>
            <a:ln w="12690" cap="flat">
              <a:noFill/>
              <a:prstDash val="solid"/>
              <a:miter/>
            </a:ln>
          </p:spPr>
          <p:txBody>
            <a:bodyPr rtlCol="0" anchor="ctr"/>
            <a:lstStyle/>
            <a:p>
              <a:endParaRPr lang="en-US"/>
            </a:p>
          </p:txBody>
        </p:sp>
        <p:sp>
          <p:nvSpPr>
            <p:cNvPr id="644" name="Freeform: Shape 643">
              <a:extLst>
                <a:ext uri="{FF2B5EF4-FFF2-40B4-BE49-F238E27FC236}">
                  <a16:creationId xmlns:a16="http://schemas.microsoft.com/office/drawing/2014/main" id="{F212344B-9E7D-45ED-B90E-6848FB7EBA65}"/>
                </a:ext>
              </a:extLst>
            </p:cNvPr>
            <p:cNvSpPr/>
            <p:nvPr/>
          </p:nvSpPr>
          <p:spPr>
            <a:xfrm>
              <a:off x="9996971" y="4435084"/>
              <a:ext cx="47" cy="761"/>
            </a:xfrm>
            <a:custGeom>
              <a:avLst/>
              <a:gdLst>
                <a:gd name="connsiteX0" fmla="*/ 0 w 47"/>
                <a:gd name="connsiteY0" fmla="*/ 0 h 761"/>
                <a:gd name="connsiteX1" fmla="*/ 0 w 47"/>
                <a:gd name="connsiteY1" fmla="*/ 0 h 761"/>
                <a:gd name="connsiteX2" fmla="*/ 0 w 47"/>
                <a:gd name="connsiteY2" fmla="*/ 762 h 761"/>
                <a:gd name="connsiteX3" fmla="*/ 0 w 47"/>
                <a:gd name="connsiteY3" fmla="*/ 762 h 761"/>
              </a:gdLst>
              <a:ahLst/>
              <a:cxnLst>
                <a:cxn ang="0">
                  <a:pos x="connsiteX0" y="connsiteY0"/>
                </a:cxn>
                <a:cxn ang="0">
                  <a:pos x="connsiteX1" y="connsiteY1"/>
                </a:cxn>
                <a:cxn ang="0">
                  <a:pos x="connsiteX2" y="connsiteY2"/>
                </a:cxn>
                <a:cxn ang="0">
                  <a:pos x="connsiteX3" y="connsiteY3"/>
                </a:cxn>
              </a:cxnLst>
              <a:rect l="l" t="t" r="r" b="b"/>
              <a:pathLst>
                <a:path w="47" h="761">
                  <a:moveTo>
                    <a:pt x="0" y="0"/>
                  </a:moveTo>
                  <a:lnTo>
                    <a:pt x="0" y="0"/>
                  </a:lnTo>
                  <a:cubicBezTo>
                    <a:pt x="64" y="254"/>
                    <a:pt x="64" y="508"/>
                    <a:pt x="0" y="762"/>
                  </a:cubicBezTo>
                  <a:lnTo>
                    <a:pt x="0" y="762"/>
                  </a:lnTo>
                  <a:close/>
                </a:path>
              </a:pathLst>
            </a:custGeom>
            <a:solidFill>
              <a:srgbClr val="000000"/>
            </a:solidFill>
            <a:ln w="12690" cap="flat">
              <a:noFill/>
              <a:prstDash val="solid"/>
              <a:miter/>
            </a:ln>
          </p:spPr>
          <p:txBody>
            <a:bodyPr rtlCol="0" anchor="ctr"/>
            <a:lstStyle/>
            <a:p>
              <a:endParaRPr lang="en-US"/>
            </a:p>
          </p:txBody>
        </p:sp>
        <p:sp>
          <p:nvSpPr>
            <p:cNvPr id="645" name="Freeform: Shape 644">
              <a:extLst>
                <a:ext uri="{FF2B5EF4-FFF2-40B4-BE49-F238E27FC236}">
                  <a16:creationId xmlns:a16="http://schemas.microsoft.com/office/drawing/2014/main" id="{11FA837D-6E68-47F5-A307-EF2F983ED2CE}"/>
                </a:ext>
              </a:extLst>
            </p:cNvPr>
            <p:cNvSpPr/>
            <p:nvPr/>
          </p:nvSpPr>
          <p:spPr>
            <a:xfrm>
              <a:off x="11604898" y="4196750"/>
              <a:ext cx="386148" cy="498743"/>
            </a:xfrm>
            <a:custGeom>
              <a:avLst/>
              <a:gdLst>
                <a:gd name="connsiteX0" fmla="*/ 386110 w 386148"/>
                <a:gd name="connsiteY0" fmla="*/ 5858 h 498743"/>
                <a:gd name="connsiteX1" fmla="*/ 386110 w 386148"/>
                <a:gd name="connsiteY1" fmla="*/ 4842 h 498743"/>
                <a:gd name="connsiteX2" fmla="*/ 386110 w 386148"/>
                <a:gd name="connsiteY2" fmla="*/ 4842 h 498743"/>
                <a:gd name="connsiteX3" fmla="*/ 386110 w 386148"/>
                <a:gd name="connsiteY3" fmla="*/ 3826 h 498743"/>
                <a:gd name="connsiteX4" fmla="*/ 386110 w 386148"/>
                <a:gd name="connsiteY4" fmla="*/ 2937 h 498743"/>
                <a:gd name="connsiteX5" fmla="*/ 386110 w 386148"/>
                <a:gd name="connsiteY5" fmla="*/ 2175 h 498743"/>
                <a:gd name="connsiteX6" fmla="*/ 386110 w 386148"/>
                <a:gd name="connsiteY6" fmla="*/ 2175 h 498743"/>
                <a:gd name="connsiteX7" fmla="*/ 386110 w 386148"/>
                <a:gd name="connsiteY7" fmla="*/ 1287 h 498743"/>
                <a:gd name="connsiteX8" fmla="*/ 386110 w 386148"/>
                <a:gd name="connsiteY8" fmla="*/ 1287 h 498743"/>
                <a:gd name="connsiteX9" fmla="*/ 386110 w 386148"/>
                <a:gd name="connsiteY9" fmla="*/ 1287 h 498743"/>
                <a:gd name="connsiteX10" fmla="*/ 385348 w 386148"/>
                <a:gd name="connsiteY10" fmla="*/ 525 h 498743"/>
                <a:gd name="connsiteX11" fmla="*/ 385348 w 386148"/>
                <a:gd name="connsiteY11" fmla="*/ 525 h 498743"/>
                <a:gd name="connsiteX12" fmla="*/ 385348 w 386148"/>
                <a:gd name="connsiteY12" fmla="*/ 525 h 498743"/>
                <a:gd name="connsiteX13" fmla="*/ 378492 w 386148"/>
                <a:gd name="connsiteY13" fmla="*/ 2049 h 498743"/>
                <a:gd name="connsiteX14" fmla="*/ 374429 w 386148"/>
                <a:gd name="connsiteY14" fmla="*/ 7381 h 498743"/>
                <a:gd name="connsiteX15" fmla="*/ 0 w 386148"/>
                <a:gd name="connsiteY15" fmla="*/ 492776 h 498743"/>
                <a:gd name="connsiteX16" fmla="*/ 3809 w 386148"/>
                <a:gd name="connsiteY16" fmla="*/ 493792 h 498743"/>
                <a:gd name="connsiteX17" fmla="*/ 3809 w 386148"/>
                <a:gd name="connsiteY17" fmla="*/ 493792 h 498743"/>
                <a:gd name="connsiteX18" fmla="*/ 4825 w 386148"/>
                <a:gd name="connsiteY18" fmla="*/ 493792 h 498743"/>
                <a:gd name="connsiteX19" fmla="*/ 5587 w 386148"/>
                <a:gd name="connsiteY19" fmla="*/ 493792 h 498743"/>
                <a:gd name="connsiteX20" fmla="*/ 5587 w 386148"/>
                <a:gd name="connsiteY20" fmla="*/ 494554 h 498743"/>
                <a:gd name="connsiteX21" fmla="*/ 6221 w 386148"/>
                <a:gd name="connsiteY21" fmla="*/ 495315 h 498743"/>
                <a:gd name="connsiteX22" fmla="*/ 6221 w 386148"/>
                <a:gd name="connsiteY22" fmla="*/ 496204 h 498743"/>
                <a:gd name="connsiteX23" fmla="*/ 6221 w 386148"/>
                <a:gd name="connsiteY23" fmla="*/ 497220 h 498743"/>
                <a:gd name="connsiteX24" fmla="*/ 6221 w 386148"/>
                <a:gd name="connsiteY24" fmla="*/ 497220 h 498743"/>
                <a:gd name="connsiteX25" fmla="*/ 6221 w 386148"/>
                <a:gd name="connsiteY25" fmla="*/ 498744 h 498743"/>
                <a:gd name="connsiteX26" fmla="*/ 374429 w 386148"/>
                <a:gd name="connsiteY26" fmla="*/ 17920 h 49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6148" h="498743">
                  <a:moveTo>
                    <a:pt x="386110" y="5858"/>
                  </a:moveTo>
                  <a:cubicBezTo>
                    <a:pt x="386110" y="5858"/>
                    <a:pt x="386110" y="5223"/>
                    <a:pt x="386110" y="4842"/>
                  </a:cubicBezTo>
                  <a:lnTo>
                    <a:pt x="386110" y="4842"/>
                  </a:lnTo>
                  <a:cubicBezTo>
                    <a:pt x="386110" y="4842"/>
                    <a:pt x="386110" y="4207"/>
                    <a:pt x="386110" y="3826"/>
                  </a:cubicBezTo>
                  <a:lnTo>
                    <a:pt x="386110" y="2937"/>
                  </a:lnTo>
                  <a:cubicBezTo>
                    <a:pt x="386161" y="2683"/>
                    <a:pt x="386161" y="2430"/>
                    <a:pt x="386110" y="2175"/>
                  </a:cubicBezTo>
                  <a:lnTo>
                    <a:pt x="386110" y="2175"/>
                  </a:lnTo>
                  <a:lnTo>
                    <a:pt x="386110" y="1287"/>
                  </a:lnTo>
                  <a:lnTo>
                    <a:pt x="386110" y="1287"/>
                  </a:lnTo>
                  <a:lnTo>
                    <a:pt x="386110" y="1287"/>
                  </a:lnTo>
                  <a:lnTo>
                    <a:pt x="385348" y="525"/>
                  </a:lnTo>
                  <a:lnTo>
                    <a:pt x="385348" y="525"/>
                  </a:lnTo>
                  <a:lnTo>
                    <a:pt x="385348" y="525"/>
                  </a:lnTo>
                  <a:cubicBezTo>
                    <a:pt x="382975" y="-554"/>
                    <a:pt x="380181" y="68"/>
                    <a:pt x="378492" y="2049"/>
                  </a:cubicBezTo>
                  <a:lnTo>
                    <a:pt x="374429" y="7381"/>
                  </a:lnTo>
                  <a:lnTo>
                    <a:pt x="0" y="492776"/>
                  </a:lnTo>
                  <a:lnTo>
                    <a:pt x="3809" y="493792"/>
                  </a:lnTo>
                  <a:lnTo>
                    <a:pt x="3809" y="493792"/>
                  </a:lnTo>
                  <a:lnTo>
                    <a:pt x="4825" y="493792"/>
                  </a:lnTo>
                  <a:lnTo>
                    <a:pt x="5587" y="493792"/>
                  </a:lnTo>
                  <a:lnTo>
                    <a:pt x="5587" y="494554"/>
                  </a:lnTo>
                  <a:lnTo>
                    <a:pt x="6221" y="495315"/>
                  </a:lnTo>
                  <a:cubicBezTo>
                    <a:pt x="6234" y="495608"/>
                    <a:pt x="6234" y="495912"/>
                    <a:pt x="6221" y="496204"/>
                  </a:cubicBezTo>
                  <a:cubicBezTo>
                    <a:pt x="6221" y="496204"/>
                    <a:pt x="6221" y="496839"/>
                    <a:pt x="6221" y="497220"/>
                  </a:cubicBezTo>
                  <a:lnTo>
                    <a:pt x="6221" y="497220"/>
                  </a:lnTo>
                  <a:lnTo>
                    <a:pt x="6221" y="498744"/>
                  </a:lnTo>
                  <a:lnTo>
                    <a:pt x="374429" y="17920"/>
                  </a:lnTo>
                  <a:close/>
                </a:path>
              </a:pathLst>
            </a:custGeom>
            <a:solidFill>
              <a:srgbClr val="000000"/>
            </a:solidFill>
            <a:ln w="12690" cap="flat">
              <a:noFill/>
              <a:prstDash val="solid"/>
              <a:miter/>
            </a:ln>
          </p:spPr>
          <p:txBody>
            <a:bodyPr rtlCol="0" anchor="ctr"/>
            <a:lstStyle/>
            <a:p>
              <a:endParaRPr lang="en-US"/>
            </a:p>
          </p:txBody>
        </p:sp>
        <p:sp>
          <p:nvSpPr>
            <p:cNvPr id="646" name="Freeform: Shape 645">
              <a:extLst>
                <a:ext uri="{FF2B5EF4-FFF2-40B4-BE49-F238E27FC236}">
                  <a16:creationId xmlns:a16="http://schemas.microsoft.com/office/drawing/2014/main" id="{FF3BFB68-2EF1-49E3-B0CA-155D238B464B}"/>
                </a:ext>
              </a:extLst>
            </p:cNvPr>
            <p:cNvSpPr/>
            <p:nvPr/>
          </p:nvSpPr>
          <p:spPr>
            <a:xfrm>
              <a:off x="11602358" y="4695240"/>
              <a:ext cx="10586" cy="212187"/>
            </a:xfrm>
            <a:custGeom>
              <a:avLst/>
              <a:gdLst>
                <a:gd name="connsiteX0" fmla="*/ 10539 w 10586"/>
                <a:gd name="connsiteY0" fmla="*/ 207972 h 212187"/>
                <a:gd name="connsiteX1" fmla="*/ 10539 w 10586"/>
                <a:gd name="connsiteY1" fmla="*/ 207210 h 212187"/>
                <a:gd name="connsiteX2" fmla="*/ 10539 w 10586"/>
                <a:gd name="connsiteY2" fmla="*/ 0 h 212187"/>
                <a:gd name="connsiteX3" fmla="*/ 10539 w 10586"/>
                <a:gd name="connsiteY3" fmla="*/ 0 h 212187"/>
                <a:gd name="connsiteX4" fmla="*/ 10539 w 10586"/>
                <a:gd name="connsiteY4" fmla="*/ 1651 h 212187"/>
                <a:gd name="connsiteX5" fmla="*/ 5332 w 10586"/>
                <a:gd name="connsiteY5" fmla="*/ 5079 h 212187"/>
                <a:gd name="connsiteX6" fmla="*/ 3683 w 10586"/>
                <a:gd name="connsiteY6" fmla="*/ 5079 h 212187"/>
                <a:gd name="connsiteX7" fmla="*/ 0 w 10586"/>
                <a:gd name="connsiteY7" fmla="*/ 4063 h 212187"/>
                <a:gd name="connsiteX8" fmla="*/ 0 w 10586"/>
                <a:gd name="connsiteY8" fmla="*/ 207210 h 212187"/>
                <a:gd name="connsiteX9" fmla="*/ 5320 w 10586"/>
                <a:gd name="connsiteY9" fmla="*/ 212035 h 212187"/>
                <a:gd name="connsiteX10" fmla="*/ 5332 w 10586"/>
                <a:gd name="connsiteY10" fmla="*/ 212035 h 212187"/>
                <a:gd name="connsiteX11" fmla="*/ 7619 w 10586"/>
                <a:gd name="connsiteY11" fmla="*/ 212035 h 212187"/>
                <a:gd name="connsiteX12" fmla="*/ 8253 w 10586"/>
                <a:gd name="connsiteY12" fmla="*/ 212035 h 212187"/>
                <a:gd name="connsiteX13" fmla="*/ 8253 w 10586"/>
                <a:gd name="connsiteY13" fmla="*/ 212035 h 212187"/>
                <a:gd name="connsiteX14" fmla="*/ 8253 w 10586"/>
                <a:gd name="connsiteY14" fmla="*/ 212035 h 212187"/>
                <a:gd name="connsiteX15" fmla="*/ 9015 w 10586"/>
                <a:gd name="connsiteY15" fmla="*/ 211273 h 212187"/>
                <a:gd name="connsiteX16" fmla="*/ 9904 w 10586"/>
                <a:gd name="connsiteY16" fmla="*/ 209877 h 212187"/>
                <a:gd name="connsiteX17" fmla="*/ 10539 w 10586"/>
                <a:gd name="connsiteY17" fmla="*/ 207972 h 21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86" h="212187">
                  <a:moveTo>
                    <a:pt x="10539" y="207972"/>
                  </a:moveTo>
                  <a:cubicBezTo>
                    <a:pt x="10539" y="207972"/>
                    <a:pt x="10539" y="207972"/>
                    <a:pt x="10539" y="207210"/>
                  </a:cubicBezTo>
                  <a:lnTo>
                    <a:pt x="10539" y="0"/>
                  </a:lnTo>
                  <a:lnTo>
                    <a:pt x="10539" y="0"/>
                  </a:lnTo>
                  <a:cubicBezTo>
                    <a:pt x="10602" y="546"/>
                    <a:pt x="10602" y="1105"/>
                    <a:pt x="10539" y="1651"/>
                  </a:cubicBezTo>
                  <a:cubicBezTo>
                    <a:pt x="9662" y="3746"/>
                    <a:pt x="7605" y="5104"/>
                    <a:pt x="5332" y="5079"/>
                  </a:cubicBezTo>
                  <a:lnTo>
                    <a:pt x="3683" y="5079"/>
                  </a:lnTo>
                  <a:lnTo>
                    <a:pt x="0" y="4063"/>
                  </a:lnTo>
                  <a:lnTo>
                    <a:pt x="0" y="207210"/>
                  </a:lnTo>
                  <a:cubicBezTo>
                    <a:pt x="139" y="210016"/>
                    <a:pt x="2514" y="212175"/>
                    <a:pt x="5320" y="212035"/>
                  </a:cubicBezTo>
                  <a:cubicBezTo>
                    <a:pt x="5320" y="212035"/>
                    <a:pt x="5332" y="212035"/>
                    <a:pt x="5332" y="212035"/>
                  </a:cubicBezTo>
                  <a:cubicBezTo>
                    <a:pt x="6082" y="212238"/>
                    <a:pt x="6869" y="212238"/>
                    <a:pt x="7619" y="212035"/>
                  </a:cubicBezTo>
                  <a:lnTo>
                    <a:pt x="8253" y="212035"/>
                  </a:lnTo>
                  <a:lnTo>
                    <a:pt x="8253" y="212035"/>
                  </a:lnTo>
                  <a:lnTo>
                    <a:pt x="8253" y="212035"/>
                  </a:lnTo>
                  <a:lnTo>
                    <a:pt x="9015" y="211273"/>
                  </a:lnTo>
                  <a:lnTo>
                    <a:pt x="9904" y="209877"/>
                  </a:lnTo>
                  <a:cubicBezTo>
                    <a:pt x="10031" y="209217"/>
                    <a:pt x="10246" y="208582"/>
                    <a:pt x="10539" y="207972"/>
                  </a:cubicBezTo>
                  <a:close/>
                </a:path>
              </a:pathLst>
            </a:custGeom>
            <a:solidFill>
              <a:srgbClr val="000000"/>
            </a:solidFill>
            <a:ln w="12690" cap="flat">
              <a:noFill/>
              <a:prstDash val="solid"/>
              <a:miter/>
            </a:ln>
          </p:spPr>
          <p:txBody>
            <a:bodyPr rtlCol="0" anchor="ctr"/>
            <a:lstStyle/>
            <a:p>
              <a:endParaRPr lang="en-US"/>
            </a:p>
          </p:txBody>
        </p:sp>
        <p:sp>
          <p:nvSpPr>
            <p:cNvPr id="647" name="Freeform: Shape 646">
              <a:extLst>
                <a:ext uri="{FF2B5EF4-FFF2-40B4-BE49-F238E27FC236}">
                  <a16:creationId xmlns:a16="http://schemas.microsoft.com/office/drawing/2014/main" id="{C9C1DC1E-5A93-4723-9452-FAE670995B0B}"/>
                </a:ext>
              </a:extLst>
            </p:cNvPr>
            <p:cNvSpPr/>
            <p:nvPr/>
          </p:nvSpPr>
          <p:spPr>
            <a:xfrm>
              <a:off x="9827294" y="4175490"/>
              <a:ext cx="1785220" cy="523050"/>
            </a:xfrm>
            <a:custGeom>
              <a:avLst/>
              <a:gdLst>
                <a:gd name="connsiteX0" fmla="*/ 1785221 w 1785220"/>
                <a:gd name="connsiteY0" fmla="*/ 517718 h 523050"/>
                <a:gd name="connsiteX1" fmla="*/ 1784586 w 1785220"/>
                <a:gd name="connsiteY1" fmla="*/ 516956 h 523050"/>
                <a:gd name="connsiteX2" fmla="*/ 1784586 w 1785220"/>
                <a:gd name="connsiteY2" fmla="*/ 516194 h 523050"/>
                <a:gd name="connsiteX3" fmla="*/ 1783825 w 1785220"/>
                <a:gd name="connsiteY3" fmla="*/ 516194 h 523050"/>
                <a:gd name="connsiteX4" fmla="*/ 1782809 w 1785220"/>
                <a:gd name="connsiteY4" fmla="*/ 516194 h 523050"/>
                <a:gd name="connsiteX5" fmla="*/ 1782809 w 1785220"/>
                <a:gd name="connsiteY5" fmla="*/ 516194 h 523050"/>
                <a:gd name="connsiteX6" fmla="*/ 1779000 w 1785220"/>
                <a:gd name="connsiteY6" fmla="*/ 515179 h 523050"/>
                <a:gd name="connsiteX7" fmla="*/ 15157 w 1785220"/>
                <a:gd name="connsiteY7" fmla="*/ 2867 h 523050"/>
                <a:gd name="connsiteX8" fmla="*/ 6269 w 1785220"/>
                <a:gd name="connsiteY8" fmla="*/ 200 h 523050"/>
                <a:gd name="connsiteX9" fmla="*/ 809 w 1785220"/>
                <a:gd name="connsiteY9" fmla="*/ 1470 h 523050"/>
                <a:gd name="connsiteX10" fmla="*/ 48 w 1785220"/>
                <a:gd name="connsiteY10" fmla="*/ 2359 h 523050"/>
                <a:gd name="connsiteX11" fmla="*/ 48 w 1785220"/>
                <a:gd name="connsiteY11" fmla="*/ 3120 h 523050"/>
                <a:gd name="connsiteX12" fmla="*/ 48 w 1785220"/>
                <a:gd name="connsiteY12" fmla="*/ 3120 h 523050"/>
                <a:gd name="connsiteX13" fmla="*/ 48 w 1785220"/>
                <a:gd name="connsiteY13" fmla="*/ 3755 h 523050"/>
                <a:gd name="connsiteX14" fmla="*/ 48 w 1785220"/>
                <a:gd name="connsiteY14" fmla="*/ 4771 h 523050"/>
                <a:gd name="connsiteX15" fmla="*/ 48 w 1785220"/>
                <a:gd name="connsiteY15" fmla="*/ 5660 h 523050"/>
                <a:gd name="connsiteX16" fmla="*/ 48 w 1785220"/>
                <a:gd name="connsiteY16" fmla="*/ 6549 h 523050"/>
                <a:gd name="connsiteX17" fmla="*/ 48 w 1785220"/>
                <a:gd name="connsiteY17" fmla="*/ 7438 h 523050"/>
                <a:gd name="connsiteX18" fmla="*/ 48 w 1785220"/>
                <a:gd name="connsiteY18" fmla="*/ 7438 h 523050"/>
                <a:gd name="connsiteX19" fmla="*/ 1064 w 1785220"/>
                <a:gd name="connsiteY19" fmla="*/ 8199 h 523050"/>
                <a:gd name="connsiteX20" fmla="*/ 1952 w 1785220"/>
                <a:gd name="connsiteY20" fmla="*/ 8199 h 523050"/>
                <a:gd name="connsiteX21" fmla="*/ 1952 w 1785220"/>
                <a:gd name="connsiteY21" fmla="*/ 8199 h 523050"/>
                <a:gd name="connsiteX22" fmla="*/ 8936 w 1785220"/>
                <a:gd name="connsiteY22" fmla="*/ 10231 h 523050"/>
                <a:gd name="connsiteX23" fmla="*/ 1773794 w 1785220"/>
                <a:gd name="connsiteY23" fmla="*/ 522035 h 523050"/>
                <a:gd name="connsiteX24" fmla="*/ 1777476 w 1785220"/>
                <a:gd name="connsiteY24" fmla="*/ 523051 h 523050"/>
                <a:gd name="connsiteX25" fmla="*/ 1779127 w 1785220"/>
                <a:gd name="connsiteY25" fmla="*/ 523051 h 523050"/>
                <a:gd name="connsiteX26" fmla="*/ 1784333 w 1785220"/>
                <a:gd name="connsiteY26" fmla="*/ 519623 h 523050"/>
                <a:gd name="connsiteX27" fmla="*/ 1784333 w 1785220"/>
                <a:gd name="connsiteY27" fmla="*/ 517972 h 523050"/>
                <a:gd name="connsiteX28" fmla="*/ 1784333 w 1785220"/>
                <a:gd name="connsiteY28" fmla="*/ 516956 h 523050"/>
                <a:gd name="connsiteX29" fmla="*/ 1785221 w 1785220"/>
                <a:gd name="connsiteY29" fmla="*/ 517718 h 5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85220" h="523050">
                  <a:moveTo>
                    <a:pt x="1785221" y="517718"/>
                  </a:moveTo>
                  <a:lnTo>
                    <a:pt x="1784586" y="516956"/>
                  </a:lnTo>
                  <a:lnTo>
                    <a:pt x="1784586" y="516194"/>
                  </a:lnTo>
                  <a:lnTo>
                    <a:pt x="1783825" y="516194"/>
                  </a:lnTo>
                  <a:lnTo>
                    <a:pt x="1782809" y="516194"/>
                  </a:lnTo>
                  <a:lnTo>
                    <a:pt x="1782809" y="516194"/>
                  </a:lnTo>
                  <a:lnTo>
                    <a:pt x="1779000" y="515179"/>
                  </a:lnTo>
                  <a:lnTo>
                    <a:pt x="15157" y="2867"/>
                  </a:lnTo>
                  <a:lnTo>
                    <a:pt x="6269" y="200"/>
                  </a:lnTo>
                  <a:cubicBezTo>
                    <a:pt x="4352" y="-308"/>
                    <a:pt x="2307" y="162"/>
                    <a:pt x="809" y="1470"/>
                  </a:cubicBezTo>
                  <a:lnTo>
                    <a:pt x="48" y="2359"/>
                  </a:lnTo>
                  <a:lnTo>
                    <a:pt x="48" y="3120"/>
                  </a:lnTo>
                  <a:lnTo>
                    <a:pt x="48" y="3120"/>
                  </a:lnTo>
                  <a:cubicBezTo>
                    <a:pt x="48" y="3120"/>
                    <a:pt x="48" y="3120"/>
                    <a:pt x="48" y="3755"/>
                  </a:cubicBezTo>
                  <a:lnTo>
                    <a:pt x="48" y="4771"/>
                  </a:lnTo>
                  <a:cubicBezTo>
                    <a:pt x="-16" y="5063"/>
                    <a:pt x="-16" y="5368"/>
                    <a:pt x="48" y="5660"/>
                  </a:cubicBezTo>
                  <a:cubicBezTo>
                    <a:pt x="-3" y="5952"/>
                    <a:pt x="-3" y="6257"/>
                    <a:pt x="48" y="6549"/>
                  </a:cubicBezTo>
                  <a:lnTo>
                    <a:pt x="48" y="7438"/>
                  </a:lnTo>
                  <a:lnTo>
                    <a:pt x="48" y="7438"/>
                  </a:lnTo>
                  <a:lnTo>
                    <a:pt x="1064" y="8199"/>
                  </a:lnTo>
                  <a:lnTo>
                    <a:pt x="1952" y="8199"/>
                  </a:lnTo>
                  <a:lnTo>
                    <a:pt x="1952" y="8199"/>
                  </a:lnTo>
                  <a:lnTo>
                    <a:pt x="8936" y="10231"/>
                  </a:lnTo>
                  <a:lnTo>
                    <a:pt x="1773794" y="522035"/>
                  </a:lnTo>
                  <a:lnTo>
                    <a:pt x="1777476" y="523051"/>
                  </a:lnTo>
                  <a:lnTo>
                    <a:pt x="1779127" y="523051"/>
                  </a:lnTo>
                  <a:cubicBezTo>
                    <a:pt x="1781400" y="523076"/>
                    <a:pt x="1783456" y="521717"/>
                    <a:pt x="1784333" y="519623"/>
                  </a:cubicBezTo>
                  <a:cubicBezTo>
                    <a:pt x="1784396" y="519077"/>
                    <a:pt x="1784396" y="518518"/>
                    <a:pt x="1784333" y="517972"/>
                  </a:cubicBezTo>
                  <a:cubicBezTo>
                    <a:pt x="1784333" y="517972"/>
                    <a:pt x="1784333" y="517210"/>
                    <a:pt x="1784333" y="516956"/>
                  </a:cubicBezTo>
                  <a:cubicBezTo>
                    <a:pt x="1784612" y="517235"/>
                    <a:pt x="1784904" y="517490"/>
                    <a:pt x="1785221" y="517718"/>
                  </a:cubicBezTo>
                  <a:close/>
                </a:path>
              </a:pathLst>
            </a:custGeom>
            <a:solidFill>
              <a:srgbClr val="000000"/>
            </a:solidFill>
            <a:ln w="12690" cap="flat">
              <a:noFill/>
              <a:prstDash val="solid"/>
              <a:miter/>
            </a:ln>
          </p:spPr>
          <p:txBody>
            <a:bodyPr rtlCol="0" anchor="ctr"/>
            <a:lstStyle/>
            <a:p>
              <a:endParaRPr lang="en-US"/>
            </a:p>
          </p:txBody>
        </p:sp>
        <p:sp>
          <p:nvSpPr>
            <p:cNvPr id="648" name="Freeform: Shape 647">
              <a:extLst>
                <a:ext uri="{FF2B5EF4-FFF2-40B4-BE49-F238E27FC236}">
                  <a16:creationId xmlns:a16="http://schemas.microsoft.com/office/drawing/2014/main" id="{1907ED01-8C63-42A6-9A00-9A931003F0E8}"/>
                </a:ext>
              </a:extLst>
            </p:cNvPr>
            <p:cNvSpPr/>
            <p:nvPr/>
          </p:nvSpPr>
          <p:spPr>
            <a:xfrm>
              <a:off x="10954305" y="702340"/>
              <a:ext cx="84949" cy="33051"/>
            </a:xfrm>
            <a:custGeom>
              <a:avLst/>
              <a:gdLst>
                <a:gd name="connsiteX0" fmla="*/ 262 w 84949"/>
                <a:gd name="connsiteY0" fmla="*/ 3087 h 33051"/>
                <a:gd name="connsiteX1" fmla="*/ 3258 w 84949"/>
                <a:gd name="connsiteY1" fmla="*/ 9216 h 33051"/>
                <a:gd name="connsiteX2" fmla="*/ 3562 w 84949"/>
                <a:gd name="connsiteY2" fmla="*/ 9309 h 33051"/>
                <a:gd name="connsiteX3" fmla="*/ 5975 w 84949"/>
                <a:gd name="connsiteY3" fmla="*/ 10070 h 33051"/>
                <a:gd name="connsiteX4" fmla="*/ 81521 w 84949"/>
                <a:gd name="connsiteY4" fmla="*/ 33051 h 33051"/>
                <a:gd name="connsiteX5" fmla="*/ 81521 w 84949"/>
                <a:gd name="connsiteY5" fmla="*/ 33051 h 33051"/>
                <a:gd name="connsiteX6" fmla="*/ 78055 w 84949"/>
                <a:gd name="connsiteY6" fmla="*/ 26967 h 33051"/>
                <a:gd name="connsiteX7" fmla="*/ 78093 w 84949"/>
                <a:gd name="connsiteY7" fmla="*/ 26830 h 33051"/>
                <a:gd name="connsiteX8" fmla="*/ 84949 w 84949"/>
                <a:gd name="connsiteY8" fmla="*/ 23656 h 33051"/>
                <a:gd name="connsiteX9" fmla="*/ 77839 w 84949"/>
                <a:gd name="connsiteY9" fmla="*/ 21497 h 33051"/>
                <a:gd name="connsiteX10" fmla="*/ 6991 w 84949"/>
                <a:gd name="connsiteY10" fmla="*/ 40 h 33051"/>
                <a:gd name="connsiteX11" fmla="*/ 4705 w 84949"/>
                <a:gd name="connsiteY11" fmla="*/ 40 h 33051"/>
                <a:gd name="connsiteX12" fmla="*/ 3816 w 84949"/>
                <a:gd name="connsiteY12" fmla="*/ 40 h 33051"/>
                <a:gd name="connsiteX13" fmla="*/ 2673 w 84949"/>
                <a:gd name="connsiteY13" fmla="*/ 40 h 33051"/>
                <a:gd name="connsiteX14" fmla="*/ 262 w 84949"/>
                <a:gd name="connsiteY14" fmla="*/ 3087 h 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949" h="33051">
                  <a:moveTo>
                    <a:pt x="262" y="3087"/>
                  </a:moveTo>
                  <a:cubicBezTo>
                    <a:pt x="-602" y="5607"/>
                    <a:pt x="744" y="8351"/>
                    <a:pt x="3258" y="9216"/>
                  </a:cubicBezTo>
                  <a:cubicBezTo>
                    <a:pt x="3359" y="9250"/>
                    <a:pt x="3461" y="9281"/>
                    <a:pt x="3562" y="9309"/>
                  </a:cubicBezTo>
                  <a:lnTo>
                    <a:pt x="5975" y="10070"/>
                  </a:lnTo>
                  <a:lnTo>
                    <a:pt x="81521" y="33051"/>
                  </a:lnTo>
                  <a:lnTo>
                    <a:pt x="81521" y="33051"/>
                  </a:lnTo>
                  <a:cubicBezTo>
                    <a:pt x="78880" y="32329"/>
                    <a:pt x="77331" y="29606"/>
                    <a:pt x="78055" y="26967"/>
                  </a:cubicBezTo>
                  <a:cubicBezTo>
                    <a:pt x="78068" y="26921"/>
                    <a:pt x="78080" y="26876"/>
                    <a:pt x="78093" y="26830"/>
                  </a:cubicBezTo>
                  <a:cubicBezTo>
                    <a:pt x="79248" y="24197"/>
                    <a:pt x="82194" y="22836"/>
                    <a:pt x="84949" y="23656"/>
                  </a:cubicBezTo>
                  <a:lnTo>
                    <a:pt x="77839" y="21497"/>
                  </a:lnTo>
                  <a:lnTo>
                    <a:pt x="6991" y="40"/>
                  </a:lnTo>
                  <a:lnTo>
                    <a:pt x="4705" y="40"/>
                  </a:lnTo>
                  <a:lnTo>
                    <a:pt x="3816" y="40"/>
                  </a:lnTo>
                  <a:cubicBezTo>
                    <a:pt x="3436" y="-13"/>
                    <a:pt x="3055" y="-13"/>
                    <a:pt x="2673" y="40"/>
                  </a:cubicBezTo>
                  <a:cubicBezTo>
                    <a:pt x="1455" y="646"/>
                    <a:pt x="566" y="1763"/>
                    <a:pt x="262" y="3087"/>
                  </a:cubicBezTo>
                  <a:close/>
                </a:path>
              </a:pathLst>
            </a:custGeom>
            <a:solidFill>
              <a:srgbClr val="000000"/>
            </a:solidFill>
            <a:ln w="12690" cap="flat">
              <a:noFill/>
              <a:prstDash val="solid"/>
              <a:miter/>
            </a:ln>
          </p:spPr>
          <p:txBody>
            <a:bodyPr rtlCol="0" anchor="ctr"/>
            <a:lstStyle/>
            <a:p>
              <a:endParaRPr lang="en-US"/>
            </a:p>
          </p:txBody>
        </p:sp>
        <p:sp>
          <p:nvSpPr>
            <p:cNvPr id="649" name="Freeform: Shape 648">
              <a:extLst>
                <a:ext uri="{FF2B5EF4-FFF2-40B4-BE49-F238E27FC236}">
                  <a16:creationId xmlns:a16="http://schemas.microsoft.com/office/drawing/2014/main" id="{2C96197F-97D1-45AB-AF07-933C06B54826}"/>
                </a:ext>
              </a:extLst>
            </p:cNvPr>
            <p:cNvSpPr/>
            <p:nvPr/>
          </p:nvSpPr>
          <p:spPr>
            <a:xfrm>
              <a:off x="11034212" y="727409"/>
              <a:ext cx="850571" cy="262134"/>
            </a:xfrm>
            <a:custGeom>
              <a:avLst/>
              <a:gdLst>
                <a:gd name="connsiteX0" fmla="*/ 835034 w 850571"/>
                <a:gd name="connsiteY0" fmla="*/ 259377 h 262134"/>
                <a:gd name="connsiteX1" fmla="*/ 843922 w 850571"/>
                <a:gd name="connsiteY1" fmla="*/ 262044 h 262134"/>
                <a:gd name="connsiteX2" fmla="*/ 845573 w 850571"/>
                <a:gd name="connsiteY2" fmla="*/ 262044 h 262134"/>
                <a:gd name="connsiteX3" fmla="*/ 850524 w 850571"/>
                <a:gd name="connsiteY3" fmla="*/ 258870 h 262134"/>
                <a:gd name="connsiteX4" fmla="*/ 850524 w 850571"/>
                <a:gd name="connsiteY4" fmla="*/ 258870 h 262134"/>
                <a:gd name="connsiteX5" fmla="*/ 850524 w 850571"/>
                <a:gd name="connsiteY5" fmla="*/ 257854 h 262134"/>
                <a:gd name="connsiteX6" fmla="*/ 850524 w 850571"/>
                <a:gd name="connsiteY6" fmla="*/ 256965 h 262134"/>
                <a:gd name="connsiteX7" fmla="*/ 850524 w 850571"/>
                <a:gd name="connsiteY7" fmla="*/ 256076 h 262134"/>
                <a:gd name="connsiteX8" fmla="*/ 850524 w 850571"/>
                <a:gd name="connsiteY8" fmla="*/ 255188 h 262134"/>
                <a:gd name="connsiteX9" fmla="*/ 850524 w 850571"/>
                <a:gd name="connsiteY9" fmla="*/ 254426 h 262134"/>
                <a:gd name="connsiteX10" fmla="*/ 849635 w 850571"/>
                <a:gd name="connsiteY10" fmla="*/ 254426 h 262134"/>
                <a:gd name="connsiteX11" fmla="*/ 848747 w 850571"/>
                <a:gd name="connsiteY11" fmla="*/ 254426 h 262134"/>
                <a:gd name="connsiteX12" fmla="*/ 848747 w 850571"/>
                <a:gd name="connsiteY12" fmla="*/ 254426 h 262134"/>
                <a:gd name="connsiteX13" fmla="*/ 10756 w 850571"/>
                <a:gd name="connsiteY13" fmla="*/ 1380 h 262134"/>
                <a:gd name="connsiteX14" fmla="*/ 7074 w 850571"/>
                <a:gd name="connsiteY14" fmla="*/ 238 h 262134"/>
                <a:gd name="connsiteX15" fmla="*/ 7074 w 850571"/>
                <a:gd name="connsiteY15" fmla="*/ 238 h 262134"/>
                <a:gd name="connsiteX16" fmla="*/ 218 w 850571"/>
                <a:gd name="connsiteY16" fmla="*/ 3412 h 262134"/>
                <a:gd name="connsiteX17" fmla="*/ 3506 w 850571"/>
                <a:gd name="connsiteY17" fmla="*/ 9594 h 262134"/>
                <a:gd name="connsiteX18" fmla="*/ 3646 w 850571"/>
                <a:gd name="connsiteY18" fmla="*/ 9633 h 262134"/>
                <a:gd name="connsiteX19" fmla="*/ 3646 w 850571"/>
                <a:gd name="connsiteY19" fmla="*/ 9633 h 26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571" h="262134">
                  <a:moveTo>
                    <a:pt x="835034" y="259377"/>
                  </a:moveTo>
                  <a:lnTo>
                    <a:pt x="843922" y="262044"/>
                  </a:lnTo>
                  <a:cubicBezTo>
                    <a:pt x="844467" y="262164"/>
                    <a:pt x="845026" y="262164"/>
                    <a:pt x="845573" y="262044"/>
                  </a:cubicBezTo>
                  <a:cubicBezTo>
                    <a:pt x="847705" y="262074"/>
                    <a:pt x="849660" y="260825"/>
                    <a:pt x="850524" y="258870"/>
                  </a:cubicBezTo>
                  <a:lnTo>
                    <a:pt x="850524" y="258870"/>
                  </a:lnTo>
                  <a:cubicBezTo>
                    <a:pt x="850587" y="258534"/>
                    <a:pt x="850587" y="258189"/>
                    <a:pt x="850524" y="257854"/>
                  </a:cubicBezTo>
                  <a:cubicBezTo>
                    <a:pt x="850587" y="257561"/>
                    <a:pt x="850587" y="257258"/>
                    <a:pt x="850524" y="256965"/>
                  </a:cubicBezTo>
                  <a:cubicBezTo>
                    <a:pt x="850575" y="256672"/>
                    <a:pt x="850575" y="256370"/>
                    <a:pt x="850524" y="256076"/>
                  </a:cubicBezTo>
                  <a:cubicBezTo>
                    <a:pt x="850549" y="255780"/>
                    <a:pt x="850549" y="255483"/>
                    <a:pt x="850524" y="255188"/>
                  </a:cubicBezTo>
                  <a:lnTo>
                    <a:pt x="850524" y="254426"/>
                  </a:lnTo>
                  <a:lnTo>
                    <a:pt x="849635" y="254426"/>
                  </a:lnTo>
                  <a:lnTo>
                    <a:pt x="848747" y="254426"/>
                  </a:lnTo>
                  <a:lnTo>
                    <a:pt x="848747" y="254426"/>
                  </a:lnTo>
                  <a:lnTo>
                    <a:pt x="10756" y="1380"/>
                  </a:lnTo>
                  <a:lnTo>
                    <a:pt x="7074" y="238"/>
                  </a:lnTo>
                  <a:lnTo>
                    <a:pt x="7074" y="238"/>
                  </a:lnTo>
                  <a:cubicBezTo>
                    <a:pt x="4319" y="-582"/>
                    <a:pt x="1373" y="779"/>
                    <a:pt x="218" y="3412"/>
                  </a:cubicBezTo>
                  <a:cubicBezTo>
                    <a:pt x="-582" y="6027"/>
                    <a:pt x="890" y="8795"/>
                    <a:pt x="3506" y="9594"/>
                  </a:cubicBezTo>
                  <a:cubicBezTo>
                    <a:pt x="3557" y="9608"/>
                    <a:pt x="3595" y="9621"/>
                    <a:pt x="3646" y="9633"/>
                  </a:cubicBezTo>
                  <a:lnTo>
                    <a:pt x="3646" y="9633"/>
                  </a:lnTo>
                  <a:close/>
                </a:path>
              </a:pathLst>
            </a:custGeom>
            <a:solidFill>
              <a:srgbClr val="000000"/>
            </a:solidFill>
            <a:ln w="12690" cap="flat">
              <a:noFill/>
              <a:prstDash val="solid"/>
              <a:miter/>
            </a:ln>
          </p:spPr>
          <p:txBody>
            <a:bodyPr rtlCol="0" anchor="ctr"/>
            <a:lstStyle/>
            <a:p>
              <a:endParaRPr lang="en-US"/>
            </a:p>
          </p:txBody>
        </p:sp>
        <p:sp>
          <p:nvSpPr>
            <p:cNvPr id="650" name="Freeform: Shape 649">
              <a:extLst>
                <a:ext uri="{FF2B5EF4-FFF2-40B4-BE49-F238E27FC236}">
                  <a16:creationId xmlns:a16="http://schemas.microsoft.com/office/drawing/2014/main" id="{B8AA8F3F-398D-458B-AFBA-88901CDB8A4E}"/>
                </a:ext>
              </a:extLst>
            </p:cNvPr>
            <p:cNvSpPr/>
            <p:nvPr/>
          </p:nvSpPr>
          <p:spPr>
            <a:xfrm>
              <a:off x="11875800" y="996690"/>
              <a:ext cx="9823" cy="95231"/>
            </a:xfrm>
            <a:custGeom>
              <a:avLst/>
              <a:gdLst>
                <a:gd name="connsiteX0" fmla="*/ 4872 w 9823"/>
                <a:gd name="connsiteY0" fmla="*/ 0 h 95231"/>
                <a:gd name="connsiteX1" fmla="*/ 3729 w 9823"/>
                <a:gd name="connsiteY1" fmla="*/ 0 h 95231"/>
                <a:gd name="connsiteX2" fmla="*/ 2713 w 9823"/>
                <a:gd name="connsiteY2" fmla="*/ 0 h 95231"/>
                <a:gd name="connsiteX3" fmla="*/ 1698 w 9823"/>
                <a:gd name="connsiteY3" fmla="*/ 0 h 95231"/>
                <a:gd name="connsiteX4" fmla="*/ 936 w 9823"/>
                <a:gd name="connsiteY4" fmla="*/ 0 h 95231"/>
                <a:gd name="connsiteX5" fmla="*/ 48 w 9823"/>
                <a:gd name="connsiteY5" fmla="*/ 0 h 95231"/>
                <a:gd name="connsiteX6" fmla="*/ 48 w 9823"/>
                <a:gd name="connsiteY6" fmla="*/ 762 h 95231"/>
                <a:gd name="connsiteX7" fmla="*/ 48 w 9823"/>
                <a:gd name="connsiteY7" fmla="*/ 1651 h 95231"/>
                <a:gd name="connsiteX8" fmla="*/ 48 w 9823"/>
                <a:gd name="connsiteY8" fmla="*/ 2539 h 95231"/>
                <a:gd name="connsiteX9" fmla="*/ 48 w 9823"/>
                <a:gd name="connsiteY9" fmla="*/ 3428 h 95231"/>
                <a:gd name="connsiteX10" fmla="*/ 48 w 9823"/>
                <a:gd name="connsiteY10" fmla="*/ 90274 h 95231"/>
                <a:gd name="connsiteX11" fmla="*/ 5241 w 9823"/>
                <a:gd name="connsiteY11" fmla="*/ 95230 h 95231"/>
                <a:gd name="connsiteX12" fmla="*/ 5380 w 9823"/>
                <a:gd name="connsiteY12" fmla="*/ 95225 h 95231"/>
                <a:gd name="connsiteX13" fmla="*/ 9062 w 9823"/>
                <a:gd name="connsiteY13" fmla="*/ 93829 h 95231"/>
                <a:gd name="connsiteX14" fmla="*/ 9824 w 9823"/>
                <a:gd name="connsiteY14" fmla="*/ 92940 h 95231"/>
                <a:gd name="connsiteX15" fmla="*/ 9824 w 9823"/>
                <a:gd name="connsiteY15" fmla="*/ 92305 h 95231"/>
                <a:gd name="connsiteX16" fmla="*/ 9824 w 9823"/>
                <a:gd name="connsiteY16" fmla="*/ 91543 h 95231"/>
                <a:gd name="connsiteX17" fmla="*/ 9824 w 9823"/>
                <a:gd name="connsiteY17" fmla="*/ 90401 h 95231"/>
                <a:gd name="connsiteX18" fmla="*/ 9824 w 9823"/>
                <a:gd name="connsiteY18" fmla="*/ 90401 h 95231"/>
                <a:gd name="connsiteX19" fmla="*/ 9824 w 9823"/>
                <a:gd name="connsiteY19" fmla="*/ 4825 h 95231"/>
                <a:gd name="connsiteX20" fmla="*/ 4872 w 9823"/>
                <a:gd name="connsiteY20" fmla="*/ 0 h 9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23" h="95231">
                  <a:moveTo>
                    <a:pt x="4872" y="0"/>
                  </a:moveTo>
                  <a:lnTo>
                    <a:pt x="3729" y="0"/>
                  </a:lnTo>
                  <a:lnTo>
                    <a:pt x="2713" y="0"/>
                  </a:lnTo>
                  <a:lnTo>
                    <a:pt x="1698" y="0"/>
                  </a:lnTo>
                  <a:lnTo>
                    <a:pt x="936" y="0"/>
                  </a:lnTo>
                  <a:lnTo>
                    <a:pt x="48" y="0"/>
                  </a:lnTo>
                  <a:cubicBezTo>
                    <a:pt x="86" y="253"/>
                    <a:pt x="86" y="509"/>
                    <a:pt x="48" y="762"/>
                  </a:cubicBezTo>
                  <a:cubicBezTo>
                    <a:pt x="-16" y="1054"/>
                    <a:pt x="-16" y="1357"/>
                    <a:pt x="48" y="1651"/>
                  </a:cubicBezTo>
                  <a:cubicBezTo>
                    <a:pt x="-3" y="1944"/>
                    <a:pt x="-3" y="2246"/>
                    <a:pt x="48" y="2539"/>
                  </a:cubicBezTo>
                  <a:cubicBezTo>
                    <a:pt x="48" y="2539"/>
                    <a:pt x="48" y="2539"/>
                    <a:pt x="48" y="3428"/>
                  </a:cubicBezTo>
                  <a:lnTo>
                    <a:pt x="48" y="90274"/>
                  </a:lnTo>
                  <a:cubicBezTo>
                    <a:pt x="110" y="93077"/>
                    <a:pt x="2447" y="95296"/>
                    <a:pt x="5241" y="95230"/>
                  </a:cubicBezTo>
                  <a:cubicBezTo>
                    <a:pt x="5291" y="95229"/>
                    <a:pt x="5329" y="95228"/>
                    <a:pt x="5380" y="95225"/>
                  </a:cubicBezTo>
                  <a:cubicBezTo>
                    <a:pt x="6739" y="95247"/>
                    <a:pt x="8059" y="94747"/>
                    <a:pt x="9062" y="93829"/>
                  </a:cubicBezTo>
                  <a:cubicBezTo>
                    <a:pt x="9380" y="93596"/>
                    <a:pt x="9646" y="93292"/>
                    <a:pt x="9824" y="92940"/>
                  </a:cubicBezTo>
                  <a:lnTo>
                    <a:pt x="9824" y="92305"/>
                  </a:lnTo>
                  <a:cubicBezTo>
                    <a:pt x="9824" y="92305"/>
                    <a:pt x="9824" y="92305"/>
                    <a:pt x="9824" y="91543"/>
                  </a:cubicBezTo>
                  <a:cubicBezTo>
                    <a:pt x="9824" y="90781"/>
                    <a:pt x="9824" y="90781"/>
                    <a:pt x="9824" y="90401"/>
                  </a:cubicBezTo>
                  <a:lnTo>
                    <a:pt x="9824" y="90401"/>
                  </a:lnTo>
                  <a:lnTo>
                    <a:pt x="9824" y="4825"/>
                  </a:lnTo>
                  <a:cubicBezTo>
                    <a:pt x="9697" y="2167"/>
                    <a:pt x="7526" y="63"/>
                    <a:pt x="4872" y="0"/>
                  </a:cubicBezTo>
                  <a:close/>
                </a:path>
              </a:pathLst>
            </a:custGeom>
            <a:solidFill>
              <a:srgbClr val="000000"/>
            </a:solidFill>
            <a:ln w="12690" cap="flat">
              <a:noFill/>
              <a:prstDash val="solid"/>
              <a:miter/>
            </a:ln>
          </p:spPr>
          <p:txBody>
            <a:bodyPr rtlCol="0" anchor="ctr"/>
            <a:lstStyle/>
            <a:p>
              <a:endParaRPr lang="en-US"/>
            </a:p>
          </p:txBody>
        </p:sp>
        <p:sp>
          <p:nvSpPr>
            <p:cNvPr id="651" name="Freeform: Shape 650">
              <a:extLst>
                <a:ext uri="{FF2B5EF4-FFF2-40B4-BE49-F238E27FC236}">
                  <a16:creationId xmlns:a16="http://schemas.microsoft.com/office/drawing/2014/main" id="{808EF1AF-C4FB-47FC-8EE9-14073FCF8459}"/>
                </a:ext>
              </a:extLst>
            </p:cNvPr>
            <p:cNvSpPr/>
            <p:nvPr/>
          </p:nvSpPr>
          <p:spPr>
            <a:xfrm>
              <a:off x="7508902" y="63482"/>
              <a:ext cx="10791" cy="77449"/>
            </a:xfrm>
            <a:custGeom>
              <a:avLst/>
              <a:gdLst>
                <a:gd name="connsiteX0" fmla="*/ 10030 w 10791"/>
                <a:gd name="connsiteY0" fmla="*/ 3809 h 77449"/>
                <a:gd name="connsiteX1" fmla="*/ 10030 w 10791"/>
                <a:gd name="connsiteY1" fmla="*/ 3047 h 77449"/>
                <a:gd name="connsiteX2" fmla="*/ 10030 w 10791"/>
                <a:gd name="connsiteY2" fmla="*/ 2031 h 77449"/>
                <a:gd name="connsiteX3" fmla="*/ 10030 w 10791"/>
                <a:gd name="connsiteY3" fmla="*/ 1143 h 77449"/>
                <a:gd name="connsiteX4" fmla="*/ 10030 w 10791"/>
                <a:gd name="connsiteY4" fmla="*/ 381 h 77449"/>
                <a:gd name="connsiteX5" fmla="*/ 7618 w 10791"/>
                <a:gd name="connsiteY5" fmla="*/ 0 h 77449"/>
                <a:gd name="connsiteX6" fmla="*/ 7618 w 10791"/>
                <a:gd name="connsiteY6" fmla="*/ 0 h 77449"/>
                <a:gd name="connsiteX7" fmla="*/ 6602 w 10791"/>
                <a:gd name="connsiteY7" fmla="*/ 0 h 77449"/>
                <a:gd name="connsiteX8" fmla="*/ 5587 w 10791"/>
                <a:gd name="connsiteY8" fmla="*/ 0 h 77449"/>
                <a:gd name="connsiteX9" fmla="*/ 4571 w 10791"/>
                <a:gd name="connsiteY9" fmla="*/ 0 h 77449"/>
                <a:gd name="connsiteX10" fmla="*/ 3428 w 10791"/>
                <a:gd name="connsiteY10" fmla="*/ 0 h 77449"/>
                <a:gd name="connsiteX11" fmla="*/ 2539 w 10791"/>
                <a:gd name="connsiteY11" fmla="*/ 0 h 77449"/>
                <a:gd name="connsiteX12" fmla="*/ 0 w 10791"/>
                <a:gd name="connsiteY12" fmla="*/ 4063 h 77449"/>
                <a:gd name="connsiteX13" fmla="*/ 0 w 10791"/>
                <a:gd name="connsiteY13" fmla="*/ 74149 h 77449"/>
                <a:gd name="connsiteX14" fmla="*/ 7110 w 10791"/>
                <a:gd name="connsiteY14" fmla="*/ 76307 h 77449"/>
                <a:gd name="connsiteX15" fmla="*/ 10792 w 10791"/>
                <a:gd name="connsiteY15" fmla="*/ 77450 h 77449"/>
                <a:gd name="connsiteX16" fmla="*/ 10792 w 10791"/>
                <a:gd name="connsiteY16" fmla="*/ 3809 h 7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91" h="77449">
                  <a:moveTo>
                    <a:pt x="10030" y="3809"/>
                  </a:moveTo>
                  <a:cubicBezTo>
                    <a:pt x="10030" y="3809"/>
                    <a:pt x="10030" y="3809"/>
                    <a:pt x="10030" y="3047"/>
                  </a:cubicBezTo>
                  <a:lnTo>
                    <a:pt x="10030" y="2031"/>
                  </a:lnTo>
                  <a:cubicBezTo>
                    <a:pt x="10094" y="1738"/>
                    <a:pt x="10094" y="1436"/>
                    <a:pt x="10030" y="1143"/>
                  </a:cubicBezTo>
                  <a:cubicBezTo>
                    <a:pt x="10068" y="890"/>
                    <a:pt x="10068" y="634"/>
                    <a:pt x="10030" y="381"/>
                  </a:cubicBezTo>
                  <a:lnTo>
                    <a:pt x="7618" y="0"/>
                  </a:lnTo>
                  <a:lnTo>
                    <a:pt x="7618" y="0"/>
                  </a:lnTo>
                  <a:lnTo>
                    <a:pt x="6602" y="0"/>
                  </a:lnTo>
                  <a:lnTo>
                    <a:pt x="5587" y="0"/>
                  </a:lnTo>
                  <a:lnTo>
                    <a:pt x="4571" y="0"/>
                  </a:lnTo>
                  <a:lnTo>
                    <a:pt x="3428" y="0"/>
                  </a:lnTo>
                  <a:lnTo>
                    <a:pt x="2539" y="0"/>
                  </a:lnTo>
                  <a:cubicBezTo>
                    <a:pt x="1015" y="788"/>
                    <a:pt x="38" y="2346"/>
                    <a:pt x="0" y="4063"/>
                  </a:cubicBezTo>
                  <a:lnTo>
                    <a:pt x="0" y="74149"/>
                  </a:lnTo>
                  <a:lnTo>
                    <a:pt x="7110" y="76307"/>
                  </a:lnTo>
                  <a:lnTo>
                    <a:pt x="10792" y="77450"/>
                  </a:lnTo>
                  <a:lnTo>
                    <a:pt x="10792" y="3809"/>
                  </a:lnTo>
                  <a:close/>
                </a:path>
              </a:pathLst>
            </a:custGeom>
            <a:solidFill>
              <a:srgbClr val="000000"/>
            </a:solidFill>
            <a:ln w="12690" cap="flat">
              <a:noFill/>
              <a:prstDash val="solid"/>
              <a:miter/>
            </a:ln>
          </p:spPr>
          <p:txBody>
            <a:bodyPr rtlCol="0" anchor="ctr"/>
            <a:lstStyle/>
            <a:p>
              <a:endParaRPr lang="en-US"/>
            </a:p>
          </p:txBody>
        </p:sp>
        <p:sp>
          <p:nvSpPr>
            <p:cNvPr id="652" name="Freeform: Shape 651">
              <a:extLst>
                <a:ext uri="{FF2B5EF4-FFF2-40B4-BE49-F238E27FC236}">
                  <a16:creationId xmlns:a16="http://schemas.microsoft.com/office/drawing/2014/main" id="{08DB8033-8845-4636-9BA4-EE7FFC265DF6}"/>
                </a:ext>
              </a:extLst>
            </p:cNvPr>
            <p:cNvSpPr/>
            <p:nvPr/>
          </p:nvSpPr>
          <p:spPr>
            <a:xfrm>
              <a:off x="7509060" y="-1"/>
              <a:ext cx="82497" cy="59784"/>
            </a:xfrm>
            <a:custGeom>
              <a:avLst/>
              <a:gdLst>
                <a:gd name="connsiteX0" fmla="*/ 730 w 82497"/>
                <a:gd name="connsiteY0" fmla="*/ 53453 h 59784"/>
                <a:gd name="connsiteX1" fmla="*/ 95 w 82497"/>
                <a:gd name="connsiteY1" fmla="*/ 54215 h 59784"/>
                <a:gd name="connsiteX2" fmla="*/ 95 w 82497"/>
                <a:gd name="connsiteY2" fmla="*/ 55104 h 59784"/>
                <a:gd name="connsiteX3" fmla="*/ 95 w 82497"/>
                <a:gd name="connsiteY3" fmla="*/ 55992 h 59784"/>
                <a:gd name="connsiteX4" fmla="*/ 95 w 82497"/>
                <a:gd name="connsiteY4" fmla="*/ 57008 h 59784"/>
                <a:gd name="connsiteX5" fmla="*/ 95 w 82497"/>
                <a:gd name="connsiteY5" fmla="*/ 57897 h 59784"/>
                <a:gd name="connsiteX6" fmla="*/ 95 w 82497"/>
                <a:gd name="connsiteY6" fmla="*/ 58786 h 59784"/>
                <a:gd name="connsiteX7" fmla="*/ 95 w 82497"/>
                <a:gd name="connsiteY7" fmla="*/ 59675 h 59784"/>
                <a:gd name="connsiteX8" fmla="*/ 95 w 82497"/>
                <a:gd name="connsiteY8" fmla="*/ 59675 h 59784"/>
                <a:gd name="connsiteX9" fmla="*/ 95 w 82497"/>
                <a:gd name="connsiteY9" fmla="*/ 59675 h 59784"/>
                <a:gd name="connsiteX10" fmla="*/ 1111 w 82497"/>
                <a:gd name="connsiteY10" fmla="*/ 59675 h 59784"/>
                <a:gd name="connsiteX11" fmla="*/ 2000 w 82497"/>
                <a:gd name="connsiteY11" fmla="*/ 59675 h 59784"/>
                <a:gd name="connsiteX12" fmla="*/ 3904 w 82497"/>
                <a:gd name="connsiteY12" fmla="*/ 59675 h 59784"/>
                <a:gd name="connsiteX13" fmla="*/ 7460 w 82497"/>
                <a:gd name="connsiteY13" fmla="*/ 58405 h 59784"/>
                <a:gd name="connsiteX14" fmla="*/ 14443 w 82497"/>
                <a:gd name="connsiteY14" fmla="*/ 52818 h 59784"/>
                <a:gd name="connsiteX15" fmla="*/ 82498 w 82497"/>
                <a:gd name="connsiteY15" fmla="*/ 0 h 59784"/>
                <a:gd name="connsiteX16" fmla="*/ 66373 w 82497"/>
                <a:gd name="connsiteY16" fmla="*/ 0 h 59784"/>
                <a:gd name="connsiteX17" fmla="*/ 857 w 82497"/>
                <a:gd name="connsiteY17" fmla="*/ 53199 h 5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497" h="59784">
                  <a:moveTo>
                    <a:pt x="730" y="53453"/>
                  </a:moveTo>
                  <a:lnTo>
                    <a:pt x="95" y="54215"/>
                  </a:lnTo>
                  <a:lnTo>
                    <a:pt x="95" y="55104"/>
                  </a:lnTo>
                  <a:cubicBezTo>
                    <a:pt x="95" y="55104"/>
                    <a:pt x="95" y="55104"/>
                    <a:pt x="95" y="55992"/>
                  </a:cubicBezTo>
                  <a:cubicBezTo>
                    <a:pt x="-32" y="56319"/>
                    <a:pt x="-32" y="56682"/>
                    <a:pt x="95" y="57008"/>
                  </a:cubicBezTo>
                  <a:cubicBezTo>
                    <a:pt x="45" y="57302"/>
                    <a:pt x="45" y="57603"/>
                    <a:pt x="95" y="57897"/>
                  </a:cubicBezTo>
                  <a:cubicBezTo>
                    <a:pt x="45" y="58191"/>
                    <a:pt x="45" y="58492"/>
                    <a:pt x="95" y="58786"/>
                  </a:cubicBezTo>
                  <a:lnTo>
                    <a:pt x="95" y="59675"/>
                  </a:lnTo>
                  <a:lnTo>
                    <a:pt x="95" y="59675"/>
                  </a:lnTo>
                  <a:lnTo>
                    <a:pt x="95" y="59675"/>
                  </a:lnTo>
                  <a:lnTo>
                    <a:pt x="1111" y="59675"/>
                  </a:lnTo>
                  <a:lnTo>
                    <a:pt x="2000" y="59675"/>
                  </a:lnTo>
                  <a:cubicBezTo>
                    <a:pt x="2622" y="59821"/>
                    <a:pt x="3283" y="59821"/>
                    <a:pt x="3904" y="59675"/>
                  </a:cubicBezTo>
                  <a:cubicBezTo>
                    <a:pt x="5200" y="59699"/>
                    <a:pt x="6469" y="59247"/>
                    <a:pt x="7460" y="58405"/>
                  </a:cubicBezTo>
                  <a:lnTo>
                    <a:pt x="14443" y="52818"/>
                  </a:lnTo>
                  <a:lnTo>
                    <a:pt x="82498" y="0"/>
                  </a:lnTo>
                  <a:lnTo>
                    <a:pt x="66373" y="0"/>
                  </a:lnTo>
                  <a:lnTo>
                    <a:pt x="857" y="53199"/>
                  </a:lnTo>
                  <a:close/>
                </a:path>
              </a:pathLst>
            </a:custGeom>
            <a:solidFill>
              <a:srgbClr val="000000"/>
            </a:solidFill>
            <a:ln w="12690" cap="flat">
              <a:noFill/>
              <a:prstDash val="solid"/>
              <a:miter/>
            </a:ln>
          </p:spPr>
          <p:txBody>
            <a:bodyPr rtlCol="0" anchor="ctr"/>
            <a:lstStyle/>
            <a:p>
              <a:endParaRPr lang="en-US"/>
            </a:p>
          </p:txBody>
        </p:sp>
        <p:sp>
          <p:nvSpPr>
            <p:cNvPr id="653" name="Freeform: Shape 652">
              <a:extLst>
                <a:ext uri="{FF2B5EF4-FFF2-40B4-BE49-F238E27FC236}">
                  <a16:creationId xmlns:a16="http://schemas.microsoft.com/office/drawing/2014/main" id="{2BB784A0-2FA9-422A-A4DF-C395D11DF1D3}"/>
                </a:ext>
              </a:extLst>
            </p:cNvPr>
            <p:cNvSpPr/>
            <p:nvPr/>
          </p:nvSpPr>
          <p:spPr>
            <a:xfrm>
              <a:off x="10453168" y="-1"/>
              <a:ext cx="10792" cy="54475"/>
            </a:xfrm>
            <a:custGeom>
              <a:avLst/>
              <a:gdLst>
                <a:gd name="connsiteX0" fmla="*/ 1778 w 10792"/>
                <a:gd name="connsiteY0" fmla="*/ 51422 h 54475"/>
                <a:gd name="connsiteX1" fmla="*/ 1778 w 10792"/>
                <a:gd name="connsiteY1" fmla="*/ 52310 h 54475"/>
                <a:gd name="connsiteX2" fmla="*/ 1778 w 10792"/>
                <a:gd name="connsiteY2" fmla="*/ 53072 h 54475"/>
                <a:gd name="connsiteX3" fmla="*/ 1778 w 10792"/>
                <a:gd name="connsiteY3" fmla="*/ 53834 h 54475"/>
                <a:gd name="connsiteX4" fmla="*/ 2540 w 10792"/>
                <a:gd name="connsiteY4" fmla="*/ 53834 h 54475"/>
                <a:gd name="connsiteX5" fmla="*/ 3555 w 10792"/>
                <a:gd name="connsiteY5" fmla="*/ 54469 h 54475"/>
                <a:gd name="connsiteX6" fmla="*/ 5460 w 10792"/>
                <a:gd name="connsiteY6" fmla="*/ 54469 h 54475"/>
                <a:gd name="connsiteX7" fmla="*/ 10793 w 10792"/>
                <a:gd name="connsiteY7" fmla="*/ 49657 h 54475"/>
                <a:gd name="connsiteX8" fmla="*/ 10793 w 10792"/>
                <a:gd name="connsiteY8" fmla="*/ 49644 h 54475"/>
                <a:gd name="connsiteX9" fmla="*/ 10793 w 10792"/>
                <a:gd name="connsiteY9" fmla="*/ 0 h 54475"/>
                <a:gd name="connsiteX10" fmla="*/ 0 w 10792"/>
                <a:gd name="connsiteY10" fmla="*/ 0 h 54475"/>
                <a:gd name="connsiteX11" fmla="*/ 0 w 10792"/>
                <a:gd name="connsiteY11" fmla="*/ 50787 h 54475"/>
                <a:gd name="connsiteX12" fmla="*/ 0 w 10792"/>
                <a:gd name="connsiteY12" fmla="*/ 50787 h 54475"/>
                <a:gd name="connsiteX13" fmla="*/ 1778 w 10792"/>
                <a:gd name="connsiteY13" fmla="*/ 51422 h 5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2" h="54475">
                  <a:moveTo>
                    <a:pt x="1778" y="51422"/>
                  </a:moveTo>
                  <a:cubicBezTo>
                    <a:pt x="1778" y="51422"/>
                    <a:pt x="1778" y="51422"/>
                    <a:pt x="1778" y="52310"/>
                  </a:cubicBezTo>
                  <a:lnTo>
                    <a:pt x="1778" y="53072"/>
                  </a:lnTo>
                  <a:lnTo>
                    <a:pt x="1778" y="53834"/>
                  </a:lnTo>
                  <a:lnTo>
                    <a:pt x="2540" y="53834"/>
                  </a:lnTo>
                  <a:lnTo>
                    <a:pt x="3555" y="54469"/>
                  </a:lnTo>
                  <a:lnTo>
                    <a:pt x="5460" y="54469"/>
                  </a:lnTo>
                  <a:cubicBezTo>
                    <a:pt x="8266" y="54612"/>
                    <a:pt x="10653" y="52458"/>
                    <a:pt x="10793" y="49657"/>
                  </a:cubicBezTo>
                  <a:cubicBezTo>
                    <a:pt x="10793" y="49653"/>
                    <a:pt x="10793" y="49648"/>
                    <a:pt x="10793" y="49644"/>
                  </a:cubicBezTo>
                  <a:lnTo>
                    <a:pt x="10793" y="0"/>
                  </a:lnTo>
                  <a:lnTo>
                    <a:pt x="0" y="0"/>
                  </a:lnTo>
                  <a:lnTo>
                    <a:pt x="0" y="50787"/>
                  </a:lnTo>
                  <a:lnTo>
                    <a:pt x="0" y="50787"/>
                  </a:lnTo>
                  <a:cubicBezTo>
                    <a:pt x="0" y="50787"/>
                    <a:pt x="1778" y="50787"/>
                    <a:pt x="1778" y="51422"/>
                  </a:cubicBezTo>
                  <a:close/>
                </a:path>
              </a:pathLst>
            </a:custGeom>
            <a:solidFill>
              <a:srgbClr val="000000"/>
            </a:solidFill>
            <a:ln w="12690" cap="flat">
              <a:noFill/>
              <a:prstDash val="solid"/>
              <a:miter/>
            </a:ln>
          </p:spPr>
          <p:txBody>
            <a:bodyPr rtlCol="0" anchor="ctr"/>
            <a:lstStyle/>
            <a:p>
              <a:endParaRPr lang="en-US"/>
            </a:p>
          </p:txBody>
        </p:sp>
        <p:sp>
          <p:nvSpPr>
            <p:cNvPr id="654" name="Freeform: Shape 653">
              <a:extLst>
                <a:ext uri="{FF2B5EF4-FFF2-40B4-BE49-F238E27FC236}">
                  <a16:creationId xmlns:a16="http://schemas.microsoft.com/office/drawing/2014/main" id="{E9C9DFA0-48D5-4205-9E15-1100FD6B4134}"/>
                </a:ext>
              </a:extLst>
            </p:cNvPr>
            <p:cNvSpPr/>
            <p:nvPr/>
          </p:nvSpPr>
          <p:spPr>
            <a:xfrm>
              <a:off x="5049625" y="1133687"/>
              <a:ext cx="10820" cy="50641"/>
            </a:xfrm>
            <a:custGeom>
              <a:avLst/>
              <a:gdLst>
                <a:gd name="connsiteX0" fmla="*/ 10821 w 10820"/>
                <a:gd name="connsiteY0" fmla="*/ 47105 h 50641"/>
                <a:gd name="connsiteX1" fmla="*/ 10821 w 10820"/>
                <a:gd name="connsiteY1" fmla="*/ 0 h 50641"/>
                <a:gd name="connsiteX2" fmla="*/ 4600 w 10820"/>
                <a:gd name="connsiteY2" fmla="*/ 4566 h 50641"/>
                <a:gd name="connsiteX3" fmla="*/ 28 w 10820"/>
                <a:gd name="connsiteY3" fmla="*/ 0 h 50641"/>
                <a:gd name="connsiteX4" fmla="*/ 28 w 10820"/>
                <a:gd name="connsiteY4" fmla="*/ 47105 h 50641"/>
                <a:gd name="connsiteX5" fmla="*/ 28 w 10820"/>
                <a:gd name="connsiteY5" fmla="*/ 48121 h 50641"/>
                <a:gd name="connsiteX6" fmla="*/ 28 w 10820"/>
                <a:gd name="connsiteY6" fmla="*/ 48882 h 50641"/>
                <a:gd name="connsiteX7" fmla="*/ 664 w 10820"/>
                <a:gd name="connsiteY7" fmla="*/ 49644 h 50641"/>
                <a:gd name="connsiteX8" fmla="*/ 664 w 10820"/>
                <a:gd name="connsiteY8" fmla="*/ 50406 h 50641"/>
                <a:gd name="connsiteX9" fmla="*/ 1425 w 10820"/>
                <a:gd name="connsiteY9" fmla="*/ 50406 h 50641"/>
                <a:gd name="connsiteX10" fmla="*/ 2568 w 10820"/>
                <a:gd name="connsiteY10" fmla="*/ 50406 h 50641"/>
                <a:gd name="connsiteX11" fmla="*/ 4345 w 10820"/>
                <a:gd name="connsiteY11" fmla="*/ 50406 h 50641"/>
                <a:gd name="connsiteX12" fmla="*/ 10821 w 10820"/>
                <a:gd name="connsiteY12" fmla="*/ 47105 h 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20" h="50641">
                  <a:moveTo>
                    <a:pt x="10821" y="47105"/>
                  </a:moveTo>
                  <a:lnTo>
                    <a:pt x="10821" y="0"/>
                  </a:lnTo>
                  <a:cubicBezTo>
                    <a:pt x="10364" y="2980"/>
                    <a:pt x="7570" y="5024"/>
                    <a:pt x="4600" y="4566"/>
                  </a:cubicBezTo>
                  <a:cubicBezTo>
                    <a:pt x="2238" y="4204"/>
                    <a:pt x="397" y="2355"/>
                    <a:pt x="28" y="0"/>
                  </a:cubicBezTo>
                  <a:lnTo>
                    <a:pt x="28" y="47105"/>
                  </a:lnTo>
                  <a:cubicBezTo>
                    <a:pt x="-9" y="47443"/>
                    <a:pt x="-9" y="47783"/>
                    <a:pt x="28" y="48121"/>
                  </a:cubicBezTo>
                  <a:cubicBezTo>
                    <a:pt x="28" y="48121"/>
                    <a:pt x="28" y="48121"/>
                    <a:pt x="28" y="48882"/>
                  </a:cubicBezTo>
                  <a:cubicBezTo>
                    <a:pt x="28" y="49644"/>
                    <a:pt x="28" y="48882"/>
                    <a:pt x="664" y="49644"/>
                  </a:cubicBezTo>
                  <a:lnTo>
                    <a:pt x="664" y="50406"/>
                  </a:lnTo>
                  <a:lnTo>
                    <a:pt x="1425" y="50406"/>
                  </a:lnTo>
                  <a:lnTo>
                    <a:pt x="2568" y="50406"/>
                  </a:lnTo>
                  <a:cubicBezTo>
                    <a:pt x="3152" y="50537"/>
                    <a:pt x="3761" y="50537"/>
                    <a:pt x="4345" y="50406"/>
                  </a:cubicBezTo>
                  <a:cubicBezTo>
                    <a:pt x="7037" y="51244"/>
                    <a:pt x="9920" y="49779"/>
                    <a:pt x="10821" y="47105"/>
                  </a:cubicBezTo>
                  <a:close/>
                </a:path>
              </a:pathLst>
            </a:custGeom>
            <a:solidFill>
              <a:srgbClr val="000000"/>
            </a:solidFill>
            <a:ln w="12690" cap="flat">
              <a:noFill/>
              <a:prstDash val="solid"/>
              <a:miter/>
            </a:ln>
          </p:spPr>
          <p:txBody>
            <a:bodyPr rtlCol="0" anchor="ctr"/>
            <a:lstStyle/>
            <a:p>
              <a:endParaRPr lang="en-US"/>
            </a:p>
          </p:txBody>
        </p:sp>
        <p:sp>
          <p:nvSpPr>
            <p:cNvPr id="655" name="Freeform: Shape 654">
              <a:extLst>
                <a:ext uri="{FF2B5EF4-FFF2-40B4-BE49-F238E27FC236}">
                  <a16:creationId xmlns:a16="http://schemas.microsoft.com/office/drawing/2014/main" id="{CC220ACC-5811-4BA8-BD39-50FE2EFBE950}"/>
                </a:ext>
              </a:extLst>
            </p:cNvPr>
            <p:cNvSpPr/>
            <p:nvPr/>
          </p:nvSpPr>
          <p:spPr>
            <a:xfrm>
              <a:off x="5050162" y="107477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endParaRPr lang="en-US"/>
            </a:p>
          </p:txBody>
        </p:sp>
        <p:sp>
          <p:nvSpPr>
            <p:cNvPr id="656" name="Freeform: Shape 655">
              <a:extLst>
                <a:ext uri="{FF2B5EF4-FFF2-40B4-BE49-F238E27FC236}">
                  <a16:creationId xmlns:a16="http://schemas.microsoft.com/office/drawing/2014/main" id="{606EAD96-03D6-40DD-A6C4-F7F23CDB3C03}"/>
                </a:ext>
              </a:extLst>
            </p:cNvPr>
            <p:cNvSpPr/>
            <p:nvPr/>
          </p:nvSpPr>
          <p:spPr>
            <a:xfrm>
              <a:off x="5051304" y="107325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57" name="Freeform: Shape 656">
              <a:extLst>
                <a:ext uri="{FF2B5EF4-FFF2-40B4-BE49-F238E27FC236}">
                  <a16:creationId xmlns:a16="http://schemas.microsoft.com/office/drawing/2014/main" id="{C0514897-EB7D-4A3B-AD7C-C6C7FD9685BA}"/>
                </a:ext>
              </a:extLst>
            </p:cNvPr>
            <p:cNvSpPr/>
            <p:nvPr/>
          </p:nvSpPr>
          <p:spPr>
            <a:xfrm>
              <a:off x="5049650" y="1076806"/>
              <a:ext cx="10795" cy="61840"/>
            </a:xfrm>
            <a:custGeom>
              <a:avLst/>
              <a:gdLst>
                <a:gd name="connsiteX0" fmla="*/ 5336 w 10795"/>
                <a:gd name="connsiteY0" fmla="*/ 61833 h 61840"/>
                <a:gd name="connsiteX1" fmla="*/ 10796 w 10795"/>
                <a:gd name="connsiteY1" fmla="*/ 56894 h 61840"/>
                <a:gd name="connsiteX2" fmla="*/ 10796 w 10795"/>
                <a:gd name="connsiteY2" fmla="*/ 56881 h 61840"/>
                <a:gd name="connsiteX3" fmla="*/ 10796 w 10795"/>
                <a:gd name="connsiteY3" fmla="*/ 2412 h 61840"/>
                <a:gd name="connsiteX4" fmla="*/ 9018 w 10795"/>
                <a:gd name="connsiteY4" fmla="*/ 3809 h 61840"/>
                <a:gd name="connsiteX5" fmla="*/ 5336 w 10795"/>
                <a:gd name="connsiteY5" fmla="*/ 5079 h 61840"/>
                <a:gd name="connsiteX6" fmla="*/ 1400 w 10795"/>
                <a:gd name="connsiteY6" fmla="*/ 3428 h 61840"/>
                <a:gd name="connsiteX7" fmla="*/ 3 w 10795"/>
                <a:gd name="connsiteY7" fmla="*/ 0 h 61840"/>
                <a:gd name="connsiteX8" fmla="*/ 3 w 10795"/>
                <a:gd name="connsiteY8" fmla="*/ 0 h 61840"/>
                <a:gd name="connsiteX9" fmla="*/ 3 w 10795"/>
                <a:gd name="connsiteY9" fmla="*/ 57008 h 61840"/>
                <a:gd name="connsiteX10" fmla="*/ 5324 w 10795"/>
                <a:gd name="connsiteY10" fmla="*/ 61834 h 61840"/>
                <a:gd name="connsiteX11" fmla="*/ 5336 w 10795"/>
                <a:gd name="connsiteY11" fmla="*/ 61833 h 6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95" h="61840">
                  <a:moveTo>
                    <a:pt x="5336" y="61833"/>
                  </a:moveTo>
                  <a:cubicBezTo>
                    <a:pt x="8206" y="61976"/>
                    <a:pt x="10656" y="59765"/>
                    <a:pt x="10796" y="56894"/>
                  </a:cubicBezTo>
                  <a:cubicBezTo>
                    <a:pt x="10796" y="56889"/>
                    <a:pt x="10796" y="56885"/>
                    <a:pt x="10796" y="56881"/>
                  </a:cubicBezTo>
                  <a:lnTo>
                    <a:pt x="10796" y="2412"/>
                  </a:lnTo>
                  <a:lnTo>
                    <a:pt x="9018" y="3809"/>
                  </a:lnTo>
                  <a:cubicBezTo>
                    <a:pt x="7977" y="4651"/>
                    <a:pt x="6669" y="5100"/>
                    <a:pt x="5336" y="5079"/>
                  </a:cubicBezTo>
                  <a:cubicBezTo>
                    <a:pt x="3851" y="5100"/>
                    <a:pt x="2429" y="4502"/>
                    <a:pt x="1400" y="3428"/>
                  </a:cubicBezTo>
                  <a:cubicBezTo>
                    <a:pt x="461" y="2543"/>
                    <a:pt x="-47" y="1291"/>
                    <a:pt x="3" y="0"/>
                  </a:cubicBezTo>
                  <a:lnTo>
                    <a:pt x="3" y="0"/>
                  </a:lnTo>
                  <a:lnTo>
                    <a:pt x="3" y="57008"/>
                  </a:lnTo>
                  <a:cubicBezTo>
                    <a:pt x="143" y="59810"/>
                    <a:pt x="2517" y="61970"/>
                    <a:pt x="5324" y="61834"/>
                  </a:cubicBezTo>
                  <a:cubicBezTo>
                    <a:pt x="5324" y="61833"/>
                    <a:pt x="5336" y="61833"/>
                    <a:pt x="5336" y="61833"/>
                  </a:cubicBezTo>
                  <a:close/>
                </a:path>
              </a:pathLst>
            </a:custGeom>
            <a:solidFill>
              <a:srgbClr val="000000"/>
            </a:solidFill>
            <a:ln w="12690" cap="flat">
              <a:noFill/>
              <a:prstDash val="solid"/>
              <a:miter/>
            </a:ln>
          </p:spPr>
          <p:txBody>
            <a:bodyPr rtlCol="0" anchor="ctr"/>
            <a:lstStyle/>
            <a:p>
              <a:endParaRPr lang="en-US"/>
            </a:p>
          </p:txBody>
        </p:sp>
        <p:sp>
          <p:nvSpPr>
            <p:cNvPr id="658" name="Freeform: Shape 657">
              <a:extLst>
                <a:ext uri="{FF2B5EF4-FFF2-40B4-BE49-F238E27FC236}">
                  <a16:creationId xmlns:a16="http://schemas.microsoft.com/office/drawing/2014/main" id="{06491592-1346-48D8-A9F3-EF544C80C51D}"/>
                </a:ext>
              </a:extLst>
            </p:cNvPr>
            <p:cNvSpPr/>
            <p:nvPr/>
          </p:nvSpPr>
          <p:spPr>
            <a:xfrm>
              <a:off x="5051266" y="982723"/>
              <a:ext cx="123578" cy="98527"/>
            </a:xfrm>
            <a:custGeom>
              <a:avLst/>
              <a:gdLst>
                <a:gd name="connsiteX0" fmla="*/ 38 w 123578"/>
                <a:gd name="connsiteY0" fmla="*/ 90527 h 98527"/>
                <a:gd name="connsiteX1" fmla="*/ 38 w 123578"/>
                <a:gd name="connsiteY1" fmla="*/ 91289 h 98527"/>
                <a:gd name="connsiteX2" fmla="*/ 38 w 123578"/>
                <a:gd name="connsiteY2" fmla="*/ 91289 h 98527"/>
                <a:gd name="connsiteX3" fmla="*/ 38 w 123578"/>
                <a:gd name="connsiteY3" fmla="*/ 91924 h 98527"/>
                <a:gd name="connsiteX4" fmla="*/ 38 w 123578"/>
                <a:gd name="connsiteY4" fmla="*/ 92686 h 98527"/>
                <a:gd name="connsiteX5" fmla="*/ 38 w 123578"/>
                <a:gd name="connsiteY5" fmla="*/ 92686 h 98527"/>
                <a:gd name="connsiteX6" fmla="*/ 38 w 123578"/>
                <a:gd name="connsiteY6" fmla="*/ 93448 h 98527"/>
                <a:gd name="connsiteX7" fmla="*/ 1435 w 123578"/>
                <a:gd name="connsiteY7" fmla="*/ 96876 h 98527"/>
                <a:gd name="connsiteX8" fmla="*/ 5371 w 123578"/>
                <a:gd name="connsiteY8" fmla="*/ 98526 h 98527"/>
                <a:gd name="connsiteX9" fmla="*/ 9053 w 123578"/>
                <a:gd name="connsiteY9" fmla="*/ 97257 h 98527"/>
                <a:gd name="connsiteX10" fmla="*/ 10830 w 123578"/>
                <a:gd name="connsiteY10" fmla="*/ 95860 h 98527"/>
                <a:gd name="connsiteX11" fmla="*/ 16036 w 123578"/>
                <a:gd name="connsiteY11" fmla="*/ 91670 h 98527"/>
                <a:gd name="connsiteX12" fmla="*/ 123578 w 123578"/>
                <a:gd name="connsiteY12" fmla="*/ 4571 h 98527"/>
                <a:gd name="connsiteX13" fmla="*/ 123578 w 123578"/>
                <a:gd name="connsiteY13" fmla="*/ 4571 h 98527"/>
                <a:gd name="connsiteX14" fmla="*/ 120277 w 123578"/>
                <a:gd name="connsiteY14" fmla="*/ 5840 h 98527"/>
                <a:gd name="connsiteX15" fmla="*/ 118119 w 123578"/>
                <a:gd name="connsiteY15" fmla="*/ 5840 h 98527"/>
                <a:gd name="connsiteX16" fmla="*/ 118119 w 123578"/>
                <a:gd name="connsiteY16" fmla="*/ 5840 h 98527"/>
                <a:gd name="connsiteX17" fmla="*/ 116722 w 123578"/>
                <a:gd name="connsiteY17" fmla="*/ 4825 h 98527"/>
                <a:gd name="connsiteX18" fmla="*/ 116722 w 123578"/>
                <a:gd name="connsiteY18" fmla="*/ 4825 h 98527"/>
                <a:gd name="connsiteX19" fmla="*/ 116722 w 123578"/>
                <a:gd name="connsiteY19" fmla="*/ 4190 h 98527"/>
                <a:gd name="connsiteX20" fmla="*/ 116087 w 123578"/>
                <a:gd name="connsiteY20" fmla="*/ 3301 h 98527"/>
                <a:gd name="connsiteX21" fmla="*/ 116087 w 123578"/>
                <a:gd name="connsiteY21" fmla="*/ 2158 h 98527"/>
                <a:gd name="connsiteX22" fmla="*/ 116087 w 123578"/>
                <a:gd name="connsiteY22" fmla="*/ 0 h 98527"/>
                <a:gd name="connsiteX23" fmla="*/ 3339 w 123578"/>
                <a:gd name="connsiteY23" fmla="*/ 91289 h 9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78" h="98527">
                  <a:moveTo>
                    <a:pt x="38" y="90527"/>
                  </a:moveTo>
                  <a:lnTo>
                    <a:pt x="38" y="91289"/>
                  </a:lnTo>
                  <a:lnTo>
                    <a:pt x="38" y="91289"/>
                  </a:lnTo>
                  <a:lnTo>
                    <a:pt x="38" y="91924"/>
                  </a:lnTo>
                  <a:cubicBezTo>
                    <a:pt x="-13" y="92175"/>
                    <a:pt x="-13" y="92435"/>
                    <a:pt x="38" y="92686"/>
                  </a:cubicBezTo>
                  <a:lnTo>
                    <a:pt x="38" y="92686"/>
                  </a:lnTo>
                  <a:cubicBezTo>
                    <a:pt x="38" y="92686"/>
                    <a:pt x="38" y="92686"/>
                    <a:pt x="38" y="93448"/>
                  </a:cubicBezTo>
                  <a:cubicBezTo>
                    <a:pt x="-13" y="94739"/>
                    <a:pt x="495" y="95991"/>
                    <a:pt x="1435" y="96876"/>
                  </a:cubicBezTo>
                  <a:cubicBezTo>
                    <a:pt x="2463" y="97950"/>
                    <a:pt x="3885" y="98548"/>
                    <a:pt x="5371" y="98526"/>
                  </a:cubicBezTo>
                  <a:cubicBezTo>
                    <a:pt x="6704" y="98548"/>
                    <a:pt x="8012" y="98098"/>
                    <a:pt x="9053" y="97257"/>
                  </a:cubicBezTo>
                  <a:lnTo>
                    <a:pt x="10830" y="95860"/>
                  </a:lnTo>
                  <a:lnTo>
                    <a:pt x="16036" y="91670"/>
                  </a:lnTo>
                  <a:lnTo>
                    <a:pt x="123578" y="4571"/>
                  </a:lnTo>
                  <a:lnTo>
                    <a:pt x="123578" y="4571"/>
                  </a:lnTo>
                  <a:cubicBezTo>
                    <a:pt x="122664" y="5376"/>
                    <a:pt x="121496" y="5827"/>
                    <a:pt x="120277" y="5840"/>
                  </a:cubicBezTo>
                  <a:cubicBezTo>
                    <a:pt x="119566" y="5971"/>
                    <a:pt x="118830" y="5971"/>
                    <a:pt x="118119" y="5840"/>
                  </a:cubicBezTo>
                  <a:lnTo>
                    <a:pt x="118119" y="5840"/>
                  </a:lnTo>
                  <a:lnTo>
                    <a:pt x="116722" y="4825"/>
                  </a:lnTo>
                  <a:lnTo>
                    <a:pt x="116722" y="4825"/>
                  </a:lnTo>
                  <a:cubicBezTo>
                    <a:pt x="116722" y="4825"/>
                    <a:pt x="116722" y="4825"/>
                    <a:pt x="116722" y="4190"/>
                  </a:cubicBezTo>
                  <a:lnTo>
                    <a:pt x="116087" y="3301"/>
                  </a:lnTo>
                  <a:cubicBezTo>
                    <a:pt x="116087" y="3301"/>
                    <a:pt x="116087" y="2539"/>
                    <a:pt x="116087" y="2158"/>
                  </a:cubicBezTo>
                  <a:lnTo>
                    <a:pt x="116087" y="0"/>
                  </a:lnTo>
                  <a:lnTo>
                    <a:pt x="3339" y="91289"/>
                  </a:lnTo>
                  <a:close/>
                </a:path>
              </a:pathLst>
            </a:custGeom>
            <a:solidFill>
              <a:srgbClr val="000000"/>
            </a:solidFill>
            <a:ln w="12690" cap="flat">
              <a:noFill/>
              <a:prstDash val="solid"/>
              <a:miter/>
            </a:ln>
          </p:spPr>
          <p:txBody>
            <a:bodyPr rtlCol="0" anchor="ctr"/>
            <a:lstStyle/>
            <a:p>
              <a:endParaRPr lang="en-US"/>
            </a:p>
          </p:txBody>
        </p:sp>
        <p:sp>
          <p:nvSpPr>
            <p:cNvPr id="659" name="Freeform: Shape 658">
              <a:extLst>
                <a:ext uri="{FF2B5EF4-FFF2-40B4-BE49-F238E27FC236}">
                  <a16:creationId xmlns:a16="http://schemas.microsoft.com/office/drawing/2014/main" id="{701567B9-7931-4ED4-8673-0A9760940F5D}"/>
                </a:ext>
              </a:extLst>
            </p:cNvPr>
            <p:cNvSpPr/>
            <p:nvPr/>
          </p:nvSpPr>
          <p:spPr>
            <a:xfrm>
              <a:off x="5172940" y="167468"/>
              <a:ext cx="999396" cy="820207"/>
            </a:xfrm>
            <a:custGeom>
              <a:avLst/>
              <a:gdLst>
                <a:gd name="connsiteX0" fmla="*/ 0 w 999396"/>
                <a:gd name="connsiteY0" fmla="*/ 820207 h 820207"/>
                <a:gd name="connsiteX1" fmla="*/ 0 w 999396"/>
                <a:gd name="connsiteY1" fmla="*/ 820207 h 820207"/>
                <a:gd name="connsiteX2" fmla="*/ 995558 w 999396"/>
                <a:gd name="connsiteY2" fmla="*/ 10284 h 820207"/>
                <a:gd name="connsiteX3" fmla="*/ 997843 w 999396"/>
                <a:gd name="connsiteY3" fmla="*/ 8380 h 820207"/>
                <a:gd name="connsiteX4" fmla="*/ 998186 w 999396"/>
                <a:gd name="connsiteY4" fmla="*/ 1746 h 820207"/>
                <a:gd name="connsiteX5" fmla="*/ 997843 w 999396"/>
                <a:gd name="connsiteY5" fmla="*/ 1397 h 820207"/>
                <a:gd name="connsiteX6" fmla="*/ 994796 w 999396"/>
                <a:gd name="connsiteY6" fmla="*/ 0 h 820207"/>
                <a:gd name="connsiteX7" fmla="*/ 992764 w 999396"/>
                <a:gd name="connsiteY7" fmla="*/ 0 h 820207"/>
                <a:gd name="connsiteX8" fmla="*/ 991749 w 999396"/>
                <a:gd name="connsiteY8" fmla="*/ 0 h 820207"/>
                <a:gd name="connsiteX9" fmla="*/ 990733 w 999396"/>
                <a:gd name="connsiteY9" fmla="*/ 0 h 820207"/>
                <a:gd name="connsiteX10" fmla="*/ 990733 w 999396"/>
                <a:gd name="connsiteY10" fmla="*/ 0 h 820207"/>
                <a:gd name="connsiteX11" fmla="*/ 2031 w 999396"/>
                <a:gd name="connsiteY11" fmla="*/ 805479 h 820207"/>
                <a:gd name="connsiteX12" fmla="*/ 2031 w 999396"/>
                <a:gd name="connsiteY12" fmla="*/ 816525 h 820207"/>
                <a:gd name="connsiteX13" fmla="*/ 0 w 999396"/>
                <a:gd name="connsiteY13" fmla="*/ 820207 h 82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396" h="820207">
                  <a:moveTo>
                    <a:pt x="0" y="820207"/>
                  </a:moveTo>
                  <a:lnTo>
                    <a:pt x="0" y="820207"/>
                  </a:lnTo>
                  <a:lnTo>
                    <a:pt x="995558" y="10284"/>
                  </a:lnTo>
                  <a:lnTo>
                    <a:pt x="997843" y="8380"/>
                  </a:lnTo>
                  <a:cubicBezTo>
                    <a:pt x="999773" y="6644"/>
                    <a:pt x="999926" y="3673"/>
                    <a:pt x="998186" y="1746"/>
                  </a:cubicBezTo>
                  <a:cubicBezTo>
                    <a:pt x="998084" y="1623"/>
                    <a:pt x="997970" y="1507"/>
                    <a:pt x="997843" y="1397"/>
                  </a:cubicBezTo>
                  <a:cubicBezTo>
                    <a:pt x="997031" y="582"/>
                    <a:pt x="995951" y="86"/>
                    <a:pt x="994796" y="0"/>
                  </a:cubicBezTo>
                  <a:lnTo>
                    <a:pt x="992764" y="0"/>
                  </a:lnTo>
                  <a:lnTo>
                    <a:pt x="991749" y="0"/>
                  </a:lnTo>
                  <a:lnTo>
                    <a:pt x="990733" y="0"/>
                  </a:lnTo>
                  <a:lnTo>
                    <a:pt x="990733" y="0"/>
                  </a:lnTo>
                  <a:lnTo>
                    <a:pt x="2031" y="805479"/>
                  </a:lnTo>
                  <a:lnTo>
                    <a:pt x="2031" y="816525"/>
                  </a:lnTo>
                  <a:cubicBezTo>
                    <a:pt x="2019" y="818016"/>
                    <a:pt x="1257" y="819398"/>
                    <a:pt x="0" y="820207"/>
                  </a:cubicBezTo>
                  <a:close/>
                </a:path>
              </a:pathLst>
            </a:custGeom>
            <a:solidFill>
              <a:srgbClr val="000000"/>
            </a:solidFill>
            <a:ln w="12690" cap="flat">
              <a:noFill/>
              <a:prstDash val="solid"/>
              <a:miter/>
            </a:ln>
          </p:spPr>
          <p:txBody>
            <a:bodyPr rtlCol="0" anchor="ctr"/>
            <a:lstStyle/>
            <a:p>
              <a:endParaRPr lang="en-US"/>
            </a:p>
          </p:txBody>
        </p:sp>
        <p:sp>
          <p:nvSpPr>
            <p:cNvPr id="660" name="Freeform: Shape 659">
              <a:extLst>
                <a:ext uri="{FF2B5EF4-FFF2-40B4-BE49-F238E27FC236}">
                  <a16:creationId xmlns:a16="http://schemas.microsoft.com/office/drawing/2014/main" id="{EDC6BB23-4042-4D29-8B22-4B96EE1F0F3A}"/>
                </a:ext>
              </a:extLst>
            </p:cNvPr>
            <p:cNvSpPr/>
            <p:nvPr/>
          </p:nvSpPr>
          <p:spPr>
            <a:xfrm>
              <a:off x="5165665" y="986659"/>
              <a:ext cx="38" cy="634"/>
            </a:xfrm>
            <a:custGeom>
              <a:avLst/>
              <a:gdLst>
                <a:gd name="connsiteX0" fmla="*/ 38 w 38"/>
                <a:gd name="connsiteY0" fmla="*/ 635 h 634"/>
                <a:gd name="connsiteX1" fmla="*/ 38 w 38"/>
                <a:gd name="connsiteY1" fmla="*/ 0 h 634"/>
                <a:gd name="connsiteX2" fmla="*/ 38 w 38"/>
                <a:gd name="connsiteY2" fmla="*/ 635 h 634"/>
              </a:gdLst>
              <a:ahLst/>
              <a:cxnLst>
                <a:cxn ang="0">
                  <a:pos x="connsiteX0" y="connsiteY0"/>
                </a:cxn>
                <a:cxn ang="0">
                  <a:pos x="connsiteX1" y="connsiteY1"/>
                </a:cxn>
                <a:cxn ang="0">
                  <a:pos x="connsiteX2" y="connsiteY2"/>
                </a:cxn>
              </a:cxnLst>
              <a:rect l="l" t="t" r="r" b="b"/>
              <a:pathLst>
                <a:path w="38" h="634">
                  <a:moveTo>
                    <a:pt x="38" y="635"/>
                  </a:moveTo>
                  <a:cubicBezTo>
                    <a:pt x="-13" y="427"/>
                    <a:pt x="-13" y="208"/>
                    <a:pt x="38" y="0"/>
                  </a:cubicBezTo>
                  <a:cubicBezTo>
                    <a:pt x="38" y="0"/>
                    <a:pt x="38" y="0"/>
                    <a:pt x="38" y="635"/>
                  </a:cubicBezTo>
                  <a:close/>
                </a:path>
              </a:pathLst>
            </a:custGeom>
            <a:solidFill>
              <a:srgbClr val="000000"/>
            </a:solidFill>
            <a:ln w="12690" cap="flat">
              <a:noFill/>
              <a:prstDash val="solid"/>
              <a:miter/>
            </a:ln>
          </p:spPr>
          <p:txBody>
            <a:bodyPr rtlCol="0" anchor="ctr"/>
            <a:lstStyle/>
            <a:p>
              <a:endParaRPr lang="en-US"/>
            </a:p>
          </p:txBody>
        </p:sp>
        <p:sp>
          <p:nvSpPr>
            <p:cNvPr id="661" name="Freeform: Shape 660">
              <a:extLst>
                <a:ext uri="{FF2B5EF4-FFF2-40B4-BE49-F238E27FC236}">
                  <a16:creationId xmlns:a16="http://schemas.microsoft.com/office/drawing/2014/main" id="{14D74880-161F-4FDF-A12D-1DE769BA6089}"/>
                </a:ext>
              </a:extLst>
            </p:cNvPr>
            <p:cNvSpPr/>
            <p:nvPr/>
          </p:nvSpPr>
          <p:spPr>
            <a:xfrm>
              <a:off x="9842451" y="2417705"/>
              <a:ext cx="218004" cy="175087"/>
            </a:xfrm>
            <a:custGeom>
              <a:avLst/>
              <a:gdLst>
                <a:gd name="connsiteX0" fmla="*/ 3047 w 218004"/>
                <a:gd name="connsiteY0" fmla="*/ 172421 h 175087"/>
                <a:gd name="connsiteX1" fmla="*/ 11808 w 218004"/>
                <a:gd name="connsiteY1" fmla="*/ 175088 h 175087"/>
                <a:gd name="connsiteX2" fmla="*/ 218004 w 218004"/>
                <a:gd name="connsiteY2" fmla="*/ 7364 h 175087"/>
                <a:gd name="connsiteX3" fmla="*/ 214450 w 218004"/>
                <a:gd name="connsiteY3" fmla="*/ 8634 h 175087"/>
                <a:gd name="connsiteX4" fmla="*/ 210386 w 218004"/>
                <a:gd name="connsiteY4" fmla="*/ 6983 h 175087"/>
                <a:gd name="connsiteX5" fmla="*/ 210031 w 218004"/>
                <a:gd name="connsiteY5" fmla="*/ 343 h 175087"/>
                <a:gd name="connsiteX6" fmla="*/ 210386 w 218004"/>
                <a:gd name="connsiteY6" fmla="*/ 0 h 175087"/>
                <a:gd name="connsiteX7" fmla="*/ 208609 w 218004"/>
                <a:gd name="connsiteY7" fmla="*/ 1524 h 175087"/>
                <a:gd name="connsiteX8" fmla="*/ 0 w 218004"/>
                <a:gd name="connsiteY8" fmla="*/ 171152 h 17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004" h="175087">
                  <a:moveTo>
                    <a:pt x="3047" y="172421"/>
                  </a:moveTo>
                  <a:lnTo>
                    <a:pt x="11808" y="175088"/>
                  </a:lnTo>
                  <a:lnTo>
                    <a:pt x="218004" y="7364"/>
                  </a:lnTo>
                  <a:cubicBezTo>
                    <a:pt x="216989" y="8151"/>
                    <a:pt x="215745" y="8596"/>
                    <a:pt x="214450" y="8634"/>
                  </a:cubicBezTo>
                  <a:cubicBezTo>
                    <a:pt x="212926" y="8634"/>
                    <a:pt x="211478" y="8037"/>
                    <a:pt x="210386" y="6983"/>
                  </a:cubicBezTo>
                  <a:cubicBezTo>
                    <a:pt x="208456" y="5244"/>
                    <a:pt x="208304" y="2273"/>
                    <a:pt x="210031" y="343"/>
                  </a:cubicBezTo>
                  <a:cubicBezTo>
                    <a:pt x="210145" y="229"/>
                    <a:pt x="210259" y="114"/>
                    <a:pt x="210386" y="0"/>
                  </a:cubicBezTo>
                  <a:lnTo>
                    <a:pt x="208609" y="1524"/>
                  </a:lnTo>
                  <a:lnTo>
                    <a:pt x="0" y="171152"/>
                  </a:lnTo>
                  <a:close/>
                </a:path>
              </a:pathLst>
            </a:custGeom>
            <a:solidFill>
              <a:srgbClr val="000000"/>
            </a:solidFill>
            <a:ln w="12690" cap="flat">
              <a:noFill/>
              <a:prstDash val="solid"/>
              <a:miter/>
            </a:ln>
          </p:spPr>
          <p:txBody>
            <a:bodyPr rtlCol="0" anchor="ctr"/>
            <a:lstStyle/>
            <a:p>
              <a:endParaRPr lang="en-US"/>
            </a:p>
          </p:txBody>
        </p:sp>
        <p:sp>
          <p:nvSpPr>
            <p:cNvPr id="662" name="Freeform: Shape 661">
              <a:extLst>
                <a:ext uri="{FF2B5EF4-FFF2-40B4-BE49-F238E27FC236}">
                  <a16:creationId xmlns:a16="http://schemas.microsoft.com/office/drawing/2014/main" id="{74B98E08-3332-445B-AB2E-71DE885CBE42}"/>
                </a:ext>
              </a:extLst>
            </p:cNvPr>
            <p:cNvSpPr/>
            <p:nvPr/>
          </p:nvSpPr>
          <p:spPr>
            <a:xfrm>
              <a:off x="10050539" y="2380123"/>
              <a:ext cx="55909" cy="45835"/>
            </a:xfrm>
            <a:custGeom>
              <a:avLst/>
              <a:gdLst>
                <a:gd name="connsiteX0" fmla="*/ 2299 w 55909"/>
                <a:gd name="connsiteY0" fmla="*/ 44184 h 45835"/>
                <a:gd name="connsiteX1" fmla="*/ 6362 w 55909"/>
                <a:gd name="connsiteY1" fmla="*/ 45835 h 45835"/>
                <a:gd name="connsiteX2" fmla="*/ 9917 w 55909"/>
                <a:gd name="connsiteY2" fmla="*/ 44565 h 45835"/>
                <a:gd name="connsiteX3" fmla="*/ 52071 w 55909"/>
                <a:gd name="connsiteY3" fmla="*/ 10284 h 45835"/>
                <a:gd name="connsiteX4" fmla="*/ 54356 w 55909"/>
                <a:gd name="connsiteY4" fmla="*/ 8380 h 45835"/>
                <a:gd name="connsiteX5" fmla="*/ 54699 w 55909"/>
                <a:gd name="connsiteY5" fmla="*/ 1739 h 45835"/>
                <a:gd name="connsiteX6" fmla="*/ 54356 w 55909"/>
                <a:gd name="connsiteY6" fmla="*/ 1397 h 45835"/>
                <a:gd name="connsiteX7" fmla="*/ 51309 w 55909"/>
                <a:gd name="connsiteY7" fmla="*/ 0 h 45835"/>
                <a:gd name="connsiteX8" fmla="*/ 49151 w 55909"/>
                <a:gd name="connsiteY8" fmla="*/ 0 h 45835"/>
                <a:gd name="connsiteX9" fmla="*/ 48262 w 55909"/>
                <a:gd name="connsiteY9" fmla="*/ 0 h 45835"/>
                <a:gd name="connsiteX10" fmla="*/ 47246 w 55909"/>
                <a:gd name="connsiteY10" fmla="*/ 0 h 45835"/>
                <a:gd name="connsiteX11" fmla="*/ 46611 w 55909"/>
                <a:gd name="connsiteY11" fmla="*/ 0 h 45835"/>
                <a:gd name="connsiteX12" fmla="*/ 11187 w 55909"/>
                <a:gd name="connsiteY12" fmla="*/ 28821 h 45835"/>
                <a:gd name="connsiteX13" fmla="*/ 2172 w 55909"/>
                <a:gd name="connsiteY13" fmla="*/ 36185 h 45835"/>
                <a:gd name="connsiteX14" fmla="*/ 738 w 55909"/>
                <a:gd name="connsiteY14" fmla="*/ 42674 h 45835"/>
                <a:gd name="connsiteX15" fmla="*/ 2299 w 55909"/>
                <a:gd name="connsiteY15" fmla="*/ 44184 h 4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909" h="45835">
                  <a:moveTo>
                    <a:pt x="2299" y="44184"/>
                  </a:moveTo>
                  <a:cubicBezTo>
                    <a:pt x="3391" y="45238"/>
                    <a:pt x="4851" y="45835"/>
                    <a:pt x="6362" y="45835"/>
                  </a:cubicBezTo>
                  <a:cubicBezTo>
                    <a:pt x="7657" y="45797"/>
                    <a:pt x="8902" y="45353"/>
                    <a:pt x="9917" y="44565"/>
                  </a:cubicBezTo>
                  <a:lnTo>
                    <a:pt x="52071" y="10284"/>
                  </a:lnTo>
                  <a:lnTo>
                    <a:pt x="54356" y="8380"/>
                  </a:lnTo>
                  <a:cubicBezTo>
                    <a:pt x="56286" y="6640"/>
                    <a:pt x="56438" y="3669"/>
                    <a:pt x="54699" y="1739"/>
                  </a:cubicBezTo>
                  <a:cubicBezTo>
                    <a:pt x="54598" y="1625"/>
                    <a:pt x="54483" y="1511"/>
                    <a:pt x="54356" y="1397"/>
                  </a:cubicBezTo>
                  <a:cubicBezTo>
                    <a:pt x="53506" y="635"/>
                    <a:pt x="52439" y="139"/>
                    <a:pt x="51309" y="0"/>
                  </a:cubicBezTo>
                  <a:lnTo>
                    <a:pt x="49151" y="0"/>
                  </a:lnTo>
                  <a:lnTo>
                    <a:pt x="48262" y="0"/>
                  </a:lnTo>
                  <a:lnTo>
                    <a:pt x="47246" y="0"/>
                  </a:lnTo>
                  <a:lnTo>
                    <a:pt x="46611" y="0"/>
                  </a:lnTo>
                  <a:lnTo>
                    <a:pt x="11187" y="28821"/>
                  </a:lnTo>
                  <a:lnTo>
                    <a:pt x="2172" y="36185"/>
                  </a:lnTo>
                  <a:cubicBezTo>
                    <a:pt x="-12" y="37582"/>
                    <a:pt x="-660" y="40490"/>
                    <a:pt x="738" y="42674"/>
                  </a:cubicBezTo>
                  <a:cubicBezTo>
                    <a:pt x="1131" y="43296"/>
                    <a:pt x="1665" y="43804"/>
                    <a:pt x="2299" y="44184"/>
                  </a:cubicBezTo>
                  <a:close/>
                </a:path>
              </a:pathLst>
            </a:custGeom>
            <a:solidFill>
              <a:srgbClr val="000000"/>
            </a:solidFill>
            <a:ln w="12690" cap="flat">
              <a:noFill/>
              <a:prstDash val="solid"/>
              <a:miter/>
            </a:ln>
          </p:spPr>
          <p:txBody>
            <a:bodyPr rtlCol="0" anchor="ctr"/>
            <a:lstStyle/>
            <a:p>
              <a:endParaRPr lang="en-US"/>
            </a:p>
          </p:txBody>
        </p:sp>
        <p:sp>
          <p:nvSpPr>
            <p:cNvPr id="663" name="Freeform: Shape 662">
              <a:extLst>
                <a:ext uri="{FF2B5EF4-FFF2-40B4-BE49-F238E27FC236}">
                  <a16:creationId xmlns:a16="http://schemas.microsoft.com/office/drawing/2014/main" id="{AEB110FE-719E-4FE5-AE5A-F4B52B070464}"/>
                </a:ext>
              </a:extLst>
            </p:cNvPr>
            <p:cNvSpPr/>
            <p:nvPr/>
          </p:nvSpPr>
          <p:spPr>
            <a:xfrm>
              <a:off x="9806773" y="1050905"/>
              <a:ext cx="2379131" cy="728663"/>
            </a:xfrm>
            <a:custGeom>
              <a:avLst/>
              <a:gdLst>
                <a:gd name="connsiteX0" fmla="*/ 3428 w 2379131"/>
                <a:gd name="connsiteY0" fmla="*/ 0 h 728663"/>
                <a:gd name="connsiteX1" fmla="*/ 6971 w 2379131"/>
                <a:gd name="connsiteY1" fmla="*/ 5833 h 728663"/>
                <a:gd name="connsiteX2" fmla="*/ 6856 w 2379131"/>
                <a:gd name="connsiteY2" fmla="*/ 6221 h 728663"/>
                <a:gd name="connsiteX3" fmla="*/ 1778 w 2379131"/>
                <a:gd name="connsiteY3" fmla="*/ 9523 h 728663"/>
                <a:gd name="connsiteX4" fmla="*/ 0 w 2379131"/>
                <a:gd name="connsiteY4" fmla="*/ 9523 h 728663"/>
                <a:gd name="connsiteX5" fmla="*/ 2379131 w 2379131"/>
                <a:gd name="connsiteY5" fmla="*/ 728664 h 728663"/>
                <a:gd name="connsiteX6" fmla="*/ 2379131 w 2379131"/>
                <a:gd name="connsiteY6" fmla="*/ 718253 h 728663"/>
                <a:gd name="connsiteX7" fmla="*/ 13077 w 2379131"/>
                <a:gd name="connsiteY7" fmla="*/ 2920 h 72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9131" h="728663">
                  <a:moveTo>
                    <a:pt x="3428" y="0"/>
                  </a:moveTo>
                  <a:cubicBezTo>
                    <a:pt x="6018" y="632"/>
                    <a:pt x="7605" y="3244"/>
                    <a:pt x="6971" y="5833"/>
                  </a:cubicBezTo>
                  <a:cubicBezTo>
                    <a:pt x="6933" y="5964"/>
                    <a:pt x="6894" y="6093"/>
                    <a:pt x="6856" y="6221"/>
                  </a:cubicBezTo>
                  <a:cubicBezTo>
                    <a:pt x="5980" y="8247"/>
                    <a:pt x="3986" y="9548"/>
                    <a:pt x="1778" y="9523"/>
                  </a:cubicBezTo>
                  <a:lnTo>
                    <a:pt x="0" y="9523"/>
                  </a:lnTo>
                  <a:lnTo>
                    <a:pt x="2379131" y="728664"/>
                  </a:lnTo>
                  <a:lnTo>
                    <a:pt x="2379131" y="718253"/>
                  </a:lnTo>
                  <a:lnTo>
                    <a:pt x="13077" y="2920"/>
                  </a:lnTo>
                  <a:close/>
                </a:path>
              </a:pathLst>
            </a:custGeom>
            <a:solidFill>
              <a:srgbClr val="000000"/>
            </a:solidFill>
            <a:ln w="12690" cap="flat">
              <a:noFill/>
              <a:prstDash val="solid"/>
              <a:miter/>
            </a:ln>
          </p:spPr>
          <p:txBody>
            <a:bodyPr rtlCol="0" anchor="ctr"/>
            <a:lstStyle/>
            <a:p>
              <a:endParaRPr lang="en-US"/>
            </a:p>
          </p:txBody>
        </p:sp>
        <p:sp>
          <p:nvSpPr>
            <p:cNvPr id="664" name="Freeform: Shape 663">
              <a:extLst>
                <a:ext uri="{FF2B5EF4-FFF2-40B4-BE49-F238E27FC236}">
                  <a16:creationId xmlns:a16="http://schemas.microsoft.com/office/drawing/2014/main" id="{D43A26CE-5716-48F1-8263-A7FC7806B0A4}"/>
                </a:ext>
              </a:extLst>
            </p:cNvPr>
            <p:cNvSpPr/>
            <p:nvPr/>
          </p:nvSpPr>
          <p:spPr>
            <a:xfrm>
              <a:off x="8811215" y="285801"/>
              <a:ext cx="313231" cy="256473"/>
            </a:xfrm>
            <a:custGeom>
              <a:avLst/>
              <a:gdLst>
                <a:gd name="connsiteX0" fmla="*/ 305867 w 313231"/>
                <a:gd name="connsiteY0" fmla="*/ 6856 h 256473"/>
                <a:gd name="connsiteX1" fmla="*/ 305461 w 313231"/>
                <a:gd name="connsiteY1" fmla="*/ 405 h 256473"/>
                <a:gd name="connsiteX2" fmla="*/ 305867 w 313231"/>
                <a:gd name="connsiteY2" fmla="*/ 0 h 256473"/>
                <a:gd name="connsiteX3" fmla="*/ 305867 w 313231"/>
                <a:gd name="connsiteY3" fmla="*/ 0 h 256473"/>
                <a:gd name="connsiteX4" fmla="*/ 4190 w 313231"/>
                <a:gd name="connsiteY4" fmla="*/ 245427 h 256473"/>
                <a:gd name="connsiteX5" fmla="*/ 2540 w 313231"/>
                <a:gd name="connsiteY5" fmla="*/ 246697 h 256473"/>
                <a:gd name="connsiteX6" fmla="*/ 3937 w 313231"/>
                <a:gd name="connsiteY6" fmla="*/ 251776 h 256473"/>
                <a:gd name="connsiteX7" fmla="*/ 0 w 313231"/>
                <a:gd name="connsiteY7" fmla="*/ 254823 h 256473"/>
                <a:gd name="connsiteX8" fmla="*/ 0 w 313231"/>
                <a:gd name="connsiteY8" fmla="*/ 254823 h 256473"/>
                <a:gd name="connsiteX9" fmla="*/ 0 w 313231"/>
                <a:gd name="connsiteY9" fmla="*/ 254823 h 256473"/>
                <a:gd name="connsiteX10" fmla="*/ 3937 w 313231"/>
                <a:gd name="connsiteY10" fmla="*/ 256473 h 256473"/>
                <a:gd name="connsiteX11" fmla="*/ 7619 w 313231"/>
                <a:gd name="connsiteY11" fmla="*/ 255204 h 256473"/>
                <a:gd name="connsiteX12" fmla="*/ 313231 w 313231"/>
                <a:gd name="connsiteY12" fmla="*/ 6856 h 256473"/>
                <a:gd name="connsiteX13" fmla="*/ 309676 w 313231"/>
                <a:gd name="connsiteY13" fmla="*/ 8126 h 256473"/>
                <a:gd name="connsiteX14" fmla="*/ 305867 w 313231"/>
                <a:gd name="connsiteY14" fmla="*/ 6856 h 25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3231" h="256473">
                  <a:moveTo>
                    <a:pt x="305867" y="6856"/>
                  </a:moveTo>
                  <a:cubicBezTo>
                    <a:pt x="303975" y="5187"/>
                    <a:pt x="303797" y="2298"/>
                    <a:pt x="305461" y="405"/>
                  </a:cubicBezTo>
                  <a:cubicBezTo>
                    <a:pt x="305588" y="262"/>
                    <a:pt x="305727" y="127"/>
                    <a:pt x="305867" y="0"/>
                  </a:cubicBezTo>
                  <a:lnTo>
                    <a:pt x="305867" y="0"/>
                  </a:lnTo>
                  <a:lnTo>
                    <a:pt x="4190" y="245427"/>
                  </a:lnTo>
                  <a:lnTo>
                    <a:pt x="2540" y="246697"/>
                  </a:lnTo>
                  <a:cubicBezTo>
                    <a:pt x="3975" y="247964"/>
                    <a:pt x="4520" y="249955"/>
                    <a:pt x="3937" y="251776"/>
                  </a:cubicBezTo>
                  <a:cubicBezTo>
                    <a:pt x="3225" y="253393"/>
                    <a:pt x="1740" y="254541"/>
                    <a:pt x="0" y="254823"/>
                  </a:cubicBezTo>
                  <a:lnTo>
                    <a:pt x="0" y="254823"/>
                  </a:lnTo>
                  <a:lnTo>
                    <a:pt x="0" y="254823"/>
                  </a:lnTo>
                  <a:cubicBezTo>
                    <a:pt x="1054" y="255850"/>
                    <a:pt x="2464" y="256439"/>
                    <a:pt x="3937" y="256473"/>
                  </a:cubicBezTo>
                  <a:cubicBezTo>
                    <a:pt x="5270" y="256465"/>
                    <a:pt x="6565" y="256019"/>
                    <a:pt x="7619" y="255204"/>
                  </a:cubicBezTo>
                  <a:lnTo>
                    <a:pt x="313231" y="6856"/>
                  </a:lnTo>
                  <a:cubicBezTo>
                    <a:pt x="312241" y="7699"/>
                    <a:pt x="310971" y="8150"/>
                    <a:pt x="309676" y="8126"/>
                  </a:cubicBezTo>
                  <a:cubicBezTo>
                    <a:pt x="308292" y="8189"/>
                    <a:pt x="306933" y="7737"/>
                    <a:pt x="305867" y="6856"/>
                  </a:cubicBezTo>
                  <a:close/>
                </a:path>
              </a:pathLst>
            </a:custGeom>
            <a:solidFill>
              <a:srgbClr val="000000"/>
            </a:solidFill>
            <a:ln w="12690" cap="flat">
              <a:noFill/>
              <a:prstDash val="solid"/>
              <a:miter/>
            </a:ln>
          </p:spPr>
          <p:txBody>
            <a:bodyPr rtlCol="0" anchor="ctr"/>
            <a:lstStyle/>
            <a:p>
              <a:endParaRPr lang="en-US"/>
            </a:p>
          </p:txBody>
        </p:sp>
        <p:sp>
          <p:nvSpPr>
            <p:cNvPr id="665" name="Freeform: Shape 664">
              <a:extLst>
                <a:ext uri="{FF2B5EF4-FFF2-40B4-BE49-F238E27FC236}">
                  <a16:creationId xmlns:a16="http://schemas.microsoft.com/office/drawing/2014/main" id="{7B966518-F972-48F7-96D2-53F3DDFEE5FE}"/>
                </a:ext>
              </a:extLst>
            </p:cNvPr>
            <p:cNvSpPr/>
            <p:nvPr/>
          </p:nvSpPr>
          <p:spPr>
            <a:xfrm>
              <a:off x="9115713" y="-1"/>
              <a:ext cx="368814" cy="294310"/>
            </a:xfrm>
            <a:custGeom>
              <a:avLst/>
              <a:gdLst>
                <a:gd name="connsiteX0" fmla="*/ 1368 w 368814"/>
                <a:gd name="connsiteY0" fmla="*/ 292659 h 294310"/>
                <a:gd name="connsiteX1" fmla="*/ 5431 w 368814"/>
                <a:gd name="connsiteY1" fmla="*/ 294310 h 294310"/>
                <a:gd name="connsiteX2" fmla="*/ 8986 w 368814"/>
                <a:gd name="connsiteY2" fmla="*/ 293040 h 294310"/>
                <a:gd name="connsiteX3" fmla="*/ 8986 w 368814"/>
                <a:gd name="connsiteY3" fmla="*/ 293040 h 294310"/>
                <a:gd name="connsiteX4" fmla="*/ 368814 w 368814"/>
                <a:gd name="connsiteY4" fmla="*/ 0 h 294310"/>
                <a:gd name="connsiteX5" fmla="*/ 352562 w 368814"/>
                <a:gd name="connsiteY5" fmla="*/ 0 h 294310"/>
                <a:gd name="connsiteX6" fmla="*/ 1750 w 368814"/>
                <a:gd name="connsiteY6" fmla="*/ 285803 h 294310"/>
                <a:gd name="connsiteX7" fmla="*/ 975 w 368814"/>
                <a:gd name="connsiteY7" fmla="*/ 292221 h 294310"/>
                <a:gd name="connsiteX8" fmla="*/ 1368 w 368814"/>
                <a:gd name="connsiteY8" fmla="*/ 292659 h 29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14" h="294310">
                  <a:moveTo>
                    <a:pt x="1368" y="292659"/>
                  </a:moveTo>
                  <a:cubicBezTo>
                    <a:pt x="2435" y="293740"/>
                    <a:pt x="3908" y="294336"/>
                    <a:pt x="5431" y="294310"/>
                  </a:cubicBezTo>
                  <a:cubicBezTo>
                    <a:pt x="6726" y="294334"/>
                    <a:pt x="7996" y="293883"/>
                    <a:pt x="8986" y="293040"/>
                  </a:cubicBezTo>
                  <a:lnTo>
                    <a:pt x="8986" y="293040"/>
                  </a:lnTo>
                  <a:lnTo>
                    <a:pt x="368814" y="0"/>
                  </a:lnTo>
                  <a:lnTo>
                    <a:pt x="352562" y="0"/>
                  </a:lnTo>
                  <a:lnTo>
                    <a:pt x="1750" y="285803"/>
                  </a:lnTo>
                  <a:cubicBezTo>
                    <a:pt x="-231" y="287362"/>
                    <a:pt x="-587" y="290235"/>
                    <a:pt x="975" y="292221"/>
                  </a:cubicBezTo>
                  <a:cubicBezTo>
                    <a:pt x="1102" y="292375"/>
                    <a:pt x="1229" y="292522"/>
                    <a:pt x="1368" y="292659"/>
                  </a:cubicBezTo>
                  <a:close/>
                </a:path>
              </a:pathLst>
            </a:custGeom>
            <a:solidFill>
              <a:srgbClr val="000000"/>
            </a:solidFill>
            <a:ln w="12690" cap="flat">
              <a:noFill/>
              <a:prstDash val="solid"/>
              <a:miter/>
            </a:ln>
          </p:spPr>
          <p:txBody>
            <a:bodyPr rtlCol="0" anchor="ctr"/>
            <a:lstStyle/>
            <a:p>
              <a:endParaRPr lang="en-US"/>
            </a:p>
          </p:txBody>
        </p:sp>
        <p:sp>
          <p:nvSpPr>
            <p:cNvPr id="666" name="Freeform: Shape 665">
              <a:extLst>
                <a:ext uri="{FF2B5EF4-FFF2-40B4-BE49-F238E27FC236}">
                  <a16:creationId xmlns:a16="http://schemas.microsoft.com/office/drawing/2014/main" id="{B1889F87-AE1E-4B38-BD29-9359CF5881A6}"/>
                </a:ext>
              </a:extLst>
            </p:cNvPr>
            <p:cNvSpPr/>
            <p:nvPr/>
          </p:nvSpPr>
          <p:spPr>
            <a:xfrm>
              <a:off x="9205452" y="2577556"/>
              <a:ext cx="133697" cy="111225"/>
            </a:xfrm>
            <a:custGeom>
              <a:avLst/>
              <a:gdLst>
                <a:gd name="connsiteX0" fmla="*/ 381 w 133697"/>
                <a:gd name="connsiteY0" fmla="*/ 104875 h 111225"/>
                <a:gd name="connsiteX1" fmla="*/ 381 w 133697"/>
                <a:gd name="connsiteY1" fmla="*/ 104875 h 111225"/>
                <a:gd name="connsiteX2" fmla="*/ 381 w 133697"/>
                <a:gd name="connsiteY2" fmla="*/ 105637 h 111225"/>
                <a:gd name="connsiteX3" fmla="*/ 381 w 133697"/>
                <a:gd name="connsiteY3" fmla="*/ 105637 h 111225"/>
                <a:gd name="connsiteX4" fmla="*/ 381 w 133697"/>
                <a:gd name="connsiteY4" fmla="*/ 105637 h 111225"/>
                <a:gd name="connsiteX5" fmla="*/ 381 w 133697"/>
                <a:gd name="connsiteY5" fmla="*/ 106398 h 111225"/>
                <a:gd name="connsiteX6" fmla="*/ 381 w 133697"/>
                <a:gd name="connsiteY6" fmla="*/ 107287 h 111225"/>
                <a:gd name="connsiteX7" fmla="*/ 381 w 133697"/>
                <a:gd name="connsiteY7" fmla="*/ 107287 h 111225"/>
                <a:gd name="connsiteX8" fmla="*/ 381 w 133697"/>
                <a:gd name="connsiteY8" fmla="*/ 108176 h 111225"/>
                <a:gd name="connsiteX9" fmla="*/ 381 w 133697"/>
                <a:gd name="connsiteY9" fmla="*/ 109192 h 111225"/>
                <a:gd name="connsiteX10" fmla="*/ 381 w 133697"/>
                <a:gd name="connsiteY10" fmla="*/ 109954 h 111225"/>
                <a:gd name="connsiteX11" fmla="*/ 381 w 133697"/>
                <a:gd name="connsiteY11" fmla="*/ 110588 h 111225"/>
                <a:gd name="connsiteX12" fmla="*/ 381 w 133697"/>
                <a:gd name="connsiteY12" fmla="*/ 110588 h 111225"/>
                <a:gd name="connsiteX13" fmla="*/ 1396 w 133697"/>
                <a:gd name="connsiteY13" fmla="*/ 111223 h 111225"/>
                <a:gd name="connsiteX14" fmla="*/ 2158 w 133697"/>
                <a:gd name="connsiteY14" fmla="*/ 111223 h 111225"/>
                <a:gd name="connsiteX15" fmla="*/ 4063 w 133697"/>
                <a:gd name="connsiteY15" fmla="*/ 111223 h 111225"/>
                <a:gd name="connsiteX16" fmla="*/ 7745 w 133697"/>
                <a:gd name="connsiteY16" fmla="*/ 109954 h 111225"/>
                <a:gd name="connsiteX17" fmla="*/ 14601 w 133697"/>
                <a:gd name="connsiteY17" fmla="*/ 104367 h 111225"/>
                <a:gd name="connsiteX18" fmla="*/ 133697 w 133697"/>
                <a:gd name="connsiteY18" fmla="*/ 7364 h 111225"/>
                <a:gd name="connsiteX19" fmla="*/ 130142 w 133697"/>
                <a:gd name="connsiteY19" fmla="*/ 8507 h 111225"/>
                <a:gd name="connsiteX20" fmla="*/ 126079 w 133697"/>
                <a:gd name="connsiteY20" fmla="*/ 6856 h 111225"/>
                <a:gd name="connsiteX21" fmla="*/ 125673 w 133697"/>
                <a:gd name="connsiteY21" fmla="*/ 406 h 111225"/>
                <a:gd name="connsiteX22" fmla="*/ 126079 w 133697"/>
                <a:gd name="connsiteY22" fmla="*/ 0 h 111225"/>
                <a:gd name="connsiteX23" fmla="*/ 126079 w 133697"/>
                <a:gd name="connsiteY23" fmla="*/ 0 h 111225"/>
                <a:gd name="connsiteX24" fmla="*/ 119096 w 133697"/>
                <a:gd name="connsiteY24" fmla="*/ 5587 h 111225"/>
                <a:gd name="connsiteX25" fmla="*/ 0 w 133697"/>
                <a:gd name="connsiteY25" fmla="*/ 102716 h 11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3697" h="111225">
                  <a:moveTo>
                    <a:pt x="381" y="104875"/>
                  </a:moveTo>
                  <a:lnTo>
                    <a:pt x="381" y="104875"/>
                  </a:lnTo>
                  <a:lnTo>
                    <a:pt x="381" y="105637"/>
                  </a:lnTo>
                  <a:lnTo>
                    <a:pt x="381" y="105637"/>
                  </a:lnTo>
                  <a:lnTo>
                    <a:pt x="381" y="105637"/>
                  </a:lnTo>
                  <a:cubicBezTo>
                    <a:pt x="381" y="105637"/>
                    <a:pt x="381" y="105637"/>
                    <a:pt x="381" y="106398"/>
                  </a:cubicBezTo>
                  <a:cubicBezTo>
                    <a:pt x="381" y="107160"/>
                    <a:pt x="381" y="106398"/>
                    <a:pt x="381" y="107287"/>
                  </a:cubicBezTo>
                  <a:lnTo>
                    <a:pt x="381" y="107287"/>
                  </a:lnTo>
                  <a:cubicBezTo>
                    <a:pt x="381" y="107287"/>
                    <a:pt x="381" y="107287"/>
                    <a:pt x="381" y="108176"/>
                  </a:cubicBezTo>
                  <a:cubicBezTo>
                    <a:pt x="330" y="108519"/>
                    <a:pt x="330" y="108849"/>
                    <a:pt x="381" y="109192"/>
                  </a:cubicBezTo>
                  <a:cubicBezTo>
                    <a:pt x="343" y="109446"/>
                    <a:pt x="343" y="109700"/>
                    <a:pt x="381" y="109954"/>
                  </a:cubicBezTo>
                  <a:cubicBezTo>
                    <a:pt x="343" y="110169"/>
                    <a:pt x="343" y="110373"/>
                    <a:pt x="381" y="110588"/>
                  </a:cubicBezTo>
                  <a:lnTo>
                    <a:pt x="381" y="110588"/>
                  </a:lnTo>
                  <a:lnTo>
                    <a:pt x="1396" y="111223"/>
                  </a:lnTo>
                  <a:lnTo>
                    <a:pt x="2158" y="111223"/>
                  </a:lnTo>
                  <a:lnTo>
                    <a:pt x="4063" y="111223"/>
                  </a:lnTo>
                  <a:cubicBezTo>
                    <a:pt x="5408" y="111261"/>
                    <a:pt x="6717" y="110817"/>
                    <a:pt x="7745" y="109954"/>
                  </a:cubicBezTo>
                  <a:lnTo>
                    <a:pt x="14601" y="104367"/>
                  </a:lnTo>
                  <a:lnTo>
                    <a:pt x="133697" y="7364"/>
                  </a:lnTo>
                  <a:cubicBezTo>
                    <a:pt x="132669" y="8113"/>
                    <a:pt x="131424" y="8520"/>
                    <a:pt x="130142" y="8507"/>
                  </a:cubicBezTo>
                  <a:cubicBezTo>
                    <a:pt x="128619" y="8532"/>
                    <a:pt x="127146" y="7935"/>
                    <a:pt x="126079" y="6856"/>
                  </a:cubicBezTo>
                  <a:cubicBezTo>
                    <a:pt x="124188" y="5180"/>
                    <a:pt x="124009" y="2298"/>
                    <a:pt x="125673" y="406"/>
                  </a:cubicBezTo>
                  <a:cubicBezTo>
                    <a:pt x="125800" y="267"/>
                    <a:pt x="125940" y="127"/>
                    <a:pt x="126079" y="0"/>
                  </a:cubicBezTo>
                  <a:lnTo>
                    <a:pt x="126079" y="0"/>
                  </a:lnTo>
                  <a:lnTo>
                    <a:pt x="119096" y="5587"/>
                  </a:lnTo>
                  <a:lnTo>
                    <a:pt x="0" y="102716"/>
                  </a:lnTo>
                  <a:close/>
                </a:path>
              </a:pathLst>
            </a:custGeom>
            <a:solidFill>
              <a:srgbClr val="000000"/>
            </a:solidFill>
            <a:ln w="12690" cap="flat">
              <a:noFill/>
              <a:prstDash val="solid"/>
              <a:miter/>
            </a:ln>
          </p:spPr>
          <p:txBody>
            <a:bodyPr rtlCol="0" anchor="ctr"/>
            <a:lstStyle/>
            <a:p>
              <a:endParaRPr lang="en-US"/>
            </a:p>
          </p:txBody>
        </p:sp>
        <p:sp>
          <p:nvSpPr>
            <p:cNvPr id="667" name="Freeform: Shape 666">
              <a:extLst>
                <a:ext uri="{FF2B5EF4-FFF2-40B4-BE49-F238E27FC236}">
                  <a16:creationId xmlns:a16="http://schemas.microsoft.com/office/drawing/2014/main" id="{035C74EC-84A5-40F4-B82A-725834FC0241}"/>
                </a:ext>
              </a:extLst>
            </p:cNvPr>
            <p:cNvSpPr/>
            <p:nvPr/>
          </p:nvSpPr>
          <p:spPr>
            <a:xfrm>
              <a:off x="9330621" y="2475856"/>
              <a:ext cx="134734" cy="112239"/>
            </a:xfrm>
            <a:custGeom>
              <a:avLst/>
              <a:gdLst>
                <a:gd name="connsiteX0" fmla="*/ 1545 w 134734"/>
                <a:gd name="connsiteY0" fmla="*/ 103732 h 112239"/>
                <a:gd name="connsiteX1" fmla="*/ 1139 w 134734"/>
                <a:gd name="connsiteY1" fmla="*/ 110182 h 112239"/>
                <a:gd name="connsiteX2" fmla="*/ 1545 w 134734"/>
                <a:gd name="connsiteY2" fmla="*/ 110588 h 112239"/>
                <a:gd name="connsiteX3" fmla="*/ 5608 w 134734"/>
                <a:gd name="connsiteY3" fmla="*/ 112239 h 112239"/>
                <a:gd name="connsiteX4" fmla="*/ 9163 w 134734"/>
                <a:gd name="connsiteY4" fmla="*/ 111096 h 112239"/>
                <a:gd name="connsiteX5" fmla="*/ 9163 w 134734"/>
                <a:gd name="connsiteY5" fmla="*/ 111096 h 112239"/>
                <a:gd name="connsiteX6" fmla="*/ 134735 w 134734"/>
                <a:gd name="connsiteY6" fmla="*/ 9523 h 112239"/>
                <a:gd name="connsiteX7" fmla="*/ 131815 w 134734"/>
                <a:gd name="connsiteY7" fmla="*/ 8634 h 112239"/>
                <a:gd name="connsiteX8" fmla="*/ 128221 w 134734"/>
                <a:gd name="connsiteY8" fmla="*/ 3047 h 112239"/>
                <a:gd name="connsiteX9" fmla="*/ 130418 w 134734"/>
                <a:gd name="connsiteY9" fmla="*/ 0 h 112239"/>
                <a:gd name="connsiteX10" fmla="*/ 130418 w 134734"/>
                <a:gd name="connsiteY10" fmla="*/ 0 h 112239"/>
                <a:gd name="connsiteX11" fmla="*/ 4847 w 134734"/>
                <a:gd name="connsiteY11" fmla="*/ 101574 h 112239"/>
                <a:gd name="connsiteX12" fmla="*/ 2561 w 134734"/>
                <a:gd name="connsiteY12" fmla="*/ 103478 h 11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734" h="112239">
                  <a:moveTo>
                    <a:pt x="1545" y="103732"/>
                  </a:moveTo>
                  <a:cubicBezTo>
                    <a:pt x="-346" y="105408"/>
                    <a:pt x="-525" y="108290"/>
                    <a:pt x="1139" y="110182"/>
                  </a:cubicBezTo>
                  <a:cubicBezTo>
                    <a:pt x="1266" y="110322"/>
                    <a:pt x="1406" y="110461"/>
                    <a:pt x="1545" y="110588"/>
                  </a:cubicBezTo>
                  <a:cubicBezTo>
                    <a:pt x="2612" y="111667"/>
                    <a:pt x="4085" y="112264"/>
                    <a:pt x="5608" y="112239"/>
                  </a:cubicBezTo>
                  <a:cubicBezTo>
                    <a:pt x="6891" y="112252"/>
                    <a:pt x="8135" y="111845"/>
                    <a:pt x="9163" y="111096"/>
                  </a:cubicBezTo>
                  <a:lnTo>
                    <a:pt x="9163" y="111096"/>
                  </a:lnTo>
                  <a:lnTo>
                    <a:pt x="134735" y="9523"/>
                  </a:lnTo>
                  <a:lnTo>
                    <a:pt x="131815" y="8634"/>
                  </a:lnTo>
                  <a:cubicBezTo>
                    <a:pt x="129275" y="8088"/>
                    <a:pt x="127676" y="5587"/>
                    <a:pt x="128221" y="3047"/>
                  </a:cubicBezTo>
                  <a:cubicBezTo>
                    <a:pt x="128501" y="1765"/>
                    <a:pt x="129288" y="660"/>
                    <a:pt x="130418" y="0"/>
                  </a:cubicBezTo>
                  <a:lnTo>
                    <a:pt x="130418" y="0"/>
                  </a:lnTo>
                  <a:lnTo>
                    <a:pt x="4847" y="101574"/>
                  </a:lnTo>
                  <a:lnTo>
                    <a:pt x="2561" y="103478"/>
                  </a:lnTo>
                  <a:close/>
                </a:path>
              </a:pathLst>
            </a:custGeom>
            <a:solidFill>
              <a:srgbClr val="000000"/>
            </a:solidFill>
            <a:ln w="12690" cap="flat">
              <a:noFill/>
              <a:prstDash val="solid"/>
              <a:miter/>
            </a:ln>
          </p:spPr>
          <p:txBody>
            <a:bodyPr rtlCol="0" anchor="ctr"/>
            <a:lstStyle/>
            <a:p>
              <a:endParaRPr lang="en-US"/>
            </a:p>
          </p:txBody>
        </p:sp>
        <p:sp>
          <p:nvSpPr>
            <p:cNvPr id="668" name="Freeform: Shape 667">
              <a:extLst>
                <a:ext uri="{FF2B5EF4-FFF2-40B4-BE49-F238E27FC236}">
                  <a16:creationId xmlns:a16="http://schemas.microsoft.com/office/drawing/2014/main" id="{57F60F63-9FB3-4059-9278-9ADF5468C486}"/>
                </a:ext>
              </a:extLst>
            </p:cNvPr>
            <p:cNvSpPr/>
            <p:nvPr/>
          </p:nvSpPr>
          <p:spPr>
            <a:xfrm>
              <a:off x="9842070" y="2589491"/>
              <a:ext cx="1048638" cy="324528"/>
            </a:xfrm>
            <a:custGeom>
              <a:avLst/>
              <a:gdLst>
                <a:gd name="connsiteX0" fmla="*/ 6857 w 1048638"/>
                <a:gd name="connsiteY0" fmla="*/ 6475 h 324528"/>
                <a:gd name="connsiteX1" fmla="*/ 1651 w 1048638"/>
                <a:gd name="connsiteY1" fmla="*/ 9903 h 324528"/>
                <a:gd name="connsiteX2" fmla="*/ 0 w 1048638"/>
                <a:gd name="connsiteY2" fmla="*/ 9903 h 324528"/>
                <a:gd name="connsiteX3" fmla="*/ 1032760 w 1048638"/>
                <a:gd name="connsiteY3" fmla="*/ 321862 h 324528"/>
                <a:gd name="connsiteX4" fmla="*/ 1041648 w 1048638"/>
                <a:gd name="connsiteY4" fmla="*/ 324528 h 324528"/>
                <a:gd name="connsiteX5" fmla="*/ 1043299 w 1048638"/>
                <a:gd name="connsiteY5" fmla="*/ 324528 h 324528"/>
                <a:gd name="connsiteX6" fmla="*/ 1048377 w 1048638"/>
                <a:gd name="connsiteY6" fmla="*/ 321100 h 324528"/>
                <a:gd name="connsiteX7" fmla="*/ 1045381 w 1048638"/>
                <a:gd name="connsiteY7" fmla="*/ 314967 h 324528"/>
                <a:gd name="connsiteX8" fmla="*/ 1045076 w 1048638"/>
                <a:gd name="connsiteY8" fmla="*/ 314878 h 324528"/>
                <a:gd name="connsiteX9" fmla="*/ 12189 w 1048638"/>
                <a:gd name="connsiteY9" fmla="*/ 2666 h 324528"/>
                <a:gd name="connsiteX10" fmla="*/ 3428 w 1048638"/>
                <a:gd name="connsiteY10" fmla="*/ 0 h 324528"/>
                <a:gd name="connsiteX11" fmla="*/ 6996 w 1048638"/>
                <a:gd name="connsiteY11" fmla="*/ 6031 h 324528"/>
                <a:gd name="connsiteX12" fmla="*/ 6857 w 1048638"/>
                <a:gd name="connsiteY12" fmla="*/ 6475 h 32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8638" h="324528">
                  <a:moveTo>
                    <a:pt x="6857" y="6475"/>
                  </a:moveTo>
                  <a:cubicBezTo>
                    <a:pt x="6006" y="8596"/>
                    <a:pt x="3936" y="9967"/>
                    <a:pt x="1651" y="9903"/>
                  </a:cubicBezTo>
                  <a:lnTo>
                    <a:pt x="0" y="9903"/>
                  </a:lnTo>
                  <a:lnTo>
                    <a:pt x="1032760" y="321862"/>
                  </a:lnTo>
                  <a:lnTo>
                    <a:pt x="1041648" y="324528"/>
                  </a:lnTo>
                  <a:lnTo>
                    <a:pt x="1043299" y="324528"/>
                  </a:lnTo>
                  <a:cubicBezTo>
                    <a:pt x="1045546" y="324566"/>
                    <a:pt x="1047577" y="323195"/>
                    <a:pt x="1048377" y="321100"/>
                  </a:cubicBezTo>
                  <a:cubicBezTo>
                    <a:pt x="1049240" y="318573"/>
                    <a:pt x="1047895" y="315831"/>
                    <a:pt x="1045381" y="314967"/>
                  </a:cubicBezTo>
                  <a:cubicBezTo>
                    <a:pt x="1045279" y="314942"/>
                    <a:pt x="1045178" y="314904"/>
                    <a:pt x="1045076" y="314878"/>
                  </a:cubicBezTo>
                  <a:lnTo>
                    <a:pt x="12189" y="2666"/>
                  </a:lnTo>
                  <a:lnTo>
                    <a:pt x="3428" y="0"/>
                  </a:lnTo>
                  <a:cubicBezTo>
                    <a:pt x="6082" y="686"/>
                    <a:pt x="7669" y="3377"/>
                    <a:pt x="6996" y="6031"/>
                  </a:cubicBezTo>
                  <a:cubicBezTo>
                    <a:pt x="6958" y="6183"/>
                    <a:pt x="6907" y="6323"/>
                    <a:pt x="6857" y="6475"/>
                  </a:cubicBezTo>
                  <a:close/>
                </a:path>
              </a:pathLst>
            </a:custGeom>
            <a:solidFill>
              <a:srgbClr val="000000"/>
            </a:solidFill>
            <a:ln w="12690" cap="flat">
              <a:noFill/>
              <a:prstDash val="solid"/>
              <a:miter/>
            </a:ln>
          </p:spPr>
          <p:txBody>
            <a:bodyPr rtlCol="0" anchor="ctr"/>
            <a:lstStyle/>
            <a:p>
              <a:endParaRPr lang="en-US"/>
            </a:p>
          </p:txBody>
        </p:sp>
        <p:sp>
          <p:nvSpPr>
            <p:cNvPr id="669" name="Freeform: Shape 668">
              <a:extLst>
                <a:ext uri="{FF2B5EF4-FFF2-40B4-BE49-F238E27FC236}">
                  <a16:creationId xmlns:a16="http://schemas.microsoft.com/office/drawing/2014/main" id="{F0CA7562-BAA0-453E-9FE8-E3D2B75A65E7}"/>
                </a:ext>
              </a:extLst>
            </p:cNvPr>
            <p:cNvSpPr/>
            <p:nvPr/>
          </p:nvSpPr>
          <p:spPr>
            <a:xfrm>
              <a:off x="5042496" y="1235769"/>
              <a:ext cx="212084" cy="171786"/>
            </a:xfrm>
            <a:custGeom>
              <a:avLst/>
              <a:gdLst>
                <a:gd name="connsiteX0" fmla="*/ 208656 w 212084"/>
                <a:gd name="connsiteY0" fmla="*/ 8507 h 171786"/>
                <a:gd name="connsiteX1" fmla="*/ 204594 w 212084"/>
                <a:gd name="connsiteY1" fmla="*/ 6856 h 171786"/>
                <a:gd name="connsiteX2" fmla="*/ 204187 w 212084"/>
                <a:gd name="connsiteY2" fmla="*/ 405 h 171786"/>
                <a:gd name="connsiteX3" fmla="*/ 204594 w 212084"/>
                <a:gd name="connsiteY3" fmla="*/ 0 h 171786"/>
                <a:gd name="connsiteX4" fmla="*/ 204594 w 212084"/>
                <a:gd name="connsiteY4" fmla="*/ 0 h 171786"/>
                <a:gd name="connsiteX5" fmla="*/ 197610 w 212084"/>
                <a:gd name="connsiteY5" fmla="*/ 5586 h 171786"/>
                <a:gd name="connsiteX6" fmla="*/ 683 w 212084"/>
                <a:gd name="connsiteY6" fmla="*/ 165946 h 171786"/>
                <a:gd name="connsiteX7" fmla="*/ 683 w 212084"/>
                <a:gd name="connsiteY7" fmla="*/ 165946 h 171786"/>
                <a:gd name="connsiteX8" fmla="*/ 48 w 212084"/>
                <a:gd name="connsiteY8" fmla="*/ 166708 h 171786"/>
                <a:gd name="connsiteX9" fmla="*/ 48 w 212084"/>
                <a:gd name="connsiteY9" fmla="*/ 166708 h 171786"/>
                <a:gd name="connsiteX10" fmla="*/ 48 w 212084"/>
                <a:gd name="connsiteY10" fmla="*/ 166708 h 171786"/>
                <a:gd name="connsiteX11" fmla="*/ 48 w 212084"/>
                <a:gd name="connsiteY11" fmla="*/ 167723 h 171786"/>
                <a:gd name="connsiteX12" fmla="*/ 48 w 212084"/>
                <a:gd name="connsiteY12" fmla="*/ 168485 h 171786"/>
                <a:gd name="connsiteX13" fmla="*/ 48 w 212084"/>
                <a:gd name="connsiteY13" fmla="*/ 168485 h 171786"/>
                <a:gd name="connsiteX14" fmla="*/ 48 w 212084"/>
                <a:gd name="connsiteY14" fmla="*/ 169501 h 171786"/>
                <a:gd name="connsiteX15" fmla="*/ 48 w 212084"/>
                <a:gd name="connsiteY15" fmla="*/ 170263 h 171786"/>
                <a:gd name="connsiteX16" fmla="*/ 683 w 212084"/>
                <a:gd name="connsiteY16" fmla="*/ 171152 h 171786"/>
                <a:gd name="connsiteX17" fmla="*/ 683 w 212084"/>
                <a:gd name="connsiteY17" fmla="*/ 171152 h 171786"/>
                <a:gd name="connsiteX18" fmla="*/ 683 w 212084"/>
                <a:gd name="connsiteY18" fmla="*/ 171152 h 171786"/>
                <a:gd name="connsiteX19" fmla="*/ 1698 w 212084"/>
                <a:gd name="connsiteY19" fmla="*/ 171786 h 171786"/>
                <a:gd name="connsiteX20" fmla="*/ 2587 w 212084"/>
                <a:gd name="connsiteY20" fmla="*/ 171786 h 171786"/>
                <a:gd name="connsiteX21" fmla="*/ 4492 w 212084"/>
                <a:gd name="connsiteY21" fmla="*/ 171786 h 171786"/>
                <a:gd name="connsiteX22" fmla="*/ 8047 w 212084"/>
                <a:gd name="connsiteY22" fmla="*/ 170644 h 171786"/>
                <a:gd name="connsiteX23" fmla="*/ 15030 w 212084"/>
                <a:gd name="connsiteY23" fmla="*/ 164930 h 171786"/>
                <a:gd name="connsiteX24" fmla="*/ 212085 w 212084"/>
                <a:gd name="connsiteY24" fmla="*/ 4571 h 171786"/>
                <a:gd name="connsiteX25" fmla="*/ 212085 w 212084"/>
                <a:gd name="connsiteY25" fmla="*/ 4571 h 171786"/>
                <a:gd name="connsiteX26" fmla="*/ 208656 w 212084"/>
                <a:gd name="connsiteY26" fmla="*/ 8507 h 171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2084" h="171786">
                  <a:moveTo>
                    <a:pt x="208656" y="8507"/>
                  </a:moveTo>
                  <a:cubicBezTo>
                    <a:pt x="207133" y="8533"/>
                    <a:pt x="205660" y="7937"/>
                    <a:pt x="204594" y="6856"/>
                  </a:cubicBezTo>
                  <a:cubicBezTo>
                    <a:pt x="202702" y="5187"/>
                    <a:pt x="202524" y="2298"/>
                    <a:pt x="204187" y="405"/>
                  </a:cubicBezTo>
                  <a:cubicBezTo>
                    <a:pt x="204314" y="262"/>
                    <a:pt x="204454" y="127"/>
                    <a:pt x="204594" y="0"/>
                  </a:cubicBezTo>
                  <a:lnTo>
                    <a:pt x="204594" y="0"/>
                  </a:lnTo>
                  <a:lnTo>
                    <a:pt x="197610" y="5586"/>
                  </a:lnTo>
                  <a:lnTo>
                    <a:pt x="683" y="165946"/>
                  </a:lnTo>
                  <a:lnTo>
                    <a:pt x="683" y="165946"/>
                  </a:lnTo>
                  <a:lnTo>
                    <a:pt x="48" y="166708"/>
                  </a:lnTo>
                  <a:lnTo>
                    <a:pt x="48" y="166708"/>
                  </a:lnTo>
                  <a:lnTo>
                    <a:pt x="48" y="166708"/>
                  </a:lnTo>
                  <a:cubicBezTo>
                    <a:pt x="-3" y="167038"/>
                    <a:pt x="-3" y="167393"/>
                    <a:pt x="48" y="167723"/>
                  </a:cubicBezTo>
                  <a:cubicBezTo>
                    <a:pt x="-16" y="167977"/>
                    <a:pt x="-16" y="168231"/>
                    <a:pt x="48" y="168485"/>
                  </a:cubicBezTo>
                  <a:lnTo>
                    <a:pt x="48" y="168485"/>
                  </a:lnTo>
                  <a:cubicBezTo>
                    <a:pt x="-16" y="168815"/>
                    <a:pt x="-16" y="169171"/>
                    <a:pt x="48" y="169501"/>
                  </a:cubicBezTo>
                  <a:cubicBezTo>
                    <a:pt x="48" y="169501"/>
                    <a:pt x="48" y="169501"/>
                    <a:pt x="48" y="170263"/>
                  </a:cubicBezTo>
                  <a:cubicBezTo>
                    <a:pt x="188" y="170606"/>
                    <a:pt x="403" y="170910"/>
                    <a:pt x="683" y="171152"/>
                  </a:cubicBezTo>
                  <a:lnTo>
                    <a:pt x="683" y="171152"/>
                  </a:lnTo>
                  <a:lnTo>
                    <a:pt x="683" y="171152"/>
                  </a:lnTo>
                  <a:lnTo>
                    <a:pt x="1698" y="171786"/>
                  </a:lnTo>
                  <a:lnTo>
                    <a:pt x="2587" y="171786"/>
                  </a:lnTo>
                  <a:lnTo>
                    <a:pt x="4492" y="171786"/>
                  </a:lnTo>
                  <a:cubicBezTo>
                    <a:pt x="5774" y="171799"/>
                    <a:pt x="7018" y="171393"/>
                    <a:pt x="8047" y="170644"/>
                  </a:cubicBezTo>
                  <a:lnTo>
                    <a:pt x="15030" y="164930"/>
                  </a:lnTo>
                  <a:lnTo>
                    <a:pt x="212085" y="4571"/>
                  </a:lnTo>
                  <a:lnTo>
                    <a:pt x="212085" y="4571"/>
                  </a:lnTo>
                  <a:cubicBezTo>
                    <a:pt x="211628" y="6348"/>
                    <a:pt x="210358" y="7807"/>
                    <a:pt x="208656" y="8507"/>
                  </a:cubicBezTo>
                  <a:close/>
                </a:path>
              </a:pathLst>
            </a:custGeom>
            <a:solidFill>
              <a:srgbClr val="000000"/>
            </a:solidFill>
            <a:ln w="12690" cap="flat">
              <a:noFill/>
              <a:prstDash val="solid"/>
              <a:miter/>
            </a:ln>
          </p:spPr>
          <p:txBody>
            <a:bodyPr rtlCol="0" anchor="ctr"/>
            <a:lstStyle/>
            <a:p>
              <a:endParaRPr lang="en-US"/>
            </a:p>
          </p:txBody>
        </p:sp>
        <p:sp>
          <p:nvSpPr>
            <p:cNvPr id="670" name="Freeform: Shape 669">
              <a:extLst>
                <a:ext uri="{FF2B5EF4-FFF2-40B4-BE49-F238E27FC236}">
                  <a16:creationId xmlns:a16="http://schemas.microsoft.com/office/drawing/2014/main" id="{EEB8A023-9B31-4EED-9A4E-81078E1BA2CC}"/>
                </a:ext>
              </a:extLst>
            </p:cNvPr>
            <p:cNvSpPr/>
            <p:nvPr/>
          </p:nvSpPr>
          <p:spPr>
            <a:xfrm>
              <a:off x="5246560" y="1195520"/>
              <a:ext cx="56395" cy="48502"/>
            </a:xfrm>
            <a:custGeom>
              <a:avLst/>
              <a:gdLst>
                <a:gd name="connsiteX0" fmla="*/ 49031 w 56395"/>
                <a:gd name="connsiteY0" fmla="*/ 2412 h 48502"/>
                <a:gd name="connsiteX1" fmla="*/ 51063 w 56395"/>
                <a:gd name="connsiteY1" fmla="*/ 0 h 48502"/>
                <a:gd name="connsiteX2" fmla="*/ 51063 w 56395"/>
                <a:gd name="connsiteY2" fmla="*/ 0 h 48502"/>
                <a:gd name="connsiteX3" fmla="*/ 3831 w 56395"/>
                <a:gd name="connsiteY3" fmla="*/ 38090 h 48502"/>
                <a:gd name="connsiteX4" fmla="*/ 1545 w 56395"/>
                <a:gd name="connsiteY4" fmla="*/ 39995 h 48502"/>
                <a:gd name="connsiteX5" fmla="*/ 1545 w 56395"/>
                <a:gd name="connsiteY5" fmla="*/ 39995 h 48502"/>
                <a:gd name="connsiteX6" fmla="*/ 1139 w 56395"/>
                <a:gd name="connsiteY6" fmla="*/ 46446 h 48502"/>
                <a:gd name="connsiteX7" fmla="*/ 1545 w 56395"/>
                <a:gd name="connsiteY7" fmla="*/ 46851 h 48502"/>
                <a:gd name="connsiteX8" fmla="*/ 5608 w 56395"/>
                <a:gd name="connsiteY8" fmla="*/ 48501 h 48502"/>
                <a:gd name="connsiteX9" fmla="*/ 9290 w 56395"/>
                <a:gd name="connsiteY9" fmla="*/ 47232 h 48502"/>
                <a:gd name="connsiteX10" fmla="*/ 9290 w 56395"/>
                <a:gd name="connsiteY10" fmla="*/ 47232 h 48502"/>
                <a:gd name="connsiteX11" fmla="*/ 56396 w 56395"/>
                <a:gd name="connsiteY11" fmla="*/ 9142 h 48502"/>
                <a:gd name="connsiteX12" fmla="*/ 53475 w 56395"/>
                <a:gd name="connsiteY12" fmla="*/ 8253 h 48502"/>
                <a:gd name="connsiteX13" fmla="*/ 48892 w 56395"/>
                <a:gd name="connsiteY13" fmla="*/ 3443 h 48502"/>
                <a:gd name="connsiteX14" fmla="*/ 49031 w 56395"/>
                <a:gd name="connsiteY14" fmla="*/ 2412 h 4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95" h="48502">
                  <a:moveTo>
                    <a:pt x="49031" y="2412"/>
                  </a:moveTo>
                  <a:cubicBezTo>
                    <a:pt x="49374" y="1374"/>
                    <a:pt x="50098" y="509"/>
                    <a:pt x="51063" y="0"/>
                  </a:cubicBezTo>
                  <a:lnTo>
                    <a:pt x="51063" y="0"/>
                  </a:lnTo>
                  <a:lnTo>
                    <a:pt x="3831" y="38090"/>
                  </a:lnTo>
                  <a:lnTo>
                    <a:pt x="1545" y="39995"/>
                  </a:lnTo>
                  <a:lnTo>
                    <a:pt x="1545" y="39995"/>
                  </a:lnTo>
                  <a:cubicBezTo>
                    <a:pt x="-346" y="41664"/>
                    <a:pt x="-524" y="44553"/>
                    <a:pt x="1139" y="46446"/>
                  </a:cubicBezTo>
                  <a:cubicBezTo>
                    <a:pt x="1266" y="46589"/>
                    <a:pt x="1406" y="46724"/>
                    <a:pt x="1545" y="46851"/>
                  </a:cubicBezTo>
                  <a:cubicBezTo>
                    <a:pt x="2612" y="47931"/>
                    <a:pt x="4085" y="48528"/>
                    <a:pt x="5608" y="48501"/>
                  </a:cubicBezTo>
                  <a:cubicBezTo>
                    <a:pt x="6942" y="48511"/>
                    <a:pt x="8249" y="48063"/>
                    <a:pt x="9290" y="47232"/>
                  </a:cubicBezTo>
                  <a:lnTo>
                    <a:pt x="9290" y="47232"/>
                  </a:lnTo>
                  <a:lnTo>
                    <a:pt x="56396" y="9142"/>
                  </a:lnTo>
                  <a:lnTo>
                    <a:pt x="53475" y="8253"/>
                  </a:lnTo>
                  <a:cubicBezTo>
                    <a:pt x="50885" y="8191"/>
                    <a:pt x="48828" y="6037"/>
                    <a:pt x="48892" y="3443"/>
                  </a:cubicBezTo>
                  <a:cubicBezTo>
                    <a:pt x="48904" y="3095"/>
                    <a:pt x="48942" y="2750"/>
                    <a:pt x="49031" y="2412"/>
                  </a:cubicBezTo>
                  <a:close/>
                </a:path>
              </a:pathLst>
            </a:custGeom>
            <a:solidFill>
              <a:srgbClr val="000000"/>
            </a:solidFill>
            <a:ln w="12690" cap="flat">
              <a:noFill/>
              <a:prstDash val="solid"/>
              <a:miter/>
            </a:ln>
          </p:spPr>
          <p:txBody>
            <a:bodyPr rtlCol="0" anchor="ctr"/>
            <a:lstStyle/>
            <a:p>
              <a:endParaRPr lang="en-US"/>
            </a:p>
          </p:txBody>
        </p:sp>
        <p:sp>
          <p:nvSpPr>
            <p:cNvPr id="671" name="Freeform: Shape 670">
              <a:extLst>
                <a:ext uri="{FF2B5EF4-FFF2-40B4-BE49-F238E27FC236}">
                  <a16:creationId xmlns:a16="http://schemas.microsoft.com/office/drawing/2014/main" id="{3E07789D-D840-4937-ACFC-D521ECE81736}"/>
                </a:ext>
              </a:extLst>
            </p:cNvPr>
            <p:cNvSpPr/>
            <p:nvPr/>
          </p:nvSpPr>
          <p:spPr>
            <a:xfrm>
              <a:off x="8944024" y="2297086"/>
              <a:ext cx="38" cy="888"/>
            </a:xfrm>
            <a:custGeom>
              <a:avLst/>
              <a:gdLst>
                <a:gd name="connsiteX0" fmla="*/ 0 w 38"/>
                <a:gd name="connsiteY0" fmla="*/ 0 h 888"/>
                <a:gd name="connsiteX1" fmla="*/ 0 w 38"/>
                <a:gd name="connsiteY1" fmla="*/ 889 h 888"/>
                <a:gd name="connsiteX2" fmla="*/ 0 w 38"/>
                <a:gd name="connsiteY2" fmla="*/ 254 h 888"/>
              </a:gdLst>
              <a:ahLst/>
              <a:cxnLst>
                <a:cxn ang="0">
                  <a:pos x="connsiteX0" y="connsiteY0"/>
                </a:cxn>
                <a:cxn ang="0">
                  <a:pos x="connsiteX1" y="connsiteY1"/>
                </a:cxn>
                <a:cxn ang="0">
                  <a:pos x="connsiteX2" y="connsiteY2"/>
                </a:cxn>
              </a:cxnLst>
              <a:rect l="l" t="t" r="r" b="b"/>
              <a:pathLst>
                <a:path w="38" h="888">
                  <a:moveTo>
                    <a:pt x="0" y="0"/>
                  </a:moveTo>
                  <a:cubicBezTo>
                    <a:pt x="51" y="292"/>
                    <a:pt x="51" y="597"/>
                    <a:pt x="0" y="889"/>
                  </a:cubicBezTo>
                  <a:lnTo>
                    <a:pt x="0" y="254"/>
                  </a:lnTo>
                  <a:close/>
                </a:path>
              </a:pathLst>
            </a:custGeom>
            <a:solidFill>
              <a:srgbClr val="000000"/>
            </a:solidFill>
            <a:ln w="12690"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6AAB312E-4CB1-452D-BFC5-8C176D723F6F}"/>
                </a:ext>
              </a:extLst>
            </p:cNvPr>
            <p:cNvSpPr/>
            <p:nvPr/>
          </p:nvSpPr>
          <p:spPr>
            <a:xfrm>
              <a:off x="8942882" y="2295563"/>
              <a:ext cx="12696" cy="761"/>
            </a:xfrm>
            <a:custGeom>
              <a:avLst/>
              <a:gdLst>
                <a:gd name="connsiteX0" fmla="*/ 0 w 12696"/>
                <a:gd name="connsiteY0" fmla="*/ 0 h 761"/>
                <a:gd name="connsiteX1" fmla="*/ 0 w 12696"/>
                <a:gd name="connsiteY1" fmla="*/ 762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762"/>
                  </a:lnTo>
                  <a:lnTo>
                    <a:pt x="0" y="762"/>
                  </a:lnTo>
                  <a:close/>
                </a:path>
              </a:pathLst>
            </a:custGeom>
            <a:solidFill>
              <a:srgbClr val="000000"/>
            </a:solidFill>
            <a:ln w="12690" cap="flat">
              <a:no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6E47ADDE-C601-4FFE-8BE1-3A785F358604}"/>
                </a:ext>
              </a:extLst>
            </p:cNvPr>
            <p:cNvSpPr/>
            <p:nvPr/>
          </p:nvSpPr>
          <p:spPr>
            <a:xfrm>
              <a:off x="8941104" y="2294547"/>
              <a:ext cx="1015" cy="12696"/>
            </a:xfrm>
            <a:custGeom>
              <a:avLst/>
              <a:gdLst>
                <a:gd name="connsiteX0" fmla="*/ 0 w 1015"/>
                <a:gd name="connsiteY0" fmla="*/ 0 h 12696"/>
                <a:gd name="connsiteX1" fmla="*/ 1016 w 1015"/>
                <a:gd name="connsiteY1" fmla="*/ 0 h 12696"/>
                <a:gd name="connsiteX2" fmla="*/ 253 w 1015"/>
                <a:gd name="connsiteY2" fmla="*/ 0 h 12696"/>
              </a:gdLst>
              <a:ahLst/>
              <a:cxnLst>
                <a:cxn ang="0">
                  <a:pos x="connsiteX0" y="connsiteY0"/>
                </a:cxn>
                <a:cxn ang="0">
                  <a:pos x="connsiteX1" y="connsiteY1"/>
                </a:cxn>
                <a:cxn ang="0">
                  <a:pos x="connsiteX2" y="connsiteY2"/>
                </a:cxn>
              </a:cxnLst>
              <a:rect l="l" t="t" r="r" b="b"/>
              <a:pathLst>
                <a:path w="1015" h="12696">
                  <a:moveTo>
                    <a:pt x="0" y="0"/>
                  </a:moveTo>
                  <a:lnTo>
                    <a:pt x="1016" y="0"/>
                  </a:lnTo>
                  <a:lnTo>
                    <a:pt x="253" y="0"/>
                  </a:lnTo>
                  <a:close/>
                </a:path>
              </a:pathLst>
            </a:custGeom>
            <a:solidFill>
              <a:srgbClr val="000000"/>
            </a:solidFill>
            <a:ln w="12690"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4D99BDBF-544E-4799-882E-F0560BECC1E7}"/>
                </a:ext>
              </a:extLst>
            </p:cNvPr>
            <p:cNvSpPr/>
            <p:nvPr/>
          </p:nvSpPr>
          <p:spPr>
            <a:xfrm>
              <a:off x="8933739" y="2299118"/>
              <a:ext cx="11014" cy="164041"/>
            </a:xfrm>
            <a:custGeom>
              <a:avLst/>
              <a:gdLst>
                <a:gd name="connsiteX0" fmla="*/ 0 w 11014"/>
                <a:gd name="connsiteY0" fmla="*/ 164041 h 164041"/>
                <a:gd name="connsiteX1" fmla="*/ 5460 w 11014"/>
                <a:gd name="connsiteY1" fmla="*/ 159217 h 164041"/>
                <a:gd name="connsiteX2" fmla="*/ 10919 w 11014"/>
                <a:gd name="connsiteY2" fmla="*/ 164041 h 164041"/>
                <a:gd name="connsiteX3" fmla="*/ 10919 w 11014"/>
                <a:gd name="connsiteY3" fmla="*/ 0 h 164041"/>
                <a:gd name="connsiteX4" fmla="*/ 10919 w 11014"/>
                <a:gd name="connsiteY4" fmla="*/ 0 h 164041"/>
                <a:gd name="connsiteX5" fmla="*/ 10919 w 11014"/>
                <a:gd name="connsiteY5" fmla="*/ 1651 h 164041"/>
                <a:gd name="connsiteX6" fmla="*/ 5841 w 11014"/>
                <a:gd name="connsiteY6" fmla="*/ 5079 h 164041"/>
                <a:gd name="connsiteX7" fmla="*/ 4190 w 11014"/>
                <a:gd name="connsiteY7" fmla="*/ 5079 h 164041"/>
                <a:gd name="connsiteX8" fmla="*/ 381 w 11014"/>
                <a:gd name="connsiteY8" fmla="*/ 3936 h 164041"/>
                <a:gd name="connsiteX9" fmla="*/ 381 w 11014"/>
                <a:gd name="connsiteY9" fmla="*/ 164041 h 16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4" h="164041">
                  <a:moveTo>
                    <a:pt x="0" y="164041"/>
                  </a:moveTo>
                  <a:cubicBezTo>
                    <a:pt x="203" y="161210"/>
                    <a:pt x="2629" y="159077"/>
                    <a:pt x="5460" y="159217"/>
                  </a:cubicBezTo>
                  <a:cubicBezTo>
                    <a:pt x="8291" y="159077"/>
                    <a:pt x="10716" y="161210"/>
                    <a:pt x="10919" y="164041"/>
                  </a:cubicBezTo>
                  <a:lnTo>
                    <a:pt x="10919" y="0"/>
                  </a:lnTo>
                  <a:lnTo>
                    <a:pt x="10919" y="0"/>
                  </a:lnTo>
                  <a:cubicBezTo>
                    <a:pt x="11046" y="546"/>
                    <a:pt x="11046" y="1105"/>
                    <a:pt x="10919" y="1651"/>
                  </a:cubicBezTo>
                  <a:cubicBezTo>
                    <a:pt x="10145" y="3771"/>
                    <a:pt x="8101" y="5155"/>
                    <a:pt x="5841" y="5079"/>
                  </a:cubicBezTo>
                  <a:lnTo>
                    <a:pt x="4190" y="5079"/>
                  </a:lnTo>
                  <a:lnTo>
                    <a:pt x="381" y="3936"/>
                  </a:lnTo>
                  <a:lnTo>
                    <a:pt x="381" y="164041"/>
                  </a:lnTo>
                  <a:close/>
                </a:path>
              </a:pathLst>
            </a:custGeom>
            <a:solidFill>
              <a:srgbClr val="000000"/>
            </a:solidFill>
            <a:ln w="12690" cap="flat">
              <a:no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3BD441C6-EB70-4E7A-808D-0F1B70A3A3E2}"/>
                </a:ext>
              </a:extLst>
            </p:cNvPr>
            <p:cNvSpPr/>
            <p:nvPr/>
          </p:nvSpPr>
          <p:spPr>
            <a:xfrm>
              <a:off x="8932723" y="2458328"/>
              <a:ext cx="10967" cy="466870"/>
            </a:xfrm>
            <a:custGeom>
              <a:avLst/>
              <a:gdLst>
                <a:gd name="connsiteX0" fmla="*/ 1016 w 10967"/>
                <a:gd name="connsiteY0" fmla="*/ 461913 h 466870"/>
                <a:gd name="connsiteX1" fmla="*/ 6463 w 10967"/>
                <a:gd name="connsiteY1" fmla="*/ 466864 h 466870"/>
                <a:gd name="connsiteX2" fmla="*/ 6476 w 10967"/>
                <a:gd name="connsiteY2" fmla="*/ 466864 h 466870"/>
                <a:gd name="connsiteX3" fmla="*/ 10158 w 10967"/>
                <a:gd name="connsiteY3" fmla="*/ 465468 h 466870"/>
                <a:gd name="connsiteX4" fmla="*/ 10920 w 10967"/>
                <a:gd name="connsiteY4" fmla="*/ 464579 h 466870"/>
                <a:gd name="connsiteX5" fmla="*/ 10920 w 10967"/>
                <a:gd name="connsiteY5" fmla="*/ 464579 h 466870"/>
                <a:gd name="connsiteX6" fmla="*/ 10920 w 10967"/>
                <a:gd name="connsiteY6" fmla="*/ 463817 h 466870"/>
                <a:gd name="connsiteX7" fmla="*/ 10920 w 10967"/>
                <a:gd name="connsiteY7" fmla="*/ 462674 h 466870"/>
                <a:gd name="connsiteX8" fmla="*/ 10920 w 10967"/>
                <a:gd name="connsiteY8" fmla="*/ 462674 h 466870"/>
                <a:gd name="connsiteX9" fmla="*/ 10920 w 10967"/>
                <a:gd name="connsiteY9" fmla="*/ 4831 h 466870"/>
                <a:gd name="connsiteX10" fmla="*/ 5460 w 10967"/>
                <a:gd name="connsiteY10" fmla="*/ 6 h 466870"/>
                <a:gd name="connsiteX11" fmla="*/ 0 w 10967"/>
                <a:gd name="connsiteY11" fmla="*/ 4831 h 466870"/>
                <a:gd name="connsiteX12" fmla="*/ 0 w 10967"/>
                <a:gd name="connsiteY12" fmla="*/ 461913 h 46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67" h="466870">
                  <a:moveTo>
                    <a:pt x="1016" y="461913"/>
                  </a:moveTo>
                  <a:cubicBezTo>
                    <a:pt x="1155" y="464782"/>
                    <a:pt x="3593" y="467004"/>
                    <a:pt x="6463" y="466864"/>
                  </a:cubicBezTo>
                  <a:cubicBezTo>
                    <a:pt x="6463" y="466864"/>
                    <a:pt x="6476" y="466864"/>
                    <a:pt x="6476" y="466864"/>
                  </a:cubicBezTo>
                  <a:cubicBezTo>
                    <a:pt x="7834" y="466864"/>
                    <a:pt x="9142" y="466369"/>
                    <a:pt x="10158" y="465468"/>
                  </a:cubicBezTo>
                  <a:lnTo>
                    <a:pt x="10920" y="464579"/>
                  </a:lnTo>
                  <a:lnTo>
                    <a:pt x="10920" y="464579"/>
                  </a:lnTo>
                  <a:cubicBezTo>
                    <a:pt x="10983" y="464325"/>
                    <a:pt x="10983" y="464071"/>
                    <a:pt x="10920" y="463817"/>
                  </a:cubicBezTo>
                  <a:cubicBezTo>
                    <a:pt x="10983" y="463436"/>
                    <a:pt x="10983" y="463055"/>
                    <a:pt x="10920" y="462674"/>
                  </a:cubicBezTo>
                  <a:lnTo>
                    <a:pt x="10920" y="462674"/>
                  </a:lnTo>
                  <a:lnTo>
                    <a:pt x="10920" y="4831"/>
                  </a:lnTo>
                  <a:cubicBezTo>
                    <a:pt x="10716" y="2000"/>
                    <a:pt x="8291" y="-133"/>
                    <a:pt x="5460" y="6"/>
                  </a:cubicBezTo>
                  <a:cubicBezTo>
                    <a:pt x="2629" y="-133"/>
                    <a:pt x="204" y="2000"/>
                    <a:pt x="0" y="4831"/>
                  </a:cubicBezTo>
                  <a:lnTo>
                    <a:pt x="0" y="461913"/>
                  </a:lnTo>
                  <a:close/>
                </a:path>
              </a:pathLst>
            </a:custGeom>
            <a:solidFill>
              <a:srgbClr val="000000"/>
            </a:solidFill>
            <a:ln w="12690" cap="flat">
              <a:no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51736B3E-0E86-44B6-A536-77E55FEC495A}"/>
                </a:ext>
              </a:extLst>
            </p:cNvPr>
            <p:cNvSpPr/>
            <p:nvPr/>
          </p:nvSpPr>
          <p:spPr>
            <a:xfrm>
              <a:off x="4058032" y="819063"/>
              <a:ext cx="700991" cy="219399"/>
            </a:xfrm>
            <a:custGeom>
              <a:avLst/>
              <a:gdLst>
                <a:gd name="connsiteX0" fmla="*/ 6856 w 700991"/>
                <a:gd name="connsiteY0" fmla="*/ 6221 h 219399"/>
                <a:gd name="connsiteX1" fmla="*/ 1651 w 700991"/>
                <a:gd name="connsiteY1" fmla="*/ 9649 h 219399"/>
                <a:gd name="connsiteX2" fmla="*/ 0 w 700991"/>
                <a:gd name="connsiteY2" fmla="*/ 9649 h 219399"/>
                <a:gd name="connsiteX3" fmla="*/ 0 w 700991"/>
                <a:gd name="connsiteY3" fmla="*/ 9649 h 219399"/>
                <a:gd name="connsiteX4" fmla="*/ 688549 w 700991"/>
                <a:gd name="connsiteY4" fmla="*/ 217875 h 219399"/>
                <a:gd name="connsiteX5" fmla="*/ 693755 w 700991"/>
                <a:gd name="connsiteY5" fmla="*/ 219399 h 219399"/>
                <a:gd name="connsiteX6" fmla="*/ 693755 w 700991"/>
                <a:gd name="connsiteY6" fmla="*/ 215844 h 219399"/>
                <a:gd name="connsiteX7" fmla="*/ 699088 w 700991"/>
                <a:gd name="connsiteY7" fmla="*/ 210892 h 219399"/>
                <a:gd name="connsiteX8" fmla="*/ 700992 w 700991"/>
                <a:gd name="connsiteY8" fmla="*/ 210892 h 219399"/>
                <a:gd name="connsiteX9" fmla="*/ 700992 w 700991"/>
                <a:gd name="connsiteY9" fmla="*/ 210892 h 219399"/>
                <a:gd name="connsiteX10" fmla="*/ 410489 w 700991"/>
                <a:gd name="connsiteY10" fmla="*/ 123031 h 219399"/>
                <a:gd name="connsiteX11" fmla="*/ 3555 w 700991"/>
                <a:gd name="connsiteY11" fmla="*/ 0 h 219399"/>
                <a:gd name="connsiteX12" fmla="*/ 3555 w 700991"/>
                <a:gd name="connsiteY12" fmla="*/ 0 h 219399"/>
                <a:gd name="connsiteX13" fmla="*/ 6869 w 700991"/>
                <a:gd name="connsiteY13" fmla="*/ 6167 h 219399"/>
                <a:gd name="connsiteX14" fmla="*/ 6856 w 700991"/>
                <a:gd name="connsiteY14" fmla="*/ 6221 h 2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991" h="219399">
                  <a:moveTo>
                    <a:pt x="6856" y="6221"/>
                  </a:moveTo>
                  <a:cubicBezTo>
                    <a:pt x="5980" y="8316"/>
                    <a:pt x="3924" y="9671"/>
                    <a:pt x="1651" y="9649"/>
                  </a:cubicBezTo>
                  <a:lnTo>
                    <a:pt x="0" y="9649"/>
                  </a:lnTo>
                  <a:lnTo>
                    <a:pt x="0" y="9649"/>
                  </a:lnTo>
                  <a:lnTo>
                    <a:pt x="688549" y="217875"/>
                  </a:lnTo>
                  <a:lnTo>
                    <a:pt x="693755" y="219399"/>
                  </a:lnTo>
                  <a:lnTo>
                    <a:pt x="693755" y="215844"/>
                  </a:lnTo>
                  <a:cubicBezTo>
                    <a:pt x="693894" y="213019"/>
                    <a:pt x="696256" y="210820"/>
                    <a:pt x="699088" y="210892"/>
                  </a:cubicBezTo>
                  <a:cubicBezTo>
                    <a:pt x="699709" y="210746"/>
                    <a:pt x="700370" y="210746"/>
                    <a:pt x="700992" y="210892"/>
                  </a:cubicBezTo>
                  <a:lnTo>
                    <a:pt x="700992" y="210892"/>
                  </a:lnTo>
                  <a:lnTo>
                    <a:pt x="410489" y="123031"/>
                  </a:lnTo>
                  <a:lnTo>
                    <a:pt x="3555" y="0"/>
                  </a:lnTo>
                  <a:lnTo>
                    <a:pt x="3555" y="0"/>
                  </a:lnTo>
                  <a:cubicBezTo>
                    <a:pt x="6171" y="787"/>
                    <a:pt x="7657" y="3547"/>
                    <a:pt x="6869" y="6167"/>
                  </a:cubicBezTo>
                  <a:cubicBezTo>
                    <a:pt x="6869" y="6185"/>
                    <a:pt x="6856" y="6204"/>
                    <a:pt x="6856" y="6221"/>
                  </a:cubicBezTo>
                  <a:close/>
                </a:path>
              </a:pathLst>
            </a:custGeom>
            <a:solidFill>
              <a:srgbClr val="000000"/>
            </a:solidFill>
            <a:ln w="12690" cap="flat">
              <a:no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84DA01D0-F953-40E6-8A2C-3948A30B3DC5}"/>
                </a:ext>
              </a:extLst>
            </p:cNvPr>
            <p:cNvSpPr/>
            <p:nvPr/>
          </p:nvSpPr>
          <p:spPr>
            <a:xfrm>
              <a:off x="4751786" y="1032131"/>
              <a:ext cx="10820" cy="207192"/>
            </a:xfrm>
            <a:custGeom>
              <a:avLst/>
              <a:gdLst>
                <a:gd name="connsiteX0" fmla="*/ 0 w 10820"/>
                <a:gd name="connsiteY0" fmla="*/ 207193 h 207192"/>
                <a:gd name="connsiteX1" fmla="*/ 6221 w 10820"/>
                <a:gd name="connsiteY1" fmla="*/ 202627 h 207192"/>
                <a:gd name="connsiteX2" fmla="*/ 10792 w 10820"/>
                <a:gd name="connsiteY2" fmla="*/ 207193 h 207192"/>
                <a:gd name="connsiteX3" fmla="*/ 10792 w 10820"/>
                <a:gd name="connsiteY3" fmla="*/ 2776 h 207192"/>
                <a:gd name="connsiteX4" fmla="*/ 10792 w 10820"/>
                <a:gd name="connsiteY4" fmla="*/ 1760 h 207192"/>
                <a:gd name="connsiteX5" fmla="*/ 10792 w 10820"/>
                <a:gd name="connsiteY5" fmla="*/ 998 h 207192"/>
                <a:gd name="connsiteX6" fmla="*/ 10157 w 10820"/>
                <a:gd name="connsiteY6" fmla="*/ 110 h 207192"/>
                <a:gd name="connsiteX7" fmla="*/ 9523 w 10820"/>
                <a:gd name="connsiteY7" fmla="*/ 110 h 207192"/>
                <a:gd name="connsiteX8" fmla="*/ 8761 w 10820"/>
                <a:gd name="connsiteY8" fmla="*/ 110 h 207192"/>
                <a:gd name="connsiteX9" fmla="*/ 7745 w 10820"/>
                <a:gd name="connsiteY9" fmla="*/ 110 h 207192"/>
                <a:gd name="connsiteX10" fmla="*/ 5840 w 10820"/>
                <a:gd name="connsiteY10" fmla="*/ 110 h 207192"/>
                <a:gd name="connsiteX11" fmla="*/ 508 w 10820"/>
                <a:gd name="connsiteY11" fmla="*/ 5061 h 207192"/>
                <a:gd name="connsiteX12" fmla="*/ 508 w 10820"/>
                <a:gd name="connsiteY12" fmla="*/ 207193 h 2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20" h="207192">
                  <a:moveTo>
                    <a:pt x="0" y="207193"/>
                  </a:moveTo>
                  <a:cubicBezTo>
                    <a:pt x="457" y="204213"/>
                    <a:pt x="3251" y="202169"/>
                    <a:pt x="6221" y="202627"/>
                  </a:cubicBezTo>
                  <a:cubicBezTo>
                    <a:pt x="8583" y="202989"/>
                    <a:pt x="10424" y="204838"/>
                    <a:pt x="10792" y="207193"/>
                  </a:cubicBezTo>
                  <a:lnTo>
                    <a:pt x="10792" y="2776"/>
                  </a:lnTo>
                  <a:cubicBezTo>
                    <a:pt x="10830" y="2438"/>
                    <a:pt x="10830" y="2098"/>
                    <a:pt x="10792" y="1760"/>
                  </a:cubicBezTo>
                  <a:cubicBezTo>
                    <a:pt x="10792" y="1760"/>
                    <a:pt x="10792" y="1760"/>
                    <a:pt x="10792" y="998"/>
                  </a:cubicBezTo>
                  <a:cubicBezTo>
                    <a:pt x="10792" y="236"/>
                    <a:pt x="10792" y="998"/>
                    <a:pt x="10157" y="110"/>
                  </a:cubicBezTo>
                  <a:lnTo>
                    <a:pt x="9523" y="110"/>
                  </a:lnTo>
                  <a:cubicBezTo>
                    <a:pt x="9523" y="110"/>
                    <a:pt x="9523" y="110"/>
                    <a:pt x="8761" y="110"/>
                  </a:cubicBezTo>
                  <a:lnTo>
                    <a:pt x="7745" y="110"/>
                  </a:lnTo>
                  <a:cubicBezTo>
                    <a:pt x="7123" y="-37"/>
                    <a:pt x="6463" y="-37"/>
                    <a:pt x="5840" y="110"/>
                  </a:cubicBezTo>
                  <a:cubicBezTo>
                    <a:pt x="3009" y="37"/>
                    <a:pt x="647" y="2236"/>
                    <a:pt x="508" y="5061"/>
                  </a:cubicBezTo>
                  <a:lnTo>
                    <a:pt x="508" y="207193"/>
                  </a:lnTo>
                  <a:close/>
                </a:path>
              </a:pathLst>
            </a:custGeom>
            <a:solidFill>
              <a:srgbClr val="000000"/>
            </a:solidFill>
            <a:ln w="12690" cap="flat">
              <a:no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16F3DD82-C62A-439A-B745-EBBB0875A551}"/>
                </a:ext>
              </a:extLst>
            </p:cNvPr>
            <p:cNvSpPr/>
            <p:nvPr/>
          </p:nvSpPr>
          <p:spPr>
            <a:xfrm>
              <a:off x="4750771" y="1234694"/>
              <a:ext cx="10830" cy="426294"/>
            </a:xfrm>
            <a:custGeom>
              <a:avLst/>
              <a:gdLst>
                <a:gd name="connsiteX0" fmla="*/ 1016 w 10830"/>
                <a:gd name="connsiteY0" fmla="*/ 421463 h 426294"/>
                <a:gd name="connsiteX1" fmla="*/ 6336 w 10830"/>
                <a:gd name="connsiteY1" fmla="*/ 426288 h 426294"/>
                <a:gd name="connsiteX2" fmla="*/ 6348 w 10830"/>
                <a:gd name="connsiteY2" fmla="*/ 426288 h 426294"/>
                <a:gd name="connsiteX3" fmla="*/ 10030 w 10830"/>
                <a:gd name="connsiteY3" fmla="*/ 425018 h 426294"/>
                <a:gd name="connsiteX4" fmla="*/ 10792 w 10830"/>
                <a:gd name="connsiteY4" fmla="*/ 424129 h 426294"/>
                <a:gd name="connsiteX5" fmla="*/ 10792 w 10830"/>
                <a:gd name="connsiteY5" fmla="*/ 423494 h 426294"/>
                <a:gd name="connsiteX6" fmla="*/ 10792 w 10830"/>
                <a:gd name="connsiteY6" fmla="*/ 422605 h 426294"/>
                <a:gd name="connsiteX7" fmla="*/ 10792 w 10830"/>
                <a:gd name="connsiteY7" fmla="*/ 421590 h 426294"/>
                <a:gd name="connsiteX8" fmla="*/ 10792 w 10830"/>
                <a:gd name="connsiteY8" fmla="*/ 421590 h 426294"/>
                <a:gd name="connsiteX9" fmla="*/ 10792 w 10830"/>
                <a:gd name="connsiteY9" fmla="*/ 4630 h 426294"/>
                <a:gd name="connsiteX10" fmla="*/ 4571 w 10830"/>
                <a:gd name="connsiteY10" fmla="*/ 64 h 426294"/>
                <a:gd name="connsiteX11" fmla="*/ 0 w 10830"/>
                <a:gd name="connsiteY11" fmla="*/ 4630 h 426294"/>
                <a:gd name="connsiteX12" fmla="*/ 0 w 10830"/>
                <a:gd name="connsiteY12" fmla="*/ 421463 h 4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0" h="426294">
                  <a:moveTo>
                    <a:pt x="1016" y="421463"/>
                  </a:moveTo>
                  <a:cubicBezTo>
                    <a:pt x="1155" y="424269"/>
                    <a:pt x="3530" y="426427"/>
                    <a:pt x="6336" y="426288"/>
                  </a:cubicBezTo>
                  <a:cubicBezTo>
                    <a:pt x="6336" y="426288"/>
                    <a:pt x="6348" y="426288"/>
                    <a:pt x="6348" y="426288"/>
                  </a:cubicBezTo>
                  <a:cubicBezTo>
                    <a:pt x="7694" y="426326"/>
                    <a:pt x="8989" y="425869"/>
                    <a:pt x="10030" y="425018"/>
                  </a:cubicBezTo>
                  <a:cubicBezTo>
                    <a:pt x="10348" y="424789"/>
                    <a:pt x="10615" y="424485"/>
                    <a:pt x="10792" y="424129"/>
                  </a:cubicBezTo>
                  <a:lnTo>
                    <a:pt x="10792" y="423494"/>
                  </a:lnTo>
                  <a:cubicBezTo>
                    <a:pt x="10792" y="423494"/>
                    <a:pt x="10792" y="423494"/>
                    <a:pt x="10792" y="422605"/>
                  </a:cubicBezTo>
                  <a:cubicBezTo>
                    <a:pt x="10843" y="422275"/>
                    <a:pt x="10843" y="421920"/>
                    <a:pt x="10792" y="421590"/>
                  </a:cubicBezTo>
                  <a:lnTo>
                    <a:pt x="10792" y="421590"/>
                  </a:lnTo>
                  <a:lnTo>
                    <a:pt x="10792" y="4630"/>
                  </a:lnTo>
                  <a:cubicBezTo>
                    <a:pt x="10335" y="1650"/>
                    <a:pt x="7542" y="-394"/>
                    <a:pt x="4571" y="64"/>
                  </a:cubicBezTo>
                  <a:cubicBezTo>
                    <a:pt x="2209" y="426"/>
                    <a:pt x="368" y="2275"/>
                    <a:pt x="0" y="4630"/>
                  </a:cubicBezTo>
                  <a:lnTo>
                    <a:pt x="0" y="421463"/>
                  </a:lnTo>
                  <a:close/>
                </a:path>
              </a:pathLst>
            </a:custGeom>
            <a:solidFill>
              <a:srgbClr val="000000"/>
            </a:solidFill>
            <a:ln w="12690" cap="flat">
              <a:noFill/>
              <a:prstDash val="solid"/>
              <a:miter/>
            </a:ln>
          </p:spPr>
          <p:txBody>
            <a:bodyPr rtlCol="0" anchor="ctr"/>
            <a:lstStyle/>
            <a:p>
              <a:endParaRPr lang="en-US"/>
            </a:p>
          </p:txBody>
        </p:sp>
        <p:sp>
          <p:nvSpPr>
            <p:cNvPr id="679" name="Freeform: Shape 678">
              <a:extLst>
                <a:ext uri="{FF2B5EF4-FFF2-40B4-BE49-F238E27FC236}">
                  <a16:creationId xmlns:a16="http://schemas.microsoft.com/office/drawing/2014/main" id="{91B7EBCE-97C2-4787-9777-40267268583D}"/>
                </a:ext>
              </a:extLst>
            </p:cNvPr>
            <p:cNvSpPr/>
            <p:nvPr/>
          </p:nvSpPr>
          <p:spPr>
            <a:xfrm>
              <a:off x="10792935" y="1740463"/>
              <a:ext cx="10792" cy="82782"/>
            </a:xfrm>
            <a:custGeom>
              <a:avLst/>
              <a:gdLst>
                <a:gd name="connsiteX0" fmla="*/ 10793 w 10792"/>
                <a:gd name="connsiteY0" fmla="*/ 2285 h 82782"/>
                <a:gd name="connsiteX1" fmla="*/ 9015 w 10792"/>
                <a:gd name="connsiteY1" fmla="*/ 3809 h 82782"/>
                <a:gd name="connsiteX2" fmla="*/ 5460 w 10792"/>
                <a:gd name="connsiteY2" fmla="*/ 4952 h 82782"/>
                <a:gd name="connsiteX3" fmla="*/ 1397 w 10792"/>
                <a:gd name="connsiteY3" fmla="*/ 3428 h 82782"/>
                <a:gd name="connsiteX4" fmla="*/ 0 w 10792"/>
                <a:gd name="connsiteY4" fmla="*/ 0 h 82782"/>
                <a:gd name="connsiteX5" fmla="*/ 0 w 10792"/>
                <a:gd name="connsiteY5" fmla="*/ 0 h 82782"/>
                <a:gd name="connsiteX6" fmla="*/ 0 w 10792"/>
                <a:gd name="connsiteY6" fmla="*/ 82783 h 82782"/>
                <a:gd name="connsiteX7" fmla="*/ 6222 w 10792"/>
                <a:gd name="connsiteY7" fmla="*/ 78212 h 82782"/>
                <a:gd name="connsiteX8" fmla="*/ 10793 w 10792"/>
                <a:gd name="connsiteY8" fmla="*/ 82783 h 82782"/>
                <a:gd name="connsiteX9" fmla="*/ 10793 w 10792"/>
                <a:gd name="connsiteY9" fmla="*/ 2158 h 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2" h="82782">
                  <a:moveTo>
                    <a:pt x="10793" y="2285"/>
                  </a:moveTo>
                  <a:lnTo>
                    <a:pt x="9015" y="3809"/>
                  </a:lnTo>
                  <a:cubicBezTo>
                    <a:pt x="7987" y="4558"/>
                    <a:pt x="6742" y="4964"/>
                    <a:pt x="5460" y="4952"/>
                  </a:cubicBezTo>
                  <a:cubicBezTo>
                    <a:pt x="3962" y="5002"/>
                    <a:pt x="2502" y="4457"/>
                    <a:pt x="1397" y="3428"/>
                  </a:cubicBezTo>
                  <a:cubicBezTo>
                    <a:pt x="495" y="2514"/>
                    <a:pt x="-12" y="1282"/>
                    <a:pt x="0" y="0"/>
                  </a:cubicBezTo>
                  <a:lnTo>
                    <a:pt x="0" y="0"/>
                  </a:lnTo>
                  <a:lnTo>
                    <a:pt x="0" y="82783"/>
                  </a:lnTo>
                  <a:cubicBezTo>
                    <a:pt x="457" y="79799"/>
                    <a:pt x="3251" y="77755"/>
                    <a:pt x="6222" y="78212"/>
                  </a:cubicBezTo>
                  <a:cubicBezTo>
                    <a:pt x="8584" y="78580"/>
                    <a:pt x="10424" y="80421"/>
                    <a:pt x="10793" y="82783"/>
                  </a:cubicBezTo>
                  <a:lnTo>
                    <a:pt x="10793" y="2158"/>
                  </a:lnTo>
                  <a:close/>
                </a:path>
              </a:pathLst>
            </a:custGeom>
            <a:solidFill>
              <a:srgbClr val="000000"/>
            </a:solidFill>
            <a:ln w="12690" cap="flat">
              <a:noFill/>
              <a:prstDash val="solid"/>
              <a:miter/>
            </a:ln>
          </p:spPr>
          <p:txBody>
            <a:bodyPr rtlCol="0" anchor="ctr"/>
            <a:lstStyle/>
            <a:p>
              <a:endParaRPr lang="en-US"/>
            </a:p>
          </p:txBody>
        </p:sp>
        <p:sp>
          <p:nvSpPr>
            <p:cNvPr id="680" name="Freeform: Shape 679">
              <a:extLst>
                <a:ext uri="{FF2B5EF4-FFF2-40B4-BE49-F238E27FC236}">
                  <a16:creationId xmlns:a16="http://schemas.microsoft.com/office/drawing/2014/main" id="{C1E3587A-1B43-46CF-B9AD-4AF2BB4C46A3}"/>
                </a:ext>
              </a:extLst>
            </p:cNvPr>
            <p:cNvSpPr/>
            <p:nvPr/>
          </p:nvSpPr>
          <p:spPr>
            <a:xfrm>
              <a:off x="10793085" y="1738685"/>
              <a:ext cx="104" cy="761"/>
            </a:xfrm>
            <a:custGeom>
              <a:avLst/>
              <a:gdLst>
                <a:gd name="connsiteX0" fmla="*/ 105 w 104"/>
                <a:gd name="connsiteY0" fmla="*/ 762 h 761"/>
                <a:gd name="connsiteX1" fmla="*/ 105 w 104"/>
                <a:gd name="connsiteY1" fmla="*/ 0 h 761"/>
                <a:gd name="connsiteX2" fmla="*/ 105 w 104"/>
                <a:gd name="connsiteY2" fmla="*/ 0 h 761"/>
                <a:gd name="connsiteX3" fmla="*/ 105 w 104"/>
                <a:gd name="connsiteY3" fmla="*/ 762 h 761"/>
              </a:gdLst>
              <a:ahLst/>
              <a:cxnLst>
                <a:cxn ang="0">
                  <a:pos x="connsiteX0" y="connsiteY0"/>
                </a:cxn>
                <a:cxn ang="0">
                  <a:pos x="connsiteX1" y="connsiteY1"/>
                </a:cxn>
                <a:cxn ang="0">
                  <a:pos x="connsiteX2" y="connsiteY2"/>
                </a:cxn>
                <a:cxn ang="0">
                  <a:pos x="connsiteX3" y="connsiteY3"/>
                </a:cxn>
              </a:cxnLst>
              <a:rect l="l" t="t" r="r" b="b"/>
              <a:pathLst>
                <a:path w="104" h="761">
                  <a:moveTo>
                    <a:pt x="105" y="762"/>
                  </a:moveTo>
                  <a:cubicBezTo>
                    <a:pt x="105" y="762"/>
                    <a:pt x="105" y="762"/>
                    <a:pt x="105" y="0"/>
                  </a:cubicBezTo>
                  <a:lnTo>
                    <a:pt x="105" y="0"/>
                  </a:lnTo>
                  <a:cubicBezTo>
                    <a:pt x="-35" y="241"/>
                    <a:pt x="-35" y="521"/>
                    <a:pt x="105" y="762"/>
                  </a:cubicBezTo>
                  <a:close/>
                </a:path>
              </a:pathLst>
            </a:custGeom>
            <a:solidFill>
              <a:srgbClr val="000000"/>
            </a:solidFill>
            <a:ln w="12690" cap="flat">
              <a:noFill/>
              <a:prstDash val="solid"/>
              <a:miter/>
            </a:ln>
          </p:spPr>
          <p:txBody>
            <a:bodyPr rtlCol="0" anchor="ctr"/>
            <a:lstStyle/>
            <a:p>
              <a:endParaRPr lang="en-US"/>
            </a:p>
          </p:txBody>
        </p:sp>
        <p:sp>
          <p:nvSpPr>
            <p:cNvPr id="681" name="Freeform: Shape 680">
              <a:extLst>
                <a:ext uri="{FF2B5EF4-FFF2-40B4-BE49-F238E27FC236}">
                  <a16:creationId xmlns:a16="http://schemas.microsoft.com/office/drawing/2014/main" id="{9FF6E681-9C8A-487F-9975-058303F46827}"/>
                </a:ext>
              </a:extLst>
            </p:cNvPr>
            <p:cNvSpPr/>
            <p:nvPr/>
          </p:nvSpPr>
          <p:spPr>
            <a:xfrm>
              <a:off x="10793951" y="1737035"/>
              <a:ext cx="12696" cy="888"/>
            </a:xfrm>
            <a:custGeom>
              <a:avLst/>
              <a:gdLst>
                <a:gd name="connsiteX0" fmla="*/ 0 w 12696"/>
                <a:gd name="connsiteY0" fmla="*/ 889 h 888"/>
                <a:gd name="connsiteX1" fmla="*/ 0 w 12696"/>
                <a:gd name="connsiteY1" fmla="*/ 0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82" name="Freeform: Shape 681">
              <a:extLst>
                <a:ext uri="{FF2B5EF4-FFF2-40B4-BE49-F238E27FC236}">
                  <a16:creationId xmlns:a16="http://schemas.microsoft.com/office/drawing/2014/main" id="{A599E89D-5544-486F-98A4-790FFADB286A}"/>
                </a:ext>
              </a:extLst>
            </p:cNvPr>
            <p:cNvSpPr/>
            <p:nvPr/>
          </p:nvSpPr>
          <p:spPr>
            <a:xfrm>
              <a:off x="10792898" y="1818738"/>
              <a:ext cx="10830" cy="339897"/>
            </a:xfrm>
            <a:custGeom>
              <a:avLst/>
              <a:gdLst>
                <a:gd name="connsiteX0" fmla="*/ 10831 w 10830"/>
                <a:gd name="connsiteY0" fmla="*/ 336146 h 339897"/>
                <a:gd name="connsiteX1" fmla="*/ 10831 w 10830"/>
                <a:gd name="connsiteY1" fmla="*/ 4635 h 339897"/>
                <a:gd name="connsiteX2" fmla="*/ 4608 w 10830"/>
                <a:gd name="connsiteY2" fmla="*/ 64 h 339897"/>
                <a:gd name="connsiteX3" fmla="*/ 38 w 10830"/>
                <a:gd name="connsiteY3" fmla="*/ 4635 h 339897"/>
                <a:gd name="connsiteX4" fmla="*/ 38 w 10830"/>
                <a:gd name="connsiteY4" fmla="*/ 336146 h 339897"/>
                <a:gd name="connsiteX5" fmla="*/ 38 w 10830"/>
                <a:gd name="connsiteY5" fmla="*/ 336146 h 339897"/>
                <a:gd name="connsiteX6" fmla="*/ 38 w 10830"/>
                <a:gd name="connsiteY6" fmla="*/ 337161 h 339897"/>
                <a:gd name="connsiteX7" fmla="*/ 38 w 10830"/>
                <a:gd name="connsiteY7" fmla="*/ 337923 h 339897"/>
                <a:gd name="connsiteX8" fmla="*/ 38 w 10830"/>
                <a:gd name="connsiteY8" fmla="*/ 338685 h 339897"/>
                <a:gd name="connsiteX9" fmla="*/ 38 w 10830"/>
                <a:gd name="connsiteY9" fmla="*/ 339447 h 339897"/>
                <a:gd name="connsiteX10" fmla="*/ 800 w 10830"/>
                <a:gd name="connsiteY10" fmla="*/ 339447 h 339897"/>
                <a:gd name="connsiteX11" fmla="*/ 1816 w 10830"/>
                <a:gd name="connsiteY11" fmla="*/ 339447 h 339897"/>
                <a:gd name="connsiteX12" fmla="*/ 3847 w 10830"/>
                <a:gd name="connsiteY12" fmla="*/ 339447 h 339897"/>
                <a:gd name="connsiteX13" fmla="*/ 10564 w 10830"/>
                <a:gd name="connsiteY13" fmla="*/ 336895 h 339897"/>
                <a:gd name="connsiteX14" fmla="*/ 10831 w 10830"/>
                <a:gd name="connsiteY14" fmla="*/ 336146 h 33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30" h="339897">
                  <a:moveTo>
                    <a:pt x="10831" y="336146"/>
                  </a:moveTo>
                  <a:lnTo>
                    <a:pt x="10831" y="4635"/>
                  </a:lnTo>
                  <a:cubicBezTo>
                    <a:pt x="10373" y="1651"/>
                    <a:pt x="7580" y="-393"/>
                    <a:pt x="4608" y="64"/>
                  </a:cubicBezTo>
                  <a:cubicBezTo>
                    <a:pt x="2247" y="432"/>
                    <a:pt x="406" y="2273"/>
                    <a:pt x="38" y="4635"/>
                  </a:cubicBezTo>
                  <a:lnTo>
                    <a:pt x="38" y="336146"/>
                  </a:lnTo>
                  <a:lnTo>
                    <a:pt x="38" y="336146"/>
                  </a:lnTo>
                  <a:cubicBezTo>
                    <a:pt x="-13" y="336476"/>
                    <a:pt x="-13" y="336831"/>
                    <a:pt x="38" y="337161"/>
                  </a:cubicBezTo>
                  <a:lnTo>
                    <a:pt x="38" y="337923"/>
                  </a:lnTo>
                  <a:cubicBezTo>
                    <a:pt x="38" y="337923"/>
                    <a:pt x="38" y="337923"/>
                    <a:pt x="38" y="338685"/>
                  </a:cubicBezTo>
                  <a:cubicBezTo>
                    <a:pt x="38" y="339447"/>
                    <a:pt x="38" y="338685"/>
                    <a:pt x="38" y="339447"/>
                  </a:cubicBezTo>
                  <a:lnTo>
                    <a:pt x="800" y="339447"/>
                  </a:lnTo>
                  <a:lnTo>
                    <a:pt x="1816" y="339447"/>
                  </a:lnTo>
                  <a:cubicBezTo>
                    <a:pt x="2488" y="339586"/>
                    <a:pt x="3174" y="339586"/>
                    <a:pt x="3847" y="339447"/>
                  </a:cubicBezTo>
                  <a:cubicBezTo>
                    <a:pt x="6399" y="340602"/>
                    <a:pt x="9409" y="339460"/>
                    <a:pt x="10564" y="336895"/>
                  </a:cubicBezTo>
                  <a:cubicBezTo>
                    <a:pt x="10665" y="336653"/>
                    <a:pt x="10754" y="336400"/>
                    <a:pt x="10831" y="336146"/>
                  </a:cubicBezTo>
                  <a:close/>
                </a:path>
              </a:pathLst>
            </a:custGeom>
            <a:solidFill>
              <a:srgbClr val="000000"/>
            </a:solidFill>
            <a:ln w="12690" cap="flat">
              <a:noFill/>
              <a:prstDash val="solid"/>
              <a:miter/>
            </a:ln>
          </p:spPr>
          <p:txBody>
            <a:bodyPr rtlCol="0" anchor="ctr"/>
            <a:lstStyle/>
            <a:p>
              <a:endParaRPr lang="en-US"/>
            </a:p>
          </p:txBody>
        </p:sp>
        <p:sp>
          <p:nvSpPr>
            <p:cNvPr id="683" name="Freeform: Shape 682">
              <a:extLst>
                <a:ext uri="{FF2B5EF4-FFF2-40B4-BE49-F238E27FC236}">
                  <a16:creationId xmlns:a16="http://schemas.microsoft.com/office/drawing/2014/main" id="{5371408D-C2C7-4CBF-9CDB-62D59D99ECC4}"/>
                </a:ext>
              </a:extLst>
            </p:cNvPr>
            <p:cNvSpPr/>
            <p:nvPr/>
          </p:nvSpPr>
          <p:spPr>
            <a:xfrm>
              <a:off x="8492643" y="878737"/>
              <a:ext cx="205443" cy="169120"/>
            </a:xfrm>
            <a:custGeom>
              <a:avLst/>
              <a:gdLst>
                <a:gd name="connsiteX0" fmla="*/ 9 w 205443"/>
                <a:gd name="connsiteY0" fmla="*/ 167343 h 169120"/>
                <a:gd name="connsiteX1" fmla="*/ 9 w 205443"/>
                <a:gd name="connsiteY1" fmla="*/ 168231 h 169120"/>
                <a:gd name="connsiteX2" fmla="*/ 644 w 205443"/>
                <a:gd name="connsiteY2" fmla="*/ 169120 h 169120"/>
                <a:gd name="connsiteX3" fmla="*/ 644 w 205443"/>
                <a:gd name="connsiteY3" fmla="*/ 169120 h 169120"/>
                <a:gd name="connsiteX4" fmla="*/ 644 w 205443"/>
                <a:gd name="connsiteY4" fmla="*/ 169120 h 169120"/>
                <a:gd name="connsiteX5" fmla="*/ 1787 w 205443"/>
                <a:gd name="connsiteY5" fmla="*/ 169120 h 169120"/>
                <a:gd name="connsiteX6" fmla="*/ 2549 w 205443"/>
                <a:gd name="connsiteY6" fmla="*/ 169120 h 169120"/>
                <a:gd name="connsiteX7" fmla="*/ 4453 w 205443"/>
                <a:gd name="connsiteY7" fmla="*/ 169120 h 169120"/>
                <a:gd name="connsiteX8" fmla="*/ 8135 w 205443"/>
                <a:gd name="connsiteY8" fmla="*/ 167850 h 169120"/>
                <a:gd name="connsiteX9" fmla="*/ 14991 w 205443"/>
                <a:gd name="connsiteY9" fmla="*/ 162264 h 169120"/>
                <a:gd name="connsiteX10" fmla="*/ 205444 w 205443"/>
                <a:gd name="connsiteY10" fmla="*/ 7364 h 169120"/>
                <a:gd name="connsiteX11" fmla="*/ 205444 w 205443"/>
                <a:gd name="connsiteY11" fmla="*/ 7364 h 169120"/>
                <a:gd name="connsiteX12" fmla="*/ 201762 w 205443"/>
                <a:gd name="connsiteY12" fmla="*/ 8634 h 169120"/>
                <a:gd name="connsiteX13" fmla="*/ 197826 w 205443"/>
                <a:gd name="connsiteY13" fmla="*/ 6983 h 169120"/>
                <a:gd name="connsiteX14" fmla="*/ 197483 w 205443"/>
                <a:gd name="connsiteY14" fmla="*/ 349 h 169120"/>
                <a:gd name="connsiteX15" fmla="*/ 197826 w 205443"/>
                <a:gd name="connsiteY15" fmla="*/ 0 h 169120"/>
                <a:gd name="connsiteX16" fmla="*/ 197826 w 205443"/>
                <a:gd name="connsiteY16" fmla="*/ 0 h 169120"/>
                <a:gd name="connsiteX17" fmla="*/ 190969 w 205443"/>
                <a:gd name="connsiteY17" fmla="*/ 5587 h 169120"/>
                <a:gd name="connsiteX18" fmla="*/ 1533 w 205443"/>
                <a:gd name="connsiteY18" fmla="*/ 162391 h 169120"/>
                <a:gd name="connsiteX19" fmla="*/ 1533 w 205443"/>
                <a:gd name="connsiteY19" fmla="*/ 162391 h 169120"/>
                <a:gd name="connsiteX20" fmla="*/ 1533 w 205443"/>
                <a:gd name="connsiteY20" fmla="*/ 163153 h 169120"/>
                <a:gd name="connsiteX21" fmla="*/ 1533 w 205443"/>
                <a:gd name="connsiteY21" fmla="*/ 163153 h 169120"/>
                <a:gd name="connsiteX22" fmla="*/ 1533 w 205443"/>
                <a:gd name="connsiteY22" fmla="*/ 163153 h 169120"/>
                <a:gd name="connsiteX23" fmla="*/ 1533 w 205443"/>
                <a:gd name="connsiteY23" fmla="*/ 164041 h 169120"/>
                <a:gd name="connsiteX24" fmla="*/ 1533 w 205443"/>
                <a:gd name="connsiteY24" fmla="*/ 164930 h 169120"/>
                <a:gd name="connsiteX25" fmla="*/ 1533 w 205443"/>
                <a:gd name="connsiteY25" fmla="*/ 164930 h 169120"/>
                <a:gd name="connsiteX26" fmla="*/ 9 w 205443"/>
                <a:gd name="connsiteY26" fmla="*/ 167343 h 16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5443" h="169120">
                  <a:moveTo>
                    <a:pt x="9" y="167343"/>
                  </a:moveTo>
                  <a:cubicBezTo>
                    <a:pt x="-3" y="167638"/>
                    <a:pt x="-3" y="167936"/>
                    <a:pt x="9" y="168231"/>
                  </a:cubicBezTo>
                  <a:lnTo>
                    <a:pt x="644" y="169120"/>
                  </a:lnTo>
                  <a:cubicBezTo>
                    <a:pt x="644" y="169120"/>
                    <a:pt x="644" y="169120"/>
                    <a:pt x="644" y="169120"/>
                  </a:cubicBezTo>
                  <a:cubicBezTo>
                    <a:pt x="644" y="169120"/>
                    <a:pt x="644" y="169120"/>
                    <a:pt x="644" y="169120"/>
                  </a:cubicBezTo>
                  <a:lnTo>
                    <a:pt x="1787" y="169120"/>
                  </a:lnTo>
                  <a:cubicBezTo>
                    <a:pt x="1787" y="169120"/>
                    <a:pt x="1787" y="169120"/>
                    <a:pt x="2549" y="169120"/>
                  </a:cubicBezTo>
                  <a:lnTo>
                    <a:pt x="4453" y="169120"/>
                  </a:lnTo>
                  <a:cubicBezTo>
                    <a:pt x="5787" y="169142"/>
                    <a:pt x="7094" y="168692"/>
                    <a:pt x="8135" y="167850"/>
                  </a:cubicBezTo>
                  <a:lnTo>
                    <a:pt x="14991" y="162264"/>
                  </a:lnTo>
                  <a:lnTo>
                    <a:pt x="205444" y="7364"/>
                  </a:lnTo>
                  <a:lnTo>
                    <a:pt x="205444" y="7364"/>
                  </a:lnTo>
                  <a:cubicBezTo>
                    <a:pt x="204390" y="8179"/>
                    <a:pt x="203095" y="8625"/>
                    <a:pt x="201762" y="8634"/>
                  </a:cubicBezTo>
                  <a:cubicBezTo>
                    <a:pt x="200289" y="8599"/>
                    <a:pt x="198880" y="8010"/>
                    <a:pt x="197826" y="6983"/>
                  </a:cubicBezTo>
                  <a:cubicBezTo>
                    <a:pt x="195896" y="5248"/>
                    <a:pt x="195744" y="2276"/>
                    <a:pt x="197483" y="349"/>
                  </a:cubicBezTo>
                  <a:cubicBezTo>
                    <a:pt x="197584" y="226"/>
                    <a:pt x="197699" y="110"/>
                    <a:pt x="197826" y="0"/>
                  </a:cubicBezTo>
                  <a:lnTo>
                    <a:pt x="197826" y="0"/>
                  </a:lnTo>
                  <a:lnTo>
                    <a:pt x="190969" y="5587"/>
                  </a:lnTo>
                  <a:lnTo>
                    <a:pt x="1533" y="162391"/>
                  </a:lnTo>
                  <a:lnTo>
                    <a:pt x="1533" y="162391"/>
                  </a:lnTo>
                  <a:cubicBezTo>
                    <a:pt x="1533" y="162391"/>
                    <a:pt x="1533" y="162391"/>
                    <a:pt x="1533" y="163153"/>
                  </a:cubicBezTo>
                  <a:lnTo>
                    <a:pt x="1533" y="163153"/>
                  </a:lnTo>
                  <a:lnTo>
                    <a:pt x="1533" y="163153"/>
                  </a:lnTo>
                  <a:cubicBezTo>
                    <a:pt x="1545" y="163448"/>
                    <a:pt x="1545" y="163746"/>
                    <a:pt x="1533" y="164041"/>
                  </a:cubicBezTo>
                  <a:cubicBezTo>
                    <a:pt x="1533" y="164041"/>
                    <a:pt x="1533" y="164041"/>
                    <a:pt x="1533" y="164930"/>
                  </a:cubicBezTo>
                  <a:lnTo>
                    <a:pt x="1533" y="164930"/>
                  </a:lnTo>
                  <a:cubicBezTo>
                    <a:pt x="1533" y="164930"/>
                    <a:pt x="9" y="167089"/>
                    <a:pt x="9" y="167343"/>
                  </a:cubicBezTo>
                  <a:close/>
                </a:path>
              </a:pathLst>
            </a:custGeom>
            <a:solidFill>
              <a:srgbClr val="000000"/>
            </a:solidFill>
            <a:ln w="12690" cap="flat">
              <a:noFill/>
              <a:prstDash val="solid"/>
              <a:miter/>
            </a:ln>
          </p:spPr>
          <p:txBody>
            <a:bodyPr rtlCol="0" anchor="ctr"/>
            <a:lstStyle/>
            <a:p>
              <a:endParaRPr lang="en-US"/>
            </a:p>
          </p:txBody>
        </p:sp>
        <p:sp>
          <p:nvSpPr>
            <p:cNvPr id="684" name="Freeform: Shape 683">
              <a:extLst>
                <a:ext uri="{FF2B5EF4-FFF2-40B4-BE49-F238E27FC236}">
                  <a16:creationId xmlns:a16="http://schemas.microsoft.com/office/drawing/2014/main" id="{F57FDB70-32C3-4411-8D69-0142CAC1F96E}"/>
                </a:ext>
              </a:extLst>
            </p:cNvPr>
            <p:cNvSpPr/>
            <p:nvPr/>
          </p:nvSpPr>
          <p:spPr>
            <a:xfrm>
              <a:off x="9270166" y="905429"/>
              <a:ext cx="1568986" cy="481177"/>
            </a:xfrm>
            <a:custGeom>
              <a:avLst/>
              <a:gdLst>
                <a:gd name="connsiteX0" fmla="*/ 294 w 1568986"/>
                <a:gd name="connsiteY0" fmla="*/ 3400 h 481177"/>
                <a:gd name="connsiteX1" fmla="*/ 294 w 1568986"/>
                <a:gd name="connsiteY1" fmla="*/ 3400 h 481177"/>
                <a:gd name="connsiteX2" fmla="*/ 3074 w 1568986"/>
                <a:gd name="connsiteY2" fmla="*/ 9434 h 481177"/>
                <a:gd name="connsiteX3" fmla="*/ 3721 w 1568986"/>
                <a:gd name="connsiteY3" fmla="*/ 9621 h 481177"/>
                <a:gd name="connsiteX4" fmla="*/ 1555655 w 1568986"/>
                <a:gd name="connsiteY4" fmla="*/ 479400 h 481177"/>
                <a:gd name="connsiteX5" fmla="*/ 1561749 w 1568986"/>
                <a:gd name="connsiteY5" fmla="*/ 481177 h 481177"/>
                <a:gd name="connsiteX6" fmla="*/ 1561749 w 1568986"/>
                <a:gd name="connsiteY6" fmla="*/ 477622 h 481177"/>
                <a:gd name="connsiteX7" fmla="*/ 1567069 w 1568986"/>
                <a:gd name="connsiteY7" fmla="*/ 472797 h 481177"/>
                <a:gd name="connsiteX8" fmla="*/ 1567082 w 1568986"/>
                <a:gd name="connsiteY8" fmla="*/ 472797 h 481177"/>
                <a:gd name="connsiteX9" fmla="*/ 1568986 w 1568986"/>
                <a:gd name="connsiteY9" fmla="*/ 472797 h 481177"/>
                <a:gd name="connsiteX10" fmla="*/ 1568986 w 1568986"/>
                <a:gd name="connsiteY10" fmla="*/ 472797 h 481177"/>
                <a:gd name="connsiteX11" fmla="*/ 16418 w 1568986"/>
                <a:gd name="connsiteY11" fmla="*/ 3019 h 481177"/>
                <a:gd name="connsiteX12" fmla="*/ 7277 w 1568986"/>
                <a:gd name="connsiteY12" fmla="*/ 353 h 481177"/>
                <a:gd name="connsiteX13" fmla="*/ 294 w 1568986"/>
                <a:gd name="connsiteY13" fmla="*/ 3400 h 48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8986" h="481177">
                  <a:moveTo>
                    <a:pt x="294" y="3400"/>
                  </a:moveTo>
                  <a:lnTo>
                    <a:pt x="294" y="3400"/>
                  </a:lnTo>
                  <a:cubicBezTo>
                    <a:pt x="-608" y="5834"/>
                    <a:pt x="636" y="8536"/>
                    <a:pt x="3074" y="9434"/>
                  </a:cubicBezTo>
                  <a:cubicBezTo>
                    <a:pt x="3290" y="9512"/>
                    <a:pt x="3506" y="9575"/>
                    <a:pt x="3721" y="9621"/>
                  </a:cubicBezTo>
                  <a:lnTo>
                    <a:pt x="1555655" y="479400"/>
                  </a:lnTo>
                  <a:lnTo>
                    <a:pt x="1561749" y="481177"/>
                  </a:lnTo>
                  <a:lnTo>
                    <a:pt x="1561749" y="477622"/>
                  </a:lnTo>
                  <a:cubicBezTo>
                    <a:pt x="1561889" y="474816"/>
                    <a:pt x="1564263" y="472658"/>
                    <a:pt x="1567069" y="472797"/>
                  </a:cubicBezTo>
                  <a:cubicBezTo>
                    <a:pt x="1567069" y="472797"/>
                    <a:pt x="1567082" y="472797"/>
                    <a:pt x="1567082" y="472797"/>
                  </a:cubicBezTo>
                  <a:lnTo>
                    <a:pt x="1568986" y="472797"/>
                  </a:lnTo>
                  <a:lnTo>
                    <a:pt x="1568986" y="472797"/>
                  </a:lnTo>
                  <a:lnTo>
                    <a:pt x="16418" y="3019"/>
                  </a:lnTo>
                  <a:lnTo>
                    <a:pt x="7277" y="353"/>
                  </a:lnTo>
                  <a:cubicBezTo>
                    <a:pt x="4509" y="-692"/>
                    <a:pt x="1411" y="660"/>
                    <a:pt x="294" y="3400"/>
                  </a:cubicBezTo>
                  <a:close/>
                </a:path>
              </a:pathLst>
            </a:custGeom>
            <a:solidFill>
              <a:srgbClr val="000000"/>
            </a:solidFill>
            <a:ln w="12690" cap="flat">
              <a:noFill/>
              <a:prstDash val="solid"/>
              <a:miter/>
            </a:ln>
          </p:spPr>
          <p:txBody>
            <a:bodyPr rtlCol="0" anchor="ctr"/>
            <a:lstStyle/>
            <a:p>
              <a:endParaRPr lang="en-US"/>
            </a:p>
          </p:txBody>
        </p:sp>
        <p:sp>
          <p:nvSpPr>
            <p:cNvPr id="685" name="Freeform: Shape 684">
              <a:extLst>
                <a:ext uri="{FF2B5EF4-FFF2-40B4-BE49-F238E27FC236}">
                  <a16:creationId xmlns:a16="http://schemas.microsoft.com/office/drawing/2014/main" id="{E51C81AB-6119-412E-A815-C575AB57C02A}"/>
                </a:ext>
              </a:extLst>
            </p:cNvPr>
            <p:cNvSpPr/>
            <p:nvPr/>
          </p:nvSpPr>
          <p:spPr>
            <a:xfrm>
              <a:off x="10842199" y="138038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endParaRPr lang="en-US"/>
            </a:p>
          </p:txBody>
        </p:sp>
        <p:sp>
          <p:nvSpPr>
            <p:cNvPr id="686" name="Freeform: Shape 685">
              <a:extLst>
                <a:ext uri="{FF2B5EF4-FFF2-40B4-BE49-F238E27FC236}">
                  <a16:creationId xmlns:a16="http://schemas.microsoft.com/office/drawing/2014/main" id="{88A6E58A-99F4-4DC9-A7CD-53DADCA3EDF5}"/>
                </a:ext>
              </a:extLst>
            </p:cNvPr>
            <p:cNvSpPr/>
            <p:nvPr/>
          </p:nvSpPr>
          <p:spPr>
            <a:xfrm>
              <a:off x="10843088" y="1381654"/>
              <a:ext cx="12696" cy="634"/>
            </a:xfrm>
            <a:custGeom>
              <a:avLst/>
              <a:gdLst>
                <a:gd name="connsiteX0" fmla="*/ 0 w 12696"/>
                <a:gd name="connsiteY0" fmla="*/ 635 h 634"/>
                <a:gd name="connsiteX1" fmla="*/ 0 w 12696"/>
                <a:gd name="connsiteY1" fmla="*/ 0 h 634"/>
                <a:gd name="connsiteX2" fmla="*/ 0 w 12696"/>
                <a:gd name="connsiteY2" fmla="*/ 0 h 634"/>
                <a:gd name="connsiteX3" fmla="*/ 0 w 12696"/>
                <a:gd name="connsiteY3" fmla="*/ 635 h 634"/>
              </a:gdLst>
              <a:ahLst/>
              <a:cxnLst>
                <a:cxn ang="0">
                  <a:pos x="connsiteX0" y="connsiteY0"/>
                </a:cxn>
                <a:cxn ang="0">
                  <a:pos x="connsiteX1" y="connsiteY1"/>
                </a:cxn>
                <a:cxn ang="0">
                  <a:pos x="connsiteX2" y="connsiteY2"/>
                </a:cxn>
                <a:cxn ang="0">
                  <a:pos x="connsiteX3" y="connsiteY3"/>
                </a:cxn>
              </a:cxnLst>
              <a:rect l="l" t="t" r="r" b="b"/>
              <a:pathLst>
                <a:path w="12696" h="634">
                  <a:moveTo>
                    <a:pt x="0" y="635"/>
                  </a:moveTo>
                  <a:lnTo>
                    <a:pt x="0" y="0"/>
                  </a:lnTo>
                  <a:lnTo>
                    <a:pt x="0" y="0"/>
                  </a:lnTo>
                  <a:cubicBezTo>
                    <a:pt x="0" y="0"/>
                    <a:pt x="0" y="254"/>
                    <a:pt x="0" y="635"/>
                  </a:cubicBezTo>
                  <a:close/>
                </a:path>
              </a:pathLst>
            </a:custGeom>
            <a:solidFill>
              <a:srgbClr val="000000"/>
            </a:solidFill>
            <a:ln w="12690" cap="flat">
              <a:noFill/>
              <a:prstDash val="solid"/>
              <a:miter/>
            </a:ln>
          </p:spPr>
          <p:txBody>
            <a:bodyPr rtlCol="0" anchor="ctr"/>
            <a:lstStyle/>
            <a:p>
              <a:endParaRPr lang="en-US"/>
            </a:p>
          </p:txBody>
        </p:sp>
        <p:sp>
          <p:nvSpPr>
            <p:cNvPr id="687" name="Freeform: Shape 686">
              <a:extLst>
                <a:ext uri="{FF2B5EF4-FFF2-40B4-BE49-F238E27FC236}">
                  <a16:creationId xmlns:a16="http://schemas.microsoft.com/office/drawing/2014/main" id="{1C54D735-614B-4172-9191-A12AA1083248}"/>
                </a:ext>
              </a:extLst>
            </p:cNvPr>
            <p:cNvSpPr/>
            <p:nvPr/>
          </p:nvSpPr>
          <p:spPr>
            <a:xfrm>
              <a:off x="10840295" y="1378861"/>
              <a:ext cx="634" cy="12696"/>
            </a:xfrm>
            <a:custGeom>
              <a:avLst/>
              <a:gdLst>
                <a:gd name="connsiteX0" fmla="*/ 635 w 634"/>
                <a:gd name="connsiteY0" fmla="*/ 0 h 12696"/>
                <a:gd name="connsiteX1" fmla="*/ 0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0" y="0"/>
                  </a:lnTo>
                  <a:lnTo>
                    <a:pt x="0" y="0"/>
                  </a:lnTo>
                  <a:close/>
                </a:path>
              </a:pathLst>
            </a:custGeom>
            <a:solidFill>
              <a:srgbClr val="000000"/>
            </a:solidFill>
            <a:ln w="12690" cap="flat">
              <a:noFill/>
              <a:prstDash val="solid"/>
              <a:miter/>
            </a:ln>
          </p:spPr>
          <p:txBody>
            <a:bodyPr rtlCol="0" anchor="ctr"/>
            <a:lstStyle/>
            <a:p>
              <a:endParaRPr lang="en-US"/>
            </a:p>
          </p:txBody>
        </p:sp>
        <p:sp>
          <p:nvSpPr>
            <p:cNvPr id="688" name="Freeform: Shape 687">
              <a:extLst>
                <a:ext uri="{FF2B5EF4-FFF2-40B4-BE49-F238E27FC236}">
                  <a16:creationId xmlns:a16="http://schemas.microsoft.com/office/drawing/2014/main" id="{6E7DB6D9-283E-4857-BC6D-CF43A039AAA9}"/>
                </a:ext>
              </a:extLst>
            </p:cNvPr>
            <p:cNvSpPr/>
            <p:nvPr/>
          </p:nvSpPr>
          <p:spPr>
            <a:xfrm>
              <a:off x="10832296" y="1654887"/>
              <a:ext cx="10791" cy="51929"/>
            </a:xfrm>
            <a:custGeom>
              <a:avLst/>
              <a:gdLst>
                <a:gd name="connsiteX0" fmla="*/ 10792 w 10791"/>
                <a:gd name="connsiteY0" fmla="*/ 0 h 51929"/>
                <a:gd name="connsiteX1" fmla="*/ 4571 w 10791"/>
                <a:gd name="connsiteY1" fmla="*/ 4571 h 51929"/>
                <a:gd name="connsiteX2" fmla="*/ 0 w 10791"/>
                <a:gd name="connsiteY2" fmla="*/ 0 h 51929"/>
                <a:gd name="connsiteX3" fmla="*/ 0 w 10791"/>
                <a:gd name="connsiteY3" fmla="*/ 51929 h 51929"/>
                <a:gd name="connsiteX4" fmla="*/ 1777 w 10791"/>
                <a:gd name="connsiteY4" fmla="*/ 50406 h 51929"/>
                <a:gd name="connsiteX5" fmla="*/ 10792 w 10791"/>
                <a:gd name="connsiteY5" fmla="*/ 43042 h 51929"/>
                <a:gd name="connsiteX6" fmla="*/ 10792 w 10791"/>
                <a:gd name="connsiteY6" fmla="*/ 0 h 5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51929">
                  <a:moveTo>
                    <a:pt x="10792" y="0"/>
                  </a:moveTo>
                  <a:cubicBezTo>
                    <a:pt x="10335" y="2984"/>
                    <a:pt x="7542" y="5028"/>
                    <a:pt x="4571" y="4571"/>
                  </a:cubicBezTo>
                  <a:cubicBezTo>
                    <a:pt x="2209" y="4203"/>
                    <a:pt x="368" y="2362"/>
                    <a:pt x="0" y="0"/>
                  </a:cubicBezTo>
                  <a:lnTo>
                    <a:pt x="0" y="51929"/>
                  </a:lnTo>
                  <a:lnTo>
                    <a:pt x="1777" y="50406"/>
                  </a:lnTo>
                  <a:lnTo>
                    <a:pt x="10792" y="43042"/>
                  </a:lnTo>
                  <a:lnTo>
                    <a:pt x="10792" y="0"/>
                  </a:lnTo>
                  <a:close/>
                </a:path>
              </a:pathLst>
            </a:custGeom>
            <a:solidFill>
              <a:srgbClr val="000000"/>
            </a:solidFill>
            <a:ln w="12690" cap="flat">
              <a:noFill/>
              <a:prstDash val="solid"/>
              <a:miter/>
            </a:ln>
          </p:spPr>
          <p:txBody>
            <a:bodyPr rtlCol="0" anchor="ctr"/>
            <a:lstStyle/>
            <a:p>
              <a:endParaRPr lang="en-US"/>
            </a:p>
          </p:txBody>
        </p:sp>
        <p:sp>
          <p:nvSpPr>
            <p:cNvPr id="689" name="Freeform: Shape 688">
              <a:extLst>
                <a:ext uri="{FF2B5EF4-FFF2-40B4-BE49-F238E27FC236}">
                  <a16:creationId xmlns:a16="http://schemas.microsoft.com/office/drawing/2014/main" id="{7D596390-EFC5-4D42-B302-76816F154B74}"/>
                </a:ext>
              </a:extLst>
            </p:cNvPr>
            <p:cNvSpPr/>
            <p:nvPr/>
          </p:nvSpPr>
          <p:spPr>
            <a:xfrm>
              <a:off x="5164179" y="900830"/>
              <a:ext cx="9522" cy="86943"/>
            </a:xfrm>
            <a:custGeom>
              <a:avLst/>
              <a:gdLst>
                <a:gd name="connsiteX0" fmla="*/ 5460 w 9522"/>
                <a:gd name="connsiteY0" fmla="*/ 4825 h 86943"/>
                <a:gd name="connsiteX1" fmla="*/ 0 w 9522"/>
                <a:gd name="connsiteY1" fmla="*/ 0 h 86943"/>
                <a:gd name="connsiteX2" fmla="*/ 0 w 9522"/>
                <a:gd name="connsiteY2" fmla="*/ 83163 h 86943"/>
                <a:gd name="connsiteX3" fmla="*/ 0 w 9522"/>
                <a:gd name="connsiteY3" fmla="*/ 84306 h 86943"/>
                <a:gd name="connsiteX4" fmla="*/ 635 w 9522"/>
                <a:gd name="connsiteY4" fmla="*/ 85195 h 86943"/>
                <a:gd name="connsiteX5" fmla="*/ 635 w 9522"/>
                <a:gd name="connsiteY5" fmla="*/ 85830 h 86943"/>
                <a:gd name="connsiteX6" fmla="*/ 2032 w 9522"/>
                <a:gd name="connsiteY6" fmla="*/ 86846 h 86943"/>
                <a:gd name="connsiteX7" fmla="*/ 2032 w 9522"/>
                <a:gd name="connsiteY7" fmla="*/ 86846 h 86943"/>
                <a:gd name="connsiteX8" fmla="*/ 4190 w 9522"/>
                <a:gd name="connsiteY8" fmla="*/ 86846 h 86943"/>
                <a:gd name="connsiteX9" fmla="*/ 7491 w 9522"/>
                <a:gd name="connsiteY9" fmla="*/ 85576 h 86943"/>
                <a:gd name="connsiteX10" fmla="*/ 9523 w 9522"/>
                <a:gd name="connsiteY10" fmla="*/ 81894 h 86943"/>
                <a:gd name="connsiteX11" fmla="*/ 9523 w 9522"/>
                <a:gd name="connsiteY11" fmla="*/ 635 h 86943"/>
                <a:gd name="connsiteX12" fmla="*/ 5460 w 9522"/>
                <a:gd name="connsiteY12" fmla="*/ 4825 h 8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2" h="86943">
                  <a:moveTo>
                    <a:pt x="5460" y="4825"/>
                  </a:moveTo>
                  <a:cubicBezTo>
                    <a:pt x="2628" y="4971"/>
                    <a:pt x="203" y="2826"/>
                    <a:pt x="0" y="0"/>
                  </a:cubicBezTo>
                  <a:lnTo>
                    <a:pt x="0" y="83163"/>
                  </a:lnTo>
                  <a:cubicBezTo>
                    <a:pt x="0" y="83163"/>
                    <a:pt x="0" y="83925"/>
                    <a:pt x="0" y="84306"/>
                  </a:cubicBezTo>
                  <a:lnTo>
                    <a:pt x="635" y="85195"/>
                  </a:lnTo>
                  <a:cubicBezTo>
                    <a:pt x="584" y="85403"/>
                    <a:pt x="584" y="85622"/>
                    <a:pt x="635" y="85830"/>
                  </a:cubicBezTo>
                  <a:lnTo>
                    <a:pt x="2032" y="86846"/>
                  </a:lnTo>
                  <a:lnTo>
                    <a:pt x="2032" y="86846"/>
                  </a:lnTo>
                  <a:cubicBezTo>
                    <a:pt x="2743" y="86976"/>
                    <a:pt x="3479" y="86976"/>
                    <a:pt x="4190" y="86846"/>
                  </a:cubicBezTo>
                  <a:cubicBezTo>
                    <a:pt x="5409" y="86832"/>
                    <a:pt x="6577" y="86381"/>
                    <a:pt x="7491" y="85576"/>
                  </a:cubicBezTo>
                  <a:cubicBezTo>
                    <a:pt x="8748" y="84767"/>
                    <a:pt x="9510" y="83384"/>
                    <a:pt x="9523" y="81894"/>
                  </a:cubicBezTo>
                  <a:lnTo>
                    <a:pt x="9523" y="635"/>
                  </a:lnTo>
                  <a:cubicBezTo>
                    <a:pt x="9192" y="2748"/>
                    <a:pt x="7567" y="4424"/>
                    <a:pt x="5460" y="4825"/>
                  </a:cubicBezTo>
                  <a:close/>
                </a:path>
              </a:pathLst>
            </a:custGeom>
            <a:solidFill>
              <a:srgbClr val="000000"/>
            </a:solidFill>
            <a:ln w="12690" cap="flat">
              <a:noFill/>
              <a:prstDash val="solid"/>
              <a:miter/>
            </a:ln>
          </p:spPr>
          <p:txBody>
            <a:bodyPr rtlCol="0" anchor="ctr"/>
            <a:lstStyle/>
            <a:p>
              <a:endParaRPr lang="en-US"/>
            </a:p>
          </p:txBody>
        </p:sp>
        <p:sp>
          <p:nvSpPr>
            <p:cNvPr id="690" name="Freeform: Shape 689">
              <a:extLst>
                <a:ext uri="{FF2B5EF4-FFF2-40B4-BE49-F238E27FC236}">
                  <a16:creationId xmlns:a16="http://schemas.microsoft.com/office/drawing/2014/main" id="{7D5BB1B4-1F21-41B2-B4A3-51E3C35D4ACB}"/>
                </a:ext>
              </a:extLst>
            </p:cNvPr>
            <p:cNvSpPr/>
            <p:nvPr/>
          </p:nvSpPr>
          <p:spPr>
            <a:xfrm>
              <a:off x="5165449" y="831880"/>
              <a:ext cx="10792" cy="74214"/>
            </a:xfrm>
            <a:custGeom>
              <a:avLst/>
              <a:gdLst>
                <a:gd name="connsiteX0" fmla="*/ 9523 w 10792"/>
                <a:gd name="connsiteY0" fmla="*/ 1785 h 74214"/>
                <a:gd name="connsiteX1" fmla="*/ 9523 w 10792"/>
                <a:gd name="connsiteY1" fmla="*/ 769 h 74214"/>
                <a:gd name="connsiteX2" fmla="*/ 9523 w 10792"/>
                <a:gd name="connsiteY2" fmla="*/ 769 h 74214"/>
                <a:gd name="connsiteX3" fmla="*/ 9523 w 10792"/>
                <a:gd name="connsiteY3" fmla="*/ 769 h 74214"/>
                <a:gd name="connsiteX4" fmla="*/ 8888 w 10792"/>
                <a:gd name="connsiteY4" fmla="*/ 7 h 74214"/>
                <a:gd name="connsiteX5" fmla="*/ 8888 w 10792"/>
                <a:gd name="connsiteY5" fmla="*/ 7 h 74214"/>
                <a:gd name="connsiteX6" fmla="*/ 8888 w 10792"/>
                <a:gd name="connsiteY6" fmla="*/ 7 h 74214"/>
                <a:gd name="connsiteX7" fmla="*/ 7999 w 10792"/>
                <a:gd name="connsiteY7" fmla="*/ 7 h 74214"/>
                <a:gd name="connsiteX8" fmla="*/ 7364 w 10792"/>
                <a:gd name="connsiteY8" fmla="*/ 7 h 74214"/>
                <a:gd name="connsiteX9" fmla="*/ 7364 w 10792"/>
                <a:gd name="connsiteY9" fmla="*/ 7 h 74214"/>
                <a:gd name="connsiteX10" fmla="*/ 5460 w 10792"/>
                <a:gd name="connsiteY10" fmla="*/ 7 h 74214"/>
                <a:gd name="connsiteX11" fmla="*/ 0 w 10792"/>
                <a:gd name="connsiteY11" fmla="*/ 4832 h 74214"/>
                <a:gd name="connsiteX12" fmla="*/ 0 w 10792"/>
                <a:gd name="connsiteY12" fmla="*/ 69585 h 74214"/>
                <a:gd name="connsiteX13" fmla="*/ 6222 w 10792"/>
                <a:gd name="connsiteY13" fmla="*/ 74151 h 74214"/>
                <a:gd name="connsiteX14" fmla="*/ 10792 w 10792"/>
                <a:gd name="connsiteY14" fmla="*/ 69585 h 74214"/>
                <a:gd name="connsiteX15" fmla="*/ 10792 w 10792"/>
                <a:gd name="connsiteY15" fmla="*/ 1912 h 7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92" h="74214">
                  <a:moveTo>
                    <a:pt x="9523" y="1785"/>
                  </a:moveTo>
                  <a:cubicBezTo>
                    <a:pt x="9599" y="1449"/>
                    <a:pt x="9599" y="1104"/>
                    <a:pt x="9523" y="769"/>
                  </a:cubicBezTo>
                  <a:cubicBezTo>
                    <a:pt x="9523" y="769"/>
                    <a:pt x="9523" y="769"/>
                    <a:pt x="9523" y="769"/>
                  </a:cubicBezTo>
                  <a:lnTo>
                    <a:pt x="9523" y="769"/>
                  </a:lnTo>
                  <a:lnTo>
                    <a:pt x="8888" y="7"/>
                  </a:lnTo>
                  <a:cubicBezTo>
                    <a:pt x="8888" y="7"/>
                    <a:pt x="8888" y="7"/>
                    <a:pt x="8888" y="7"/>
                  </a:cubicBezTo>
                  <a:lnTo>
                    <a:pt x="8888" y="7"/>
                  </a:lnTo>
                  <a:lnTo>
                    <a:pt x="7999" y="7"/>
                  </a:lnTo>
                  <a:lnTo>
                    <a:pt x="7364" y="7"/>
                  </a:lnTo>
                  <a:lnTo>
                    <a:pt x="7364" y="7"/>
                  </a:lnTo>
                  <a:lnTo>
                    <a:pt x="5460" y="7"/>
                  </a:lnTo>
                  <a:cubicBezTo>
                    <a:pt x="2628" y="-139"/>
                    <a:pt x="203" y="2006"/>
                    <a:pt x="0" y="4832"/>
                  </a:cubicBezTo>
                  <a:lnTo>
                    <a:pt x="0" y="69585"/>
                  </a:lnTo>
                  <a:cubicBezTo>
                    <a:pt x="457" y="72565"/>
                    <a:pt x="3251" y="74609"/>
                    <a:pt x="6222" y="74151"/>
                  </a:cubicBezTo>
                  <a:cubicBezTo>
                    <a:pt x="8583" y="73789"/>
                    <a:pt x="10424" y="71940"/>
                    <a:pt x="10792" y="69585"/>
                  </a:cubicBezTo>
                  <a:lnTo>
                    <a:pt x="10792" y="1912"/>
                  </a:lnTo>
                  <a:close/>
                </a:path>
              </a:pathLst>
            </a:custGeom>
            <a:solidFill>
              <a:srgbClr val="000000"/>
            </a:solidFill>
            <a:ln w="12690" cap="flat">
              <a:noFill/>
              <a:prstDash val="solid"/>
              <a:miter/>
            </a:ln>
          </p:spPr>
          <p:txBody>
            <a:bodyPr rtlCol="0" anchor="ctr"/>
            <a:lstStyle/>
            <a:p>
              <a:endParaRPr lang="en-US"/>
            </a:p>
          </p:txBody>
        </p:sp>
        <p:sp>
          <p:nvSpPr>
            <p:cNvPr id="691" name="Freeform: Shape 690">
              <a:extLst>
                <a:ext uri="{FF2B5EF4-FFF2-40B4-BE49-F238E27FC236}">
                  <a16:creationId xmlns:a16="http://schemas.microsoft.com/office/drawing/2014/main" id="{0A5FDE01-A564-4D85-B8BF-8D796058BBF0}"/>
                </a:ext>
              </a:extLst>
            </p:cNvPr>
            <p:cNvSpPr/>
            <p:nvPr/>
          </p:nvSpPr>
          <p:spPr>
            <a:xfrm>
              <a:off x="5033599" y="375592"/>
              <a:ext cx="64684" cy="26638"/>
            </a:xfrm>
            <a:custGeom>
              <a:avLst/>
              <a:gdLst>
                <a:gd name="connsiteX0" fmla="*/ 6151 w 64684"/>
                <a:gd name="connsiteY0" fmla="*/ 229 h 26638"/>
                <a:gd name="connsiteX1" fmla="*/ 692 w 64684"/>
                <a:gd name="connsiteY1" fmla="*/ 1499 h 26638"/>
                <a:gd name="connsiteX2" fmla="*/ 57 w 64684"/>
                <a:gd name="connsiteY2" fmla="*/ 2134 h 26638"/>
                <a:gd name="connsiteX3" fmla="*/ 57 w 64684"/>
                <a:gd name="connsiteY3" fmla="*/ 3023 h 26638"/>
                <a:gd name="connsiteX4" fmla="*/ 57 w 64684"/>
                <a:gd name="connsiteY4" fmla="*/ 3023 h 26638"/>
                <a:gd name="connsiteX5" fmla="*/ 57 w 64684"/>
                <a:gd name="connsiteY5" fmla="*/ 3657 h 26638"/>
                <a:gd name="connsiteX6" fmla="*/ 57 w 64684"/>
                <a:gd name="connsiteY6" fmla="*/ 4673 h 26638"/>
                <a:gd name="connsiteX7" fmla="*/ 57 w 64684"/>
                <a:gd name="connsiteY7" fmla="*/ 5562 h 26638"/>
                <a:gd name="connsiteX8" fmla="*/ 57 w 64684"/>
                <a:gd name="connsiteY8" fmla="*/ 6451 h 26638"/>
                <a:gd name="connsiteX9" fmla="*/ 57 w 64684"/>
                <a:gd name="connsiteY9" fmla="*/ 7339 h 26638"/>
                <a:gd name="connsiteX10" fmla="*/ 692 w 64684"/>
                <a:gd name="connsiteY10" fmla="*/ 8101 h 26638"/>
                <a:gd name="connsiteX11" fmla="*/ 1708 w 64684"/>
                <a:gd name="connsiteY11" fmla="*/ 8736 h 26638"/>
                <a:gd name="connsiteX12" fmla="*/ 2596 w 64684"/>
                <a:gd name="connsiteY12" fmla="*/ 8736 h 26638"/>
                <a:gd name="connsiteX13" fmla="*/ 2596 w 64684"/>
                <a:gd name="connsiteY13" fmla="*/ 8736 h 26638"/>
                <a:gd name="connsiteX14" fmla="*/ 61256 w 64684"/>
                <a:gd name="connsiteY14" fmla="*/ 26638 h 26638"/>
                <a:gd name="connsiteX15" fmla="*/ 57713 w 64684"/>
                <a:gd name="connsiteY15" fmla="*/ 20806 h 26638"/>
                <a:gd name="connsiteX16" fmla="*/ 57828 w 64684"/>
                <a:gd name="connsiteY16" fmla="*/ 20417 h 26638"/>
                <a:gd name="connsiteX17" fmla="*/ 64684 w 64684"/>
                <a:gd name="connsiteY17" fmla="*/ 17370 h 26638"/>
                <a:gd name="connsiteX18" fmla="*/ 57574 w 64684"/>
                <a:gd name="connsiteY18" fmla="*/ 15211 h 26638"/>
                <a:gd name="connsiteX19" fmla="*/ 14912 w 64684"/>
                <a:gd name="connsiteY19" fmla="*/ 2515 h 2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684" h="26638">
                  <a:moveTo>
                    <a:pt x="6151" y="229"/>
                  </a:moveTo>
                  <a:cubicBezTo>
                    <a:pt x="4234" y="-331"/>
                    <a:pt x="2165" y="151"/>
                    <a:pt x="692" y="1499"/>
                  </a:cubicBezTo>
                  <a:lnTo>
                    <a:pt x="57" y="2134"/>
                  </a:lnTo>
                  <a:cubicBezTo>
                    <a:pt x="82" y="2430"/>
                    <a:pt x="82" y="2727"/>
                    <a:pt x="57" y="3023"/>
                  </a:cubicBezTo>
                  <a:lnTo>
                    <a:pt x="57" y="3023"/>
                  </a:lnTo>
                  <a:cubicBezTo>
                    <a:pt x="-6" y="3230"/>
                    <a:pt x="-6" y="3451"/>
                    <a:pt x="57" y="3657"/>
                  </a:cubicBezTo>
                  <a:cubicBezTo>
                    <a:pt x="-6" y="3993"/>
                    <a:pt x="-6" y="4338"/>
                    <a:pt x="57" y="4673"/>
                  </a:cubicBezTo>
                  <a:cubicBezTo>
                    <a:pt x="-19" y="4965"/>
                    <a:pt x="-19" y="5270"/>
                    <a:pt x="57" y="5562"/>
                  </a:cubicBezTo>
                  <a:cubicBezTo>
                    <a:pt x="-19" y="5854"/>
                    <a:pt x="-19" y="6159"/>
                    <a:pt x="57" y="6451"/>
                  </a:cubicBezTo>
                  <a:cubicBezTo>
                    <a:pt x="32" y="6747"/>
                    <a:pt x="32" y="7044"/>
                    <a:pt x="57" y="7339"/>
                  </a:cubicBezTo>
                  <a:lnTo>
                    <a:pt x="692" y="8101"/>
                  </a:lnTo>
                  <a:lnTo>
                    <a:pt x="1708" y="8736"/>
                  </a:lnTo>
                  <a:cubicBezTo>
                    <a:pt x="2000" y="8806"/>
                    <a:pt x="2305" y="8806"/>
                    <a:pt x="2596" y="8736"/>
                  </a:cubicBezTo>
                  <a:lnTo>
                    <a:pt x="2596" y="8736"/>
                  </a:lnTo>
                  <a:lnTo>
                    <a:pt x="61256" y="26638"/>
                  </a:lnTo>
                  <a:cubicBezTo>
                    <a:pt x="58666" y="26005"/>
                    <a:pt x="57079" y="23394"/>
                    <a:pt x="57713" y="20806"/>
                  </a:cubicBezTo>
                  <a:cubicBezTo>
                    <a:pt x="57751" y="20675"/>
                    <a:pt x="57790" y="20545"/>
                    <a:pt x="57828" y="20417"/>
                  </a:cubicBezTo>
                  <a:cubicBezTo>
                    <a:pt x="58983" y="17789"/>
                    <a:pt x="61954" y="16471"/>
                    <a:pt x="64684" y="17370"/>
                  </a:cubicBezTo>
                  <a:lnTo>
                    <a:pt x="57574" y="15211"/>
                  </a:lnTo>
                  <a:lnTo>
                    <a:pt x="14912" y="2515"/>
                  </a:lnTo>
                  <a:close/>
                </a:path>
              </a:pathLst>
            </a:custGeom>
            <a:solidFill>
              <a:srgbClr val="000000"/>
            </a:solidFill>
            <a:ln w="12690" cap="flat">
              <a:noFill/>
              <a:prstDash val="solid"/>
              <a:miter/>
            </a:ln>
          </p:spPr>
          <p:txBody>
            <a:bodyPr rtlCol="0" anchor="ctr"/>
            <a:lstStyle/>
            <a:p>
              <a:endParaRPr lang="en-US"/>
            </a:p>
          </p:txBody>
        </p:sp>
        <p:sp>
          <p:nvSpPr>
            <p:cNvPr id="692" name="Freeform: Shape 691">
              <a:extLst>
                <a:ext uri="{FF2B5EF4-FFF2-40B4-BE49-F238E27FC236}">
                  <a16:creationId xmlns:a16="http://schemas.microsoft.com/office/drawing/2014/main" id="{77E1DF57-CBB2-4A32-8E41-C1009CC169C6}"/>
                </a:ext>
              </a:extLst>
            </p:cNvPr>
            <p:cNvSpPr/>
            <p:nvPr/>
          </p:nvSpPr>
          <p:spPr>
            <a:xfrm>
              <a:off x="5091300" y="393315"/>
              <a:ext cx="328466" cy="105664"/>
            </a:xfrm>
            <a:custGeom>
              <a:avLst/>
              <a:gdLst>
                <a:gd name="connsiteX0" fmla="*/ 7110 w 328466"/>
                <a:gd name="connsiteY0" fmla="*/ 281 h 105664"/>
                <a:gd name="connsiteX1" fmla="*/ 254 w 328466"/>
                <a:gd name="connsiteY1" fmla="*/ 3329 h 105664"/>
                <a:gd name="connsiteX2" fmla="*/ 3288 w 328466"/>
                <a:gd name="connsiteY2" fmla="*/ 9437 h 105664"/>
                <a:gd name="connsiteX3" fmla="*/ 3682 w 328466"/>
                <a:gd name="connsiteY3" fmla="*/ 9550 h 105664"/>
                <a:gd name="connsiteX4" fmla="*/ 3682 w 328466"/>
                <a:gd name="connsiteY4" fmla="*/ 9550 h 105664"/>
                <a:gd name="connsiteX5" fmla="*/ 312977 w 328466"/>
                <a:gd name="connsiteY5" fmla="*/ 102998 h 105664"/>
                <a:gd name="connsiteX6" fmla="*/ 321737 w 328466"/>
                <a:gd name="connsiteY6" fmla="*/ 105664 h 105664"/>
                <a:gd name="connsiteX7" fmla="*/ 323515 w 328466"/>
                <a:gd name="connsiteY7" fmla="*/ 105664 h 105664"/>
                <a:gd name="connsiteX8" fmla="*/ 328466 w 328466"/>
                <a:gd name="connsiteY8" fmla="*/ 102490 h 105664"/>
                <a:gd name="connsiteX9" fmla="*/ 328466 w 328466"/>
                <a:gd name="connsiteY9" fmla="*/ 102490 h 105664"/>
                <a:gd name="connsiteX10" fmla="*/ 328466 w 328466"/>
                <a:gd name="connsiteY10" fmla="*/ 101855 h 105664"/>
                <a:gd name="connsiteX11" fmla="*/ 328466 w 328466"/>
                <a:gd name="connsiteY11" fmla="*/ 100966 h 105664"/>
                <a:gd name="connsiteX12" fmla="*/ 328466 w 328466"/>
                <a:gd name="connsiteY12" fmla="*/ 100966 h 105664"/>
                <a:gd name="connsiteX13" fmla="*/ 328466 w 328466"/>
                <a:gd name="connsiteY13" fmla="*/ 100078 h 105664"/>
                <a:gd name="connsiteX14" fmla="*/ 328466 w 328466"/>
                <a:gd name="connsiteY14" fmla="*/ 99189 h 105664"/>
                <a:gd name="connsiteX15" fmla="*/ 328466 w 328466"/>
                <a:gd name="connsiteY15" fmla="*/ 99189 h 105664"/>
                <a:gd name="connsiteX16" fmla="*/ 328466 w 328466"/>
                <a:gd name="connsiteY16" fmla="*/ 98554 h 105664"/>
                <a:gd name="connsiteX17" fmla="*/ 327832 w 328466"/>
                <a:gd name="connsiteY17" fmla="*/ 97792 h 105664"/>
                <a:gd name="connsiteX18" fmla="*/ 327832 w 328466"/>
                <a:gd name="connsiteY18" fmla="*/ 97792 h 105664"/>
                <a:gd name="connsiteX19" fmla="*/ 326943 w 328466"/>
                <a:gd name="connsiteY19" fmla="*/ 97792 h 105664"/>
                <a:gd name="connsiteX20" fmla="*/ 326054 w 328466"/>
                <a:gd name="connsiteY20" fmla="*/ 97792 h 105664"/>
                <a:gd name="connsiteX21" fmla="*/ 326054 w 328466"/>
                <a:gd name="connsiteY21" fmla="*/ 97792 h 105664"/>
                <a:gd name="connsiteX22" fmla="*/ 10792 w 328466"/>
                <a:gd name="connsiteY22" fmla="*/ 1551 h 105664"/>
                <a:gd name="connsiteX23" fmla="*/ 7110 w 328466"/>
                <a:gd name="connsiteY23" fmla="*/ 408 h 1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8466" h="105664">
                  <a:moveTo>
                    <a:pt x="7110" y="281"/>
                  </a:moveTo>
                  <a:cubicBezTo>
                    <a:pt x="4380" y="-617"/>
                    <a:pt x="1422" y="700"/>
                    <a:pt x="254" y="3329"/>
                  </a:cubicBezTo>
                  <a:cubicBezTo>
                    <a:pt x="-597" y="5855"/>
                    <a:pt x="761" y="8590"/>
                    <a:pt x="3288" y="9437"/>
                  </a:cubicBezTo>
                  <a:cubicBezTo>
                    <a:pt x="3415" y="9480"/>
                    <a:pt x="3555" y="9518"/>
                    <a:pt x="3682" y="9550"/>
                  </a:cubicBezTo>
                  <a:lnTo>
                    <a:pt x="3682" y="9550"/>
                  </a:lnTo>
                  <a:lnTo>
                    <a:pt x="312977" y="102998"/>
                  </a:lnTo>
                  <a:lnTo>
                    <a:pt x="321737" y="105664"/>
                  </a:lnTo>
                  <a:lnTo>
                    <a:pt x="323515" y="105664"/>
                  </a:lnTo>
                  <a:cubicBezTo>
                    <a:pt x="325648" y="105662"/>
                    <a:pt x="327578" y="104422"/>
                    <a:pt x="328466" y="102490"/>
                  </a:cubicBezTo>
                  <a:lnTo>
                    <a:pt x="328466" y="102490"/>
                  </a:lnTo>
                  <a:cubicBezTo>
                    <a:pt x="328466" y="102490"/>
                    <a:pt x="328466" y="102490"/>
                    <a:pt x="328466" y="101855"/>
                  </a:cubicBezTo>
                  <a:cubicBezTo>
                    <a:pt x="328466" y="101220"/>
                    <a:pt x="328466" y="101855"/>
                    <a:pt x="328466" y="100966"/>
                  </a:cubicBezTo>
                  <a:lnTo>
                    <a:pt x="328466" y="100966"/>
                  </a:lnTo>
                  <a:cubicBezTo>
                    <a:pt x="328466" y="100966"/>
                    <a:pt x="328466" y="100966"/>
                    <a:pt x="328466" y="100078"/>
                  </a:cubicBezTo>
                  <a:lnTo>
                    <a:pt x="328466" y="99189"/>
                  </a:lnTo>
                  <a:lnTo>
                    <a:pt x="328466" y="99189"/>
                  </a:lnTo>
                  <a:lnTo>
                    <a:pt x="328466" y="98554"/>
                  </a:lnTo>
                  <a:lnTo>
                    <a:pt x="327832" y="97792"/>
                  </a:lnTo>
                  <a:lnTo>
                    <a:pt x="327832" y="97792"/>
                  </a:lnTo>
                  <a:lnTo>
                    <a:pt x="326943" y="97792"/>
                  </a:lnTo>
                  <a:lnTo>
                    <a:pt x="326054" y="97792"/>
                  </a:lnTo>
                  <a:lnTo>
                    <a:pt x="326054" y="97792"/>
                  </a:lnTo>
                  <a:lnTo>
                    <a:pt x="10792" y="1551"/>
                  </a:lnTo>
                  <a:lnTo>
                    <a:pt x="7110" y="408"/>
                  </a:lnTo>
                  <a:close/>
                </a:path>
              </a:pathLst>
            </a:custGeom>
            <a:solidFill>
              <a:srgbClr val="000000"/>
            </a:solidFill>
            <a:ln w="12690" cap="flat">
              <a:noFill/>
              <a:prstDash val="solid"/>
              <a:miter/>
            </a:ln>
          </p:spPr>
          <p:txBody>
            <a:bodyPr rtlCol="0" anchor="ctr"/>
            <a:lstStyle/>
            <a:p>
              <a:endParaRPr lang="en-US"/>
            </a:p>
          </p:txBody>
        </p:sp>
        <p:sp>
          <p:nvSpPr>
            <p:cNvPr id="693" name="Freeform: Shape 692">
              <a:extLst>
                <a:ext uri="{FF2B5EF4-FFF2-40B4-BE49-F238E27FC236}">
                  <a16:creationId xmlns:a16="http://schemas.microsoft.com/office/drawing/2014/main" id="{AAC41EFD-4C88-45E3-A223-4037D72DA6D0}"/>
                </a:ext>
              </a:extLst>
            </p:cNvPr>
            <p:cNvSpPr/>
            <p:nvPr/>
          </p:nvSpPr>
          <p:spPr>
            <a:xfrm>
              <a:off x="9140825" y="3336311"/>
              <a:ext cx="497461" cy="104494"/>
            </a:xfrm>
            <a:custGeom>
              <a:avLst/>
              <a:gdLst>
                <a:gd name="connsiteX0" fmla="*/ 490986 w 497461"/>
                <a:gd name="connsiteY0" fmla="*/ 98907 h 104494"/>
                <a:gd name="connsiteX1" fmla="*/ 497462 w 497461"/>
                <a:gd name="connsiteY1" fmla="*/ 95099 h 104494"/>
                <a:gd name="connsiteX2" fmla="*/ 403632 w 497461"/>
                <a:gd name="connsiteY2" fmla="*/ 77069 h 104494"/>
                <a:gd name="connsiteX3" fmla="*/ 3174 w 497461"/>
                <a:gd name="connsiteY3" fmla="*/ 0 h 104494"/>
                <a:gd name="connsiteX4" fmla="*/ 3174 w 497461"/>
                <a:gd name="connsiteY4" fmla="*/ 0 h 104494"/>
                <a:gd name="connsiteX5" fmla="*/ 6742 w 497461"/>
                <a:gd name="connsiteY5" fmla="*/ 5612 h 104494"/>
                <a:gd name="connsiteX6" fmla="*/ 6603 w 497461"/>
                <a:gd name="connsiteY6" fmla="*/ 6095 h 104494"/>
                <a:gd name="connsiteX7" fmla="*/ 1396 w 497461"/>
                <a:gd name="connsiteY7" fmla="*/ 9523 h 104494"/>
                <a:gd name="connsiteX8" fmla="*/ 0 w 497461"/>
                <a:gd name="connsiteY8" fmla="*/ 9523 h 104494"/>
                <a:gd name="connsiteX9" fmla="*/ 0 w 497461"/>
                <a:gd name="connsiteY9" fmla="*/ 9523 h 104494"/>
                <a:gd name="connsiteX10" fmla="*/ 94337 w 497461"/>
                <a:gd name="connsiteY10" fmla="*/ 27679 h 104494"/>
                <a:gd name="connsiteX11" fmla="*/ 495176 w 497461"/>
                <a:gd name="connsiteY11" fmla="*/ 104494 h 104494"/>
                <a:gd name="connsiteX12" fmla="*/ 490986 w 497461"/>
                <a:gd name="connsiteY12" fmla="*/ 98907 h 10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7461" h="104494">
                  <a:moveTo>
                    <a:pt x="490986" y="98907"/>
                  </a:moveTo>
                  <a:cubicBezTo>
                    <a:pt x="491787" y="96114"/>
                    <a:pt x="494631" y="94451"/>
                    <a:pt x="497462" y="95099"/>
                  </a:cubicBezTo>
                  <a:lnTo>
                    <a:pt x="403632" y="77069"/>
                  </a:lnTo>
                  <a:lnTo>
                    <a:pt x="3174" y="0"/>
                  </a:lnTo>
                  <a:lnTo>
                    <a:pt x="3174" y="0"/>
                  </a:lnTo>
                  <a:cubicBezTo>
                    <a:pt x="5701" y="559"/>
                    <a:pt x="7301" y="3073"/>
                    <a:pt x="6742" y="5612"/>
                  </a:cubicBezTo>
                  <a:cubicBezTo>
                    <a:pt x="6704" y="5777"/>
                    <a:pt x="6653" y="5929"/>
                    <a:pt x="6603" y="6095"/>
                  </a:cubicBezTo>
                  <a:cubicBezTo>
                    <a:pt x="5752" y="8215"/>
                    <a:pt x="3682" y="9586"/>
                    <a:pt x="1396" y="9523"/>
                  </a:cubicBezTo>
                  <a:lnTo>
                    <a:pt x="0" y="9523"/>
                  </a:lnTo>
                  <a:lnTo>
                    <a:pt x="0" y="9523"/>
                  </a:lnTo>
                  <a:lnTo>
                    <a:pt x="94337" y="27679"/>
                  </a:lnTo>
                  <a:lnTo>
                    <a:pt x="495176" y="104494"/>
                  </a:lnTo>
                  <a:cubicBezTo>
                    <a:pt x="492485" y="104100"/>
                    <a:pt x="490606" y="101599"/>
                    <a:pt x="490986" y="98907"/>
                  </a:cubicBezTo>
                  <a:close/>
                </a:path>
              </a:pathLst>
            </a:custGeom>
            <a:solidFill>
              <a:srgbClr val="000000"/>
            </a:solidFill>
            <a:ln w="12690" cap="flat">
              <a:noFill/>
              <a:prstDash val="solid"/>
              <a:miter/>
            </a:ln>
          </p:spPr>
          <p:txBody>
            <a:bodyPr rtlCol="0" anchor="ctr"/>
            <a:lstStyle/>
            <a:p>
              <a:endParaRPr lang="en-US"/>
            </a:p>
          </p:txBody>
        </p:sp>
        <p:sp>
          <p:nvSpPr>
            <p:cNvPr id="694" name="Freeform: Shape 693">
              <a:extLst>
                <a:ext uri="{FF2B5EF4-FFF2-40B4-BE49-F238E27FC236}">
                  <a16:creationId xmlns:a16="http://schemas.microsoft.com/office/drawing/2014/main" id="{35E1C776-0A05-4AE5-B209-CCA5D7422557}"/>
                </a:ext>
              </a:extLst>
            </p:cNvPr>
            <p:cNvSpPr/>
            <p:nvPr/>
          </p:nvSpPr>
          <p:spPr>
            <a:xfrm>
              <a:off x="9631847" y="3431397"/>
              <a:ext cx="903470" cy="182464"/>
            </a:xfrm>
            <a:custGeom>
              <a:avLst/>
              <a:gdLst>
                <a:gd name="connsiteX0" fmla="*/ 6567 w 903470"/>
                <a:gd name="connsiteY0" fmla="*/ 139 h 182464"/>
                <a:gd name="connsiteX1" fmla="*/ 6567 w 903470"/>
                <a:gd name="connsiteY1" fmla="*/ 139 h 182464"/>
                <a:gd name="connsiteX2" fmla="*/ 91 w 903470"/>
                <a:gd name="connsiteY2" fmla="*/ 3949 h 182464"/>
                <a:gd name="connsiteX3" fmla="*/ 4015 w 903470"/>
                <a:gd name="connsiteY3" fmla="*/ 9751 h 182464"/>
                <a:gd name="connsiteX4" fmla="*/ 4281 w 903470"/>
                <a:gd name="connsiteY4" fmla="*/ 9789 h 182464"/>
                <a:gd name="connsiteX5" fmla="*/ 890647 w 903470"/>
                <a:gd name="connsiteY5" fmla="*/ 180433 h 182464"/>
                <a:gd name="connsiteX6" fmla="*/ 901058 w 903470"/>
                <a:gd name="connsiteY6" fmla="*/ 182464 h 182464"/>
                <a:gd name="connsiteX7" fmla="*/ 901058 w 903470"/>
                <a:gd name="connsiteY7" fmla="*/ 182464 h 182464"/>
                <a:gd name="connsiteX8" fmla="*/ 896983 w 903470"/>
                <a:gd name="connsiteY8" fmla="*/ 176548 h 182464"/>
                <a:gd name="connsiteX9" fmla="*/ 896995 w 903470"/>
                <a:gd name="connsiteY9" fmla="*/ 176497 h 182464"/>
                <a:gd name="connsiteX10" fmla="*/ 903471 w 903470"/>
                <a:gd name="connsiteY10" fmla="*/ 172815 h 182464"/>
                <a:gd name="connsiteX11" fmla="*/ 903471 w 903470"/>
                <a:gd name="connsiteY11" fmla="*/ 172815 h 18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470" h="182464">
                  <a:moveTo>
                    <a:pt x="6567" y="139"/>
                  </a:moveTo>
                  <a:lnTo>
                    <a:pt x="6567" y="139"/>
                  </a:lnTo>
                  <a:cubicBezTo>
                    <a:pt x="3735" y="-508"/>
                    <a:pt x="891" y="1155"/>
                    <a:pt x="91" y="3949"/>
                  </a:cubicBezTo>
                  <a:cubicBezTo>
                    <a:pt x="-430" y="6628"/>
                    <a:pt x="1336" y="9230"/>
                    <a:pt x="4015" y="9751"/>
                  </a:cubicBezTo>
                  <a:cubicBezTo>
                    <a:pt x="4104" y="9764"/>
                    <a:pt x="4192" y="9776"/>
                    <a:pt x="4281" y="9789"/>
                  </a:cubicBezTo>
                  <a:lnTo>
                    <a:pt x="890647" y="180433"/>
                  </a:lnTo>
                  <a:lnTo>
                    <a:pt x="901058" y="182464"/>
                  </a:lnTo>
                  <a:lnTo>
                    <a:pt x="901058" y="182464"/>
                  </a:lnTo>
                  <a:cubicBezTo>
                    <a:pt x="898303" y="181956"/>
                    <a:pt x="896474" y="179303"/>
                    <a:pt x="896983" y="176548"/>
                  </a:cubicBezTo>
                  <a:cubicBezTo>
                    <a:pt x="896995" y="176535"/>
                    <a:pt x="896995" y="176510"/>
                    <a:pt x="896995" y="176497"/>
                  </a:cubicBezTo>
                  <a:cubicBezTo>
                    <a:pt x="897858" y="173754"/>
                    <a:pt x="900677" y="172155"/>
                    <a:pt x="903471" y="172815"/>
                  </a:cubicBezTo>
                  <a:lnTo>
                    <a:pt x="903471" y="172815"/>
                  </a:lnTo>
                  <a:close/>
                </a:path>
              </a:pathLst>
            </a:custGeom>
            <a:solidFill>
              <a:srgbClr val="000000"/>
            </a:solidFill>
            <a:ln w="12690" cap="flat">
              <a:noFill/>
              <a:prstDash val="solid"/>
              <a:miter/>
            </a:ln>
          </p:spPr>
          <p:txBody>
            <a:bodyPr rtlCol="0" anchor="ctr"/>
            <a:lstStyle/>
            <a:p>
              <a:endParaRPr lang="en-US"/>
            </a:p>
          </p:txBody>
        </p:sp>
        <p:sp>
          <p:nvSpPr>
            <p:cNvPr id="695" name="Freeform: Shape 694">
              <a:extLst>
                <a:ext uri="{FF2B5EF4-FFF2-40B4-BE49-F238E27FC236}">
                  <a16:creationId xmlns:a16="http://schemas.microsoft.com/office/drawing/2014/main" id="{ACFF4BEA-25C3-4C6A-A71F-768912D697F9}"/>
                </a:ext>
              </a:extLst>
            </p:cNvPr>
            <p:cNvSpPr/>
            <p:nvPr/>
          </p:nvSpPr>
          <p:spPr>
            <a:xfrm>
              <a:off x="3659294" y="47791"/>
              <a:ext cx="191779" cy="65335"/>
            </a:xfrm>
            <a:custGeom>
              <a:avLst/>
              <a:gdLst>
                <a:gd name="connsiteX0" fmla="*/ 184923 w 191779"/>
                <a:gd name="connsiteY0" fmla="*/ 59114 h 65335"/>
                <a:gd name="connsiteX1" fmla="*/ 191779 w 191779"/>
                <a:gd name="connsiteY1" fmla="*/ 56067 h 65335"/>
                <a:gd name="connsiteX2" fmla="*/ 191779 w 191779"/>
                <a:gd name="connsiteY2" fmla="*/ 56067 h 65335"/>
                <a:gd name="connsiteX3" fmla="*/ 188859 w 191779"/>
                <a:gd name="connsiteY3" fmla="*/ 55178 h 65335"/>
                <a:gd name="connsiteX4" fmla="*/ 15040 w 191779"/>
                <a:gd name="connsiteY4" fmla="*/ 2995 h 65335"/>
                <a:gd name="connsiteX5" fmla="*/ 6152 w 191779"/>
                <a:gd name="connsiteY5" fmla="*/ 201 h 65335"/>
                <a:gd name="connsiteX6" fmla="*/ 692 w 191779"/>
                <a:gd name="connsiteY6" fmla="*/ 1471 h 65335"/>
                <a:gd name="connsiteX7" fmla="*/ 57 w 191779"/>
                <a:gd name="connsiteY7" fmla="*/ 2233 h 65335"/>
                <a:gd name="connsiteX8" fmla="*/ 57 w 191779"/>
                <a:gd name="connsiteY8" fmla="*/ 3122 h 65335"/>
                <a:gd name="connsiteX9" fmla="*/ 57 w 191779"/>
                <a:gd name="connsiteY9" fmla="*/ 3122 h 65335"/>
                <a:gd name="connsiteX10" fmla="*/ 57 w 191779"/>
                <a:gd name="connsiteY10" fmla="*/ 3122 h 65335"/>
                <a:gd name="connsiteX11" fmla="*/ 57 w 191779"/>
                <a:gd name="connsiteY11" fmla="*/ 4137 h 65335"/>
                <a:gd name="connsiteX12" fmla="*/ 57 w 191779"/>
                <a:gd name="connsiteY12" fmla="*/ 5026 h 65335"/>
                <a:gd name="connsiteX13" fmla="*/ 57 w 191779"/>
                <a:gd name="connsiteY13" fmla="*/ 5915 h 65335"/>
                <a:gd name="connsiteX14" fmla="*/ 57 w 191779"/>
                <a:gd name="connsiteY14" fmla="*/ 6804 h 65335"/>
                <a:gd name="connsiteX15" fmla="*/ 692 w 191779"/>
                <a:gd name="connsiteY15" fmla="*/ 6804 h 65335"/>
                <a:gd name="connsiteX16" fmla="*/ 1708 w 191779"/>
                <a:gd name="connsiteY16" fmla="*/ 7565 h 65335"/>
                <a:gd name="connsiteX17" fmla="*/ 2596 w 191779"/>
                <a:gd name="connsiteY17" fmla="*/ 7565 h 65335"/>
                <a:gd name="connsiteX18" fmla="*/ 2596 w 191779"/>
                <a:gd name="connsiteY18" fmla="*/ 7565 h 65335"/>
                <a:gd name="connsiteX19" fmla="*/ 187843 w 191779"/>
                <a:gd name="connsiteY19" fmla="*/ 65335 h 65335"/>
                <a:gd name="connsiteX20" fmla="*/ 187843 w 191779"/>
                <a:gd name="connsiteY20" fmla="*/ 65335 h 65335"/>
                <a:gd name="connsiteX21" fmla="*/ 184923 w 191779"/>
                <a:gd name="connsiteY21" fmla="*/ 59114 h 6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1779" h="65335">
                  <a:moveTo>
                    <a:pt x="184923" y="59114"/>
                  </a:moveTo>
                  <a:cubicBezTo>
                    <a:pt x="186091" y="56486"/>
                    <a:pt x="189049" y="55168"/>
                    <a:pt x="191779" y="56067"/>
                  </a:cubicBezTo>
                  <a:lnTo>
                    <a:pt x="191779" y="56067"/>
                  </a:lnTo>
                  <a:lnTo>
                    <a:pt x="188859" y="55178"/>
                  </a:lnTo>
                  <a:lnTo>
                    <a:pt x="15040" y="2995"/>
                  </a:lnTo>
                  <a:lnTo>
                    <a:pt x="6152" y="201"/>
                  </a:lnTo>
                  <a:cubicBezTo>
                    <a:pt x="4234" y="-310"/>
                    <a:pt x="2190" y="166"/>
                    <a:pt x="692" y="1471"/>
                  </a:cubicBezTo>
                  <a:lnTo>
                    <a:pt x="57" y="2233"/>
                  </a:lnTo>
                  <a:lnTo>
                    <a:pt x="57" y="3122"/>
                  </a:lnTo>
                  <a:lnTo>
                    <a:pt x="57" y="3122"/>
                  </a:lnTo>
                  <a:lnTo>
                    <a:pt x="57" y="3122"/>
                  </a:lnTo>
                  <a:cubicBezTo>
                    <a:pt x="-19" y="3456"/>
                    <a:pt x="-19" y="3803"/>
                    <a:pt x="57" y="4137"/>
                  </a:cubicBezTo>
                  <a:cubicBezTo>
                    <a:pt x="-7" y="4430"/>
                    <a:pt x="-7" y="4733"/>
                    <a:pt x="57" y="5026"/>
                  </a:cubicBezTo>
                  <a:cubicBezTo>
                    <a:pt x="6" y="5320"/>
                    <a:pt x="6" y="5621"/>
                    <a:pt x="57" y="5915"/>
                  </a:cubicBezTo>
                  <a:lnTo>
                    <a:pt x="57" y="6804"/>
                  </a:lnTo>
                  <a:lnTo>
                    <a:pt x="692" y="6804"/>
                  </a:lnTo>
                  <a:lnTo>
                    <a:pt x="1708" y="7565"/>
                  </a:lnTo>
                  <a:lnTo>
                    <a:pt x="2596" y="7565"/>
                  </a:lnTo>
                  <a:lnTo>
                    <a:pt x="2596" y="7565"/>
                  </a:lnTo>
                  <a:lnTo>
                    <a:pt x="187843" y="65335"/>
                  </a:lnTo>
                  <a:lnTo>
                    <a:pt x="187843" y="65335"/>
                  </a:lnTo>
                  <a:cubicBezTo>
                    <a:pt x="185354" y="64385"/>
                    <a:pt x="184059" y="61636"/>
                    <a:pt x="184923" y="59114"/>
                  </a:cubicBezTo>
                  <a:close/>
                </a:path>
              </a:pathLst>
            </a:custGeom>
            <a:solidFill>
              <a:srgbClr val="000000"/>
            </a:solidFill>
            <a:ln w="12690" cap="flat">
              <a:noFill/>
              <a:prstDash val="solid"/>
              <a:miter/>
            </a:ln>
          </p:spPr>
          <p:txBody>
            <a:bodyPr rtlCol="0" anchor="ctr"/>
            <a:lstStyle/>
            <a:p>
              <a:endParaRPr lang="en-US"/>
            </a:p>
          </p:txBody>
        </p:sp>
        <p:sp>
          <p:nvSpPr>
            <p:cNvPr id="696" name="Freeform: Shape 695">
              <a:extLst>
                <a:ext uri="{FF2B5EF4-FFF2-40B4-BE49-F238E27FC236}">
                  <a16:creationId xmlns:a16="http://schemas.microsoft.com/office/drawing/2014/main" id="{5938058E-CA58-4B2C-AB97-E2C821BE2E1A}"/>
                </a:ext>
              </a:extLst>
            </p:cNvPr>
            <p:cNvSpPr/>
            <p:nvPr/>
          </p:nvSpPr>
          <p:spPr>
            <a:xfrm>
              <a:off x="3843999" y="103576"/>
              <a:ext cx="201002" cy="66939"/>
            </a:xfrm>
            <a:custGeom>
              <a:avLst/>
              <a:gdLst>
                <a:gd name="connsiteX0" fmla="*/ 7074 w 201002"/>
                <a:gd name="connsiteY0" fmla="*/ 281 h 66939"/>
                <a:gd name="connsiteX1" fmla="*/ 218 w 201002"/>
                <a:gd name="connsiteY1" fmla="*/ 3328 h 66939"/>
                <a:gd name="connsiteX2" fmla="*/ 3506 w 201002"/>
                <a:gd name="connsiteY2" fmla="*/ 9510 h 66939"/>
                <a:gd name="connsiteX3" fmla="*/ 3646 w 201002"/>
                <a:gd name="connsiteY3" fmla="*/ 9550 h 66939"/>
                <a:gd name="connsiteX4" fmla="*/ 3646 w 201002"/>
                <a:gd name="connsiteY4" fmla="*/ 9550 h 66939"/>
                <a:gd name="connsiteX5" fmla="*/ 185464 w 201002"/>
                <a:gd name="connsiteY5" fmla="*/ 64273 h 66939"/>
                <a:gd name="connsiteX6" fmla="*/ 194352 w 201002"/>
                <a:gd name="connsiteY6" fmla="*/ 66939 h 66939"/>
                <a:gd name="connsiteX7" fmla="*/ 196003 w 201002"/>
                <a:gd name="connsiteY7" fmla="*/ 66939 h 66939"/>
                <a:gd name="connsiteX8" fmla="*/ 200954 w 201002"/>
                <a:gd name="connsiteY8" fmla="*/ 63765 h 66939"/>
                <a:gd name="connsiteX9" fmla="*/ 200954 w 201002"/>
                <a:gd name="connsiteY9" fmla="*/ 63765 h 66939"/>
                <a:gd name="connsiteX10" fmla="*/ 200954 w 201002"/>
                <a:gd name="connsiteY10" fmla="*/ 62749 h 66939"/>
                <a:gd name="connsiteX11" fmla="*/ 200954 w 201002"/>
                <a:gd name="connsiteY11" fmla="*/ 62749 h 66939"/>
                <a:gd name="connsiteX12" fmla="*/ 200954 w 201002"/>
                <a:gd name="connsiteY12" fmla="*/ 61987 h 66939"/>
                <a:gd name="connsiteX13" fmla="*/ 200954 w 201002"/>
                <a:gd name="connsiteY13" fmla="*/ 61098 h 66939"/>
                <a:gd name="connsiteX14" fmla="*/ 200954 w 201002"/>
                <a:gd name="connsiteY14" fmla="*/ 61098 h 66939"/>
                <a:gd name="connsiteX15" fmla="*/ 200954 w 201002"/>
                <a:gd name="connsiteY15" fmla="*/ 60464 h 66939"/>
                <a:gd name="connsiteX16" fmla="*/ 200954 w 201002"/>
                <a:gd name="connsiteY16" fmla="*/ 59702 h 66939"/>
                <a:gd name="connsiteX17" fmla="*/ 200954 w 201002"/>
                <a:gd name="connsiteY17" fmla="*/ 59702 h 66939"/>
                <a:gd name="connsiteX18" fmla="*/ 200193 w 201002"/>
                <a:gd name="connsiteY18" fmla="*/ 59702 h 66939"/>
                <a:gd name="connsiteX19" fmla="*/ 199304 w 201002"/>
                <a:gd name="connsiteY19" fmla="*/ 59702 h 66939"/>
                <a:gd name="connsiteX20" fmla="*/ 199304 w 201002"/>
                <a:gd name="connsiteY20" fmla="*/ 59702 h 66939"/>
                <a:gd name="connsiteX21" fmla="*/ 15835 w 201002"/>
                <a:gd name="connsiteY21" fmla="*/ 2947 h 66939"/>
                <a:gd name="connsiteX22" fmla="*/ 6947 w 201002"/>
                <a:gd name="connsiteY22" fmla="*/ 281 h 6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002" h="66939">
                  <a:moveTo>
                    <a:pt x="7074" y="281"/>
                  </a:moveTo>
                  <a:cubicBezTo>
                    <a:pt x="4344" y="-617"/>
                    <a:pt x="1386" y="701"/>
                    <a:pt x="218" y="3328"/>
                  </a:cubicBezTo>
                  <a:cubicBezTo>
                    <a:pt x="-582" y="5944"/>
                    <a:pt x="891" y="8712"/>
                    <a:pt x="3506" y="9510"/>
                  </a:cubicBezTo>
                  <a:cubicBezTo>
                    <a:pt x="3557" y="9524"/>
                    <a:pt x="3595" y="9537"/>
                    <a:pt x="3646" y="9550"/>
                  </a:cubicBezTo>
                  <a:lnTo>
                    <a:pt x="3646" y="9550"/>
                  </a:lnTo>
                  <a:lnTo>
                    <a:pt x="185464" y="64273"/>
                  </a:lnTo>
                  <a:lnTo>
                    <a:pt x="194352" y="66939"/>
                  </a:lnTo>
                  <a:lnTo>
                    <a:pt x="196003" y="66939"/>
                  </a:lnTo>
                  <a:cubicBezTo>
                    <a:pt x="198136" y="66969"/>
                    <a:pt x="200091" y="65720"/>
                    <a:pt x="200954" y="63765"/>
                  </a:cubicBezTo>
                  <a:lnTo>
                    <a:pt x="200954" y="63765"/>
                  </a:lnTo>
                  <a:cubicBezTo>
                    <a:pt x="201018" y="63430"/>
                    <a:pt x="201018" y="63084"/>
                    <a:pt x="200954" y="62749"/>
                  </a:cubicBezTo>
                  <a:lnTo>
                    <a:pt x="200954" y="62749"/>
                  </a:lnTo>
                  <a:cubicBezTo>
                    <a:pt x="200954" y="62749"/>
                    <a:pt x="200954" y="62749"/>
                    <a:pt x="200954" y="61987"/>
                  </a:cubicBezTo>
                  <a:cubicBezTo>
                    <a:pt x="200967" y="61691"/>
                    <a:pt x="200967" y="61394"/>
                    <a:pt x="200954" y="61098"/>
                  </a:cubicBezTo>
                  <a:lnTo>
                    <a:pt x="200954" y="61098"/>
                  </a:lnTo>
                  <a:lnTo>
                    <a:pt x="200954" y="60464"/>
                  </a:lnTo>
                  <a:lnTo>
                    <a:pt x="200954" y="59702"/>
                  </a:lnTo>
                  <a:lnTo>
                    <a:pt x="200954" y="59702"/>
                  </a:lnTo>
                  <a:lnTo>
                    <a:pt x="200193" y="59702"/>
                  </a:lnTo>
                  <a:lnTo>
                    <a:pt x="199304" y="59702"/>
                  </a:lnTo>
                  <a:lnTo>
                    <a:pt x="199304" y="59702"/>
                  </a:lnTo>
                  <a:lnTo>
                    <a:pt x="15835" y="2947"/>
                  </a:lnTo>
                  <a:lnTo>
                    <a:pt x="6947" y="281"/>
                  </a:lnTo>
                  <a:close/>
                </a:path>
              </a:pathLst>
            </a:custGeom>
            <a:solidFill>
              <a:srgbClr val="000000"/>
            </a:solidFill>
            <a:ln w="12690" cap="flat">
              <a:noFill/>
              <a:prstDash val="solid"/>
              <a:miter/>
            </a:ln>
          </p:spPr>
          <p:txBody>
            <a:bodyPr rtlCol="0" anchor="ctr"/>
            <a:lstStyle/>
            <a:p>
              <a:endParaRPr lang="en-US"/>
            </a:p>
          </p:txBody>
        </p:sp>
        <p:sp>
          <p:nvSpPr>
            <p:cNvPr id="697" name="Freeform: Shape 696">
              <a:extLst>
                <a:ext uri="{FF2B5EF4-FFF2-40B4-BE49-F238E27FC236}">
                  <a16:creationId xmlns:a16="http://schemas.microsoft.com/office/drawing/2014/main" id="{C744AEAA-6973-4292-B44D-8A0C6884B271}"/>
                </a:ext>
              </a:extLst>
            </p:cNvPr>
            <p:cNvSpPr/>
            <p:nvPr/>
          </p:nvSpPr>
          <p:spPr>
            <a:xfrm>
              <a:off x="9305210" y="774491"/>
              <a:ext cx="9179" cy="82280"/>
            </a:xfrm>
            <a:custGeom>
              <a:avLst/>
              <a:gdLst>
                <a:gd name="connsiteX0" fmla="*/ 3847 w 9179"/>
                <a:gd name="connsiteY0" fmla="*/ 77329 h 82280"/>
                <a:gd name="connsiteX1" fmla="*/ 9180 w 9179"/>
                <a:gd name="connsiteY1" fmla="*/ 82146 h 82280"/>
                <a:gd name="connsiteX2" fmla="*/ 9180 w 9179"/>
                <a:gd name="connsiteY2" fmla="*/ 82281 h 82280"/>
                <a:gd name="connsiteX3" fmla="*/ 9180 w 9179"/>
                <a:gd name="connsiteY3" fmla="*/ 4831 h 82280"/>
                <a:gd name="connsiteX4" fmla="*/ 3860 w 9179"/>
                <a:gd name="connsiteY4" fmla="*/ 6 h 82280"/>
                <a:gd name="connsiteX5" fmla="*/ 3847 w 9179"/>
                <a:gd name="connsiteY5" fmla="*/ 6 h 82280"/>
                <a:gd name="connsiteX6" fmla="*/ 38 w 9179"/>
                <a:gd name="connsiteY6" fmla="*/ 1276 h 82280"/>
                <a:gd name="connsiteX7" fmla="*/ 38 w 9179"/>
                <a:gd name="connsiteY7" fmla="*/ 1276 h 82280"/>
                <a:gd name="connsiteX8" fmla="*/ 38 w 9179"/>
                <a:gd name="connsiteY8" fmla="*/ 1911 h 82280"/>
                <a:gd name="connsiteX9" fmla="*/ 38 w 9179"/>
                <a:gd name="connsiteY9" fmla="*/ 2672 h 82280"/>
                <a:gd name="connsiteX10" fmla="*/ 38 w 9179"/>
                <a:gd name="connsiteY10" fmla="*/ 2672 h 82280"/>
                <a:gd name="connsiteX11" fmla="*/ 38 w 9179"/>
                <a:gd name="connsiteY11" fmla="*/ 2672 h 82280"/>
                <a:gd name="connsiteX12" fmla="*/ 38 w 9179"/>
                <a:gd name="connsiteY12" fmla="*/ 3688 h 82280"/>
                <a:gd name="connsiteX13" fmla="*/ 38 w 9179"/>
                <a:gd name="connsiteY13" fmla="*/ 3688 h 82280"/>
                <a:gd name="connsiteX14" fmla="*/ 38 w 9179"/>
                <a:gd name="connsiteY14" fmla="*/ 81138 h 82280"/>
                <a:gd name="connsiteX15" fmla="*/ 3847 w 9179"/>
                <a:gd name="connsiteY15" fmla="*/ 77329 h 8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79" h="82280">
                  <a:moveTo>
                    <a:pt x="3847" y="77329"/>
                  </a:moveTo>
                  <a:cubicBezTo>
                    <a:pt x="6653" y="77188"/>
                    <a:pt x="9040" y="79344"/>
                    <a:pt x="9180" y="82146"/>
                  </a:cubicBezTo>
                  <a:cubicBezTo>
                    <a:pt x="9180" y="82191"/>
                    <a:pt x="9180" y="82236"/>
                    <a:pt x="9180" y="82281"/>
                  </a:cubicBezTo>
                  <a:lnTo>
                    <a:pt x="9180" y="4831"/>
                  </a:lnTo>
                  <a:cubicBezTo>
                    <a:pt x="9040" y="2029"/>
                    <a:pt x="6666" y="-131"/>
                    <a:pt x="3860" y="6"/>
                  </a:cubicBezTo>
                  <a:cubicBezTo>
                    <a:pt x="3860" y="6"/>
                    <a:pt x="3847" y="6"/>
                    <a:pt x="3847" y="6"/>
                  </a:cubicBezTo>
                  <a:cubicBezTo>
                    <a:pt x="2476" y="-3"/>
                    <a:pt x="1130" y="443"/>
                    <a:pt x="38" y="1276"/>
                  </a:cubicBezTo>
                  <a:lnTo>
                    <a:pt x="38" y="1276"/>
                  </a:lnTo>
                  <a:cubicBezTo>
                    <a:pt x="-13" y="1484"/>
                    <a:pt x="-13" y="1702"/>
                    <a:pt x="38" y="1911"/>
                  </a:cubicBezTo>
                  <a:cubicBezTo>
                    <a:pt x="0" y="2163"/>
                    <a:pt x="0" y="2420"/>
                    <a:pt x="38" y="2672"/>
                  </a:cubicBezTo>
                  <a:lnTo>
                    <a:pt x="38" y="2672"/>
                  </a:lnTo>
                  <a:cubicBezTo>
                    <a:pt x="38" y="2672"/>
                    <a:pt x="38" y="2672"/>
                    <a:pt x="38" y="2672"/>
                  </a:cubicBezTo>
                  <a:cubicBezTo>
                    <a:pt x="-13" y="3009"/>
                    <a:pt x="-13" y="3352"/>
                    <a:pt x="38" y="3688"/>
                  </a:cubicBezTo>
                  <a:lnTo>
                    <a:pt x="38" y="3688"/>
                  </a:lnTo>
                  <a:lnTo>
                    <a:pt x="38" y="81138"/>
                  </a:lnTo>
                  <a:cubicBezTo>
                    <a:pt x="496" y="79259"/>
                    <a:pt x="1968" y="77793"/>
                    <a:pt x="3847" y="77329"/>
                  </a:cubicBezTo>
                  <a:close/>
                </a:path>
              </a:pathLst>
            </a:custGeom>
            <a:solidFill>
              <a:srgbClr val="000000"/>
            </a:solidFill>
            <a:ln w="12690" cap="flat">
              <a:noFill/>
              <a:prstDash val="solid"/>
              <a:miter/>
            </a:ln>
          </p:spPr>
          <p:txBody>
            <a:bodyPr rtlCol="0" anchor="ctr"/>
            <a:lstStyle/>
            <a:p>
              <a:endParaRPr lang="en-US"/>
            </a:p>
          </p:txBody>
        </p:sp>
        <p:sp>
          <p:nvSpPr>
            <p:cNvPr id="698" name="Freeform: Shape 697">
              <a:extLst>
                <a:ext uri="{FF2B5EF4-FFF2-40B4-BE49-F238E27FC236}">
                  <a16:creationId xmlns:a16="http://schemas.microsoft.com/office/drawing/2014/main" id="{CFA3D11E-20D2-4416-AB86-E9AD35173B53}"/>
                </a:ext>
              </a:extLst>
            </p:cNvPr>
            <p:cNvSpPr/>
            <p:nvPr/>
          </p:nvSpPr>
          <p:spPr>
            <a:xfrm>
              <a:off x="9303550" y="851814"/>
              <a:ext cx="10586" cy="52951"/>
            </a:xfrm>
            <a:custGeom>
              <a:avLst/>
              <a:gdLst>
                <a:gd name="connsiteX0" fmla="*/ 5507 w 10586"/>
                <a:gd name="connsiteY0" fmla="*/ 7 h 52951"/>
                <a:gd name="connsiteX1" fmla="*/ 48 w 10586"/>
                <a:gd name="connsiteY1" fmla="*/ 4946 h 52951"/>
                <a:gd name="connsiteX2" fmla="*/ 48 w 10586"/>
                <a:gd name="connsiteY2" fmla="*/ 4958 h 52951"/>
                <a:gd name="connsiteX3" fmla="*/ 48 w 10586"/>
                <a:gd name="connsiteY3" fmla="*/ 52952 h 52951"/>
                <a:gd name="connsiteX4" fmla="*/ 48 w 10586"/>
                <a:gd name="connsiteY4" fmla="*/ 51174 h 52951"/>
                <a:gd name="connsiteX5" fmla="*/ 6904 w 10586"/>
                <a:gd name="connsiteY5" fmla="*/ 48127 h 52951"/>
                <a:gd name="connsiteX6" fmla="*/ 10586 w 10586"/>
                <a:gd name="connsiteY6" fmla="*/ 49143 h 52951"/>
                <a:gd name="connsiteX7" fmla="*/ 10586 w 10586"/>
                <a:gd name="connsiteY7" fmla="*/ 4958 h 52951"/>
                <a:gd name="connsiteX8" fmla="*/ 5507 w 10586"/>
                <a:gd name="connsiteY8" fmla="*/ 7 h 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6" h="52951">
                  <a:moveTo>
                    <a:pt x="5507" y="7"/>
                  </a:moveTo>
                  <a:cubicBezTo>
                    <a:pt x="2638" y="-137"/>
                    <a:pt x="187" y="2075"/>
                    <a:pt x="48" y="4946"/>
                  </a:cubicBezTo>
                  <a:cubicBezTo>
                    <a:pt x="48" y="4949"/>
                    <a:pt x="48" y="4955"/>
                    <a:pt x="48" y="4958"/>
                  </a:cubicBezTo>
                  <a:lnTo>
                    <a:pt x="48" y="52952"/>
                  </a:lnTo>
                  <a:cubicBezTo>
                    <a:pt x="-16" y="52362"/>
                    <a:pt x="-16" y="51765"/>
                    <a:pt x="48" y="51174"/>
                  </a:cubicBezTo>
                  <a:cubicBezTo>
                    <a:pt x="1203" y="48546"/>
                    <a:pt x="4174" y="47228"/>
                    <a:pt x="6904" y="48127"/>
                  </a:cubicBezTo>
                  <a:lnTo>
                    <a:pt x="10586" y="49143"/>
                  </a:lnTo>
                  <a:lnTo>
                    <a:pt x="10586" y="4958"/>
                  </a:lnTo>
                  <a:cubicBezTo>
                    <a:pt x="10523" y="2203"/>
                    <a:pt x="8262" y="5"/>
                    <a:pt x="5507" y="7"/>
                  </a:cubicBezTo>
                  <a:close/>
                </a:path>
              </a:pathLst>
            </a:custGeom>
            <a:solidFill>
              <a:srgbClr val="000000"/>
            </a:solidFill>
            <a:ln w="12690" cap="flat">
              <a:noFill/>
              <a:prstDash val="solid"/>
              <a:miter/>
            </a:ln>
          </p:spPr>
          <p:txBody>
            <a:bodyPr rtlCol="0" anchor="ctr"/>
            <a:lstStyle/>
            <a:p>
              <a:endParaRPr lang="en-US"/>
            </a:p>
          </p:txBody>
        </p:sp>
        <p:sp>
          <p:nvSpPr>
            <p:cNvPr id="699" name="Freeform: Shape 698">
              <a:extLst>
                <a:ext uri="{FF2B5EF4-FFF2-40B4-BE49-F238E27FC236}">
                  <a16:creationId xmlns:a16="http://schemas.microsoft.com/office/drawing/2014/main" id="{0E78B2FF-F672-45D9-93C2-665DC535E77B}"/>
                </a:ext>
              </a:extLst>
            </p:cNvPr>
            <p:cNvSpPr/>
            <p:nvPr/>
          </p:nvSpPr>
          <p:spPr>
            <a:xfrm>
              <a:off x="9693941" y="457842"/>
              <a:ext cx="97977" cy="36312"/>
            </a:xfrm>
            <a:custGeom>
              <a:avLst/>
              <a:gdLst>
                <a:gd name="connsiteX0" fmla="*/ 3766 w 97977"/>
                <a:gd name="connsiteY0" fmla="*/ 8761 h 36312"/>
                <a:gd name="connsiteX1" fmla="*/ 6814 w 97977"/>
                <a:gd name="connsiteY1" fmla="*/ 9776 h 36312"/>
                <a:gd name="connsiteX2" fmla="*/ 94549 w 97977"/>
                <a:gd name="connsiteY2" fmla="*/ 36313 h 36312"/>
                <a:gd name="connsiteX3" fmla="*/ 90931 w 97977"/>
                <a:gd name="connsiteY3" fmla="*/ 30739 h 36312"/>
                <a:gd name="connsiteX4" fmla="*/ 91121 w 97977"/>
                <a:gd name="connsiteY4" fmla="*/ 30091 h 36312"/>
                <a:gd name="connsiteX5" fmla="*/ 97977 w 97977"/>
                <a:gd name="connsiteY5" fmla="*/ 26917 h 36312"/>
                <a:gd name="connsiteX6" fmla="*/ 95057 w 97977"/>
                <a:gd name="connsiteY6" fmla="*/ 26155 h 36312"/>
                <a:gd name="connsiteX7" fmla="*/ 9861 w 97977"/>
                <a:gd name="connsiteY7" fmla="*/ 762 h 36312"/>
                <a:gd name="connsiteX8" fmla="*/ 7195 w 97977"/>
                <a:gd name="connsiteY8" fmla="*/ 0 h 36312"/>
                <a:gd name="connsiteX9" fmla="*/ 4402 w 97977"/>
                <a:gd name="connsiteY9" fmla="*/ 0 h 36312"/>
                <a:gd name="connsiteX10" fmla="*/ 3386 w 97977"/>
                <a:gd name="connsiteY10" fmla="*/ 0 h 36312"/>
                <a:gd name="connsiteX11" fmla="*/ 2497 w 97977"/>
                <a:gd name="connsiteY11" fmla="*/ 0 h 36312"/>
                <a:gd name="connsiteX12" fmla="*/ 339 w 97977"/>
                <a:gd name="connsiteY12" fmla="*/ 2412 h 36312"/>
                <a:gd name="connsiteX13" fmla="*/ 2954 w 97977"/>
                <a:gd name="connsiteY13" fmla="*/ 8518 h 36312"/>
                <a:gd name="connsiteX14" fmla="*/ 3766 w 97977"/>
                <a:gd name="connsiteY14" fmla="*/ 8761 h 3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977" h="36312">
                  <a:moveTo>
                    <a:pt x="3766" y="8761"/>
                  </a:moveTo>
                  <a:lnTo>
                    <a:pt x="6814" y="9776"/>
                  </a:lnTo>
                  <a:lnTo>
                    <a:pt x="94549" y="36313"/>
                  </a:lnTo>
                  <a:cubicBezTo>
                    <a:pt x="92009" y="35772"/>
                    <a:pt x="90397" y="33277"/>
                    <a:pt x="90931" y="30739"/>
                  </a:cubicBezTo>
                  <a:cubicBezTo>
                    <a:pt x="90981" y="30519"/>
                    <a:pt x="91045" y="30302"/>
                    <a:pt x="91121" y="30091"/>
                  </a:cubicBezTo>
                  <a:cubicBezTo>
                    <a:pt x="92238" y="27413"/>
                    <a:pt x="95209" y="26035"/>
                    <a:pt x="97977" y="26917"/>
                  </a:cubicBezTo>
                  <a:lnTo>
                    <a:pt x="95057" y="26155"/>
                  </a:lnTo>
                  <a:lnTo>
                    <a:pt x="9861" y="762"/>
                  </a:lnTo>
                  <a:lnTo>
                    <a:pt x="7195" y="0"/>
                  </a:lnTo>
                  <a:lnTo>
                    <a:pt x="4402" y="0"/>
                  </a:lnTo>
                  <a:lnTo>
                    <a:pt x="3386" y="0"/>
                  </a:lnTo>
                  <a:lnTo>
                    <a:pt x="2497" y="0"/>
                  </a:lnTo>
                  <a:cubicBezTo>
                    <a:pt x="1469" y="471"/>
                    <a:pt x="694" y="1345"/>
                    <a:pt x="339" y="2412"/>
                  </a:cubicBezTo>
                  <a:cubicBezTo>
                    <a:pt x="-627" y="4821"/>
                    <a:pt x="542" y="7556"/>
                    <a:pt x="2954" y="8518"/>
                  </a:cubicBezTo>
                  <a:cubicBezTo>
                    <a:pt x="3221" y="8624"/>
                    <a:pt x="3487" y="8705"/>
                    <a:pt x="3766" y="8761"/>
                  </a:cubicBezTo>
                  <a:close/>
                </a:path>
              </a:pathLst>
            </a:custGeom>
            <a:solidFill>
              <a:srgbClr val="000000"/>
            </a:solidFill>
            <a:ln w="12690" cap="flat">
              <a:noFill/>
              <a:prstDash val="solid"/>
              <a:miter/>
            </a:ln>
          </p:spPr>
          <p:txBody>
            <a:bodyPr rtlCol="0" anchor="ctr"/>
            <a:lstStyle/>
            <a:p>
              <a:endParaRPr lang="en-US"/>
            </a:p>
          </p:txBody>
        </p:sp>
        <p:sp>
          <p:nvSpPr>
            <p:cNvPr id="700" name="Freeform: Shape 699">
              <a:extLst>
                <a:ext uri="{FF2B5EF4-FFF2-40B4-BE49-F238E27FC236}">
                  <a16:creationId xmlns:a16="http://schemas.microsoft.com/office/drawing/2014/main" id="{9E7FFA9B-0246-4145-AF94-2136362D9FF1}"/>
                </a:ext>
              </a:extLst>
            </p:cNvPr>
            <p:cNvSpPr/>
            <p:nvPr/>
          </p:nvSpPr>
          <p:spPr>
            <a:xfrm>
              <a:off x="9784768" y="484493"/>
              <a:ext cx="379712" cy="121139"/>
            </a:xfrm>
            <a:custGeom>
              <a:avLst/>
              <a:gdLst>
                <a:gd name="connsiteX0" fmla="*/ 293 w 379712"/>
                <a:gd name="connsiteY0" fmla="*/ 3440 h 121139"/>
                <a:gd name="connsiteX1" fmla="*/ 3074 w 379712"/>
                <a:gd name="connsiteY1" fmla="*/ 9474 h 121139"/>
                <a:gd name="connsiteX2" fmla="*/ 3722 w 379712"/>
                <a:gd name="connsiteY2" fmla="*/ 9661 h 121139"/>
                <a:gd name="connsiteX3" fmla="*/ 363423 w 379712"/>
                <a:gd name="connsiteY3" fmla="*/ 118218 h 121139"/>
                <a:gd name="connsiteX4" fmla="*/ 373073 w 379712"/>
                <a:gd name="connsiteY4" fmla="*/ 121139 h 121139"/>
                <a:gd name="connsiteX5" fmla="*/ 374723 w 379712"/>
                <a:gd name="connsiteY5" fmla="*/ 121139 h 121139"/>
                <a:gd name="connsiteX6" fmla="*/ 379675 w 379712"/>
                <a:gd name="connsiteY6" fmla="*/ 117964 h 121139"/>
                <a:gd name="connsiteX7" fmla="*/ 379675 w 379712"/>
                <a:gd name="connsiteY7" fmla="*/ 117964 h 121139"/>
                <a:gd name="connsiteX8" fmla="*/ 379675 w 379712"/>
                <a:gd name="connsiteY8" fmla="*/ 117964 h 121139"/>
                <a:gd name="connsiteX9" fmla="*/ 379675 w 379712"/>
                <a:gd name="connsiteY9" fmla="*/ 116949 h 121139"/>
                <a:gd name="connsiteX10" fmla="*/ 379675 w 379712"/>
                <a:gd name="connsiteY10" fmla="*/ 116060 h 121139"/>
                <a:gd name="connsiteX11" fmla="*/ 379675 w 379712"/>
                <a:gd name="connsiteY11" fmla="*/ 115171 h 121139"/>
                <a:gd name="connsiteX12" fmla="*/ 379675 w 379712"/>
                <a:gd name="connsiteY12" fmla="*/ 115171 h 121139"/>
                <a:gd name="connsiteX13" fmla="*/ 379675 w 379712"/>
                <a:gd name="connsiteY13" fmla="*/ 115171 h 121139"/>
                <a:gd name="connsiteX14" fmla="*/ 379675 w 379712"/>
                <a:gd name="connsiteY14" fmla="*/ 114409 h 121139"/>
                <a:gd name="connsiteX15" fmla="*/ 379675 w 379712"/>
                <a:gd name="connsiteY15" fmla="*/ 114409 h 121139"/>
                <a:gd name="connsiteX16" fmla="*/ 379040 w 379712"/>
                <a:gd name="connsiteY16" fmla="*/ 114409 h 121139"/>
                <a:gd name="connsiteX17" fmla="*/ 378151 w 379712"/>
                <a:gd name="connsiteY17" fmla="*/ 114409 h 121139"/>
                <a:gd name="connsiteX18" fmla="*/ 378151 w 379712"/>
                <a:gd name="connsiteY18" fmla="*/ 114409 h 121139"/>
                <a:gd name="connsiteX19" fmla="*/ 16292 w 379712"/>
                <a:gd name="connsiteY19" fmla="*/ 3059 h 121139"/>
                <a:gd name="connsiteX20" fmla="*/ 7150 w 379712"/>
                <a:gd name="connsiteY20" fmla="*/ 266 h 121139"/>
                <a:gd name="connsiteX21" fmla="*/ 293 w 379712"/>
                <a:gd name="connsiteY21" fmla="*/ 3440 h 12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712" h="121139">
                  <a:moveTo>
                    <a:pt x="293" y="3440"/>
                  </a:moveTo>
                  <a:cubicBezTo>
                    <a:pt x="-608" y="5874"/>
                    <a:pt x="637" y="8576"/>
                    <a:pt x="3074" y="9474"/>
                  </a:cubicBezTo>
                  <a:cubicBezTo>
                    <a:pt x="3290" y="9552"/>
                    <a:pt x="3506" y="9614"/>
                    <a:pt x="3722" y="9661"/>
                  </a:cubicBezTo>
                  <a:lnTo>
                    <a:pt x="363423" y="118218"/>
                  </a:lnTo>
                  <a:lnTo>
                    <a:pt x="373073" y="121139"/>
                  </a:lnTo>
                  <a:lnTo>
                    <a:pt x="374723" y="121139"/>
                  </a:lnTo>
                  <a:cubicBezTo>
                    <a:pt x="376856" y="121169"/>
                    <a:pt x="378811" y="119920"/>
                    <a:pt x="379675" y="117964"/>
                  </a:cubicBezTo>
                  <a:lnTo>
                    <a:pt x="379675" y="117964"/>
                  </a:lnTo>
                  <a:lnTo>
                    <a:pt x="379675" y="117964"/>
                  </a:lnTo>
                  <a:cubicBezTo>
                    <a:pt x="379726" y="117628"/>
                    <a:pt x="379726" y="117285"/>
                    <a:pt x="379675" y="116949"/>
                  </a:cubicBezTo>
                  <a:lnTo>
                    <a:pt x="379675" y="116060"/>
                  </a:lnTo>
                  <a:lnTo>
                    <a:pt x="379675" y="115171"/>
                  </a:lnTo>
                  <a:lnTo>
                    <a:pt x="379675" y="115171"/>
                  </a:lnTo>
                  <a:lnTo>
                    <a:pt x="379675" y="115171"/>
                  </a:lnTo>
                  <a:lnTo>
                    <a:pt x="379675" y="114409"/>
                  </a:lnTo>
                  <a:lnTo>
                    <a:pt x="379675" y="114409"/>
                  </a:lnTo>
                  <a:lnTo>
                    <a:pt x="379040" y="114409"/>
                  </a:lnTo>
                  <a:lnTo>
                    <a:pt x="378151" y="114409"/>
                  </a:lnTo>
                  <a:lnTo>
                    <a:pt x="378151" y="114409"/>
                  </a:lnTo>
                  <a:lnTo>
                    <a:pt x="16292" y="3059"/>
                  </a:lnTo>
                  <a:lnTo>
                    <a:pt x="7150" y="266"/>
                  </a:lnTo>
                  <a:cubicBezTo>
                    <a:pt x="4382" y="-617"/>
                    <a:pt x="1411" y="762"/>
                    <a:pt x="293" y="3440"/>
                  </a:cubicBezTo>
                  <a:close/>
                </a:path>
              </a:pathLst>
            </a:custGeom>
            <a:solidFill>
              <a:srgbClr val="000000"/>
            </a:solidFill>
            <a:ln w="12690" cap="flat">
              <a:noFill/>
              <a:prstDash val="solid"/>
              <a:miter/>
            </a:ln>
          </p:spPr>
          <p:txBody>
            <a:bodyPr rtlCol="0" anchor="ctr"/>
            <a:lstStyle/>
            <a:p>
              <a:endParaRPr lang="en-US"/>
            </a:p>
          </p:txBody>
        </p:sp>
        <p:sp>
          <p:nvSpPr>
            <p:cNvPr id="701" name="Freeform: Shape 700">
              <a:extLst>
                <a:ext uri="{FF2B5EF4-FFF2-40B4-BE49-F238E27FC236}">
                  <a16:creationId xmlns:a16="http://schemas.microsoft.com/office/drawing/2014/main" id="{0F941348-6D8F-4783-A2F1-B930F3F930F9}"/>
                </a:ext>
              </a:extLst>
            </p:cNvPr>
            <p:cNvSpPr/>
            <p:nvPr/>
          </p:nvSpPr>
          <p:spPr>
            <a:xfrm>
              <a:off x="8741764" y="4059389"/>
              <a:ext cx="9960" cy="48507"/>
            </a:xfrm>
            <a:custGeom>
              <a:avLst/>
              <a:gdLst>
                <a:gd name="connsiteX0" fmla="*/ 5460 w 9960"/>
                <a:gd name="connsiteY0" fmla="*/ 4825 h 48507"/>
                <a:gd name="connsiteX1" fmla="*/ 0 w 9960"/>
                <a:gd name="connsiteY1" fmla="*/ 0 h 48507"/>
                <a:gd name="connsiteX2" fmla="*/ 0 w 9960"/>
                <a:gd name="connsiteY2" fmla="*/ 43677 h 48507"/>
                <a:gd name="connsiteX3" fmla="*/ 5460 w 9960"/>
                <a:gd name="connsiteY3" fmla="*/ 48502 h 48507"/>
                <a:gd name="connsiteX4" fmla="*/ 9141 w 9960"/>
                <a:gd name="connsiteY4" fmla="*/ 47232 h 48507"/>
                <a:gd name="connsiteX5" fmla="*/ 9904 w 9960"/>
                <a:gd name="connsiteY5" fmla="*/ 46216 h 48507"/>
                <a:gd name="connsiteX6" fmla="*/ 9904 w 9960"/>
                <a:gd name="connsiteY6" fmla="*/ 45581 h 48507"/>
                <a:gd name="connsiteX7" fmla="*/ 9904 w 9960"/>
                <a:gd name="connsiteY7" fmla="*/ 44692 h 48507"/>
                <a:gd name="connsiteX8" fmla="*/ 9904 w 9960"/>
                <a:gd name="connsiteY8" fmla="*/ 43804 h 48507"/>
                <a:gd name="connsiteX9" fmla="*/ 9904 w 9960"/>
                <a:gd name="connsiteY9" fmla="*/ 43804 h 48507"/>
                <a:gd name="connsiteX10" fmla="*/ 9904 w 9960"/>
                <a:gd name="connsiteY10" fmla="*/ 127 h 48507"/>
                <a:gd name="connsiteX11" fmla="*/ 5460 w 9960"/>
                <a:gd name="connsiteY11" fmla="*/ 4825 h 4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0" h="48507">
                  <a:moveTo>
                    <a:pt x="5460" y="4825"/>
                  </a:moveTo>
                  <a:cubicBezTo>
                    <a:pt x="2628" y="4964"/>
                    <a:pt x="203" y="2831"/>
                    <a:pt x="0" y="0"/>
                  </a:cubicBezTo>
                  <a:lnTo>
                    <a:pt x="0" y="43677"/>
                  </a:lnTo>
                  <a:cubicBezTo>
                    <a:pt x="203" y="46508"/>
                    <a:pt x="2628" y="48641"/>
                    <a:pt x="5460" y="48502"/>
                  </a:cubicBezTo>
                  <a:cubicBezTo>
                    <a:pt x="6792" y="48489"/>
                    <a:pt x="8088" y="48044"/>
                    <a:pt x="9141" y="47232"/>
                  </a:cubicBezTo>
                  <a:lnTo>
                    <a:pt x="9904" y="46216"/>
                  </a:lnTo>
                  <a:lnTo>
                    <a:pt x="9904" y="45581"/>
                  </a:lnTo>
                  <a:cubicBezTo>
                    <a:pt x="9980" y="45289"/>
                    <a:pt x="9980" y="44984"/>
                    <a:pt x="9904" y="44692"/>
                  </a:cubicBezTo>
                  <a:cubicBezTo>
                    <a:pt x="9954" y="44400"/>
                    <a:pt x="9954" y="44096"/>
                    <a:pt x="9904" y="43804"/>
                  </a:cubicBezTo>
                  <a:lnTo>
                    <a:pt x="9904" y="43804"/>
                  </a:lnTo>
                  <a:lnTo>
                    <a:pt x="9904" y="127"/>
                  </a:lnTo>
                  <a:cubicBezTo>
                    <a:pt x="9739" y="2552"/>
                    <a:pt x="7872" y="4520"/>
                    <a:pt x="5460" y="4825"/>
                  </a:cubicBezTo>
                  <a:close/>
                </a:path>
              </a:pathLst>
            </a:custGeom>
            <a:solidFill>
              <a:srgbClr val="000000"/>
            </a:solidFill>
            <a:ln w="12690" cap="flat">
              <a:noFill/>
              <a:prstDash val="solid"/>
              <a:miter/>
            </a:ln>
          </p:spPr>
          <p:txBody>
            <a:bodyPr rtlCol="0" anchor="ctr"/>
            <a:lstStyle/>
            <a:p>
              <a:endParaRPr lang="en-US"/>
            </a:p>
          </p:txBody>
        </p:sp>
        <p:sp>
          <p:nvSpPr>
            <p:cNvPr id="702" name="Freeform: Shape 701">
              <a:extLst>
                <a:ext uri="{FF2B5EF4-FFF2-40B4-BE49-F238E27FC236}">
                  <a16:creationId xmlns:a16="http://schemas.microsoft.com/office/drawing/2014/main" id="{80D40C5F-B081-4DE6-86FA-43B3EB016CCC}"/>
                </a:ext>
              </a:extLst>
            </p:cNvPr>
            <p:cNvSpPr/>
            <p:nvPr/>
          </p:nvSpPr>
          <p:spPr>
            <a:xfrm>
              <a:off x="8742018" y="3999460"/>
              <a:ext cx="10791" cy="65070"/>
            </a:xfrm>
            <a:custGeom>
              <a:avLst/>
              <a:gdLst>
                <a:gd name="connsiteX0" fmla="*/ 10538 w 10791"/>
                <a:gd name="connsiteY0" fmla="*/ 0 h 65070"/>
                <a:gd name="connsiteX1" fmla="*/ 10538 w 10791"/>
                <a:gd name="connsiteY1" fmla="*/ 1778 h 65070"/>
                <a:gd name="connsiteX2" fmla="*/ 5460 w 10791"/>
                <a:gd name="connsiteY2" fmla="*/ 5206 h 65070"/>
                <a:gd name="connsiteX3" fmla="*/ 3682 w 10791"/>
                <a:gd name="connsiteY3" fmla="*/ 5206 h 65070"/>
                <a:gd name="connsiteX4" fmla="*/ 0 w 10791"/>
                <a:gd name="connsiteY4" fmla="*/ 4063 h 65070"/>
                <a:gd name="connsiteX5" fmla="*/ 0 w 10791"/>
                <a:gd name="connsiteY5" fmla="*/ 60436 h 65070"/>
                <a:gd name="connsiteX6" fmla="*/ 6221 w 10791"/>
                <a:gd name="connsiteY6" fmla="*/ 65007 h 65070"/>
                <a:gd name="connsiteX7" fmla="*/ 10792 w 10791"/>
                <a:gd name="connsiteY7" fmla="*/ 60436 h 65070"/>
                <a:gd name="connsiteX8" fmla="*/ 10792 w 10791"/>
                <a:gd name="connsiteY8" fmla="*/ 0 h 6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65070">
                  <a:moveTo>
                    <a:pt x="10538" y="0"/>
                  </a:moveTo>
                  <a:cubicBezTo>
                    <a:pt x="10665" y="584"/>
                    <a:pt x="10665" y="1193"/>
                    <a:pt x="10538" y="1778"/>
                  </a:cubicBezTo>
                  <a:cubicBezTo>
                    <a:pt x="9700" y="3847"/>
                    <a:pt x="7694" y="5206"/>
                    <a:pt x="5460" y="5206"/>
                  </a:cubicBezTo>
                  <a:lnTo>
                    <a:pt x="3682" y="5206"/>
                  </a:lnTo>
                  <a:lnTo>
                    <a:pt x="0" y="4063"/>
                  </a:lnTo>
                  <a:lnTo>
                    <a:pt x="0" y="60436"/>
                  </a:lnTo>
                  <a:cubicBezTo>
                    <a:pt x="457" y="63420"/>
                    <a:pt x="3250" y="65464"/>
                    <a:pt x="6221" y="65007"/>
                  </a:cubicBezTo>
                  <a:cubicBezTo>
                    <a:pt x="8583" y="64639"/>
                    <a:pt x="10424" y="62798"/>
                    <a:pt x="10792" y="60436"/>
                  </a:cubicBezTo>
                  <a:lnTo>
                    <a:pt x="10792" y="0"/>
                  </a:lnTo>
                  <a:close/>
                </a:path>
              </a:pathLst>
            </a:custGeom>
            <a:solidFill>
              <a:srgbClr val="000000"/>
            </a:solidFill>
            <a:ln w="12690" cap="flat">
              <a:noFill/>
              <a:prstDash val="solid"/>
              <a:miter/>
            </a:ln>
          </p:spPr>
          <p:txBody>
            <a:bodyPr rtlCol="0" anchor="ctr"/>
            <a:lstStyle/>
            <a:p>
              <a:endParaRPr lang="en-US"/>
            </a:p>
          </p:txBody>
        </p:sp>
        <p:sp>
          <p:nvSpPr>
            <p:cNvPr id="703" name="Freeform: Shape 702">
              <a:extLst>
                <a:ext uri="{FF2B5EF4-FFF2-40B4-BE49-F238E27FC236}">
                  <a16:creationId xmlns:a16="http://schemas.microsoft.com/office/drawing/2014/main" id="{909B4451-0F04-435A-B998-7A1BC9B457A3}"/>
                </a:ext>
              </a:extLst>
            </p:cNvPr>
            <p:cNvSpPr/>
            <p:nvPr/>
          </p:nvSpPr>
          <p:spPr>
            <a:xfrm>
              <a:off x="8749381" y="3995017"/>
              <a:ext cx="1143" cy="12696"/>
            </a:xfrm>
            <a:custGeom>
              <a:avLst/>
              <a:gdLst>
                <a:gd name="connsiteX0" fmla="*/ 0 w 1143"/>
                <a:gd name="connsiteY0" fmla="*/ 0 h 12696"/>
                <a:gd name="connsiteX1" fmla="*/ 0 w 1143"/>
                <a:gd name="connsiteY1" fmla="*/ 0 h 12696"/>
                <a:gd name="connsiteX2" fmla="*/ 1143 w 1143"/>
                <a:gd name="connsiteY2" fmla="*/ 0 h 12696"/>
              </a:gdLst>
              <a:ahLst/>
              <a:cxnLst>
                <a:cxn ang="0">
                  <a:pos x="connsiteX0" y="connsiteY0"/>
                </a:cxn>
                <a:cxn ang="0">
                  <a:pos x="connsiteX1" y="connsiteY1"/>
                </a:cxn>
                <a:cxn ang="0">
                  <a:pos x="connsiteX2" y="connsiteY2"/>
                </a:cxn>
              </a:cxnLst>
              <a:rect l="l" t="t" r="r" b="b"/>
              <a:pathLst>
                <a:path w="1143" h="12696">
                  <a:moveTo>
                    <a:pt x="0" y="0"/>
                  </a:moveTo>
                  <a:lnTo>
                    <a:pt x="0" y="0"/>
                  </a:lnTo>
                  <a:lnTo>
                    <a:pt x="1143" y="0"/>
                  </a:lnTo>
                  <a:close/>
                </a:path>
              </a:pathLst>
            </a:custGeom>
            <a:solidFill>
              <a:srgbClr val="000000"/>
            </a:solidFill>
            <a:ln w="12690" cap="flat">
              <a:noFill/>
              <a:prstDash val="solid"/>
              <a:miter/>
            </a:ln>
          </p:spPr>
          <p:txBody>
            <a:bodyPr rtlCol="0" anchor="ctr"/>
            <a:lstStyle/>
            <a:p>
              <a:endParaRPr lang="en-US"/>
            </a:p>
          </p:txBody>
        </p:sp>
        <p:sp>
          <p:nvSpPr>
            <p:cNvPr id="704" name="Freeform: Shape 703">
              <a:extLst>
                <a:ext uri="{FF2B5EF4-FFF2-40B4-BE49-F238E27FC236}">
                  <a16:creationId xmlns:a16="http://schemas.microsoft.com/office/drawing/2014/main" id="{ABEE547E-08E0-41F3-AE96-F479A64E8954}"/>
                </a:ext>
              </a:extLst>
            </p:cNvPr>
            <p:cNvSpPr/>
            <p:nvPr/>
          </p:nvSpPr>
          <p:spPr>
            <a:xfrm>
              <a:off x="8752175" y="3997683"/>
              <a:ext cx="85" cy="888"/>
            </a:xfrm>
            <a:custGeom>
              <a:avLst/>
              <a:gdLst>
                <a:gd name="connsiteX0" fmla="*/ 0 w 85"/>
                <a:gd name="connsiteY0" fmla="*/ 0 h 888"/>
                <a:gd name="connsiteX1" fmla="*/ 0 w 85"/>
                <a:gd name="connsiteY1" fmla="*/ 0 h 888"/>
                <a:gd name="connsiteX2" fmla="*/ 0 w 85"/>
                <a:gd name="connsiteY2" fmla="*/ 889 h 888"/>
                <a:gd name="connsiteX3" fmla="*/ 0 w 85"/>
                <a:gd name="connsiteY3" fmla="*/ 0 h 888"/>
              </a:gdLst>
              <a:ahLst/>
              <a:cxnLst>
                <a:cxn ang="0">
                  <a:pos x="connsiteX0" y="connsiteY0"/>
                </a:cxn>
                <a:cxn ang="0">
                  <a:pos x="connsiteX1" y="connsiteY1"/>
                </a:cxn>
                <a:cxn ang="0">
                  <a:pos x="connsiteX2" y="connsiteY2"/>
                </a:cxn>
                <a:cxn ang="0">
                  <a:pos x="connsiteX3" y="connsiteY3"/>
                </a:cxn>
              </a:cxnLst>
              <a:rect l="l" t="t" r="r" b="b"/>
              <a:pathLst>
                <a:path w="85" h="888">
                  <a:moveTo>
                    <a:pt x="0" y="0"/>
                  </a:moveTo>
                  <a:lnTo>
                    <a:pt x="0" y="0"/>
                  </a:lnTo>
                  <a:cubicBezTo>
                    <a:pt x="76" y="292"/>
                    <a:pt x="76" y="597"/>
                    <a:pt x="0" y="889"/>
                  </a:cubicBezTo>
                  <a:cubicBezTo>
                    <a:pt x="114" y="609"/>
                    <a:pt x="114" y="279"/>
                    <a:pt x="0" y="0"/>
                  </a:cubicBezTo>
                  <a:close/>
                </a:path>
              </a:pathLst>
            </a:custGeom>
            <a:solidFill>
              <a:srgbClr val="000000"/>
            </a:solidFill>
            <a:ln w="12690" cap="flat">
              <a:noFill/>
              <a:prstDash val="solid"/>
              <a:miter/>
            </a:ln>
          </p:spPr>
          <p:txBody>
            <a:bodyPr rtlCol="0" anchor="ctr"/>
            <a:lstStyle/>
            <a:p>
              <a:endParaRPr lang="en-US"/>
            </a:p>
          </p:txBody>
        </p:sp>
        <p:sp>
          <p:nvSpPr>
            <p:cNvPr id="705" name="Freeform: Shape 704">
              <a:extLst>
                <a:ext uri="{FF2B5EF4-FFF2-40B4-BE49-F238E27FC236}">
                  <a16:creationId xmlns:a16="http://schemas.microsoft.com/office/drawing/2014/main" id="{54EEA97B-538B-4E20-B7A6-F750FF528304}"/>
                </a:ext>
              </a:extLst>
            </p:cNvPr>
            <p:cNvSpPr/>
            <p:nvPr/>
          </p:nvSpPr>
          <p:spPr>
            <a:xfrm>
              <a:off x="8751032" y="3996159"/>
              <a:ext cx="12696" cy="761"/>
            </a:xfrm>
            <a:custGeom>
              <a:avLst/>
              <a:gdLst>
                <a:gd name="connsiteX0" fmla="*/ 0 w 12696"/>
                <a:gd name="connsiteY0" fmla="*/ 0 h 761"/>
                <a:gd name="connsiteX1" fmla="*/ 0 w 12696"/>
                <a:gd name="connsiteY1" fmla="*/ 0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0"/>
                  </a:lnTo>
                  <a:lnTo>
                    <a:pt x="0" y="762"/>
                  </a:lnTo>
                  <a:close/>
                </a:path>
              </a:pathLst>
            </a:custGeom>
            <a:solidFill>
              <a:srgbClr val="000000"/>
            </a:solidFill>
            <a:ln w="12690" cap="flat">
              <a:noFill/>
              <a:prstDash val="solid"/>
              <a:miter/>
            </a:ln>
          </p:spPr>
          <p:txBody>
            <a:bodyPr rtlCol="0" anchor="ctr"/>
            <a:lstStyle/>
            <a:p>
              <a:endParaRPr lang="en-US"/>
            </a:p>
          </p:txBody>
        </p:sp>
        <p:sp>
          <p:nvSpPr>
            <p:cNvPr id="706" name="Freeform: Shape 705">
              <a:extLst>
                <a:ext uri="{FF2B5EF4-FFF2-40B4-BE49-F238E27FC236}">
                  <a16:creationId xmlns:a16="http://schemas.microsoft.com/office/drawing/2014/main" id="{B461FD70-C730-4772-9C0D-A3DBEE295955}"/>
                </a:ext>
              </a:extLst>
            </p:cNvPr>
            <p:cNvSpPr/>
            <p:nvPr/>
          </p:nvSpPr>
          <p:spPr>
            <a:xfrm>
              <a:off x="8577673" y="3945256"/>
              <a:ext cx="83084" cy="32493"/>
            </a:xfrm>
            <a:custGeom>
              <a:avLst/>
              <a:gdLst>
                <a:gd name="connsiteX0" fmla="*/ 81561 w 83084"/>
                <a:gd name="connsiteY0" fmla="*/ 32493 h 32493"/>
                <a:gd name="connsiteX1" fmla="*/ 80418 w 83084"/>
                <a:gd name="connsiteY1" fmla="*/ 32493 h 32493"/>
                <a:gd name="connsiteX2" fmla="*/ 80418 w 83084"/>
                <a:gd name="connsiteY2" fmla="*/ 32493 h 32493"/>
                <a:gd name="connsiteX3" fmla="*/ 79783 w 83084"/>
                <a:gd name="connsiteY3" fmla="*/ 31732 h 32493"/>
                <a:gd name="connsiteX4" fmla="*/ 79783 w 83084"/>
                <a:gd name="connsiteY4" fmla="*/ 30970 h 32493"/>
                <a:gd name="connsiteX5" fmla="*/ 79783 w 83084"/>
                <a:gd name="connsiteY5" fmla="*/ 30081 h 32493"/>
                <a:gd name="connsiteX6" fmla="*/ 79783 w 83084"/>
                <a:gd name="connsiteY6" fmla="*/ 29065 h 32493"/>
                <a:gd name="connsiteX7" fmla="*/ 79783 w 83084"/>
                <a:gd name="connsiteY7" fmla="*/ 29065 h 32493"/>
                <a:gd name="connsiteX8" fmla="*/ 79783 w 83084"/>
                <a:gd name="connsiteY8" fmla="*/ 22209 h 32493"/>
                <a:gd name="connsiteX9" fmla="*/ 15030 w 83084"/>
                <a:gd name="connsiteY9" fmla="*/ 2910 h 32493"/>
                <a:gd name="connsiteX10" fmla="*/ 6269 w 83084"/>
                <a:gd name="connsiteY10" fmla="*/ 244 h 32493"/>
                <a:gd name="connsiteX11" fmla="*/ 682 w 83084"/>
                <a:gd name="connsiteY11" fmla="*/ 1513 h 32493"/>
                <a:gd name="connsiteX12" fmla="*/ 48 w 83084"/>
                <a:gd name="connsiteY12" fmla="*/ 2275 h 32493"/>
                <a:gd name="connsiteX13" fmla="*/ 48 w 83084"/>
                <a:gd name="connsiteY13" fmla="*/ 3037 h 32493"/>
                <a:gd name="connsiteX14" fmla="*/ 48 w 83084"/>
                <a:gd name="connsiteY14" fmla="*/ 3037 h 32493"/>
                <a:gd name="connsiteX15" fmla="*/ 48 w 83084"/>
                <a:gd name="connsiteY15" fmla="*/ 3037 h 32493"/>
                <a:gd name="connsiteX16" fmla="*/ 48 w 83084"/>
                <a:gd name="connsiteY16" fmla="*/ 4052 h 32493"/>
                <a:gd name="connsiteX17" fmla="*/ 48 w 83084"/>
                <a:gd name="connsiteY17" fmla="*/ 4941 h 32493"/>
                <a:gd name="connsiteX18" fmla="*/ 48 w 83084"/>
                <a:gd name="connsiteY18" fmla="*/ 5830 h 32493"/>
                <a:gd name="connsiteX19" fmla="*/ 48 w 83084"/>
                <a:gd name="connsiteY19" fmla="*/ 6719 h 32493"/>
                <a:gd name="connsiteX20" fmla="*/ 682 w 83084"/>
                <a:gd name="connsiteY20" fmla="*/ 7481 h 32493"/>
                <a:gd name="connsiteX21" fmla="*/ 1698 w 83084"/>
                <a:gd name="connsiteY21" fmla="*/ 8115 h 32493"/>
                <a:gd name="connsiteX22" fmla="*/ 2460 w 83084"/>
                <a:gd name="connsiteY22" fmla="*/ 8115 h 32493"/>
                <a:gd name="connsiteX23" fmla="*/ 2460 w 83084"/>
                <a:gd name="connsiteY23" fmla="*/ 8115 h 32493"/>
                <a:gd name="connsiteX24" fmla="*/ 83085 w 83084"/>
                <a:gd name="connsiteY24" fmla="*/ 32239 h 32493"/>
                <a:gd name="connsiteX25" fmla="*/ 83085 w 83084"/>
                <a:gd name="connsiteY25" fmla="*/ 32239 h 32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3084" h="32493">
                  <a:moveTo>
                    <a:pt x="81561" y="32493"/>
                  </a:moveTo>
                  <a:lnTo>
                    <a:pt x="80418" y="32493"/>
                  </a:lnTo>
                  <a:lnTo>
                    <a:pt x="80418" y="32493"/>
                  </a:lnTo>
                  <a:lnTo>
                    <a:pt x="79783" y="31732"/>
                  </a:lnTo>
                  <a:lnTo>
                    <a:pt x="79783" y="30970"/>
                  </a:lnTo>
                  <a:cubicBezTo>
                    <a:pt x="79783" y="30970"/>
                    <a:pt x="79783" y="30335"/>
                    <a:pt x="79783" y="30081"/>
                  </a:cubicBezTo>
                  <a:cubicBezTo>
                    <a:pt x="79733" y="29751"/>
                    <a:pt x="79733" y="29395"/>
                    <a:pt x="79783" y="29065"/>
                  </a:cubicBezTo>
                  <a:lnTo>
                    <a:pt x="79783" y="29065"/>
                  </a:lnTo>
                  <a:lnTo>
                    <a:pt x="79783" y="22209"/>
                  </a:lnTo>
                  <a:lnTo>
                    <a:pt x="15030" y="2910"/>
                  </a:lnTo>
                  <a:lnTo>
                    <a:pt x="6269" y="244"/>
                  </a:lnTo>
                  <a:cubicBezTo>
                    <a:pt x="4314" y="-340"/>
                    <a:pt x="2194" y="142"/>
                    <a:pt x="682" y="1513"/>
                  </a:cubicBezTo>
                  <a:cubicBezTo>
                    <a:pt x="682" y="1513"/>
                    <a:pt x="682" y="1513"/>
                    <a:pt x="48" y="2275"/>
                  </a:cubicBezTo>
                  <a:lnTo>
                    <a:pt x="48" y="3037"/>
                  </a:lnTo>
                  <a:lnTo>
                    <a:pt x="48" y="3037"/>
                  </a:lnTo>
                  <a:cubicBezTo>
                    <a:pt x="48" y="3037"/>
                    <a:pt x="48" y="3037"/>
                    <a:pt x="48" y="3037"/>
                  </a:cubicBezTo>
                  <a:cubicBezTo>
                    <a:pt x="48" y="3037"/>
                    <a:pt x="48" y="3672"/>
                    <a:pt x="48" y="4052"/>
                  </a:cubicBezTo>
                  <a:cubicBezTo>
                    <a:pt x="48" y="4433"/>
                    <a:pt x="48" y="4052"/>
                    <a:pt x="48" y="4941"/>
                  </a:cubicBezTo>
                  <a:cubicBezTo>
                    <a:pt x="48" y="5830"/>
                    <a:pt x="48" y="5576"/>
                    <a:pt x="48" y="5830"/>
                  </a:cubicBezTo>
                  <a:cubicBezTo>
                    <a:pt x="-16" y="6122"/>
                    <a:pt x="-16" y="6427"/>
                    <a:pt x="48" y="6719"/>
                  </a:cubicBezTo>
                  <a:lnTo>
                    <a:pt x="682" y="7481"/>
                  </a:lnTo>
                  <a:lnTo>
                    <a:pt x="1698" y="8115"/>
                  </a:lnTo>
                  <a:lnTo>
                    <a:pt x="2460" y="8115"/>
                  </a:lnTo>
                  <a:lnTo>
                    <a:pt x="2460" y="8115"/>
                  </a:lnTo>
                  <a:lnTo>
                    <a:pt x="83085" y="32239"/>
                  </a:lnTo>
                  <a:lnTo>
                    <a:pt x="83085" y="32239"/>
                  </a:lnTo>
                  <a:close/>
                </a:path>
              </a:pathLst>
            </a:custGeom>
            <a:solidFill>
              <a:srgbClr val="000000"/>
            </a:solidFill>
            <a:ln w="12690" cap="flat">
              <a:noFill/>
              <a:prstDash val="solid"/>
              <a:miter/>
            </a:ln>
          </p:spPr>
          <p:txBody>
            <a:bodyPr rtlCol="0" anchor="ctr"/>
            <a:lstStyle/>
            <a:p>
              <a:endParaRPr lang="en-US"/>
            </a:p>
          </p:txBody>
        </p:sp>
        <p:sp>
          <p:nvSpPr>
            <p:cNvPr id="707" name="Freeform: Shape 706">
              <a:extLst>
                <a:ext uri="{FF2B5EF4-FFF2-40B4-BE49-F238E27FC236}">
                  <a16:creationId xmlns:a16="http://schemas.microsoft.com/office/drawing/2014/main" id="{2A12B2EA-5B29-4E71-BE05-43E95C9F6AE2}"/>
                </a:ext>
              </a:extLst>
            </p:cNvPr>
            <p:cNvSpPr/>
            <p:nvPr/>
          </p:nvSpPr>
          <p:spPr>
            <a:xfrm>
              <a:off x="8658727" y="3970639"/>
              <a:ext cx="93416" cy="33773"/>
            </a:xfrm>
            <a:custGeom>
              <a:avLst/>
              <a:gdLst>
                <a:gd name="connsiteX0" fmla="*/ 1904 w 93416"/>
                <a:gd name="connsiteY0" fmla="*/ 7491 h 33773"/>
                <a:gd name="connsiteX1" fmla="*/ 0 w 93416"/>
                <a:gd name="connsiteY1" fmla="*/ 7491 h 33773"/>
                <a:gd name="connsiteX2" fmla="*/ 0 w 93416"/>
                <a:gd name="connsiteY2" fmla="*/ 7491 h 33773"/>
                <a:gd name="connsiteX3" fmla="*/ 77705 w 93416"/>
                <a:gd name="connsiteY3" fmla="*/ 31107 h 33773"/>
                <a:gd name="connsiteX4" fmla="*/ 82783 w 93416"/>
                <a:gd name="connsiteY4" fmla="*/ 32630 h 33773"/>
                <a:gd name="connsiteX5" fmla="*/ 86465 w 93416"/>
                <a:gd name="connsiteY5" fmla="*/ 33773 h 33773"/>
                <a:gd name="connsiteX6" fmla="*/ 88242 w 93416"/>
                <a:gd name="connsiteY6" fmla="*/ 33773 h 33773"/>
                <a:gd name="connsiteX7" fmla="*/ 93321 w 93416"/>
                <a:gd name="connsiteY7" fmla="*/ 30345 h 33773"/>
                <a:gd name="connsiteX8" fmla="*/ 93321 w 93416"/>
                <a:gd name="connsiteY8" fmla="*/ 28568 h 33773"/>
                <a:gd name="connsiteX9" fmla="*/ 93321 w 93416"/>
                <a:gd name="connsiteY9" fmla="*/ 27806 h 33773"/>
                <a:gd name="connsiteX10" fmla="*/ 93321 w 93416"/>
                <a:gd name="connsiteY10" fmla="*/ 27806 h 33773"/>
                <a:gd name="connsiteX11" fmla="*/ 93321 w 93416"/>
                <a:gd name="connsiteY11" fmla="*/ 26917 h 33773"/>
                <a:gd name="connsiteX12" fmla="*/ 93321 w 93416"/>
                <a:gd name="connsiteY12" fmla="*/ 26155 h 33773"/>
                <a:gd name="connsiteX13" fmla="*/ 93321 w 93416"/>
                <a:gd name="connsiteY13" fmla="*/ 26155 h 33773"/>
                <a:gd name="connsiteX14" fmla="*/ 93321 w 93416"/>
                <a:gd name="connsiteY14" fmla="*/ 25393 h 33773"/>
                <a:gd name="connsiteX15" fmla="*/ 92560 w 93416"/>
                <a:gd name="connsiteY15" fmla="*/ 25393 h 33773"/>
                <a:gd name="connsiteX16" fmla="*/ 92560 w 93416"/>
                <a:gd name="connsiteY16" fmla="*/ 25393 h 33773"/>
                <a:gd name="connsiteX17" fmla="*/ 91417 w 93416"/>
                <a:gd name="connsiteY17" fmla="*/ 25393 h 33773"/>
                <a:gd name="connsiteX18" fmla="*/ 91417 w 93416"/>
                <a:gd name="connsiteY18" fmla="*/ 25393 h 33773"/>
                <a:gd name="connsiteX19" fmla="*/ 8507 w 93416"/>
                <a:gd name="connsiteY19" fmla="*/ 0 h 33773"/>
                <a:gd name="connsiteX20" fmla="*/ 8507 w 93416"/>
                <a:gd name="connsiteY20" fmla="*/ 3555 h 33773"/>
                <a:gd name="connsiteX21" fmla="*/ 2628 w 93416"/>
                <a:gd name="connsiteY21" fmla="*/ 7669 h 33773"/>
                <a:gd name="connsiteX22" fmla="*/ 1904 w 93416"/>
                <a:gd name="connsiteY22" fmla="*/ 7491 h 3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3416" h="33773">
                  <a:moveTo>
                    <a:pt x="1904" y="7491"/>
                  </a:moveTo>
                  <a:cubicBezTo>
                    <a:pt x="1282" y="7643"/>
                    <a:pt x="622" y="7643"/>
                    <a:pt x="0" y="7491"/>
                  </a:cubicBezTo>
                  <a:lnTo>
                    <a:pt x="0" y="7491"/>
                  </a:lnTo>
                  <a:lnTo>
                    <a:pt x="77705" y="31107"/>
                  </a:lnTo>
                  <a:lnTo>
                    <a:pt x="82783" y="32630"/>
                  </a:lnTo>
                  <a:lnTo>
                    <a:pt x="86465" y="33773"/>
                  </a:lnTo>
                  <a:lnTo>
                    <a:pt x="88242" y="33773"/>
                  </a:lnTo>
                  <a:cubicBezTo>
                    <a:pt x="90477" y="33773"/>
                    <a:pt x="92484" y="32414"/>
                    <a:pt x="93321" y="30345"/>
                  </a:cubicBezTo>
                  <a:cubicBezTo>
                    <a:pt x="93448" y="29761"/>
                    <a:pt x="93448" y="29152"/>
                    <a:pt x="93321" y="28568"/>
                  </a:cubicBezTo>
                  <a:cubicBezTo>
                    <a:pt x="93321" y="28568"/>
                    <a:pt x="93321" y="28568"/>
                    <a:pt x="93321" y="27806"/>
                  </a:cubicBezTo>
                  <a:lnTo>
                    <a:pt x="93321" y="27806"/>
                  </a:lnTo>
                  <a:cubicBezTo>
                    <a:pt x="93397" y="27514"/>
                    <a:pt x="93397" y="27209"/>
                    <a:pt x="93321" y="26917"/>
                  </a:cubicBezTo>
                  <a:lnTo>
                    <a:pt x="93321" y="26155"/>
                  </a:lnTo>
                  <a:lnTo>
                    <a:pt x="93321" y="26155"/>
                  </a:lnTo>
                  <a:lnTo>
                    <a:pt x="93321" y="25393"/>
                  </a:lnTo>
                  <a:lnTo>
                    <a:pt x="92560" y="25393"/>
                  </a:lnTo>
                  <a:lnTo>
                    <a:pt x="92560" y="25393"/>
                  </a:lnTo>
                  <a:lnTo>
                    <a:pt x="91417" y="25393"/>
                  </a:lnTo>
                  <a:lnTo>
                    <a:pt x="91417" y="25393"/>
                  </a:lnTo>
                  <a:lnTo>
                    <a:pt x="8507" y="0"/>
                  </a:lnTo>
                  <a:lnTo>
                    <a:pt x="8507" y="3555"/>
                  </a:lnTo>
                  <a:cubicBezTo>
                    <a:pt x="8024" y="6323"/>
                    <a:pt x="5383" y="8164"/>
                    <a:pt x="2628" y="7669"/>
                  </a:cubicBezTo>
                  <a:cubicBezTo>
                    <a:pt x="2374" y="7630"/>
                    <a:pt x="2133" y="7567"/>
                    <a:pt x="1904" y="7491"/>
                  </a:cubicBezTo>
                  <a:close/>
                </a:path>
              </a:pathLst>
            </a:custGeom>
            <a:solidFill>
              <a:srgbClr val="000000"/>
            </a:solidFill>
            <a:ln w="12690" cap="flat">
              <a:noFill/>
              <a:prstDash val="solid"/>
              <a:miter/>
            </a:ln>
          </p:spPr>
          <p:txBody>
            <a:bodyPr rtlCol="0" anchor="ctr"/>
            <a:lstStyle/>
            <a:p>
              <a:endParaRPr lang="en-US"/>
            </a:p>
          </p:txBody>
        </p:sp>
        <p:sp>
          <p:nvSpPr>
            <p:cNvPr id="708" name="Freeform: Shape 707">
              <a:extLst>
                <a:ext uri="{FF2B5EF4-FFF2-40B4-BE49-F238E27FC236}">
                  <a16:creationId xmlns:a16="http://schemas.microsoft.com/office/drawing/2014/main" id="{949618D4-43B2-4C4E-82D6-09D3C6FF7EB4}"/>
                </a:ext>
              </a:extLst>
            </p:cNvPr>
            <p:cNvSpPr/>
            <p:nvPr/>
          </p:nvSpPr>
          <p:spPr>
            <a:xfrm>
              <a:off x="4265069" y="2096097"/>
              <a:ext cx="9951" cy="613971"/>
            </a:xfrm>
            <a:custGeom>
              <a:avLst/>
              <a:gdLst>
                <a:gd name="connsiteX0" fmla="*/ 9951 w 9951"/>
                <a:gd name="connsiteY0" fmla="*/ 609823 h 613971"/>
                <a:gd name="connsiteX1" fmla="*/ 9951 w 9951"/>
                <a:gd name="connsiteY1" fmla="*/ 3428 h 613971"/>
                <a:gd name="connsiteX2" fmla="*/ 9951 w 9951"/>
                <a:gd name="connsiteY2" fmla="*/ 2666 h 613971"/>
                <a:gd name="connsiteX3" fmla="*/ 9951 w 9951"/>
                <a:gd name="connsiteY3" fmla="*/ 1651 h 613971"/>
                <a:gd name="connsiteX4" fmla="*/ 9316 w 9951"/>
                <a:gd name="connsiteY4" fmla="*/ 762 h 613971"/>
                <a:gd name="connsiteX5" fmla="*/ 9316 w 9951"/>
                <a:gd name="connsiteY5" fmla="*/ 0 h 613971"/>
                <a:gd name="connsiteX6" fmla="*/ 8427 w 9951"/>
                <a:gd name="connsiteY6" fmla="*/ 0 h 613971"/>
                <a:gd name="connsiteX7" fmla="*/ 7539 w 9951"/>
                <a:gd name="connsiteY7" fmla="*/ 0 h 613971"/>
                <a:gd name="connsiteX8" fmla="*/ 6904 w 9951"/>
                <a:gd name="connsiteY8" fmla="*/ 0 h 613971"/>
                <a:gd name="connsiteX9" fmla="*/ 5507 w 9951"/>
                <a:gd name="connsiteY9" fmla="*/ 0 h 613971"/>
                <a:gd name="connsiteX10" fmla="*/ 4745 w 9951"/>
                <a:gd name="connsiteY10" fmla="*/ 0 h 613971"/>
                <a:gd name="connsiteX11" fmla="*/ 3476 w 9951"/>
                <a:gd name="connsiteY11" fmla="*/ 0 h 613971"/>
                <a:gd name="connsiteX12" fmla="*/ 2587 w 9951"/>
                <a:gd name="connsiteY12" fmla="*/ 0 h 613971"/>
                <a:gd name="connsiteX13" fmla="*/ 48 w 9951"/>
                <a:gd name="connsiteY13" fmla="*/ 4063 h 613971"/>
                <a:gd name="connsiteX14" fmla="*/ 48 w 9951"/>
                <a:gd name="connsiteY14" fmla="*/ 610458 h 613971"/>
                <a:gd name="connsiteX15" fmla="*/ 48 w 9951"/>
                <a:gd name="connsiteY15" fmla="*/ 610458 h 613971"/>
                <a:gd name="connsiteX16" fmla="*/ 48 w 9951"/>
                <a:gd name="connsiteY16" fmla="*/ 611600 h 613971"/>
                <a:gd name="connsiteX17" fmla="*/ 48 w 9951"/>
                <a:gd name="connsiteY17" fmla="*/ 612362 h 613971"/>
                <a:gd name="connsiteX18" fmla="*/ 682 w 9951"/>
                <a:gd name="connsiteY18" fmla="*/ 613124 h 613971"/>
                <a:gd name="connsiteX19" fmla="*/ 682 w 9951"/>
                <a:gd name="connsiteY19" fmla="*/ 613886 h 613971"/>
                <a:gd name="connsiteX20" fmla="*/ 1571 w 9951"/>
                <a:gd name="connsiteY20" fmla="*/ 613886 h 613971"/>
                <a:gd name="connsiteX21" fmla="*/ 2460 w 9951"/>
                <a:gd name="connsiteY21" fmla="*/ 613886 h 613971"/>
                <a:gd name="connsiteX22" fmla="*/ 4365 w 9951"/>
                <a:gd name="connsiteY22" fmla="*/ 613886 h 613971"/>
                <a:gd name="connsiteX23" fmla="*/ 9951 w 9951"/>
                <a:gd name="connsiteY23" fmla="*/ 609823 h 61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51" h="613971">
                  <a:moveTo>
                    <a:pt x="9951" y="609823"/>
                  </a:moveTo>
                  <a:lnTo>
                    <a:pt x="9951" y="3428"/>
                  </a:lnTo>
                  <a:cubicBezTo>
                    <a:pt x="9951" y="3428"/>
                    <a:pt x="9951" y="3428"/>
                    <a:pt x="9951" y="2666"/>
                  </a:cubicBezTo>
                  <a:cubicBezTo>
                    <a:pt x="9951" y="1905"/>
                    <a:pt x="9951" y="2032"/>
                    <a:pt x="9951" y="1651"/>
                  </a:cubicBezTo>
                  <a:cubicBezTo>
                    <a:pt x="9811" y="1308"/>
                    <a:pt x="9595" y="1003"/>
                    <a:pt x="9316" y="762"/>
                  </a:cubicBezTo>
                  <a:cubicBezTo>
                    <a:pt x="9354" y="508"/>
                    <a:pt x="9354" y="254"/>
                    <a:pt x="9316" y="0"/>
                  </a:cubicBezTo>
                  <a:lnTo>
                    <a:pt x="8427" y="0"/>
                  </a:lnTo>
                  <a:lnTo>
                    <a:pt x="7539" y="0"/>
                  </a:lnTo>
                  <a:lnTo>
                    <a:pt x="6904" y="0"/>
                  </a:lnTo>
                  <a:lnTo>
                    <a:pt x="5507" y="0"/>
                  </a:lnTo>
                  <a:lnTo>
                    <a:pt x="4745" y="0"/>
                  </a:lnTo>
                  <a:lnTo>
                    <a:pt x="3476" y="0"/>
                  </a:lnTo>
                  <a:lnTo>
                    <a:pt x="2587" y="0"/>
                  </a:lnTo>
                  <a:cubicBezTo>
                    <a:pt x="1063" y="787"/>
                    <a:pt x="86" y="2349"/>
                    <a:pt x="48" y="4063"/>
                  </a:cubicBezTo>
                  <a:lnTo>
                    <a:pt x="48" y="610458"/>
                  </a:lnTo>
                  <a:lnTo>
                    <a:pt x="48" y="610458"/>
                  </a:lnTo>
                  <a:cubicBezTo>
                    <a:pt x="-16" y="610838"/>
                    <a:pt x="-16" y="611219"/>
                    <a:pt x="48" y="611600"/>
                  </a:cubicBezTo>
                  <a:cubicBezTo>
                    <a:pt x="-3" y="611854"/>
                    <a:pt x="-3" y="612108"/>
                    <a:pt x="48" y="612362"/>
                  </a:cubicBezTo>
                  <a:lnTo>
                    <a:pt x="682" y="613124"/>
                  </a:lnTo>
                  <a:cubicBezTo>
                    <a:pt x="644" y="613378"/>
                    <a:pt x="644" y="613632"/>
                    <a:pt x="682" y="613886"/>
                  </a:cubicBezTo>
                  <a:lnTo>
                    <a:pt x="1571" y="613886"/>
                  </a:lnTo>
                  <a:lnTo>
                    <a:pt x="2460" y="613886"/>
                  </a:lnTo>
                  <a:cubicBezTo>
                    <a:pt x="3095" y="614000"/>
                    <a:pt x="3729" y="614000"/>
                    <a:pt x="4365" y="613886"/>
                  </a:cubicBezTo>
                  <a:cubicBezTo>
                    <a:pt x="6980" y="614140"/>
                    <a:pt x="9380" y="612400"/>
                    <a:pt x="9951" y="609823"/>
                  </a:cubicBezTo>
                  <a:close/>
                </a:path>
              </a:pathLst>
            </a:custGeom>
            <a:solidFill>
              <a:srgbClr val="000000"/>
            </a:solidFill>
            <a:ln w="12690" cap="flat">
              <a:noFill/>
              <a:prstDash val="solid"/>
              <a:miter/>
            </a:ln>
          </p:spPr>
          <p:txBody>
            <a:bodyPr rtlCol="0" anchor="ctr"/>
            <a:lstStyle/>
            <a:p>
              <a:endParaRPr lang="en-US"/>
            </a:p>
          </p:txBody>
        </p:sp>
        <p:sp>
          <p:nvSpPr>
            <p:cNvPr id="709" name="Freeform: Shape 708">
              <a:extLst>
                <a:ext uri="{FF2B5EF4-FFF2-40B4-BE49-F238E27FC236}">
                  <a16:creationId xmlns:a16="http://schemas.microsoft.com/office/drawing/2014/main" id="{BD097732-9A69-4899-BCEB-40EF8FBA78E4}"/>
                </a:ext>
              </a:extLst>
            </p:cNvPr>
            <p:cNvSpPr/>
            <p:nvPr/>
          </p:nvSpPr>
          <p:spPr>
            <a:xfrm>
              <a:off x="4285104" y="1873651"/>
              <a:ext cx="241851" cy="197782"/>
            </a:xfrm>
            <a:custGeom>
              <a:avLst/>
              <a:gdLst>
                <a:gd name="connsiteX0" fmla="*/ 2614 w 241851"/>
                <a:gd name="connsiteY0" fmla="*/ 196799 h 197782"/>
                <a:gd name="connsiteX1" fmla="*/ 4010 w 241851"/>
                <a:gd name="connsiteY1" fmla="*/ 197688 h 197782"/>
                <a:gd name="connsiteX2" fmla="*/ 4010 w 241851"/>
                <a:gd name="connsiteY2" fmla="*/ 197688 h 197782"/>
                <a:gd name="connsiteX3" fmla="*/ 6169 w 241851"/>
                <a:gd name="connsiteY3" fmla="*/ 197688 h 197782"/>
                <a:gd name="connsiteX4" fmla="*/ 7946 w 241851"/>
                <a:gd name="connsiteY4" fmla="*/ 197688 h 197782"/>
                <a:gd name="connsiteX5" fmla="*/ 9470 w 241851"/>
                <a:gd name="connsiteY5" fmla="*/ 196799 h 197782"/>
                <a:gd name="connsiteX6" fmla="*/ 9470 w 241851"/>
                <a:gd name="connsiteY6" fmla="*/ 196799 h 197782"/>
                <a:gd name="connsiteX7" fmla="*/ 238013 w 241851"/>
                <a:gd name="connsiteY7" fmla="*/ 10284 h 197782"/>
                <a:gd name="connsiteX8" fmla="*/ 240298 w 241851"/>
                <a:gd name="connsiteY8" fmla="*/ 8380 h 197782"/>
                <a:gd name="connsiteX9" fmla="*/ 240641 w 241851"/>
                <a:gd name="connsiteY9" fmla="*/ 1739 h 197782"/>
                <a:gd name="connsiteX10" fmla="*/ 240298 w 241851"/>
                <a:gd name="connsiteY10" fmla="*/ 1396 h 197782"/>
                <a:gd name="connsiteX11" fmla="*/ 237251 w 241851"/>
                <a:gd name="connsiteY11" fmla="*/ 0 h 197782"/>
                <a:gd name="connsiteX12" fmla="*/ 235093 w 241851"/>
                <a:gd name="connsiteY12" fmla="*/ 0 h 197782"/>
                <a:gd name="connsiteX13" fmla="*/ 234204 w 241851"/>
                <a:gd name="connsiteY13" fmla="*/ 0 h 197782"/>
                <a:gd name="connsiteX14" fmla="*/ 233188 w 241851"/>
                <a:gd name="connsiteY14" fmla="*/ 0 h 197782"/>
                <a:gd name="connsiteX15" fmla="*/ 233188 w 241851"/>
                <a:gd name="connsiteY15" fmla="*/ 0 h 197782"/>
                <a:gd name="connsiteX16" fmla="*/ 10740 w 241851"/>
                <a:gd name="connsiteY16" fmla="*/ 181182 h 197782"/>
                <a:gd name="connsiteX17" fmla="*/ 1725 w 241851"/>
                <a:gd name="connsiteY17" fmla="*/ 188546 h 197782"/>
                <a:gd name="connsiteX18" fmla="*/ 74 w 241851"/>
                <a:gd name="connsiteY18" fmla="*/ 192863 h 197782"/>
                <a:gd name="connsiteX19" fmla="*/ 74 w 241851"/>
                <a:gd name="connsiteY19" fmla="*/ 193879 h 197782"/>
                <a:gd name="connsiteX20" fmla="*/ 709 w 241851"/>
                <a:gd name="connsiteY20" fmla="*/ 194767 h 197782"/>
                <a:gd name="connsiteX21" fmla="*/ 709 w 241851"/>
                <a:gd name="connsiteY21" fmla="*/ 195402 h 197782"/>
                <a:gd name="connsiteX22" fmla="*/ 709 w 241851"/>
                <a:gd name="connsiteY22" fmla="*/ 195402 h 19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1851" h="197782">
                  <a:moveTo>
                    <a:pt x="2614" y="196799"/>
                  </a:moveTo>
                  <a:cubicBezTo>
                    <a:pt x="3033" y="197167"/>
                    <a:pt x="3502" y="197472"/>
                    <a:pt x="4010" y="197688"/>
                  </a:cubicBezTo>
                  <a:lnTo>
                    <a:pt x="4010" y="197688"/>
                  </a:lnTo>
                  <a:cubicBezTo>
                    <a:pt x="4721" y="197814"/>
                    <a:pt x="5458" y="197814"/>
                    <a:pt x="6169" y="197688"/>
                  </a:cubicBezTo>
                  <a:lnTo>
                    <a:pt x="7946" y="197688"/>
                  </a:lnTo>
                  <a:cubicBezTo>
                    <a:pt x="8492" y="197472"/>
                    <a:pt x="9013" y="197167"/>
                    <a:pt x="9470" y="196799"/>
                  </a:cubicBezTo>
                  <a:lnTo>
                    <a:pt x="9470" y="196799"/>
                  </a:lnTo>
                  <a:lnTo>
                    <a:pt x="238013" y="10284"/>
                  </a:lnTo>
                  <a:lnTo>
                    <a:pt x="240298" y="8380"/>
                  </a:lnTo>
                  <a:cubicBezTo>
                    <a:pt x="242228" y="6640"/>
                    <a:pt x="242381" y="3669"/>
                    <a:pt x="240641" y="1739"/>
                  </a:cubicBezTo>
                  <a:cubicBezTo>
                    <a:pt x="240539" y="1625"/>
                    <a:pt x="240425" y="1511"/>
                    <a:pt x="240298" y="1396"/>
                  </a:cubicBezTo>
                  <a:cubicBezTo>
                    <a:pt x="239422" y="685"/>
                    <a:pt x="238368" y="203"/>
                    <a:pt x="237251" y="0"/>
                  </a:cubicBezTo>
                  <a:lnTo>
                    <a:pt x="235093" y="0"/>
                  </a:lnTo>
                  <a:lnTo>
                    <a:pt x="234204" y="0"/>
                  </a:lnTo>
                  <a:lnTo>
                    <a:pt x="233188" y="0"/>
                  </a:lnTo>
                  <a:lnTo>
                    <a:pt x="233188" y="0"/>
                  </a:lnTo>
                  <a:lnTo>
                    <a:pt x="10740" y="181182"/>
                  </a:lnTo>
                  <a:lnTo>
                    <a:pt x="1725" y="188546"/>
                  </a:lnTo>
                  <a:cubicBezTo>
                    <a:pt x="417" y="189562"/>
                    <a:pt x="-230" y="191225"/>
                    <a:pt x="74" y="192863"/>
                  </a:cubicBezTo>
                  <a:cubicBezTo>
                    <a:pt x="74" y="192863"/>
                    <a:pt x="74" y="192863"/>
                    <a:pt x="74" y="193879"/>
                  </a:cubicBezTo>
                  <a:cubicBezTo>
                    <a:pt x="214" y="194221"/>
                    <a:pt x="430" y="194526"/>
                    <a:pt x="709" y="194767"/>
                  </a:cubicBezTo>
                  <a:cubicBezTo>
                    <a:pt x="671" y="194983"/>
                    <a:pt x="671" y="195186"/>
                    <a:pt x="709" y="195402"/>
                  </a:cubicBezTo>
                  <a:lnTo>
                    <a:pt x="709" y="195402"/>
                  </a:lnTo>
                  <a:close/>
                </a:path>
              </a:pathLst>
            </a:custGeom>
            <a:solidFill>
              <a:srgbClr val="000000"/>
            </a:solidFill>
            <a:ln w="12690" cap="flat">
              <a:noFill/>
              <a:prstDash val="solid"/>
              <a:miter/>
            </a:ln>
          </p:spPr>
          <p:txBody>
            <a:bodyPr rtlCol="0" anchor="ctr"/>
            <a:lstStyle/>
            <a:p>
              <a:endParaRPr lang="en-US"/>
            </a:p>
          </p:txBody>
        </p:sp>
        <p:sp>
          <p:nvSpPr>
            <p:cNvPr id="710" name="Freeform: Shape 709">
              <a:extLst>
                <a:ext uri="{FF2B5EF4-FFF2-40B4-BE49-F238E27FC236}">
                  <a16:creationId xmlns:a16="http://schemas.microsoft.com/office/drawing/2014/main" id="{6901887F-AEA2-4667-848E-839E07E175A2}"/>
                </a:ext>
              </a:extLst>
            </p:cNvPr>
            <p:cNvSpPr/>
            <p:nvPr/>
          </p:nvSpPr>
          <p:spPr>
            <a:xfrm>
              <a:off x="4130023" y="1776521"/>
              <a:ext cx="761" cy="12696"/>
            </a:xfrm>
            <a:custGeom>
              <a:avLst/>
              <a:gdLst>
                <a:gd name="connsiteX0" fmla="*/ 0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0" y="0"/>
                  </a:moveTo>
                  <a:lnTo>
                    <a:pt x="762" y="0"/>
                  </a:lnTo>
                  <a:lnTo>
                    <a:pt x="0" y="0"/>
                  </a:lnTo>
                  <a:close/>
                </a:path>
              </a:pathLst>
            </a:custGeom>
            <a:solidFill>
              <a:srgbClr val="000000"/>
            </a:solidFill>
            <a:ln w="12690" cap="flat">
              <a:noFill/>
              <a:prstDash val="solid"/>
              <a:miter/>
            </a:ln>
          </p:spPr>
          <p:txBody>
            <a:bodyPr rtlCol="0" anchor="ctr"/>
            <a:lstStyle/>
            <a:p>
              <a:endParaRPr lang="en-US"/>
            </a:p>
          </p:txBody>
        </p:sp>
        <p:sp>
          <p:nvSpPr>
            <p:cNvPr id="711" name="Freeform: Shape 710">
              <a:extLst>
                <a:ext uri="{FF2B5EF4-FFF2-40B4-BE49-F238E27FC236}">
                  <a16:creationId xmlns:a16="http://schemas.microsoft.com/office/drawing/2014/main" id="{2E8D0110-B694-4ACA-90B0-3F482BC45BC4}"/>
                </a:ext>
              </a:extLst>
            </p:cNvPr>
            <p:cNvSpPr/>
            <p:nvPr/>
          </p:nvSpPr>
          <p:spPr>
            <a:xfrm>
              <a:off x="4131420" y="1777537"/>
              <a:ext cx="12696" cy="761"/>
            </a:xfrm>
            <a:custGeom>
              <a:avLst/>
              <a:gdLst>
                <a:gd name="connsiteX0" fmla="*/ 0 w 12696"/>
                <a:gd name="connsiteY0" fmla="*/ 0 h 761"/>
                <a:gd name="connsiteX1" fmla="*/ 0 w 12696"/>
                <a:gd name="connsiteY1" fmla="*/ 762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762"/>
                  </a:lnTo>
                  <a:lnTo>
                    <a:pt x="0" y="762"/>
                  </a:lnTo>
                  <a:close/>
                </a:path>
              </a:pathLst>
            </a:custGeom>
            <a:solidFill>
              <a:srgbClr val="000000"/>
            </a:solidFill>
            <a:ln w="12690" cap="flat">
              <a:noFill/>
              <a:prstDash val="solid"/>
              <a:miter/>
            </a:ln>
          </p:spPr>
          <p:txBody>
            <a:bodyPr rtlCol="0" anchor="ctr"/>
            <a:lstStyle/>
            <a:p>
              <a:endParaRPr lang="en-US"/>
            </a:p>
          </p:txBody>
        </p:sp>
        <p:sp>
          <p:nvSpPr>
            <p:cNvPr id="712" name="Freeform: Shape 711">
              <a:extLst>
                <a:ext uri="{FF2B5EF4-FFF2-40B4-BE49-F238E27FC236}">
                  <a16:creationId xmlns:a16="http://schemas.microsoft.com/office/drawing/2014/main" id="{ECE6034F-7488-4430-8D27-EDB4AB01FFCD}"/>
                </a:ext>
              </a:extLst>
            </p:cNvPr>
            <p:cNvSpPr/>
            <p:nvPr/>
          </p:nvSpPr>
          <p:spPr>
            <a:xfrm>
              <a:off x="4132181" y="1779315"/>
              <a:ext cx="38" cy="1015"/>
            </a:xfrm>
            <a:custGeom>
              <a:avLst/>
              <a:gdLst>
                <a:gd name="connsiteX0" fmla="*/ 0 w 38"/>
                <a:gd name="connsiteY0" fmla="*/ 0 h 1015"/>
                <a:gd name="connsiteX1" fmla="*/ 0 w 38"/>
                <a:gd name="connsiteY1" fmla="*/ 1016 h 1015"/>
                <a:gd name="connsiteX2" fmla="*/ 0 w 38"/>
                <a:gd name="connsiteY2" fmla="*/ 254 h 1015"/>
              </a:gdLst>
              <a:ahLst/>
              <a:cxnLst>
                <a:cxn ang="0">
                  <a:pos x="connsiteX0" y="connsiteY0"/>
                </a:cxn>
                <a:cxn ang="0">
                  <a:pos x="connsiteX1" y="connsiteY1"/>
                </a:cxn>
                <a:cxn ang="0">
                  <a:pos x="connsiteX2" y="connsiteY2"/>
                </a:cxn>
              </a:cxnLst>
              <a:rect l="l" t="t" r="r" b="b"/>
              <a:pathLst>
                <a:path w="38" h="1015">
                  <a:moveTo>
                    <a:pt x="0" y="0"/>
                  </a:moveTo>
                  <a:cubicBezTo>
                    <a:pt x="51" y="330"/>
                    <a:pt x="51" y="686"/>
                    <a:pt x="0" y="1016"/>
                  </a:cubicBezTo>
                  <a:cubicBezTo>
                    <a:pt x="0" y="1016"/>
                    <a:pt x="0" y="1016"/>
                    <a:pt x="0" y="254"/>
                  </a:cubicBezTo>
                  <a:close/>
                </a:path>
              </a:pathLst>
            </a:custGeom>
            <a:solidFill>
              <a:srgbClr val="000000"/>
            </a:solidFill>
            <a:ln w="12690" cap="flat">
              <a:noFill/>
              <a:prstDash val="solid"/>
              <a:miter/>
            </a:ln>
          </p:spPr>
          <p:txBody>
            <a:bodyPr rtlCol="0" anchor="ctr"/>
            <a:lstStyle/>
            <a:p>
              <a:endParaRPr lang="en-US"/>
            </a:p>
          </p:txBody>
        </p:sp>
        <p:sp>
          <p:nvSpPr>
            <p:cNvPr id="713" name="Freeform: Shape 712">
              <a:extLst>
                <a:ext uri="{FF2B5EF4-FFF2-40B4-BE49-F238E27FC236}">
                  <a16:creationId xmlns:a16="http://schemas.microsoft.com/office/drawing/2014/main" id="{5CA91AAF-3B7E-49CB-BFF1-C1B5E798E720}"/>
                </a:ext>
              </a:extLst>
            </p:cNvPr>
            <p:cNvSpPr/>
            <p:nvPr/>
          </p:nvSpPr>
          <p:spPr>
            <a:xfrm>
              <a:off x="2624687" y="1312076"/>
              <a:ext cx="1504319" cy="471936"/>
            </a:xfrm>
            <a:custGeom>
              <a:avLst/>
              <a:gdLst>
                <a:gd name="connsiteX0" fmla="*/ 1502415 w 1504319"/>
                <a:gd name="connsiteY0" fmla="*/ 463557 h 471936"/>
                <a:gd name="connsiteX1" fmla="*/ 1504320 w 1504319"/>
                <a:gd name="connsiteY1" fmla="*/ 463557 h 471936"/>
                <a:gd name="connsiteX2" fmla="*/ 1504320 w 1504319"/>
                <a:gd name="connsiteY2" fmla="*/ 463557 h 471936"/>
                <a:gd name="connsiteX3" fmla="*/ 3555 w 1504319"/>
                <a:gd name="connsiteY3" fmla="*/ 0 h 471936"/>
                <a:gd name="connsiteX4" fmla="*/ 6945 w 1504319"/>
                <a:gd name="connsiteY4" fmla="*/ 5917 h 471936"/>
                <a:gd name="connsiteX5" fmla="*/ 6856 w 1504319"/>
                <a:gd name="connsiteY5" fmla="*/ 6221 h 471936"/>
                <a:gd name="connsiteX6" fmla="*/ 1778 w 1504319"/>
                <a:gd name="connsiteY6" fmla="*/ 9523 h 471936"/>
                <a:gd name="connsiteX7" fmla="*/ 0 w 1504319"/>
                <a:gd name="connsiteY7" fmla="*/ 9523 h 471936"/>
                <a:gd name="connsiteX8" fmla="*/ 0 w 1504319"/>
                <a:gd name="connsiteY8" fmla="*/ 9523 h 471936"/>
                <a:gd name="connsiteX9" fmla="*/ 635 w 1504319"/>
                <a:gd name="connsiteY9" fmla="*/ 9523 h 471936"/>
                <a:gd name="connsiteX10" fmla="*/ 1492512 w 1504319"/>
                <a:gd name="connsiteY10" fmla="*/ 470413 h 471936"/>
                <a:gd name="connsiteX11" fmla="*/ 1497591 w 1504319"/>
                <a:gd name="connsiteY11" fmla="*/ 471937 h 471936"/>
                <a:gd name="connsiteX12" fmla="*/ 1497591 w 1504319"/>
                <a:gd name="connsiteY12" fmla="*/ 468381 h 471936"/>
                <a:gd name="connsiteX13" fmla="*/ 1502415 w 1504319"/>
                <a:gd name="connsiteY13" fmla="*/ 463557 h 47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319" h="471936">
                  <a:moveTo>
                    <a:pt x="1502415" y="463557"/>
                  </a:moveTo>
                  <a:lnTo>
                    <a:pt x="1504320" y="463557"/>
                  </a:lnTo>
                  <a:lnTo>
                    <a:pt x="1504320" y="463557"/>
                  </a:lnTo>
                  <a:lnTo>
                    <a:pt x="3555" y="0"/>
                  </a:lnTo>
                  <a:cubicBezTo>
                    <a:pt x="6133" y="698"/>
                    <a:pt x="7644" y="3352"/>
                    <a:pt x="6945" y="5917"/>
                  </a:cubicBezTo>
                  <a:cubicBezTo>
                    <a:pt x="6920" y="6018"/>
                    <a:pt x="6894" y="6120"/>
                    <a:pt x="6856" y="6221"/>
                  </a:cubicBezTo>
                  <a:cubicBezTo>
                    <a:pt x="6018" y="8266"/>
                    <a:pt x="3987" y="9586"/>
                    <a:pt x="1778" y="9523"/>
                  </a:cubicBezTo>
                  <a:cubicBezTo>
                    <a:pt x="1193" y="9637"/>
                    <a:pt x="584" y="9637"/>
                    <a:pt x="0" y="9523"/>
                  </a:cubicBezTo>
                  <a:lnTo>
                    <a:pt x="0" y="9523"/>
                  </a:lnTo>
                  <a:lnTo>
                    <a:pt x="635" y="9523"/>
                  </a:lnTo>
                  <a:lnTo>
                    <a:pt x="1492512" y="470413"/>
                  </a:lnTo>
                  <a:lnTo>
                    <a:pt x="1497591" y="471937"/>
                  </a:lnTo>
                  <a:lnTo>
                    <a:pt x="1497591" y="468381"/>
                  </a:lnTo>
                  <a:cubicBezTo>
                    <a:pt x="1497768" y="465791"/>
                    <a:pt x="1499825" y="463734"/>
                    <a:pt x="1502415" y="463557"/>
                  </a:cubicBezTo>
                  <a:close/>
                </a:path>
              </a:pathLst>
            </a:custGeom>
            <a:solidFill>
              <a:srgbClr val="000000"/>
            </a:solidFill>
            <a:ln w="12690" cap="flat">
              <a:noFill/>
              <a:prstDash val="solid"/>
              <a:miter/>
            </a:ln>
          </p:spPr>
          <p:txBody>
            <a:bodyPr rtlCol="0" anchor="ctr"/>
            <a:lstStyle/>
            <a:p>
              <a:endParaRPr lang="en-US"/>
            </a:p>
          </p:txBody>
        </p:sp>
        <p:sp>
          <p:nvSpPr>
            <p:cNvPr id="714" name="Freeform: Shape 713">
              <a:extLst>
                <a:ext uri="{FF2B5EF4-FFF2-40B4-BE49-F238E27FC236}">
                  <a16:creationId xmlns:a16="http://schemas.microsoft.com/office/drawing/2014/main" id="{2A9D05B7-39EA-4BC1-B9BF-34B3C71B4EDB}"/>
                </a:ext>
              </a:extLst>
            </p:cNvPr>
            <p:cNvSpPr/>
            <p:nvPr/>
          </p:nvSpPr>
          <p:spPr>
            <a:xfrm>
              <a:off x="4121643" y="2215066"/>
              <a:ext cx="10459" cy="191726"/>
            </a:xfrm>
            <a:custGeom>
              <a:avLst/>
              <a:gdLst>
                <a:gd name="connsiteX0" fmla="*/ 5460 w 10459"/>
                <a:gd name="connsiteY0" fmla="*/ 4952 h 191726"/>
                <a:gd name="connsiteX1" fmla="*/ 0 w 10459"/>
                <a:gd name="connsiteY1" fmla="*/ 13 h 191726"/>
                <a:gd name="connsiteX2" fmla="*/ 0 w 10459"/>
                <a:gd name="connsiteY2" fmla="*/ 0 h 191726"/>
                <a:gd name="connsiteX3" fmla="*/ 0 w 10459"/>
                <a:gd name="connsiteY3" fmla="*/ 186768 h 191726"/>
                <a:gd name="connsiteX4" fmla="*/ 5447 w 10459"/>
                <a:gd name="connsiteY4" fmla="*/ 191720 h 191726"/>
                <a:gd name="connsiteX5" fmla="*/ 5460 w 10459"/>
                <a:gd name="connsiteY5" fmla="*/ 191720 h 191726"/>
                <a:gd name="connsiteX6" fmla="*/ 9142 w 10459"/>
                <a:gd name="connsiteY6" fmla="*/ 190323 h 191726"/>
                <a:gd name="connsiteX7" fmla="*/ 9777 w 10459"/>
                <a:gd name="connsiteY7" fmla="*/ 189562 h 191726"/>
                <a:gd name="connsiteX8" fmla="*/ 10411 w 10459"/>
                <a:gd name="connsiteY8" fmla="*/ 188800 h 191726"/>
                <a:gd name="connsiteX9" fmla="*/ 10411 w 10459"/>
                <a:gd name="connsiteY9" fmla="*/ 188038 h 191726"/>
                <a:gd name="connsiteX10" fmla="*/ 10411 w 10459"/>
                <a:gd name="connsiteY10" fmla="*/ 186895 h 191726"/>
                <a:gd name="connsiteX11" fmla="*/ 10411 w 10459"/>
                <a:gd name="connsiteY11" fmla="*/ 186895 h 191726"/>
                <a:gd name="connsiteX12" fmla="*/ 10411 w 10459"/>
                <a:gd name="connsiteY12" fmla="*/ 0 h 191726"/>
                <a:gd name="connsiteX13" fmla="*/ 5460 w 10459"/>
                <a:gd name="connsiteY13" fmla="*/ 4952 h 19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9" h="191726">
                  <a:moveTo>
                    <a:pt x="5460" y="4952"/>
                  </a:moveTo>
                  <a:cubicBezTo>
                    <a:pt x="2590" y="5091"/>
                    <a:pt x="140" y="2882"/>
                    <a:pt x="0" y="13"/>
                  </a:cubicBezTo>
                  <a:cubicBezTo>
                    <a:pt x="0" y="13"/>
                    <a:pt x="0" y="0"/>
                    <a:pt x="0" y="0"/>
                  </a:cubicBezTo>
                  <a:lnTo>
                    <a:pt x="0" y="186768"/>
                  </a:lnTo>
                  <a:cubicBezTo>
                    <a:pt x="140" y="189638"/>
                    <a:pt x="2577" y="191860"/>
                    <a:pt x="5447" y="191720"/>
                  </a:cubicBezTo>
                  <a:cubicBezTo>
                    <a:pt x="5447" y="191720"/>
                    <a:pt x="5460" y="191720"/>
                    <a:pt x="5460" y="191720"/>
                  </a:cubicBezTo>
                  <a:cubicBezTo>
                    <a:pt x="6818" y="191720"/>
                    <a:pt x="8126" y="191225"/>
                    <a:pt x="9142" y="190323"/>
                  </a:cubicBezTo>
                  <a:lnTo>
                    <a:pt x="9777" y="189562"/>
                  </a:lnTo>
                  <a:lnTo>
                    <a:pt x="10411" y="188800"/>
                  </a:lnTo>
                  <a:cubicBezTo>
                    <a:pt x="10411" y="188800"/>
                    <a:pt x="10411" y="188800"/>
                    <a:pt x="10411" y="188038"/>
                  </a:cubicBezTo>
                  <a:cubicBezTo>
                    <a:pt x="10475" y="187657"/>
                    <a:pt x="10475" y="187276"/>
                    <a:pt x="10411" y="186895"/>
                  </a:cubicBezTo>
                  <a:lnTo>
                    <a:pt x="10411" y="186895"/>
                  </a:lnTo>
                  <a:lnTo>
                    <a:pt x="10411" y="0"/>
                  </a:lnTo>
                  <a:cubicBezTo>
                    <a:pt x="10348" y="2704"/>
                    <a:pt x="8164" y="4888"/>
                    <a:pt x="5460" y="4952"/>
                  </a:cubicBezTo>
                  <a:close/>
                </a:path>
              </a:pathLst>
            </a:custGeom>
            <a:solidFill>
              <a:srgbClr val="000000"/>
            </a:solidFill>
            <a:ln w="12690" cap="flat">
              <a:noFill/>
              <a:prstDash val="solid"/>
              <a:miter/>
            </a:ln>
          </p:spPr>
          <p:txBody>
            <a:bodyPr rtlCol="0" anchor="ctr"/>
            <a:lstStyle/>
            <a:p>
              <a:endParaRPr lang="en-US"/>
            </a:p>
          </p:txBody>
        </p:sp>
        <p:sp>
          <p:nvSpPr>
            <p:cNvPr id="715" name="Freeform: Shape 714">
              <a:extLst>
                <a:ext uri="{FF2B5EF4-FFF2-40B4-BE49-F238E27FC236}">
                  <a16:creationId xmlns:a16="http://schemas.microsoft.com/office/drawing/2014/main" id="{183C82C2-1DF9-445F-8AAC-4001E0F304D4}"/>
                </a:ext>
              </a:extLst>
            </p:cNvPr>
            <p:cNvSpPr/>
            <p:nvPr/>
          </p:nvSpPr>
          <p:spPr>
            <a:xfrm>
              <a:off x="8654625" y="3876810"/>
              <a:ext cx="9081" cy="99266"/>
            </a:xfrm>
            <a:custGeom>
              <a:avLst/>
              <a:gdLst>
                <a:gd name="connsiteX0" fmla="*/ 4609 w 9081"/>
                <a:gd name="connsiteY0" fmla="*/ 1397 h 99266"/>
                <a:gd name="connsiteX1" fmla="*/ 3466 w 9081"/>
                <a:gd name="connsiteY1" fmla="*/ 1397 h 99266"/>
                <a:gd name="connsiteX2" fmla="*/ 2451 w 9081"/>
                <a:gd name="connsiteY2" fmla="*/ 1397 h 99266"/>
                <a:gd name="connsiteX3" fmla="*/ 38 w 9081"/>
                <a:gd name="connsiteY3" fmla="*/ 5459 h 99266"/>
                <a:gd name="connsiteX4" fmla="*/ 38 w 9081"/>
                <a:gd name="connsiteY4" fmla="*/ 95733 h 99266"/>
                <a:gd name="connsiteX5" fmla="*/ 38 w 9081"/>
                <a:gd name="connsiteY5" fmla="*/ 95733 h 99266"/>
                <a:gd name="connsiteX6" fmla="*/ 38 w 9081"/>
                <a:gd name="connsiteY6" fmla="*/ 96749 h 99266"/>
                <a:gd name="connsiteX7" fmla="*/ 38 w 9081"/>
                <a:gd name="connsiteY7" fmla="*/ 97638 h 99266"/>
                <a:gd name="connsiteX8" fmla="*/ 38 w 9081"/>
                <a:gd name="connsiteY8" fmla="*/ 98399 h 99266"/>
                <a:gd name="connsiteX9" fmla="*/ 673 w 9081"/>
                <a:gd name="connsiteY9" fmla="*/ 99161 h 99266"/>
                <a:gd name="connsiteX10" fmla="*/ 673 w 9081"/>
                <a:gd name="connsiteY10" fmla="*/ 99161 h 99266"/>
                <a:gd name="connsiteX11" fmla="*/ 1816 w 9081"/>
                <a:gd name="connsiteY11" fmla="*/ 99161 h 99266"/>
                <a:gd name="connsiteX12" fmla="*/ 3720 w 9081"/>
                <a:gd name="connsiteY12" fmla="*/ 99161 h 99266"/>
                <a:gd name="connsiteX13" fmla="*/ 9053 w 9081"/>
                <a:gd name="connsiteY13" fmla="*/ 94349 h 99266"/>
                <a:gd name="connsiteX14" fmla="*/ 9053 w 9081"/>
                <a:gd name="connsiteY14" fmla="*/ 94336 h 99266"/>
                <a:gd name="connsiteX15" fmla="*/ 9053 w 9081"/>
                <a:gd name="connsiteY15" fmla="*/ 4063 h 99266"/>
                <a:gd name="connsiteX16" fmla="*/ 9053 w 9081"/>
                <a:gd name="connsiteY16" fmla="*/ 3301 h 99266"/>
                <a:gd name="connsiteX17" fmla="*/ 9053 w 9081"/>
                <a:gd name="connsiteY17" fmla="*/ 2285 h 99266"/>
                <a:gd name="connsiteX18" fmla="*/ 9053 w 9081"/>
                <a:gd name="connsiteY18" fmla="*/ 1270 h 99266"/>
                <a:gd name="connsiteX19" fmla="*/ 9053 w 9081"/>
                <a:gd name="connsiteY19" fmla="*/ 635 h 99266"/>
                <a:gd name="connsiteX20" fmla="*/ 8037 w 9081"/>
                <a:gd name="connsiteY20" fmla="*/ 0 h 99266"/>
                <a:gd name="connsiteX21" fmla="*/ 7402 w 9081"/>
                <a:gd name="connsiteY21" fmla="*/ 0 h 99266"/>
                <a:gd name="connsiteX22" fmla="*/ 6514 w 9081"/>
                <a:gd name="connsiteY22" fmla="*/ 0 h 99266"/>
                <a:gd name="connsiteX23" fmla="*/ 5371 w 9081"/>
                <a:gd name="connsiteY23" fmla="*/ 0 h 99266"/>
                <a:gd name="connsiteX24" fmla="*/ 4609 w 9081"/>
                <a:gd name="connsiteY24" fmla="*/ 0 h 9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081" h="99266">
                  <a:moveTo>
                    <a:pt x="4609" y="1397"/>
                  </a:moveTo>
                  <a:lnTo>
                    <a:pt x="3466" y="1397"/>
                  </a:lnTo>
                  <a:lnTo>
                    <a:pt x="2451" y="1397"/>
                  </a:lnTo>
                  <a:cubicBezTo>
                    <a:pt x="991" y="2235"/>
                    <a:pt x="76" y="3784"/>
                    <a:pt x="38" y="5459"/>
                  </a:cubicBezTo>
                  <a:lnTo>
                    <a:pt x="38" y="95733"/>
                  </a:lnTo>
                  <a:lnTo>
                    <a:pt x="38" y="95733"/>
                  </a:lnTo>
                  <a:cubicBezTo>
                    <a:pt x="-13" y="96063"/>
                    <a:pt x="-13" y="96419"/>
                    <a:pt x="38" y="96749"/>
                  </a:cubicBezTo>
                  <a:cubicBezTo>
                    <a:pt x="38" y="96749"/>
                    <a:pt x="38" y="97384"/>
                    <a:pt x="38" y="97638"/>
                  </a:cubicBezTo>
                  <a:lnTo>
                    <a:pt x="38" y="98399"/>
                  </a:lnTo>
                  <a:lnTo>
                    <a:pt x="673" y="99161"/>
                  </a:lnTo>
                  <a:lnTo>
                    <a:pt x="673" y="99161"/>
                  </a:lnTo>
                  <a:lnTo>
                    <a:pt x="1816" y="99161"/>
                  </a:lnTo>
                  <a:cubicBezTo>
                    <a:pt x="2438" y="99301"/>
                    <a:pt x="3098" y="99301"/>
                    <a:pt x="3720" y="99161"/>
                  </a:cubicBezTo>
                  <a:cubicBezTo>
                    <a:pt x="6526" y="99301"/>
                    <a:pt x="8913" y="97155"/>
                    <a:pt x="9053" y="94349"/>
                  </a:cubicBezTo>
                  <a:cubicBezTo>
                    <a:pt x="9053" y="94349"/>
                    <a:pt x="9053" y="94336"/>
                    <a:pt x="9053" y="94336"/>
                  </a:cubicBezTo>
                  <a:lnTo>
                    <a:pt x="9053" y="4063"/>
                  </a:lnTo>
                  <a:cubicBezTo>
                    <a:pt x="9053" y="4063"/>
                    <a:pt x="9053" y="4063"/>
                    <a:pt x="9053" y="3301"/>
                  </a:cubicBezTo>
                  <a:lnTo>
                    <a:pt x="9053" y="2285"/>
                  </a:lnTo>
                  <a:cubicBezTo>
                    <a:pt x="9091" y="1943"/>
                    <a:pt x="9091" y="1613"/>
                    <a:pt x="9053" y="1270"/>
                  </a:cubicBezTo>
                  <a:lnTo>
                    <a:pt x="9053" y="635"/>
                  </a:lnTo>
                  <a:lnTo>
                    <a:pt x="8037" y="0"/>
                  </a:lnTo>
                  <a:cubicBezTo>
                    <a:pt x="8037" y="0"/>
                    <a:pt x="8037" y="0"/>
                    <a:pt x="7402" y="0"/>
                  </a:cubicBezTo>
                  <a:lnTo>
                    <a:pt x="6514" y="0"/>
                  </a:lnTo>
                  <a:lnTo>
                    <a:pt x="5371" y="0"/>
                  </a:lnTo>
                  <a:lnTo>
                    <a:pt x="4609" y="0"/>
                  </a:lnTo>
                  <a:close/>
                </a:path>
              </a:pathLst>
            </a:custGeom>
            <a:solidFill>
              <a:srgbClr val="000000"/>
            </a:solidFill>
            <a:ln w="12690" cap="flat">
              <a:noFill/>
              <a:prstDash val="solid"/>
              <a:miter/>
            </a:ln>
          </p:spPr>
          <p:txBody>
            <a:bodyPr rtlCol="0" anchor="ctr"/>
            <a:lstStyle/>
            <a:p>
              <a:endParaRPr lang="en-US"/>
            </a:p>
          </p:txBody>
        </p:sp>
        <p:sp>
          <p:nvSpPr>
            <p:cNvPr id="716" name="Freeform: Shape 715">
              <a:extLst>
                <a:ext uri="{FF2B5EF4-FFF2-40B4-BE49-F238E27FC236}">
                  <a16:creationId xmlns:a16="http://schemas.microsoft.com/office/drawing/2014/main" id="{1DFCC81D-0F06-4C36-B7F7-8B0DF020A3FF}"/>
                </a:ext>
              </a:extLst>
            </p:cNvPr>
            <p:cNvSpPr/>
            <p:nvPr/>
          </p:nvSpPr>
          <p:spPr>
            <a:xfrm>
              <a:off x="9058930" y="3311045"/>
              <a:ext cx="89130" cy="35043"/>
            </a:xfrm>
            <a:custGeom>
              <a:avLst/>
              <a:gdLst>
                <a:gd name="connsiteX0" fmla="*/ 83672 w 89130"/>
                <a:gd name="connsiteY0" fmla="*/ 34916 h 35043"/>
                <a:gd name="connsiteX1" fmla="*/ 88878 w 89130"/>
                <a:gd name="connsiteY1" fmla="*/ 31488 h 35043"/>
                <a:gd name="connsiteX2" fmla="*/ 85932 w 89130"/>
                <a:gd name="connsiteY2" fmla="*/ 25533 h 35043"/>
                <a:gd name="connsiteX3" fmla="*/ 85450 w 89130"/>
                <a:gd name="connsiteY3" fmla="*/ 25393 h 35043"/>
                <a:gd name="connsiteX4" fmla="*/ 85450 w 89130"/>
                <a:gd name="connsiteY4" fmla="*/ 25393 h 35043"/>
                <a:gd name="connsiteX5" fmla="*/ 2412 w 89130"/>
                <a:gd name="connsiteY5" fmla="*/ 0 h 35043"/>
                <a:gd name="connsiteX6" fmla="*/ 2412 w 89130"/>
                <a:gd name="connsiteY6" fmla="*/ 0 h 35043"/>
                <a:gd name="connsiteX7" fmla="*/ 6603 w 89130"/>
                <a:gd name="connsiteY7" fmla="*/ 5333 h 35043"/>
                <a:gd name="connsiteX8" fmla="*/ 1143 w 89130"/>
                <a:gd name="connsiteY8" fmla="*/ 9650 h 35043"/>
                <a:gd name="connsiteX9" fmla="*/ 0 w 89130"/>
                <a:gd name="connsiteY9" fmla="*/ 9650 h 35043"/>
                <a:gd name="connsiteX10" fmla="*/ 82911 w 89130"/>
                <a:gd name="connsiteY10" fmla="*/ 35043 h 35043"/>
                <a:gd name="connsiteX11" fmla="*/ 82911 w 89130"/>
                <a:gd name="connsiteY11" fmla="*/ 35043 h 3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130" h="35043">
                  <a:moveTo>
                    <a:pt x="83672" y="34916"/>
                  </a:moveTo>
                  <a:cubicBezTo>
                    <a:pt x="85958" y="34979"/>
                    <a:pt x="88028" y="33608"/>
                    <a:pt x="88878" y="31488"/>
                  </a:cubicBezTo>
                  <a:cubicBezTo>
                    <a:pt x="89716" y="29025"/>
                    <a:pt x="88396" y="26358"/>
                    <a:pt x="85932" y="25533"/>
                  </a:cubicBezTo>
                  <a:cubicBezTo>
                    <a:pt x="85780" y="25470"/>
                    <a:pt x="85615" y="25431"/>
                    <a:pt x="85450" y="25393"/>
                  </a:cubicBezTo>
                  <a:lnTo>
                    <a:pt x="85450" y="25393"/>
                  </a:lnTo>
                  <a:lnTo>
                    <a:pt x="2412" y="0"/>
                  </a:lnTo>
                  <a:lnTo>
                    <a:pt x="2412" y="0"/>
                  </a:lnTo>
                  <a:cubicBezTo>
                    <a:pt x="4964" y="444"/>
                    <a:pt x="6768" y="2743"/>
                    <a:pt x="6603" y="5333"/>
                  </a:cubicBezTo>
                  <a:cubicBezTo>
                    <a:pt x="6107" y="7923"/>
                    <a:pt x="3784" y="9764"/>
                    <a:pt x="1143" y="9650"/>
                  </a:cubicBezTo>
                  <a:lnTo>
                    <a:pt x="0" y="9650"/>
                  </a:lnTo>
                  <a:lnTo>
                    <a:pt x="82911" y="35043"/>
                  </a:lnTo>
                  <a:lnTo>
                    <a:pt x="82911" y="35043"/>
                  </a:lnTo>
                  <a:close/>
                </a:path>
              </a:pathLst>
            </a:custGeom>
            <a:solidFill>
              <a:srgbClr val="000000"/>
            </a:solidFill>
            <a:ln w="12690" cap="flat">
              <a:noFill/>
              <a:prstDash val="solid"/>
              <a:miter/>
            </a:ln>
          </p:spPr>
          <p:txBody>
            <a:bodyPr rtlCol="0" anchor="ctr"/>
            <a:lstStyle/>
            <a:p>
              <a:endParaRPr lang="en-US"/>
            </a:p>
          </p:txBody>
        </p:sp>
        <p:sp>
          <p:nvSpPr>
            <p:cNvPr id="717" name="Freeform: Shape 716">
              <a:extLst>
                <a:ext uri="{FF2B5EF4-FFF2-40B4-BE49-F238E27FC236}">
                  <a16:creationId xmlns:a16="http://schemas.microsoft.com/office/drawing/2014/main" id="{77DB7119-EAA1-4164-A8E2-48DCB639408E}"/>
                </a:ext>
              </a:extLst>
            </p:cNvPr>
            <p:cNvSpPr/>
            <p:nvPr/>
          </p:nvSpPr>
          <p:spPr>
            <a:xfrm>
              <a:off x="7756871" y="3177222"/>
              <a:ext cx="1307783" cy="143350"/>
            </a:xfrm>
            <a:custGeom>
              <a:avLst/>
              <a:gdLst>
                <a:gd name="connsiteX0" fmla="*/ 1302313 w 1307783"/>
                <a:gd name="connsiteY0" fmla="*/ 143346 h 143350"/>
                <a:gd name="connsiteX1" fmla="*/ 1307773 w 1307783"/>
                <a:gd name="connsiteY1" fmla="*/ 139029 h 143350"/>
                <a:gd name="connsiteX2" fmla="*/ 1303583 w 1307783"/>
                <a:gd name="connsiteY2" fmla="*/ 133696 h 143350"/>
                <a:gd name="connsiteX3" fmla="*/ 1302948 w 1307783"/>
                <a:gd name="connsiteY3" fmla="*/ 133696 h 143350"/>
                <a:gd name="connsiteX4" fmla="*/ 12570 w 1307783"/>
                <a:gd name="connsiteY4" fmla="*/ 1270 h 143350"/>
                <a:gd name="connsiteX5" fmla="*/ 635 w 1307783"/>
                <a:gd name="connsiteY5" fmla="*/ 0 h 143350"/>
                <a:gd name="connsiteX6" fmla="*/ 5332 w 1307783"/>
                <a:gd name="connsiteY6" fmla="*/ 5434 h 143350"/>
                <a:gd name="connsiteX7" fmla="*/ 5332 w 1307783"/>
                <a:gd name="connsiteY7" fmla="*/ 5459 h 143350"/>
                <a:gd name="connsiteX8" fmla="*/ 0 w 1307783"/>
                <a:gd name="connsiteY8" fmla="*/ 9903 h 143350"/>
                <a:gd name="connsiteX9" fmla="*/ 0 w 1307783"/>
                <a:gd name="connsiteY9" fmla="*/ 9903 h 143350"/>
                <a:gd name="connsiteX10" fmla="*/ 1301806 w 1307783"/>
                <a:gd name="connsiteY10" fmla="*/ 143346 h 143350"/>
                <a:gd name="connsiteX11" fmla="*/ 1302948 w 1307783"/>
                <a:gd name="connsiteY11" fmla="*/ 143346 h 14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783" h="143350">
                  <a:moveTo>
                    <a:pt x="1302313" y="143346"/>
                  </a:moveTo>
                  <a:cubicBezTo>
                    <a:pt x="1304955" y="143460"/>
                    <a:pt x="1307278" y="141619"/>
                    <a:pt x="1307773" y="139029"/>
                  </a:cubicBezTo>
                  <a:cubicBezTo>
                    <a:pt x="1307938" y="136439"/>
                    <a:pt x="1306136" y="134141"/>
                    <a:pt x="1303583" y="133696"/>
                  </a:cubicBezTo>
                  <a:lnTo>
                    <a:pt x="1302948" y="133696"/>
                  </a:lnTo>
                  <a:lnTo>
                    <a:pt x="12570" y="1270"/>
                  </a:lnTo>
                  <a:lnTo>
                    <a:pt x="635" y="0"/>
                  </a:lnTo>
                  <a:cubicBezTo>
                    <a:pt x="3428" y="203"/>
                    <a:pt x="5536" y="2628"/>
                    <a:pt x="5332" y="5434"/>
                  </a:cubicBezTo>
                  <a:cubicBezTo>
                    <a:pt x="5332" y="5447"/>
                    <a:pt x="5332" y="5447"/>
                    <a:pt x="5332" y="5459"/>
                  </a:cubicBezTo>
                  <a:cubicBezTo>
                    <a:pt x="4952" y="8088"/>
                    <a:pt x="2653" y="9992"/>
                    <a:pt x="0" y="9903"/>
                  </a:cubicBezTo>
                  <a:lnTo>
                    <a:pt x="0" y="9903"/>
                  </a:lnTo>
                  <a:lnTo>
                    <a:pt x="1301806" y="143346"/>
                  </a:lnTo>
                  <a:lnTo>
                    <a:pt x="1302948" y="143346"/>
                  </a:lnTo>
                  <a:close/>
                </a:path>
              </a:pathLst>
            </a:custGeom>
            <a:solidFill>
              <a:srgbClr val="000000"/>
            </a:solidFill>
            <a:ln w="12690" cap="flat">
              <a:noFill/>
              <a:prstDash val="solid"/>
              <a:miter/>
            </a:ln>
          </p:spPr>
          <p:txBody>
            <a:bodyPr rtlCol="0" anchor="ctr"/>
            <a:lstStyle/>
            <a:p>
              <a:endParaRPr lang="en-US"/>
            </a:p>
          </p:txBody>
        </p:sp>
        <p:sp>
          <p:nvSpPr>
            <p:cNvPr id="718" name="Freeform: Shape 717">
              <a:extLst>
                <a:ext uri="{FF2B5EF4-FFF2-40B4-BE49-F238E27FC236}">
                  <a16:creationId xmlns:a16="http://schemas.microsoft.com/office/drawing/2014/main" id="{0A9BE9E3-A008-4D5A-AE7A-BD5F6105228E}"/>
                </a:ext>
              </a:extLst>
            </p:cNvPr>
            <p:cNvSpPr/>
            <p:nvPr/>
          </p:nvSpPr>
          <p:spPr>
            <a:xfrm>
              <a:off x="5822716" y="3177222"/>
              <a:ext cx="10840" cy="178622"/>
            </a:xfrm>
            <a:custGeom>
              <a:avLst/>
              <a:gdLst>
                <a:gd name="connsiteX0" fmla="*/ 10840 w 10840"/>
                <a:gd name="connsiteY0" fmla="*/ 174707 h 178622"/>
                <a:gd name="connsiteX1" fmla="*/ 10840 w 10840"/>
                <a:gd name="connsiteY1" fmla="*/ 0 h 178622"/>
                <a:gd name="connsiteX2" fmla="*/ 4618 w 10840"/>
                <a:gd name="connsiteY2" fmla="*/ 4571 h 178622"/>
                <a:gd name="connsiteX3" fmla="*/ 48 w 10840"/>
                <a:gd name="connsiteY3" fmla="*/ 0 h 178622"/>
                <a:gd name="connsiteX4" fmla="*/ 48 w 10840"/>
                <a:gd name="connsiteY4" fmla="*/ 174707 h 178622"/>
                <a:gd name="connsiteX5" fmla="*/ 48 w 10840"/>
                <a:gd name="connsiteY5" fmla="*/ 175341 h 178622"/>
                <a:gd name="connsiteX6" fmla="*/ 48 w 10840"/>
                <a:gd name="connsiteY6" fmla="*/ 176230 h 178622"/>
                <a:gd name="connsiteX7" fmla="*/ 48 w 10840"/>
                <a:gd name="connsiteY7" fmla="*/ 177119 h 178622"/>
                <a:gd name="connsiteX8" fmla="*/ 682 w 10840"/>
                <a:gd name="connsiteY8" fmla="*/ 177881 h 178622"/>
                <a:gd name="connsiteX9" fmla="*/ 1444 w 10840"/>
                <a:gd name="connsiteY9" fmla="*/ 178515 h 178622"/>
                <a:gd name="connsiteX10" fmla="*/ 2333 w 10840"/>
                <a:gd name="connsiteY10" fmla="*/ 178515 h 178622"/>
                <a:gd name="connsiteX11" fmla="*/ 3222 w 10840"/>
                <a:gd name="connsiteY11" fmla="*/ 178515 h 178622"/>
                <a:gd name="connsiteX12" fmla="*/ 4745 w 10840"/>
                <a:gd name="connsiteY12" fmla="*/ 178515 h 178622"/>
                <a:gd name="connsiteX13" fmla="*/ 10840 w 10840"/>
                <a:gd name="connsiteY13" fmla="*/ 174707 h 17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40" h="178622">
                  <a:moveTo>
                    <a:pt x="10840" y="174707"/>
                  </a:moveTo>
                  <a:lnTo>
                    <a:pt x="10840" y="0"/>
                  </a:lnTo>
                  <a:cubicBezTo>
                    <a:pt x="10383" y="2984"/>
                    <a:pt x="7589" y="5028"/>
                    <a:pt x="4618" y="4571"/>
                  </a:cubicBezTo>
                  <a:cubicBezTo>
                    <a:pt x="2257" y="4203"/>
                    <a:pt x="416" y="2361"/>
                    <a:pt x="48" y="0"/>
                  </a:cubicBezTo>
                  <a:lnTo>
                    <a:pt x="48" y="174707"/>
                  </a:lnTo>
                  <a:cubicBezTo>
                    <a:pt x="-16" y="174910"/>
                    <a:pt x="-16" y="175138"/>
                    <a:pt x="48" y="175341"/>
                  </a:cubicBezTo>
                  <a:cubicBezTo>
                    <a:pt x="-16" y="175633"/>
                    <a:pt x="-16" y="175938"/>
                    <a:pt x="48" y="176230"/>
                  </a:cubicBezTo>
                  <a:lnTo>
                    <a:pt x="48" y="177119"/>
                  </a:lnTo>
                  <a:lnTo>
                    <a:pt x="682" y="177881"/>
                  </a:lnTo>
                  <a:lnTo>
                    <a:pt x="1444" y="178515"/>
                  </a:lnTo>
                  <a:lnTo>
                    <a:pt x="2333" y="178515"/>
                  </a:lnTo>
                  <a:lnTo>
                    <a:pt x="3222" y="178515"/>
                  </a:lnTo>
                  <a:lnTo>
                    <a:pt x="4745" y="178515"/>
                  </a:lnTo>
                  <a:cubicBezTo>
                    <a:pt x="7462" y="179074"/>
                    <a:pt x="10154" y="177398"/>
                    <a:pt x="10840" y="174707"/>
                  </a:cubicBezTo>
                  <a:close/>
                </a:path>
              </a:pathLst>
            </a:custGeom>
            <a:solidFill>
              <a:srgbClr val="000000"/>
            </a:solidFill>
            <a:ln w="12690" cap="flat">
              <a:noFill/>
              <a:prstDash val="solid"/>
              <a:miter/>
            </a:ln>
          </p:spPr>
          <p:txBody>
            <a:bodyPr rtlCol="0" anchor="ctr"/>
            <a:lstStyle/>
            <a:p>
              <a:endParaRPr lang="en-US"/>
            </a:p>
          </p:txBody>
        </p:sp>
        <p:sp>
          <p:nvSpPr>
            <p:cNvPr id="719" name="Freeform: Shape 718">
              <a:extLst>
                <a:ext uri="{FF2B5EF4-FFF2-40B4-BE49-F238E27FC236}">
                  <a16:creationId xmlns:a16="http://schemas.microsoft.com/office/drawing/2014/main" id="{7C4CBCDE-5C4B-48FF-B565-4594B564EA27}"/>
                </a:ext>
              </a:extLst>
            </p:cNvPr>
            <p:cNvSpPr/>
            <p:nvPr/>
          </p:nvSpPr>
          <p:spPr>
            <a:xfrm>
              <a:off x="5823088" y="3142433"/>
              <a:ext cx="56" cy="112"/>
            </a:xfrm>
            <a:custGeom>
              <a:avLst/>
              <a:gdLst>
                <a:gd name="connsiteX0" fmla="*/ 56 w 56"/>
                <a:gd name="connsiteY0" fmla="*/ 0 h 112"/>
                <a:gd name="connsiteX1" fmla="*/ 56 w 56"/>
                <a:gd name="connsiteY1" fmla="*/ 0 h 112"/>
              </a:gdLst>
              <a:ahLst/>
              <a:cxnLst>
                <a:cxn ang="0">
                  <a:pos x="connsiteX0" y="connsiteY0"/>
                </a:cxn>
                <a:cxn ang="0">
                  <a:pos x="connsiteX1" y="connsiteY1"/>
                </a:cxn>
              </a:cxnLst>
              <a:rect l="l" t="t" r="r" b="b"/>
              <a:pathLst>
                <a:path w="56" h="112">
                  <a:moveTo>
                    <a:pt x="56" y="0"/>
                  </a:moveTo>
                  <a:cubicBezTo>
                    <a:pt x="56" y="0"/>
                    <a:pt x="-71" y="254"/>
                    <a:pt x="56" y="0"/>
                  </a:cubicBezTo>
                  <a:close/>
                </a:path>
              </a:pathLst>
            </a:custGeom>
            <a:solidFill>
              <a:srgbClr val="000000"/>
            </a:solidFill>
            <a:ln w="12690" cap="flat">
              <a:noFill/>
              <a:prstDash val="solid"/>
              <a:miter/>
            </a:ln>
          </p:spPr>
          <p:txBody>
            <a:bodyPr rtlCol="0" anchor="ctr"/>
            <a:lstStyle/>
            <a:p>
              <a:endParaRPr lang="en-US"/>
            </a:p>
          </p:txBody>
        </p:sp>
        <p:sp>
          <p:nvSpPr>
            <p:cNvPr id="720" name="Freeform: Shape 719">
              <a:extLst>
                <a:ext uri="{FF2B5EF4-FFF2-40B4-BE49-F238E27FC236}">
                  <a16:creationId xmlns:a16="http://schemas.microsoft.com/office/drawing/2014/main" id="{945CC8B0-9DA6-4453-8238-3C7B940C3745}"/>
                </a:ext>
              </a:extLst>
            </p:cNvPr>
            <p:cNvSpPr/>
            <p:nvPr/>
          </p:nvSpPr>
          <p:spPr>
            <a:xfrm>
              <a:off x="5823272" y="3144718"/>
              <a:ext cx="10791" cy="37519"/>
            </a:xfrm>
            <a:custGeom>
              <a:avLst/>
              <a:gdLst>
                <a:gd name="connsiteX0" fmla="*/ 10284 w 10791"/>
                <a:gd name="connsiteY0" fmla="*/ 635 h 37519"/>
                <a:gd name="connsiteX1" fmla="*/ 10284 w 10791"/>
                <a:gd name="connsiteY1" fmla="*/ 1524 h 37519"/>
                <a:gd name="connsiteX2" fmla="*/ 5332 w 10791"/>
                <a:gd name="connsiteY2" fmla="*/ 4444 h 37519"/>
                <a:gd name="connsiteX3" fmla="*/ 3174 w 10791"/>
                <a:gd name="connsiteY3" fmla="*/ 4444 h 37519"/>
                <a:gd name="connsiteX4" fmla="*/ 0 w 10791"/>
                <a:gd name="connsiteY4" fmla="*/ 0 h 37519"/>
                <a:gd name="connsiteX5" fmla="*/ 0 w 10791"/>
                <a:gd name="connsiteY5" fmla="*/ 0 h 37519"/>
                <a:gd name="connsiteX6" fmla="*/ 0 w 10791"/>
                <a:gd name="connsiteY6" fmla="*/ 32885 h 37519"/>
                <a:gd name="connsiteX7" fmla="*/ 6221 w 10791"/>
                <a:gd name="connsiteY7" fmla="*/ 37455 h 37519"/>
                <a:gd name="connsiteX8" fmla="*/ 10792 w 10791"/>
                <a:gd name="connsiteY8" fmla="*/ 32885 h 37519"/>
                <a:gd name="connsiteX9" fmla="*/ 10792 w 10791"/>
                <a:gd name="connsiteY9" fmla="*/ 1016 h 3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1" h="37519">
                  <a:moveTo>
                    <a:pt x="10284" y="635"/>
                  </a:moveTo>
                  <a:lnTo>
                    <a:pt x="10284" y="1524"/>
                  </a:lnTo>
                  <a:cubicBezTo>
                    <a:pt x="9370" y="3403"/>
                    <a:pt x="7415" y="4558"/>
                    <a:pt x="5332" y="4444"/>
                  </a:cubicBezTo>
                  <a:cubicBezTo>
                    <a:pt x="4621" y="4571"/>
                    <a:pt x="3885" y="4571"/>
                    <a:pt x="3174" y="4444"/>
                  </a:cubicBezTo>
                  <a:cubicBezTo>
                    <a:pt x="1269" y="3796"/>
                    <a:pt x="0" y="2006"/>
                    <a:pt x="0" y="0"/>
                  </a:cubicBezTo>
                  <a:lnTo>
                    <a:pt x="0" y="0"/>
                  </a:lnTo>
                  <a:lnTo>
                    <a:pt x="0" y="32885"/>
                  </a:lnTo>
                  <a:cubicBezTo>
                    <a:pt x="457" y="35868"/>
                    <a:pt x="3250" y="37912"/>
                    <a:pt x="6221" y="37455"/>
                  </a:cubicBezTo>
                  <a:cubicBezTo>
                    <a:pt x="8583" y="37087"/>
                    <a:pt x="10424" y="35246"/>
                    <a:pt x="10792" y="32885"/>
                  </a:cubicBezTo>
                  <a:lnTo>
                    <a:pt x="10792" y="1016"/>
                  </a:lnTo>
                  <a:close/>
                </a:path>
              </a:pathLst>
            </a:custGeom>
            <a:solidFill>
              <a:srgbClr val="000000"/>
            </a:solidFill>
            <a:ln w="12690" cap="flat">
              <a:noFill/>
              <a:prstDash val="solid"/>
              <a:miter/>
            </a:ln>
          </p:spPr>
          <p:txBody>
            <a:bodyPr rtlCol="0" anchor="ctr"/>
            <a:lstStyle/>
            <a:p>
              <a:endParaRPr lang="en-US"/>
            </a:p>
          </p:txBody>
        </p:sp>
        <p:sp>
          <p:nvSpPr>
            <p:cNvPr id="721" name="Freeform: Shape 720">
              <a:extLst>
                <a:ext uri="{FF2B5EF4-FFF2-40B4-BE49-F238E27FC236}">
                  <a16:creationId xmlns:a16="http://schemas.microsoft.com/office/drawing/2014/main" id="{9A994E7B-10AF-484C-ADFA-C14261C5A163}"/>
                </a:ext>
              </a:extLst>
            </p:cNvPr>
            <p:cNvSpPr/>
            <p:nvPr/>
          </p:nvSpPr>
          <p:spPr>
            <a:xfrm>
              <a:off x="5823652" y="3078949"/>
              <a:ext cx="40502" cy="69927"/>
            </a:xfrm>
            <a:custGeom>
              <a:avLst/>
              <a:gdLst>
                <a:gd name="connsiteX0" fmla="*/ 35170 w 40502"/>
                <a:gd name="connsiteY0" fmla="*/ 6348 h 69927"/>
                <a:gd name="connsiteX1" fmla="*/ 33011 w 40502"/>
                <a:gd name="connsiteY1" fmla="*/ 6348 h 69927"/>
                <a:gd name="connsiteX2" fmla="*/ 29964 w 40502"/>
                <a:gd name="connsiteY2" fmla="*/ 647 h 69927"/>
                <a:gd name="connsiteX3" fmla="*/ 30218 w 40502"/>
                <a:gd name="connsiteY3" fmla="*/ 0 h 69927"/>
                <a:gd name="connsiteX4" fmla="*/ 30218 w 40502"/>
                <a:gd name="connsiteY4" fmla="*/ 889 h 69927"/>
                <a:gd name="connsiteX5" fmla="*/ 0 w 40502"/>
                <a:gd name="connsiteY5" fmla="*/ 64372 h 69927"/>
                <a:gd name="connsiteX6" fmla="*/ 0 w 40502"/>
                <a:gd name="connsiteY6" fmla="*/ 64372 h 69927"/>
                <a:gd name="connsiteX7" fmla="*/ 0 w 40502"/>
                <a:gd name="connsiteY7" fmla="*/ 65388 h 69927"/>
                <a:gd name="connsiteX8" fmla="*/ 0 w 40502"/>
                <a:gd name="connsiteY8" fmla="*/ 65388 h 69927"/>
                <a:gd name="connsiteX9" fmla="*/ 0 w 40502"/>
                <a:gd name="connsiteY9" fmla="*/ 65388 h 69927"/>
                <a:gd name="connsiteX10" fmla="*/ 3174 w 40502"/>
                <a:gd name="connsiteY10" fmla="*/ 69832 h 69927"/>
                <a:gd name="connsiteX11" fmla="*/ 5332 w 40502"/>
                <a:gd name="connsiteY11" fmla="*/ 69832 h 69927"/>
                <a:gd name="connsiteX12" fmla="*/ 10284 w 40502"/>
                <a:gd name="connsiteY12" fmla="*/ 66912 h 69927"/>
                <a:gd name="connsiteX13" fmla="*/ 10284 w 40502"/>
                <a:gd name="connsiteY13" fmla="*/ 66023 h 69927"/>
                <a:gd name="connsiteX14" fmla="*/ 12570 w 40502"/>
                <a:gd name="connsiteY14" fmla="*/ 61198 h 69927"/>
                <a:gd name="connsiteX15" fmla="*/ 40503 w 40502"/>
                <a:gd name="connsiteY15" fmla="*/ 2412 h 69927"/>
                <a:gd name="connsiteX16" fmla="*/ 35170 w 40502"/>
                <a:gd name="connsiteY16" fmla="*/ 6348 h 6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502" h="69927">
                  <a:moveTo>
                    <a:pt x="35170" y="6348"/>
                  </a:moveTo>
                  <a:cubicBezTo>
                    <a:pt x="34459" y="6526"/>
                    <a:pt x="33722" y="6526"/>
                    <a:pt x="33011" y="6348"/>
                  </a:cubicBezTo>
                  <a:cubicBezTo>
                    <a:pt x="30599" y="5612"/>
                    <a:pt x="29228" y="3060"/>
                    <a:pt x="29964" y="647"/>
                  </a:cubicBezTo>
                  <a:cubicBezTo>
                    <a:pt x="30041" y="419"/>
                    <a:pt x="30117" y="203"/>
                    <a:pt x="30218" y="0"/>
                  </a:cubicBezTo>
                  <a:lnTo>
                    <a:pt x="30218" y="889"/>
                  </a:lnTo>
                  <a:lnTo>
                    <a:pt x="0" y="64372"/>
                  </a:lnTo>
                  <a:lnTo>
                    <a:pt x="0" y="64372"/>
                  </a:lnTo>
                  <a:cubicBezTo>
                    <a:pt x="0" y="64372"/>
                    <a:pt x="0" y="65007"/>
                    <a:pt x="0" y="65388"/>
                  </a:cubicBezTo>
                  <a:cubicBezTo>
                    <a:pt x="0" y="65769"/>
                    <a:pt x="0" y="65388"/>
                    <a:pt x="0" y="65388"/>
                  </a:cubicBezTo>
                  <a:lnTo>
                    <a:pt x="0" y="65388"/>
                  </a:lnTo>
                  <a:cubicBezTo>
                    <a:pt x="0" y="67394"/>
                    <a:pt x="1269" y="69184"/>
                    <a:pt x="3174" y="69832"/>
                  </a:cubicBezTo>
                  <a:cubicBezTo>
                    <a:pt x="3885" y="69959"/>
                    <a:pt x="4621" y="69959"/>
                    <a:pt x="5332" y="69832"/>
                  </a:cubicBezTo>
                  <a:cubicBezTo>
                    <a:pt x="7415" y="69946"/>
                    <a:pt x="9370" y="68791"/>
                    <a:pt x="10284" y="66912"/>
                  </a:cubicBezTo>
                  <a:lnTo>
                    <a:pt x="10284" y="66023"/>
                  </a:lnTo>
                  <a:lnTo>
                    <a:pt x="12570" y="61198"/>
                  </a:lnTo>
                  <a:lnTo>
                    <a:pt x="40503" y="2412"/>
                  </a:lnTo>
                  <a:cubicBezTo>
                    <a:pt x="39817" y="4774"/>
                    <a:pt x="37633" y="6387"/>
                    <a:pt x="35170" y="6348"/>
                  </a:cubicBezTo>
                  <a:close/>
                </a:path>
              </a:pathLst>
            </a:custGeom>
            <a:solidFill>
              <a:srgbClr val="000000"/>
            </a:solidFill>
            <a:ln w="12690" cap="flat">
              <a:noFill/>
              <a:prstDash val="solid"/>
              <a:miter/>
            </a:ln>
          </p:spPr>
          <p:txBody>
            <a:bodyPr rtlCol="0" anchor="ctr"/>
            <a:lstStyle/>
            <a:p>
              <a:endParaRPr lang="en-US"/>
            </a:p>
          </p:txBody>
        </p:sp>
        <p:sp>
          <p:nvSpPr>
            <p:cNvPr id="722" name="Freeform: Shape 721">
              <a:extLst>
                <a:ext uri="{FF2B5EF4-FFF2-40B4-BE49-F238E27FC236}">
                  <a16:creationId xmlns:a16="http://schemas.microsoft.com/office/drawing/2014/main" id="{44B5B517-A8E4-480F-AB6E-72F4080C9C5B}"/>
                </a:ext>
              </a:extLst>
            </p:cNvPr>
            <p:cNvSpPr/>
            <p:nvPr/>
          </p:nvSpPr>
          <p:spPr>
            <a:xfrm>
              <a:off x="5853675" y="2989946"/>
              <a:ext cx="50475" cy="94342"/>
            </a:xfrm>
            <a:custGeom>
              <a:avLst/>
              <a:gdLst>
                <a:gd name="connsiteX0" fmla="*/ 41460 w 50475"/>
                <a:gd name="connsiteY0" fmla="*/ 1524 h 94342"/>
                <a:gd name="connsiteX1" fmla="*/ 42095 w 50475"/>
                <a:gd name="connsiteY1" fmla="*/ 0 h 94342"/>
                <a:gd name="connsiteX2" fmla="*/ 42095 w 50475"/>
                <a:gd name="connsiteY2" fmla="*/ 0 h 94342"/>
                <a:gd name="connsiteX3" fmla="*/ 10734 w 50475"/>
                <a:gd name="connsiteY3" fmla="*/ 66023 h 94342"/>
                <a:gd name="connsiteX4" fmla="*/ 450 w 50475"/>
                <a:gd name="connsiteY4" fmla="*/ 87861 h 94342"/>
                <a:gd name="connsiteX5" fmla="*/ 2596 w 50475"/>
                <a:gd name="connsiteY5" fmla="*/ 93956 h 94342"/>
                <a:gd name="connsiteX6" fmla="*/ 3243 w 50475"/>
                <a:gd name="connsiteY6" fmla="*/ 94210 h 94342"/>
                <a:gd name="connsiteX7" fmla="*/ 5401 w 50475"/>
                <a:gd name="connsiteY7" fmla="*/ 94210 h 94342"/>
                <a:gd name="connsiteX8" fmla="*/ 10353 w 50475"/>
                <a:gd name="connsiteY8" fmla="*/ 91162 h 94342"/>
                <a:gd name="connsiteX9" fmla="*/ 10353 w 50475"/>
                <a:gd name="connsiteY9" fmla="*/ 91162 h 94342"/>
                <a:gd name="connsiteX10" fmla="*/ 50475 w 50475"/>
                <a:gd name="connsiteY10" fmla="*/ 6729 h 94342"/>
                <a:gd name="connsiteX11" fmla="*/ 46539 w 50475"/>
                <a:gd name="connsiteY11" fmla="*/ 6729 h 94342"/>
                <a:gd name="connsiteX12" fmla="*/ 41460 w 50475"/>
                <a:gd name="connsiteY12" fmla="*/ 1917 h 94342"/>
                <a:gd name="connsiteX13" fmla="*/ 41460 w 50475"/>
                <a:gd name="connsiteY13" fmla="*/ 1524 h 9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475" h="94342">
                  <a:moveTo>
                    <a:pt x="41460" y="1524"/>
                  </a:moveTo>
                  <a:cubicBezTo>
                    <a:pt x="41562" y="978"/>
                    <a:pt x="41778" y="457"/>
                    <a:pt x="42095" y="0"/>
                  </a:cubicBezTo>
                  <a:lnTo>
                    <a:pt x="42095" y="0"/>
                  </a:lnTo>
                  <a:lnTo>
                    <a:pt x="10734" y="66023"/>
                  </a:lnTo>
                  <a:lnTo>
                    <a:pt x="450" y="87861"/>
                  </a:lnTo>
                  <a:cubicBezTo>
                    <a:pt x="-642" y="90134"/>
                    <a:pt x="323" y="92864"/>
                    <a:pt x="2596" y="93956"/>
                  </a:cubicBezTo>
                  <a:cubicBezTo>
                    <a:pt x="2812" y="94057"/>
                    <a:pt x="3027" y="94146"/>
                    <a:pt x="3243" y="94210"/>
                  </a:cubicBezTo>
                  <a:cubicBezTo>
                    <a:pt x="3954" y="94387"/>
                    <a:pt x="4690" y="94387"/>
                    <a:pt x="5401" y="94210"/>
                  </a:cubicBezTo>
                  <a:cubicBezTo>
                    <a:pt x="7497" y="94235"/>
                    <a:pt x="9427" y="93041"/>
                    <a:pt x="10353" y="91162"/>
                  </a:cubicBezTo>
                  <a:lnTo>
                    <a:pt x="10353" y="91162"/>
                  </a:lnTo>
                  <a:lnTo>
                    <a:pt x="50475" y="6729"/>
                  </a:lnTo>
                  <a:lnTo>
                    <a:pt x="46539" y="6729"/>
                  </a:lnTo>
                  <a:cubicBezTo>
                    <a:pt x="43809" y="6805"/>
                    <a:pt x="41524" y="4647"/>
                    <a:pt x="41460" y="1917"/>
                  </a:cubicBezTo>
                  <a:cubicBezTo>
                    <a:pt x="41448" y="1778"/>
                    <a:pt x="41448" y="1650"/>
                    <a:pt x="41460" y="1524"/>
                  </a:cubicBezTo>
                  <a:close/>
                </a:path>
              </a:pathLst>
            </a:custGeom>
            <a:solidFill>
              <a:srgbClr val="000000"/>
            </a:solidFill>
            <a:ln w="12690" cap="flat">
              <a:noFill/>
              <a:prstDash val="solid"/>
              <a:miter/>
            </a:ln>
          </p:spPr>
          <p:txBody>
            <a:bodyPr rtlCol="0" anchor="ctr"/>
            <a:lstStyle/>
            <a:p>
              <a:endParaRPr lang="en-US"/>
            </a:p>
          </p:txBody>
        </p:sp>
        <p:sp>
          <p:nvSpPr>
            <p:cNvPr id="723" name="Freeform: Shape 722">
              <a:extLst>
                <a:ext uri="{FF2B5EF4-FFF2-40B4-BE49-F238E27FC236}">
                  <a16:creationId xmlns:a16="http://schemas.microsoft.com/office/drawing/2014/main" id="{DEEC75BB-7248-482B-BBA2-540E689472A9}"/>
                </a:ext>
              </a:extLst>
            </p:cNvPr>
            <p:cNvSpPr/>
            <p:nvPr/>
          </p:nvSpPr>
          <p:spPr>
            <a:xfrm>
              <a:off x="8655260" y="3825262"/>
              <a:ext cx="38" cy="1015"/>
            </a:xfrm>
            <a:custGeom>
              <a:avLst/>
              <a:gdLst>
                <a:gd name="connsiteX0" fmla="*/ 38 w 38"/>
                <a:gd name="connsiteY0" fmla="*/ 254 h 1015"/>
                <a:gd name="connsiteX1" fmla="*/ 38 w 38"/>
                <a:gd name="connsiteY1" fmla="*/ 1016 h 1015"/>
                <a:gd name="connsiteX2" fmla="*/ 38 w 38"/>
                <a:gd name="connsiteY2" fmla="*/ 0 h 1015"/>
              </a:gdLst>
              <a:ahLst/>
              <a:cxnLst>
                <a:cxn ang="0">
                  <a:pos x="connsiteX0" y="connsiteY0"/>
                </a:cxn>
                <a:cxn ang="0">
                  <a:pos x="connsiteX1" y="connsiteY1"/>
                </a:cxn>
                <a:cxn ang="0">
                  <a:pos x="connsiteX2" y="connsiteY2"/>
                </a:cxn>
              </a:cxnLst>
              <a:rect l="l" t="t" r="r" b="b"/>
              <a:pathLst>
                <a:path w="38" h="1015">
                  <a:moveTo>
                    <a:pt x="38" y="254"/>
                  </a:moveTo>
                  <a:cubicBezTo>
                    <a:pt x="38" y="254"/>
                    <a:pt x="38" y="254"/>
                    <a:pt x="38" y="1016"/>
                  </a:cubicBezTo>
                  <a:cubicBezTo>
                    <a:pt x="-13" y="673"/>
                    <a:pt x="-13" y="330"/>
                    <a:pt x="38" y="0"/>
                  </a:cubicBezTo>
                  <a:close/>
                </a:path>
              </a:pathLst>
            </a:custGeom>
            <a:solidFill>
              <a:srgbClr val="000000"/>
            </a:solidFill>
            <a:ln w="12690" cap="flat">
              <a:noFill/>
              <a:prstDash val="solid"/>
              <a:miter/>
            </a:ln>
          </p:spPr>
          <p:txBody>
            <a:bodyPr rtlCol="0" anchor="ctr"/>
            <a:lstStyle/>
            <a:p>
              <a:endParaRPr lang="en-US"/>
            </a:p>
          </p:txBody>
        </p:sp>
        <p:sp>
          <p:nvSpPr>
            <p:cNvPr id="724" name="Freeform: Shape 723">
              <a:extLst>
                <a:ext uri="{FF2B5EF4-FFF2-40B4-BE49-F238E27FC236}">
                  <a16:creationId xmlns:a16="http://schemas.microsoft.com/office/drawing/2014/main" id="{1492BD59-30C8-422F-A12B-B95C823D1B27}"/>
                </a:ext>
              </a:extLst>
            </p:cNvPr>
            <p:cNvSpPr/>
            <p:nvPr/>
          </p:nvSpPr>
          <p:spPr>
            <a:xfrm>
              <a:off x="8656568" y="3790727"/>
              <a:ext cx="47486" cy="37836"/>
            </a:xfrm>
            <a:custGeom>
              <a:avLst/>
              <a:gdLst>
                <a:gd name="connsiteX0" fmla="*/ 9396 w 47486"/>
                <a:gd name="connsiteY0" fmla="*/ 35678 h 37836"/>
                <a:gd name="connsiteX1" fmla="*/ 9396 w 47486"/>
                <a:gd name="connsiteY1" fmla="*/ 37836 h 37836"/>
                <a:gd name="connsiteX2" fmla="*/ 14475 w 47486"/>
                <a:gd name="connsiteY2" fmla="*/ 33773 h 37836"/>
                <a:gd name="connsiteX3" fmla="*/ 47487 w 47486"/>
                <a:gd name="connsiteY3" fmla="*/ 6856 h 37836"/>
                <a:gd name="connsiteX4" fmla="*/ 39868 w 47486"/>
                <a:gd name="connsiteY4" fmla="*/ 6856 h 37836"/>
                <a:gd name="connsiteX5" fmla="*/ 39462 w 47486"/>
                <a:gd name="connsiteY5" fmla="*/ 406 h 37836"/>
                <a:gd name="connsiteX6" fmla="*/ 39868 w 47486"/>
                <a:gd name="connsiteY6" fmla="*/ 0 h 37836"/>
                <a:gd name="connsiteX7" fmla="*/ 31489 w 47486"/>
                <a:gd name="connsiteY7" fmla="*/ 6729 h 37836"/>
                <a:gd name="connsiteX8" fmla="*/ 0 w 47486"/>
                <a:gd name="connsiteY8" fmla="*/ 32123 h 37836"/>
                <a:gd name="connsiteX9" fmla="*/ 0 w 47486"/>
                <a:gd name="connsiteY9" fmla="*/ 32123 h 37836"/>
                <a:gd name="connsiteX10" fmla="*/ 3810 w 47486"/>
                <a:gd name="connsiteY10" fmla="*/ 30853 h 37836"/>
                <a:gd name="connsiteX11" fmla="*/ 9371 w 47486"/>
                <a:gd name="connsiteY11" fmla="*/ 35398 h 37836"/>
                <a:gd name="connsiteX12" fmla="*/ 9396 w 47486"/>
                <a:gd name="connsiteY12" fmla="*/ 35678 h 3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86" h="37836">
                  <a:moveTo>
                    <a:pt x="9396" y="35678"/>
                  </a:moveTo>
                  <a:lnTo>
                    <a:pt x="9396" y="37836"/>
                  </a:lnTo>
                  <a:lnTo>
                    <a:pt x="14475" y="33773"/>
                  </a:lnTo>
                  <a:lnTo>
                    <a:pt x="47487" y="6856"/>
                  </a:lnTo>
                  <a:cubicBezTo>
                    <a:pt x="45315" y="8799"/>
                    <a:pt x="42040" y="8799"/>
                    <a:pt x="39868" y="6856"/>
                  </a:cubicBezTo>
                  <a:cubicBezTo>
                    <a:pt x="37977" y="5193"/>
                    <a:pt x="37799" y="2298"/>
                    <a:pt x="39462" y="406"/>
                  </a:cubicBezTo>
                  <a:cubicBezTo>
                    <a:pt x="39589" y="267"/>
                    <a:pt x="39729" y="127"/>
                    <a:pt x="39868" y="0"/>
                  </a:cubicBezTo>
                  <a:lnTo>
                    <a:pt x="31489" y="6729"/>
                  </a:lnTo>
                  <a:lnTo>
                    <a:pt x="0" y="32123"/>
                  </a:lnTo>
                  <a:lnTo>
                    <a:pt x="0" y="32123"/>
                  </a:lnTo>
                  <a:cubicBezTo>
                    <a:pt x="1092" y="31285"/>
                    <a:pt x="2438" y="30841"/>
                    <a:pt x="3810" y="30853"/>
                  </a:cubicBezTo>
                  <a:cubicBezTo>
                    <a:pt x="6603" y="30574"/>
                    <a:pt x="9091" y="32605"/>
                    <a:pt x="9371" y="35398"/>
                  </a:cubicBezTo>
                  <a:cubicBezTo>
                    <a:pt x="9383" y="35487"/>
                    <a:pt x="9396" y="35576"/>
                    <a:pt x="9396" y="35678"/>
                  </a:cubicBezTo>
                  <a:close/>
                </a:path>
              </a:pathLst>
            </a:custGeom>
            <a:solidFill>
              <a:srgbClr val="000000"/>
            </a:solidFill>
            <a:ln w="12690" cap="flat">
              <a:noFill/>
              <a:prstDash val="solid"/>
              <a:miter/>
            </a:ln>
          </p:spPr>
          <p:txBody>
            <a:bodyPr rtlCol="0" anchor="ctr"/>
            <a:lstStyle/>
            <a:p>
              <a:endParaRPr lang="en-US"/>
            </a:p>
          </p:txBody>
        </p:sp>
        <p:sp>
          <p:nvSpPr>
            <p:cNvPr id="725" name="Freeform: Shape 724">
              <a:extLst>
                <a:ext uri="{FF2B5EF4-FFF2-40B4-BE49-F238E27FC236}">
                  <a16:creationId xmlns:a16="http://schemas.microsoft.com/office/drawing/2014/main" id="{142A60C0-8D69-44A2-9609-0CFFCA9E6D93}"/>
                </a:ext>
              </a:extLst>
            </p:cNvPr>
            <p:cNvSpPr/>
            <p:nvPr/>
          </p:nvSpPr>
          <p:spPr>
            <a:xfrm>
              <a:off x="8697684" y="3617291"/>
              <a:ext cx="222978" cy="183018"/>
            </a:xfrm>
            <a:custGeom>
              <a:avLst/>
              <a:gdLst>
                <a:gd name="connsiteX0" fmla="*/ 220312 w 222978"/>
                <a:gd name="connsiteY0" fmla="*/ 6474 h 183018"/>
                <a:gd name="connsiteX1" fmla="*/ 221962 w 222978"/>
                <a:gd name="connsiteY1" fmla="*/ 3934 h 183018"/>
                <a:gd name="connsiteX2" fmla="*/ 221962 w 222978"/>
                <a:gd name="connsiteY2" fmla="*/ 3934 h 183018"/>
                <a:gd name="connsiteX3" fmla="*/ 221962 w 222978"/>
                <a:gd name="connsiteY3" fmla="*/ 2919 h 183018"/>
                <a:gd name="connsiteX4" fmla="*/ 221962 w 222978"/>
                <a:gd name="connsiteY4" fmla="*/ 2030 h 183018"/>
                <a:gd name="connsiteX5" fmla="*/ 221962 w 222978"/>
                <a:gd name="connsiteY5" fmla="*/ 1141 h 183018"/>
                <a:gd name="connsiteX6" fmla="*/ 221962 w 222978"/>
                <a:gd name="connsiteY6" fmla="*/ 253 h 183018"/>
                <a:gd name="connsiteX7" fmla="*/ 221962 w 222978"/>
                <a:gd name="connsiteY7" fmla="*/ 253 h 183018"/>
                <a:gd name="connsiteX8" fmla="*/ 221962 w 222978"/>
                <a:gd name="connsiteY8" fmla="*/ 253 h 183018"/>
                <a:gd name="connsiteX9" fmla="*/ 221074 w 222978"/>
                <a:gd name="connsiteY9" fmla="*/ 253 h 183018"/>
                <a:gd name="connsiteX10" fmla="*/ 220058 w 222978"/>
                <a:gd name="connsiteY10" fmla="*/ 253 h 183018"/>
                <a:gd name="connsiteX11" fmla="*/ 214979 w 222978"/>
                <a:gd name="connsiteY11" fmla="*/ 1268 h 183018"/>
                <a:gd name="connsiteX12" fmla="*/ 206599 w 222978"/>
                <a:gd name="connsiteY12" fmla="*/ 7997 h 183018"/>
                <a:gd name="connsiteX13" fmla="*/ 3450 w 222978"/>
                <a:gd name="connsiteY13" fmla="*/ 173055 h 183018"/>
                <a:gd name="connsiteX14" fmla="*/ 1546 w 222978"/>
                <a:gd name="connsiteY14" fmla="*/ 174705 h 183018"/>
                <a:gd name="connsiteX15" fmla="*/ 1139 w 222978"/>
                <a:gd name="connsiteY15" fmla="*/ 181155 h 183018"/>
                <a:gd name="connsiteX16" fmla="*/ 1546 w 222978"/>
                <a:gd name="connsiteY16" fmla="*/ 181562 h 183018"/>
                <a:gd name="connsiteX17" fmla="*/ 9164 w 222978"/>
                <a:gd name="connsiteY17" fmla="*/ 181562 h 183018"/>
                <a:gd name="connsiteX18" fmla="*/ 222978 w 222978"/>
                <a:gd name="connsiteY18" fmla="*/ 7870 h 1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978" h="183018">
                  <a:moveTo>
                    <a:pt x="220312" y="6474"/>
                  </a:moveTo>
                  <a:cubicBezTo>
                    <a:pt x="221124" y="5839"/>
                    <a:pt x="221708" y="4938"/>
                    <a:pt x="221962" y="3934"/>
                  </a:cubicBezTo>
                  <a:cubicBezTo>
                    <a:pt x="221962" y="3934"/>
                    <a:pt x="221962" y="3934"/>
                    <a:pt x="221962" y="3934"/>
                  </a:cubicBezTo>
                  <a:lnTo>
                    <a:pt x="221962" y="2919"/>
                  </a:lnTo>
                  <a:cubicBezTo>
                    <a:pt x="221911" y="2627"/>
                    <a:pt x="221911" y="2322"/>
                    <a:pt x="221962" y="2030"/>
                  </a:cubicBezTo>
                  <a:cubicBezTo>
                    <a:pt x="222026" y="1738"/>
                    <a:pt x="222026" y="1433"/>
                    <a:pt x="221962" y="1141"/>
                  </a:cubicBezTo>
                  <a:cubicBezTo>
                    <a:pt x="222000" y="849"/>
                    <a:pt x="222000" y="544"/>
                    <a:pt x="221962" y="253"/>
                  </a:cubicBezTo>
                  <a:lnTo>
                    <a:pt x="221962" y="253"/>
                  </a:lnTo>
                  <a:lnTo>
                    <a:pt x="221962" y="253"/>
                  </a:lnTo>
                  <a:cubicBezTo>
                    <a:pt x="221670" y="189"/>
                    <a:pt x="221366" y="189"/>
                    <a:pt x="221074" y="253"/>
                  </a:cubicBezTo>
                  <a:lnTo>
                    <a:pt x="220058" y="253"/>
                  </a:lnTo>
                  <a:cubicBezTo>
                    <a:pt x="218305" y="-306"/>
                    <a:pt x="216388" y="75"/>
                    <a:pt x="214979" y="1268"/>
                  </a:cubicBezTo>
                  <a:lnTo>
                    <a:pt x="206599" y="7997"/>
                  </a:lnTo>
                  <a:lnTo>
                    <a:pt x="3450" y="173055"/>
                  </a:lnTo>
                  <a:lnTo>
                    <a:pt x="1546" y="174705"/>
                  </a:lnTo>
                  <a:cubicBezTo>
                    <a:pt x="-347" y="176381"/>
                    <a:pt x="-524" y="179263"/>
                    <a:pt x="1139" y="181155"/>
                  </a:cubicBezTo>
                  <a:cubicBezTo>
                    <a:pt x="1266" y="181295"/>
                    <a:pt x="1405" y="181434"/>
                    <a:pt x="1546" y="181562"/>
                  </a:cubicBezTo>
                  <a:cubicBezTo>
                    <a:pt x="3716" y="183504"/>
                    <a:pt x="6992" y="183504"/>
                    <a:pt x="9164" y="181562"/>
                  </a:cubicBezTo>
                  <a:lnTo>
                    <a:pt x="222978" y="7870"/>
                  </a:lnTo>
                  <a:close/>
                </a:path>
              </a:pathLst>
            </a:custGeom>
            <a:solidFill>
              <a:srgbClr val="000000"/>
            </a:solidFill>
            <a:ln w="12690" cap="flat">
              <a:noFill/>
              <a:prstDash val="solid"/>
              <a:miter/>
            </a:ln>
          </p:spPr>
          <p:txBody>
            <a:bodyPr rtlCol="0" anchor="ctr"/>
            <a:lstStyle/>
            <a:p>
              <a:endParaRPr lang="en-US"/>
            </a:p>
          </p:txBody>
        </p:sp>
        <p:sp>
          <p:nvSpPr>
            <p:cNvPr id="726" name="Freeform: Shape 725">
              <a:extLst>
                <a:ext uri="{FF2B5EF4-FFF2-40B4-BE49-F238E27FC236}">
                  <a16:creationId xmlns:a16="http://schemas.microsoft.com/office/drawing/2014/main" id="{1DE00E54-98AC-4A3F-B0E3-992AA7214A8D}"/>
                </a:ext>
              </a:extLst>
            </p:cNvPr>
            <p:cNvSpPr/>
            <p:nvPr/>
          </p:nvSpPr>
          <p:spPr>
            <a:xfrm>
              <a:off x="11299306" y="3033749"/>
              <a:ext cx="9432" cy="54849"/>
            </a:xfrm>
            <a:custGeom>
              <a:avLst/>
              <a:gdLst>
                <a:gd name="connsiteX0" fmla="*/ 4042 w 9432"/>
                <a:gd name="connsiteY0" fmla="*/ 48248 h 54849"/>
                <a:gd name="connsiteX1" fmla="*/ 9375 w 9432"/>
                <a:gd name="connsiteY1" fmla="*/ 53060 h 54849"/>
                <a:gd name="connsiteX2" fmla="*/ 9375 w 9432"/>
                <a:gd name="connsiteY2" fmla="*/ 53199 h 54849"/>
                <a:gd name="connsiteX3" fmla="*/ 9375 w 9432"/>
                <a:gd name="connsiteY3" fmla="*/ 2412 h 54849"/>
                <a:gd name="connsiteX4" fmla="*/ 9375 w 9432"/>
                <a:gd name="connsiteY4" fmla="*/ 2412 h 54849"/>
                <a:gd name="connsiteX5" fmla="*/ 9375 w 9432"/>
                <a:gd name="connsiteY5" fmla="*/ 1397 h 54849"/>
                <a:gd name="connsiteX6" fmla="*/ 9375 w 9432"/>
                <a:gd name="connsiteY6" fmla="*/ 1397 h 54849"/>
                <a:gd name="connsiteX7" fmla="*/ 9375 w 9432"/>
                <a:gd name="connsiteY7" fmla="*/ 762 h 54849"/>
                <a:gd name="connsiteX8" fmla="*/ 9375 w 9432"/>
                <a:gd name="connsiteY8" fmla="*/ 0 h 54849"/>
                <a:gd name="connsiteX9" fmla="*/ 9375 w 9432"/>
                <a:gd name="connsiteY9" fmla="*/ 0 h 54849"/>
                <a:gd name="connsiteX10" fmla="*/ 8613 w 9432"/>
                <a:gd name="connsiteY10" fmla="*/ 0 h 54849"/>
                <a:gd name="connsiteX11" fmla="*/ 7851 w 9432"/>
                <a:gd name="connsiteY11" fmla="*/ 0 h 54849"/>
                <a:gd name="connsiteX12" fmla="*/ 6962 w 9432"/>
                <a:gd name="connsiteY12" fmla="*/ 0 h 54849"/>
                <a:gd name="connsiteX13" fmla="*/ 5820 w 9432"/>
                <a:gd name="connsiteY13" fmla="*/ 0 h 54849"/>
                <a:gd name="connsiteX14" fmla="*/ 4804 w 9432"/>
                <a:gd name="connsiteY14" fmla="*/ 0 h 54849"/>
                <a:gd name="connsiteX15" fmla="*/ 3788 w 9432"/>
                <a:gd name="connsiteY15" fmla="*/ 0 h 54849"/>
                <a:gd name="connsiteX16" fmla="*/ 2646 w 9432"/>
                <a:gd name="connsiteY16" fmla="*/ 0 h 54849"/>
                <a:gd name="connsiteX17" fmla="*/ 233 w 9432"/>
                <a:gd name="connsiteY17" fmla="*/ 4063 h 54849"/>
                <a:gd name="connsiteX18" fmla="*/ 233 w 9432"/>
                <a:gd name="connsiteY18" fmla="*/ 54850 h 54849"/>
                <a:gd name="connsiteX19" fmla="*/ 3674 w 9432"/>
                <a:gd name="connsiteY19" fmla="*/ 48349 h 54849"/>
                <a:gd name="connsiteX20" fmla="*/ 4042 w 9432"/>
                <a:gd name="connsiteY20" fmla="*/ 48248 h 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32" h="54849">
                  <a:moveTo>
                    <a:pt x="4042" y="48248"/>
                  </a:moveTo>
                  <a:cubicBezTo>
                    <a:pt x="6848" y="48108"/>
                    <a:pt x="9235" y="50266"/>
                    <a:pt x="9375" y="53060"/>
                  </a:cubicBezTo>
                  <a:cubicBezTo>
                    <a:pt x="9375" y="53110"/>
                    <a:pt x="9375" y="53148"/>
                    <a:pt x="9375" y="53199"/>
                  </a:cubicBezTo>
                  <a:lnTo>
                    <a:pt x="9375" y="2412"/>
                  </a:lnTo>
                  <a:cubicBezTo>
                    <a:pt x="9375" y="2412"/>
                    <a:pt x="9375" y="2412"/>
                    <a:pt x="9375" y="2412"/>
                  </a:cubicBezTo>
                  <a:cubicBezTo>
                    <a:pt x="9452" y="2082"/>
                    <a:pt x="9452" y="1727"/>
                    <a:pt x="9375" y="1397"/>
                  </a:cubicBezTo>
                  <a:lnTo>
                    <a:pt x="9375" y="1397"/>
                  </a:lnTo>
                  <a:lnTo>
                    <a:pt x="9375" y="762"/>
                  </a:lnTo>
                  <a:lnTo>
                    <a:pt x="9375" y="0"/>
                  </a:lnTo>
                  <a:lnTo>
                    <a:pt x="9375" y="0"/>
                  </a:lnTo>
                  <a:lnTo>
                    <a:pt x="8613" y="0"/>
                  </a:lnTo>
                  <a:lnTo>
                    <a:pt x="7851" y="0"/>
                  </a:lnTo>
                  <a:lnTo>
                    <a:pt x="6962" y="0"/>
                  </a:lnTo>
                  <a:lnTo>
                    <a:pt x="5820" y="0"/>
                  </a:lnTo>
                  <a:lnTo>
                    <a:pt x="4804" y="0"/>
                  </a:lnTo>
                  <a:lnTo>
                    <a:pt x="3788" y="0"/>
                  </a:lnTo>
                  <a:lnTo>
                    <a:pt x="2646" y="0"/>
                  </a:lnTo>
                  <a:cubicBezTo>
                    <a:pt x="1186" y="838"/>
                    <a:pt x="271" y="2387"/>
                    <a:pt x="233" y="4063"/>
                  </a:cubicBezTo>
                  <a:lnTo>
                    <a:pt x="233" y="54850"/>
                  </a:lnTo>
                  <a:cubicBezTo>
                    <a:pt x="-617" y="52107"/>
                    <a:pt x="932" y="49187"/>
                    <a:pt x="3674" y="48349"/>
                  </a:cubicBezTo>
                  <a:cubicBezTo>
                    <a:pt x="3801" y="48311"/>
                    <a:pt x="3915" y="48273"/>
                    <a:pt x="4042" y="48248"/>
                  </a:cubicBezTo>
                  <a:close/>
                </a:path>
              </a:pathLst>
            </a:custGeom>
            <a:solidFill>
              <a:srgbClr val="000000"/>
            </a:solidFill>
            <a:ln w="12690" cap="flat">
              <a:noFill/>
              <a:prstDash val="solid"/>
              <a:miter/>
            </a:ln>
          </p:spPr>
          <p:txBody>
            <a:bodyPr rtlCol="0" anchor="ctr"/>
            <a:lstStyle/>
            <a:p>
              <a:endParaRPr lang="en-US"/>
            </a:p>
          </p:txBody>
        </p:sp>
        <p:sp>
          <p:nvSpPr>
            <p:cNvPr id="727" name="Freeform: Shape 726">
              <a:extLst>
                <a:ext uri="{FF2B5EF4-FFF2-40B4-BE49-F238E27FC236}">
                  <a16:creationId xmlns:a16="http://schemas.microsoft.com/office/drawing/2014/main" id="{26AC623A-4A38-4F2C-B722-407D2A0CD891}"/>
                </a:ext>
              </a:extLst>
            </p:cNvPr>
            <p:cNvSpPr/>
            <p:nvPr/>
          </p:nvSpPr>
          <p:spPr>
            <a:xfrm>
              <a:off x="11509633" y="3246673"/>
              <a:ext cx="9179" cy="194180"/>
            </a:xfrm>
            <a:custGeom>
              <a:avLst/>
              <a:gdLst>
                <a:gd name="connsiteX0" fmla="*/ 3467 w 9179"/>
                <a:gd name="connsiteY0" fmla="*/ 0 h 194180"/>
                <a:gd name="connsiteX1" fmla="*/ 2451 w 9179"/>
                <a:gd name="connsiteY1" fmla="*/ 0 h 194180"/>
                <a:gd name="connsiteX2" fmla="*/ 38 w 9179"/>
                <a:gd name="connsiteY2" fmla="*/ 4063 h 194180"/>
                <a:gd name="connsiteX3" fmla="*/ 38 w 9179"/>
                <a:gd name="connsiteY3" fmla="*/ 190831 h 194180"/>
                <a:gd name="connsiteX4" fmla="*/ 38 w 9179"/>
                <a:gd name="connsiteY4" fmla="*/ 190831 h 194180"/>
                <a:gd name="connsiteX5" fmla="*/ 38 w 9179"/>
                <a:gd name="connsiteY5" fmla="*/ 191847 h 194180"/>
                <a:gd name="connsiteX6" fmla="*/ 38 w 9179"/>
                <a:gd name="connsiteY6" fmla="*/ 192609 h 194180"/>
                <a:gd name="connsiteX7" fmla="*/ 38 w 9179"/>
                <a:gd name="connsiteY7" fmla="*/ 193371 h 194180"/>
                <a:gd name="connsiteX8" fmla="*/ 38 w 9179"/>
                <a:gd name="connsiteY8" fmla="*/ 194133 h 194180"/>
                <a:gd name="connsiteX9" fmla="*/ 800 w 9179"/>
                <a:gd name="connsiteY9" fmla="*/ 194133 h 194180"/>
                <a:gd name="connsiteX10" fmla="*/ 1816 w 9179"/>
                <a:gd name="connsiteY10" fmla="*/ 194133 h 194180"/>
                <a:gd name="connsiteX11" fmla="*/ 3720 w 9179"/>
                <a:gd name="connsiteY11" fmla="*/ 194133 h 194180"/>
                <a:gd name="connsiteX12" fmla="*/ 9180 w 9179"/>
                <a:gd name="connsiteY12" fmla="*/ 189308 h 194180"/>
                <a:gd name="connsiteX13" fmla="*/ 9180 w 9179"/>
                <a:gd name="connsiteY13" fmla="*/ 4571 h 194180"/>
                <a:gd name="connsiteX14" fmla="*/ 9180 w 9179"/>
                <a:gd name="connsiteY14" fmla="*/ 3809 h 194180"/>
                <a:gd name="connsiteX15" fmla="*/ 9180 w 9179"/>
                <a:gd name="connsiteY15" fmla="*/ 2793 h 194180"/>
                <a:gd name="connsiteX16" fmla="*/ 8545 w 9179"/>
                <a:gd name="connsiteY16" fmla="*/ 1778 h 194180"/>
                <a:gd name="connsiteX17" fmla="*/ 8545 w 9179"/>
                <a:gd name="connsiteY17" fmla="*/ 1778 h 194180"/>
                <a:gd name="connsiteX18" fmla="*/ 7403 w 9179"/>
                <a:gd name="connsiteY18" fmla="*/ 1016 h 194180"/>
                <a:gd name="connsiteX19" fmla="*/ 7403 w 9179"/>
                <a:gd name="connsiteY19" fmla="*/ 1016 h 194180"/>
                <a:gd name="connsiteX20" fmla="*/ 6260 w 9179"/>
                <a:gd name="connsiteY20" fmla="*/ 1016 h 194180"/>
                <a:gd name="connsiteX21" fmla="*/ 5371 w 9179"/>
                <a:gd name="connsiteY21" fmla="*/ 1016 h 194180"/>
                <a:gd name="connsiteX22" fmla="*/ 4229 w 9179"/>
                <a:gd name="connsiteY22" fmla="*/ 1016 h 19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79" h="194180">
                  <a:moveTo>
                    <a:pt x="3467" y="0"/>
                  </a:moveTo>
                  <a:lnTo>
                    <a:pt x="2451" y="0"/>
                  </a:lnTo>
                  <a:cubicBezTo>
                    <a:pt x="991" y="838"/>
                    <a:pt x="76" y="2387"/>
                    <a:pt x="38" y="4063"/>
                  </a:cubicBezTo>
                  <a:lnTo>
                    <a:pt x="38" y="190831"/>
                  </a:lnTo>
                  <a:lnTo>
                    <a:pt x="38" y="190831"/>
                  </a:lnTo>
                  <a:cubicBezTo>
                    <a:pt x="-13" y="191161"/>
                    <a:pt x="-13" y="191517"/>
                    <a:pt x="38" y="191847"/>
                  </a:cubicBezTo>
                  <a:cubicBezTo>
                    <a:pt x="-13" y="192101"/>
                    <a:pt x="-13" y="192355"/>
                    <a:pt x="38" y="192609"/>
                  </a:cubicBezTo>
                  <a:cubicBezTo>
                    <a:pt x="38" y="192609"/>
                    <a:pt x="38" y="192609"/>
                    <a:pt x="38" y="193371"/>
                  </a:cubicBezTo>
                  <a:cubicBezTo>
                    <a:pt x="38" y="194133"/>
                    <a:pt x="38" y="194005"/>
                    <a:pt x="38" y="194133"/>
                  </a:cubicBezTo>
                  <a:lnTo>
                    <a:pt x="800" y="194133"/>
                  </a:lnTo>
                  <a:cubicBezTo>
                    <a:pt x="1130" y="194196"/>
                    <a:pt x="1486" y="194196"/>
                    <a:pt x="1816" y="194133"/>
                  </a:cubicBezTo>
                  <a:lnTo>
                    <a:pt x="3720" y="194133"/>
                  </a:lnTo>
                  <a:cubicBezTo>
                    <a:pt x="6552" y="194272"/>
                    <a:pt x="8977" y="192139"/>
                    <a:pt x="9180" y="189308"/>
                  </a:cubicBezTo>
                  <a:lnTo>
                    <a:pt x="9180" y="4571"/>
                  </a:lnTo>
                  <a:cubicBezTo>
                    <a:pt x="9180" y="4571"/>
                    <a:pt x="9180" y="4571"/>
                    <a:pt x="9180" y="3809"/>
                  </a:cubicBezTo>
                  <a:lnTo>
                    <a:pt x="9180" y="2793"/>
                  </a:lnTo>
                  <a:cubicBezTo>
                    <a:pt x="9015" y="2425"/>
                    <a:pt x="8799" y="2082"/>
                    <a:pt x="8545" y="1778"/>
                  </a:cubicBezTo>
                  <a:lnTo>
                    <a:pt x="8545" y="1778"/>
                  </a:lnTo>
                  <a:lnTo>
                    <a:pt x="7403" y="1016"/>
                  </a:lnTo>
                  <a:lnTo>
                    <a:pt x="7403" y="1016"/>
                  </a:lnTo>
                  <a:cubicBezTo>
                    <a:pt x="7035" y="901"/>
                    <a:pt x="6628" y="901"/>
                    <a:pt x="6260" y="1016"/>
                  </a:cubicBezTo>
                  <a:lnTo>
                    <a:pt x="5371" y="1016"/>
                  </a:lnTo>
                  <a:lnTo>
                    <a:pt x="4229" y="1016"/>
                  </a:lnTo>
                  <a:close/>
                </a:path>
              </a:pathLst>
            </a:custGeom>
            <a:solidFill>
              <a:srgbClr val="000000"/>
            </a:solidFill>
            <a:ln w="12690" cap="flat">
              <a:noFill/>
              <a:prstDash val="solid"/>
              <a:miter/>
            </a:ln>
          </p:spPr>
          <p:txBody>
            <a:bodyPr rtlCol="0" anchor="ctr"/>
            <a:lstStyle/>
            <a:p>
              <a:endParaRPr lang="en-US"/>
            </a:p>
          </p:txBody>
        </p:sp>
        <p:sp>
          <p:nvSpPr>
            <p:cNvPr id="728" name="Freeform: Shape 727">
              <a:extLst>
                <a:ext uri="{FF2B5EF4-FFF2-40B4-BE49-F238E27FC236}">
                  <a16:creationId xmlns:a16="http://schemas.microsoft.com/office/drawing/2014/main" id="{2088FE65-24AD-4FFF-B5AF-CAB60B00F579}"/>
                </a:ext>
              </a:extLst>
            </p:cNvPr>
            <p:cNvSpPr/>
            <p:nvPr/>
          </p:nvSpPr>
          <p:spPr>
            <a:xfrm>
              <a:off x="11511147" y="2958712"/>
              <a:ext cx="309342" cy="275010"/>
            </a:xfrm>
            <a:custGeom>
              <a:avLst/>
              <a:gdLst>
                <a:gd name="connsiteX0" fmla="*/ 301090 w 309342"/>
                <a:gd name="connsiteY0" fmla="*/ 6856 h 275010"/>
                <a:gd name="connsiteX1" fmla="*/ 300683 w 309342"/>
                <a:gd name="connsiteY1" fmla="*/ 406 h 275010"/>
                <a:gd name="connsiteX2" fmla="*/ 301090 w 309342"/>
                <a:gd name="connsiteY2" fmla="*/ 0 h 275010"/>
                <a:gd name="connsiteX3" fmla="*/ 299566 w 309342"/>
                <a:gd name="connsiteY3" fmla="*/ 1397 h 275010"/>
                <a:gd name="connsiteX4" fmla="*/ 48 w 309342"/>
                <a:gd name="connsiteY4" fmla="*/ 268662 h 275010"/>
                <a:gd name="connsiteX5" fmla="*/ 48 w 309342"/>
                <a:gd name="connsiteY5" fmla="*/ 268662 h 275010"/>
                <a:gd name="connsiteX6" fmla="*/ 48 w 309342"/>
                <a:gd name="connsiteY6" fmla="*/ 269551 h 275010"/>
                <a:gd name="connsiteX7" fmla="*/ 48 w 309342"/>
                <a:gd name="connsiteY7" fmla="*/ 270313 h 275010"/>
                <a:gd name="connsiteX8" fmla="*/ 48 w 309342"/>
                <a:gd name="connsiteY8" fmla="*/ 271202 h 275010"/>
                <a:gd name="connsiteX9" fmla="*/ 48 w 309342"/>
                <a:gd name="connsiteY9" fmla="*/ 272217 h 275010"/>
                <a:gd name="connsiteX10" fmla="*/ 48 w 309342"/>
                <a:gd name="connsiteY10" fmla="*/ 273233 h 275010"/>
                <a:gd name="connsiteX11" fmla="*/ 48 w 309342"/>
                <a:gd name="connsiteY11" fmla="*/ 273995 h 275010"/>
                <a:gd name="connsiteX12" fmla="*/ 809 w 309342"/>
                <a:gd name="connsiteY12" fmla="*/ 275011 h 275010"/>
                <a:gd name="connsiteX13" fmla="*/ 809 w 309342"/>
                <a:gd name="connsiteY13" fmla="*/ 275011 h 275010"/>
                <a:gd name="connsiteX14" fmla="*/ 809 w 309342"/>
                <a:gd name="connsiteY14" fmla="*/ 275011 h 275010"/>
                <a:gd name="connsiteX15" fmla="*/ 1698 w 309342"/>
                <a:gd name="connsiteY15" fmla="*/ 275011 h 275010"/>
                <a:gd name="connsiteX16" fmla="*/ 2587 w 309342"/>
                <a:gd name="connsiteY16" fmla="*/ 275011 h 275010"/>
                <a:gd name="connsiteX17" fmla="*/ 4491 w 309342"/>
                <a:gd name="connsiteY17" fmla="*/ 275011 h 275010"/>
                <a:gd name="connsiteX18" fmla="*/ 8301 w 309342"/>
                <a:gd name="connsiteY18" fmla="*/ 273614 h 275010"/>
                <a:gd name="connsiteX19" fmla="*/ 14522 w 309342"/>
                <a:gd name="connsiteY19" fmla="*/ 268027 h 275010"/>
                <a:gd name="connsiteX20" fmla="*/ 309342 w 309342"/>
                <a:gd name="connsiteY20" fmla="*/ 4825 h 275010"/>
                <a:gd name="connsiteX21" fmla="*/ 301724 w 309342"/>
                <a:gd name="connsiteY21" fmla="*/ 4825 h 27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342" h="275010">
                  <a:moveTo>
                    <a:pt x="301090" y="6856"/>
                  </a:moveTo>
                  <a:cubicBezTo>
                    <a:pt x="299198" y="5180"/>
                    <a:pt x="299020" y="2298"/>
                    <a:pt x="300683" y="406"/>
                  </a:cubicBezTo>
                  <a:cubicBezTo>
                    <a:pt x="300810" y="267"/>
                    <a:pt x="300949" y="127"/>
                    <a:pt x="301090" y="0"/>
                  </a:cubicBezTo>
                  <a:lnTo>
                    <a:pt x="299566" y="1397"/>
                  </a:lnTo>
                  <a:lnTo>
                    <a:pt x="48" y="268662"/>
                  </a:lnTo>
                  <a:lnTo>
                    <a:pt x="48" y="268662"/>
                  </a:lnTo>
                  <a:lnTo>
                    <a:pt x="48" y="269551"/>
                  </a:lnTo>
                  <a:lnTo>
                    <a:pt x="48" y="270313"/>
                  </a:lnTo>
                  <a:cubicBezTo>
                    <a:pt x="60" y="270605"/>
                    <a:pt x="60" y="270910"/>
                    <a:pt x="48" y="271202"/>
                  </a:cubicBezTo>
                  <a:cubicBezTo>
                    <a:pt x="48" y="271202"/>
                    <a:pt x="48" y="271837"/>
                    <a:pt x="48" y="272217"/>
                  </a:cubicBezTo>
                  <a:cubicBezTo>
                    <a:pt x="-3" y="272548"/>
                    <a:pt x="-3" y="272903"/>
                    <a:pt x="48" y="273233"/>
                  </a:cubicBezTo>
                  <a:cubicBezTo>
                    <a:pt x="-16" y="273487"/>
                    <a:pt x="-16" y="273741"/>
                    <a:pt x="48" y="273995"/>
                  </a:cubicBezTo>
                  <a:lnTo>
                    <a:pt x="809" y="275011"/>
                  </a:lnTo>
                  <a:cubicBezTo>
                    <a:pt x="809" y="275011"/>
                    <a:pt x="809" y="275011"/>
                    <a:pt x="809" y="275011"/>
                  </a:cubicBezTo>
                  <a:lnTo>
                    <a:pt x="809" y="275011"/>
                  </a:lnTo>
                  <a:lnTo>
                    <a:pt x="1698" y="275011"/>
                  </a:lnTo>
                  <a:lnTo>
                    <a:pt x="2587" y="275011"/>
                  </a:lnTo>
                  <a:lnTo>
                    <a:pt x="4491" y="275011"/>
                  </a:lnTo>
                  <a:cubicBezTo>
                    <a:pt x="5888" y="275011"/>
                    <a:pt x="7234" y="274515"/>
                    <a:pt x="8301" y="273614"/>
                  </a:cubicBezTo>
                  <a:lnTo>
                    <a:pt x="14522" y="268027"/>
                  </a:lnTo>
                  <a:lnTo>
                    <a:pt x="309342" y="4825"/>
                  </a:lnTo>
                  <a:cubicBezTo>
                    <a:pt x="307196" y="6831"/>
                    <a:pt x="303870" y="6831"/>
                    <a:pt x="301724" y="4825"/>
                  </a:cubicBezTo>
                  <a:close/>
                </a:path>
              </a:pathLst>
            </a:custGeom>
            <a:solidFill>
              <a:srgbClr val="000000"/>
            </a:solidFill>
            <a:ln w="12690" cap="flat">
              <a:noFill/>
              <a:prstDash val="solid"/>
              <a:miter/>
            </a:ln>
          </p:spPr>
          <p:txBody>
            <a:bodyPr rtlCol="0" anchor="ctr"/>
            <a:lstStyle/>
            <a:p>
              <a:endParaRPr lang="en-US"/>
            </a:p>
          </p:txBody>
        </p:sp>
        <p:sp>
          <p:nvSpPr>
            <p:cNvPr id="729" name="Freeform: Shape 728">
              <a:extLst>
                <a:ext uri="{FF2B5EF4-FFF2-40B4-BE49-F238E27FC236}">
                  <a16:creationId xmlns:a16="http://schemas.microsoft.com/office/drawing/2014/main" id="{C18496C0-DEAD-4355-A064-105D4855579B}"/>
                </a:ext>
              </a:extLst>
            </p:cNvPr>
            <p:cNvSpPr/>
            <p:nvPr/>
          </p:nvSpPr>
          <p:spPr>
            <a:xfrm>
              <a:off x="11810691" y="2705412"/>
              <a:ext cx="292332" cy="261326"/>
            </a:xfrm>
            <a:custGeom>
              <a:avLst/>
              <a:gdLst>
                <a:gd name="connsiteX0" fmla="*/ 1545 w 292332"/>
                <a:gd name="connsiteY0" fmla="*/ 252918 h 261326"/>
                <a:gd name="connsiteX1" fmla="*/ 1139 w 292332"/>
                <a:gd name="connsiteY1" fmla="*/ 259368 h 261326"/>
                <a:gd name="connsiteX2" fmla="*/ 1545 w 292332"/>
                <a:gd name="connsiteY2" fmla="*/ 259774 h 261326"/>
                <a:gd name="connsiteX3" fmla="*/ 9163 w 292332"/>
                <a:gd name="connsiteY3" fmla="*/ 259774 h 261326"/>
                <a:gd name="connsiteX4" fmla="*/ 9163 w 292332"/>
                <a:gd name="connsiteY4" fmla="*/ 259774 h 261326"/>
                <a:gd name="connsiteX5" fmla="*/ 288493 w 292332"/>
                <a:gd name="connsiteY5" fmla="*/ 10284 h 261326"/>
                <a:gd name="connsiteX6" fmla="*/ 290779 w 292332"/>
                <a:gd name="connsiteY6" fmla="*/ 8253 h 261326"/>
                <a:gd name="connsiteX7" fmla="*/ 291122 w 292332"/>
                <a:gd name="connsiteY7" fmla="*/ 1612 h 261326"/>
                <a:gd name="connsiteX8" fmla="*/ 290779 w 292332"/>
                <a:gd name="connsiteY8" fmla="*/ 1270 h 261326"/>
                <a:gd name="connsiteX9" fmla="*/ 287859 w 292332"/>
                <a:gd name="connsiteY9" fmla="*/ 0 h 261326"/>
                <a:gd name="connsiteX10" fmla="*/ 285827 w 292332"/>
                <a:gd name="connsiteY10" fmla="*/ 0 h 261326"/>
                <a:gd name="connsiteX11" fmla="*/ 284685 w 292332"/>
                <a:gd name="connsiteY11" fmla="*/ 0 h 261326"/>
                <a:gd name="connsiteX12" fmla="*/ 283796 w 292332"/>
                <a:gd name="connsiteY12" fmla="*/ 0 h 261326"/>
                <a:gd name="connsiteX13" fmla="*/ 11576 w 292332"/>
                <a:gd name="connsiteY13" fmla="*/ 243396 h 261326"/>
                <a:gd name="connsiteX14" fmla="*/ 2307 w 292332"/>
                <a:gd name="connsiteY14" fmla="*/ 251522 h 26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332" h="261326">
                  <a:moveTo>
                    <a:pt x="1545" y="252918"/>
                  </a:moveTo>
                  <a:cubicBezTo>
                    <a:pt x="-346" y="254594"/>
                    <a:pt x="-524" y="257476"/>
                    <a:pt x="1139" y="259368"/>
                  </a:cubicBezTo>
                  <a:cubicBezTo>
                    <a:pt x="1266" y="259508"/>
                    <a:pt x="1405" y="259648"/>
                    <a:pt x="1545" y="259774"/>
                  </a:cubicBezTo>
                  <a:cubicBezTo>
                    <a:pt x="3666" y="261844"/>
                    <a:pt x="7043" y="261844"/>
                    <a:pt x="9163" y="259774"/>
                  </a:cubicBezTo>
                  <a:lnTo>
                    <a:pt x="9163" y="259774"/>
                  </a:lnTo>
                  <a:lnTo>
                    <a:pt x="288493" y="10284"/>
                  </a:lnTo>
                  <a:lnTo>
                    <a:pt x="290779" y="8253"/>
                  </a:lnTo>
                  <a:cubicBezTo>
                    <a:pt x="292709" y="6513"/>
                    <a:pt x="292861" y="3542"/>
                    <a:pt x="291122" y="1612"/>
                  </a:cubicBezTo>
                  <a:cubicBezTo>
                    <a:pt x="291021" y="1498"/>
                    <a:pt x="290906" y="1384"/>
                    <a:pt x="290779" y="1270"/>
                  </a:cubicBezTo>
                  <a:cubicBezTo>
                    <a:pt x="289953" y="571"/>
                    <a:pt x="288938" y="127"/>
                    <a:pt x="287859" y="0"/>
                  </a:cubicBezTo>
                  <a:lnTo>
                    <a:pt x="285827" y="0"/>
                  </a:lnTo>
                  <a:lnTo>
                    <a:pt x="284685" y="0"/>
                  </a:lnTo>
                  <a:lnTo>
                    <a:pt x="283796" y="0"/>
                  </a:lnTo>
                  <a:lnTo>
                    <a:pt x="11576" y="243396"/>
                  </a:lnTo>
                  <a:lnTo>
                    <a:pt x="2307" y="251522"/>
                  </a:lnTo>
                  <a:close/>
                </a:path>
              </a:pathLst>
            </a:custGeom>
            <a:solidFill>
              <a:srgbClr val="000000"/>
            </a:solidFill>
            <a:ln w="12690" cap="flat">
              <a:noFill/>
              <a:prstDash val="solid"/>
              <a:miter/>
            </a:ln>
          </p:spPr>
          <p:txBody>
            <a:bodyPr rtlCol="0" anchor="ctr"/>
            <a:lstStyle/>
            <a:p>
              <a:endParaRPr lang="en-US"/>
            </a:p>
          </p:txBody>
        </p:sp>
        <p:sp>
          <p:nvSpPr>
            <p:cNvPr id="730" name="Freeform: Shape 729">
              <a:extLst>
                <a:ext uri="{FF2B5EF4-FFF2-40B4-BE49-F238E27FC236}">
                  <a16:creationId xmlns:a16="http://schemas.microsoft.com/office/drawing/2014/main" id="{EB7CFA7B-91F3-40C8-B98F-5911D71F4E4E}"/>
                </a:ext>
              </a:extLst>
            </p:cNvPr>
            <p:cNvSpPr/>
            <p:nvPr/>
          </p:nvSpPr>
          <p:spPr>
            <a:xfrm>
              <a:off x="10528494" y="3603937"/>
              <a:ext cx="104208" cy="29604"/>
            </a:xfrm>
            <a:custGeom>
              <a:avLst/>
              <a:gdLst>
                <a:gd name="connsiteX0" fmla="*/ 97733 w 104208"/>
                <a:gd name="connsiteY0" fmla="*/ 24272 h 29604"/>
                <a:gd name="connsiteX1" fmla="*/ 104094 w 104208"/>
                <a:gd name="connsiteY1" fmla="*/ 20552 h 29604"/>
                <a:gd name="connsiteX2" fmla="*/ 104208 w 104208"/>
                <a:gd name="connsiteY2" fmla="*/ 20590 h 29604"/>
                <a:gd name="connsiteX3" fmla="*/ 97605 w 104208"/>
                <a:gd name="connsiteY3" fmla="*/ 19193 h 29604"/>
                <a:gd name="connsiteX4" fmla="*/ 6569 w 104208"/>
                <a:gd name="connsiteY4" fmla="*/ 148 h 29604"/>
                <a:gd name="connsiteX5" fmla="*/ 6569 w 104208"/>
                <a:gd name="connsiteY5" fmla="*/ 148 h 29604"/>
                <a:gd name="connsiteX6" fmla="*/ 94 w 104208"/>
                <a:gd name="connsiteY6" fmla="*/ 3830 h 29604"/>
                <a:gd name="connsiteX7" fmla="*/ 4107 w 104208"/>
                <a:gd name="connsiteY7" fmla="*/ 9785 h 29604"/>
                <a:gd name="connsiteX8" fmla="*/ 4157 w 104208"/>
                <a:gd name="connsiteY8" fmla="*/ 9798 h 29604"/>
                <a:gd name="connsiteX9" fmla="*/ 4157 w 104208"/>
                <a:gd name="connsiteY9" fmla="*/ 9798 h 29604"/>
                <a:gd name="connsiteX10" fmla="*/ 6697 w 104208"/>
                <a:gd name="connsiteY10" fmla="*/ 9798 h 29604"/>
                <a:gd name="connsiteX11" fmla="*/ 101541 w 104208"/>
                <a:gd name="connsiteY11" fmla="*/ 29605 h 29604"/>
                <a:gd name="connsiteX12" fmla="*/ 97733 w 104208"/>
                <a:gd name="connsiteY12" fmla="*/ 24272 h 2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208" h="29604">
                  <a:moveTo>
                    <a:pt x="97733" y="24272"/>
                  </a:moveTo>
                  <a:cubicBezTo>
                    <a:pt x="98456" y="21491"/>
                    <a:pt x="101314" y="19828"/>
                    <a:pt x="104094" y="20552"/>
                  </a:cubicBezTo>
                  <a:cubicBezTo>
                    <a:pt x="104132" y="20565"/>
                    <a:pt x="104170" y="20577"/>
                    <a:pt x="104208" y="20590"/>
                  </a:cubicBezTo>
                  <a:lnTo>
                    <a:pt x="97605" y="19193"/>
                  </a:lnTo>
                  <a:lnTo>
                    <a:pt x="6569" y="148"/>
                  </a:lnTo>
                  <a:lnTo>
                    <a:pt x="6569" y="148"/>
                  </a:lnTo>
                  <a:cubicBezTo>
                    <a:pt x="3777" y="-512"/>
                    <a:pt x="945" y="1088"/>
                    <a:pt x="94" y="3830"/>
                  </a:cubicBezTo>
                  <a:cubicBezTo>
                    <a:pt x="-439" y="6586"/>
                    <a:pt x="1351" y="9252"/>
                    <a:pt x="4107" y="9785"/>
                  </a:cubicBezTo>
                  <a:cubicBezTo>
                    <a:pt x="4119" y="9798"/>
                    <a:pt x="4145" y="9798"/>
                    <a:pt x="4157" y="9798"/>
                  </a:cubicBezTo>
                  <a:lnTo>
                    <a:pt x="4157" y="9798"/>
                  </a:lnTo>
                  <a:lnTo>
                    <a:pt x="6697" y="9798"/>
                  </a:lnTo>
                  <a:lnTo>
                    <a:pt x="101541" y="29605"/>
                  </a:lnTo>
                  <a:cubicBezTo>
                    <a:pt x="99104" y="29046"/>
                    <a:pt x="97479" y="26761"/>
                    <a:pt x="97733" y="24272"/>
                  </a:cubicBezTo>
                  <a:close/>
                </a:path>
              </a:pathLst>
            </a:custGeom>
            <a:solidFill>
              <a:srgbClr val="000000"/>
            </a:solidFill>
            <a:ln w="12690" cap="flat">
              <a:noFill/>
              <a:prstDash val="solid"/>
              <a:miter/>
            </a:ln>
          </p:spPr>
          <p:txBody>
            <a:bodyPr rtlCol="0" anchor="ctr"/>
            <a:lstStyle/>
            <a:p>
              <a:endParaRPr lang="en-US"/>
            </a:p>
          </p:txBody>
        </p:sp>
        <p:sp>
          <p:nvSpPr>
            <p:cNvPr id="731" name="Freeform: Shape 730">
              <a:extLst>
                <a:ext uri="{FF2B5EF4-FFF2-40B4-BE49-F238E27FC236}">
                  <a16:creationId xmlns:a16="http://schemas.microsoft.com/office/drawing/2014/main" id="{4E7BA0FF-AB2A-4D81-95FF-DF5070D04B7A}"/>
                </a:ext>
              </a:extLst>
            </p:cNvPr>
            <p:cNvSpPr/>
            <p:nvPr/>
          </p:nvSpPr>
          <p:spPr>
            <a:xfrm>
              <a:off x="9823529" y="4427877"/>
              <a:ext cx="171966" cy="141412"/>
            </a:xfrm>
            <a:custGeom>
              <a:avLst/>
              <a:gdLst>
                <a:gd name="connsiteX0" fmla="*/ 385 w 171966"/>
                <a:gd name="connsiteY0" fmla="*/ 138999 h 141412"/>
                <a:gd name="connsiteX1" fmla="*/ 385 w 171966"/>
                <a:gd name="connsiteY1" fmla="*/ 140015 h 141412"/>
                <a:gd name="connsiteX2" fmla="*/ 385 w 171966"/>
                <a:gd name="connsiteY2" fmla="*/ 140777 h 141412"/>
                <a:gd name="connsiteX3" fmla="*/ 385 w 171966"/>
                <a:gd name="connsiteY3" fmla="*/ 140777 h 141412"/>
                <a:gd name="connsiteX4" fmla="*/ 385 w 171966"/>
                <a:gd name="connsiteY4" fmla="*/ 140777 h 141412"/>
                <a:gd name="connsiteX5" fmla="*/ 1401 w 171966"/>
                <a:gd name="connsiteY5" fmla="*/ 141412 h 141412"/>
                <a:gd name="connsiteX6" fmla="*/ 2290 w 171966"/>
                <a:gd name="connsiteY6" fmla="*/ 141412 h 141412"/>
                <a:gd name="connsiteX7" fmla="*/ 4195 w 171966"/>
                <a:gd name="connsiteY7" fmla="*/ 141412 h 141412"/>
                <a:gd name="connsiteX8" fmla="*/ 7749 w 171966"/>
                <a:gd name="connsiteY8" fmla="*/ 140142 h 141412"/>
                <a:gd name="connsiteX9" fmla="*/ 14859 w 171966"/>
                <a:gd name="connsiteY9" fmla="*/ 134428 h 141412"/>
                <a:gd name="connsiteX10" fmla="*/ 170523 w 171966"/>
                <a:gd name="connsiteY10" fmla="*/ 7461 h 141412"/>
                <a:gd name="connsiteX11" fmla="*/ 171919 w 171966"/>
                <a:gd name="connsiteY11" fmla="*/ 5430 h 141412"/>
                <a:gd name="connsiteX12" fmla="*/ 171919 w 171966"/>
                <a:gd name="connsiteY12" fmla="*/ 4668 h 141412"/>
                <a:gd name="connsiteX13" fmla="*/ 171919 w 171966"/>
                <a:gd name="connsiteY13" fmla="*/ 3652 h 141412"/>
                <a:gd name="connsiteX14" fmla="*/ 171919 w 171966"/>
                <a:gd name="connsiteY14" fmla="*/ 2763 h 141412"/>
                <a:gd name="connsiteX15" fmla="*/ 171919 w 171966"/>
                <a:gd name="connsiteY15" fmla="*/ 1875 h 141412"/>
                <a:gd name="connsiteX16" fmla="*/ 171919 w 171966"/>
                <a:gd name="connsiteY16" fmla="*/ 986 h 141412"/>
                <a:gd name="connsiteX17" fmla="*/ 171919 w 171966"/>
                <a:gd name="connsiteY17" fmla="*/ 986 h 141412"/>
                <a:gd name="connsiteX18" fmla="*/ 171919 w 171966"/>
                <a:gd name="connsiteY18" fmla="*/ 986 h 141412"/>
                <a:gd name="connsiteX19" fmla="*/ 171030 w 171966"/>
                <a:gd name="connsiteY19" fmla="*/ 351 h 141412"/>
                <a:gd name="connsiteX20" fmla="*/ 170141 w 171966"/>
                <a:gd name="connsiteY20" fmla="*/ 351 h 141412"/>
                <a:gd name="connsiteX21" fmla="*/ 164555 w 171966"/>
                <a:gd name="connsiteY21" fmla="*/ 1240 h 141412"/>
                <a:gd name="connsiteX22" fmla="*/ 157445 w 171966"/>
                <a:gd name="connsiteY22" fmla="*/ 6954 h 141412"/>
                <a:gd name="connsiteX23" fmla="*/ 1908 w 171966"/>
                <a:gd name="connsiteY23" fmla="*/ 133921 h 141412"/>
                <a:gd name="connsiteX24" fmla="*/ 1908 w 171966"/>
                <a:gd name="connsiteY24" fmla="*/ 133921 h 141412"/>
                <a:gd name="connsiteX25" fmla="*/ 1274 w 171966"/>
                <a:gd name="connsiteY25" fmla="*/ 134682 h 141412"/>
                <a:gd name="connsiteX26" fmla="*/ 1274 w 171966"/>
                <a:gd name="connsiteY26" fmla="*/ 134682 h 141412"/>
                <a:gd name="connsiteX27" fmla="*/ 1274 w 171966"/>
                <a:gd name="connsiteY27" fmla="*/ 134682 h 141412"/>
                <a:gd name="connsiteX28" fmla="*/ 1274 w 171966"/>
                <a:gd name="connsiteY28" fmla="*/ 135444 h 141412"/>
                <a:gd name="connsiteX29" fmla="*/ 1274 w 171966"/>
                <a:gd name="connsiteY29" fmla="*/ 136333 h 141412"/>
                <a:gd name="connsiteX30" fmla="*/ 1274 w 171966"/>
                <a:gd name="connsiteY30" fmla="*/ 136333 h 141412"/>
                <a:gd name="connsiteX31" fmla="*/ 42 w 171966"/>
                <a:gd name="connsiteY31" fmla="*/ 138313 h 141412"/>
                <a:gd name="connsiteX32" fmla="*/ 385 w 171966"/>
                <a:gd name="connsiteY32" fmla="*/ 138999 h 14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1966" h="141412">
                  <a:moveTo>
                    <a:pt x="385" y="138999"/>
                  </a:moveTo>
                  <a:cubicBezTo>
                    <a:pt x="335" y="139329"/>
                    <a:pt x="335" y="139685"/>
                    <a:pt x="385" y="140015"/>
                  </a:cubicBezTo>
                  <a:lnTo>
                    <a:pt x="385" y="140777"/>
                  </a:lnTo>
                  <a:cubicBezTo>
                    <a:pt x="385" y="140777"/>
                    <a:pt x="385" y="140777"/>
                    <a:pt x="385" y="140777"/>
                  </a:cubicBezTo>
                  <a:lnTo>
                    <a:pt x="385" y="140777"/>
                  </a:lnTo>
                  <a:lnTo>
                    <a:pt x="1401" y="141412"/>
                  </a:lnTo>
                  <a:lnTo>
                    <a:pt x="2290" y="141412"/>
                  </a:lnTo>
                  <a:lnTo>
                    <a:pt x="4195" y="141412"/>
                  </a:lnTo>
                  <a:cubicBezTo>
                    <a:pt x="5490" y="141437"/>
                    <a:pt x="6759" y="140980"/>
                    <a:pt x="7749" y="140142"/>
                  </a:cubicBezTo>
                  <a:lnTo>
                    <a:pt x="14859" y="134428"/>
                  </a:lnTo>
                  <a:lnTo>
                    <a:pt x="170523" y="7461"/>
                  </a:lnTo>
                  <a:cubicBezTo>
                    <a:pt x="171107" y="6864"/>
                    <a:pt x="171577" y="6179"/>
                    <a:pt x="171919" y="5430"/>
                  </a:cubicBezTo>
                  <a:cubicBezTo>
                    <a:pt x="171983" y="5176"/>
                    <a:pt x="171983" y="4922"/>
                    <a:pt x="171919" y="4668"/>
                  </a:cubicBezTo>
                  <a:cubicBezTo>
                    <a:pt x="171983" y="4338"/>
                    <a:pt x="171983" y="3982"/>
                    <a:pt x="171919" y="3652"/>
                  </a:cubicBezTo>
                  <a:cubicBezTo>
                    <a:pt x="171983" y="3360"/>
                    <a:pt x="171983" y="3056"/>
                    <a:pt x="171919" y="2763"/>
                  </a:cubicBezTo>
                  <a:cubicBezTo>
                    <a:pt x="171970" y="2472"/>
                    <a:pt x="171970" y="2167"/>
                    <a:pt x="171919" y="1875"/>
                  </a:cubicBezTo>
                  <a:cubicBezTo>
                    <a:pt x="171945" y="1583"/>
                    <a:pt x="171945" y="1278"/>
                    <a:pt x="171919" y="986"/>
                  </a:cubicBezTo>
                  <a:lnTo>
                    <a:pt x="171919" y="986"/>
                  </a:lnTo>
                  <a:lnTo>
                    <a:pt x="171919" y="986"/>
                  </a:lnTo>
                  <a:lnTo>
                    <a:pt x="171030" y="351"/>
                  </a:lnTo>
                  <a:lnTo>
                    <a:pt x="170141" y="351"/>
                  </a:lnTo>
                  <a:cubicBezTo>
                    <a:pt x="168250" y="-334"/>
                    <a:pt x="166142" y="-4"/>
                    <a:pt x="164555" y="1240"/>
                  </a:cubicBezTo>
                  <a:lnTo>
                    <a:pt x="157445" y="6954"/>
                  </a:lnTo>
                  <a:lnTo>
                    <a:pt x="1908" y="133921"/>
                  </a:lnTo>
                  <a:lnTo>
                    <a:pt x="1908" y="133921"/>
                  </a:lnTo>
                  <a:lnTo>
                    <a:pt x="1274" y="134682"/>
                  </a:lnTo>
                  <a:lnTo>
                    <a:pt x="1274" y="134682"/>
                  </a:lnTo>
                  <a:lnTo>
                    <a:pt x="1274" y="134682"/>
                  </a:lnTo>
                  <a:cubicBezTo>
                    <a:pt x="1223" y="134936"/>
                    <a:pt x="1223" y="135190"/>
                    <a:pt x="1274" y="135444"/>
                  </a:cubicBezTo>
                  <a:cubicBezTo>
                    <a:pt x="1198" y="135736"/>
                    <a:pt x="1198" y="136041"/>
                    <a:pt x="1274" y="136333"/>
                  </a:cubicBezTo>
                  <a:lnTo>
                    <a:pt x="1274" y="136333"/>
                  </a:lnTo>
                  <a:cubicBezTo>
                    <a:pt x="385" y="136536"/>
                    <a:pt x="-161" y="137425"/>
                    <a:pt x="42" y="138313"/>
                  </a:cubicBezTo>
                  <a:cubicBezTo>
                    <a:pt x="106" y="138568"/>
                    <a:pt x="220" y="138796"/>
                    <a:pt x="385" y="138999"/>
                  </a:cubicBezTo>
                  <a:close/>
                </a:path>
              </a:pathLst>
            </a:custGeom>
            <a:solidFill>
              <a:srgbClr val="000000"/>
            </a:solidFill>
            <a:ln w="12690" cap="flat">
              <a:noFill/>
              <a:prstDash val="solid"/>
              <a:miter/>
            </a:ln>
          </p:spPr>
          <p:txBody>
            <a:bodyPr rtlCol="0" anchor="ctr"/>
            <a:lstStyle/>
            <a:p>
              <a:endParaRPr lang="en-US"/>
            </a:p>
          </p:txBody>
        </p:sp>
        <p:sp>
          <p:nvSpPr>
            <p:cNvPr id="732" name="Freeform: Shape 731">
              <a:extLst>
                <a:ext uri="{FF2B5EF4-FFF2-40B4-BE49-F238E27FC236}">
                  <a16:creationId xmlns:a16="http://schemas.microsoft.com/office/drawing/2014/main" id="{F9BF2A24-1BAC-43F3-9C92-344CCA2FF239}"/>
                </a:ext>
              </a:extLst>
            </p:cNvPr>
            <p:cNvSpPr/>
            <p:nvPr/>
          </p:nvSpPr>
          <p:spPr>
            <a:xfrm>
              <a:off x="11274605" y="4802395"/>
              <a:ext cx="9872" cy="91046"/>
            </a:xfrm>
            <a:custGeom>
              <a:avLst/>
              <a:gdLst>
                <a:gd name="connsiteX0" fmla="*/ 4745 w 9872"/>
                <a:gd name="connsiteY0" fmla="*/ 5 h 91046"/>
                <a:gd name="connsiteX1" fmla="*/ 3730 w 9872"/>
                <a:gd name="connsiteY1" fmla="*/ 5 h 91046"/>
                <a:gd name="connsiteX2" fmla="*/ 2587 w 9872"/>
                <a:gd name="connsiteY2" fmla="*/ 5 h 91046"/>
                <a:gd name="connsiteX3" fmla="*/ 1698 w 9872"/>
                <a:gd name="connsiteY3" fmla="*/ 5 h 91046"/>
                <a:gd name="connsiteX4" fmla="*/ 809 w 9872"/>
                <a:gd name="connsiteY4" fmla="*/ 5 h 91046"/>
                <a:gd name="connsiteX5" fmla="*/ 48 w 9872"/>
                <a:gd name="connsiteY5" fmla="*/ 5 h 91046"/>
                <a:gd name="connsiteX6" fmla="*/ 48 w 9872"/>
                <a:gd name="connsiteY6" fmla="*/ 894 h 91046"/>
                <a:gd name="connsiteX7" fmla="*/ 48 w 9872"/>
                <a:gd name="connsiteY7" fmla="*/ 1656 h 91046"/>
                <a:gd name="connsiteX8" fmla="*/ 48 w 9872"/>
                <a:gd name="connsiteY8" fmla="*/ 2672 h 91046"/>
                <a:gd name="connsiteX9" fmla="*/ 48 w 9872"/>
                <a:gd name="connsiteY9" fmla="*/ 3433 h 91046"/>
                <a:gd name="connsiteX10" fmla="*/ 48 w 9872"/>
                <a:gd name="connsiteY10" fmla="*/ 86089 h 91046"/>
                <a:gd name="connsiteX11" fmla="*/ 5495 w 9872"/>
                <a:gd name="connsiteY11" fmla="*/ 91041 h 91046"/>
                <a:gd name="connsiteX12" fmla="*/ 5507 w 9872"/>
                <a:gd name="connsiteY12" fmla="*/ 91041 h 91046"/>
                <a:gd name="connsiteX13" fmla="*/ 9190 w 9872"/>
                <a:gd name="connsiteY13" fmla="*/ 89644 h 91046"/>
                <a:gd name="connsiteX14" fmla="*/ 9190 w 9872"/>
                <a:gd name="connsiteY14" fmla="*/ 88882 h 91046"/>
                <a:gd name="connsiteX15" fmla="*/ 9824 w 9872"/>
                <a:gd name="connsiteY15" fmla="*/ 88120 h 91046"/>
                <a:gd name="connsiteX16" fmla="*/ 9824 w 9872"/>
                <a:gd name="connsiteY16" fmla="*/ 87358 h 91046"/>
                <a:gd name="connsiteX17" fmla="*/ 9824 w 9872"/>
                <a:gd name="connsiteY17" fmla="*/ 86216 h 91046"/>
                <a:gd name="connsiteX18" fmla="*/ 9824 w 9872"/>
                <a:gd name="connsiteY18" fmla="*/ 86216 h 91046"/>
                <a:gd name="connsiteX19" fmla="*/ 9824 w 9872"/>
                <a:gd name="connsiteY19" fmla="*/ 3560 h 91046"/>
                <a:gd name="connsiteX20" fmla="*/ 4745 w 9872"/>
                <a:gd name="connsiteY20" fmla="*/ 5 h 9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72" h="91046">
                  <a:moveTo>
                    <a:pt x="4745" y="5"/>
                  </a:moveTo>
                  <a:lnTo>
                    <a:pt x="3730" y="5"/>
                  </a:lnTo>
                  <a:lnTo>
                    <a:pt x="2587" y="5"/>
                  </a:lnTo>
                  <a:lnTo>
                    <a:pt x="1698" y="5"/>
                  </a:lnTo>
                  <a:lnTo>
                    <a:pt x="809" y="5"/>
                  </a:lnTo>
                  <a:lnTo>
                    <a:pt x="48" y="5"/>
                  </a:lnTo>
                  <a:lnTo>
                    <a:pt x="48" y="894"/>
                  </a:lnTo>
                  <a:lnTo>
                    <a:pt x="48" y="1656"/>
                  </a:lnTo>
                  <a:cubicBezTo>
                    <a:pt x="-16" y="1986"/>
                    <a:pt x="-16" y="2341"/>
                    <a:pt x="48" y="2672"/>
                  </a:cubicBezTo>
                  <a:cubicBezTo>
                    <a:pt x="-3" y="2925"/>
                    <a:pt x="-3" y="3179"/>
                    <a:pt x="48" y="3433"/>
                  </a:cubicBezTo>
                  <a:lnTo>
                    <a:pt x="48" y="86089"/>
                  </a:lnTo>
                  <a:cubicBezTo>
                    <a:pt x="187" y="88958"/>
                    <a:pt x="2625" y="91180"/>
                    <a:pt x="5495" y="91041"/>
                  </a:cubicBezTo>
                  <a:cubicBezTo>
                    <a:pt x="5495" y="91041"/>
                    <a:pt x="5507" y="91041"/>
                    <a:pt x="5507" y="91041"/>
                  </a:cubicBezTo>
                  <a:cubicBezTo>
                    <a:pt x="6866" y="91066"/>
                    <a:pt x="8186" y="90558"/>
                    <a:pt x="9190" y="89644"/>
                  </a:cubicBezTo>
                  <a:lnTo>
                    <a:pt x="9190" y="88882"/>
                  </a:lnTo>
                  <a:lnTo>
                    <a:pt x="9824" y="88120"/>
                  </a:lnTo>
                  <a:cubicBezTo>
                    <a:pt x="9888" y="87866"/>
                    <a:pt x="9888" y="87613"/>
                    <a:pt x="9824" y="87358"/>
                  </a:cubicBezTo>
                  <a:cubicBezTo>
                    <a:pt x="9888" y="86977"/>
                    <a:pt x="9888" y="86597"/>
                    <a:pt x="9824" y="86216"/>
                  </a:cubicBezTo>
                  <a:lnTo>
                    <a:pt x="9824" y="86216"/>
                  </a:lnTo>
                  <a:lnTo>
                    <a:pt x="9824" y="3560"/>
                  </a:lnTo>
                  <a:cubicBezTo>
                    <a:pt x="9139" y="1363"/>
                    <a:pt x="7044" y="-97"/>
                    <a:pt x="4745" y="5"/>
                  </a:cubicBezTo>
                  <a:close/>
                </a:path>
              </a:pathLst>
            </a:custGeom>
            <a:solidFill>
              <a:srgbClr val="000000"/>
            </a:solidFill>
            <a:ln w="12690" cap="flat">
              <a:noFill/>
              <a:prstDash val="solid"/>
              <a:miter/>
            </a:ln>
          </p:spPr>
          <p:txBody>
            <a:bodyPr rtlCol="0" anchor="ctr"/>
            <a:lstStyle/>
            <a:p>
              <a:endParaRPr lang="en-US"/>
            </a:p>
          </p:txBody>
        </p:sp>
        <p:sp>
          <p:nvSpPr>
            <p:cNvPr id="733" name="Freeform: Shape 732">
              <a:extLst>
                <a:ext uri="{FF2B5EF4-FFF2-40B4-BE49-F238E27FC236}">
                  <a16:creationId xmlns:a16="http://schemas.microsoft.com/office/drawing/2014/main" id="{E16C9035-DC78-4478-8478-3B8CE22A840E}"/>
                </a:ext>
              </a:extLst>
            </p:cNvPr>
            <p:cNvSpPr/>
            <p:nvPr/>
          </p:nvSpPr>
          <p:spPr>
            <a:xfrm>
              <a:off x="9725640" y="1026273"/>
              <a:ext cx="88242" cy="34154"/>
            </a:xfrm>
            <a:custGeom>
              <a:avLst/>
              <a:gdLst>
                <a:gd name="connsiteX0" fmla="*/ 7110 w 88242"/>
                <a:gd name="connsiteY0" fmla="*/ 1143 h 34154"/>
                <a:gd name="connsiteX1" fmla="*/ 3428 w 88242"/>
                <a:gd name="connsiteY1" fmla="*/ 0 h 34154"/>
                <a:gd name="connsiteX2" fmla="*/ 7047 w 88242"/>
                <a:gd name="connsiteY2" fmla="*/ 5574 h 34154"/>
                <a:gd name="connsiteX3" fmla="*/ 6857 w 88242"/>
                <a:gd name="connsiteY3" fmla="*/ 6221 h 34154"/>
                <a:gd name="connsiteX4" fmla="*/ 1778 w 88242"/>
                <a:gd name="connsiteY4" fmla="*/ 9649 h 34154"/>
                <a:gd name="connsiteX5" fmla="*/ 0 w 88242"/>
                <a:gd name="connsiteY5" fmla="*/ 9649 h 34154"/>
                <a:gd name="connsiteX6" fmla="*/ 81133 w 88242"/>
                <a:gd name="connsiteY6" fmla="*/ 34154 h 34154"/>
                <a:gd name="connsiteX7" fmla="*/ 82911 w 88242"/>
                <a:gd name="connsiteY7" fmla="*/ 34154 h 34154"/>
                <a:gd name="connsiteX8" fmla="*/ 87989 w 88242"/>
                <a:gd name="connsiteY8" fmla="*/ 30853 h 34154"/>
                <a:gd name="connsiteX9" fmla="*/ 84955 w 88242"/>
                <a:gd name="connsiteY9" fmla="*/ 24745 h 34154"/>
                <a:gd name="connsiteX10" fmla="*/ 84561 w 88242"/>
                <a:gd name="connsiteY10" fmla="*/ 24632 h 34154"/>
                <a:gd name="connsiteX11" fmla="*/ 81768 w 88242"/>
                <a:gd name="connsiteY11" fmla="*/ 23743 h 3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242" h="34154">
                  <a:moveTo>
                    <a:pt x="7110" y="1143"/>
                  </a:moveTo>
                  <a:lnTo>
                    <a:pt x="3428" y="0"/>
                  </a:lnTo>
                  <a:cubicBezTo>
                    <a:pt x="5968" y="541"/>
                    <a:pt x="7580" y="3036"/>
                    <a:pt x="7047" y="5574"/>
                  </a:cubicBezTo>
                  <a:cubicBezTo>
                    <a:pt x="6996" y="5793"/>
                    <a:pt x="6933" y="6011"/>
                    <a:pt x="6857" y="6221"/>
                  </a:cubicBezTo>
                  <a:cubicBezTo>
                    <a:pt x="6082" y="8345"/>
                    <a:pt x="4038" y="9729"/>
                    <a:pt x="1778" y="9649"/>
                  </a:cubicBezTo>
                  <a:lnTo>
                    <a:pt x="0" y="9649"/>
                  </a:lnTo>
                  <a:lnTo>
                    <a:pt x="81133" y="34154"/>
                  </a:lnTo>
                  <a:lnTo>
                    <a:pt x="82911" y="34154"/>
                  </a:lnTo>
                  <a:cubicBezTo>
                    <a:pt x="85119" y="34180"/>
                    <a:pt x="87113" y="32878"/>
                    <a:pt x="87989" y="30853"/>
                  </a:cubicBezTo>
                  <a:cubicBezTo>
                    <a:pt x="88840" y="28326"/>
                    <a:pt x="87481" y="25591"/>
                    <a:pt x="84955" y="24745"/>
                  </a:cubicBezTo>
                  <a:cubicBezTo>
                    <a:pt x="84828" y="24701"/>
                    <a:pt x="84688" y="24663"/>
                    <a:pt x="84561" y="24632"/>
                  </a:cubicBezTo>
                  <a:lnTo>
                    <a:pt x="81768" y="23743"/>
                  </a:lnTo>
                  <a:close/>
                </a:path>
              </a:pathLst>
            </a:custGeom>
            <a:solidFill>
              <a:srgbClr val="000000"/>
            </a:solidFill>
            <a:ln w="12690" cap="flat">
              <a:noFill/>
              <a:prstDash val="solid"/>
              <a:miter/>
            </a:ln>
          </p:spPr>
          <p:txBody>
            <a:bodyPr rtlCol="0" anchor="ctr"/>
            <a:lstStyle/>
            <a:p>
              <a:endParaRPr lang="en-US"/>
            </a:p>
          </p:txBody>
        </p:sp>
        <p:sp>
          <p:nvSpPr>
            <p:cNvPr id="734" name="Freeform: Shape 733">
              <a:extLst>
                <a:ext uri="{FF2B5EF4-FFF2-40B4-BE49-F238E27FC236}">
                  <a16:creationId xmlns:a16="http://schemas.microsoft.com/office/drawing/2014/main" id="{B5F0E35E-ECEB-4336-9CDC-2EA773AEE24F}"/>
                </a:ext>
              </a:extLst>
            </p:cNvPr>
            <p:cNvSpPr/>
            <p:nvPr/>
          </p:nvSpPr>
          <p:spPr>
            <a:xfrm>
              <a:off x="7511822" y="139662"/>
              <a:ext cx="1303559" cy="401144"/>
            </a:xfrm>
            <a:custGeom>
              <a:avLst/>
              <a:gdLst>
                <a:gd name="connsiteX0" fmla="*/ 1303329 w 1303559"/>
                <a:gd name="connsiteY0" fmla="*/ 397915 h 401144"/>
                <a:gd name="connsiteX1" fmla="*/ 1301932 w 1303559"/>
                <a:gd name="connsiteY1" fmla="*/ 392836 h 401144"/>
                <a:gd name="connsiteX2" fmla="*/ 1299901 w 1303559"/>
                <a:gd name="connsiteY2" fmla="*/ 391693 h 401144"/>
                <a:gd name="connsiteX3" fmla="*/ 1292791 w 1303559"/>
                <a:gd name="connsiteY3" fmla="*/ 389535 h 401144"/>
                <a:gd name="connsiteX4" fmla="*/ 7110 w 1303559"/>
                <a:gd name="connsiteY4" fmla="*/ 1016 h 401144"/>
                <a:gd name="connsiteX5" fmla="*/ 3428 w 1303559"/>
                <a:gd name="connsiteY5" fmla="*/ 0 h 401144"/>
                <a:gd name="connsiteX6" fmla="*/ 6894 w 1303559"/>
                <a:gd name="connsiteY6" fmla="*/ 6084 h 401144"/>
                <a:gd name="connsiteX7" fmla="*/ 6856 w 1303559"/>
                <a:gd name="connsiteY7" fmla="*/ 6221 h 401144"/>
                <a:gd name="connsiteX8" fmla="*/ 1778 w 1303559"/>
                <a:gd name="connsiteY8" fmla="*/ 9649 h 401144"/>
                <a:gd name="connsiteX9" fmla="*/ 0 w 1303559"/>
                <a:gd name="connsiteY9" fmla="*/ 9649 h 401144"/>
                <a:gd name="connsiteX10" fmla="*/ 1296473 w 1303559"/>
                <a:gd name="connsiteY10" fmla="*/ 401089 h 401144"/>
                <a:gd name="connsiteX11" fmla="*/ 1298123 w 1303559"/>
                <a:gd name="connsiteY11" fmla="*/ 401089 h 401144"/>
                <a:gd name="connsiteX12" fmla="*/ 1299393 w 1303559"/>
                <a:gd name="connsiteY12" fmla="*/ 401089 h 401144"/>
                <a:gd name="connsiteX13" fmla="*/ 1303329 w 1303559"/>
                <a:gd name="connsiteY13" fmla="*/ 397915 h 401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3559" h="401144">
                  <a:moveTo>
                    <a:pt x="1303329" y="397915"/>
                  </a:moveTo>
                  <a:cubicBezTo>
                    <a:pt x="1303913" y="396094"/>
                    <a:pt x="1303367" y="394103"/>
                    <a:pt x="1301932" y="392836"/>
                  </a:cubicBezTo>
                  <a:cubicBezTo>
                    <a:pt x="1301336" y="392336"/>
                    <a:pt x="1300637" y="391949"/>
                    <a:pt x="1299901" y="391693"/>
                  </a:cubicBezTo>
                  <a:lnTo>
                    <a:pt x="1292791" y="389535"/>
                  </a:lnTo>
                  <a:lnTo>
                    <a:pt x="7110" y="1016"/>
                  </a:lnTo>
                  <a:lnTo>
                    <a:pt x="3428" y="0"/>
                  </a:lnTo>
                  <a:cubicBezTo>
                    <a:pt x="6069" y="722"/>
                    <a:pt x="7618" y="3446"/>
                    <a:pt x="6894" y="6084"/>
                  </a:cubicBezTo>
                  <a:cubicBezTo>
                    <a:pt x="6882" y="6130"/>
                    <a:pt x="6869" y="6176"/>
                    <a:pt x="6856" y="6221"/>
                  </a:cubicBezTo>
                  <a:cubicBezTo>
                    <a:pt x="5993" y="8273"/>
                    <a:pt x="4000" y="9620"/>
                    <a:pt x="1778" y="9649"/>
                  </a:cubicBezTo>
                  <a:lnTo>
                    <a:pt x="0" y="9649"/>
                  </a:lnTo>
                  <a:lnTo>
                    <a:pt x="1296473" y="401089"/>
                  </a:lnTo>
                  <a:lnTo>
                    <a:pt x="1298123" y="401089"/>
                  </a:lnTo>
                  <a:cubicBezTo>
                    <a:pt x="1298543" y="401163"/>
                    <a:pt x="1298974" y="401163"/>
                    <a:pt x="1299393" y="401089"/>
                  </a:cubicBezTo>
                  <a:cubicBezTo>
                    <a:pt x="1301170" y="400782"/>
                    <a:pt x="1302656" y="399582"/>
                    <a:pt x="1303329" y="397915"/>
                  </a:cubicBezTo>
                  <a:close/>
                </a:path>
              </a:pathLst>
            </a:custGeom>
            <a:solidFill>
              <a:srgbClr val="000000"/>
            </a:solidFill>
            <a:ln w="12690" cap="flat">
              <a:noFill/>
              <a:prstDash val="solid"/>
              <a:miter/>
            </a:ln>
          </p:spPr>
          <p:txBody>
            <a:bodyPr rtlCol="0" anchor="ctr"/>
            <a:lstStyle/>
            <a:p>
              <a:endParaRPr lang="en-US"/>
            </a:p>
          </p:txBody>
        </p:sp>
        <p:sp>
          <p:nvSpPr>
            <p:cNvPr id="735" name="Freeform: Shape 734">
              <a:extLst>
                <a:ext uri="{FF2B5EF4-FFF2-40B4-BE49-F238E27FC236}">
                  <a16:creationId xmlns:a16="http://schemas.microsoft.com/office/drawing/2014/main" id="{66D04349-AD2D-4631-B8BF-E311C86FFC7B}"/>
                </a:ext>
              </a:extLst>
            </p:cNvPr>
            <p:cNvSpPr/>
            <p:nvPr/>
          </p:nvSpPr>
          <p:spPr>
            <a:xfrm>
              <a:off x="9458733" y="2474967"/>
              <a:ext cx="268050" cy="88369"/>
            </a:xfrm>
            <a:custGeom>
              <a:avLst/>
              <a:gdLst>
                <a:gd name="connsiteX0" fmla="*/ 3068 w 268050"/>
                <a:gd name="connsiteY0" fmla="*/ 9396 h 88369"/>
                <a:gd name="connsiteX1" fmla="*/ 5988 w 268050"/>
                <a:gd name="connsiteY1" fmla="*/ 10284 h 88369"/>
                <a:gd name="connsiteX2" fmla="*/ 264622 w 268050"/>
                <a:gd name="connsiteY2" fmla="*/ 88369 h 88369"/>
                <a:gd name="connsiteX3" fmla="*/ 261156 w 268050"/>
                <a:gd name="connsiteY3" fmla="*/ 82287 h 88369"/>
                <a:gd name="connsiteX4" fmla="*/ 261194 w 268050"/>
                <a:gd name="connsiteY4" fmla="*/ 82148 h 88369"/>
                <a:gd name="connsiteX5" fmla="*/ 268051 w 268050"/>
                <a:gd name="connsiteY5" fmla="*/ 79101 h 88369"/>
                <a:gd name="connsiteX6" fmla="*/ 260941 w 268050"/>
                <a:gd name="connsiteY6" fmla="*/ 76942 h 88369"/>
                <a:gd name="connsiteX7" fmla="*/ 7004 w 268050"/>
                <a:gd name="connsiteY7" fmla="*/ 0 h 88369"/>
                <a:gd name="connsiteX8" fmla="*/ 4210 w 268050"/>
                <a:gd name="connsiteY8" fmla="*/ 0 h 88369"/>
                <a:gd name="connsiteX9" fmla="*/ 3321 w 268050"/>
                <a:gd name="connsiteY9" fmla="*/ 0 h 88369"/>
                <a:gd name="connsiteX10" fmla="*/ 2306 w 268050"/>
                <a:gd name="connsiteY10" fmla="*/ 0 h 88369"/>
                <a:gd name="connsiteX11" fmla="*/ 656 w 268050"/>
                <a:gd name="connsiteY11" fmla="*/ 6437 h 88369"/>
                <a:gd name="connsiteX12" fmla="*/ 3703 w 268050"/>
                <a:gd name="connsiteY12" fmla="*/ 8634 h 8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050" h="88369">
                  <a:moveTo>
                    <a:pt x="3068" y="9396"/>
                  </a:moveTo>
                  <a:lnTo>
                    <a:pt x="5988" y="10284"/>
                  </a:lnTo>
                  <a:lnTo>
                    <a:pt x="264622" y="88369"/>
                  </a:lnTo>
                  <a:cubicBezTo>
                    <a:pt x="261981" y="87645"/>
                    <a:pt x="260432" y="84928"/>
                    <a:pt x="261156" y="82287"/>
                  </a:cubicBezTo>
                  <a:cubicBezTo>
                    <a:pt x="261169" y="82237"/>
                    <a:pt x="261182" y="82199"/>
                    <a:pt x="261194" y="82148"/>
                  </a:cubicBezTo>
                  <a:cubicBezTo>
                    <a:pt x="262349" y="79519"/>
                    <a:pt x="265321" y="78199"/>
                    <a:pt x="268051" y="79101"/>
                  </a:cubicBezTo>
                  <a:lnTo>
                    <a:pt x="260941" y="76942"/>
                  </a:lnTo>
                  <a:lnTo>
                    <a:pt x="7004" y="0"/>
                  </a:lnTo>
                  <a:lnTo>
                    <a:pt x="4210" y="0"/>
                  </a:lnTo>
                  <a:lnTo>
                    <a:pt x="3321" y="0"/>
                  </a:lnTo>
                  <a:lnTo>
                    <a:pt x="2306" y="0"/>
                  </a:lnTo>
                  <a:cubicBezTo>
                    <a:pt x="71" y="1321"/>
                    <a:pt x="-665" y="4203"/>
                    <a:pt x="656" y="6437"/>
                  </a:cubicBezTo>
                  <a:cubicBezTo>
                    <a:pt x="1328" y="7555"/>
                    <a:pt x="2420" y="8354"/>
                    <a:pt x="3703" y="8634"/>
                  </a:cubicBezTo>
                  <a:close/>
                </a:path>
              </a:pathLst>
            </a:custGeom>
            <a:solidFill>
              <a:srgbClr val="000000"/>
            </a:solidFill>
            <a:ln w="12690" cap="flat">
              <a:noFill/>
              <a:prstDash val="solid"/>
              <a:miter/>
            </a:ln>
          </p:spPr>
          <p:txBody>
            <a:bodyPr rtlCol="0" anchor="ctr"/>
            <a:lstStyle/>
            <a:p>
              <a:endParaRPr lang="en-US"/>
            </a:p>
          </p:txBody>
        </p:sp>
        <p:sp>
          <p:nvSpPr>
            <p:cNvPr id="736" name="Freeform: Shape 735">
              <a:extLst>
                <a:ext uri="{FF2B5EF4-FFF2-40B4-BE49-F238E27FC236}">
                  <a16:creationId xmlns:a16="http://schemas.microsoft.com/office/drawing/2014/main" id="{BDA53237-8FFC-4DAD-BD59-6604DA1E09B8}"/>
                </a:ext>
              </a:extLst>
            </p:cNvPr>
            <p:cNvSpPr/>
            <p:nvPr/>
          </p:nvSpPr>
          <p:spPr>
            <a:xfrm>
              <a:off x="9719709" y="2553563"/>
              <a:ext cx="129435" cy="45579"/>
            </a:xfrm>
            <a:custGeom>
              <a:avLst/>
              <a:gdLst>
                <a:gd name="connsiteX0" fmla="*/ 218 w 129435"/>
                <a:gd name="connsiteY0" fmla="*/ 3551 h 45579"/>
                <a:gd name="connsiteX1" fmla="*/ 3507 w 129435"/>
                <a:gd name="connsiteY1" fmla="*/ 9735 h 45579"/>
                <a:gd name="connsiteX2" fmla="*/ 3646 w 129435"/>
                <a:gd name="connsiteY2" fmla="*/ 9773 h 45579"/>
                <a:gd name="connsiteX3" fmla="*/ 122361 w 129435"/>
                <a:gd name="connsiteY3" fmla="*/ 45578 h 45579"/>
                <a:gd name="connsiteX4" fmla="*/ 124012 w 129435"/>
                <a:gd name="connsiteY4" fmla="*/ 45578 h 45579"/>
                <a:gd name="connsiteX5" fmla="*/ 129218 w 129435"/>
                <a:gd name="connsiteY5" fmla="*/ 42150 h 45579"/>
                <a:gd name="connsiteX6" fmla="*/ 125929 w 129435"/>
                <a:gd name="connsiteY6" fmla="*/ 35966 h 45579"/>
                <a:gd name="connsiteX7" fmla="*/ 125789 w 129435"/>
                <a:gd name="connsiteY7" fmla="*/ 35928 h 45579"/>
                <a:gd name="connsiteX8" fmla="*/ 122742 w 129435"/>
                <a:gd name="connsiteY8" fmla="*/ 35039 h 45579"/>
                <a:gd name="connsiteX9" fmla="*/ 10756 w 129435"/>
                <a:gd name="connsiteY9" fmla="*/ 1266 h 45579"/>
                <a:gd name="connsiteX10" fmla="*/ 7074 w 129435"/>
                <a:gd name="connsiteY10" fmla="*/ 250 h 45579"/>
                <a:gd name="connsiteX11" fmla="*/ 218 w 129435"/>
                <a:gd name="connsiteY11" fmla="*/ 3551 h 4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435" h="45579">
                  <a:moveTo>
                    <a:pt x="218" y="3551"/>
                  </a:moveTo>
                  <a:cubicBezTo>
                    <a:pt x="-582" y="6167"/>
                    <a:pt x="891" y="8935"/>
                    <a:pt x="3507" y="9735"/>
                  </a:cubicBezTo>
                  <a:cubicBezTo>
                    <a:pt x="3557" y="9747"/>
                    <a:pt x="3596" y="9760"/>
                    <a:pt x="3646" y="9773"/>
                  </a:cubicBezTo>
                  <a:lnTo>
                    <a:pt x="122361" y="45578"/>
                  </a:lnTo>
                  <a:lnTo>
                    <a:pt x="124012" y="45578"/>
                  </a:lnTo>
                  <a:cubicBezTo>
                    <a:pt x="126297" y="45641"/>
                    <a:pt x="128367" y="44270"/>
                    <a:pt x="129218" y="42150"/>
                  </a:cubicBezTo>
                  <a:cubicBezTo>
                    <a:pt x="130018" y="39534"/>
                    <a:pt x="128544" y="36766"/>
                    <a:pt x="125929" y="35966"/>
                  </a:cubicBezTo>
                  <a:cubicBezTo>
                    <a:pt x="125879" y="35953"/>
                    <a:pt x="125841" y="35941"/>
                    <a:pt x="125789" y="35928"/>
                  </a:cubicBezTo>
                  <a:lnTo>
                    <a:pt x="122742" y="35039"/>
                  </a:lnTo>
                  <a:lnTo>
                    <a:pt x="10756" y="1266"/>
                  </a:lnTo>
                  <a:lnTo>
                    <a:pt x="7074" y="250"/>
                  </a:lnTo>
                  <a:cubicBezTo>
                    <a:pt x="4281" y="-613"/>
                    <a:pt x="1285" y="822"/>
                    <a:pt x="218" y="3551"/>
                  </a:cubicBezTo>
                  <a:close/>
                </a:path>
              </a:pathLst>
            </a:custGeom>
            <a:solidFill>
              <a:srgbClr val="000000"/>
            </a:solidFill>
            <a:ln w="12690" cap="flat">
              <a:noFill/>
              <a:prstDash val="solid"/>
              <a:miter/>
            </a:ln>
          </p:spPr>
          <p:txBody>
            <a:bodyPr rtlCol="0" anchor="ctr"/>
            <a:lstStyle/>
            <a:p>
              <a:endParaRPr lang="en-US"/>
            </a:p>
          </p:txBody>
        </p:sp>
        <p:sp>
          <p:nvSpPr>
            <p:cNvPr id="737" name="Freeform: Shape 736">
              <a:extLst>
                <a:ext uri="{FF2B5EF4-FFF2-40B4-BE49-F238E27FC236}">
                  <a16:creationId xmlns:a16="http://schemas.microsoft.com/office/drawing/2014/main" id="{27D74CA5-F40B-44A4-B861-BC7A7F945D9B}"/>
                </a:ext>
              </a:extLst>
            </p:cNvPr>
            <p:cNvSpPr/>
            <p:nvPr/>
          </p:nvSpPr>
          <p:spPr>
            <a:xfrm>
              <a:off x="5295298" y="1194124"/>
              <a:ext cx="54254" cy="22219"/>
            </a:xfrm>
            <a:custGeom>
              <a:avLst/>
              <a:gdLst>
                <a:gd name="connsiteX0" fmla="*/ 47145 w 54254"/>
                <a:gd name="connsiteY0" fmla="*/ 12697 h 22219"/>
                <a:gd name="connsiteX1" fmla="*/ 7023 w 54254"/>
                <a:gd name="connsiteY1" fmla="*/ 0 h 22219"/>
                <a:gd name="connsiteX2" fmla="*/ 3341 w 54254"/>
                <a:gd name="connsiteY2" fmla="*/ 0 h 22219"/>
                <a:gd name="connsiteX3" fmla="*/ 2325 w 54254"/>
                <a:gd name="connsiteY3" fmla="*/ 0 h 22219"/>
                <a:gd name="connsiteX4" fmla="*/ 293 w 54254"/>
                <a:gd name="connsiteY4" fmla="*/ 2412 h 22219"/>
                <a:gd name="connsiteX5" fmla="*/ 3074 w 54254"/>
                <a:gd name="connsiteY5" fmla="*/ 8446 h 22219"/>
                <a:gd name="connsiteX6" fmla="*/ 3722 w 54254"/>
                <a:gd name="connsiteY6" fmla="*/ 8634 h 22219"/>
                <a:gd name="connsiteX7" fmla="*/ 6642 w 54254"/>
                <a:gd name="connsiteY7" fmla="*/ 9523 h 22219"/>
                <a:gd name="connsiteX8" fmla="*/ 50827 w 54254"/>
                <a:gd name="connsiteY8" fmla="*/ 22219 h 22219"/>
                <a:gd name="connsiteX9" fmla="*/ 47361 w 54254"/>
                <a:gd name="connsiteY9" fmla="*/ 16135 h 22219"/>
                <a:gd name="connsiteX10" fmla="*/ 47399 w 54254"/>
                <a:gd name="connsiteY10" fmla="*/ 15998 h 22219"/>
                <a:gd name="connsiteX11" fmla="*/ 54255 w 54254"/>
                <a:gd name="connsiteY11" fmla="*/ 12951 h 22219"/>
                <a:gd name="connsiteX12" fmla="*/ 54255 w 54254"/>
                <a:gd name="connsiteY12" fmla="*/ 12951 h 2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54" h="22219">
                  <a:moveTo>
                    <a:pt x="47145" y="12697"/>
                  </a:moveTo>
                  <a:lnTo>
                    <a:pt x="7023" y="0"/>
                  </a:lnTo>
                  <a:lnTo>
                    <a:pt x="3341" y="0"/>
                  </a:lnTo>
                  <a:lnTo>
                    <a:pt x="2325" y="0"/>
                  </a:lnTo>
                  <a:cubicBezTo>
                    <a:pt x="1360" y="509"/>
                    <a:pt x="636" y="1374"/>
                    <a:pt x="293" y="2412"/>
                  </a:cubicBezTo>
                  <a:cubicBezTo>
                    <a:pt x="-608" y="4846"/>
                    <a:pt x="636" y="7548"/>
                    <a:pt x="3074" y="8446"/>
                  </a:cubicBezTo>
                  <a:cubicBezTo>
                    <a:pt x="3290" y="8524"/>
                    <a:pt x="3506" y="8587"/>
                    <a:pt x="3722" y="8634"/>
                  </a:cubicBezTo>
                  <a:lnTo>
                    <a:pt x="6642" y="9523"/>
                  </a:lnTo>
                  <a:lnTo>
                    <a:pt x="50827" y="22219"/>
                  </a:lnTo>
                  <a:cubicBezTo>
                    <a:pt x="48186" y="21497"/>
                    <a:pt x="46637" y="18773"/>
                    <a:pt x="47361" y="16135"/>
                  </a:cubicBezTo>
                  <a:cubicBezTo>
                    <a:pt x="47373" y="16089"/>
                    <a:pt x="47386" y="16044"/>
                    <a:pt x="47399" y="15998"/>
                  </a:cubicBezTo>
                  <a:cubicBezTo>
                    <a:pt x="48567" y="13370"/>
                    <a:pt x="51525" y="12052"/>
                    <a:pt x="54255" y="12951"/>
                  </a:cubicBezTo>
                  <a:lnTo>
                    <a:pt x="54255" y="12951"/>
                  </a:lnTo>
                  <a:close/>
                </a:path>
              </a:pathLst>
            </a:custGeom>
            <a:solidFill>
              <a:srgbClr val="000000"/>
            </a:solidFill>
            <a:ln w="12690" cap="flat">
              <a:noFill/>
              <a:prstDash val="solid"/>
              <a:miter/>
            </a:ln>
          </p:spPr>
          <p:txBody>
            <a:bodyPr rtlCol="0" anchor="ctr"/>
            <a:lstStyle/>
            <a:p>
              <a:endParaRPr lang="en-US"/>
            </a:p>
          </p:txBody>
        </p:sp>
        <p:sp>
          <p:nvSpPr>
            <p:cNvPr id="738" name="Freeform: Shape 737">
              <a:extLst>
                <a:ext uri="{FF2B5EF4-FFF2-40B4-BE49-F238E27FC236}">
                  <a16:creationId xmlns:a16="http://schemas.microsoft.com/office/drawing/2014/main" id="{F8E48834-3DED-415A-9683-4694A51EB501}"/>
                </a:ext>
              </a:extLst>
            </p:cNvPr>
            <p:cNvSpPr/>
            <p:nvPr/>
          </p:nvSpPr>
          <p:spPr>
            <a:xfrm>
              <a:off x="5342479" y="1208697"/>
              <a:ext cx="54686" cy="24151"/>
            </a:xfrm>
            <a:custGeom>
              <a:avLst/>
              <a:gdLst>
                <a:gd name="connsiteX0" fmla="*/ 7074 w 54686"/>
                <a:gd name="connsiteY0" fmla="*/ 281 h 24151"/>
                <a:gd name="connsiteX1" fmla="*/ 7074 w 54686"/>
                <a:gd name="connsiteY1" fmla="*/ 281 h 24151"/>
                <a:gd name="connsiteX2" fmla="*/ 218 w 54686"/>
                <a:gd name="connsiteY2" fmla="*/ 3329 h 24151"/>
                <a:gd name="connsiteX3" fmla="*/ 3506 w 54686"/>
                <a:gd name="connsiteY3" fmla="*/ 9511 h 24151"/>
                <a:gd name="connsiteX4" fmla="*/ 3646 w 54686"/>
                <a:gd name="connsiteY4" fmla="*/ 9550 h 24151"/>
                <a:gd name="connsiteX5" fmla="*/ 3646 w 54686"/>
                <a:gd name="connsiteY5" fmla="*/ 9550 h 24151"/>
                <a:gd name="connsiteX6" fmla="*/ 51259 w 54686"/>
                <a:gd name="connsiteY6" fmla="*/ 24151 h 24151"/>
                <a:gd name="connsiteX7" fmla="*/ 51259 w 54686"/>
                <a:gd name="connsiteY7" fmla="*/ 24151 h 24151"/>
                <a:gd name="connsiteX8" fmla="*/ 47869 w 54686"/>
                <a:gd name="connsiteY8" fmla="*/ 18232 h 24151"/>
                <a:gd name="connsiteX9" fmla="*/ 47958 w 54686"/>
                <a:gd name="connsiteY9" fmla="*/ 17930 h 24151"/>
                <a:gd name="connsiteX10" fmla="*/ 54687 w 54686"/>
                <a:gd name="connsiteY10" fmla="*/ 14756 h 24151"/>
                <a:gd name="connsiteX11" fmla="*/ 51640 w 54686"/>
                <a:gd name="connsiteY11" fmla="*/ 13867 h 24151"/>
                <a:gd name="connsiteX12" fmla="*/ 10756 w 54686"/>
                <a:gd name="connsiteY12" fmla="*/ 1170 h 2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86" h="24151">
                  <a:moveTo>
                    <a:pt x="7074" y="281"/>
                  </a:moveTo>
                  <a:lnTo>
                    <a:pt x="7074" y="281"/>
                  </a:lnTo>
                  <a:cubicBezTo>
                    <a:pt x="4344" y="-618"/>
                    <a:pt x="1386" y="702"/>
                    <a:pt x="218" y="3329"/>
                  </a:cubicBezTo>
                  <a:cubicBezTo>
                    <a:pt x="-582" y="5944"/>
                    <a:pt x="891" y="8712"/>
                    <a:pt x="3506" y="9511"/>
                  </a:cubicBezTo>
                  <a:cubicBezTo>
                    <a:pt x="3557" y="9524"/>
                    <a:pt x="3595" y="9537"/>
                    <a:pt x="3646" y="9550"/>
                  </a:cubicBezTo>
                  <a:lnTo>
                    <a:pt x="3646" y="9550"/>
                  </a:lnTo>
                  <a:lnTo>
                    <a:pt x="51259" y="24151"/>
                  </a:lnTo>
                  <a:lnTo>
                    <a:pt x="51259" y="24151"/>
                  </a:lnTo>
                  <a:cubicBezTo>
                    <a:pt x="48681" y="23454"/>
                    <a:pt x="47171" y="20803"/>
                    <a:pt x="47869" y="18232"/>
                  </a:cubicBezTo>
                  <a:cubicBezTo>
                    <a:pt x="47895" y="18130"/>
                    <a:pt x="47920" y="18030"/>
                    <a:pt x="47958" y="17930"/>
                  </a:cubicBezTo>
                  <a:cubicBezTo>
                    <a:pt x="49062" y="15314"/>
                    <a:pt x="51957" y="13949"/>
                    <a:pt x="54687" y="14756"/>
                  </a:cubicBezTo>
                  <a:lnTo>
                    <a:pt x="51640" y="13867"/>
                  </a:lnTo>
                  <a:lnTo>
                    <a:pt x="10756" y="1170"/>
                  </a:lnTo>
                  <a:close/>
                </a:path>
              </a:pathLst>
            </a:custGeom>
            <a:solidFill>
              <a:srgbClr val="000000"/>
            </a:solidFill>
            <a:ln w="12690" cap="flat">
              <a:noFill/>
              <a:prstDash val="solid"/>
              <a:miter/>
            </a:ln>
          </p:spPr>
          <p:txBody>
            <a:bodyPr rtlCol="0" anchor="ctr"/>
            <a:lstStyle/>
            <a:p>
              <a:endParaRPr lang="en-US"/>
            </a:p>
          </p:txBody>
        </p:sp>
        <p:sp>
          <p:nvSpPr>
            <p:cNvPr id="739" name="Freeform: Shape 738">
              <a:extLst>
                <a:ext uri="{FF2B5EF4-FFF2-40B4-BE49-F238E27FC236}">
                  <a16:creationId xmlns:a16="http://schemas.microsoft.com/office/drawing/2014/main" id="{ADECEF40-3C00-426E-AFE8-33239B65DD9E}"/>
                </a:ext>
              </a:extLst>
            </p:cNvPr>
            <p:cNvSpPr/>
            <p:nvPr/>
          </p:nvSpPr>
          <p:spPr>
            <a:xfrm>
              <a:off x="5390175" y="1223222"/>
              <a:ext cx="2371012" cy="724196"/>
            </a:xfrm>
            <a:custGeom>
              <a:avLst/>
              <a:gdLst>
                <a:gd name="connsiteX0" fmla="*/ 6991 w 2371012"/>
                <a:gd name="connsiteY0" fmla="*/ 231 h 724196"/>
                <a:gd name="connsiteX1" fmla="*/ 261 w 2371012"/>
                <a:gd name="connsiteY1" fmla="*/ 3405 h 724196"/>
                <a:gd name="connsiteX2" fmla="*/ 3258 w 2371012"/>
                <a:gd name="connsiteY2" fmla="*/ 9534 h 724196"/>
                <a:gd name="connsiteX3" fmla="*/ 3563 w 2371012"/>
                <a:gd name="connsiteY3" fmla="*/ 9626 h 724196"/>
                <a:gd name="connsiteX4" fmla="*/ 3563 w 2371012"/>
                <a:gd name="connsiteY4" fmla="*/ 9626 h 724196"/>
                <a:gd name="connsiteX5" fmla="*/ 2367585 w 2371012"/>
                <a:gd name="connsiteY5" fmla="*/ 724197 h 724196"/>
                <a:gd name="connsiteX6" fmla="*/ 2364194 w 2371012"/>
                <a:gd name="connsiteY6" fmla="*/ 718280 h 724196"/>
                <a:gd name="connsiteX7" fmla="*/ 2364283 w 2371012"/>
                <a:gd name="connsiteY7" fmla="*/ 717976 h 724196"/>
                <a:gd name="connsiteX8" fmla="*/ 2371013 w 2371012"/>
                <a:gd name="connsiteY8" fmla="*/ 714801 h 724196"/>
                <a:gd name="connsiteX9" fmla="*/ 2363903 w 2371012"/>
                <a:gd name="connsiteY9" fmla="*/ 712643 h 724196"/>
                <a:gd name="connsiteX10" fmla="*/ 14990 w 2371012"/>
                <a:gd name="connsiteY10" fmla="*/ 2897 h 724196"/>
                <a:gd name="connsiteX11" fmla="*/ 6356 w 2371012"/>
                <a:gd name="connsiteY11" fmla="*/ 231 h 72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012" h="724196">
                  <a:moveTo>
                    <a:pt x="6991" y="231"/>
                  </a:moveTo>
                  <a:cubicBezTo>
                    <a:pt x="4261" y="-575"/>
                    <a:pt x="1366" y="789"/>
                    <a:pt x="261" y="3405"/>
                  </a:cubicBezTo>
                  <a:cubicBezTo>
                    <a:pt x="-602" y="5925"/>
                    <a:pt x="744" y="8669"/>
                    <a:pt x="3258" y="9534"/>
                  </a:cubicBezTo>
                  <a:cubicBezTo>
                    <a:pt x="3360" y="9568"/>
                    <a:pt x="3461" y="9598"/>
                    <a:pt x="3563" y="9626"/>
                  </a:cubicBezTo>
                  <a:lnTo>
                    <a:pt x="3563" y="9626"/>
                  </a:lnTo>
                  <a:lnTo>
                    <a:pt x="2367585" y="724197"/>
                  </a:lnTo>
                  <a:cubicBezTo>
                    <a:pt x="2365007" y="723499"/>
                    <a:pt x="2363496" y="720845"/>
                    <a:pt x="2364194" y="718280"/>
                  </a:cubicBezTo>
                  <a:cubicBezTo>
                    <a:pt x="2364220" y="718179"/>
                    <a:pt x="2364245" y="718077"/>
                    <a:pt x="2364283" y="717976"/>
                  </a:cubicBezTo>
                  <a:cubicBezTo>
                    <a:pt x="2365350" y="715322"/>
                    <a:pt x="2368283" y="713925"/>
                    <a:pt x="2371013" y="714801"/>
                  </a:cubicBezTo>
                  <a:lnTo>
                    <a:pt x="2363903" y="712643"/>
                  </a:lnTo>
                  <a:lnTo>
                    <a:pt x="14990" y="2897"/>
                  </a:lnTo>
                  <a:lnTo>
                    <a:pt x="6356" y="231"/>
                  </a:lnTo>
                  <a:close/>
                </a:path>
              </a:pathLst>
            </a:custGeom>
            <a:solidFill>
              <a:srgbClr val="000000"/>
            </a:solidFill>
            <a:ln w="12690" cap="flat">
              <a:noFill/>
              <a:prstDash val="solid"/>
              <a:miter/>
            </a:ln>
          </p:spPr>
          <p:txBody>
            <a:bodyPr rtlCol="0" anchor="ctr"/>
            <a:lstStyle/>
            <a:p>
              <a:endParaRPr lang="en-US"/>
            </a:p>
          </p:txBody>
        </p:sp>
        <p:sp>
          <p:nvSpPr>
            <p:cNvPr id="740" name="Freeform: Shape 739">
              <a:extLst>
                <a:ext uri="{FF2B5EF4-FFF2-40B4-BE49-F238E27FC236}">
                  <a16:creationId xmlns:a16="http://schemas.microsoft.com/office/drawing/2014/main" id="{F9AC1399-8C38-4DFF-BDC1-A226361A6EC6}"/>
                </a:ext>
              </a:extLst>
            </p:cNvPr>
            <p:cNvSpPr/>
            <p:nvPr/>
          </p:nvSpPr>
          <p:spPr>
            <a:xfrm>
              <a:off x="7755975" y="1938651"/>
              <a:ext cx="1188398" cy="365167"/>
            </a:xfrm>
            <a:custGeom>
              <a:avLst/>
              <a:gdLst>
                <a:gd name="connsiteX0" fmla="*/ 1177765 w 1188398"/>
                <a:gd name="connsiteY0" fmla="*/ 364022 h 365167"/>
                <a:gd name="connsiteX1" fmla="*/ 1181574 w 1188398"/>
                <a:gd name="connsiteY1" fmla="*/ 365164 h 365167"/>
                <a:gd name="connsiteX2" fmla="*/ 1183224 w 1188398"/>
                <a:gd name="connsiteY2" fmla="*/ 365164 h 365167"/>
                <a:gd name="connsiteX3" fmla="*/ 1188303 w 1188398"/>
                <a:gd name="connsiteY3" fmla="*/ 361736 h 365167"/>
                <a:gd name="connsiteX4" fmla="*/ 1188303 w 1188398"/>
                <a:gd name="connsiteY4" fmla="*/ 360086 h 365167"/>
                <a:gd name="connsiteX5" fmla="*/ 1188303 w 1188398"/>
                <a:gd name="connsiteY5" fmla="*/ 359324 h 365167"/>
                <a:gd name="connsiteX6" fmla="*/ 1188303 w 1188398"/>
                <a:gd name="connsiteY6" fmla="*/ 359324 h 365167"/>
                <a:gd name="connsiteX7" fmla="*/ 1188303 w 1188398"/>
                <a:gd name="connsiteY7" fmla="*/ 358435 h 365167"/>
                <a:gd name="connsiteX8" fmla="*/ 1188303 w 1188398"/>
                <a:gd name="connsiteY8" fmla="*/ 357673 h 365167"/>
                <a:gd name="connsiteX9" fmla="*/ 1188303 w 1188398"/>
                <a:gd name="connsiteY9" fmla="*/ 357673 h 365167"/>
                <a:gd name="connsiteX10" fmla="*/ 1188303 w 1188398"/>
                <a:gd name="connsiteY10" fmla="*/ 356911 h 365167"/>
                <a:gd name="connsiteX11" fmla="*/ 1187542 w 1188398"/>
                <a:gd name="connsiteY11" fmla="*/ 356911 h 365167"/>
                <a:gd name="connsiteX12" fmla="*/ 1187542 w 1188398"/>
                <a:gd name="connsiteY12" fmla="*/ 356911 h 365167"/>
                <a:gd name="connsiteX13" fmla="*/ 1186526 w 1188398"/>
                <a:gd name="connsiteY13" fmla="*/ 356911 h 365167"/>
                <a:gd name="connsiteX14" fmla="*/ 1186526 w 1188398"/>
                <a:gd name="connsiteY14" fmla="*/ 356911 h 365167"/>
                <a:gd name="connsiteX15" fmla="*/ 10673 w 1188398"/>
                <a:gd name="connsiteY15" fmla="*/ 1404 h 365167"/>
                <a:gd name="connsiteX16" fmla="*/ 6990 w 1188398"/>
                <a:gd name="connsiteY16" fmla="*/ 261 h 365167"/>
                <a:gd name="connsiteX17" fmla="*/ 261 w 1188398"/>
                <a:gd name="connsiteY17" fmla="*/ 3435 h 365167"/>
                <a:gd name="connsiteX18" fmla="*/ 3258 w 1188398"/>
                <a:gd name="connsiteY18" fmla="*/ 9568 h 365167"/>
                <a:gd name="connsiteX19" fmla="*/ 3563 w 1188398"/>
                <a:gd name="connsiteY19" fmla="*/ 9657 h 365167"/>
                <a:gd name="connsiteX20" fmla="*/ 1174336 w 1188398"/>
                <a:gd name="connsiteY20" fmla="*/ 363387 h 36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8398" h="365167">
                  <a:moveTo>
                    <a:pt x="1177765" y="364022"/>
                  </a:moveTo>
                  <a:lnTo>
                    <a:pt x="1181574" y="365164"/>
                  </a:lnTo>
                  <a:lnTo>
                    <a:pt x="1183224" y="365164"/>
                  </a:lnTo>
                  <a:cubicBezTo>
                    <a:pt x="1185485" y="365240"/>
                    <a:pt x="1187528" y="363857"/>
                    <a:pt x="1188303" y="361736"/>
                  </a:cubicBezTo>
                  <a:cubicBezTo>
                    <a:pt x="1188431" y="361190"/>
                    <a:pt x="1188431" y="360632"/>
                    <a:pt x="1188303" y="360086"/>
                  </a:cubicBezTo>
                  <a:cubicBezTo>
                    <a:pt x="1188303" y="360086"/>
                    <a:pt x="1188303" y="360086"/>
                    <a:pt x="1188303" y="359324"/>
                  </a:cubicBezTo>
                  <a:lnTo>
                    <a:pt x="1188303" y="359324"/>
                  </a:lnTo>
                  <a:cubicBezTo>
                    <a:pt x="1188354" y="359032"/>
                    <a:pt x="1188354" y="358727"/>
                    <a:pt x="1188303" y="358435"/>
                  </a:cubicBezTo>
                  <a:lnTo>
                    <a:pt x="1188303" y="357673"/>
                  </a:lnTo>
                  <a:lnTo>
                    <a:pt x="1188303" y="357673"/>
                  </a:lnTo>
                  <a:lnTo>
                    <a:pt x="1188303" y="356911"/>
                  </a:lnTo>
                  <a:lnTo>
                    <a:pt x="1187542" y="356911"/>
                  </a:lnTo>
                  <a:lnTo>
                    <a:pt x="1187542" y="356911"/>
                  </a:lnTo>
                  <a:lnTo>
                    <a:pt x="1186526" y="356911"/>
                  </a:lnTo>
                  <a:lnTo>
                    <a:pt x="1186526" y="356911"/>
                  </a:lnTo>
                  <a:lnTo>
                    <a:pt x="10673" y="1404"/>
                  </a:lnTo>
                  <a:lnTo>
                    <a:pt x="6990" y="261"/>
                  </a:lnTo>
                  <a:cubicBezTo>
                    <a:pt x="4261" y="-615"/>
                    <a:pt x="1328" y="782"/>
                    <a:pt x="261" y="3435"/>
                  </a:cubicBezTo>
                  <a:cubicBezTo>
                    <a:pt x="-602" y="5962"/>
                    <a:pt x="744" y="8704"/>
                    <a:pt x="3258" y="9568"/>
                  </a:cubicBezTo>
                  <a:cubicBezTo>
                    <a:pt x="3360" y="9593"/>
                    <a:pt x="3461" y="9631"/>
                    <a:pt x="3563" y="9657"/>
                  </a:cubicBezTo>
                  <a:lnTo>
                    <a:pt x="1174336" y="363387"/>
                  </a:lnTo>
                  <a:close/>
                </a:path>
              </a:pathLst>
            </a:custGeom>
            <a:solidFill>
              <a:srgbClr val="000000"/>
            </a:solidFill>
            <a:ln w="12690" cap="flat">
              <a:noFill/>
              <a:prstDash val="solid"/>
              <a:miter/>
            </a:ln>
          </p:spPr>
          <p:txBody>
            <a:bodyPr rtlCol="0" anchor="ctr"/>
            <a:lstStyle/>
            <a:p>
              <a:endParaRPr lang="en-US"/>
            </a:p>
          </p:txBody>
        </p:sp>
        <p:sp>
          <p:nvSpPr>
            <p:cNvPr id="741" name="Freeform: Shape 740">
              <a:extLst>
                <a:ext uri="{FF2B5EF4-FFF2-40B4-BE49-F238E27FC236}">
                  <a16:creationId xmlns:a16="http://schemas.microsoft.com/office/drawing/2014/main" id="{2E54A729-1BDC-4B37-8E54-87617055727C}"/>
                </a:ext>
              </a:extLst>
            </p:cNvPr>
            <p:cNvSpPr/>
            <p:nvPr/>
          </p:nvSpPr>
          <p:spPr>
            <a:xfrm>
              <a:off x="3639163" y="693746"/>
              <a:ext cx="426069" cy="135981"/>
            </a:xfrm>
            <a:custGeom>
              <a:avLst/>
              <a:gdLst>
                <a:gd name="connsiteX0" fmla="*/ 6856 w 426069"/>
                <a:gd name="connsiteY0" fmla="*/ 5714 h 135981"/>
                <a:gd name="connsiteX1" fmla="*/ 1778 w 426069"/>
                <a:gd name="connsiteY1" fmla="*/ 9015 h 135981"/>
                <a:gd name="connsiteX2" fmla="*/ 0 w 426069"/>
                <a:gd name="connsiteY2" fmla="*/ 9015 h 135981"/>
                <a:gd name="connsiteX3" fmla="*/ 418995 w 426069"/>
                <a:gd name="connsiteY3" fmla="*/ 135982 h 135981"/>
                <a:gd name="connsiteX4" fmla="*/ 418995 w 426069"/>
                <a:gd name="connsiteY4" fmla="*/ 135982 h 135981"/>
                <a:gd name="connsiteX5" fmla="*/ 420646 w 426069"/>
                <a:gd name="connsiteY5" fmla="*/ 135982 h 135981"/>
                <a:gd name="connsiteX6" fmla="*/ 425852 w 426069"/>
                <a:gd name="connsiteY6" fmla="*/ 132554 h 135981"/>
                <a:gd name="connsiteX7" fmla="*/ 422563 w 426069"/>
                <a:gd name="connsiteY7" fmla="*/ 126372 h 135981"/>
                <a:gd name="connsiteX8" fmla="*/ 422424 w 426069"/>
                <a:gd name="connsiteY8" fmla="*/ 126332 h 135981"/>
                <a:gd name="connsiteX9" fmla="*/ 422424 w 426069"/>
                <a:gd name="connsiteY9" fmla="*/ 126332 h 135981"/>
                <a:gd name="connsiteX10" fmla="*/ 12443 w 426069"/>
                <a:gd name="connsiteY10" fmla="*/ 2666 h 135981"/>
                <a:gd name="connsiteX11" fmla="*/ 3555 w 426069"/>
                <a:gd name="connsiteY11" fmla="*/ 0 h 135981"/>
                <a:gd name="connsiteX12" fmla="*/ 6856 w 426069"/>
                <a:gd name="connsiteY12" fmla="*/ 5714 h 13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069" h="135981">
                  <a:moveTo>
                    <a:pt x="6856" y="5714"/>
                  </a:moveTo>
                  <a:cubicBezTo>
                    <a:pt x="5980" y="7739"/>
                    <a:pt x="3987" y="9040"/>
                    <a:pt x="1778" y="9015"/>
                  </a:cubicBezTo>
                  <a:lnTo>
                    <a:pt x="0" y="9015"/>
                  </a:lnTo>
                  <a:lnTo>
                    <a:pt x="418995" y="135982"/>
                  </a:lnTo>
                  <a:lnTo>
                    <a:pt x="418995" y="135982"/>
                  </a:lnTo>
                  <a:lnTo>
                    <a:pt x="420646" y="135982"/>
                  </a:lnTo>
                  <a:cubicBezTo>
                    <a:pt x="422918" y="136003"/>
                    <a:pt x="424976" y="134649"/>
                    <a:pt x="425852" y="132554"/>
                  </a:cubicBezTo>
                  <a:cubicBezTo>
                    <a:pt x="426651" y="129938"/>
                    <a:pt x="425179" y="127170"/>
                    <a:pt x="422563" y="126372"/>
                  </a:cubicBezTo>
                  <a:cubicBezTo>
                    <a:pt x="422512" y="126358"/>
                    <a:pt x="422474" y="126345"/>
                    <a:pt x="422424" y="126332"/>
                  </a:cubicBezTo>
                  <a:lnTo>
                    <a:pt x="422424" y="126332"/>
                  </a:lnTo>
                  <a:lnTo>
                    <a:pt x="12443" y="2666"/>
                  </a:lnTo>
                  <a:lnTo>
                    <a:pt x="3555" y="0"/>
                  </a:lnTo>
                  <a:cubicBezTo>
                    <a:pt x="5993" y="736"/>
                    <a:pt x="7428" y="3236"/>
                    <a:pt x="6856" y="5714"/>
                  </a:cubicBezTo>
                  <a:close/>
                </a:path>
              </a:pathLst>
            </a:custGeom>
            <a:solidFill>
              <a:srgbClr val="000000"/>
            </a:solidFill>
            <a:ln w="12690" cap="flat">
              <a:noFill/>
              <a:prstDash val="solid"/>
              <a:miter/>
            </a:ln>
          </p:spPr>
          <p:txBody>
            <a:bodyPr rtlCol="0" anchor="ctr"/>
            <a:lstStyle/>
            <a:p>
              <a:endParaRPr lang="en-US"/>
            </a:p>
          </p:txBody>
        </p:sp>
        <p:sp>
          <p:nvSpPr>
            <p:cNvPr id="742" name="Freeform: Shape 741">
              <a:extLst>
                <a:ext uri="{FF2B5EF4-FFF2-40B4-BE49-F238E27FC236}">
                  <a16:creationId xmlns:a16="http://schemas.microsoft.com/office/drawing/2014/main" id="{A4BB0C1A-AB92-4833-AF34-FF7BF8B50B8E}"/>
                </a:ext>
              </a:extLst>
            </p:cNvPr>
            <p:cNvSpPr/>
            <p:nvPr/>
          </p:nvSpPr>
          <p:spPr>
            <a:xfrm>
              <a:off x="10794148" y="1705293"/>
              <a:ext cx="48051" cy="39743"/>
            </a:xfrm>
            <a:custGeom>
              <a:avLst/>
              <a:gdLst>
                <a:gd name="connsiteX0" fmla="*/ 39036 w 48051"/>
                <a:gd name="connsiteY0" fmla="*/ 6983 h 39743"/>
                <a:gd name="connsiteX1" fmla="*/ 38694 w 48051"/>
                <a:gd name="connsiteY1" fmla="*/ 343 h 39743"/>
                <a:gd name="connsiteX2" fmla="*/ 39036 w 48051"/>
                <a:gd name="connsiteY2" fmla="*/ 0 h 39743"/>
                <a:gd name="connsiteX3" fmla="*/ 37259 w 48051"/>
                <a:gd name="connsiteY3" fmla="*/ 1524 h 39743"/>
                <a:gd name="connsiteX4" fmla="*/ 58 w 48051"/>
                <a:gd name="connsiteY4" fmla="*/ 31615 h 39743"/>
                <a:gd name="connsiteX5" fmla="*/ 58 w 48051"/>
                <a:gd name="connsiteY5" fmla="*/ 31615 h 39743"/>
                <a:gd name="connsiteX6" fmla="*/ 58 w 48051"/>
                <a:gd name="connsiteY6" fmla="*/ 32504 h 39743"/>
                <a:gd name="connsiteX7" fmla="*/ 58 w 48051"/>
                <a:gd name="connsiteY7" fmla="*/ 32504 h 39743"/>
                <a:gd name="connsiteX8" fmla="*/ 58 w 48051"/>
                <a:gd name="connsiteY8" fmla="*/ 33138 h 39743"/>
                <a:gd name="connsiteX9" fmla="*/ 58 w 48051"/>
                <a:gd name="connsiteY9" fmla="*/ 33900 h 39743"/>
                <a:gd name="connsiteX10" fmla="*/ 58 w 48051"/>
                <a:gd name="connsiteY10" fmla="*/ 33900 h 39743"/>
                <a:gd name="connsiteX11" fmla="*/ 58 w 48051"/>
                <a:gd name="connsiteY11" fmla="*/ 34789 h 39743"/>
                <a:gd name="connsiteX12" fmla="*/ 1454 w 48051"/>
                <a:gd name="connsiteY12" fmla="*/ 38217 h 39743"/>
                <a:gd name="connsiteX13" fmla="*/ 5517 w 48051"/>
                <a:gd name="connsiteY13" fmla="*/ 39741 h 39743"/>
                <a:gd name="connsiteX14" fmla="*/ 9072 w 48051"/>
                <a:gd name="connsiteY14" fmla="*/ 38598 h 39743"/>
                <a:gd name="connsiteX15" fmla="*/ 10850 w 48051"/>
                <a:gd name="connsiteY15" fmla="*/ 37074 h 39743"/>
                <a:gd name="connsiteX16" fmla="*/ 15929 w 48051"/>
                <a:gd name="connsiteY16" fmla="*/ 33012 h 39743"/>
                <a:gd name="connsiteX17" fmla="*/ 48051 w 48051"/>
                <a:gd name="connsiteY17" fmla="*/ 6983 h 39743"/>
                <a:gd name="connsiteX18" fmla="*/ 44369 w 48051"/>
                <a:gd name="connsiteY18" fmla="*/ 8253 h 39743"/>
                <a:gd name="connsiteX19" fmla="*/ 39036 w 48051"/>
                <a:gd name="connsiteY19" fmla="*/ 6983 h 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051" h="39743">
                  <a:moveTo>
                    <a:pt x="39036" y="6983"/>
                  </a:moveTo>
                  <a:cubicBezTo>
                    <a:pt x="37106" y="5244"/>
                    <a:pt x="36955" y="2273"/>
                    <a:pt x="38694" y="343"/>
                  </a:cubicBezTo>
                  <a:cubicBezTo>
                    <a:pt x="38795" y="229"/>
                    <a:pt x="38910" y="114"/>
                    <a:pt x="39036" y="0"/>
                  </a:cubicBezTo>
                  <a:lnTo>
                    <a:pt x="37259" y="1524"/>
                  </a:lnTo>
                  <a:lnTo>
                    <a:pt x="58" y="31615"/>
                  </a:lnTo>
                  <a:lnTo>
                    <a:pt x="58" y="31615"/>
                  </a:lnTo>
                  <a:lnTo>
                    <a:pt x="58" y="32504"/>
                  </a:lnTo>
                  <a:lnTo>
                    <a:pt x="58" y="32504"/>
                  </a:lnTo>
                  <a:lnTo>
                    <a:pt x="58" y="33138"/>
                  </a:lnTo>
                  <a:cubicBezTo>
                    <a:pt x="58" y="33138"/>
                    <a:pt x="58" y="33138"/>
                    <a:pt x="58" y="33900"/>
                  </a:cubicBezTo>
                  <a:lnTo>
                    <a:pt x="58" y="33900"/>
                  </a:lnTo>
                  <a:cubicBezTo>
                    <a:pt x="-19" y="34192"/>
                    <a:pt x="-19" y="34497"/>
                    <a:pt x="58" y="34789"/>
                  </a:cubicBezTo>
                  <a:cubicBezTo>
                    <a:pt x="44" y="36071"/>
                    <a:pt x="553" y="37303"/>
                    <a:pt x="1454" y="38217"/>
                  </a:cubicBezTo>
                  <a:cubicBezTo>
                    <a:pt x="2558" y="39246"/>
                    <a:pt x="4018" y="39792"/>
                    <a:pt x="5517" y="39741"/>
                  </a:cubicBezTo>
                  <a:cubicBezTo>
                    <a:pt x="6800" y="39753"/>
                    <a:pt x="8043" y="39347"/>
                    <a:pt x="9072" y="38598"/>
                  </a:cubicBezTo>
                  <a:lnTo>
                    <a:pt x="10850" y="37074"/>
                  </a:lnTo>
                  <a:lnTo>
                    <a:pt x="15929" y="33012"/>
                  </a:lnTo>
                  <a:lnTo>
                    <a:pt x="48051" y="6983"/>
                  </a:lnTo>
                  <a:cubicBezTo>
                    <a:pt x="46972" y="7758"/>
                    <a:pt x="45690" y="8202"/>
                    <a:pt x="44369" y="8253"/>
                  </a:cubicBezTo>
                  <a:cubicBezTo>
                    <a:pt x="42490" y="8697"/>
                    <a:pt x="40509" y="8227"/>
                    <a:pt x="39036" y="6983"/>
                  </a:cubicBezTo>
                  <a:close/>
                </a:path>
              </a:pathLst>
            </a:custGeom>
            <a:solidFill>
              <a:srgbClr val="000000"/>
            </a:solidFill>
            <a:ln w="12690" cap="flat">
              <a:noFill/>
              <a:prstDash val="solid"/>
              <a:miter/>
            </a:ln>
          </p:spPr>
          <p:txBody>
            <a:bodyPr rtlCol="0" anchor="ctr"/>
            <a:lstStyle/>
            <a:p>
              <a:endParaRPr lang="en-US"/>
            </a:p>
          </p:txBody>
        </p:sp>
        <p:sp>
          <p:nvSpPr>
            <p:cNvPr id="743" name="Freeform: Shape 742">
              <a:extLst>
                <a:ext uri="{FF2B5EF4-FFF2-40B4-BE49-F238E27FC236}">
                  <a16:creationId xmlns:a16="http://schemas.microsoft.com/office/drawing/2014/main" id="{FB7D4FC0-9C4F-438E-8109-B61D075578CC}"/>
                </a:ext>
              </a:extLst>
            </p:cNvPr>
            <p:cNvSpPr/>
            <p:nvPr/>
          </p:nvSpPr>
          <p:spPr>
            <a:xfrm>
              <a:off x="10832519" y="1666187"/>
              <a:ext cx="57419" cy="47739"/>
            </a:xfrm>
            <a:custGeom>
              <a:avLst/>
              <a:gdLst>
                <a:gd name="connsiteX0" fmla="*/ 48659 w 57419"/>
                <a:gd name="connsiteY0" fmla="*/ 6983 h 47739"/>
                <a:gd name="connsiteX1" fmla="*/ 48113 w 57419"/>
                <a:gd name="connsiteY1" fmla="*/ 546 h 47739"/>
                <a:gd name="connsiteX2" fmla="*/ 48659 w 57419"/>
                <a:gd name="connsiteY2" fmla="*/ 0 h 47739"/>
                <a:gd name="connsiteX3" fmla="*/ 41803 w 57419"/>
                <a:gd name="connsiteY3" fmla="*/ 5587 h 47739"/>
                <a:gd name="connsiteX4" fmla="*/ 10569 w 57419"/>
                <a:gd name="connsiteY4" fmla="*/ 31742 h 47739"/>
                <a:gd name="connsiteX5" fmla="*/ 1554 w 57419"/>
                <a:gd name="connsiteY5" fmla="*/ 39106 h 47739"/>
                <a:gd name="connsiteX6" fmla="*/ 1211 w 57419"/>
                <a:gd name="connsiteY6" fmla="*/ 45746 h 47739"/>
                <a:gd name="connsiteX7" fmla="*/ 1554 w 57419"/>
                <a:gd name="connsiteY7" fmla="*/ 46089 h 47739"/>
                <a:gd name="connsiteX8" fmla="*/ 5617 w 57419"/>
                <a:gd name="connsiteY8" fmla="*/ 47740 h 47739"/>
                <a:gd name="connsiteX9" fmla="*/ 9299 w 57419"/>
                <a:gd name="connsiteY9" fmla="*/ 46470 h 47739"/>
                <a:gd name="connsiteX10" fmla="*/ 57420 w 57419"/>
                <a:gd name="connsiteY10" fmla="*/ 7364 h 47739"/>
                <a:gd name="connsiteX11" fmla="*/ 57420 w 57419"/>
                <a:gd name="connsiteY11" fmla="*/ 7364 h 47739"/>
                <a:gd name="connsiteX12" fmla="*/ 53738 w 57419"/>
                <a:gd name="connsiteY12" fmla="*/ 8507 h 47739"/>
                <a:gd name="connsiteX13" fmla="*/ 48659 w 57419"/>
                <a:gd name="connsiteY13" fmla="*/ 6983 h 4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419" h="47739">
                  <a:moveTo>
                    <a:pt x="48659" y="6983"/>
                  </a:moveTo>
                  <a:cubicBezTo>
                    <a:pt x="46729" y="5358"/>
                    <a:pt x="46488" y="2476"/>
                    <a:pt x="48113" y="546"/>
                  </a:cubicBezTo>
                  <a:cubicBezTo>
                    <a:pt x="48278" y="343"/>
                    <a:pt x="48468" y="165"/>
                    <a:pt x="48659" y="0"/>
                  </a:cubicBezTo>
                  <a:lnTo>
                    <a:pt x="41803" y="5587"/>
                  </a:lnTo>
                  <a:lnTo>
                    <a:pt x="10569" y="31742"/>
                  </a:lnTo>
                  <a:lnTo>
                    <a:pt x="1554" y="39106"/>
                  </a:lnTo>
                  <a:cubicBezTo>
                    <a:pt x="-376" y="40845"/>
                    <a:pt x="-529" y="43816"/>
                    <a:pt x="1211" y="45746"/>
                  </a:cubicBezTo>
                  <a:cubicBezTo>
                    <a:pt x="1313" y="45860"/>
                    <a:pt x="1427" y="45975"/>
                    <a:pt x="1554" y="46089"/>
                  </a:cubicBezTo>
                  <a:cubicBezTo>
                    <a:pt x="2659" y="47130"/>
                    <a:pt x="4106" y="47714"/>
                    <a:pt x="5617" y="47740"/>
                  </a:cubicBezTo>
                  <a:cubicBezTo>
                    <a:pt x="6937" y="47689"/>
                    <a:pt x="8220" y="47245"/>
                    <a:pt x="9299" y="46470"/>
                  </a:cubicBezTo>
                  <a:lnTo>
                    <a:pt x="57420" y="7364"/>
                  </a:lnTo>
                  <a:lnTo>
                    <a:pt x="57420" y="7364"/>
                  </a:lnTo>
                  <a:cubicBezTo>
                    <a:pt x="56328" y="8101"/>
                    <a:pt x="55045" y="8507"/>
                    <a:pt x="53738" y="8507"/>
                  </a:cubicBezTo>
                  <a:cubicBezTo>
                    <a:pt x="51897" y="8913"/>
                    <a:pt x="49980" y="8329"/>
                    <a:pt x="48659" y="6983"/>
                  </a:cubicBezTo>
                  <a:close/>
                </a:path>
              </a:pathLst>
            </a:custGeom>
            <a:solidFill>
              <a:srgbClr val="000000"/>
            </a:solidFill>
            <a:ln w="12690" cap="flat">
              <a:noFill/>
              <a:prstDash val="solid"/>
              <a:miter/>
            </a:ln>
          </p:spPr>
          <p:txBody>
            <a:bodyPr rtlCol="0" anchor="ctr"/>
            <a:lstStyle/>
            <a:p>
              <a:endParaRPr lang="en-US"/>
            </a:p>
          </p:txBody>
        </p:sp>
        <p:sp>
          <p:nvSpPr>
            <p:cNvPr id="744" name="Freeform: Shape 743">
              <a:extLst>
                <a:ext uri="{FF2B5EF4-FFF2-40B4-BE49-F238E27FC236}">
                  <a16:creationId xmlns:a16="http://schemas.microsoft.com/office/drawing/2014/main" id="{ED41BF42-26E3-4A7D-A5D5-E26A7B7459F9}"/>
                </a:ext>
              </a:extLst>
            </p:cNvPr>
            <p:cNvSpPr/>
            <p:nvPr/>
          </p:nvSpPr>
          <p:spPr>
            <a:xfrm>
              <a:off x="10879810" y="1590896"/>
              <a:ext cx="101292" cy="83800"/>
            </a:xfrm>
            <a:custGeom>
              <a:avLst/>
              <a:gdLst>
                <a:gd name="connsiteX0" fmla="*/ 93675 w 101292"/>
                <a:gd name="connsiteY0" fmla="*/ 6983 h 83800"/>
                <a:gd name="connsiteX1" fmla="*/ 93331 w 101292"/>
                <a:gd name="connsiteY1" fmla="*/ 343 h 83800"/>
                <a:gd name="connsiteX2" fmla="*/ 93675 w 101292"/>
                <a:gd name="connsiteY2" fmla="*/ 0 h 83800"/>
                <a:gd name="connsiteX3" fmla="*/ 93675 w 101292"/>
                <a:gd name="connsiteY3" fmla="*/ 0 h 83800"/>
                <a:gd name="connsiteX4" fmla="*/ 86818 w 101292"/>
                <a:gd name="connsiteY4" fmla="*/ 5586 h 83800"/>
                <a:gd name="connsiteX5" fmla="*/ 3908 w 101292"/>
                <a:gd name="connsiteY5" fmla="*/ 73387 h 83800"/>
                <a:gd name="connsiteX6" fmla="*/ 1623 w 101292"/>
                <a:gd name="connsiteY6" fmla="*/ 75291 h 83800"/>
                <a:gd name="connsiteX7" fmla="*/ 1623 w 101292"/>
                <a:gd name="connsiteY7" fmla="*/ 75291 h 83800"/>
                <a:gd name="connsiteX8" fmla="*/ 1076 w 101292"/>
                <a:gd name="connsiteY8" fmla="*/ 81729 h 83800"/>
                <a:gd name="connsiteX9" fmla="*/ 1623 w 101292"/>
                <a:gd name="connsiteY9" fmla="*/ 82275 h 83800"/>
                <a:gd name="connsiteX10" fmla="*/ 5559 w 101292"/>
                <a:gd name="connsiteY10" fmla="*/ 83798 h 83800"/>
                <a:gd name="connsiteX11" fmla="*/ 9241 w 101292"/>
                <a:gd name="connsiteY11" fmla="*/ 82655 h 83800"/>
                <a:gd name="connsiteX12" fmla="*/ 9241 w 101292"/>
                <a:gd name="connsiteY12" fmla="*/ 82655 h 83800"/>
                <a:gd name="connsiteX13" fmla="*/ 101293 w 101292"/>
                <a:gd name="connsiteY13" fmla="*/ 7364 h 83800"/>
                <a:gd name="connsiteX14" fmla="*/ 97738 w 101292"/>
                <a:gd name="connsiteY14" fmla="*/ 8634 h 83800"/>
                <a:gd name="connsiteX15" fmla="*/ 93675 w 101292"/>
                <a:gd name="connsiteY15" fmla="*/ 6983 h 8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292" h="83800">
                  <a:moveTo>
                    <a:pt x="93675" y="6983"/>
                  </a:moveTo>
                  <a:cubicBezTo>
                    <a:pt x="91744" y="5244"/>
                    <a:pt x="91592" y="2273"/>
                    <a:pt x="93331" y="343"/>
                  </a:cubicBezTo>
                  <a:cubicBezTo>
                    <a:pt x="93433" y="229"/>
                    <a:pt x="93548" y="114"/>
                    <a:pt x="93675" y="0"/>
                  </a:cubicBezTo>
                  <a:lnTo>
                    <a:pt x="93675" y="0"/>
                  </a:lnTo>
                  <a:lnTo>
                    <a:pt x="86818" y="5586"/>
                  </a:lnTo>
                  <a:lnTo>
                    <a:pt x="3908" y="73387"/>
                  </a:lnTo>
                  <a:lnTo>
                    <a:pt x="1623" y="75291"/>
                  </a:lnTo>
                  <a:lnTo>
                    <a:pt x="1623" y="75291"/>
                  </a:lnTo>
                  <a:cubicBezTo>
                    <a:pt x="-308" y="76917"/>
                    <a:pt x="-549" y="79799"/>
                    <a:pt x="1076" y="81729"/>
                  </a:cubicBezTo>
                  <a:cubicBezTo>
                    <a:pt x="1242" y="81932"/>
                    <a:pt x="1432" y="82110"/>
                    <a:pt x="1623" y="82275"/>
                  </a:cubicBezTo>
                  <a:cubicBezTo>
                    <a:pt x="2677" y="83290"/>
                    <a:pt x="4099" y="83836"/>
                    <a:pt x="5559" y="83798"/>
                  </a:cubicBezTo>
                  <a:cubicBezTo>
                    <a:pt x="6866" y="83798"/>
                    <a:pt x="8149" y="83392"/>
                    <a:pt x="9241" y="82655"/>
                  </a:cubicBezTo>
                  <a:lnTo>
                    <a:pt x="9241" y="82655"/>
                  </a:lnTo>
                  <a:lnTo>
                    <a:pt x="101293" y="7364"/>
                  </a:lnTo>
                  <a:cubicBezTo>
                    <a:pt x="100277" y="8151"/>
                    <a:pt x="99033" y="8596"/>
                    <a:pt x="97738" y="8634"/>
                  </a:cubicBezTo>
                  <a:cubicBezTo>
                    <a:pt x="96214" y="8634"/>
                    <a:pt x="94767" y="8037"/>
                    <a:pt x="93675" y="6983"/>
                  </a:cubicBezTo>
                  <a:close/>
                </a:path>
              </a:pathLst>
            </a:custGeom>
            <a:solidFill>
              <a:srgbClr val="000000"/>
            </a:solidFill>
            <a:ln w="12690" cap="flat">
              <a:noFill/>
              <a:prstDash val="solid"/>
              <a:miter/>
            </a:ln>
          </p:spPr>
          <p:txBody>
            <a:bodyPr rtlCol="0" anchor="ctr"/>
            <a:lstStyle/>
            <a:p>
              <a:endParaRPr lang="en-US"/>
            </a:p>
          </p:txBody>
        </p:sp>
        <p:sp>
          <p:nvSpPr>
            <p:cNvPr id="745" name="Freeform: Shape 744">
              <a:extLst>
                <a:ext uri="{FF2B5EF4-FFF2-40B4-BE49-F238E27FC236}">
                  <a16:creationId xmlns:a16="http://schemas.microsoft.com/office/drawing/2014/main" id="{97E24ADA-DE96-4268-8F81-08DBFA60490C}"/>
                </a:ext>
              </a:extLst>
            </p:cNvPr>
            <p:cNvSpPr/>
            <p:nvPr/>
          </p:nvSpPr>
          <p:spPr>
            <a:xfrm>
              <a:off x="10972312" y="1482085"/>
              <a:ext cx="143652" cy="117444"/>
            </a:xfrm>
            <a:custGeom>
              <a:avLst/>
              <a:gdLst>
                <a:gd name="connsiteX0" fmla="*/ 1554 w 143652"/>
                <a:gd name="connsiteY0" fmla="*/ 108811 h 117444"/>
                <a:gd name="connsiteX1" fmla="*/ 1211 w 143652"/>
                <a:gd name="connsiteY1" fmla="*/ 115451 h 117444"/>
                <a:gd name="connsiteX2" fmla="*/ 1554 w 143652"/>
                <a:gd name="connsiteY2" fmla="*/ 115794 h 117444"/>
                <a:gd name="connsiteX3" fmla="*/ 5617 w 143652"/>
                <a:gd name="connsiteY3" fmla="*/ 117445 h 117444"/>
                <a:gd name="connsiteX4" fmla="*/ 9172 w 143652"/>
                <a:gd name="connsiteY4" fmla="*/ 116175 h 117444"/>
                <a:gd name="connsiteX5" fmla="*/ 9172 w 143652"/>
                <a:gd name="connsiteY5" fmla="*/ 116175 h 117444"/>
                <a:gd name="connsiteX6" fmla="*/ 139695 w 143652"/>
                <a:gd name="connsiteY6" fmla="*/ 10284 h 117444"/>
                <a:gd name="connsiteX7" fmla="*/ 142108 w 143652"/>
                <a:gd name="connsiteY7" fmla="*/ 8380 h 117444"/>
                <a:gd name="connsiteX8" fmla="*/ 142514 w 143652"/>
                <a:gd name="connsiteY8" fmla="*/ 1930 h 117444"/>
                <a:gd name="connsiteX9" fmla="*/ 142108 w 143652"/>
                <a:gd name="connsiteY9" fmla="*/ 1524 h 117444"/>
                <a:gd name="connsiteX10" fmla="*/ 139060 w 143652"/>
                <a:gd name="connsiteY10" fmla="*/ 0 h 117444"/>
                <a:gd name="connsiteX11" fmla="*/ 137410 w 143652"/>
                <a:gd name="connsiteY11" fmla="*/ 0 h 117444"/>
                <a:gd name="connsiteX12" fmla="*/ 136521 w 143652"/>
                <a:gd name="connsiteY12" fmla="*/ 0 h 117444"/>
                <a:gd name="connsiteX13" fmla="*/ 135632 w 143652"/>
                <a:gd name="connsiteY13" fmla="*/ 0 h 117444"/>
                <a:gd name="connsiteX14" fmla="*/ 134997 w 143652"/>
                <a:gd name="connsiteY14" fmla="*/ 0 h 117444"/>
                <a:gd name="connsiteX15" fmla="*/ 4474 w 143652"/>
                <a:gd name="connsiteY15" fmla="*/ 105763 h 117444"/>
                <a:gd name="connsiteX16" fmla="*/ 2062 w 143652"/>
                <a:gd name="connsiteY16" fmla="*/ 107668 h 11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652" h="117444">
                  <a:moveTo>
                    <a:pt x="1554" y="108811"/>
                  </a:moveTo>
                  <a:cubicBezTo>
                    <a:pt x="-376" y="110550"/>
                    <a:pt x="-529" y="113521"/>
                    <a:pt x="1211" y="115451"/>
                  </a:cubicBezTo>
                  <a:cubicBezTo>
                    <a:pt x="1313" y="115565"/>
                    <a:pt x="1426" y="115680"/>
                    <a:pt x="1554" y="115794"/>
                  </a:cubicBezTo>
                  <a:cubicBezTo>
                    <a:pt x="2645" y="116848"/>
                    <a:pt x="4093" y="117445"/>
                    <a:pt x="5617" y="117445"/>
                  </a:cubicBezTo>
                  <a:cubicBezTo>
                    <a:pt x="6912" y="117406"/>
                    <a:pt x="8156" y="116962"/>
                    <a:pt x="9172" y="116175"/>
                  </a:cubicBezTo>
                  <a:lnTo>
                    <a:pt x="9172" y="116175"/>
                  </a:lnTo>
                  <a:lnTo>
                    <a:pt x="139695" y="10284"/>
                  </a:lnTo>
                  <a:lnTo>
                    <a:pt x="142108" y="8380"/>
                  </a:lnTo>
                  <a:cubicBezTo>
                    <a:pt x="143999" y="6704"/>
                    <a:pt x="144177" y="3822"/>
                    <a:pt x="142514" y="1930"/>
                  </a:cubicBezTo>
                  <a:cubicBezTo>
                    <a:pt x="142387" y="1790"/>
                    <a:pt x="142247" y="1651"/>
                    <a:pt x="142108" y="1524"/>
                  </a:cubicBezTo>
                  <a:cubicBezTo>
                    <a:pt x="141282" y="698"/>
                    <a:pt x="140216" y="165"/>
                    <a:pt x="139060" y="0"/>
                  </a:cubicBezTo>
                  <a:lnTo>
                    <a:pt x="137410" y="0"/>
                  </a:lnTo>
                  <a:lnTo>
                    <a:pt x="136521" y="0"/>
                  </a:lnTo>
                  <a:lnTo>
                    <a:pt x="135632" y="0"/>
                  </a:lnTo>
                  <a:lnTo>
                    <a:pt x="134997" y="0"/>
                  </a:lnTo>
                  <a:lnTo>
                    <a:pt x="4474" y="105763"/>
                  </a:lnTo>
                  <a:lnTo>
                    <a:pt x="2062" y="107668"/>
                  </a:lnTo>
                  <a:close/>
                </a:path>
              </a:pathLst>
            </a:custGeom>
            <a:solidFill>
              <a:srgbClr val="000000"/>
            </a:solidFill>
            <a:ln w="12690" cap="flat">
              <a:noFill/>
              <a:prstDash val="solid"/>
              <a:miter/>
            </a:ln>
          </p:spPr>
          <p:txBody>
            <a:bodyPr rtlCol="0" anchor="ctr"/>
            <a:lstStyle/>
            <a:p>
              <a:endParaRPr lang="en-US"/>
            </a:p>
          </p:txBody>
        </p:sp>
        <p:sp>
          <p:nvSpPr>
            <p:cNvPr id="746" name="Freeform: Shape 745">
              <a:extLst>
                <a:ext uri="{FF2B5EF4-FFF2-40B4-BE49-F238E27FC236}">
                  <a16:creationId xmlns:a16="http://schemas.microsoft.com/office/drawing/2014/main" id="{15CCF609-9B27-4033-9A99-62D300A6A334}"/>
                </a:ext>
              </a:extLst>
            </p:cNvPr>
            <p:cNvSpPr/>
            <p:nvPr/>
          </p:nvSpPr>
          <p:spPr>
            <a:xfrm>
              <a:off x="8690312" y="806112"/>
              <a:ext cx="101223" cy="83417"/>
            </a:xfrm>
            <a:custGeom>
              <a:avLst/>
              <a:gdLst>
                <a:gd name="connsiteX0" fmla="*/ 101223 w 101223"/>
                <a:gd name="connsiteY0" fmla="*/ 7237 h 83417"/>
                <a:gd name="connsiteX1" fmla="*/ 97669 w 101223"/>
                <a:gd name="connsiteY1" fmla="*/ 8507 h 83417"/>
                <a:gd name="connsiteX2" fmla="*/ 93606 w 101223"/>
                <a:gd name="connsiteY2" fmla="*/ 6856 h 83417"/>
                <a:gd name="connsiteX3" fmla="*/ 93199 w 101223"/>
                <a:gd name="connsiteY3" fmla="*/ 405 h 83417"/>
                <a:gd name="connsiteX4" fmla="*/ 93606 w 101223"/>
                <a:gd name="connsiteY4" fmla="*/ 0 h 83417"/>
                <a:gd name="connsiteX5" fmla="*/ 86750 w 101223"/>
                <a:gd name="connsiteY5" fmla="*/ 5587 h 83417"/>
                <a:gd name="connsiteX6" fmla="*/ 3966 w 101223"/>
                <a:gd name="connsiteY6" fmla="*/ 72879 h 83417"/>
                <a:gd name="connsiteX7" fmla="*/ 1554 w 101223"/>
                <a:gd name="connsiteY7" fmla="*/ 74784 h 83417"/>
                <a:gd name="connsiteX8" fmla="*/ 1554 w 101223"/>
                <a:gd name="connsiteY8" fmla="*/ 74784 h 83417"/>
                <a:gd name="connsiteX9" fmla="*/ 1211 w 101223"/>
                <a:gd name="connsiteY9" fmla="*/ 81418 h 83417"/>
                <a:gd name="connsiteX10" fmla="*/ 1554 w 101223"/>
                <a:gd name="connsiteY10" fmla="*/ 81767 h 83417"/>
                <a:gd name="connsiteX11" fmla="*/ 5490 w 101223"/>
                <a:gd name="connsiteY11" fmla="*/ 83417 h 83417"/>
                <a:gd name="connsiteX12" fmla="*/ 9171 w 101223"/>
                <a:gd name="connsiteY12" fmla="*/ 82148 h 83417"/>
                <a:gd name="connsiteX13" fmla="*/ 9171 w 101223"/>
                <a:gd name="connsiteY13" fmla="*/ 82148 h 83417"/>
                <a:gd name="connsiteX14" fmla="*/ 101223 w 101223"/>
                <a:gd name="connsiteY14" fmla="*/ 7237 h 8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223" h="83417">
                  <a:moveTo>
                    <a:pt x="101223" y="7237"/>
                  </a:moveTo>
                  <a:cubicBezTo>
                    <a:pt x="100233" y="8080"/>
                    <a:pt x="98964" y="8531"/>
                    <a:pt x="97669" y="8507"/>
                  </a:cubicBezTo>
                  <a:cubicBezTo>
                    <a:pt x="96145" y="8533"/>
                    <a:pt x="94672" y="7937"/>
                    <a:pt x="93606" y="6856"/>
                  </a:cubicBezTo>
                  <a:cubicBezTo>
                    <a:pt x="91714" y="5187"/>
                    <a:pt x="91536" y="2298"/>
                    <a:pt x="93199" y="405"/>
                  </a:cubicBezTo>
                  <a:cubicBezTo>
                    <a:pt x="93326" y="262"/>
                    <a:pt x="93466" y="127"/>
                    <a:pt x="93606" y="0"/>
                  </a:cubicBezTo>
                  <a:lnTo>
                    <a:pt x="86750" y="5587"/>
                  </a:lnTo>
                  <a:lnTo>
                    <a:pt x="3966" y="72879"/>
                  </a:lnTo>
                  <a:lnTo>
                    <a:pt x="1554" y="74784"/>
                  </a:lnTo>
                  <a:lnTo>
                    <a:pt x="1554" y="74784"/>
                  </a:lnTo>
                  <a:cubicBezTo>
                    <a:pt x="-376" y="76519"/>
                    <a:pt x="-529" y="79490"/>
                    <a:pt x="1211" y="81418"/>
                  </a:cubicBezTo>
                  <a:cubicBezTo>
                    <a:pt x="1313" y="81541"/>
                    <a:pt x="1426" y="81656"/>
                    <a:pt x="1554" y="81767"/>
                  </a:cubicBezTo>
                  <a:cubicBezTo>
                    <a:pt x="2607" y="82794"/>
                    <a:pt x="4016" y="83383"/>
                    <a:pt x="5490" y="83417"/>
                  </a:cubicBezTo>
                  <a:cubicBezTo>
                    <a:pt x="6822" y="83408"/>
                    <a:pt x="8117" y="82963"/>
                    <a:pt x="9171" y="82148"/>
                  </a:cubicBezTo>
                  <a:lnTo>
                    <a:pt x="9171" y="82148"/>
                  </a:lnTo>
                  <a:lnTo>
                    <a:pt x="101223" y="7237"/>
                  </a:lnTo>
                  <a:close/>
                </a:path>
              </a:pathLst>
            </a:custGeom>
            <a:solidFill>
              <a:srgbClr val="000000"/>
            </a:solidFill>
            <a:ln w="12690" cap="flat">
              <a:noFill/>
              <a:prstDash val="solid"/>
              <a:miter/>
            </a:ln>
          </p:spPr>
          <p:txBody>
            <a:bodyPr rtlCol="0" anchor="ctr"/>
            <a:lstStyle/>
            <a:p>
              <a:endParaRPr lang="en-US"/>
            </a:p>
          </p:txBody>
        </p:sp>
        <p:sp>
          <p:nvSpPr>
            <p:cNvPr id="747" name="Freeform: Shape 746">
              <a:extLst>
                <a:ext uri="{FF2B5EF4-FFF2-40B4-BE49-F238E27FC236}">
                  <a16:creationId xmlns:a16="http://schemas.microsoft.com/office/drawing/2014/main" id="{A1DC476C-E534-4601-B370-7145787D9A95}"/>
                </a:ext>
              </a:extLst>
            </p:cNvPr>
            <p:cNvSpPr/>
            <p:nvPr/>
          </p:nvSpPr>
          <p:spPr>
            <a:xfrm>
              <a:off x="8782753" y="772085"/>
              <a:ext cx="48523" cy="42534"/>
            </a:xfrm>
            <a:custGeom>
              <a:avLst/>
              <a:gdLst>
                <a:gd name="connsiteX0" fmla="*/ 1545 w 48523"/>
                <a:gd name="connsiteY0" fmla="*/ 34027 h 42534"/>
                <a:gd name="connsiteX1" fmla="*/ 1139 w 48523"/>
                <a:gd name="connsiteY1" fmla="*/ 40478 h 42534"/>
                <a:gd name="connsiteX2" fmla="*/ 1545 w 48523"/>
                <a:gd name="connsiteY2" fmla="*/ 40883 h 42534"/>
                <a:gd name="connsiteX3" fmla="*/ 5608 w 48523"/>
                <a:gd name="connsiteY3" fmla="*/ 42534 h 42534"/>
                <a:gd name="connsiteX4" fmla="*/ 9164 w 48523"/>
                <a:gd name="connsiteY4" fmla="*/ 41264 h 42534"/>
                <a:gd name="connsiteX5" fmla="*/ 9164 w 48523"/>
                <a:gd name="connsiteY5" fmla="*/ 41264 h 42534"/>
                <a:gd name="connsiteX6" fmla="*/ 48523 w 48523"/>
                <a:gd name="connsiteY6" fmla="*/ 9142 h 42534"/>
                <a:gd name="connsiteX7" fmla="*/ 45603 w 48523"/>
                <a:gd name="connsiteY7" fmla="*/ 8126 h 42534"/>
                <a:gd name="connsiteX8" fmla="*/ 41451 w 48523"/>
                <a:gd name="connsiteY8" fmla="*/ 2939 h 42534"/>
                <a:gd name="connsiteX9" fmla="*/ 41540 w 48523"/>
                <a:gd name="connsiteY9" fmla="*/ 2412 h 42534"/>
                <a:gd name="connsiteX10" fmla="*/ 43571 w 48523"/>
                <a:gd name="connsiteY10" fmla="*/ 0 h 42534"/>
                <a:gd name="connsiteX11" fmla="*/ 43571 w 48523"/>
                <a:gd name="connsiteY11" fmla="*/ 0 h 42534"/>
                <a:gd name="connsiteX12" fmla="*/ 3450 w 48523"/>
                <a:gd name="connsiteY12" fmla="*/ 31996 h 42534"/>
                <a:gd name="connsiteX13" fmla="*/ 1037 w 48523"/>
                <a:gd name="connsiteY13" fmla="*/ 34027 h 4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523" h="42534">
                  <a:moveTo>
                    <a:pt x="1545" y="34027"/>
                  </a:moveTo>
                  <a:cubicBezTo>
                    <a:pt x="-347" y="35697"/>
                    <a:pt x="-524" y="38585"/>
                    <a:pt x="1139" y="40478"/>
                  </a:cubicBezTo>
                  <a:cubicBezTo>
                    <a:pt x="1266" y="40622"/>
                    <a:pt x="1406" y="40758"/>
                    <a:pt x="1545" y="40883"/>
                  </a:cubicBezTo>
                  <a:cubicBezTo>
                    <a:pt x="2612" y="41964"/>
                    <a:pt x="4085" y="42561"/>
                    <a:pt x="5608" y="42534"/>
                  </a:cubicBezTo>
                  <a:cubicBezTo>
                    <a:pt x="6903" y="42558"/>
                    <a:pt x="8173" y="42107"/>
                    <a:pt x="9164" y="41264"/>
                  </a:cubicBezTo>
                  <a:lnTo>
                    <a:pt x="9164" y="41264"/>
                  </a:lnTo>
                  <a:lnTo>
                    <a:pt x="48523" y="9142"/>
                  </a:lnTo>
                  <a:lnTo>
                    <a:pt x="45603" y="8126"/>
                  </a:lnTo>
                  <a:cubicBezTo>
                    <a:pt x="43026" y="7840"/>
                    <a:pt x="41172" y="5518"/>
                    <a:pt x="41451" y="2939"/>
                  </a:cubicBezTo>
                  <a:cubicBezTo>
                    <a:pt x="41477" y="2762"/>
                    <a:pt x="41502" y="2586"/>
                    <a:pt x="41540" y="2412"/>
                  </a:cubicBezTo>
                  <a:cubicBezTo>
                    <a:pt x="41883" y="1381"/>
                    <a:pt x="42620" y="519"/>
                    <a:pt x="43571" y="0"/>
                  </a:cubicBezTo>
                  <a:lnTo>
                    <a:pt x="43571" y="0"/>
                  </a:lnTo>
                  <a:lnTo>
                    <a:pt x="3450" y="31996"/>
                  </a:lnTo>
                  <a:lnTo>
                    <a:pt x="1037" y="34027"/>
                  </a:lnTo>
                  <a:close/>
                </a:path>
              </a:pathLst>
            </a:custGeom>
            <a:solidFill>
              <a:srgbClr val="000000"/>
            </a:solidFill>
            <a:ln w="12690" cap="flat">
              <a:noFill/>
              <a:prstDash val="solid"/>
              <a:miter/>
            </a:ln>
          </p:spPr>
          <p:txBody>
            <a:bodyPr rtlCol="0" anchor="ctr"/>
            <a:lstStyle/>
            <a:p>
              <a:endParaRPr lang="en-US"/>
            </a:p>
          </p:txBody>
        </p:sp>
        <p:sp>
          <p:nvSpPr>
            <p:cNvPr id="748" name="Freeform: Shape 747">
              <a:extLst>
                <a:ext uri="{FF2B5EF4-FFF2-40B4-BE49-F238E27FC236}">
                  <a16:creationId xmlns:a16="http://schemas.microsoft.com/office/drawing/2014/main" id="{91AA115D-BBAD-43CE-9282-EC405AABB10F}"/>
                </a:ext>
              </a:extLst>
            </p:cNvPr>
            <p:cNvSpPr/>
            <p:nvPr/>
          </p:nvSpPr>
          <p:spPr>
            <a:xfrm>
              <a:off x="10831915" y="1379294"/>
              <a:ext cx="10791" cy="171987"/>
            </a:xfrm>
            <a:custGeom>
              <a:avLst/>
              <a:gdLst>
                <a:gd name="connsiteX0" fmla="*/ 0 w 10791"/>
                <a:gd name="connsiteY0" fmla="*/ 3121 h 171987"/>
                <a:gd name="connsiteX1" fmla="*/ 0 w 10791"/>
                <a:gd name="connsiteY1" fmla="*/ 171988 h 171987"/>
                <a:gd name="connsiteX2" fmla="*/ 6221 w 10791"/>
                <a:gd name="connsiteY2" fmla="*/ 167417 h 171987"/>
                <a:gd name="connsiteX3" fmla="*/ 10792 w 10791"/>
                <a:gd name="connsiteY3" fmla="*/ 171988 h 171987"/>
                <a:gd name="connsiteX4" fmla="*/ 10792 w 10791"/>
                <a:gd name="connsiteY4" fmla="*/ 3121 h 171987"/>
                <a:gd name="connsiteX5" fmla="*/ 10792 w 10791"/>
                <a:gd name="connsiteY5" fmla="*/ 3121 h 171987"/>
                <a:gd name="connsiteX6" fmla="*/ 10792 w 10791"/>
                <a:gd name="connsiteY6" fmla="*/ 2106 h 171987"/>
                <a:gd name="connsiteX7" fmla="*/ 10792 w 10791"/>
                <a:gd name="connsiteY7" fmla="*/ 2106 h 171987"/>
                <a:gd name="connsiteX8" fmla="*/ 10792 w 10791"/>
                <a:gd name="connsiteY8" fmla="*/ 2106 h 171987"/>
                <a:gd name="connsiteX9" fmla="*/ 10792 w 10791"/>
                <a:gd name="connsiteY9" fmla="*/ 1344 h 171987"/>
                <a:gd name="connsiteX10" fmla="*/ 10792 w 10791"/>
                <a:gd name="connsiteY10" fmla="*/ 1344 h 171987"/>
                <a:gd name="connsiteX11" fmla="*/ 10792 w 10791"/>
                <a:gd name="connsiteY11" fmla="*/ 1344 h 171987"/>
                <a:gd name="connsiteX12" fmla="*/ 10030 w 10791"/>
                <a:gd name="connsiteY12" fmla="*/ 1344 h 171987"/>
                <a:gd name="connsiteX13" fmla="*/ 10030 w 10791"/>
                <a:gd name="connsiteY13" fmla="*/ 1344 h 171987"/>
                <a:gd name="connsiteX14" fmla="*/ 10030 w 10791"/>
                <a:gd name="connsiteY14" fmla="*/ 1344 h 171987"/>
                <a:gd name="connsiteX15" fmla="*/ 8126 w 10791"/>
                <a:gd name="connsiteY15" fmla="*/ 1344 h 171987"/>
                <a:gd name="connsiteX16" fmla="*/ 952 w 10791"/>
                <a:gd name="connsiteY16" fmla="*/ 1636 h 171987"/>
                <a:gd name="connsiteX17" fmla="*/ 0 w 10791"/>
                <a:gd name="connsiteY17" fmla="*/ 3121 h 17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91" h="171987">
                  <a:moveTo>
                    <a:pt x="0" y="3121"/>
                  </a:moveTo>
                  <a:lnTo>
                    <a:pt x="0" y="171988"/>
                  </a:lnTo>
                  <a:cubicBezTo>
                    <a:pt x="457" y="169004"/>
                    <a:pt x="3250" y="166960"/>
                    <a:pt x="6221" y="167417"/>
                  </a:cubicBezTo>
                  <a:cubicBezTo>
                    <a:pt x="8583" y="167785"/>
                    <a:pt x="10424" y="169626"/>
                    <a:pt x="10792" y="171988"/>
                  </a:cubicBezTo>
                  <a:lnTo>
                    <a:pt x="10792" y="3121"/>
                  </a:lnTo>
                  <a:lnTo>
                    <a:pt x="10792" y="3121"/>
                  </a:lnTo>
                  <a:cubicBezTo>
                    <a:pt x="10792" y="3121"/>
                    <a:pt x="10792" y="2360"/>
                    <a:pt x="10792" y="2106"/>
                  </a:cubicBezTo>
                  <a:lnTo>
                    <a:pt x="10792" y="2106"/>
                  </a:lnTo>
                  <a:cubicBezTo>
                    <a:pt x="10792" y="2106"/>
                    <a:pt x="10792" y="2106"/>
                    <a:pt x="10792" y="2106"/>
                  </a:cubicBezTo>
                  <a:lnTo>
                    <a:pt x="10792" y="1344"/>
                  </a:lnTo>
                  <a:lnTo>
                    <a:pt x="10792" y="1344"/>
                  </a:lnTo>
                  <a:lnTo>
                    <a:pt x="10792" y="1344"/>
                  </a:lnTo>
                  <a:lnTo>
                    <a:pt x="10030" y="1344"/>
                  </a:lnTo>
                  <a:lnTo>
                    <a:pt x="10030" y="1344"/>
                  </a:lnTo>
                  <a:lnTo>
                    <a:pt x="10030" y="1344"/>
                  </a:lnTo>
                  <a:lnTo>
                    <a:pt x="8126" y="1344"/>
                  </a:lnTo>
                  <a:cubicBezTo>
                    <a:pt x="6056" y="-561"/>
                    <a:pt x="2844" y="-421"/>
                    <a:pt x="952" y="1636"/>
                  </a:cubicBezTo>
                  <a:cubicBezTo>
                    <a:pt x="546" y="2080"/>
                    <a:pt x="229" y="2575"/>
                    <a:pt x="0" y="3121"/>
                  </a:cubicBezTo>
                  <a:close/>
                </a:path>
              </a:pathLst>
            </a:custGeom>
            <a:solidFill>
              <a:srgbClr val="000000"/>
            </a:solidFill>
            <a:ln w="12690" cap="flat">
              <a:noFill/>
              <a:prstDash val="solid"/>
              <a:miter/>
            </a:ln>
          </p:spPr>
          <p:txBody>
            <a:bodyPr rtlCol="0" anchor="ctr"/>
            <a:lstStyle/>
            <a:p>
              <a:endParaRPr lang="en-US"/>
            </a:p>
          </p:txBody>
        </p:sp>
        <p:sp>
          <p:nvSpPr>
            <p:cNvPr id="749" name="Freeform: Shape 748">
              <a:extLst>
                <a:ext uri="{FF2B5EF4-FFF2-40B4-BE49-F238E27FC236}">
                  <a16:creationId xmlns:a16="http://schemas.microsoft.com/office/drawing/2014/main" id="{80A2DB1A-9346-4AB4-B77E-326C64DE2EA6}"/>
                </a:ext>
              </a:extLst>
            </p:cNvPr>
            <p:cNvSpPr/>
            <p:nvPr/>
          </p:nvSpPr>
          <p:spPr>
            <a:xfrm>
              <a:off x="10831915" y="1546647"/>
              <a:ext cx="10791" cy="113197"/>
            </a:xfrm>
            <a:custGeom>
              <a:avLst/>
              <a:gdLst>
                <a:gd name="connsiteX0" fmla="*/ 5332 w 10791"/>
                <a:gd name="connsiteY0" fmla="*/ 113191 h 113197"/>
                <a:gd name="connsiteX1" fmla="*/ 10792 w 10791"/>
                <a:gd name="connsiteY1" fmla="*/ 108253 h 113197"/>
                <a:gd name="connsiteX2" fmla="*/ 10792 w 10791"/>
                <a:gd name="connsiteY2" fmla="*/ 108240 h 113197"/>
                <a:gd name="connsiteX3" fmla="*/ 10792 w 10791"/>
                <a:gd name="connsiteY3" fmla="*/ 4635 h 113197"/>
                <a:gd name="connsiteX4" fmla="*/ 4571 w 10791"/>
                <a:gd name="connsiteY4" fmla="*/ 64 h 113197"/>
                <a:gd name="connsiteX5" fmla="*/ 0 w 10791"/>
                <a:gd name="connsiteY5" fmla="*/ 4635 h 113197"/>
                <a:gd name="connsiteX6" fmla="*/ 0 w 10791"/>
                <a:gd name="connsiteY6" fmla="*/ 108240 h 113197"/>
                <a:gd name="connsiteX7" fmla="*/ 5332 w 10791"/>
                <a:gd name="connsiteY7" fmla="*/ 113191 h 113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1" h="113197">
                  <a:moveTo>
                    <a:pt x="5332" y="113191"/>
                  </a:moveTo>
                  <a:cubicBezTo>
                    <a:pt x="8202" y="113331"/>
                    <a:pt x="10653" y="111122"/>
                    <a:pt x="10792" y="108253"/>
                  </a:cubicBezTo>
                  <a:cubicBezTo>
                    <a:pt x="10792" y="108253"/>
                    <a:pt x="10792" y="108240"/>
                    <a:pt x="10792" y="108240"/>
                  </a:cubicBezTo>
                  <a:lnTo>
                    <a:pt x="10792" y="4635"/>
                  </a:lnTo>
                  <a:cubicBezTo>
                    <a:pt x="10336" y="1651"/>
                    <a:pt x="7542" y="-393"/>
                    <a:pt x="4571" y="64"/>
                  </a:cubicBezTo>
                  <a:cubicBezTo>
                    <a:pt x="2209" y="432"/>
                    <a:pt x="368" y="2273"/>
                    <a:pt x="0" y="4635"/>
                  </a:cubicBezTo>
                  <a:lnTo>
                    <a:pt x="0" y="108240"/>
                  </a:lnTo>
                  <a:cubicBezTo>
                    <a:pt x="139" y="111071"/>
                    <a:pt x="2502" y="113268"/>
                    <a:pt x="5332" y="113191"/>
                  </a:cubicBezTo>
                  <a:close/>
                </a:path>
              </a:pathLst>
            </a:custGeom>
            <a:solidFill>
              <a:srgbClr val="000000"/>
            </a:solidFill>
            <a:ln w="12690" cap="flat">
              <a:noFill/>
              <a:prstDash val="solid"/>
              <a:miter/>
            </a:ln>
          </p:spPr>
          <p:txBody>
            <a:bodyPr rtlCol="0" anchor="ctr"/>
            <a:lstStyle/>
            <a:p>
              <a:endParaRPr lang="en-US"/>
            </a:p>
          </p:txBody>
        </p:sp>
        <p:sp>
          <p:nvSpPr>
            <p:cNvPr id="750" name="Freeform: Shape 749">
              <a:extLst>
                <a:ext uri="{FF2B5EF4-FFF2-40B4-BE49-F238E27FC236}">
                  <a16:creationId xmlns:a16="http://schemas.microsoft.com/office/drawing/2014/main" id="{CE13DECB-F669-4D36-8E4E-369B3B8551BD}"/>
                </a:ext>
              </a:extLst>
            </p:cNvPr>
            <p:cNvSpPr/>
            <p:nvPr/>
          </p:nvSpPr>
          <p:spPr>
            <a:xfrm>
              <a:off x="882304" y="774405"/>
              <a:ext cx="1748866" cy="547025"/>
            </a:xfrm>
            <a:custGeom>
              <a:avLst/>
              <a:gdLst>
                <a:gd name="connsiteX0" fmla="*/ 1741749 w 1748866"/>
                <a:gd name="connsiteY0" fmla="*/ 546939 h 547025"/>
                <a:gd name="connsiteX1" fmla="*/ 1743526 w 1748866"/>
                <a:gd name="connsiteY1" fmla="*/ 546939 h 547025"/>
                <a:gd name="connsiteX2" fmla="*/ 1748605 w 1748866"/>
                <a:gd name="connsiteY2" fmla="*/ 543638 h 547025"/>
                <a:gd name="connsiteX3" fmla="*/ 1745609 w 1748866"/>
                <a:gd name="connsiteY3" fmla="*/ 537506 h 547025"/>
                <a:gd name="connsiteX4" fmla="*/ 1745304 w 1748866"/>
                <a:gd name="connsiteY4" fmla="*/ 537417 h 547025"/>
                <a:gd name="connsiteX5" fmla="*/ 1745304 w 1748866"/>
                <a:gd name="connsiteY5" fmla="*/ 537417 h 547025"/>
                <a:gd name="connsiteX6" fmla="*/ 10790 w 1748866"/>
                <a:gd name="connsiteY6" fmla="*/ 1489 h 547025"/>
                <a:gd name="connsiteX7" fmla="*/ 7108 w 1748866"/>
                <a:gd name="connsiteY7" fmla="*/ 92 h 547025"/>
                <a:gd name="connsiteX8" fmla="*/ 5585 w 1748866"/>
                <a:gd name="connsiteY8" fmla="*/ 92 h 547025"/>
                <a:gd name="connsiteX9" fmla="*/ 252 w 1748866"/>
                <a:gd name="connsiteY9" fmla="*/ 3393 h 547025"/>
                <a:gd name="connsiteX10" fmla="*/ 3292 w 1748866"/>
                <a:gd name="connsiteY10" fmla="*/ 9502 h 547025"/>
                <a:gd name="connsiteX11" fmla="*/ 3680 w 1748866"/>
                <a:gd name="connsiteY11" fmla="*/ 9615 h 547025"/>
                <a:gd name="connsiteX12" fmla="*/ 3680 w 1748866"/>
                <a:gd name="connsiteY12" fmla="*/ 9615 h 547025"/>
                <a:gd name="connsiteX13" fmla="*/ 1741495 w 1748866"/>
                <a:gd name="connsiteY13" fmla="*/ 546939 h 54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8866" h="547025">
                  <a:moveTo>
                    <a:pt x="1741749" y="546939"/>
                  </a:moveTo>
                  <a:cubicBezTo>
                    <a:pt x="1742333" y="547054"/>
                    <a:pt x="1742942" y="547054"/>
                    <a:pt x="1743526" y="546939"/>
                  </a:cubicBezTo>
                  <a:cubicBezTo>
                    <a:pt x="1745735" y="547003"/>
                    <a:pt x="1747767" y="545683"/>
                    <a:pt x="1748605" y="543638"/>
                  </a:cubicBezTo>
                  <a:cubicBezTo>
                    <a:pt x="1749468" y="541112"/>
                    <a:pt x="1748122" y="538369"/>
                    <a:pt x="1745609" y="537506"/>
                  </a:cubicBezTo>
                  <a:cubicBezTo>
                    <a:pt x="1745507" y="537480"/>
                    <a:pt x="1745405" y="537442"/>
                    <a:pt x="1745304" y="537417"/>
                  </a:cubicBezTo>
                  <a:lnTo>
                    <a:pt x="1745304" y="537417"/>
                  </a:lnTo>
                  <a:lnTo>
                    <a:pt x="10790" y="1489"/>
                  </a:lnTo>
                  <a:lnTo>
                    <a:pt x="7108" y="92"/>
                  </a:lnTo>
                  <a:cubicBezTo>
                    <a:pt x="6608" y="-31"/>
                    <a:pt x="6085" y="-31"/>
                    <a:pt x="5585" y="92"/>
                  </a:cubicBezTo>
                  <a:cubicBezTo>
                    <a:pt x="3279" y="-79"/>
                    <a:pt x="1126" y="1254"/>
                    <a:pt x="252" y="3393"/>
                  </a:cubicBezTo>
                  <a:cubicBezTo>
                    <a:pt x="-596" y="5920"/>
                    <a:pt x="765" y="8655"/>
                    <a:pt x="3292" y="9502"/>
                  </a:cubicBezTo>
                  <a:cubicBezTo>
                    <a:pt x="3420" y="9545"/>
                    <a:pt x="3549" y="9583"/>
                    <a:pt x="3680" y="9615"/>
                  </a:cubicBezTo>
                  <a:lnTo>
                    <a:pt x="3680" y="9615"/>
                  </a:lnTo>
                  <a:lnTo>
                    <a:pt x="1741495" y="546939"/>
                  </a:lnTo>
                  <a:close/>
                </a:path>
              </a:pathLst>
            </a:custGeom>
            <a:solidFill>
              <a:srgbClr val="000000"/>
            </a:solidFill>
            <a:ln w="12690" cap="flat">
              <a:noFill/>
              <a:prstDash val="solid"/>
              <a:miter/>
            </a:ln>
          </p:spPr>
          <p:txBody>
            <a:bodyPr rtlCol="0" anchor="ctr"/>
            <a:lstStyle/>
            <a:p>
              <a:endParaRPr lang="en-US"/>
            </a:p>
          </p:txBody>
        </p:sp>
        <p:sp>
          <p:nvSpPr>
            <p:cNvPr id="751" name="Freeform: Shape 750">
              <a:extLst>
                <a:ext uri="{FF2B5EF4-FFF2-40B4-BE49-F238E27FC236}">
                  <a16:creationId xmlns:a16="http://schemas.microsoft.com/office/drawing/2014/main" id="{FD054846-01C8-4BBA-B082-7E9B2A75BB9F}"/>
                </a:ext>
              </a:extLst>
            </p:cNvPr>
            <p:cNvSpPr/>
            <p:nvPr/>
          </p:nvSpPr>
          <p:spPr>
            <a:xfrm>
              <a:off x="4121643" y="2111587"/>
              <a:ext cx="10792" cy="108112"/>
            </a:xfrm>
            <a:custGeom>
              <a:avLst/>
              <a:gdLst>
                <a:gd name="connsiteX0" fmla="*/ 10792 w 10792"/>
                <a:gd name="connsiteY0" fmla="*/ 0 h 108112"/>
                <a:gd name="connsiteX1" fmla="*/ 4571 w 10792"/>
                <a:gd name="connsiteY1" fmla="*/ 4571 h 108112"/>
                <a:gd name="connsiteX2" fmla="*/ 0 w 10792"/>
                <a:gd name="connsiteY2" fmla="*/ 0 h 108112"/>
                <a:gd name="connsiteX3" fmla="*/ 0 w 10792"/>
                <a:gd name="connsiteY3" fmla="*/ 103478 h 108112"/>
                <a:gd name="connsiteX4" fmla="*/ 6221 w 10792"/>
                <a:gd name="connsiteY4" fmla="*/ 108049 h 108112"/>
                <a:gd name="connsiteX5" fmla="*/ 10792 w 10792"/>
                <a:gd name="connsiteY5" fmla="*/ 103478 h 108112"/>
                <a:gd name="connsiteX6" fmla="*/ 10792 w 10792"/>
                <a:gd name="connsiteY6" fmla="*/ 0 h 1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2" h="108112">
                  <a:moveTo>
                    <a:pt x="10792" y="0"/>
                  </a:moveTo>
                  <a:cubicBezTo>
                    <a:pt x="10335" y="2984"/>
                    <a:pt x="7542" y="5028"/>
                    <a:pt x="4571" y="4571"/>
                  </a:cubicBezTo>
                  <a:cubicBezTo>
                    <a:pt x="2209" y="4203"/>
                    <a:pt x="368" y="2362"/>
                    <a:pt x="0" y="0"/>
                  </a:cubicBezTo>
                  <a:lnTo>
                    <a:pt x="0" y="103478"/>
                  </a:lnTo>
                  <a:cubicBezTo>
                    <a:pt x="457" y="106462"/>
                    <a:pt x="3251" y="108506"/>
                    <a:pt x="6221" y="108049"/>
                  </a:cubicBezTo>
                  <a:cubicBezTo>
                    <a:pt x="8583" y="107681"/>
                    <a:pt x="10424" y="105840"/>
                    <a:pt x="10792" y="103478"/>
                  </a:cubicBezTo>
                  <a:lnTo>
                    <a:pt x="10792" y="0"/>
                  </a:lnTo>
                  <a:close/>
                </a:path>
              </a:pathLst>
            </a:custGeom>
            <a:solidFill>
              <a:srgbClr val="000000"/>
            </a:solidFill>
            <a:ln w="12690" cap="flat">
              <a:noFill/>
              <a:prstDash val="solid"/>
              <a:miter/>
            </a:ln>
          </p:spPr>
          <p:txBody>
            <a:bodyPr rtlCol="0" anchor="ctr"/>
            <a:lstStyle/>
            <a:p>
              <a:endParaRPr lang="en-US"/>
            </a:p>
          </p:txBody>
        </p:sp>
        <p:sp>
          <p:nvSpPr>
            <p:cNvPr id="752" name="Freeform: Shape 751">
              <a:extLst>
                <a:ext uri="{FF2B5EF4-FFF2-40B4-BE49-F238E27FC236}">
                  <a16:creationId xmlns:a16="http://schemas.microsoft.com/office/drawing/2014/main" id="{C7847FD4-6269-47ED-89AF-C458AC0E5E88}"/>
                </a:ext>
              </a:extLst>
            </p:cNvPr>
            <p:cNvSpPr/>
            <p:nvPr/>
          </p:nvSpPr>
          <p:spPr>
            <a:xfrm>
              <a:off x="8655803" y="3822081"/>
              <a:ext cx="9272" cy="47491"/>
            </a:xfrm>
            <a:custGeom>
              <a:avLst/>
              <a:gdLst>
                <a:gd name="connsiteX0" fmla="*/ 4828 w 9272"/>
                <a:gd name="connsiteY0" fmla="*/ 47492 h 47491"/>
                <a:gd name="connsiteX1" fmla="*/ 4828 w 9272"/>
                <a:gd name="connsiteY1" fmla="*/ 47492 h 47491"/>
                <a:gd name="connsiteX2" fmla="*/ 7621 w 9272"/>
                <a:gd name="connsiteY2" fmla="*/ 46730 h 47491"/>
                <a:gd name="connsiteX3" fmla="*/ 7621 w 9272"/>
                <a:gd name="connsiteY3" fmla="*/ 46730 h 47491"/>
                <a:gd name="connsiteX4" fmla="*/ 9272 w 9272"/>
                <a:gd name="connsiteY4" fmla="*/ 44572 h 47491"/>
                <a:gd name="connsiteX5" fmla="*/ 9272 w 9272"/>
                <a:gd name="connsiteY5" fmla="*/ 43810 h 47491"/>
                <a:gd name="connsiteX6" fmla="*/ 9272 w 9272"/>
                <a:gd name="connsiteY6" fmla="*/ 42921 h 47491"/>
                <a:gd name="connsiteX7" fmla="*/ 9272 w 9272"/>
                <a:gd name="connsiteY7" fmla="*/ 4831 h 47491"/>
                <a:gd name="connsiteX8" fmla="*/ 3952 w 9272"/>
                <a:gd name="connsiteY8" fmla="*/ 6 h 47491"/>
                <a:gd name="connsiteX9" fmla="*/ 3939 w 9272"/>
                <a:gd name="connsiteY9" fmla="*/ 6 h 47491"/>
                <a:gd name="connsiteX10" fmla="*/ 130 w 9272"/>
                <a:gd name="connsiteY10" fmla="*/ 1276 h 47491"/>
                <a:gd name="connsiteX11" fmla="*/ 130 w 9272"/>
                <a:gd name="connsiteY11" fmla="*/ 1276 h 47491"/>
                <a:gd name="connsiteX12" fmla="*/ 130 w 9272"/>
                <a:gd name="connsiteY12" fmla="*/ 2038 h 47491"/>
                <a:gd name="connsiteX13" fmla="*/ 130 w 9272"/>
                <a:gd name="connsiteY13" fmla="*/ 2038 h 47491"/>
                <a:gd name="connsiteX14" fmla="*/ 130 w 9272"/>
                <a:gd name="connsiteY14" fmla="*/ 2038 h 47491"/>
                <a:gd name="connsiteX15" fmla="*/ 130 w 9272"/>
                <a:gd name="connsiteY15" fmla="*/ 2038 h 47491"/>
                <a:gd name="connsiteX16" fmla="*/ 130 w 9272"/>
                <a:gd name="connsiteY16" fmla="*/ 3053 h 47491"/>
                <a:gd name="connsiteX17" fmla="*/ 130 w 9272"/>
                <a:gd name="connsiteY17" fmla="*/ 3053 h 47491"/>
                <a:gd name="connsiteX18" fmla="*/ 130 w 9272"/>
                <a:gd name="connsiteY18" fmla="*/ 41144 h 47491"/>
                <a:gd name="connsiteX19" fmla="*/ 4053 w 9272"/>
                <a:gd name="connsiteY19" fmla="*/ 47378 h 47491"/>
                <a:gd name="connsiteX20" fmla="*/ 4828 w 9272"/>
                <a:gd name="connsiteY20" fmla="*/ 47492 h 4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72" h="47491">
                  <a:moveTo>
                    <a:pt x="4828" y="47492"/>
                  </a:moveTo>
                  <a:lnTo>
                    <a:pt x="4828" y="47492"/>
                  </a:lnTo>
                  <a:cubicBezTo>
                    <a:pt x="5806" y="47441"/>
                    <a:pt x="6758" y="47175"/>
                    <a:pt x="7621" y="46730"/>
                  </a:cubicBezTo>
                  <a:lnTo>
                    <a:pt x="7621" y="46730"/>
                  </a:lnTo>
                  <a:cubicBezTo>
                    <a:pt x="8370" y="46184"/>
                    <a:pt x="8942" y="45435"/>
                    <a:pt x="9272" y="44572"/>
                  </a:cubicBezTo>
                  <a:lnTo>
                    <a:pt x="9272" y="43810"/>
                  </a:lnTo>
                  <a:cubicBezTo>
                    <a:pt x="9272" y="43810"/>
                    <a:pt x="9272" y="43810"/>
                    <a:pt x="9272" y="42921"/>
                  </a:cubicBezTo>
                  <a:lnTo>
                    <a:pt x="9272" y="4831"/>
                  </a:lnTo>
                  <a:cubicBezTo>
                    <a:pt x="9132" y="2025"/>
                    <a:pt x="6758" y="-133"/>
                    <a:pt x="3952" y="6"/>
                  </a:cubicBezTo>
                  <a:cubicBezTo>
                    <a:pt x="3952" y="6"/>
                    <a:pt x="3939" y="6"/>
                    <a:pt x="3939" y="6"/>
                  </a:cubicBezTo>
                  <a:cubicBezTo>
                    <a:pt x="2568" y="-6"/>
                    <a:pt x="1222" y="438"/>
                    <a:pt x="130" y="1276"/>
                  </a:cubicBezTo>
                  <a:lnTo>
                    <a:pt x="130" y="1276"/>
                  </a:lnTo>
                  <a:lnTo>
                    <a:pt x="130" y="2038"/>
                  </a:lnTo>
                  <a:lnTo>
                    <a:pt x="130" y="2038"/>
                  </a:lnTo>
                  <a:lnTo>
                    <a:pt x="130" y="2038"/>
                  </a:lnTo>
                  <a:lnTo>
                    <a:pt x="130" y="2038"/>
                  </a:lnTo>
                  <a:cubicBezTo>
                    <a:pt x="80" y="2368"/>
                    <a:pt x="80" y="2723"/>
                    <a:pt x="130" y="3053"/>
                  </a:cubicBezTo>
                  <a:lnTo>
                    <a:pt x="130" y="3053"/>
                  </a:lnTo>
                  <a:lnTo>
                    <a:pt x="130" y="41144"/>
                  </a:lnTo>
                  <a:cubicBezTo>
                    <a:pt x="-505" y="43950"/>
                    <a:pt x="1247" y="46743"/>
                    <a:pt x="4053" y="47378"/>
                  </a:cubicBezTo>
                  <a:cubicBezTo>
                    <a:pt x="4307" y="47429"/>
                    <a:pt x="4561" y="47467"/>
                    <a:pt x="4828" y="47492"/>
                  </a:cubicBezTo>
                  <a:close/>
                </a:path>
              </a:pathLst>
            </a:custGeom>
            <a:solidFill>
              <a:srgbClr val="000000"/>
            </a:solidFill>
            <a:ln w="12690" cap="flat">
              <a:noFill/>
              <a:prstDash val="solid"/>
              <a:miter/>
            </a:ln>
          </p:spPr>
          <p:txBody>
            <a:bodyPr rtlCol="0" anchor="ctr"/>
            <a:lstStyle/>
            <a:p>
              <a:endParaRPr lang="en-US"/>
            </a:p>
          </p:txBody>
        </p:sp>
        <p:sp>
          <p:nvSpPr>
            <p:cNvPr id="753" name="Freeform: Shape 752">
              <a:extLst>
                <a:ext uri="{FF2B5EF4-FFF2-40B4-BE49-F238E27FC236}">
                  <a16:creationId xmlns:a16="http://schemas.microsoft.com/office/drawing/2014/main" id="{64B7AEA1-440F-4EA8-8099-581A06416A77}"/>
                </a:ext>
              </a:extLst>
            </p:cNvPr>
            <p:cNvSpPr/>
            <p:nvPr/>
          </p:nvSpPr>
          <p:spPr>
            <a:xfrm>
              <a:off x="7570354" y="3158812"/>
              <a:ext cx="191864" cy="28827"/>
            </a:xfrm>
            <a:custGeom>
              <a:avLst/>
              <a:gdLst>
                <a:gd name="connsiteX0" fmla="*/ 191849 w 191864"/>
                <a:gd name="connsiteY0" fmla="*/ 23870 h 28827"/>
                <a:gd name="connsiteX1" fmla="*/ 187177 w 191864"/>
                <a:gd name="connsiteY1" fmla="*/ 18410 h 28827"/>
                <a:gd name="connsiteX2" fmla="*/ 187151 w 191864"/>
                <a:gd name="connsiteY2" fmla="*/ 18410 h 28827"/>
                <a:gd name="connsiteX3" fmla="*/ 184739 w 191864"/>
                <a:gd name="connsiteY3" fmla="*/ 18410 h 28827"/>
                <a:gd name="connsiteX4" fmla="*/ 5460 w 191864"/>
                <a:gd name="connsiteY4" fmla="*/ 0 h 28827"/>
                <a:gd name="connsiteX5" fmla="*/ 635 w 191864"/>
                <a:gd name="connsiteY5" fmla="*/ 0 h 28827"/>
                <a:gd name="connsiteX6" fmla="*/ 5460 w 191864"/>
                <a:gd name="connsiteY6" fmla="*/ 5320 h 28827"/>
                <a:gd name="connsiteX7" fmla="*/ 5460 w 191864"/>
                <a:gd name="connsiteY7" fmla="*/ 5333 h 28827"/>
                <a:gd name="connsiteX8" fmla="*/ 0 w 191864"/>
                <a:gd name="connsiteY8" fmla="*/ 9777 h 28827"/>
                <a:gd name="connsiteX9" fmla="*/ 0 w 191864"/>
                <a:gd name="connsiteY9" fmla="*/ 9777 h 28827"/>
                <a:gd name="connsiteX10" fmla="*/ 186389 w 191864"/>
                <a:gd name="connsiteY10" fmla="*/ 28822 h 28827"/>
                <a:gd name="connsiteX11" fmla="*/ 186389 w 191864"/>
                <a:gd name="connsiteY11" fmla="*/ 28822 h 28827"/>
                <a:gd name="connsiteX12" fmla="*/ 191849 w 191864"/>
                <a:gd name="connsiteY12" fmla="*/ 23883 h 28827"/>
                <a:gd name="connsiteX13" fmla="*/ 191849 w 191864"/>
                <a:gd name="connsiteY13" fmla="*/ 23870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864" h="28827">
                  <a:moveTo>
                    <a:pt x="191849" y="23870"/>
                  </a:moveTo>
                  <a:cubicBezTo>
                    <a:pt x="192065" y="21077"/>
                    <a:pt x="189970" y="18626"/>
                    <a:pt x="187177" y="18410"/>
                  </a:cubicBezTo>
                  <a:cubicBezTo>
                    <a:pt x="187177" y="18410"/>
                    <a:pt x="187164" y="18410"/>
                    <a:pt x="187151" y="18410"/>
                  </a:cubicBezTo>
                  <a:lnTo>
                    <a:pt x="184739" y="18410"/>
                  </a:lnTo>
                  <a:lnTo>
                    <a:pt x="5460" y="0"/>
                  </a:lnTo>
                  <a:lnTo>
                    <a:pt x="635" y="0"/>
                  </a:lnTo>
                  <a:cubicBezTo>
                    <a:pt x="3441" y="140"/>
                    <a:pt x="5600" y="2514"/>
                    <a:pt x="5460" y="5320"/>
                  </a:cubicBezTo>
                  <a:cubicBezTo>
                    <a:pt x="5460" y="5320"/>
                    <a:pt x="5460" y="5333"/>
                    <a:pt x="5460" y="5333"/>
                  </a:cubicBezTo>
                  <a:cubicBezTo>
                    <a:pt x="5015" y="7974"/>
                    <a:pt x="2679" y="9878"/>
                    <a:pt x="0" y="9777"/>
                  </a:cubicBezTo>
                  <a:lnTo>
                    <a:pt x="0" y="9777"/>
                  </a:lnTo>
                  <a:lnTo>
                    <a:pt x="186389" y="28822"/>
                  </a:lnTo>
                  <a:lnTo>
                    <a:pt x="186389" y="28822"/>
                  </a:lnTo>
                  <a:cubicBezTo>
                    <a:pt x="189259" y="28961"/>
                    <a:pt x="191709" y="26752"/>
                    <a:pt x="191849" y="23883"/>
                  </a:cubicBezTo>
                  <a:cubicBezTo>
                    <a:pt x="191849" y="23883"/>
                    <a:pt x="191849" y="23870"/>
                    <a:pt x="191849" y="23870"/>
                  </a:cubicBezTo>
                  <a:close/>
                </a:path>
              </a:pathLst>
            </a:custGeom>
            <a:solidFill>
              <a:srgbClr val="000000"/>
            </a:solidFill>
            <a:ln w="12690" cap="flat">
              <a:noFill/>
              <a:prstDash val="solid"/>
              <a:miter/>
            </a:ln>
          </p:spPr>
          <p:txBody>
            <a:bodyPr rtlCol="0" anchor="ctr"/>
            <a:lstStyle/>
            <a:p>
              <a:endParaRPr lang="en-US"/>
            </a:p>
          </p:txBody>
        </p:sp>
        <p:sp>
          <p:nvSpPr>
            <p:cNvPr id="754" name="Freeform: Shape 753">
              <a:extLst>
                <a:ext uri="{FF2B5EF4-FFF2-40B4-BE49-F238E27FC236}">
                  <a16:creationId xmlns:a16="http://schemas.microsoft.com/office/drawing/2014/main" id="{0B0085C4-6E0D-4395-8AEA-621DC4AB11BD}"/>
                </a:ext>
              </a:extLst>
            </p:cNvPr>
            <p:cNvSpPr/>
            <p:nvPr/>
          </p:nvSpPr>
          <p:spPr>
            <a:xfrm>
              <a:off x="11297888" y="3264956"/>
              <a:ext cx="9989" cy="396524"/>
            </a:xfrm>
            <a:custGeom>
              <a:avLst/>
              <a:gdLst>
                <a:gd name="connsiteX0" fmla="*/ 5460 w 9989"/>
                <a:gd name="connsiteY0" fmla="*/ 4825 h 396524"/>
                <a:gd name="connsiteX1" fmla="*/ 0 w 9989"/>
                <a:gd name="connsiteY1" fmla="*/ 0 h 396524"/>
                <a:gd name="connsiteX2" fmla="*/ 0 w 9989"/>
                <a:gd name="connsiteY2" fmla="*/ 391693 h 396524"/>
                <a:gd name="connsiteX3" fmla="*/ 5460 w 9989"/>
                <a:gd name="connsiteY3" fmla="*/ 396518 h 396524"/>
                <a:gd name="connsiteX4" fmla="*/ 9141 w 9989"/>
                <a:gd name="connsiteY4" fmla="*/ 395248 h 396524"/>
                <a:gd name="connsiteX5" fmla="*/ 9903 w 9989"/>
                <a:gd name="connsiteY5" fmla="*/ 394233 h 396524"/>
                <a:gd name="connsiteX6" fmla="*/ 9903 w 9989"/>
                <a:gd name="connsiteY6" fmla="*/ 393471 h 396524"/>
                <a:gd name="connsiteX7" fmla="*/ 9903 w 9989"/>
                <a:gd name="connsiteY7" fmla="*/ 392455 h 396524"/>
                <a:gd name="connsiteX8" fmla="*/ 9903 w 9989"/>
                <a:gd name="connsiteY8" fmla="*/ 392455 h 396524"/>
                <a:gd name="connsiteX9" fmla="*/ 9903 w 9989"/>
                <a:gd name="connsiteY9" fmla="*/ 0 h 396524"/>
                <a:gd name="connsiteX10" fmla="*/ 5460 w 9989"/>
                <a:gd name="connsiteY10" fmla="*/ 4825 h 39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89" h="396524">
                  <a:moveTo>
                    <a:pt x="5460" y="4825"/>
                  </a:moveTo>
                  <a:cubicBezTo>
                    <a:pt x="2628" y="4964"/>
                    <a:pt x="203" y="2831"/>
                    <a:pt x="0" y="0"/>
                  </a:cubicBezTo>
                  <a:lnTo>
                    <a:pt x="0" y="391693"/>
                  </a:lnTo>
                  <a:cubicBezTo>
                    <a:pt x="203" y="394525"/>
                    <a:pt x="2628" y="396658"/>
                    <a:pt x="5460" y="396518"/>
                  </a:cubicBezTo>
                  <a:cubicBezTo>
                    <a:pt x="6792" y="396505"/>
                    <a:pt x="8087" y="396061"/>
                    <a:pt x="9141" y="395248"/>
                  </a:cubicBezTo>
                  <a:lnTo>
                    <a:pt x="9903" y="394233"/>
                  </a:lnTo>
                  <a:cubicBezTo>
                    <a:pt x="10018" y="393992"/>
                    <a:pt x="10018" y="393712"/>
                    <a:pt x="9903" y="393471"/>
                  </a:cubicBezTo>
                  <a:cubicBezTo>
                    <a:pt x="9942" y="393128"/>
                    <a:pt x="9942" y="392798"/>
                    <a:pt x="9903" y="392455"/>
                  </a:cubicBezTo>
                  <a:lnTo>
                    <a:pt x="9903" y="392455"/>
                  </a:lnTo>
                  <a:lnTo>
                    <a:pt x="9903" y="0"/>
                  </a:lnTo>
                  <a:cubicBezTo>
                    <a:pt x="9802" y="2476"/>
                    <a:pt x="7922" y="4520"/>
                    <a:pt x="5460" y="4825"/>
                  </a:cubicBezTo>
                  <a:close/>
                </a:path>
              </a:pathLst>
            </a:custGeom>
            <a:solidFill>
              <a:srgbClr val="000000"/>
            </a:solidFill>
            <a:ln w="12690" cap="flat">
              <a:noFill/>
              <a:prstDash val="solid"/>
              <a:miter/>
            </a:ln>
          </p:spPr>
          <p:txBody>
            <a:bodyPr rtlCol="0" anchor="ctr"/>
            <a:lstStyle/>
            <a:p>
              <a:endParaRPr lang="en-US"/>
            </a:p>
          </p:txBody>
        </p:sp>
        <p:sp>
          <p:nvSpPr>
            <p:cNvPr id="755" name="Freeform: Shape 754">
              <a:extLst>
                <a:ext uri="{FF2B5EF4-FFF2-40B4-BE49-F238E27FC236}">
                  <a16:creationId xmlns:a16="http://schemas.microsoft.com/office/drawing/2014/main" id="{FBDF651E-537F-40B3-8F4F-4AEC1BAEC4B0}"/>
                </a:ext>
              </a:extLst>
            </p:cNvPr>
            <p:cNvSpPr/>
            <p:nvPr/>
          </p:nvSpPr>
          <p:spPr>
            <a:xfrm>
              <a:off x="11191235" y="3742225"/>
              <a:ext cx="990272" cy="215590"/>
            </a:xfrm>
            <a:custGeom>
              <a:avLst/>
              <a:gdLst>
                <a:gd name="connsiteX0" fmla="*/ 6476 w 990272"/>
                <a:gd name="connsiteY0" fmla="*/ 5841 h 215590"/>
                <a:gd name="connsiteX1" fmla="*/ 1143 w 990272"/>
                <a:gd name="connsiteY1" fmla="*/ 9650 h 215590"/>
                <a:gd name="connsiteX2" fmla="*/ 0 w 990272"/>
                <a:gd name="connsiteY2" fmla="*/ 9650 h 215590"/>
                <a:gd name="connsiteX3" fmla="*/ 976005 w 990272"/>
                <a:gd name="connsiteY3" fmla="*/ 213940 h 215590"/>
                <a:gd name="connsiteX4" fmla="*/ 983877 w 990272"/>
                <a:gd name="connsiteY4" fmla="*/ 215590 h 215590"/>
                <a:gd name="connsiteX5" fmla="*/ 985020 w 990272"/>
                <a:gd name="connsiteY5" fmla="*/ 215590 h 215590"/>
                <a:gd name="connsiteX6" fmla="*/ 990225 w 990272"/>
                <a:gd name="connsiteY6" fmla="*/ 211781 h 215590"/>
                <a:gd name="connsiteX7" fmla="*/ 990225 w 990272"/>
                <a:gd name="connsiteY7" fmla="*/ 211781 h 215590"/>
                <a:gd name="connsiteX8" fmla="*/ 990225 w 990272"/>
                <a:gd name="connsiteY8" fmla="*/ 210638 h 215590"/>
                <a:gd name="connsiteX9" fmla="*/ 990225 w 990272"/>
                <a:gd name="connsiteY9" fmla="*/ 210638 h 215590"/>
                <a:gd name="connsiteX10" fmla="*/ 990225 w 990272"/>
                <a:gd name="connsiteY10" fmla="*/ 209623 h 215590"/>
                <a:gd name="connsiteX11" fmla="*/ 990225 w 990272"/>
                <a:gd name="connsiteY11" fmla="*/ 208734 h 215590"/>
                <a:gd name="connsiteX12" fmla="*/ 990225 w 990272"/>
                <a:gd name="connsiteY12" fmla="*/ 208734 h 215590"/>
                <a:gd name="connsiteX13" fmla="*/ 990225 w 990272"/>
                <a:gd name="connsiteY13" fmla="*/ 208734 h 215590"/>
                <a:gd name="connsiteX14" fmla="*/ 990225 w 990272"/>
                <a:gd name="connsiteY14" fmla="*/ 208734 h 215590"/>
                <a:gd name="connsiteX15" fmla="*/ 989591 w 990272"/>
                <a:gd name="connsiteY15" fmla="*/ 208734 h 215590"/>
                <a:gd name="connsiteX16" fmla="*/ 989591 w 990272"/>
                <a:gd name="connsiteY16" fmla="*/ 208734 h 215590"/>
                <a:gd name="connsiteX17" fmla="*/ 988194 w 990272"/>
                <a:gd name="connsiteY17" fmla="*/ 208734 h 215590"/>
                <a:gd name="connsiteX18" fmla="*/ 988194 w 990272"/>
                <a:gd name="connsiteY18" fmla="*/ 208734 h 215590"/>
                <a:gd name="connsiteX19" fmla="*/ 988194 w 990272"/>
                <a:gd name="connsiteY19" fmla="*/ 208734 h 215590"/>
                <a:gd name="connsiteX20" fmla="*/ 988194 w 990272"/>
                <a:gd name="connsiteY20" fmla="*/ 208734 h 215590"/>
                <a:gd name="connsiteX21" fmla="*/ 12570 w 990272"/>
                <a:gd name="connsiteY21" fmla="*/ 2032 h 215590"/>
                <a:gd name="connsiteX22" fmla="*/ 2412 w 990272"/>
                <a:gd name="connsiteY22" fmla="*/ 0 h 215590"/>
                <a:gd name="connsiteX23" fmla="*/ 6501 w 990272"/>
                <a:gd name="connsiteY23" fmla="*/ 5688 h 215590"/>
                <a:gd name="connsiteX24" fmla="*/ 6476 w 990272"/>
                <a:gd name="connsiteY24" fmla="*/ 5841 h 21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0272" h="215590">
                  <a:moveTo>
                    <a:pt x="6476" y="5841"/>
                  </a:moveTo>
                  <a:cubicBezTo>
                    <a:pt x="5777" y="8177"/>
                    <a:pt x="3581" y="9751"/>
                    <a:pt x="1143" y="9650"/>
                  </a:cubicBezTo>
                  <a:lnTo>
                    <a:pt x="0" y="9650"/>
                  </a:lnTo>
                  <a:lnTo>
                    <a:pt x="976005" y="213940"/>
                  </a:lnTo>
                  <a:lnTo>
                    <a:pt x="983877" y="215590"/>
                  </a:lnTo>
                  <a:lnTo>
                    <a:pt x="985020" y="215590"/>
                  </a:lnTo>
                  <a:cubicBezTo>
                    <a:pt x="987420" y="215628"/>
                    <a:pt x="989540" y="214079"/>
                    <a:pt x="990225" y="211781"/>
                  </a:cubicBezTo>
                  <a:lnTo>
                    <a:pt x="990225" y="211781"/>
                  </a:lnTo>
                  <a:cubicBezTo>
                    <a:pt x="990289" y="211400"/>
                    <a:pt x="990289" y="211019"/>
                    <a:pt x="990225" y="210638"/>
                  </a:cubicBezTo>
                  <a:lnTo>
                    <a:pt x="990225" y="210638"/>
                  </a:lnTo>
                  <a:cubicBezTo>
                    <a:pt x="990276" y="210296"/>
                    <a:pt x="990276" y="209953"/>
                    <a:pt x="990225" y="209623"/>
                  </a:cubicBezTo>
                  <a:cubicBezTo>
                    <a:pt x="990264" y="209331"/>
                    <a:pt x="990264" y="209026"/>
                    <a:pt x="990225" y="208734"/>
                  </a:cubicBezTo>
                  <a:lnTo>
                    <a:pt x="990225" y="208734"/>
                  </a:lnTo>
                  <a:lnTo>
                    <a:pt x="990225" y="208734"/>
                  </a:lnTo>
                  <a:lnTo>
                    <a:pt x="990225" y="208734"/>
                  </a:lnTo>
                  <a:lnTo>
                    <a:pt x="989591" y="208734"/>
                  </a:lnTo>
                  <a:lnTo>
                    <a:pt x="989591" y="208734"/>
                  </a:lnTo>
                  <a:cubicBezTo>
                    <a:pt x="989133" y="208620"/>
                    <a:pt x="988651" y="208620"/>
                    <a:pt x="988194" y="208734"/>
                  </a:cubicBezTo>
                  <a:lnTo>
                    <a:pt x="988194" y="208734"/>
                  </a:lnTo>
                  <a:lnTo>
                    <a:pt x="988194" y="208734"/>
                  </a:lnTo>
                  <a:lnTo>
                    <a:pt x="988194" y="208734"/>
                  </a:lnTo>
                  <a:lnTo>
                    <a:pt x="12570" y="2032"/>
                  </a:lnTo>
                  <a:lnTo>
                    <a:pt x="2412" y="0"/>
                  </a:lnTo>
                  <a:cubicBezTo>
                    <a:pt x="5117" y="444"/>
                    <a:pt x="6945" y="2984"/>
                    <a:pt x="6501" y="5688"/>
                  </a:cubicBezTo>
                  <a:cubicBezTo>
                    <a:pt x="6501" y="5739"/>
                    <a:pt x="6489" y="5790"/>
                    <a:pt x="6476" y="5841"/>
                  </a:cubicBezTo>
                  <a:close/>
                </a:path>
              </a:pathLst>
            </a:custGeom>
            <a:solidFill>
              <a:srgbClr val="000000"/>
            </a:solidFill>
            <a:ln w="12690" cap="flat">
              <a:noFill/>
              <a:prstDash val="solid"/>
              <a:miter/>
            </a:ln>
          </p:spPr>
          <p:txBody>
            <a:bodyPr rtlCol="0" anchor="ctr"/>
            <a:lstStyle/>
            <a:p>
              <a:endParaRPr lang="en-US"/>
            </a:p>
          </p:txBody>
        </p:sp>
        <p:sp>
          <p:nvSpPr>
            <p:cNvPr id="756" name="Freeform: Shape 755">
              <a:extLst>
                <a:ext uri="{FF2B5EF4-FFF2-40B4-BE49-F238E27FC236}">
                  <a16:creationId xmlns:a16="http://schemas.microsoft.com/office/drawing/2014/main" id="{E65F6C65-D7A3-4A47-A9F3-6E1F91B34CE0}"/>
                </a:ext>
              </a:extLst>
            </p:cNvPr>
            <p:cNvSpPr/>
            <p:nvPr/>
          </p:nvSpPr>
          <p:spPr>
            <a:xfrm>
              <a:off x="9303805" y="900167"/>
              <a:ext cx="428986" cy="133990"/>
            </a:xfrm>
            <a:custGeom>
              <a:avLst/>
              <a:gdLst>
                <a:gd name="connsiteX0" fmla="*/ 428693 w 428986"/>
                <a:gd name="connsiteY0" fmla="*/ 132327 h 133990"/>
                <a:gd name="connsiteX1" fmla="*/ 425911 w 428986"/>
                <a:gd name="connsiteY1" fmla="*/ 126294 h 133990"/>
                <a:gd name="connsiteX2" fmla="*/ 425264 w 428986"/>
                <a:gd name="connsiteY2" fmla="*/ 126106 h 133990"/>
                <a:gd name="connsiteX3" fmla="*/ 418154 w 428986"/>
                <a:gd name="connsiteY3" fmla="*/ 124074 h 133990"/>
                <a:gd name="connsiteX4" fmla="*/ 10585 w 428986"/>
                <a:gd name="connsiteY4" fmla="*/ 1297 h 133990"/>
                <a:gd name="connsiteX5" fmla="*/ 6904 w 428986"/>
                <a:gd name="connsiteY5" fmla="*/ 281 h 133990"/>
                <a:gd name="connsiteX6" fmla="*/ 48 w 428986"/>
                <a:gd name="connsiteY6" fmla="*/ 3329 h 133990"/>
                <a:gd name="connsiteX7" fmla="*/ 48 w 428986"/>
                <a:gd name="connsiteY7" fmla="*/ 5106 h 133990"/>
                <a:gd name="connsiteX8" fmla="*/ 48 w 428986"/>
                <a:gd name="connsiteY8" fmla="*/ 5106 h 133990"/>
                <a:gd name="connsiteX9" fmla="*/ 48 w 428986"/>
                <a:gd name="connsiteY9" fmla="*/ 5868 h 133990"/>
                <a:gd name="connsiteX10" fmla="*/ 682 w 428986"/>
                <a:gd name="connsiteY10" fmla="*/ 6757 h 133990"/>
                <a:gd name="connsiteX11" fmla="*/ 1444 w 428986"/>
                <a:gd name="connsiteY11" fmla="*/ 6757 h 133990"/>
                <a:gd name="connsiteX12" fmla="*/ 2460 w 428986"/>
                <a:gd name="connsiteY12" fmla="*/ 6757 h 133990"/>
                <a:gd name="connsiteX13" fmla="*/ 2460 w 428986"/>
                <a:gd name="connsiteY13" fmla="*/ 6757 h 133990"/>
                <a:gd name="connsiteX14" fmla="*/ 421455 w 428986"/>
                <a:gd name="connsiteY14" fmla="*/ 133724 h 133990"/>
                <a:gd name="connsiteX15" fmla="*/ 423232 w 428986"/>
                <a:gd name="connsiteY15" fmla="*/ 133724 h 133990"/>
                <a:gd name="connsiteX16" fmla="*/ 428693 w 428986"/>
                <a:gd name="connsiteY16" fmla="*/ 132327 h 1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8986" h="133990">
                  <a:moveTo>
                    <a:pt x="428693" y="132327"/>
                  </a:moveTo>
                  <a:cubicBezTo>
                    <a:pt x="429594" y="129893"/>
                    <a:pt x="428349" y="127191"/>
                    <a:pt x="425911" y="126294"/>
                  </a:cubicBezTo>
                  <a:cubicBezTo>
                    <a:pt x="425696" y="126215"/>
                    <a:pt x="425480" y="126153"/>
                    <a:pt x="425264" y="126106"/>
                  </a:cubicBezTo>
                  <a:lnTo>
                    <a:pt x="418154" y="124074"/>
                  </a:lnTo>
                  <a:lnTo>
                    <a:pt x="10585" y="1297"/>
                  </a:lnTo>
                  <a:lnTo>
                    <a:pt x="6904" y="281"/>
                  </a:lnTo>
                  <a:cubicBezTo>
                    <a:pt x="4174" y="-617"/>
                    <a:pt x="1216" y="701"/>
                    <a:pt x="48" y="3329"/>
                  </a:cubicBezTo>
                  <a:cubicBezTo>
                    <a:pt x="-16" y="3919"/>
                    <a:pt x="-16" y="4516"/>
                    <a:pt x="48" y="5106"/>
                  </a:cubicBezTo>
                  <a:lnTo>
                    <a:pt x="48" y="5106"/>
                  </a:lnTo>
                  <a:cubicBezTo>
                    <a:pt x="48" y="5106"/>
                    <a:pt x="48" y="5106"/>
                    <a:pt x="48" y="5868"/>
                  </a:cubicBezTo>
                  <a:cubicBezTo>
                    <a:pt x="187" y="6211"/>
                    <a:pt x="403" y="6516"/>
                    <a:pt x="682" y="6757"/>
                  </a:cubicBezTo>
                  <a:cubicBezTo>
                    <a:pt x="682" y="6757"/>
                    <a:pt x="682" y="6757"/>
                    <a:pt x="1444" y="6757"/>
                  </a:cubicBezTo>
                  <a:cubicBezTo>
                    <a:pt x="1774" y="6825"/>
                    <a:pt x="2130" y="6825"/>
                    <a:pt x="2460" y="6757"/>
                  </a:cubicBezTo>
                  <a:lnTo>
                    <a:pt x="2460" y="6757"/>
                  </a:lnTo>
                  <a:lnTo>
                    <a:pt x="421455" y="133724"/>
                  </a:lnTo>
                  <a:lnTo>
                    <a:pt x="423232" y="133724"/>
                  </a:lnTo>
                  <a:cubicBezTo>
                    <a:pt x="425175" y="134369"/>
                    <a:pt x="427309" y="133823"/>
                    <a:pt x="428693" y="132327"/>
                  </a:cubicBezTo>
                  <a:close/>
                </a:path>
              </a:pathLst>
            </a:custGeom>
            <a:solidFill>
              <a:srgbClr val="000000"/>
            </a:solidFill>
            <a:ln w="12690" cap="flat">
              <a:noFill/>
              <a:prstDash val="solid"/>
              <a:miter/>
            </a:ln>
          </p:spPr>
          <p:txBody>
            <a:bodyPr rtlCol="0" anchor="ctr"/>
            <a:lstStyle/>
            <a:p>
              <a:endParaRPr lang="en-US"/>
            </a:p>
          </p:txBody>
        </p:sp>
        <p:sp>
          <p:nvSpPr>
            <p:cNvPr id="757" name="Freeform: Shape 756">
              <a:extLst>
                <a:ext uri="{FF2B5EF4-FFF2-40B4-BE49-F238E27FC236}">
                  <a16:creationId xmlns:a16="http://schemas.microsoft.com/office/drawing/2014/main" id="{5F40E5CE-FF1D-4978-AE72-5FC88569A45C}"/>
                </a:ext>
              </a:extLst>
            </p:cNvPr>
            <p:cNvSpPr/>
            <p:nvPr/>
          </p:nvSpPr>
          <p:spPr>
            <a:xfrm>
              <a:off x="7347859" y="90249"/>
              <a:ext cx="99336" cy="35828"/>
            </a:xfrm>
            <a:custGeom>
              <a:avLst/>
              <a:gdLst>
                <a:gd name="connsiteX0" fmla="*/ 92480 w 99336"/>
                <a:gd name="connsiteY0" fmla="*/ 31638 h 35828"/>
                <a:gd name="connsiteX1" fmla="*/ 99336 w 99336"/>
                <a:gd name="connsiteY1" fmla="*/ 28464 h 35828"/>
                <a:gd name="connsiteX2" fmla="*/ 96289 w 99336"/>
                <a:gd name="connsiteY2" fmla="*/ 27575 h 35828"/>
                <a:gd name="connsiteX3" fmla="*/ 15030 w 99336"/>
                <a:gd name="connsiteY3" fmla="*/ 2944 h 35828"/>
                <a:gd name="connsiteX4" fmla="*/ 6269 w 99336"/>
                <a:gd name="connsiteY4" fmla="*/ 277 h 35828"/>
                <a:gd name="connsiteX5" fmla="*/ 810 w 99336"/>
                <a:gd name="connsiteY5" fmla="*/ 1420 h 35828"/>
                <a:gd name="connsiteX6" fmla="*/ 47 w 99336"/>
                <a:gd name="connsiteY6" fmla="*/ 2309 h 35828"/>
                <a:gd name="connsiteX7" fmla="*/ 47 w 99336"/>
                <a:gd name="connsiteY7" fmla="*/ 3071 h 35828"/>
                <a:gd name="connsiteX8" fmla="*/ 47 w 99336"/>
                <a:gd name="connsiteY8" fmla="*/ 3071 h 35828"/>
                <a:gd name="connsiteX9" fmla="*/ 47 w 99336"/>
                <a:gd name="connsiteY9" fmla="*/ 3071 h 35828"/>
                <a:gd name="connsiteX10" fmla="*/ 47 w 99336"/>
                <a:gd name="connsiteY10" fmla="*/ 4086 h 35828"/>
                <a:gd name="connsiteX11" fmla="*/ 47 w 99336"/>
                <a:gd name="connsiteY11" fmla="*/ 4975 h 35828"/>
                <a:gd name="connsiteX12" fmla="*/ 47 w 99336"/>
                <a:gd name="connsiteY12" fmla="*/ 5864 h 35828"/>
                <a:gd name="connsiteX13" fmla="*/ 47 w 99336"/>
                <a:gd name="connsiteY13" fmla="*/ 6753 h 35828"/>
                <a:gd name="connsiteX14" fmla="*/ 683 w 99336"/>
                <a:gd name="connsiteY14" fmla="*/ 6753 h 35828"/>
                <a:gd name="connsiteX15" fmla="*/ 1698 w 99336"/>
                <a:gd name="connsiteY15" fmla="*/ 7514 h 35828"/>
                <a:gd name="connsiteX16" fmla="*/ 2460 w 99336"/>
                <a:gd name="connsiteY16" fmla="*/ 7514 h 35828"/>
                <a:gd name="connsiteX17" fmla="*/ 2460 w 99336"/>
                <a:gd name="connsiteY17" fmla="*/ 7514 h 35828"/>
                <a:gd name="connsiteX18" fmla="*/ 95527 w 99336"/>
                <a:gd name="connsiteY18" fmla="*/ 35828 h 35828"/>
                <a:gd name="connsiteX19" fmla="*/ 92480 w 99336"/>
                <a:gd name="connsiteY19" fmla="*/ 31638 h 3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336" h="35828">
                  <a:moveTo>
                    <a:pt x="92480" y="31638"/>
                  </a:moveTo>
                  <a:cubicBezTo>
                    <a:pt x="93636" y="29004"/>
                    <a:pt x="96581" y="27644"/>
                    <a:pt x="99336" y="28464"/>
                  </a:cubicBezTo>
                  <a:lnTo>
                    <a:pt x="96289" y="27575"/>
                  </a:lnTo>
                  <a:lnTo>
                    <a:pt x="15030" y="2944"/>
                  </a:lnTo>
                  <a:lnTo>
                    <a:pt x="6269" y="277"/>
                  </a:lnTo>
                  <a:cubicBezTo>
                    <a:pt x="4377" y="-342"/>
                    <a:pt x="2294" y="93"/>
                    <a:pt x="810" y="1420"/>
                  </a:cubicBezTo>
                  <a:lnTo>
                    <a:pt x="47" y="2309"/>
                  </a:lnTo>
                  <a:lnTo>
                    <a:pt x="47" y="3071"/>
                  </a:lnTo>
                  <a:cubicBezTo>
                    <a:pt x="47" y="3071"/>
                    <a:pt x="47" y="3071"/>
                    <a:pt x="47" y="3071"/>
                  </a:cubicBezTo>
                  <a:lnTo>
                    <a:pt x="47" y="3071"/>
                  </a:lnTo>
                  <a:cubicBezTo>
                    <a:pt x="-3" y="3407"/>
                    <a:pt x="-3" y="3750"/>
                    <a:pt x="47" y="4086"/>
                  </a:cubicBezTo>
                  <a:cubicBezTo>
                    <a:pt x="47" y="4086"/>
                    <a:pt x="47" y="4086"/>
                    <a:pt x="47" y="4975"/>
                  </a:cubicBezTo>
                  <a:cubicBezTo>
                    <a:pt x="-3" y="5269"/>
                    <a:pt x="-3" y="5570"/>
                    <a:pt x="47" y="5864"/>
                  </a:cubicBezTo>
                  <a:cubicBezTo>
                    <a:pt x="-16" y="6157"/>
                    <a:pt x="-16" y="6460"/>
                    <a:pt x="47" y="6753"/>
                  </a:cubicBezTo>
                  <a:lnTo>
                    <a:pt x="683" y="6753"/>
                  </a:lnTo>
                  <a:cubicBezTo>
                    <a:pt x="962" y="7075"/>
                    <a:pt x="1304" y="7335"/>
                    <a:pt x="1698" y="7514"/>
                  </a:cubicBezTo>
                  <a:lnTo>
                    <a:pt x="2460" y="7514"/>
                  </a:lnTo>
                  <a:lnTo>
                    <a:pt x="2460" y="7514"/>
                  </a:lnTo>
                  <a:lnTo>
                    <a:pt x="95527" y="35828"/>
                  </a:lnTo>
                  <a:cubicBezTo>
                    <a:pt x="93788" y="35142"/>
                    <a:pt x="92594" y="33508"/>
                    <a:pt x="92480" y="31638"/>
                  </a:cubicBezTo>
                  <a:close/>
                </a:path>
              </a:pathLst>
            </a:custGeom>
            <a:solidFill>
              <a:srgbClr val="000000"/>
            </a:solidFill>
            <a:ln w="12690" cap="flat">
              <a:noFill/>
              <a:prstDash val="solid"/>
              <a:miter/>
            </a:ln>
          </p:spPr>
          <p:txBody>
            <a:bodyPr rtlCol="0" anchor="ctr"/>
            <a:lstStyle/>
            <a:p>
              <a:endParaRPr lang="en-US"/>
            </a:p>
          </p:txBody>
        </p:sp>
        <p:sp>
          <p:nvSpPr>
            <p:cNvPr id="758" name="Freeform: Shape 757">
              <a:extLst>
                <a:ext uri="{FF2B5EF4-FFF2-40B4-BE49-F238E27FC236}">
                  <a16:creationId xmlns:a16="http://schemas.microsoft.com/office/drawing/2014/main" id="{87D53932-2B9A-443A-91D1-D517785A072B}"/>
                </a:ext>
              </a:extLst>
            </p:cNvPr>
            <p:cNvSpPr/>
            <p:nvPr/>
          </p:nvSpPr>
          <p:spPr>
            <a:xfrm>
              <a:off x="7439450" y="118475"/>
              <a:ext cx="79445" cy="30455"/>
            </a:xfrm>
            <a:custGeom>
              <a:avLst/>
              <a:gdLst>
                <a:gd name="connsiteX0" fmla="*/ 79228 w 79445"/>
                <a:gd name="connsiteY0" fmla="*/ 27282 h 30455"/>
                <a:gd name="connsiteX1" fmla="*/ 75940 w 79445"/>
                <a:gd name="connsiteY1" fmla="*/ 21100 h 30455"/>
                <a:gd name="connsiteX2" fmla="*/ 75800 w 79445"/>
                <a:gd name="connsiteY2" fmla="*/ 21060 h 30455"/>
                <a:gd name="connsiteX3" fmla="*/ 68690 w 79445"/>
                <a:gd name="connsiteY3" fmla="*/ 18902 h 30455"/>
                <a:gd name="connsiteX4" fmla="*/ 15871 w 79445"/>
                <a:gd name="connsiteY4" fmla="*/ 3031 h 30455"/>
                <a:gd name="connsiteX5" fmla="*/ 7110 w 79445"/>
                <a:gd name="connsiteY5" fmla="*/ 238 h 30455"/>
                <a:gd name="connsiteX6" fmla="*/ 7110 w 79445"/>
                <a:gd name="connsiteY6" fmla="*/ 238 h 30455"/>
                <a:gd name="connsiteX7" fmla="*/ 254 w 79445"/>
                <a:gd name="connsiteY7" fmla="*/ 3412 h 30455"/>
                <a:gd name="connsiteX8" fmla="*/ 3288 w 79445"/>
                <a:gd name="connsiteY8" fmla="*/ 9520 h 30455"/>
                <a:gd name="connsiteX9" fmla="*/ 3681 w 79445"/>
                <a:gd name="connsiteY9" fmla="*/ 9633 h 30455"/>
                <a:gd name="connsiteX10" fmla="*/ 3681 w 79445"/>
                <a:gd name="connsiteY10" fmla="*/ 9633 h 30455"/>
                <a:gd name="connsiteX11" fmla="*/ 72372 w 79445"/>
                <a:gd name="connsiteY11" fmla="*/ 30456 h 30455"/>
                <a:gd name="connsiteX12" fmla="*/ 74149 w 79445"/>
                <a:gd name="connsiteY12" fmla="*/ 30456 h 30455"/>
                <a:gd name="connsiteX13" fmla="*/ 79228 w 79445"/>
                <a:gd name="connsiteY13" fmla="*/ 27282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445" h="30455">
                  <a:moveTo>
                    <a:pt x="79228" y="27282"/>
                  </a:moveTo>
                  <a:cubicBezTo>
                    <a:pt x="80027" y="24666"/>
                    <a:pt x="78555" y="21898"/>
                    <a:pt x="75940" y="21100"/>
                  </a:cubicBezTo>
                  <a:cubicBezTo>
                    <a:pt x="75888" y="21086"/>
                    <a:pt x="75850" y="21073"/>
                    <a:pt x="75800" y="21060"/>
                  </a:cubicBezTo>
                  <a:lnTo>
                    <a:pt x="68690" y="18902"/>
                  </a:lnTo>
                  <a:lnTo>
                    <a:pt x="15871" y="3031"/>
                  </a:lnTo>
                  <a:lnTo>
                    <a:pt x="7110" y="238"/>
                  </a:lnTo>
                  <a:lnTo>
                    <a:pt x="7110" y="238"/>
                  </a:lnTo>
                  <a:cubicBezTo>
                    <a:pt x="4355" y="-582"/>
                    <a:pt x="1409" y="778"/>
                    <a:pt x="254" y="3412"/>
                  </a:cubicBezTo>
                  <a:cubicBezTo>
                    <a:pt x="-597" y="5938"/>
                    <a:pt x="761" y="8673"/>
                    <a:pt x="3288" y="9520"/>
                  </a:cubicBezTo>
                  <a:cubicBezTo>
                    <a:pt x="3415" y="9563"/>
                    <a:pt x="3555" y="9601"/>
                    <a:pt x="3681" y="9633"/>
                  </a:cubicBezTo>
                  <a:lnTo>
                    <a:pt x="3681" y="9633"/>
                  </a:lnTo>
                  <a:lnTo>
                    <a:pt x="72372" y="30456"/>
                  </a:lnTo>
                  <a:lnTo>
                    <a:pt x="74149" y="30456"/>
                  </a:lnTo>
                  <a:cubicBezTo>
                    <a:pt x="76320" y="30471"/>
                    <a:pt x="78288" y="29234"/>
                    <a:pt x="79228" y="27282"/>
                  </a:cubicBezTo>
                  <a:close/>
                </a:path>
              </a:pathLst>
            </a:custGeom>
            <a:solidFill>
              <a:srgbClr val="000000"/>
            </a:solidFill>
            <a:ln w="12690" cap="flat">
              <a:noFill/>
              <a:prstDash val="solid"/>
              <a:miter/>
            </a:ln>
          </p:spPr>
          <p:txBody>
            <a:bodyPr rtlCol="0" anchor="ctr"/>
            <a:lstStyle/>
            <a:p>
              <a:endParaRPr lang="en-US"/>
            </a:p>
          </p:txBody>
        </p:sp>
        <p:sp>
          <p:nvSpPr>
            <p:cNvPr id="759" name="Freeform: Shape 758">
              <a:extLst>
                <a:ext uri="{FF2B5EF4-FFF2-40B4-BE49-F238E27FC236}">
                  <a16:creationId xmlns:a16="http://schemas.microsoft.com/office/drawing/2014/main" id="{B4D19D77-256E-4C2D-83DC-09342E649703}"/>
                </a:ext>
              </a:extLst>
            </p:cNvPr>
            <p:cNvSpPr/>
            <p:nvPr/>
          </p:nvSpPr>
          <p:spPr>
            <a:xfrm>
              <a:off x="3492007" y="648673"/>
              <a:ext cx="154266" cy="54088"/>
            </a:xfrm>
            <a:custGeom>
              <a:avLst/>
              <a:gdLst>
                <a:gd name="connsiteX0" fmla="*/ 154013 w 154266"/>
                <a:gd name="connsiteY0" fmla="*/ 50787 h 54088"/>
                <a:gd name="connsiteX1" fmla="*/ 150978 w 154266"/>
                <a:gd name="connsiteY1" fmla="*/ 44678 h 54088"/>
                <a:gd name="connsiteX2" fmla="*/ 150585 w 154266"/>
                <a:gd name="connsiteY2" fmla="*/ 44565 h 54088"/>
                <a:gd name="connsiteX3" fmla="*/ 150585 w 154266"/>
                <a:gd name="connsiteY3" fmla="*/ 44565 h 54088"/>
                <a:gd name="connsiteX4" fmla="*/ 147664 w 154266"/>
                <a:gd name="connsiteY4" fmla="*/ 43550 h 54088"/>
                <a:gd name="connsiteX5" fmla="*/ 7110 w 154266"/>
                <a:gd name="connsiteY5" fmla="*/ 1143 h 54088"/>
                <a:gd name="connsiteX6" fmla="*/ 3428 w 154266"/>
                <a:gd name="connsiteY6" fmla="*/ 0 h 54088"/>
                <a:gd name="connsiteX7" fmla="*/ 7047 w 154266"/>
                <a:gd name="connsiteY7" fmla="*/ 5574 h 54088"/>
                <a:gd name="connsiteX8" fmla="*/ 6856 w 154266"/>
                <a:gd name="connsiteY8" fmla="*/ 6221 h 54088"/>
                <a:gd name="connsiteX9" fmla="*/ 1778 w 154266"/>
                <a:gd name="connsiteY9" fmla="*/ 9523 h 54088"/>
                <a:gd name="connsiteX10" fmla="*/ 0 w 154266"/>
                <a:gd name="connsiteY10" fmla="*/ 9523 h 54088"/>
                <a:gd name="connsiteX11" fmla="*/ 147156 w 154266"/>
                <a:gd name="connsiteY11" fmla="*/ 54088 h 54088"/>
                <a:gd name="connsiteX12" fmla="*/ 147156 w 154266"/>
                <a:gd name="connsiteY12" fmla="*/ 54088 h 54088"/>
                <a:gd name="connsiteX13" fmla="*/ 148934 w 154266"/>
                <a:gd name="connsiteY13" fmla="*/ 54088 h 54088"/>
                <a:gd name="connsiteX14" fmla="*/ 154013 w 154266"/>
                <a:gd name="connsiteY14" fmla="*/ 50787 h 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266" h="54088">
                  <a:moveTo>
                    <a:pt x="154013" y="50787"/>
                  </a:moveTo>
                  <a:cubicBezTo>
                    <a:pt x="154863" y="48260"/>
                    <a:pt x="153505" y="45525"/>
                    <a:pt x="150978" y="44678"/>
                  </a:cubicBezTo>
                  <a:cubicBezTo>
                    <a:pt x="150851" y="44635"/>
                    <a:pt x="150711" y="44597"/>
                    <a:pt x="150585" y="44565"/>
                  </a:cubicBezTo>
                  <a:lnTo>
                    <a:pt x="150585" y="44565"/>
                  </a:lnTo>
                  <a:lnTo>
                    <a:pt x="147664" y="43550"/>
                  </a:lnTo>
                  <a:lnTo>
                    <a:pt x="7110" y="1143"/>
                  </a:lnTo>
                  <a:lnTo>
                    <a:pt x="3428" y="0"/>
                  </a:lnTo>
                  <a:cubicBezTo>
                    <a:pt x="5968" y="541"/>
                    <a:pt x="7580" y="3036"/>
                    <a:pt x="7047" y="5574"/>
                  </a:cubicBezTo>
                  <a:cubicBezTo>
                    <a:pt x="6996" y="5793"/>
                    <a:pt x="6932" y="6011"/>
                    <a:pt x="6856" y="6221"/>
                  </a:cubicBezTo>
                  <a:cubicBezTo>
                    <a:pt x="6018" y="8269"/>
                    <a:pt x="3987" y="9583"/>
                    <a:pt x="1778" y="9523"/>
                  </a:cubicBezTo>
                  <a:cubicBezTo>
                    <a:pt x="1193" y="9646"/>
                    <a:pt x="584" y="9646"/>
                    <a:pt x="0" y="9523"/>
                  </a:cubicBezTo>
                  <a:lnTo>
                    <a:pt x="147156" y="54088"/>
                  </a:lnTo>
                  <a:lnTo>
                    <a:pt x="147156" y="54088"/>
                  </a:lnTo>
                  <a:lnTo>
                    <a:pt x="148934" y="54088"/>
                  </a:lnTo>
                  <a:cubicBezTo>
                    <a:pt x="151143" y="54113"/>
                    <a:pt x="153136" y="52812"/>
                    <a:pt x="154013" y="50787"/>
                  </a:cubicBezTo>
                  <a:close/>
                </a:path>
              </a:pathLst>
            </a:custGeom>
            <a:solidFill>
              <a:srgbClr val="000000"/>
            </a:solidFill>
            <a:ln w="12690" cap="flat">
              <a:noFill/>
              <a:prstDash val="solid"/>
              <a:miter/>
            </a:ln>
          </p:spPr>
          <p:txBody>
            <a:bodyPr rtlCol="0" anchor="ctr"/>
            <a:lstStyle/>
            <a:p>
              <a:endParaRPr lang="en-US"/>
            </a:p>
          </p:txBody>
        </p:sp>
        <p:sp>
          <p:nvSpPr>
            <p:cNvPr id="760" name="Freeform: Shape 759">
              <a:extLst>
                <a:ext uri="{FF2B5EF4-FFF2-40B4-BE49-F238E27FC236}">
                  <a16:creationId xmlns:a16="http://schemas.microsoft.com/office/drawing/2014/main" id="{C46D7279-7655-4E0F-8A0C-3837EB420901}"/>
                </a:ext>
              </a:extLst>
            </p:cNvPr>
            <p:cNvSpPr/>
            <p:nvPr/>
          </p:nvSpPr>
          <p:spPr>
            <a:xfrm>
              <a:off x="8824160" y="770942"/>
              <a:ext cx="329361" cy="106652"/>
            </a:xfrm>
            <a:custGeom>
              <a:avLst/>
              <a:gdLst>
                <a:gd name="connsiteX0" fmla="*/ 3814 w 329361"/>
                <a:gd name="connsiteY0" fmla="*/ 9269 h 106652"/>
                <a:gd name="connsiteX1" fmla="*/ 6735 w 329361"/>
                <a:gd name="connsiteY1" fmla="*/ 10284 h 106652"/>
                <a:gd name="connsiteX2" fmla="*/ 325933 w 329361"/>
                <a:gd name="connsiteY2" fmla="*/ 106652 h 106652"/>
                <a:gd name="connsiteX3" fmla="*/ 322467 w 329361"/>
                <a:gd name="connsiteY3" fmla="*/ 100568 h 106652"/>
                <a:gd name="connsiteX4" fmla="*/ 322505 w 329361"/>
                <a:gd name="connsiteY4" fmla="*/ 100431 h 106652"/>
                <a:gd name="connsiteX5" fmla="*/ 329361 w 329361"/>
                <a:gd name="connsiteY5" fmla="*/ 97384 h 106652"/>
                <a:gd name="connsiteX6" fmla="*/ 326441 w 329361"/>
                <a:gd name="connsiteY6" fmla="*/ 96495 h 106652"/>
                <a:gd name="connsiteX7" fmla="*/ 7243 w 329361"/>
                <a:gd name="connsiteY7" fmla="*/ 0 h 106652"/>
                <a:gd name="connsiteX8" fmla="*/ 4450 w 329361"/>
                <a:gd name="connsiteY8" fmla="*/ 0 h 106652"/>
                <a:gd name="connsiteX9" fmla="*/ 3434 w 329361"/>
                <a:gd name="connsiteY9" fmla="*/ 0 h 106652"/>
                <a:gd name="connsiteX10" fmla="*/ 2418 w 329361"/>
                <a:gd name="connsiteY10" fmla="*/ 0 h 106652"/>
                <a:gd name="connsiteX11" fmla="*/ 133 w 329361"/>
                <a:gd name="connsiteY11" fmla="*/ 3555 h 106652"/>
                <a:gd name="connsiteX12" fmla="*/ 3599 w 329361"/>
                <a:gd name="connsiteY12" fmla="*/ 9222 h 106652"/>
                <a:gd name="connsiteX13" fmla="*/ 3814 w 329361"/>
                <a:gd name="connsiteY13" fmla="*/ 9269 h 1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361" h="106652">
                  <a:moveTo>
                    <a:pt x="3814" y="9269"/>
                  </a:moveTo>
                  <a:lnTo>
                    <a:pt x="6735" y="10284"/>
                  </a:lnTo>
                  <a:lnTo>
                    <a:pt x="325933" y="106652"/>
                  </a:lnTo>
                  <a:cubicBezTo>
                    <a:pt x="323292" y="105930"/>
                    <a:pt x="321743" y="103206"/>
                    <a:pt x="322467" y="100568"/>
                  </a:cubicBezTo>
                  <a:cubicBezTo>
                    <a:pt x="322480" y="100522"/>
                    <a:pt x="322492" y="100477"/>
                    <a:pt x="322505" y="100431"/>
                  </a:cubicBezTo>
                  <a:cubicBezTo>
                    <a:pt x="323661" y="97803"/>
                    <a:pt x="326632" y="96485"/>
                    <a:pt x="329361" y="97384"/>
                  </a:cubicBezTo>
                  <a:lnTo>
                    <a:pt x="326441" y="96495"/>
                  </a:lnTo>
                  <a:lnTo>
                    <a:pt x="7243" y="0"/>
                  </a:lnTo>
                  <a:lnTo>
                    <a:pt x="4450" y="0"/>
                  </a:lnTo>
                  <a:lnTo>
                    <a:pt x="3434" y="0"/>
                  </a:lnTo>
                  <a:lnTo>
                    <a:pt x="2418" y="0"/>
                  </a:lnTo>
                  <a:cubicBezTo>
                    <a:pt x="1085" y="706"/>
                    <a:pt x="222" y="2053"/>
                    <a:pt x="133" y="3555"/>
                  </a:cubicBezTo>
                  <a:cubicBezTo>
                    <a:pt x="-477" y="6078"/>
                    <a:pt x="1072" y="8615"/>
                    <a:pt x="3599" y="9222"/>
                  </a:cubicBezTo>
                  <a:cubicBezTo>
                    <a:pt x="3675" y="9239"/>
                    <a:pt x="3738" y="9255"/>
                    <a:pt x="3814" y="9269"/>
                  </a:cubicBezTo>
                  <a:close/>
                </a:path>
              </a:pathLst>
            </a:custGeom>
            <a:solidFill>
              <a:srgbClr val="000000"/>
            </a:solidFill>
            <a:ln w="12690" cap="flat">
              <a:noFill/>
              <a:prstDash val="solid"/>
              <a:miter/>
            </a:ln>
          </p:spPr>
          <p:txBody>
            <a:bodyPr rtlCol="0" anchor="ctr"/>
            <a:lstStyle/>
            <a:p>
              <a:endParaRPr lang="en-US"/>
            </a:p>
          </p:txBody>
        </p:sp>
        <p:sp>
          <p:nvSpPr>
            <p:cNvPr id="761" name="Freeform: Shape 760">
              <a:extLst>
                <a:ext uri="{FF2B5EF4-FFF2-40B4-BE49-F238E27FC236}">
                  <a16:creationId xmlns:a16="http://schemas.microsoft.com/office/drawing/2014/main" id="{66C4B125-7565-4D09-95F1-F17C26260721}"/>
                </a:ext>
              </a:extLst>
            </p:cNvPr>
            <p:cNvSpPr/>
            <p:nvPr/>
          </p:nvSpPr>
          <p:spPr>
            <a:xfrm>
              <a:off x="9146448" y="868155"/>
              <a:ext cx="108358" cy="39022"/>
            </a:xfrm>
            <a:custGeom>
              <a:avLst/>
              <a:gdLst>
                <a:gd name="connsiteX0" fmla="*/ 218 w 108358"/>
                <a:gd name="connsiteY0" fmla="*/ 3218 h 39022"/>
                <a:gd name="connsiteX1" fmla="*/ 3506 w 108358"/>
                <a:gd name="connsiteY1" fmla="*/ 9400 h 39022"/>
                <a:gd name="connsiteX2" fmla="*/ 3645 w 108358"/>
                <a:gd name="connsiteY2" fmla="*/ 9439 h 39022"/>
                <a:gd name="connsiteX3" fmla="*/ 101284 w 108358"/>
                <a:gd name="connsiteY3" fmla="*/ 39023 h 39022"/>
                <a:gd name="connsiteX4" fmla="*/ 102935 w 108358"/>
                <a:gd name="connsiteY4" fmla="*/ 39023 h 39022"/>
                <a:gd name="connsiteX5" fmla="*/ 106236 w 108358"/>
                <a:gd name="connsiteY5" fmla="*/ 37880 h 39022"/>
                <a:gd name="connsiteX6" fmla="*/ 108141 w 108358"/>
                <a:gd name="connsiteY6" fmla="*/ 35595 h 39022"/>
                <a:gd name="connsiteX7" fmla="*/ 104852 w 108358"/>
                <a:gd name="connsiteY7" fmla="*/ 29413 h 39022"/>
                <a:gd name="connsiteX8" fmla="*/ 104712 w 108358"/>
                <a:gd name="connsiteY8" fmla="*/ 29373 h 39022"/>
                <a:gd name="connsiteX9" fmla="*/ 101792 w 108358"/>
                <a:gd name="connsiteY9" fmla="*/ 28484 h 39022"/>
                <a:gd name="connsiteX10" fmla="*/ 16216 w 108358"/>
                <a:gd name="connsiteY10" fmla="*/ 3091 h 39022"/>
                <a:gd name="connsiteX11" fmla="*/ 7074 w 108358"/>
                <a:gd name="connsiteY11" fmla="*/ 298 h 39022"/>
                <a:gd name="connsiteX12" fmla="*/ 218 w 108358"/>
                <a:gd name="connsiteY12" fmla="*/ 3218 h 39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58" h="39022">
                  <a:moveTo>
                    <a:pt x="218" y="3218"/>
                  </a:moveTo>
                  <a:cubicBezTo>
                    <a:pt x="-582" y="5834"/>
                    <a:pt x="890" y="8601"/>
                    <a:pt x="3506" y="9400"/>
                  </a:cubicBezTo>
                  <a:cubicBezTo>
                    <a:pt x="3557" y="9414"/>
                    <a:pt x="3595" y="9427"/>
                    <a:pt x="3645" y="9439"/>
                  </a:cubicBezTo>
                  <a:lnTo>
                    <a:pt x="101284" y="39023"/>
                  </a:lnTo>
                  <a:lnTo>
                    <a:pt x="102935" y="39023"/>
                  </a:lnTo>
                  <a:cubicBezTo>
                    <a:pt x="104128" y="38996"/>
                    <a:pt x="105283" y="38596"/>
                    <a:pt x="106236" y="37880"/>
                  </a:cubicBezTo>
                  <a:cubicBezTo>
                    <a:pt x="107099" y="37338"/>
                    <a:pt x="107759" y="36538"/>
                    <a:pt x="108141" y="35595"/>
                  </a:cubicBezTo>
                  <a:cubicBezTo>
                    <a:pt x="108940" y="32979"/>
                    <a:pt x="107467" y="30211"/>
                    <a:pt x="104852" y="29413"/>
                  </a:cubicBezTo>
                  <a:cubicBezTo>
                    <a:pt x="104801" y="29399"/>
                    <a:pt x="104763" y="29386"/>
                    <a:pt x="104712" y="29373"/>
                  </a:cubicBezTo>
                  <a:lnTo>
                    <a:pt x="101792" y="28484"/>
                  </a:lnTo>
                  <a:lnTo>
                    <a:pt x="16216" y="3091"/>
                  </a:lnTo>
                  <a:lnTo>
                    <a:pt x="7074" y="298"/>
                  </a:lnTo>
                  <a:cubicBezTo>
                    <a:pt x="4382" y="-618"/>
                    <a:pt x="1424" y="639"/>
                    <a:pt x="218" y="3218"/>
                  </a:cubicBezTo>
                  <a:close/>
                </a:path>
              </a:pathLst>
            </a:custGeom>
            <a:solidFill>
              <a:srgbClr val="000000"/>
            </a:solidFill>
            <a:ln w="12690" cap="flat">
              <a:noFill/>
              <a:prstDash val="solid"/>
              <a:miter/>
            </a:ln>
          </p:spPr>
          <p:txBody>
            <a:bodyPr rtlCol="0" anchor="ctr"/>
            <a:lstStyle/>
            <a:p>
              <a:endParaRPr lang="en-US"/>
            </a:p>
          </p:txBody>
        </p:sp>
        <p:sp>
          <p:nvSpPr>
            <p:cNvPr id="762" name="Freeform: Shape 761">
              <a:extLst>
                <a:ext uri="{FF2B5EF4-FFF2-40B4-BE49-F238E27FC236}">
                  <a16:creationId xmlns:a16="http://schemas.microsoft.com/office/drawing/2014/main" id="{B7676B66-F5B7-49E0-B136-528DD39A1E9C}"/>
                </a:ext>
              </a:extLst>
            </p:cNvPr>
            <p:cNvSpPr/>
            <p:nvPr/>
          </p:nvSpPr>
          <p:spPr>
            <a:xfrm>
              <a:off x="4122767" y="1778673"/>
              <a:ext cx="9705" cy="152494"/>
            </a:xfrm>
            <a:custGeom>
              <a:avLst/>
              <a:gdLst>
                <a:gd name="connsiteX0" fmla="*/ 4335 w 9705"/>
                <a:gd name="connsiteY0" fmla="*/ 144622 h 152494"/>
                <a:gd name="connsiteX1" fmla="*/ 9668 w 9705"/>
                <a:gd name="connsiteY1" fmla="*/ 149434 h 152494"/>
                <a:gd name="connsiteX2" fmla="*/ 9668 w 9705"/>
                <a:gd name="connsiteY2" fmla="*/ 149447 h 152494"/>
                <a:gd name="connsiteX3" fmla="*/ 9668 w 9705"/>
                <a:gd name="connsiteY3" fmla="*/ 1784 h 152494"/>
                <a:gd name="connsiteX4" fmla="*/ 9668 w 9705"/>
                <a:gd name="connsiteY4" fmla="*/ 1784 h 152494"/>
                <a:gd name="connsiteX5" fmla="*/ 9668 w 9705"/>
                <a:gd name="connsiteY5" fmla="*/ 768 h 152494"/>
                <a:gd name="connsiteX6" fmla="*/ 9668 w 9705"/>
                <a:gd name="connsiteY6" fmla="*/ 768 h 152494"/>
                <a:gd name="connsiteX7" fmla="*/ 9668 w 9705"/>
                <a:gd name="connsiteY7" fmla="*/ 768 h 152494"/>
                <a:gd name="connsiteX8" fmla="*/ 9668 w 9705"/>
                <a:gd name="connsiteY8" fmla="*/ 6 h 152494"/>
                <a:gd name="connsiteX9" fmla="*/ 9668 w 9705"/>
                <a:gd name="connsiteY9" fmla="*/ 6 h 152494"/>
                <a:gd name="connsiteX10" fmla="*/ 9668 w 9705"/>
                <a:gd name="connsiteY10" fmla="*/ 6 h 152494"/>
                <a:gd name="connsiteX11" fmla="*/ 8906 w 9705"/>
                <a:gd name="connsiteY11" fmla="*/ 6 h 152494"/>
                <a:gd name="connsiteX12" fmla="*/ 8144 w 9705"/>
                <a:gd name="connsiteY12" fmla="*/ 6 h 152494"/>
                <a:gd name="connsiteX13" fmla="*/ 8144 w 9705"/>
                <a:gd name="connsiteY13" fmla="*/ 6 h 152494"/>
                <a:gd name="connsiteX14" fmla="*/ 6240 w 9705"/>
                <a:gd name="connsiteY14" fmla="*/ 6 h 152494"/>
                <a:gd name="connsiteX15" fmla="*/ 780 w 9705"/>
                <a:gd name="connsiteY15" fmla="*/ 4831 h 152494"/>
                <a:gd name="connsiteX16" fmla="*/ 780 w 9705"/>
                <a:gd name="connsiteY16" fmla="*/ 152494 h 152494"/>
                <a:gd name="connsiteX17" fmla="*/ 2469 w 9705"/>
                <a:gd name="connsiteY17" fmla="*/ 145333 h 152494"/>
                <a:gd name="connsiteX18" fmla="*/ 4335 w 9705"/>
                <a:gd name="connsiteY18" fmla="*/ 144622 h 15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05" h="152494">
                  <a:moveTo>
                    <a:pt x="4335" y="144622"/>
                  </a:moveTo>
                  <a:cubicBezTo>
                    <a:pt x="7141" y="144482"/>
                    <a:pt x="9528" y="146628"/>
                    <a:pt x="9668" y="149434"/>
                  </a:cubicBezTo>
                  <a:cubicBezTo>
                    <a:pt x="9668" y="149434"/>
                    <a:pt x="9668" y="149447"/>
                    <a:pt x="9668" y="149447"/>
                  </a:cubicBezTo>
                  <a:lnTo>
                    <a:pt x="9668" y="1784"/>
                  </a:lnTo>
                  <a:lnTo>
                    <a:pt x="9668" y="1784"/>
                  </a:lnTo>
                  <a:cubicBezTo>
                    <a:pt x="9718" y="1454"/>
                    <a:pt x="9718" y="1098"/>
                    <a:pt x="9668" y="768"/>
                  </a:cubicBezTo>
                  <a:cubicBezTo>
                    <a:pt x="9668" y="768"/>
                    <a:pt x="9668" y="768"/>
                    <a:pt x="9668" y="768"/>
                  </a:cubicBezTo>
                  <a:lnTo>
                    <a:pt x="9668" y="768"/>
                  </a:lnTo>
                  <a:lnTo>
                    <a:pt x="9668" y="6"/>
                  </a:lnTo>
                  <a:cubicBezTo>
                    <a:pt x="9668" y="6"/>
                    <a:pt x="9668" y="6"/>
                    <a:pt x="9668" y="6"/>
                  </a:cubicBezTo>
                  <a:lnTo>
                    <a:pt x="9668" y="6"/>
                  </a:lnTo>
                  <a:lnTo>
                    <a:pt x="8906" y="6"/>
                  </a:lnTo>
                  <a:lnTo>
                    <a:pt x="8144" y="6"/>
                  </a:lnTo>
                  <a:lnTo>
                    <a:pt x="8144" y="6"/>
                  </a:lnTo>
                  <a:lnTo>
                    <a:pt x="6240" y="6"/>
                  </a:lnTo>
                  <a:cubicBezTo>
                    <a:pt x="3408" y="-133"/>
                    <a:pt x="983" y="2000"/>
                    <a:pt x="780" y="4831"/>
                  </a:cubicBezTo>
                  <a:lnTo>
                    <a:pt x="780" y="152494"/>
                  </a:lnTo>
                  <a:cubicBezTo>
                    <a:pt x="-731" y="150043"/>
                    <a:pt x="18" y="146844"/>
                    <a:pt x="2469" y="145333"/>
                  </a:cubicBezTo>
                  <a:cubicBezTo>
                    <a:pt x="3040" y="144977"/>
                    <a:pt x="3675" y="144736"/>
                    <a:pt x="4335" y="144622"/>
                  </a:cubicBezTo>
                  <a:close/>
                </a:path>
              </a:pathLst>
            </a:custGeom>
            <a:solidFill>
              <a:srgbClr val="000000"/>
            </a:solidFill>
            <a:ln w="12690" cap="flat">
              <a:noFill/>
              <a:prstDash val="solid"/>
              <a:miter/>
            </a:ln>
          </p:spPr>
          <p:txBody>
            <a:bodyPr rtlCol="0" anchor="ctr"/>
            <a:lstStyle/>
            <a:p>
              <a:endParaRPr lang="en-US"/>
            </a:p>
          </p:txBody>
        </p:sp>
        <p:sp>
          <p:nvSpPr>
            <p:cNvPr id="763" name="Freeform: Shape 762">
              <a:extLst>
                <a:ext uri="{FF2B5EF4-FFF2-40B4-BE49-F238E27FC236}">
                  <a16:creationId xmlns:a16="http://schemas.microsoft.com/office/drawing/2014/main" id="{5AEFF3BD-4ACE-434D-9B7D-DE44855799D0}"/>
                </a:ext>
              </a:extLst>
            </p:cNvPr>
            <p:cNvSpPr/>
            <p:nvPr/>
          </p:nvSpPr>
          <p:spPr>
            <a:xfrm>
              <a:off x="4121643" y="1923485"/>
              <a:ext cx="10792" cy="192736"/>
            </a:xfrm>
            <a:custGeom>
              <a:avLst/>
              <a:gdLst>
                <a:gd name="connsiteX0" fmla="*/ 10792 w 10792"/>
                <a:gd name="connsiteY0" fmla="*/ 11491 h 192736"/>
                <a:gd name="connsiteX1" fmla="*/ 10792 w 10792"/>
                <a:gd name="connsiteY1" fmla="*/ 4635 h 192736"/>
                <a:gd name="connsiteX2" fmla="*/ 4571 w 10792"/>
                <a:gd name="connsiteY2" fmla="*/ 64 h 192736"/>
                <a:gd name="connsiteX3" fmla="*/ 0 w 10792"/>
                <a:gd name="connsiteY3" fmla="*/ 4635 h 192736"/>
                <a:gd name="connsiteX4" fmla="*/ 0 w 10792"/>
                <a:gd name="connsiteY4" fmla="*/ 188102 h 192736"/>
                <a:gd name="connsiteX5" fmla="*/ 6221 w 10792"/>
                <a:gd name="connsiteY5" fmla="*/ 192673 h 192736"/>
                <a:gd name="connsiteX6" fmla="*/ 10792 w 10792"/>
                <a:gd name="connsiteY6" fmla="*/ 188102 h 192736"/>
                <a:gd name="connsiteX7" fmla="*/ 10792 w 10792"/>
                <a:gd name="connsiteY7" fmla="*/ 11491 h 19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2" h="192736">
                  <a:moveTo>
                    <a:pt x="10792" y="11491"/>
                  </a:moveTo>
                  <a:lnTo>
                    <a:pt x="10792" y="4635"/>
                  </a:lnTo>
                  <a:cubicBezTo>
                    <a:pt x="10335" y="1651"/>
                    <a:pt x="7542" y="-393"/>
                    <a:pt x="4571" y="64"/>
                  </a:cubicBezTo>
                  <a:cubicBezTo>
                    <a:pt x="2209" y="432"/>
                    <a:pt x="368" y="2273"/>
                    <a:pt x="0" y="4635"/>
                  </a:cubicBezTo>
                  <a:lnTo>
                    <a:pt x="0" y="188102"/>
                  </a:lnTo>
                  <a:cubicBezTo>
                    <a:pt x="457" y="191086"/>
                    <a:pt x="3251" y="193130"/>
                    <a:pt x="6221" y="192673"/>
                  </a:cubicBezTo>
                  <a:cubicBezTo>
                    <a:pt x="8583" y="192305"/>
                    <a:pt x="10424" y="190464"/>
                    <a:pt x="10792" y="188102"/>
                  </a:cubicBezTo>
                  <a:lnTo>
                    <a:pt x="10792" y="11491"/>
                  </a:lnTo>
                  <a:close/>
                </a:path>
              </a:pathLst>
            </a:custGeom>
            <a:solidFill>
              <a:srgbClr val="000000"/>
            </a:solidFill>
            <a:ln w="12690" cap="flat">
              <a:noFill/>
              <a:prstDash val="solid"/>
              <a:miter/>
            </a:ln>
          </p:spPr>
          <p:txBody>
            <a:bodyPr rtlCol="0" anchor="ctr"/>
            <a:lstStyle/>
            <a:p>
              <a:endParaRPr lang="en-US"/>
            </a:p>
          </p:txBody>
        </p:sp>
        <p:sp>
          <p:nvSpPr>
            <p:cNvPr id="764" name="Freeform: Shape 763">
              <a:extLst>
                <a:ext uri="{FF2B5EF4-FFF2-40B4-BE49-F238E27FC236}">
                  <a16:creationId xmlns:a16="http://schemas.microsoft.com/office/drawing/2014/main" id="{BAB207BB-8243-47FD-BE62-62478D7B6416}"/>
                </a:ext>
              </a:extLst>
            </p:cNvPr>
            <p:cNvSpPr/>
            <p:nvPr/>
          </p:nvSpPr>
          <p:spPr>
            <a:xfrm>
              <a:off x="5896125" y="2987152"/>
              <a:ext cx="180067" cy="26722"/>
            </a:xfrm>
            <a:custGeom>
              <a:avLst/>
              <a:gdLst>
                <a:gd name="connsiteX0" fmla="*/ 174100 w 180067"/>
                <a:gd name="connsiteY0" fmla="*/ 21965 h 26722"/>
                <a:gd name="connsiteX1" fmla="*/ 180067 w 180067"/>
                <a:gd name="connsiteY1" fmla="*/ 17648 h 26722"/>
                <a:gd name="connsiteX2" fmla="*/ 177655 w 180067"/>
                <a:gd name="connsiteY2" fmla="*/ 17648 h 26722"/>
                <a:gd name="connsiteX3" fmla="*/ 4978 w 180067"/>
                <a:gd name="connsiteY3" fmla="*/ 0 h 26722"/>
                <a:gd name="connsiteX4" fmla="*/ 2692 w 180067"/>
                <a:gd name="connsiteY4" fmla="*/ 0 h 26722"/>
                <a:gd name="connsiteX5" fmla="*/ 1423 w 180067"/>
                <a:gd name="connsiteY5" fmla="*/ 635 h 26722"/>
                <a:gd name="connsiteX6" fmla="*/ 1423 w 180067"/>
                <a:gd name="connsiteY6" fmla="*/ 635 h 26722"/>
                <a:gd name="connsiteX7" fmla="*/ 661 w 180067"/>
                <a:gd name="connsiteY7" fmla="*/ 1397 h 26722"/>
                <a:gd name="connsiteX8" fmla="*/ 661 w 180067"/>
                <a:gd name="connsiteY8" fmla="*/ 2158 h 26722"/>
                <a:gd name="connsiteX9" fmla="*/ 26 w 180067"/>
                <a:gd name="connsiteY9" fmla="*/ 3682 h 26722"/>
                <a:gd name="connsiteX10" fmla="*/ 4445 w 180067"/>
                <a:gd name="connsiteY10" fmla="*/ 9116 h 26722"/>
                <a:gd name="connsiteX11" fmla="*/ 4851 w 180067"/>
                <a:gd name="connsiteY11" fmla="*/ 9142 h 26722"/>
                <a:gd name="connsiteX12" fmla="*/ 8787 w 180067"/>
                <a:gd name="connsiteY12" fmla="*/ 9142 h 26722"/>
                <a:gd name="connsiteX13" fmla="*/ 179813 w 180067"/>
                <a:gd name="connsiteY13" fmla="*/ 26663 h 26722"/>
                <a:gd name="connsiteX14" fmla="*/ 174150 w 180067"/>
                <a:gd name="connsiteY14" fmla="*/ 22537 h 26722"/>
                <a:gd name="connsiteX15" fmla="*/ 174100 w 180067"/>
                <a:gd name="connsiteY15" fmla="*/ 21965 h 2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067" h="26722">
                  <a:moveTo>
                    <a:pt x="174100" y="21965"/>
                  </a:moveTo>
                  <a:cubicBezTo>
                    <a:pt x="174620" y="19159"/>
                    <a:pt x="177249" y="17268"/>
                    <a:pt x="180067" y="17648"/>
                  </a:cubicBezTo>
                  <a:lnTo>
                    <a:pt x="177655" y="17648"/>
                  </a:lnTo>
                  <a:lnTo>
                    <a:pt x="4978" y="0"/>
                  </a:lnTo>
                  <a:lnTo>
                    <a:pt x="2692" y="0"/>
                  </a:lnTo>
                  <a:lnTo>
                    <a:pt x="1423" y="635"/>
                  </a:lnTo>
                  <a:cubicBezTo>
                    <a:pt x="1423" y="635"/>
                    <a:pt x="1423" y="635"/>
                    <a:pt x="1423" y="635"/>
                  </a:cubicBezTo>
                  <a:lnTo>
                    <a:pt x="661" y="1397"/>
                  </a:lnTo>
                  <a:cubicBezTo>
                    <a:pt x="623" y="1650"/>
                    <a:pt x="623" y="1904"/>
                    <a:pt x="661" y="2158"/>
                  </a:cubicBezTo>
                  <a:cubicBezTo>
                    <a:pt x="344" y="2615"/>
                    <a:pt x="128" y="3136"/>
                    <a:pt x="26" y="3682"/>
                  </a:cubicBezTo>
                  <a:cubicBezTo>
                    <a:pt x="-253" y="6399"/>
                    <a:pt x="1728" y="8837"/>
                    <a:pt x="4445" y="9116"/>
                  </a:cubicBezTo>
                  <a:cubicBezTo>
                    <a:pt x="4585" y="9129"/>
                    <a:pt x="4711" y="9142"/>
                    <a:pt x="4851" y="9142"/>
                  </a:cubicBezTo>
                  <a:lnTo>
                    <a:pt x="8787" y="9142"/>
                  </a:lnTo>
                  <a:lnTo>
                    <a:pt x="179813" y="26663"/>
                  </a:lnTo>
                  <a:cubicBezTo>
                    <a:pt x="177109" y="27082"/>
                    <a:pt x="174582" y="25241"/>
                    <a:pt x="174150" y="22537"/>
                  </a:cubicBezTo>
                  <a:cubicBezTo>
                    <a:pt x="174125" y="22346"/>
                    <a:pt x="174112" y="22156"/>
                    <a:pt x="174100" y="21965"/>
                  </a:cubicBezTo>
                  <a:close/>
                </a:path>
              </a:pathLst>
            </a:custGeom>
            <a:solidFill>
              <a:srgbClr val="000000"/>
            </a:solidFill>
            <a:ln w="12690" cap="flat">
              <a:noFill/>
              <a:prstDash val="solid"/>
              <a:miter/>
            </a:ln>
          </p:spPr>
          <p:txBody>
            <a:bodyPr rtlCol="0" anchor="ctr"/>
            <a:lstStyle/>
            <a:p>
              <a:endParaRPr lang="en-US"/>
            </a:p>
          </p:txBody>
        </p:sp>
        <p:sp>
          <p:nvSpPr>
            <p:cNvPr id="765" name="Freeform: Shape 764">
              <a:extLst>
                <a:ext uri="{FF2B5EF4-FFF2-40B4-BE49-F238E27FC236}">
                  <a16:creationId xmlns:a16="http://schemas.microsoft.com/office/drawing/2014/main" id="{08D4CF98-F3E0-42EE-8BD2-546342DC4119}"/>
                </a:ext>
              </a:extLst>
            </p:cNvPr>
            <p:cNvSpPr/>
            <p:nvPr/>
          </p:nvSpPr>
          <p:spPr>
            <a:xfrm>
              <a:off x="11297888" y="3082314"/>
              <a:ext cx="10791" cy="79164"/>
            </a:xfrm>
            <a:custGeom>
              <a:avLst/>
              <a:gdLst>
                <a:gd name="connsiteX0" fmla="*/ 10792 w 10791"/>
                <a:gd name="connsiteY0" fmla="*/ 4635 h 79164"/>
                <a:gd name="connsiteX1" fmla="*/ 4571 w 10791"/>
                <a:gd name="connsiteY1" fmla="*/ 64 h 79164"/>
                <a:gd name="connsiteX2" fmla="*/ 0 w 10791"/>
                <a:gd name="connsiteY2" fmla="*/ 4635 h 79164"/>
                <a:gd name="connsiteX3" fmla="*/ 0 w 10791"/>
                <a:gd name="connsiteY3" fmla="*/ 79164 h 79164"/>
                <a:gd name="connsiteX4" fmla="*/ 6221 w 10791"/>
                <a:gd name="connsiteY4" fmla="*/ 74594 h 79164"/>
                <a:gd name="connsiteX5" fmla="*/ 10792 w 10791"/>
                <a:gd name="connsiteY5" fmla="*/ 79164 h 79164"/>
                <a:gd name="connsiteX6" fmla="*/ 10792 w 10791"/>
                <a:gd name="connsiteY6" fmla="*/ 4762 h 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79164">
                  <a:moveTo>
                    <a:pt x="10792" y="4635"/>
                  </a:moveTo>
                  <a:cubicBezTo>
                    <a:pt x="10335" y="1651"/>
                    <a:pt x="7542" y="-393"/>
                    <a:pt x="4571" y="64"/>
                  </a:cubicBezTo>
                  <a:cubicBezTo>
                    <a:pt x="2209" y="432"/>
                    <a:pt x="368" y="2273"/>
                    <a:pt x="0" y="4635"/>
                  </a:cubicBezTo>
                  <a:lnTo>
                    <a:pt x="0" y="79164"/>
                  </a:lnTo>
                  <a:cubicBezTo>
                    <a:pt x="457" y="76181"/>
                    <a:pt x="3250" y="74136"/>
                    <a:pt x="6221" y="74594"/>
                  </a:cubicBezTo>
                  <a:cubicBezTo>
                    <a:pt x="8583" y="74962"/>
                    <a:pt x="10424" y="76803"/>
                    <a:pt x="10792" y="79164"/>
                  </a:cubicBezTo>
                  <a:lnTo>
                    <a:pt x="10792" y="4762"/>
                  </a:lnTo>
                  <a:close/>
                </a:path>
              </a:pathLst>
            </a:custGeom>
            <a:solidFill>
              <a:srgbClr val="000000"/>
            </a:solidFill>
            <a:ln w="12690" cap="flat">
              <a:noFill/>
              <a:prstDash val="solid"/>
              <a:miter/>
            </a:ln>
          </p:spPr>
          <p:txBody>
            <a:bodyPr rtlCol="0" anchor="ctr"/>
            <a:lstStyle/>
            <a:p>
              <a:endParaRPr lang="en-US"/>
            </a:p>
          </p:txBody>
        </p:sp>
        <p:sp>
          <p:nvSpPr>
            <p:cNvPr id="766" name="Freeform: Shape 765">
              <a:extLst>
                <a:ext uri="{FF2B5EF4-FFF2-40B4-BE49-F238E27FC236}">
                  <a16:creationId xmlns:a16="http://schemas.microsoft.com/office/drawing/2014/main" id="{8CA05530-47BE-49E0-AB90-D694BEAAB189}"/>
                </a:ext>
              </a:extLst>
            </p:cNvPr>
            <p:cNvSpPr/>
            <p:nvPr/>
          </p:nvSpPr>
          <p:spPr>
            <a:xfrm>
              <a:off x="11297888" y="3156843"/>
              <a:ext cx="10791" cy="112874"/>
            </a:xfrm>
            <a:custGeom>
              <a:avLst/>
              <a:gdLst>
                <a:gd name="connsiteX0" fmla="*/ 10792 w 10791"/>
                <a:gd name="connsiteY0" fmla="*/ 4635 h 112874"/>
                <a:gd name="connsiteX1" fmla="*/ 4571 w 10791"/>
                <a:gd name="connsiteY1" fmla="*/ 64 h 112874"/>
                <a:gd name="connsiteX2" fmla="*/ 0 w 10791"/>
                <a:gd name="connsiteY2" fmla="*/ 4635 h 112874"/>
                <a:gd name="connsiteX3" fmla="*/ 0 w 10791"/>
                <a:gd name="connsiteY3" fmla="*/ 108240 h 112874"/>
                <a:gd name="connsiteX4" fmla="*/ 6221 w 10791"/>
                <a:gd name="connsiteY4" fmla="*/ 112810 h 112874"/>
                <a:gd name="connsiteX5" fmla="*/ 10792 w 10791"/>
                <a:gd name="connsiteY5" fmla="*/ 108240 h 112874"/>
                <a:gd name="connsiteX6" fmla="*/ 10792 w 10791"/>
                <a:gd name="connsiteY6" fmla="*/ 4635 h 11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112874">
                  <a:moveTo>
                    <a:pt x="10792" y="4635"/>
                  </a:moveTo>
                  <a:cubicBezTo>
                    <a:pt x="10335" y="1651"/>
                    <a:pt x="7542" y="-393"/>
                    <a:pt x="4571" y="64"/>
                  </a:cubicBezTo>
                  <a:cubicBezTo>
                    <a:pt x="2209" y="432"/>
                    <a:pt x="368" y="2273"/>
                    <a:pt x="0" y="4635"/>
                  </a:cubicBezTo>
                  <a:lnTo>
                    <a:pt x="0" y="108240"/>
                  </a:lnTo>
                  <a:cubicBezTo>
                    <a:pt x="457" y="111223"/>
                    <a:pt x="3250" y="113268"/>
                    <a:pt x="6221" y="112810"/>
                  </a:cubicBezTo>
                  <a:cubicBezTo>
                    <a:pt x="8583" y="112442"/>
                    <a:pt x="10424" y="110602"/>
                    <a:pt x="10792" y="108240"/>
                  </a:cubicBezTo>
                  <a:lnTo>
                    <a:pt x="10792" y="4635"/>
                  </a:lnTo>
                  <a:close/>
                </a:path>
              </a:pathLst>
            </a:custGeom>
            <a:solidFill>
              <a:srgbClr val="000000"/>
            </a:solidFill>
            <a:ln w="12690" cap="flat">
              <a:noFill/>
              <a:prstDash val="solid"/>
              <a:miter/>
            </a:ln>
          </p:spPr>
          <p:txBody>
            <a:bodyPr rtlCol="0" anchor="ctr"/>
            <a:lstStyle/>
            <a:p>
              <a:endParaRPr lang="en-US"/>
            </a:p>
          </p:txBody>
        </p:sp>
        <p:sp>
          <p:nvSpPr>
            <p:cNvPr id="767" name="Freeform: Shape 766">
              <a:extLst>
                <a:ext uri="{FF2B5EF4-FFF2-40B4-BE49-F238E27FC236}">
                  <a16:creationId xmlns:a16="http://schemas.microsoft.com/office/drawing/2014/main" id="{9BCBCFF9-1CA2-4448-807B-27D1448C457F}"/>
                </a:ext>
              </a:extLst>
            </p:cNvPr>
            <p:cNvSpPr/>
            <p:nvPr/>
          </p:nvSpPr>
          <p:spPr>
            <a:xfrm>
              <a:off x="10626134" y="3624321"/>
              <a:ext cx="425562" cy="97462"/>
            </a:xfrm>
            <a:custGeom>
              <a:avLst/>
              <a:gdLst>
                <a:gd name="connsiteX0" fmla="*/ 10758 w 425562"/>
                <a:gd name="connsiteY0" fmla="*/ 1095 h 97462"/>
                <a:gd name="connsiteX1" fmla="*/ 6567 w 425562"/>
                <a:gd name="connsiteY1" fmla="*/ 206 h 97462"/>
                <a:gd name="connsiteX2" fmla="*/ 130 w 425562"/>
                <a:gd name="connsiteY2" fmla="*/ 3774 h 97462"/>
                <a:gd name="connsiteX3" fmla="*/ 92 w 425562"/>
                <a:gd name="connsiteY3" fmla="*/ 3888 h 97462"/>
                <a:gd name="connsiteX4" fmla="*/ 4003 w 425562"/>
                <a:gd name="connsiteY4" fmla="*/ 9703 h 97462"/>
                <a:gd name="connsiteX5" fmla="*/ 4155 w 425562"/>
                <a:gd name="connsiteY5" fmla="*/ 9729 h 97462"/>
                <a:gd name="connsiteX6" fmla="*/ 423150 w 425562"/>
                <a:gd name="connsiteY6" fmla="*/ 97463 h 97462"/>
                <a:gd name="connsiteX7" fmla="*/ 419062 w 425562"/>
                <a:gd name="connsiteY7" fmla="*/ 91775 h 97462"/>
                <a:gd name="connsiteX8" fmla="*/ 419087 w 425562"/>
                <a:gd name="connsiteY8" fmla="*/ 91622 h 97462"/>
                <a:gd name="connsiteX9" fmla="*/ 425563 w 425562"/>
                <a:gd name="connsiteY9" fmla="*/ 87940 h 97462"/>
                <a:gd name="connsiteX10" fmla="*/ 418960 w 425562"/>
                <a:gd name="connsiteY10" fmla="*/ 86543 h 9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562" h="97462">
                  <a:moveTo>
                    <a:pt x="10758" y="1095"/>
                  </a:moveTo>
                  <a:lnTo>
                    <a:pt x="6567" y="206"/>
                  </a:lnTo>
                  <a:cubicBezTo>
                    <a:pt x="3799" y="-594"/>
                    <a:pt x="917" y="1006"/>
                    <a:pt x="130" y="3774"/>
                  </a:cubicBezTo>
                  <a:cubicBezTo>
                    <a:pt x="117" y="3812"/>
                    <a:pt x="105" y="3850"/>
                    <a:pt x="92" y="3888"/>
                  </a:cubicBezTo>
                  <a:cubicBezTo>
                    <a:pt x="-428" y="6567"/>
                    <a:pt x="1311" y="9170"/>
                    <a:pt x="4003" y="9703"/>
                  </a:cubicBezTo>
                  <a:cubicBezTo>
                    <a:pt x="4053" y="9716"/>
                    <a:pt x="4105" y="9716"/>
                    <a:pt x="4155" y="9729"/>
                  </a:cubicBezTo>
                  <a:lnTo>
                    <a:pt x="423150" y="97463"/>
                  </a:lnTo>
                  <a:cubicBezTo>
                    <a:pt x="420446" y="97018"/>
                    <a:pt x="418617" y="94479"/>
                    <a:pt x="419062" y="91775"/>
                  </a:cubicBezTo>
                  <a:cubicBezTo>
                    <a:pt x="419062" y="91724"/>
                    <a:pt x="419075" y="91673"/>
                    <a:pt x="419087" y="91622"/>
                  </a:cubicBezTo>
                  <a:cubicBezTo>
                    <a:pt x="419887" y="88842"/>
                    <a:pt x="422757" y="87204"/>
                    <a:pt x="425563" y="87940"/>
                  </a:cubicBezTo>
                  <a:lnTo>
                    <a:pt x="418960" y="86543"/>
                  </a:lnTo>
                  <a:close/>
                </a:path>
              </a:pathLst>
            </a:custGeom>
            <a:solidFill>
              <a:srgbClr val="000000"/>
            </a:solidFill>
            <a:ln w="12690" cap="flat">
              <a:noFill/>
              <a:prstDash val="solid"/>
              <a:miter/>
            </a:ln>
          </p:spPr>
          <p:txBody>
            <a:bodyPr rtlCol="0" anchor="ctr"/>
            <a:lstStyle/>
            <a:p>
              <a:endParaRPr lang="en-US"/>
            </a:p>
          </p:txBody>
        </p:sp>
        <p:sp>
          <p:nvSpPr>
            <p:cNvPr id="768" name="Freeform: Shape 767">
              <a:extLst>
                <a:ext uri="{FF2B5EF4-FFF2-40B4-BE49-F238E27FC236}">
                  <a16:creationId xmlns:a16="http://schemas.microsoft.com/office/drawing/2014/main" id="{265774CC-696B-445B-AA4C-F38CFC9B63CE}"/>
                </a:ext>
              </a:extLst>
            </p:cNvPr>
            <p:cNvSpPr/>
            <p:nvPr/>
          </p:nvSpPr>
          <p:spPr>
            <a:xfrm>
              <a:off x="11044622" y="3712085"/>
              <a:ext cx="153307" cy="39667"/>
            </a:xfrm>
            <a:custGeom>
              <a:avLst/>
              <a:gdLst>
                <a:gd name="connsiteX0" fmla="*/ 6568 w 153307"/>
                <a:gd name="connsiteY0" fmla="*/ 176 h 39667"/>
                <a:gd name="connsiteX1" fmla="*/ 6568 w 153307"/>
                <a:gd name="connsiteY1" fmla="*/ 176 h 39667"/>
                <a:gd name="connsiteX2" fmla="*/ 92 w 153307"/>
                <a:gd name="connsiteY2" fmla="*/ 3858 h 39667"/>
                <a:gd name="connsiteX3" fmla="*/ 4002 w 153307"/>
                <a:gd name="connsiteY3" fmla="*/ 9673 h 39667"/>
                <a:gd name="connsiteX4" fmla="*/ 4155 w 153307"/>
                <a:gd name="connsiteY4" fmla="*/ 9699 h 39667"/>
                <a:gd name="connsiteX5" fmla="*/ 4155 w 153307"/>
                <a:gd name="connsiteY5" fmla="*/ 9699 h 39667"/>
                <a:gd name="connsiteX6" fmla="*/ 146740 w 153307"/>
                <a:gd name="connsiteY6" fmla="*/ 39663 h 39667"/>
                <a:gd name="connsiteX7" fmla="*/ 147883 w 153307"/>
                <a:gd name="connsiteY7" fmla="*/ 39663 h 39667"/>
                <a:gd name="connsiteX8" fmla="*/ 153216 w 153307"/>
                <a:gd name="connsiteY8" fmla="*/ 35854 h 39667"/>
                <a:gd name="connsiteX9" fmla="*/ 149305 w 153307"/>
                <a:gd name="connsiteY9" fmla="*/ 30039 h 39667"/>
                <a:gd name="connsiteX10" fmla="*/ 149153 w 153307"/>
                <a:gd name="connsiteY10" fmla="*/ 30014 h 39667"/>
                <a:gd name="connsiteX11" fmla="*/ 149153 w 153307"/>
                <a:gd name="connsiteY11" fmla="*/ 30014 h 39667"/>
                <a:gd name="connsiteX12" fmla="*/ 146360 w 153307"/>
                <a:gd name="connsiteY12" fmla="*/ 29379 h 39667"/>
                <a:gd name="connsiteX13" fmla="*/ 10757 w 153307"/>
                <a:gd name="connsiteY13" fmla="*/ 938 h 3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307" h="39667">
                  <a:moveTo>
                    <a:pt x="6568" y="176"/>
                  </a:moveTo>
                  <a:lnTo>
                    <a:pt x="6568" y="176"/>
                  </a:lnTo>
                  <a:cubicBezTo>
                    <a:pt x="3761" y="-560"/>
                    <a:pt x="892" y="1078"/>
                    <a:pt x="92" y="3858"/>
                  </a:cubicBezTo>
                  <a:cubicBezTo>
                    <a:pt x="-429" y="6537"/>
                    <a:pt x="1311" y="9140"/>
                    <a:pt x="4002" y="9673"/>
                  </a:cubicBezTo>
                  <a:cubicBezTo>
                    <a:pt x="4054" y="9686"/>
                    <a:pt x="4104" y="9686"/>
                    <a:pt x="4155" y="9699"/>
                  </a:cubicBezTo>
                  <a:lnTo>
                    <a:pt x="4155" y="9699"/>
                  </a:lnTo>
                  <a:lnTo>
                    <a:pt x="146740" y="39663"/>
                  </a:lnTo>
                  <a:lnTo>
                    <a:pt x="147883" y="39663"/>
                  </a:lnTo>
                  <a:cubicBezTo>
                    <a:pt x="150321" y="39764"/>
                    <a:pt x="152518" y="38190"/>
                    <a:pt x="153216" y="35854"/>
                  </a:cubicBezTo>
                  <a:cubicBezTo>
                    <a:pt x="153737" y="33175"/>
                    <a:pt x="151997" y="30572"/>
                    <a:pt x="149305" y="30039"/>
                  </a:cubicBezTo>
                  <a:cubicBezTo>
                    <a:pt x="149254" y="30026"/>
                    <a:pt x="149204" y="30026"/>
                    <a:pt x="149153" y="30014"/>
                  </a:cubicBezTo>
                  <a:lnTo>
                    <a:pt x="149153" y="30014"/>
                  </a:lnTo>
                  <a:lnTo>
                    <a:pt x="146360" y="29379"/>
                  </a:lnTo>
                  <a:lnTo>
                    <a:pt x="10757" y="938"/>
                  </a:lnTo>
                  <a:close/>
                </a:path>
              </a:pathLst>
            </a:custGeom>
            <a:solidFill>
              <a:srgbClr val="000000"/>
            </a:solidFill>
            <a:ln w="12690" cap="flat">
              <a:noFill/>
              <a:prstDash val="solid"/>
              <a:miter/>
            </a:ln>
          </p:spPr>
          <p:txBody>
            <a:bodyPr rtlCol="0" anchor="ctr"/>
            <a:lstStyle/>
            <a:p>
              <a:endParaRPr lang="en-US"/>
            </a:p>
          </p:txBody>
        </p:sp>
        <p:sp>
          <p:nvSpPr>
            <p:cNvPr id="769" name="Freeform: Shape 768">
              <a:extLst>
                <a:ext uri="{FF2B5EF4-FFF2-40B4-BE49-F238E27FC236}">
                  <a16:creationId xmlns:a16="http://schemas.microsoft.com/office/drawing/2014/main" id="{A1D3D322-5466-4C9E-913B-B23BEF6D749A}"/>
                </a:ext>
              </a:extLst>
            </p:cNvPr>
            <p:cNvSpPr/>
            <p:nvPr/>
          </p:nvSpPr>
          <p:spPr>
            <a:xfrm>
              <a:off x="1316025" y="-1"/>
              <a:ext cx="925471" cy="279327"/>
            </a:xfrm>
            <a:custGeom>
              <a:avLst/>
              <a:gdLst>
                <a:gd name="connsiteX0" fmla="*/ 918615 w 925471"/>
                <a:gd name="connsiteY0" fmla="*/ 272471 h 279327"/>
                <a:gd name="connsiteX1" fmla="*/ 925472 w 925471"/>
                <a:gd name="connsiteY1" fmla="*/ 269297 h 279327"/>
                <a:gd name="connsiteX2" fmla="*/ 918361 w 925471"/>
                <a:gd name="connsiteY2" fmla="*/ 267266 h 279327"/>
                <a:gd name="connsiteX3" fmla="*/ 34154 w 925471"/>
                <a:gd name="connsiteY3" fmla="*/ 0 h 279327"/>
                <a:gd name="connsiteX4" fmla="*/ 0 w 925471"/>
                <a:gd name="connsiteY4" fmla="*/ 0 h 279327"/>
                <a:gd name="connsiteX5" fmla="*/ 921790 w 925471"/>
                <a:gd name="connsiteY5" fmla="*/ 279328 h 279327"/>
                <a:gd name="connsiteX6" fmla="*/ 918336 w 925471"/>
                <a:gd name="connsiteY6" fmla="*/ 273237 h 279327"/>
                <a:gd name="connsiteX7" fmla="*/ 918615 w 925471"/>
                <a:gd name="connsiteY7" fmla="*/ 272471 h 2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471" h="279327">
                  <a:moveTo>
                    <a:pt x="918615" y="272471"/>
                  </a:moveTo>
                  <a:cubicBezTo>
                    <a:pt x="919771" y="269838"/>
                    <a:pt x="922716" y="268477"/>
                    <a:pt x="925472" y="269297"/>
                  </a:cubicBezTo>
                  <a:lnTo>
                    <a:pt x="918361" y="267266"/>
                  </a:lnTo>
                  <a:lnTo>
                    <a:pt x="34154" y="0"/>
                  </a:lnTo>
                  <a:lnTo>
                    <a:pt x="0" y="0"/>
                  </a:lnTo>
                  <a:lnTo>
                    <a:pt x="921790" y="279328"/>
                  </a:lnTo>
                  <a:cubicBezTo>
                    <a:pt x="919149" y="278600"/>
                    <a:pt x="917612" y="275873"/>
                    <a:pt x="918336" y="273237"/>
                  </a:cubicBezTo>
                  <a:cubicBezTo>
                    <a:pt x="918412" y="272974"/>
                    <a:pt x="918501" y="272718"/>
                    <a:pt x="918615" y="272471"/>
                  </a:cubicBezTo>
                  <a:close/>
                </a:path>
              </a:pathLst>
            </a:custGeom>
            <a:solidFill>
              <a:srgbClr val="000000"/>
            </a:solidFill>
            <a:ln w="12690" cap="flat">
              <a:noFill/>
              <a:prstDash val="solid"/>
              <a:miter/>
            </a:ln>
          </p:spPr>
          <p:txBody>
            <a:bodyPr rtlCol="0" anchor="ctr"/>
            <a:lstStyle/>
            <a:p>
              <a:endParaRPr lang="en-US"/>
            </a:p>
          </p:txBody>
        </p:sp>
        <p:sp>
          <p:nvSpPr>
            <p:cNvPr id="770" name="Freeform: Shape 769">
              <a:extLst>
                <a:ext uri="{FF2B5EF4-FFF2-40B4-BE49-F238E27FC236}">
                  <a16:creationId xmlns:a16="http://schemas.microsoft.com/office/drawing/2014/main" id="{14926869-34D4-491C-A996-21DB820412D1}"/>
                </a:ext>
              </a:extLst>
            </p:cNvPr>
            <p:cNvSpPr/>
            <p:nvPr/>
          </p:nvSpPr>
          <p:spPr>
            <a:xfrm>
              <a:off x="2234169" y="269058"/>
              <a:ext cx="1264988" cy="388976"/>
            </a:xfrm>
            <a:custGeom>
              <a:avLst/>
              <a:gdLst>
                <a:gd name="connsiteX0" fmla="*/ 1264695 w 1264988"/>
                <a:gd name="connsiteY0" fmla="*/ 385837 h 388976"/>
                <a:gd name="connsiteX1" fmla="*/ 1261914 w 1264988"/>
                <a:gd name="connsiteY1" fmla="*/ 379803 h 388976"/>
                <a:gd name="connsiteX2" fmla="*/ 1261266 w 1264988"/>
                <a:gd name="connsiteY2" fmla="*/ 379615 h 388976"/>
                <a:gd name="connsiteX3" fmla="*/ 1254156 w 1264988"/>
                <a:gd name="connsiteY3" fmla="*/ 377457 h 388976"/>
                <a:gd name="connsiteX4" fmla="*/ 10756 w 1264988"/>
                <a:gd name="connsiteY4" fmla="*/ 1380 h 388976"/>
                <a:gd name="connsiteX5" fmla="*/ 7074 w 1264988"/>
                <a:gd name="connsiteY5" fmla="*/ 238 h 388976"/>
                <a:gd name="connsiteX6" fmla="*/ 218 w 1264988"/>
                <a:gd name="connsiteY6" fmla="*/ 3412 h 388976"/>
                <a:gd name="connsiteX7" fmla="*/ 3506 w 1264988"/>
                <a:gd name="connsiteY7" fmla="*/ 9594 h 388976"/>
                <a:gd name="connsiteX8" fmla="*/ 3646 w 1264988"/>
                <a:gd name="connsiteY8" fmla="*/ 9633 h 388976"/>
                <a:gd name="connsiteX9" fmla="*/ 1257457 w 1264988"/>
                <a:gd name="connsiteY9" fmla="*/ 388884 h 388976"/>
                <a:gd name="connsiteX10" fmla="*/ 1259235 w 1264988"/>
                <a:gd name="connsiteY10" fmla="*/ 388884 h 388976"/>
                <a:gd name="connsiteX11" fmla="*/ 1264695 w 1264988"/>
                <a:gd name="connsiteY11" fmla="*/ 385837 h 3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4988" h="388976">
                  <a:moveTo>
                    <a:pt x="1264695" y="385837"/>
                  </a:moveTo>
                  <a:cubicBezTo>
                    <a:pt x="1265596" y="383403"/>
                    <a:pt x="1264352" y="380701"/>
                    <a:pt x="1261914" y="379803"/>
                  </a:cubicBezTo>
                  <a:cubicBezTo>
                    <a:pt x="1261698" y="379724"/>
                    <a:pt x="1261482" y="379662"/>
                    <a:pt x="1261266" y="379615"/>
                  </a:cubicBezTo>
                  <a:lnTo>
                    <a:pt x="1254156" y="377457"/>
                  </a:lnTo>
                  <a:lnTo>
                    <a:pt x="10756" y="1380"/>
                  </a:lnTo>
                  <a:lnTo>
                    <a:pt x="7074" y="238"/>
                  </a:lnTo>
                  <a:cubicBezTo>
                    <a:pt x="4319" y="-582"/>
                    <a:pt x="1373" y="779"/>
                    <a:pt x="218" y="3412"/>
                  </a:cubicBezTo>
                  <a:cubicBezTo>
                    <a:pt x="-582" y="6027"/>
                    <a:pt x="891" y="8795"/>
                    <a:pt x="3506" y="9594"/>
                  </a:cubicBezTo>
                  <a:cubicBezTo>
                    <a:pt x="3557" y="9608"/>
                    <a:pt x="3595" y="9621"/>
                    <a:pt x="3646" y="9633"/>
                  </a:cubicBezTo>
                  <a:lnTo>
                    <a:pt x="1257457" y="388884"/>
                  </a:lnTo>
                  <a:cubicBezTo>
                    <a:pt x="1258041" y="389007"/>
                    <a:pt x="1258651" y="389007"/>
                    <a:pt x="1259235" y="388884"/>
                  </a:cubicBezTo>
                  <a:cubicBezTo>
                    <a:pt x="1261520" y="389153"/>
                    <a:pt x="1263729" y="387924"/>
                    <a:pt x="1264695" y="385837"/>
                  </a:cubicBezTo>
                  <a:close/>
                </a:path>
              </a:pathLst>
            </a:custGeom>
            <a:solidFill>
              <a:srgbClr val="000000"/>
            </a:solidFill>
            <a:ln w="12690" cap="flat">
              <a:noFill/>
              <a:prstDash val="solid"/>
              <a:miter/>
            </a:ln>
          </p:spPr>
          <p:txBody>
            <a:bodyPr rtlCol="0" anchor="ctr"/>
            <a:lstStyle/>
            <a:p>
              <a:endParaRPr lang="en-US"/>
            </a:p>
          </p:txBody>
        </p:sp>
        <p:sp>
          <p:nvSpPr>
            <p:cNvPr id="771" name="Freeform: Shape 770">
              <a:extLst>
                <a:ext uri="{FF2B5EF4-FFF2-40B4-BE49-F238E27FC236}">
                  <a16:creationId xmlns:a16="http://schemas.microsoft.com/office/drawing/2014/main" id="{B046EE65-8231-4BDE-B3A5-FAD8D3A14A81}"/>
                </a:ext>
              </a:extLst>
            </p:cNvPr>
            <p:cNvSpPr/>
            <p:nvPr/>
          </p:nvSpPr>
          <p:spPr>
            <a:xfrm>
              <a:off x="6070198" y="3005514"/>
              <a:ext cx="979332" cy="109621"/>
            </a:xfrm>
            <a:custGeom>
              <a:avLst/>
              <a:gdLst>
                <a:gd name="connsiteX0" fmla="*/ 973365 w 979332"/>
                <a:gd name="connsiteY0" fmla="*/ 103781 h 109621"/>
                <a:gd name="connsiteX1" fmla="*/ 979332 w 979332"/>
                <a:gd name="connsiteY1" fmla="*/ 99337 h 109621"/>
                <a:gd name="connsiteX2" fmla="*/ 973238 w 979332"/>
                <a:gd name="connsiteY2" fmla="*/ 99337 h 109621"/>
                <a:gd name="connsiteX3" fmla="*/ 17929 w 979332"/>
                <a:gd name="connsiteY3" fmla="*/ 1318 h 109621"/>
                <a:gd name="connsiteX4" fmla="*/ 5994 w 979332"/>
                <a:gd name="connsiteY4" fmla="*/ 49 h 109621"/>
                <a:gd name="connsiteX5" fmla="*/ 26 w 979332"/>
                <a:gd name="connsiteY5" fmla="*/ 4366 h 109621"/>
                <a:gd name="connsiteX6" fmla="*/ 4445 w 979332"/>
                <a:gd name="connsiteY6" fmla="*/ 9800 h 109621"/>
                <a:gd name="connsiteX7" fmla="*/ 4724 w 979332"/>
                <a:gd name="connsiteY7" fmla="*/ 9825 h 109621"/>
                <a:gd name="connsiteX8" fmla="*/ 978063 w 979332"/>
                <a:gd name="connsiteY8" fmla="*/ 109621 h 109621"/>
                <a:gd name="connsiteX9" fmla="*/ 973289 w 979332"/>
                <a:gd name="connsiteY9" fmla="*/ 104505 h 109621"/>
                <a:gd name="connsiteX10" fmla="*/ 973365 w 979332"/>
                <a:gd name="connsiteY10" fmla="*/ 103781 h 10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9332" h="109621">
                  <a:moveTo>
                    <a:pt x="973365" y="103781"/>
                  </a:moveTo>
                  <a:cubicBezTo>
                    <a:pt x="973886" y="100962"/>
                    <a:pt x="976488" y="99019"/>
                    <a:pt x="979332" y="99337"/>
                  </a:cubicBezTo>
                  <a:lnTo>
                    <a:pt x="973238" y="99337"/>
                  </a:lnTo>
                  <a:lnTo>
                    <a:pt x="17929" y="1318"/>
                  </a:lnTo>
                  <a:lnTo>
                    <a:pt x="5994" y="49"/>
                  </a:lnTo>
                  <a:cubicBezTo>
                    <a:pt x="3175" y="-332"/>
                    <a:pt x="547" y="1560"/>
                    <a:pt x="26" y="4366"/>
                  </a:cubicBezTo>
                  <a:cubicBezTo>
                    <a:pt x="-253" y="7083"/>
                    <a:pt x="1715" y="9520"/>
                    <a:pt x="4445" y="9800"/>
                  </a:cubicBezTo>
                  <a:cubicBezTo>
                    <a:pt x="4534" y="9812"/>
                    <a:pt x="4623" y="9825"/>
                    <a:pt x="4724" y="9825"/>
                  </a:cubicBezTo>
                  <a:lnTo>
                    <a:pt x="978063" y="109621"/>
                  </a:lnTo>
                  <a:cubicBezTo>
                    <a:pt x="975333" y="109520"/>
                    <a:pt x="973188" y="107234"/>
                    <a:pt x="973289" y="104505"/>
                  </a:cubicBezTo>
                  <a:cubicBezTo>
                    <a:pt x="973302" y="104263"/>
                    <a:pt x="973327" y="104022"/>
                    <a:pt x="973365" y="103781"/>
                  </a:cubicBezTo>
                  <a:close/>
                </a:path>
              </a:pathLst>
            </a:custGeom>
            <a:solidFill>
              <a:srgbClr val="000000"/>
            </a:solidFill>
            <a:ln w="12690" cap="flat">
              <a:noFill/>
              <a:prstDash val="solid"/>
              <a:miter/>
            </a:ln>
          </p:spPr>
          <p:txBody>
            <a:bodyPr rtlCol="0" anchor="ctr"/>
            <a:lstStyle/>
            <a:p>
              <a:endParaRPr lang="en-US"/>
            </a:p>
          </p:txBody>
        </p:sp>
        <p:sp>
          <p:nvSpPr>
            <p:cNvPr id="772" name="Freeform: Shape 771">
              <a:extLst>
                <a:ext uri="{FF2B5EF4-FFF2-40B4-BE49-F238E27FC236}">
                  <a16:creationId xmlns:a16="http://schemas.microsoft.com/office/drawing/2014/main" id="{4C10230A-092E-4BDD-9BAF-E57D2664D0E6}"/>
                </a:ext>
              </a:extLst>
            </p:cNvPr>
            <p:cNvSpPr/>
            <p:nvPr/>
          </p:nvSpPr>
          <p:spPr>
            <a:xfrm>
              <a:off x="7043547" y="3105325"/>
              <a:ext cx="532272" cy="63176"/>
            </a:xfrm>
            <a:custGeom>
              <a:avLst/>
              <a:gdLst>
                <a:gd name="connsiteX0" fmla="*/ 532266 w 532272"/>
                <a:gd name="connsiteY0" fmla="*/ 58185 h 63176"/>
                <a:gd name="connsiteX1" fmla="*/ 527455 w 532272"/>
                <a:gd name="connsiteY1" fmla="*/ 52852 h 63176"/>
                <a:gd name="connsiteX2" fmla="*/ 527442 w 532272"/>
                <a:gd name="connsiteY2" fmla="*/ 52852 h 63176"/>
                <a:gd name="connsiteX3" fmla="*/ 521474 w 532272"/>
                <a:gd name="connsiteY3" fmla="*/ 52217 h 63176"/>
                <a:gd name="connsiteX4" fmla="*/ 10808 w 532272"/>
                <a:gd name="connsiteY4" fmla="*/ 34 h 63176"/>
                <a:gd name="connsiteX5" fmla="*/ 5983 w 532272"/>
                <a:gd name="connsiteY5" fmla="*/ 34 h 63176"/>
                <a:gd name="connsiteX6" fmla="*/ 16 w 532272"/>
                <a:gd name="connsiteY6" fmla="*/ 4478 h 63176"/>
                <a:gd name="connsiteX7" fmla="*/ 4561 w 532272"/>
                <a:gd name="connsiteY7" fmla="*/ 9798 h 63176"/>
                <a:gd name="connsiteX8" fmla="*/ 4713 w 532272"/>
                <a:gd name="connsiteY8" fmla="*/ 9810 h 63176"/>
                <a:gd name="connsiteX9" fmla="*/ 526299 w 532272"/>
                <a:gd name="connsiteY9" fmla="*/ 63137 h 63176"/>
                <a:gd name="connsiteX10" fmla="*/ 526299 w 532272"/>
                <a:gd name="connsiteY10" fmla="*/ 63137 h 63176"/>
                <a:gd name="connsiteX11" fmla="*/ 532242 w 532272"/>
                <a:gd name="connsiteY11" fmla="*/ 58490 h 63176"/>
                <a:gd name="connsiteX12" fmla="*/ 532266 w 532272"/>
                <a:gd name="connsiteY12" fmla="*/ 58185 h 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272" h="63176">
                  <a:moveTo>
                    <a:pt x="532266" y="58185"/>
                  </a:moveTo>
                  <a:cubicBezTo>
                    <a:pt x="532407" y="55379"/>
                    <a:pt x="530261" y="52992"/>
                    <a:pt x="527455" y="52852"/>
                  </a:cubicBezTo>
                  <a:cubicBezTo>
                    <a:pt x="527455" y="52852"/>
                    <a:pt x="527442" y="52852"/>
                    <a:pt x="527442" y="52852"/>
                  </a:cubicBezTo>
                  <a:lnTo>
                    <a:pt x="521474" y="52217"/>
                  </a:lnTo>
                  <a:lnTo>
                    <a:pt x="10808" y="34"/>
                  </a:lnTo>
                  <a:lnTo>
                    <a:pt x="5983" y="34"/>
                  </a:lnTo>
                  <a:cubicBezTo>
                    <a:pt x="3139" y="-284"/>
                    <a:pt x="536" y="1659"/>
                    <a:pt x="16" y="4478"/>
                  </a:cubicBezTo>
                  <a:cubicBezTo>
                    <a:pt x="-201" y="7208"/>
                    <a:pt x="1844" y="9582"/>
                    <a:pt x="4561" y="9798"/>
                  </a:cubicBezTo>
                  <a:cubicBezTo>
                    <a:pt x="4612" y="9810"/>
                    <a:pt x="4663" y="9810"/>
                    <a:pt x="4713" y="9810"/>
                  </a:cubicBezTo>
                  <a:lnTo>
                    <a:pt x="526299" y="63137"/>
                  </a:lnTo>
                  <a:lnTo>
                    <a:pt x="526299" y="63137"/>
                  </a:lnTo>
                  <a:cubicBezTo>
                    <a:pt x="529219" y="63492"/>
                    <a:pt x="531886" y="61410"/>
                    <a:pt x="532242" y="58490"/>
                  </a:cubicBezTo>
                  <a:cubicBezTo>
                    <a:pt x="532254" y="58388"/>
                    <a:pt x="532254" y="58286"/>
                    <a:pt x="532266" y="58185"/>
                  </a:cubicBezTo>
                  <a:close/>
                </a:path>
              </a:pathLst>
            </a:custGeom>
            <a:solidFill>
              <a:srgbClr val="000000"/>
            </a:solidFill>
            <a:ln w="12690" cap="flat">
              <a:noFill/>
              <a:prstDash val="solid"/>
              <a:miter/>
            </a:ln>
          </p:spPr>
          <p:txBody>
            <a:bodyPr rtlCol="0" anchor="ctr"/>
            <a:lstStyle/>
            <a:p>
              <a:endParaRPr lang="en-US"/>
            </a:p>
          </p:txBody>
        </p:sp>
      </p:grpSp>
    </p:spTree>
    <p:extLst>
      <p:ext uri="{BB962C8B-B14F-4D97-AF65-F5344CB8AC3E}">
        <p14:creationId xmlns:p14="http://schemas.microsoft.com/office/powerpoint/2010/main" val="1591659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usiness Model">
    <p:spTree>
      <p:nvGrpSpPr>
        <p:cNvPr id="1" name=""/>
        <p:cNvGrpSpPr/>
        <p:nvPr/>
      </p:nvGrpSpPr>
      <p:grpSpPr>
        <a:xfrm>
          <a:off x="0" y="0"/>
          <a:ext cx="0" cy="0"/>
          <a:chOff x="0" y="0"/>
          <a:chExt cx="0" cy="0"/>
        </a:xfrm>
      </p:grpSpPr>
      <p:sp>
        <p:nvSpPr>
          <p:cNvPr id="3" name="Rectangle 9">
            <a:extLst>
              <a:ext uri="{FF2B5EF4-FFF2-40B4-BE49-F238E27FC236}">
                <a16:creationId xmlns:a16="http://schemas.microsoft.com/office/drawing/2014/main" id="{53E651DB-268C-47F2-B510-168B1A59A1BE}"/>
              </a:ext>
            </a:extLst>
          </p:cNvPr>
          <p:cNvSpPr/>
          <p:nvPr userDrawn="1"/>
        </p:nvSpPr>
        <p:spPr>
          <a:xfrm>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109EA94-D4C0-489D-B11F-AAF2C1D27B88}"/>
              </a:ext>
            </a:extLst>
          </p:cNvPr>
          <p:cNvCxnSpPr>
            <a:cxnSpLocks/>
            <a:stCxn id="3" idx="1"/>
            <a:endCxn id="3" idx="0"/>
          </p:cNvCxnSpPr>
          <p:nvPr userDrawn="1"/>
        </p:nvCxnSpPr>
        <p:spPr>
          <a:xfrm flipH="1">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a:lstStyle>
            <a:lvl1pPr algn="ctr">
              <a:defRPr baseline="0"/>
            </a:lvl1pPr>
          </a:lstStyle>
          <a:p>
            <a:r>
              <a:rPr lang="en-US"/>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r>
              <a:rPr lang="en-US"/>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r>
              <a:rPr lang="en-US"/>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136374" y="1982835"/>
            <a:ext cx="1828800" cy="1315629"/>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17" name="Text Placeholder 16">
            <a:extLst>
              <a:ext uri="{FF2B5EF4-FFF2-40B4-BE49-F238E27FC236}">
                <a16:creationId xmlns:a16="http://schemas.microsoft.com/office/drawing/2014/main" id="{31B2C19D-178B-430A-AB7C-D759E13E9D09}"/>
              </a:ext>
            </a:extLst>
          </p:cNvPr>
          <p:cNvSpPr>
            <a:spLocks noGrp="1"/>
          </p:cNvSpPr>
          <p:nvPr>
            <p:ph type="body" sz="quarter" idx="14" hasCustomPrompt="1"/>
          </p:nvPr>
        </p:nvSpPr>
        <p:spPr>
          <a:xfrm>
            <a:off x="1996925" y="4243719"/>
            <a:ext cx="2103120" cy="1188720"/>
          </a:xfrm>
        </p:spPr>
        <p:txBody>
          <a:bodyPr>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182108" y="1985107"/>
            <a:ext cx="1828800" cy="131673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20" name="Text Placeholder 16">
            <a:extLst>
              <a:ext uri="{FF2B5EF4-FFF2-40B4-BE49-F238E27FC236}">
                <a16:creationId xmlns:a16="http://schemas.microsoft.com/office/drawing/2014/main" id="{870165D6-1CE9-4D32-9B1C-526EFE3C3FF9}"/>
              </a:ext>
            </a:extLst>
          </p:cNvPr>
          <p:cNvSpPr>
            <a:spLocks noGrp="1"/>
          </p:cNvSpPr>
          <p:nvPr>
            <p:ph type="body" sz="quarter" idx="16" hasCustomPrompt="1"/>
          </p:nvPr>
        </p:nvSpPr>
        <p:spPr>
          <a:xfrm>
            <a:off x="5045984" y="4245991"/>
            <a:ext cx="2103120" cy="1188720"/>
          </a:xfrm>
        </p:spPr>
        <p:txBody>
          <a:bodyPr>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8234662" y="1980555"/>
            <a:ext cx="1828800" cy="131673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icon</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089013" y="4241439"/>
            <a:ext cx="2103120" cy="1188720"/>
          </a:xfrm>
        </p:spPr>
        <p:txBody>
          <a:bodyPr>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2063600" y="3799982"/>
            <a:ext cx="1980000" cy="360000"/>
          </a:xfrm>
        </p:spPr>
        <p:txBody>
          <a:bodyPr>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a:r>
              <a:rPr lang="en-US"/>
              <a:t>BULLET 2</a:t>
            </a:r>
            <a:endParaRPr lang="en-ZA"/>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5108500" y="3799982"/>
            <a:ext cx="1980000" cy="360000"/>
          </a:xfrm>
        </p:spPr>
        <p:txBody>
          <a:bodyPr>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a:r>
              <a:rPr lang="en-US"/>
              <a:t>BULLET 3</a:t>
            </a:r>
            <a:endParaRPr lang="en-ZA"/>
          </a:p>
        </p:txBody>
      </p:sp>
      <p:sp>
        <p:nvSpPr>
          <p:cNvPr id="24" name="Text Placeholder 8">
            <a:extLst>
              <a:ext uri="{FF2B5EF4-FFF2-40B4-BE49-F238E27FC236}">
                <a16:creationId xmlns:a16="http://schemas.microsoft.com/office/drawing/2014/main" id="{BD7CE6C1-36AE-4F6D-948C-7CF1B5AF383B}"/>
              </a:ext>
            </a:extLst>
          </p:cNvPr>
          <p:cNvSpPr>
            <a:spLocks noGrp="1"/>
          </p:cNvSpPr>
          <p:nvPr>
            <p:ph type="body" sz="quarter" idx="37" hasCustomPrompt="1"/>
          </p:nvPr>
        </p:nvSpPr>
        <p:spPr>
          <a:xfrm>
            <a:off x="8153400" y="3799982"/>
            <a:ext cx="1980000" cy="360000"/>
          </a:xfrm>
        </p:spPr>
        <p:txBody>
          <a:bodyPr>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a:r>
              <a:rPr lang="en-US"/>
              <a:t>BULLET 4</a:t>
            </a:r>
            <a:endParaRPr lang="en-ZA"/>
          </a:p>
        </p:txBody>
      </p:sp>
      <p:cxnSp>
        <p:nvCxnSpPr>
          <p:cNvPr id="10" name="Straight Connector 9">
            <a:extLst>
              <a:ext uri="{FF2B5EF4-FFF2-40B4-BE49-F238E27FC236}">
                <a16:creationId xmlns:a16="http://schemas.microsoft.com/office/drawing/2014/main" id="{26DC72DD-030A-4AF2-8123-478BE9277165}"/>
              </a:ext>
            </a:extLst>
          </p:cNvPr>
          <p:cNvCxnSpPr/>
          <p:nvPr userDrawn="1"/>
        </p:nvCxnSpPr>
        <p:spPr>
          <a:xfrm>
            <a:off x="2158850" y="3497316"/>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71F1BF-0652-4581-AC74-7A608C1A0290}"/>
              </a:ext>
            </a:extLst>
          </p:cNvPr>
          <p:cNvCxnSpPr>
            <a:cxnSpLocks/>
          </p:cNvCxnSpPr>
          <p:nvPr userDrawn="1"/>
        </p:nvCxnSpPr>
        <p:spPr>
          <a:xfrm>
            <a:off x="5181600" y="3487791"/>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AF8D050-0D5E-490F-98C5-C491541E54D2}"/>
              </a:ext>
            </a:extLst>
          </p:cNvPr>
          <p:cNvCxnSpPr>
            <a:cxnSpLocks/>
          </p:cNvCxnSpPr>
          <p:nvPr userDrawn="1"/>
        </p:nvCxnSpPr>
        <p:spPr>
          <a:xfrm>
            <a:off x="8199363" y="3492554"/>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5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Market Overview">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448392-0672-4AC1-B5D6-3374FB36C9DC}"/>
              </a:ext>
            </a:extLst>
          </p:cNvPr>
          <p:cNvSpPr/>
          <p:nvPr userDrawn="1"/>
        </p:nvSpPr>
        <p:spPr>
          <a:xfrm>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20D1EE93-71F1-4386-A4E5-93A6CDA69EE0}"/>
              </a:ext>
            </a:extLst>
          </p:cNvPr>
          <p:cNvCxnSpPr>
            <a:cxnSpLocks/>
            <a:stCxn id="10" idx="1"/>
            <a:endCxn id="10" idx="0"/>
          </p:cNvCxnSpPr>
          <p:nvPr userDrawn="1"/>
        </p:nvCxnSpPr>
        <p:spPr>
          <a:xfrm flipH="1">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a:lstStyle>
            <a:lvl1pPr algn="ctr">
              <a:defRPr baseline="0">
                <a:solidFill>
                  <a:schemeClr val="tx1"/>
                </a:solidFill>
              </a:defRPr>
            </a:lvl1pPr>
          </a:lstStyle>
          <a:p>
            <a:r>
              <a:rPr lang="en-US"/>
              <a:t>Click to edit Master title style</a:t>
            </a:r>
            <a:endParaRPr lang="en-ZA"/>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a:lstStyle>
            <a:lvl1pPr>
              <a:defRPr>
                <a:solidFill>
                  <a:schemeClr val="tx1"/>
                </a:solidFill>
              </a:defRPr>
            </a:lvl1pPr>
          </a:lstStyle>
          <a:p>
            <a:r>
              <a:rPr lang="en-ZA"/>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tx1"/>
                </a:solidFill>
              </a:defRPr>
            </a:lvl1pPr>
          </a:lstStyle>
          <a:p>
            <a:fld id="{19B51A1E-902D-48AF-9020-955120F399B6}" type="slidenum">
              <a:rPr lang="en-ZA" smtClean="0"/>
              <a:pPr/>
              <a:t>‹#›</a:t>
            </a:fld>
            <a:endParaRPr lang="en-ZA"/>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2135187" y="2043763"/>
            <a:ext cx="1828800" cy="1371600"/>
          </a:xfrm>
          <a:prstGeom prst="rect">
            <a:avLst/>
          </a:prstGeom>
          <a:noFill/>
          <a:ln w="22225">
            <a:solidFill>
              <a:schemeClr val="tx2"/>
            </a:solidFill>
          </a:ln>
        </p:spPr>
        <p:txBody>
          <a:bodyPr anchor="ctr" anchorCtr="1">
            <a:normAutofit/>
          </a:bodyPr>
          <a:lstStyle>
            <a:lvl1pPr marL="0" indent="0" algn="ctr">
              <a:spcBef>
                <a:spcPts val="0"/>
              </a:spcBef>
              <a:spcAft>
                <a:spcPts val="0"/>
              </a:spcAft>
              <a:buNone/>
              <a:defRPr sz="2800" b="1">
                <a:solidFill>
                  <a:schemeClr val="tx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a:r>
              <a:rPr lang="en-US"/>
              <a:t>1</a:t>
            </a:r>
            <a:endParaRPr lang="en-ZA"/>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5178552" y="2043763"/>
            <a:ext cx="1828800" cy="1371600"/>
          </a:xfrm>
          <a:prstGeom prst="rect">
            <a:avLst/>
          </a:prstGeom>
          <a:noFill/>
          <a:ln w="22225">
            <a:solidFill>
              <a:schemeClr val="accent2"/>
            </a:solidFill>
          </a:ln>
        </p:spPr>
        <p:txBody>
          <a:bodyPr vert="horz" lIns="0" tIns="0" rIns="0" bIns="0" rtlCol="0" anchor="ctr" anchorCtr="1">
            <a:noAutofit/>
          </a:bodyPr>
          <a:lstStyle>
            <a:lvl1pPr marL="0" indent="0" algn="ctr">
              <a:spcBef>
                <a:spcPts val="0"/>
              </a:spcBef>
              <a:spcAft>
                <a:spcPts val="0"/>
              </a:spcAft>
              <a:buNone/>
              <a:defRPr lang="en-ZA" sz="2800" b="1" dirty="0">
                <a:solidFill>
                  <a:schemeClr val="tx1"/>
                </a:solidFill>
                <a:latin typeface="+mj-lt"/>
              </a:defRPr>
            </a:lvl1pPr>
          </a:lstStyle>
          <a:p>
            <a:pPr marL="266700" lvl="0" indent="-266700" algn="ctr"/>
            <a:r>
              <a:rPr lang="en-US"/>
              <a:t>2</a:t>
            </a:r>
            <a:endParaRPr lang="en-ZA"/>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8232776" y="2043763"/>
            <a:ext cx="1828800" cy="1371600"/>
          </a:xfrm>
          <a:prstGeom prst="rect">
            <a:avLst/>
          </a:prstGeom>
          <a:noFill/>
          <a:ln w="22225">
            <a:solidFill>
              <a:schemeClr val="accent4"/>
            </a:solidFill>
          </a:ln>
        </p:spPr>
        <p:txBody>
          <a:bodyPr vert="horz" lIns="0" tIns="0" rIns="0" bIns="0" rtlCol="0" anchor="ctr" anchorCtr="1">
            <a:noAutofit/>
          </a:bodyPr>
          <a:lstStyle>
            <a:lvl1pPr marL="0" indent="0" algn="ctr">
              <a:spcBef>
                <a:spcPts val="0"/>
              </a:spcBef>
              <a:spcAft>
                <a:spcPts val="0"/>
              </a:spcAft>
              <a:buNone/>
              <a:defRPr lang="en-ZA" sz="2800" b="1" dirty="0">
                <a:solidFill>
                  <a:schemeClr val="tx1"/>
                </a:solidFill>
                <a:latin typeface="+mj-lt"/>
              </a:defRPr>
            </a:lvl1pPr>
          </a:lstStyle>
          <a:p>
            <a:pPr marL="266700" lvl="0" indent="-266700" algn="ctr"/>
            <a:r>
              <a:rPr lang="en-US"/>
              <a:t>3</a:t>
            </a:r>
            <a:endParaRPr lang="en-ZA"/>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4721352" y="3862516"/>
            <a:ext cx="2743200" cy="1600200"/>
          </a:xfrm>
        </p:spPr>
        <p:txBody>
          <a:bodyPr>
            <a:normAutofit/>
          </a:bodyPr>
          <a:lstStyle>
            <a:lvl1pPr marL="0" indent="0" algn="ctr">
              <a:lnSpc>
                <a:spcPts val="2400"/>
              </a:lnSpc>
              <a:buFont typeface="Arial" panose="020B0604020202020204" pitchFamily="34" charset="0"/>
              <a:buNone/>
              <a:defRPr sz="1400">
                <a:solidFill>
                  <a:schemeClr val="tx1"/>
                </a:solidFill>
              </a:defRPr>
            </a:lvl1pPr>
          </a:lstStyle>
          <a:p>
            <a:pPr lvl="0"/>
            <a:r>
              <a:rPr lang="en-US"/>
              <a:t>Section Description</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7775576" y="3862516"/>
            <a:ext cx="2743200" cy="1600200"/>
          </a:xfrm>
        </p:spPr>
        <p:txBody>
          <a:bodyPr>
            <a:normAutofit/>
          </a:bodyPr>
          <a:lstStyle>
            <a:lvl1pPr marL="0" indent="0" algn="ctr">
              <a:lnSpc>
                <a:spcPts val="2400"/>
              </a:lnSpc>
              <a:buFont typeface="Arial" panose="020B0604020202020204" pitchFamily="34" charset="0"/>
              <a:buNone/>
              <a:defRPr sz="1400">
                <a:solidFill>
                  <a:schemeClr val="tx1"/>
                </a:solidFill>
              </a:defRPr>
            </a:lvl1pPr>
          </a:lstStyle>
          <a:p>
            <a:pPr lvl="0"/>
            <a:r>
              <a:rPr lang="en-US"/>
              <a:t>Section Description</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677987" y="3862571"/>
            <a:ext cx="2743200" cy="1601787"/>
          </a:xfrm>
        </p:spPr>
        <p:txBody>
          <a:bodyPr>
            <a:noAutofit/>
          </a:bodyPr>
          <a:lstStyle>
            <a:lvl1pPr marL="0" indent="0" algn="ctr">
              <a:lnSpc>
                <a:spcPts val="2400"/>
              </a:lnSpc>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ection Description</a:t>
            </a:r>
          </a:p>
        </p:txBody>
      </p:sp>
      <p:sp>
        <p:nvSpPr>
          <p:cNvPr id="24" name="Date Placeholder 2">
            <a:extLst>
              <a:ext uri="{FF2B5EF4-FFF2-40B4-BE49-F238E27FC236}">
                <a16:creationId xmlns:a16="http://schemas.microsoft.com/office/drawing/2014/main" id="{6B5940D2-EE07-4F75-9166-CBFF194C579B}"/>
              </a:ext>
            </a:extLst>
          </p:cNvPr>
          <p:cNvSpPr>
            <a:spLocks noGrp="1"/>
          </p:cNvSpPr>
          <p:nvPr>
            <p:ph type="dt" sz="half" idx="38"/>
          </p:nvPr>
        </p:nvSpPr>
        <p:spPr>
          <a:xfrm>
            <a:off x="838200" y="6356350"/>
            <a:ext cx="2743200" cy="365125"/>
          </a:xfrm>
        </p:spPr>
        <p:txBody>
          <a:bodyPr/>
          <a:lstStyle>
            <a:lvl1pPr>
              <a:defRPr>
                <a:solidFill>
                  <a:schemeClr val="tx1"/>
                </a:solidFill>
              </a:defRPr>
            </a:lvl1pPr>
          </a:lstStyle>
          <a:p>
            <a:r>
              <a:rPr lang="en-US"/>
              <a:t>7/1/20XX</a:t>
            </a:r>
          </a:p>
        </p:txBody>
      </p:sp>
    </p:spTree>
    <p:extLst>
      <p:ext uri="{BB962C8B-B14F-4D97-AF65-F5344CB8AC3E}">
        <p14:creationId xmlns:p14="http://schemas.microsoft.com/office/powerpoint/2010/main" val="3405848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931A634-9A68-9D39-CB20-BF8A0A564B0A}"/>
              </a:ext>
            </a:extLst>
          </p:cNvPr>
          <p:cNvGraphicFramePr>
            <a:graphicFrameLocks noChangeAspect="1"/>
          </p:cNvGraphicFramePr>
          <p:nvPr userDrawn="1">
            <p:custDataLst>
              <p:tags r:id="rId25"/>
            </p:custDataLst>
            <p:extLst>
              <p:ext uri="{D42A27DB-BD31-4B8C-83A1-F6EECF244321}">
                <p14:modId xmlns:p14="http://schemas.microsoft.com/office/powerpoint/2010/main" val="10699217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8" name="think-cell data - do not delete" hidden="1">
                        <a:extLst>
                          <a:ext uri="{FF2B5EF4-FFF2-40B4-BE49-F238E27FC236}">
                            <a16:creationId xmlns:a16="http://schemas.microsoft.com/office/drawing/2014/main" id="{0931A634-9A68-9D39-CB20-BF8A0A564B0A}"/>
                          </a:ext>
                        </a:extLst>
                      </p:cNvPr>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B4660D4-B0ED-42D9-BC6D-AF4F1F9CB6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4C607AE-E8B7-4C3B-A6DA-04289E2F0A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1917CC-671D-47EA-B065-51E87EC27B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a:solidFill>
                  <a:schemeClr val="tx1"/>
                </a:solidFill>
              </a:defRPr>
            </a:lvl1pPr>
          </a:lstStyle>
          <a:p>
            <a:r>
              <a:rPr lang="en-US"/>
              <a:t>7/1/20XX</a:t>
            </a:r>
          </a:p>
        </p:txBody>
      </p:sp>
      <p:sp>
        <p:nvSpPr>
          <p:cNvPr id="5" name="Footer Placeholder 4">
            <a:extLst>
              <a:ext uri="{FF2B5EF4-FFF2-40B4-BE49-F238E27FC236}">
                <a16:creationId xmlns:a16="http://schemas.microsoft.com/office/drawing/2014/main" id="{3F2D0B54-5D87-4D1B-9C6E-5A7B87C833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solidFill>
              </a:defRPr>
            </a:lvl1pPr>
          </a:lstStyle>
          <a:p>
            <a:r>
              <a:rPr lang="en-US"/>
              <a:t>Pitch deck title</a:t>
            </a:r>
          </a:p>
        </p:txBody>
      </p:sp>
      <p:sp>
        <p:nvSpPr>
          <p:cNvPr id="6" name="Slide Number Placeholder 5">
            <a:extLst>
              <a:ext uri="{FF2B5EF4-FFF2-40B4-BE49-F238E27FC236}">
                <a16:creationId xmlns:a16="http://schemas.microsoft.com/office/drawing/2014/main" id="{C5CADFFD-0FF7-4DDC-8879-918576F63E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chemeClr val="tx1"/>
                </a:solidFill>
              </a:defRPr>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2464305198"/>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72" r:id="rId4"/>
    <p:sldLayoutId id="2147483691" r:id="rId5"/>
    <p:sldLayoutId id="2147483674" r:id="rId6"/>
    <p:sldLayoutId id="2147483651" r:id="rId7"/>
    <p:sldLayoutId id="2147483688" r:id="rId8"/>
    <p:sldLayoutId id="2147483670" r:id="rId9"/>
    <p:sldLayoutId id="2147483687" r:id="rId10"/>
    <p:sldLayoutId id="2147483677" r:id="rId11"/>
    <p:sldLayoutId id="2147483682" r:id="rId12"/>
    <p:sldLayoutId id="2147483692" r:id="rId13"/>
    <p:sldLayoutId id="2147483653" r:id="rId14"/>
    <p:sldLayoutId id="2147483681" r:id="rId15"/>
    <p:sldLayoutId id="2147483650" r:id="rId16"/>
    <p:sldLayoutId id="2147483671" r:id="rId17"/>
    <p:sldLayoutId id="2147483669" r:id="rId18"/>
    <p:sldLayoutId id="2147483689" r:id="rId19"/>
    <p:sldLayoutId id="2147483685" r:id="rId20"/>
    <p:sldLayoutId id="2147483668" r:id="rId21"/>
    <p:sldLayoutId id="2147483652" r:id="rId22"/>
    <p:sldLayoutId id="2147483656" r:id="rId23"/>
  </p:sldLayoutIdLst>
  <p:hf hdr="0"/>
  <p:txStyles>
    <p:titleStyle>
      <a:lvl1pPr algn="l" defTabSz="914400" rtl="0" eaLnBrk="1" latinLnBrk="0" hangingPunct="1">
        <a:lnSpc>
          <a:spcPct val="90000"/>
        </a:lnSpc>
        <a:spcBef>
          <a:spcPct val="0"/>
        </a:spcBef>
        <a:buNone/>
        <a:defRPr sz="3800" b="1"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1920" userDrawn="1">
          <p15:clr>
            <a:srgbClr val="F26B43"/>
          </p15:clr>
        </p15:guide>
        <p15:guide id="3" pos="5760" userDrawn="1">
          <p15:clr>
            <a:srgbClr val="F26B43"/>
          </p15:clr>
        </p15:guide>
        <p15:guide id="4" pos="7104" userDrawn="1">
          <p15:clr>
            <a:srgbClr val="C35EA4"/>
          </p15:clr>
        </p15:guide>
        <p15:guide id="5" pos="576"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hyperlink" Target="https://app.powerbi.com/view?r=eyJrIjoiOTU4YzA3Y2YtYzdhMC00ZDVjLTk4YjctMmRiMDczY2ZmMTZjIiwidCI6IjhkMjgxZDFkLTljNGQtNGJmNy1iMTZlLTAzMmQxNWRlOWY2YyIsImMiOjN9"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hyperlink" Target="https://www.kaggle.com/datasets/ahsan81/hotel-reservations-classification-dataset"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1.jpe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0" name="Rectangle 127">
            <a:extLst>
              <a:ext uri="{FF2B5EF4-FFF2-40B4-BE49-F238E27FC236}">
                <a16:creationId xmlns:a16="http://schemas.microsoft.com/office/drawing/2014/main" id="{8A95209C-5275-4E15-8EA7-7F42980AB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Picture 84" descr="A bell on a counter&#10;&#10;Description automatically generated">
            <a:extLst>
              <a:ext uri="{FF2B5EF4-FFF2-40B4-BE49-F238E27FC236}">
                <a16:creationId xmlns:a16="http://schemas.microsoft.com/office/drawing/2014/main" id="{F8B07733-1904-0C14-83A6-4822D18ED28F}"/>
              </a:ext>
            </a:extLst>
          </p:cNvPr>
          <p:cNvPicPr>
            <a:picLocks noChangeAspect="1"/>
          </p:cNvPicPr>
          <p:nvPr/>
        </p:nvPicPr>
        <p:blipFill rotWithShape="1">
          <a:blip r:embed="rId2">
            <a:alphaModFix amt="50000"/>
          </a:blip>
          <a:srcRect r="25"/>
          <a:stretch/>
        </p:blipFill>
        <p:spPr>
          <a:xfrm>
            <a:off x="20" y="10"/>
            <a:ext cx="12188930" cy="6857990"/>
          </a:xfrm>
          <a:prstGeom prst="rect">
            <a:avLst/>
          </a:prstGeom>
        </p:spPr>
      </p:pic>
      <p:sp>
        <p:nvSpPr>
          <p:cNvPr id="9" name="Title 8">
            <a:extLst>
              <a:ext uri="{FF2B5EF4-FFF2-40B4-BE49-F238E27FC236}">
                <a16:creationId xmlns:a16="http://schemas.microsoft.com/office/drawing/2014/main" id="{F9A70E70-C058-4A66-85BB-82F2C235E05B}"/>
              </a:ext>
            </a:extLst>
          </p:cNvPr>
          <p:cNvSpPr>
            <a:spLocks noGrp="1"/>
          </p:cNvSpPr>
          <p:nvPr>
            <p:ph type="ctrTitle"/>
          </p:nvPr>
        </p:nvSpPr>
        <p:spPr>
          <a:xfrm>
            <a:off x="1527048" y="1124712"/>
            <a:ext cx="9144000" cy="3063240"/>
          </a:xfrm>
        </p:spPr>
        <p:txBody>
          <a:bodyPr vert="horz" lIns="91440" tIns="45720" rIns="91440" bIns="45720" rtlCol="0" anchor="b">
            <a:normAutofit/>
          </a:bodyPr>
          <a:lstStyle/>
          <a:p>
            <a:pPr algn="ctr"/>
            <a:r>
              <a:rPr lang="en-US" sz="5100">
                <a:solidFill>
                  <a:schemeClr val="bg1"/>
                </a:solidFill>
              </a:rPr>
              <a:t>HOTEL </a:t>
            </a:r>
            <a:br>
              <a:rPr lang="en-US" sz="5100">
                <a:solidFill>
                  <a:schemeClr val="bg1"/>
                </a:solidFill>
              </a:rPr>
            </a:br>
            <a:r>
              <a:rPr lang="en-US" sz="5100">
                <a:solidFill>
                  <a:schemeClr val="bg1"/>
                </a:solidFill>
              </a:rPr>
              <a:t>BOOKING </a:t>
            </a:r>
            <a:br>
              <a:rPr lang="en-US" sz="5100">
                <a:solidFill>
                  <a:schemeClr val="bg1"/>
                </a:solidFill>
              </a:rPr>
            </a:br>
            <a:r>
              <a:rPr lang="en-US" sz="5100">
                <a:solidFill>
                  <a:schemeClr val="bg1"/>
                </a:solidFill>
              </a:rPr>
              <a:t>cancellation Prediction</a:t>
            </a:r>
          </a:p>
        </p:txBody>
      </p:sp>
      <p:sp>
        <p:nvSpPr>
          <p:cNvPr id="20" name="Subtitle 2">
            <a:extLst>
              <a:ext uri="{FF2B5EF4-FFF2-40B4-BE49-F238E27FC236}">
                <a16:creationId xmlns:a16="http://schemas.microsoft.com/office/drawing/2014/main" id="{B1DFF4FF-96BE-9147-96D1-A240ED566CE1}"/>
              </a:ext>
            </a:extLst>
          </p:cNvPr>
          <p:cNvSpPr>
            <a:spLocks noGrp="1"/>
          </p:cNvSpPr>
          <p:nvPr>
            <p:ph type="subTitle" idx="1"/>
          </p:nvPr>
        </p:nvSpPr>
        <p:spPr>
          <a:xfrm>
            <a:off x="1527048" y="4599432"/>
            <a:ext cx="9144000" cy="1227520"/>
          </a:xfrm>
        </p:spPr>
        <p:txBody>
          <a:bodyPr vert="horz" lIns="91440" tIns="45720" rIns="91440" bIns="45720" rtlCol="0">
            <a:normAutofit/>
          </a:bodyPr>
          <a:lstStyle/>
          <a:p>
            <a:pPr algn="ctr"/>
            <a:r>
              <a:rPr lang="en-US" sz="2400" b="1">
                <a:solidFill>
                  <a:schemeClr val="bg1"/>
                </a:solidFill>
              </a:rPr>
              <a:t>GROUP 11</a:t>
            </a:r>
            <a:endParaRPr lang="en-US" sz="2400">
              <a:solidFill>
                <a:schemeClr val="bg1"/>
              </a:solidFill>
            </a:endParaRPr>
          </a:p>
        </p:txBody>
      </p:sp>
      <p:sp>
        <p:nvSpPr>
          <p:cNvPr id="141" name="sketchy box">
            <a:extLst>
              <a:ext uri="{FF2B5EF4-FFF2-40B4-BE49-F238E27FC236}">
                <a16:creationId xmlns:a16="http://schemas.microsoft.com/office/drawing/2014/main" id="{4F2ED431-E304-4FF0-9F4E-032783C9D6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bg1">
                <a:alpha val="75000"/>
              </a:schemeClr>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sketchy line">
            <a:extLst>
              <a:ext uri="{FF2B5EF4-FFF2-40B4-BE49-F238E27FC236}">
                <a16:creationId xmlns:a16="http://schemas.microsoft.com/office/drawing/2014/main" id="{4E87FCFB-2CCE-460D-B3DD-557C8BD1B9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419423"/>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rgbClr val="FFFFFF">
              <a:alpha val="75000"/>
            </a:srgbClr>
          </a:solidFill>
          <a:ln w="41275" cap="rnd">
            <a:solidFill>
              <a:schemeClr val="bg1">
                <a:alpha val="75000"/>
              </a:schemeClr>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2908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700"/>
                                        <p:tgtEl>
                                          <p:spTgt spid="20">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9"/>
                                        </p:tgtEl>
                                        <p:attrNameLst>
                                          <p:attrName>style.visibility</p:attrName>
                                        </p:attrNameLst>
                                      </p:cBhvr>
                                      <p:to>
                                        <p:strVal val="visible"/>
                                      </p:to>
                                    </p:set>
                                    <p:animEffect transition="in" filter="fade">
                                      <p:cBhvr>
                                        <p:cTn id="10"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0"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A191-5CCC-43CB-BD83-4F80ED362608}"/>
              </a:ext>
            </a:extLst>
          </p:cNvPr>
          <p:cNvSpPr>
            <a:spLocks noGrp="1"/>
          </p:cNvSpPr>
          <p:nvPr>
            <p:ph type="title"/>
          </p:nvPr>
        </p:nvSpPr>
        <p:spPr>
          <a:xfrm>
            <a:off x="6096697" y="1105860"/>
            <a:ext cx="5486400" cy="1325563"/>
          </a:xfrm>
        </p:spPr>
        <p:txBody>
          <a:bodyPr/>
          <a:lstStyle/>
          <a:p>
            <a:r>
              <a:rPr lang="en-US"/>
              <a:t>Conclusion</a:t>
            </a:r>
          </a:p>
        </p:txBody>
      </p:sp>
      <p:sp>
        <p:nvSpPr>
          <p:cNvPr id="26" name="Slide Number Placeholder 25">
            <a:extLst>
              <a:ext uri="{FF2B5EF4-FFF2-40B4-BE49-F238E27FC236}">
                <a16:creationId xmlns:a16="http://schemas.microsoft.com/office/drawing/2014/main" id="{D5B91C7E-39EC-4D18-BBDA-F8911C724E07}"/>
              </a:ext>
            </a:extLst>
          </p:cNvPr>
          <p:cNvSpPr>
            <a:spLocks noGrp="1"/>
          </p:cNvSpPr>
          <p:nvPr>
            <p:ph type="sldNum" sz="quarter" idx="12"/>
          </p:nvPr>
        </p:nvSpPr>
        <p:spPr>
          <a:xfrm>
            <a:off x="8610600" y="6356350"/>
            <a:ext cx="2743200" cy="365125"/>
          </a:xfrm>
        </p:spPr>
        <p:txBody>
          <a:bodyPr/>
          <a:lstStyle/>
          <a:p>
            <a:fld id="{B5CEABB6-07DC-46E8-9B57-56EC44A396E5}" type="slidenum">
              <a:rPr lang="en-US" smtClean="0"/>
              <a:pPr/>
              <a:t>10</a:t>
            </a:fld>
            <a:endParaRPr lang="en-US"/>
          </a:p>
        </p:txBody>
      </p:sp>
      <p:sp>
        <p:nvSpPr>
          <p:cNvPr id="3" name="Content Placeholder 2">
            <a:extLst>
              <a:ext uri="{FF2B5EF4-FFF2-40B4-BE49-F238E27FC236}">
                <a16:creationId xmlns:a16="http://schemas.microsoft.com/office/drawing/2014/main" id="{E14BBEAF-B516-45F4-9EF6-A9F65111580F}"/>
              </a:ext>
            </a:extLst>
          </p:cNvPr>
          <p:cNvSpPr>
            <a:spLocks noGrp="1"/>
          </p:cNvSpPr>
          <p:nvPr>
            <p:ph type="body" sz="quarter" idx="13"/>
          </p:nvPr>
        </p:nvSpPr>
        <p:spPr>
          <a:xfrm>
            <a:off x="5471574" y="2390149"/>
            <a:ext cx="6129578" cy="3955063"/>
          </a:xfrm>
        </p:spPr>
        <p:txBody>
          <a:bodyPr vert="horz" lIns="91440" tIns="45720" rIns="91440" bIns="45720" rtlCol="0" anchor="t">
            <a:normAutofit/>
          </a:bodyPr>
          <a:lstStyle/>
          <a:p>
            <a:pPr marL="285750" indent="-285750">
              <a:buChar char="•"/>
            </a:pPr>
            <a:r>
              <a:rPr lang="en-US"/>
              <a:t>Predict cancellations using </a:t>
            </a:r>
            <a:r>
              <a:rPr lang="en-US" err="1"/>
              <a:t>logisitic</a:t>
            </a:r>
            <a:r>
              <a:rPr lang="en-US"/>
              <a:t> regression to identify the features contributing to the cancellations </a:t>
            </a:r>
          </a:p>
          <a:p>
            <a:pPr marL="285750" indent="-285750">
              <a:buChar char="•"/>
            </a:pPr>
            <a:r>
              <a:rPr lang="en-US"/>
              <a:t>Methods like </a:t>
            </a:r>
            <a:r>
              <a:rPr lang="en-US" err="1"/>
              <a:t>SHaP</a:t>
            </a:r>
            <a:r>
              <a:rPr lang="en-US"/>
              <a:t>, LIME and other models could be used for increasing the interpretability of the machine learning models</a:t>
            </a:r>
          </a:p>
          <a:p>
            <a:pPr marL="285750" indent="-285750">
              <a:buChar char="•"/>
            </a:pPr>
            <a:r>
              <a:rPr lang="en-US"/>
              <a:t>The following strategies are recommended </a:t>
            </a:r>
          </a:p>
          <a:p>
            <a:pPr marL="742950" lvl="1" indent="-285750">
              <a:buFont typeface="Courier New" panose="020B0604020202020204" pitchFamily="34" charset="0"/>
              <a:buChar char="o"/>
            </a:pPr>
            <a:r>
              <a:rPr lang="en-US"/>
              <a:t>Dynamic cancellation charges Mechanism </a:t>
            </a:r>
          </a:p>
          <a:p>
            <a:pPr marL="742950" lvl="1" indent="-285750">
              <a:buFont typeface="Courier New" panose="020B0604020202020204" pitchFamily="34" charset="0"/>
              <a:buChar char="o"/>
            </a:pPr>
            <a:r>
              <a:rPr lang="en-US"/>
              <a:t>Customized services to the customers</a:t>
            </a:r>
          </a:p>
          <a:p>
            <a:pPr marL="742950" lvl="1" indent="-285750">
              <a:buFont typeface="Courier New" panose="020B0604020202020204" pitchFamily="34" charset="0"/>
              <a:buChar char="o"/>
            </a:pPr>
            <a:r>
              <a:rPr lang="en-US"/>
              <a:t>Loyalty programs</a:t>
            </a:r>
          </a:p>
          <a:p>
            <a:pPr marL="742950" lvl="1" indent="-285750">
              <a:buFont typeface="Courier New" panose="020B0604020202020204" pitchFamily="34" charset="0"/>
              <a:buChar char="o"/>
            </a:pPr>
            <a:r>
              <a:rPr lang="en-US"/>
              <a:t>Advertising and sales promotions</a:t>
            </a:r>
          </a:p>
          <a:p>
            <a:pPr marL="742950" lvl="1" indent="-285750">
              <a:buFont typeface="Courier New" panose="020B0604020202020204" pitchFamily="34" charset="0"/>
              <a:buChar char="o"/>
            </a:pPr>
            <a:endParaRPr lang="en-US"/>
          </a:p>
        </p:txBody>
      </p:sp>
    </p:spTree>
    <p:extLst>
      <p:ext uri="{BB962C8B-B14F-4D97-AF65-F5344CB8AC3E}">
        <p14:creationId xmlns:p14="http://schemas.microsoft.com/office/powerpoint/2010/main" val="3987575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E1C88-627C-4655-A4FB-0BB02EDB078A}"/>
              </a:ext>
            </a:extLst>
          </p:cNvPr>
          <p:cNvSpPr>
            <a:spLocks noGrp="1"/>
          </p:cNvSpPr>
          <p:nvPr>
            <p:ph type="title"/>
          </p:nvPr>
        </p:nvSpPr>
        <p:spPr>
          <a:xfrm>
            <a:off x="838200" y="1060682"/>
            <a:ext cx="3411071" cy="3047235"/>
          </a:xfrm>
        </p:spPr>
        <p:txBody>
          <a:bodyPr vert="horz" lIns="91440" tIns="45720" rIns="91440" bIns="45720" rtlCol="0" anchor="t">
            <a:normAutofit/>
          </a:bodyPr>
          <a:lstStyle/>
          <a:p>
            <a:pPr algn="l"/>
            <a:r>
              <a:rPr lang="en-US" sz="3200" kern="1200">
                <a:solidFill>
                  <a:schemeClr val="tx1"/>
                </a:solidFill>
                <a:latin typeface="+mj-lt"/>
                <a:ea typeface="+mj-ea"/>
                <a:cs typeface="+mj-cs"/>
              </a:rPr>
              <a:t>APPENDIX</a:t>
            </a:r>
          </a:p>
        </p:txBody>
      </p:sp>
      <p:sp>
        <p:nvSpPr>
          <p:cNvPr id="3" name="Subtitle 2">
            <a:extLst>
              <a:ext uri="{FF2B5EF4-FFF2-40B4-BE49-F238E27FC236}">
                <a16:creationId xmlns:a16="http://schemas.microsoft.com/office/drawing/2014/main" id="{6296F0F7-F496-D0E7-0825-D2CD566608F8}"/>
              </a:ext>
            </a:extLst>
          </p:cNvPr>
          <p:cNvSpPr txBox="1">
            <a:spLocks/>
          </p:cNvSpPr>
          <p:nvPr/>
        </p:nvSpPr>
        <p:spPr>
          <a:xfrm>
            <a:off x="5348087" y="1035843"/>
            <a:ext cx="5793134" cy="4945857"/>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a:buFont typeface="Arial" panose="020B0604020202020204" pitchFamily="34" charset="0"/>
              <a:buChar char="•"/>
            </a:pPr>
            <a:endParaRPr lang="en-US" sz="2000"/>
          </a:p>
          <a:p>
            <a:pPr marL="285750" indent="-228600">
              <a:buFont typeface="Arial" panose="020B0604020202020204" pitchFamily="34" charset="0"/>
              <a:buChar char="•"/>
            </a:pPr>
            <a:r>
              <a:rPr lang="en-US" sz="2000"/>
              <a:t>"Take a data-driven detour into our Power BI dashboard! Click the link below to explore the world of hotel reservations, where we've unveiled the intriguing patterns behind cancellations. Your analytical adventure awaits!"</a:t>
            </a:r>
          </a:p>
          <a:p>
            <a:pPr marL="285750" indent="-228600">
              <a:buFont typeface="Arial" panose="020B0604020202020204" pitchFamily="34" charset="0"/>
              <a:buChar char="•"/>
            </a:pPr>
            <a:r>
              <a:rPr lang="en-US" sz="2000">
                <a:hlinkClick r:id="rId2"/>
              </a:rPr>
              <a:t>POWER BI LINK</a:t>
            </a:r>
            <a:r>
              <a:rPr lang="en-US" sz="2000"/>
              <a:t> </a:t>
            </a:r>
          </a:p>
        </p:txBody>
      </p:sp>
      <p:grpSp>
        <p:nvGrpSpPr>
          <p:cNvPr id="8" name="Group 7">
            <a:extLst>
              <a:ext uri="{FF2B5EF4-FFF2-40B4-BE49-F238E27FC236}">
                <a16:creationId xmlns:a16="http://schemas.microsoft.com/office/drawing/2014/main" id="{D8C13078-6EA8-39DE-7A9D-C7FC6EA43A3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2068638" y="0"/>
            <a:ext cx="123362" cy="6858000"/>
            <a:chOff x="12068638" y="0"/>
            <a:chExt cx="123362" cy="6858000"/>
          </a:xfrm>
        </p:grpSpPr>
        <p:sp>
          <p:nvSpPr>
            <p:cNvPr id="13" name="Rectangle 12">
              <a:extLst>
                <a:ext uri="{FF2B5EF4-FFF2-40B4-BE49-F238E27FC236}">
                  <a16:creationId xmlns:a16="http://schemas.microsoft.com/office/drawing/2014/main" id="{C6A7D858-0391-A392-F7AF-D231D2CC23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9CC3D8A-59FD-79F4-16CD-B325F29291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55617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19">
            <a:extLst>
              <a:ext uri="{FF2B5EF4-FFF2-40B4-BE49-F238E27FC236}">
                <a16:creationId xmlns:a16="http://schemas.microsoft.com/office/drawing/2014/main" id="{53B475F8-50AE-46A0-9943-B2B63183D5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C80A740-B922-FF83-D53C-5D647D71AA03}"/>
              </a:ext>
            </a:extLst>
          </p:cNvPr>
          <p:cNvSpPr>
            <a:spLocks noGrp="1"/>
          </p:cNvSpPr>
          <p:nvPr>
            <p:ph type="title"/>
          </p:nvPr>
        </p:nvSpPr>
        <p:spPr>
          <a:xfrm>
            <a:off x="612648" y="365125"/>
            <a:ext cx="6986015" cy="1776484"/>
          </a:xfrm>
        </p:spPr>
        <p:txBody>
          <a:bodyPr vert="horz" lIns="91440" tIns="45720" rIns="91440" bIns="45720" rtlCol="0" anchor="b">
            <a:normAutofit/>
          </a:bodyPr>
          <a:lstStyle/>
          <a:p>
            <a:r>
              <a:rPr lang="en-US" sz="5400"/>
              <a:t>PROBLEM STATEMENT</a:t>
            </a:r>
          </a:p>
        </p:txBody>
      </p:sp>
      <p:pic>
        <p:nvPicPr>
          <p:cNvPr id="7" name="Picture 6" descr="A blue rectangular sign with black text&#10;&#10;Description automatically generated">
            <a:extLst>
              <a:ext uri="{FF2B5EF4-FFF2-40B4-BE49-F238E27FC236}">
                <a16:creationId xmlns:a16="http://schemas.microsoft.com/office/drawing/2014/main" id="{7F2AD3B2-C489-7A0D-0EFF-52188FBBEB4F}"/>
              </a:ext>
            </a:extLst>
          </p:cNvPr>
          <p:cNvPicPr>
            <a:picLocks noChangeAspect="1"/>
          </p:cNvPicPr>
          <p:nvPr/>
        </p:nvPicPr>
        <p:blipFill>
          <a:blip r:embed="rId3"/>
          <a:stretch>
            <a:fillRect/>
          </a:stretch>
        </p:blipFill>
        <p:spPr>
          <a:xfrm>
            <a:off x="8409696" y="261991"/>
            <a:ext cx="3471461" cy="1890220"/>
          </a:xfrm>
          <a:prstGeom prst="rect">
            <a:avLst/>
          </a:prstGeom>
        </p:spPr>
      </p:pic>
      <p:sp>
        <p:nvSpPr>
          <p:cNvPr id="27" name="sketch line">
            <a:extLst>
              <a:ext uri="{FF2B5EF4-FFF2-40B4-BE49-F238E27FC236}">
                <a16:creationId xmlns:a16="http://schemas.microsoft.com/office/drawing/2014/main" id="{75F6FDB4-2351-48C2-A863-2364A02343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2315691"/>
            <a:ext cx="4343400" cy="18288"/>
          </a:xfrm>
          <a:custGeom>
            <a:avLst/>
            <a:gdLst>
              <a:gd name="connsiteX0" fmla="*/ 0 w 4343400"/>
              <a:gd name="connsiteY0" fmla="*/ 0 h 18288"/>
              <a:gd name="connsiteX1" fmla="*/ 577052 w 4343400"/>
              <a:gd name="connsiteY1" fmla="*/ 0 h 18288"/>
              <a:gd name="connsiteX2" fmla="*/ 1067235 w 4343400"/>
              <a:gd name="connsiteY2" fmla="*/ 0 h 18288"/>
              <a:gd name="connsiteX3" fmla="*/ 1600853 w 4343400"/>
              <a:gd name="connsiteY3" fmla="*/ 0 h 18288"/>
              <a:gd name="connsiteX4" fmla="*/ 2264773 w 4343400"/>
              <a:gd name="connsiteY4" fmla="*/ 0 h 18288"/>
              <a:gd name="connsiteX5" fmla="*/ 2841825 w 4343400"/>
              <a:gd name="connsiteY5" fmla="*/ 0 h 18288"/>
              <a:gd name="connsiteX6" fmla="*/ 3375442 w 4343400"/>
              <a:gd name="connsiteY6" fmla="*/ 0 h 18288"/>
              <a:gd name="connsiteX7" fmla="*/ 4343400 w 4343400"/>
              <a:gd name="connsiteY7" fmla="*/ 0 h 18288"/>
              <a:gd name="connsiteX8" fmla="*/ 4343400 w 4343400"/>
              <a:gd name="connsiteY8" fmla="*/ 18288 h 18288"/>
              <a:gd name="connsiteX9" fmla="*/ 3722914 w 4343400"/>
              <a:gd name="connsiteY9" fmla="*/ 18288 h 18288"/>
              <a:gd name="connsiteX10" fmla="*/ 3189297 w 4343400"/>
              <a:gd name="connsiteY10" fmla="*/ 18288 h 18288"/>
              <a:gd name="connsiteX11" fmla="*/ 2481943 w 4343400"/>
              <a:gd name="connsiteY11" fmla="*/ 18288 h 18288"/>
              <a:gd name="connsiteX12" fmla="*/ 1904891 w 4343400"/>
              <a:gd name="connsiteY12" fmla="*/ 18288 h 18288"/>
              <a:gd name="connsiteX13" fmla="*/ 1414707 w 4343400"/>
              <a:gd name="connsiteY13" fmla="*/ 18288 h 18288"/>
              <a:gd name="connsiteX14" fmla="*/ 750788 w 4343400"/>
              <a:gd name="connsiteY14" fmla="*/ 18288 h 18288"/>
              <a:gd name="connsiteX15" fmla="*/ 0 w 4343400"/>
              <a:gd name="connsiteY15" fmla="*/ 18288 h 18288"/>
              <a:gd name="connsiteX16" fmla="*/ 0 w 434340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3400" h="18288" fill="none" extrusionOk="0">
                <a:moveTo>
                  <a:pt x="0" y="0"/>
                </a:moveTo>
                <a:cubicBezTo>
                  <a:pt x="233209" y="-19550"/>
                  <a:pt x="330816" y="19068"/>
                  <a:pt x="577052" y="0"/>
                </a:cubicBezTo>
                <a:cubicBezTo>
                  <a:pt x="823288" y="-19068"/>
                  <a:pt x="875077" y="10360"/>
                  <a:pt x="1067235" y="0"/>
                </a:cubicBezTo>
                <a:cubicBezTo>
                  <a:pt x="1259393" y="-10360"/>
                  <a:pt x="1410699" y="2939"/>
                  <a:pt x="1600853" y="0"/>
                </a:cubicBezTo>
                <a:cubicBezTo>
                  <a:pt x="1791007" y="-2939"/>
                  <a:pt x="2101644" y="-26225"/>
                  <a:pt x="2264773" y="0"/>
                </a:cubicBezTo>
                <a:cubicBezTo>
                  <a:pt x="2427902" y="26225"/>
                  <a:pt x="2690426" y="-27726"/>
                  <a:pt x="2841825" y="0"/>
                </a:cubicBezTo>
                <a:cubicBezTo>
                  <a:pt x="2993224" y="27726"/>
                  <a:pt x="3172320" y="-18569"/>
                  <a:pt x="3375442" y="0"/>
                </a:cubicBezTo>
                <a:cubicBezTo>
                  <a:pt x="3578564" y="18569"/>
                  <a:pt x="4003119" y="21909"/>
                  <a:pt x="4343400" y="0"/>
                </a:cubicBezTo>
                <a:cubicBezTo>
                  <a:pt x="4343798" y="7429"/>
                  <a:pt x="4343380" y="10822"/>
                  <a:pt x="4343400" y="18288"/>
                </a:cubicBezTo>
                <a:cubicBezTo>
                  <a:pt x="4109047" y="14709"/>
                  <a:pt x="3996986" y="7919"/>
                  <a:pt x="3722914" y="18288"/>
                </a:cubicBezTo>
                <a:cubicBezTo>
                  <a:pt x="3448842" y="28657"/>
                  <a:pt x="3340973" y="29252"/>
                  <a:pt x="3189297" y="18288"/>
                </a:cubicBezTo>
                <a:cubicBezTo>
                  <a:pt x="3037621" y="7324"/>
                  <a:pt x="2636891" y="-9539"/>
                  <a:pt x="2481943" y="18288"/>
                </a:cubicBezTo>
                <a:cubicBezTo>
                  <a:pt x="2326995" y="46115"/>
                  <a:pt x="2131632" y="740"/>
                  <a:pt x="1904891" y="18288"/>
                </a:cubicBezTo>
                <a:cubicBezTo>
                  <a:pt x="1678150" y="35836"/>
                  <a:pt x="1575362" y="-3381"/>
                  <a:pt x="1414707" y="18288"/>
                </a:cubicBezTo>
                <a:cubicBezTo>
                  <a:pt x="1254052" y="39957"/>
                  <a:pt x="1051093" y="-335"/>
                  <a:pt x="750788" y="18288"/>
                </a:cubicBezTo>
                <a:cubicBezTo>
                  <a:pt x="450483" y="36911"/>
                  <a:pt x="293781" y="22900"/>
                  <a:pt x="0" y="18288"/>
                </a:cubicBezTo>
                <a:cubicBezTo>
                  <a:pt x="-591" y="13205"/>
                  <a:pt x="-663" y="6329"/>
                  <a:pt x="0" y="0"/>
                </a:cubicBezTo>
                <a:close/>
              </a:path>
              <a:path w="4343400" h="18288" stroke="0" extrusionOk="0">
                <a:moveTo>
                  <a:pt x="0" y="0"/>
                </a:moveTo>
                <a:cubicBezTo>
                  <a:pt x="212719" y="-28531"/>
                  <a:pt x="340561" y="-1164"/>
                  <a:pt x="577052" y="0"/>
                </a:cubicBezTo>
                <a:cubicBezTo>
                  <a:pt x="813543" y="1164"/>
                  <a:pt x="866967" y="-9376"/>
                  <a:pt x="1067235" y="0"/>
                </a:cubicBezTo>
                <a:cubicBezTo>
                  <a:pt x="1267503" y="9376"/>
                  <a:pt x="1485778" y="-20470"/>
                  <a:pt x="1774589" y="0"/>
                </a:cubicBezTo>
                <a:cubicBezTo>
                  <a:pt x="2063400" y="20470"/>
                  <a:pt x="2090152" y="-14502"/>
                  <a:pt x="2351641" y="0"/>
                </a:cubicBezTo>
                <a:cubicBezTo>
                  <a:pt x="2613130" y="14502"/>
                  <a:pt x="2802864" y="19125"/>
                  <a:pt x="2928693" y="0"/>
                </a:cubicBezTo>
                <a:cubicBezTo>
                  <a:pt x="3054522" y="-19125"/>
                  <a:pt x="3482611" y="-2038"/>
                  <a:pt x="3636046" y="0"/>
                </a:cubicBezTo>
                <a:cubicBezTo>
                  <a:pt x="3789481" y="2038"/>
                  <a:pt x="4012363" y="973"/>
                  <a:pt x="4343400" y="0"/>
                </a:cubicBezTo>
                <a:cubicBezTo>
                  <a:pt x="4342514" y="5429"/>
                  <a:pt x="4344221" y="14046"/>
                  <a:pt x="4343400" y="18288"/>
                </a:cubicBezTo>
                <a:cubicBezTo>
                  <a:pt x="4078870" y="-6138"/>
                  <a:pt x="4015967" y="29658"/>
                  <a:pt x="3809782" y="18288"/>
                </a:cubicBezTo>
                <a:cubicBezTo>
                  <a:pt x="3603597" y="6918"/>
                  <a:pt x="3495552" y="24439"/>
                  <a:pt x="3189297" y="18288"/>
                </a:cubicBezTo>
                <a:cubicBezTo>
                  <a:pt x="2883042" y="12137"/>
                  <a:pt x="2850610" y="32583"/>
                  <a:pt x="2568811" y="18288"/>
                </a:cubicBezTo>
                <a:cubicBezTo>
                  <a:pt x="2287012" y="3993"/>
                  <a:pt x="2279820" y="23580"/>
                  <a:pt x="1991759" y="18288"/>
                </a:cubicBezTo>
                <a:cubicBezTo>
                  <a:pt x="1703698" y="12996"/>
                  <a:pt x="1616455" y="23157"/>
                  <a:pt x="1284405" y="18288"/>
                </a:cubicBezTo>
                <a:cubicBezTo>
                  <a:pt x="952355" y="13419"/>
                  <a:pt x="783530" y="16053"/>
                  <a:pt x="577052" y="18288"/>
                </a:cubicBezTo>
                <a:cubicBezTo>
                  <a:pt x="370574" y="20523"/>
                  <a:pt x="173929" y="5195"/>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9C22558-AB65-41BE-32C9-46BC04BD6DCD}"/>
              </a:ext>
            </a:extLst>
          </p:cNvPr>
          <p:cNvSpPr>
            <a:spLocks noGrp="1"/>
          </p:cNvSpPr>
          <p:nvPr>
            <p:ph type="body" sz="quarter" idx="13"/>
          </p:nvPr>
        </p:nvSpPr>
        <p:spPr>
          <a:xfrm>
            <a:off x="612648" y="2504819"/>
            <a:ext cx="6986016" cy="3672144"/>
          </a:xfrm>
        </p:spPr>
        <p:txBody>
          <a:bodyPr vert="horz" lIns="91440" tIns="45720" rIns="91440" bIns="45720" rtlCol="0">
            <a:normAutofit/>
          </a:bodyPr>
          <a:lstStyle/>
          <a:p>
            <a:pPr indent="-228600">
              <a:lnSpc>
                <a:spcPct val="90000"/>
              </a:lnSpc>
              <a:buFont typeface="Arial" panose="020B0604020202020204" pitchFamily="34" charset="0"/>
              <a:buChar char="•"/>
            </a:pPr>
            <a:r>
              <a:rPr lang="en-US" sz="2200"/>
              <a:t>Predict the cancellation of hotel bookings to:</a:t>
            </a:r>
          </a:p>
          <a:p>
            <a:pPr marL="285750" indent="-228600">
              <a:lnSpc>
                <a:spcPct val="90000"/>
              </a:lnSpc>
              <a:buFont typeface="Arial" panose="020B0604020202020204" pitchFamily="34" charset="0"/>
              <a:buChar char="•"/>
            </a:pPr>
            <a:r>
              <a:rPr lang="en-US" sz="2200"/>
              <a:t>Improve Revenue Management</a:t>
            </a:r>
          </a:p>
          <a:p>
            <a:pPr marL="285750" indent="-228600">
              <a:lnSpc>
                <a:spcPct val="90000"/>
              </a:lnSpc>
              <a:buFont typeface="Arial" panose="020B0604020202020204" pitchFamily="34" charset="0"/>
              <a:buChar char="•"/>
            </a:pPr>
            <a:r>
              <a:rPr lang="en-US" sz="2200"/>
              <a:t>Prevent Risk of Overbooking</a:t>
            </a:r>
          </a:p>
          <a:p>
            <a:pPr marL="285750" indent="-228600">
              <a:lnSpc>
                <a:spcPct val="90000"/>
              </a:lnSpc>
              <a:buFont typeface="Arial" panose="020B0604020202020204" pitchFamily="34" charset="0"/>
              <a:buChar char="•"/>
            </a:pPr>
            <a:r>
              <a:rPr lang="en-US" sz="2200"/>
              <a:t>Optimize Resource Allocation</a:t>
            </a:r>
            <a:endParaRPr lang="en-US" sz="2200">
              <a:highlight>
                <a:srgbClr val="FFFF00"/>
              </a:highlight>
            </a:endParaRPr>
          </a:p>
          <a:p>
            <a:pPr indent="-228600">
              <a:lnSpc>
                <a:spcPct val="90000"/>
              </a:lnSpc>
              <a:buFont typeface="Arial" panose="020B0604020202020204" pitchFamily="34" charset="0"/>
              <a:buChar char="•"/>
            </a:pPr>
            <a:endParaRPr lang="en-US" sz="2200"/>
          </a:p>
        </p:txBody>
      </p:sp>
      <p:pic>
        <p:nvPicPr>
          <p:cNvPr id="9" name="Picture 8" descr="A blue rectangle with black text&#10;&#10;Description automatically generated">
            <a:extLst>
              <a:ext uri="{FF2B5EF4-FFF2-40B4-BE49-F238E27FC236}">
                <a16:creationId xmlns:a16="http://schemas.microsoft.com/office/drawing/2014/main" id="{1617DBF5-8D95-47C1-50B4-6C3744E330F7}"/>
              </a:ext>
            </a:extLst>
          </p:cNvPr>
          <p:cNvPicPr>
            <a:picLocks noChangeAspect="1"/>
          </p:cNvPicPr>
          <p:nvPr/>
        </p:nvPicPr>
        <p:blipFill>
          <a:blip r:embed="rId4"/>
          <a:stretch>
            <a:fillRect/>
          </a:stretch>
        </p:blipFill>
        <p:spPr>
          <a:xfrm>
            <a:off x="8547553" y="2310086"/>
            <a:ext cx="3197474" cy="1890220"/>
          </a:xfrm>
          <a:prstGeom prst="rect">
            <a:avLst/>
          </a:prstGeom>
        </p:spPr>
      </p:pic>
      <p:pic>
        <p:nvPicPr>
          <p:cNvPr id="5" name="Picture 4" descr="A blue rectangle with black numbers&#10;&#10;Description automatically generated">
            <a:extLst>
              <a:ext uri="{FF2B5EF4-FFF2-40B4-BE49-F238E27FC236}">
                <a16:creationId xmlns:a16="http://schemas.microsoft.com/office/drawing/2014/main" id="{5CBBE2C7-9177-E8AD-2388-2A7C0FCE4CD8}"/>
              </a:ext>
            </a:extLst>
          </p:cNvPr>
          <p:cNvPicPr>
            <a:picLocks noChangeAspect="1"/>
          </p:cNvPicPr>
          <p:nvPr/>
        </p:nvPicPr>
        <p:blipFill>
          <a:blip r:embed="rId5"/>
          <a:stretch>
            <a:fillRect/>
          </a:stretch>
        </p:blipFill>
        <p:spPr>
          <a:xfrm>
            <a:off x="8454094" y="4358181"/>
            <a:ext cx="3384393" cy="1890220"/>
          </a:xfrm>
          <a:prstGeom prst="rect">
            <a:avLst/>
          </a:prstGeom>
        </p:spPr>
      </p:pic>
      <p:sp>
        <p:nvSpPr>
          <p:cNvPr id="15" name="Slide Number Placeholder 14">
            <a:extLst>
              <a:ext uri="{FF2B5EF4-FFF2-40B4-BE49-F238E27FC236}">
                <a16:creationId xmlns:a16="http://schemas.microsoft.com/office/drawing/2014/main" id="{7C1A7653-4BA6-B3CF-6C15-629FFF9752D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B5CEABB6-07DC-46E8-9B57-56EC44A396E5}" type="slidenum">
              <a:rPr lang="en-US" sz="1200" smtClean="0">
                <a:solidFill>
                  <a:schemeClr val="tx1">
                    <a:tint val="75000"/>
                  </a:schemeClr>
                </a:solidFill>
              </a:rPr>
              <a:pPr>
                <a:spcAft>
                  <a:spcPts val="600"/>
                </a:spcAft>
              </a:pPr>
              <a:t>2</a:t>
            </a:fld>
            <a:endParaRPr lang="en-US" sz="1200">
              <a:solidFill>
                <a:schemeClr val="tx1">
                  <a:tint val="75000"/>
                </a:schemeClr>
              </a:solidFill>
            </a:endParaRPr>
          </a:p>
        </p:txBody>
      </p:sp>
    </p:spTree>
    <p:extLst>
      <p:ext uri="{BB962C8B-B14F-4D97-AF65-F5344CB8AC3E}">
        <p14:creationId xmlns:p14="http://schemas.microsoft.com/office/powerpoint/2010/main" val="2248710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08C79-A4AC-4B5D-92DF-600737E4D11A}"/>
              </a:ext>
            </a:extLst>
          </p:cNvPr>
          <p:cNvSpPr>
            <a:spLocks noGrp="1"/>
          </p:cNvSpPr>
          <p:nvPr>
            <p:ph type="title"/>
          </p:nvPr>
        </p:nvSpPr>
        <p:spPr>
          <a:xfrm>
            <a:off x="563034" y="365125"/>
            <a:ext cx="10790766" cy="874008"/>
          </a:xfrm>
        </p:spPr>
        <p:txBody>
          <a:bodyPr>
            <a:normAutofit/>
          </a:bodyPr>
          <a:lstStyle/>
          <a:p>
            <a:r>
              <a:rPr lang="en-ZA" err="1"/>
              <a:t>DataSEt</a:t>
            </a:r>
            <a:endParaRPr lang="en-US" err="1"/>
          </a:p>
        </p:txBody>
      </p:sp>
      <p:sp>
        <p:nvSpPr>
          <p:cNvPr id="148" name="Slide Number Placeholder 147">
            <a:extLst>
              <a:ext uri="{FF2B5EF4-FFF2-40B4-BE49-F238E27FC236}">
                <a16:creationId xmlns:a16="http://schemas.microsoft.com/office/drawing/2014/main" id="{4448F4FF-8F5D-4535-8008-20CDEFD6057F}"/>
              </a:ext>
            </a:extLst>
          </p:cNvPr>
          <p:cNvSpPr>
            <a:spLocks noGrp="1"/>
          </p:cNvSpPr>
          <p:nvPr>
            <p:ph type="sldNum" sz="quarter" idx="12"/>
          </p:nvPr>
        </p:nvSpPr>
        <p:spPr>
          <a:xfrm>
            <a:off x="8610600" y="6356350"/>
            <a:ext cx="2743200" cy="365125"/>
          </a:xfrm>
        </p:spPr>
        <p:txBody>
          <a:bodyPr/>
          <a:lstStyle/>
          <a:p>
            <a:fld id="{B5CEABB6-07DC-46E8-9B57-56EC44A396E5}" type="slidenum">
              <a:rPr lang="en-US" smtClean="0"/>
              <a:pPr/>
              <a:t>3</a:t>
            </a:fld>
            <a:endParaRPr lang="en-US"/>
          </a:p>
        </p:txBody>
      </p:sp>
      <p:sp>
        <p:nvSpPr>
          <p:cNvPr id="33" name="TextBox 32">
            <a:extLst>
              <a:ext uri="{FF2B5EF4-FFF2-40B4-BE49-F238E27FC236}">
                <a16:creationId xmlns:a16="http://schemas.microsoft.com/office/drawing/2014/main" id="{551CE5C2-D6B7-17BD-8A76-591AA99F0186}"/>
              </a:ext>
            </a:extLst>
          </p:cNvPr>
          <p:cNvSpPr txBox="1"/>
          <p:nvPr/>
        </p:nvSpPr>
        <p:spPr>
          <a:xfrm>
            <a:off x="562925" y="1243864"/>
            <a:ext cx="8297921" cy="1754326"/>
          </a:xfrm>
          <a:prstGeom prst="rect">
            <a:avLst/>
          </a:prstGeom>
          <a:noFill/>
        </p:spPr>
        <p:txBody>
          <a:bodyPr wrap="square" lIns="91440" tIns="45720" rIns="91440" bIns="45720" rtlCol="0" anchor="t">
            <a:spAutoFit/>
          </a:bodyPr>
          <a:lstStyle/>
          <a:p>
            <a:r>
              <a:rPr lang="en-US"/>
              <a:t>Data &amp; Source – Hotel Reservation Data from Kaggle - </a:t>
            </a:r>
            <a:r>
              <a:rPr lang="en-US">
                <a:hlinkClick r:id="rId2"/>
              </a:rPr>
              <a:t>Link</a:t>
            </a:r>
            <a:endParaRPr lang="en-US"/>
          </a:p>
          <a:p>
            <a:r>
              <a:rPr lang="en-US"/>
              <a:t>Data  Period - July 2017- December 2018</a:t>
            </a:r>
          </a:p>
          <a:p>
            <a:endParaRPr lang="en-US"/>
          </a:p>
          <a:p>
            <a:r>
              <a:rPr lang="en-US" b="1"/>
              <a:t>Meta Data</a:t>
            </a:r>
          </a:p>
          <a:p>
            <a:endParaRPr lang="en-US"/>
          </a:p>
          <a:p>
            <a:endParaRPr lang="en-US"/>
          </a:p>
        </p:txBody>
      </p:sp>
      <p:graphicFrame>
        <p:nvGraphicFramePr>
          <p:cNvPr id="3" name="Table 2">
            <a:extLst>
              <a:ext uri="{FF2B5EF4-FFF2-40B4-BE49-F238E27FC236}">
                <a16:creationId xmlns:a16="http://schemas.microsoft.com/office/drawing/2014/main" id="{5E323803-F9DD-486B-066A-21DC28F8B7E4}"/>
              </a:ext>
            </a:extLst>
          </p:cNvPr>
          <p:cNvGraphicFramePr>
            <a:graphicFrameLocks noGrp="1"/>
          </p:cNvGraphicFramePr>
          <p:nvPr>
            <p:extLst>
              <p:ext uri="{D42A27DB-BD31-4B8C-83A1-F6EECF244321}">
                <p14:modId xmlns:p14="http://schemas.microsoft.com/office/powerpoint/2010/main" val="1030748339"/>
              </p:ext>
            </p:extLst>
          </p:nvPr>
        </p:nvGraphicFramePr>
        <p:xfrm>
          <a:off x="555091" y="2395225"/>
          <a:ext cx="7987819" cy="3521609"/>
        </p:xfrm>
        <a:graphic>
          <a:graphicData uri="http://schemas.openxmlformats.org/drawingml/2006/table">
            <a:tbl>
              <a:tblPr firstRow="1" bandRow="1">
                <a:tableStyleId>{5C22544A-7EE6-4342-B048-85BDC9FD1C3A}</a:tableStyleId>
              </a:tblPr>
              <a:tblGrid>
                <a:gridCol w="3964394">
                  <a:extLst>
                    <a:ext uri="{9D8B030D-6E8A-4147-A177-3AD203B41FA5}">
                      <a16:colId xmlns:a16="http://schemas.microsoft.com/office/drawing/2014/main" val="2527136993"/>
                    </a:ext>
                  </a:extLst>
                </a:gridCol>
                <a:gridCol w="4023425">
                  <a:extLst>
                    <a:ext uri="{9D8B030D-6E8A-4147-A177-3AD203B41FA5}">
                      <a16:colId xmlns:a16="http://schemas.microsoft.com/office/drawing/2014/main" val="1881348248"/>
                    </a:ext>
                  </a:extLst>
                </a:gridCol>
              </a:tblGrid>
              <a:tr h="299238">
                <a:tc>
                  <a:txBody>
                    <a:bodyPr/>
                    <a:lstStyle/>
                    <a:p>
                      <a:pPr algn="ctr"/>
                      <a:r>
                        <a:rPr lang="en-US" sz="1400"/>
                        <a:t>Particulars</a:t>
                      </a:r>
                    </a:p>
                  </a:txBody>
                  <a:tcPr/>
                </a:tc>
                <a:tc>
                  <a:txBody>
                    <a:bodyPr/>
                    <a:lstStyle/>
                    <a:p>
                      <a:pPr algn="ctr"/>
                      <a:r>
                        <a:rPr lang="en-US" sz="1400"/>
                        <a:t>Variables</a:t>
                      </a:r>
                    </a:p>
                  </a:txBody>
                  <a:tcPr/>
                </a:tc>
                <a:extLst>
                  <a:ext uri="{0D108BD9-81ED-4DB2-BD59-A6C34878D82A}">
                    <a16:rowId xmlns:a16="http://schemas.microsoft.com/office/drawing/2014/main" val="2935029799"/>
                  </a:ext>
                </a:extLst>
              </a:tr>
              <a:tr h="523667">
                <a:tc>
                  <a:txBody>
                    <a:bodyPr/>
                    <a:lstStyle/>
                    <a:p>
                      <a:r>
                        <a:rPr lang="en-US" sz="1400"/>
                        <a:t>Customer </a:t>
                      </a:r>
                      <a:r>
                        <a:rPr lang="en-US" sz="1400" b="1"/>
                        <a:t>Demographics</a:t>
                      </a:r>
                    </a:p>
                  </a:txBody>
                  <a:tcPr/>
                </a:tc>
                <a:tc>
                  <a:txBody>
                    <a:bodyPr/>
                    <a:lstStyle/>
                    <a:p>
                      <a:pPr marL="0" indent="0">
                        <a:buNone/>
                      </a:pPr>
                      <a:r>
                        <a:rPr lang="en-US" sz="1400"/>
                        <a:t>No. of adults</a:t>
                      </a:r>
                      <a:br>
                        <a:rPr lang="en-US" sz="1400"/>
                      </a:br>
                      <a:r>
                        <a:rPr lang="en-US" sz="1400"/>
                        <a:t>No. of children</a:t>
                      </a:r>
                    </a:p>
                  </a:txBody>
                  <a:tcPr/>
                </a:tc>
                <a:extLst>
                  <a:ext uri="{0D108BD9-81ED-4DB2-BD59-A6C34878D82A}">
                    <a16:rowId xmlns:a16="http://schemas.microsoft.com/office/drawing/2014/main" val="1888592166"/>
                  </a:ext>
                </a:extLst>
              </a:tr>
              <a:tr h="748095">
                <a:tc>
                  <a:txBody>
                    <a:bodyPr/>
                    <a:lstStyle/>
                    <a:p>
                      <a:r>
                        <a:rPr lang="en-US" sz="1400"/>
                        <a:t>Customer </a:t>
                      </a:r>
                      <a:r>
                        <a:rPr lang="en-US" sz="1400" b="1"/>
                        <a:t>Preferences</a:t>
                      </a:r>
                    </a:p>
                  </a:txBody>
                  <a:tcPr/>
                </a:tc>
                <a:tc>
                  <a:txBody>
                    <a:bodyPr/>
                    <a:lstStyle/>
                    <a:p>
                      <a:r>
                        <a:rPr lang="en-US" sz="1400"/>
                        <a:t>No. of Special Requests</a:t>
                      </a:r>
                      <a:br>
                        <a:rPr lang="en-US" sz="1400"/>
                      </a:br>
                      <a:r>
                        <a:rPr lang="en-US" sz="1400"/>
                        <a:t>Meal plan</a:t>
                      </a:r>
                      <a:br>
                        <a:rPr lang="en-US" sz="1400"/>
                      </a:br>
                      <a:r>
                        <a:rPr lang="en-US" sz="1400"/>
                        <a:t>Parking space</a:t>
                      </a:r>
                    </a:p>
                  </a:txBody>
                  <a:tcPr/>
                </a:tc>
                <a:extLst>
                  <a:ext uri="{0D108BD9-81ED-4DB2-BD59-A6C34878D82A}">
                    <a16:rowId xmlns:a16="http://schemas.microsoft.com/office/drawing/2014/main" val="2539897209"/>
                  </a:ext>
                </a:extLst>
              </a:tr>
              <a:tr h="1196952">
                <a:tc>
                  <a:txBody>
                    <a:bodyPr/>
                    <a:lstStyle/>
                    <a:p>
                      <a:r>
                        <a:rPr lang="en-US" sz="1400"/>
                        <a:t>Customer's </a:t>
                      </a:r>
                      <a:r>
                        <a:rPr lang="en-US" sz="1400" b="1"/>
                        <a:t>Booking Information</a:t>
                      </a:r>
                    </a:p>
                  </a:txBody>
                  <a:tcPr/>
                </a:tc>
                <a:tc>
                  <a:txBody>
                    <a:bodyPr/>
                    <a:lstStyle/>
                    <a:p>
                      <a:r>
                        <a:rPr lang="en-US" sz="1400"/>
                        <a:t>Room Type</a:t>
                      </a:r>
                    </a:p>
                    <a:p>
                      <a:pPr lvl="0">
                        <a:buNone/>
                      </a:pPr>
                      <a:r>
                        <a:rPr lang="en-US" sz="1400"/>
                        <a:t>Lead Time (between booking and arrival)</a:t>
                      </a:r>
                      <a:br>
                        <a:rPr lang="en-US" sz="1400"/>
                      </a:br>
                      <a:r>
                        <a:rPr lang="en-US" sz="1400"/>
                        <a:t>Arrival date and time</a:t>
                      </a:r>
                      <a:br>
                        <a:rPr lang="en-US" sz="1400"/>
                      </a:br>
                      <a:r>
                        <a:rPr lang="en-US" sz="1400"/>
                        <a:t>Market segment</a:t>
                      </a:r>
                      <a:br>
                        <a:rPr lang="en-US" sz="1400"/>
                      </a:br>
                      <a:r>
                        <a:rPr lang="en-US" sz="1400"/>
                        <a:t>Average price per room</a:t>
                      </a:r>
                    </a:p>
                  </a:txBody>
                  <a:tcPr/>
                </a:tc>
                <a:extLst>
                  <a:ext uri="{0D108BD9-81ED-4DB2-BD59-A6C34878D82A}">
                    <a16:rowId xmlns:a16="http://schemas.microsoft.com/office/drawing/2014/main" val="3163324270"/>
                  </a:ext>
                </a:extLst>
              </a:tr>
              <a:tr h="748095">
                <a:tc>
                  <a:txBody>
                    <a:bodyPr/>
                    <a:lstStyle/>
                    <a:p>
                      <a:r>
                        <a:rPr lang="en-US" sz="1400"/>
                        <a:t>Customer's </a:t>
                      </a:r>
                      <a:r>
                        <a:rPr lang="en-US" sz="1400" b="1"/>
                        <a:t>Previous History</a:t>
                      </a:r>
                    </a:p>
                  </a:txBody>
                  <a:tcPr/>
                </a:tc>
                <a:tc>
                  <a:txBody>
                    <a:bodyPr/>
                    <a:lstStyle/>
                    <a:p>
                      <a:r>
                        <a:rPr lang="en-US" sz="1400"/>
                        <a:t>No. of previous cancellations</a:t>
                      </a:r>
                      <a:br>
                        <a:rPr lang="en-US" sz="1400"/>
                      </a:br>
                      <a:r>
                        <a:rPr lang="en-US" sz="1400"/>
                        <a:t>No. of previous bookings</a:t>
                      </a:r>
                      <a:br>
                        <a:rPr lang="en-US" sz="1400"/>
                      </a:br>
                      <a:r>
                        <a:rPr lang="en-US" sz="1400"/>
                        <a:t>Repeated Guest</a:t>
                      </a:r>
                    </a:p>
                  </a:txBody>
                  <a:tcPr/>
                </a:tc>
                <a:extLst>
                  <a:ext uri="{0D108BD9-81ED-4DB2-BD59-A6C34878D82A}">
                    <a16:rowId xmlns:a16="http://schemas.microsoft.com/office/drawing/2014/main" val="736846356"/>
                  </a:ext>
                </a:extLst>
              </a:tr>
            </a:tbl>
          </a:graphicData>
        </a:graphic>
      </p:graphicFrame>
    </p:spTree>
    <p:extLst>
      <p:ext uri="{BB962C8B-B14F-4D97-AF65-F5344CB8AC3E}">
        <p14:creationId xmlns:p14="http://schemas.microsoft.com/office/powerpoint/2010/main" val="1495292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7BB13-4AF5-4C37-A4E4-C8EBF618E4D4}"/>
              </a:ext>
            </a:extLst>
          </p:cNvPr>
          <p:cNvSpPr>
            <a:spLocks noGrp="1"/>
          </p:cNvSpPr>
          <p:nvPr>
            <p:ph type="title"/>
          </p:nvPr>
        </p:nvSpPr>
        <p:spPr/>
        <p:txBody>
          <a:bodyPr/>
          <a:lstStyle/>
          <a:p>
            <a:pPr algn="l"/>
            <a:r>
              <a:rPr lang="en-US"/>
              <a:t>Exploratory </a:t>
            </a:r>
            <a:r>
              <a:rPr lang="en-US" err="1"/>
              <a:t>DAta</a:t>
            </a:r>
            <a:r>
              <a:rPr lang="en-US"/>
              <a:t> analyses</a:t>
            </a:r>
          </a:p>
        </p:txBody>
      </p:sp>
      <p:sp>
        <p:nvSpPr>
          <p:cNvPr id="13" name="Slide Number Placeholder 12">
            <a:extLst>
              <a:ext uri="{FF2B5EF4-FFF2-40B4-BE49-F238E27FC236}">
                <a16:creationId xmlns:a16="http://schemas.microsoft.com/office/drawing/2014/main" id="{3C6E5E06-8936-476F-A154-802EC60B090E}"/>
              </a:ext>
            </a:extLst>
          </p:cNvPr>
          <p:cNvSpPr>
            <a:spLocks noGrp="1"/>
          </p:cNvSpPr>
          <p:nvPr>
            <p:ph type="sldNum" sz="quarter" idx="12"/>
          </p:nvPr>
        </p:nvSpPr>
        <p:spPr/>
        <p:txBody>
          <a:bodyPr/>
          <a:lstStyle/>
          <a:p>
            <a:fld id="{B5CEABB6-07DC-46E8-9B57-56EC44A396E5}" type="slidenum">
              <a:rPr lang="en-US" smtClean="0"/>
              <a:pPr/>
              <a:t>4</a:t>
            </a:fld>
            <a:endParaRPr lang="en-US"/>
          </a:p>
        </p:txBody>
      </p:sp>
      <p:pic>
        <p:nvPicPr>
          <p:cNvPr id="3" name="Content Placeholder 2" descr="A graph with a blue line&#10;&#10;Description automatically generated">
            <a:extLst>
              <a:ext uri="{FF2B5EF4-FFF2-40B4-BE49-F238E27FC236}">
                <a16:creationId xmlns:a16="http://schemas.microsoft.com/office/drawing/2014/main" id="{A0CF6900-F067-5D97-7F84-A985CE525A8F}"/>
              </a:ext>
            </a:extLst>
          </p:cNvPr>
          <p:cNvPicPr>
            <a:picLocks noGrp="1" noChangeAspect="1"/>
          </p:cNvPicPr>
          <p:nvPr>
            <p:ph sz="quarter" idx="13"/>
          </p:nvPr>
        </p:nvPicPr>
        <p:blipFill>
          <a:blip r:embed="rId3"/>
          <a:stretch>
            <a:fillRect/>
          </a:stretch>
        </p:blipFill>
        <p:spPr>
          <a:xfrm>
            <a:off x="8017212" y="1888233"/>
            <a:ext cx="3953416" cy="3098559"/>
          </a:xfrm>
        </p:spPr>
      </p:pic>
      <p:sp>
        <p:nvSpPr>
          <p:cNvPr id="6" name="Content Placeholder 5">
            <a:extLst>
              <a:ext uri="{FF2B5EF4-FFF2-40B4-BE49-F238E27FC236}">
                <a16:creationId xmlns:a16="http://schemas.microsoft.com/office/drawing/2014/main" id="{A5A62B56-6184-2198-E5A1-6DB8DA5A162D}"/>
              </a:ext>
            </a:extLst>
          </p:cNvPr>
          <p:cNvSpPr>
            <a:spLocks noGrp="1"/>
          </p:cNvSpPr>
          <p:nvPr>
            <p:ph sz="quarter" idx="15"/>
          </p:nvPr>
        </p:nvSpPr>
        <p:spPr/>
        <p:txBody>
          <a:bodyPr/>
          <a:lstStyle/>
          <a:p>
            <a:endParaRPr lang="en-US"/>
          </a:p>
        </p:txBody>
      </p:sp>
      <p:pic>
        <p:nvPicPr>
          <p:cNvPr id="7" name="Picture 6">
            <a:extLst>
              <a:ext uri="{FF2B5EF4-FFF2-40B4-BE49-F238E27FC236}">
                <a16:creationId xmlns:a16="http://schemas.microsoft.com/office/drawing/2014/main" id="{5D50AC03-F70F-4362-B54E-FB509674285F}"/>
              </a:ext>
            </a:extLst>
          </p:cNvPr>
          <p:cNvPicPr>
            <a:picLocks noChangeAspect="1"/>
          </p:cNvPicPr>
          <p:nvPr/>
        </p:nvPicPr>
        <p:blipFill>
          <a:blip r:embed="rId4"/>
          <a:stretch>
            <a:fillRect/>
          </a:stretch>
        </p:blipFill>
        <p:spPr>
          <a:xfrm>
            <a:off x="144423" y="1946374"/>
            <a:ext cx="3949699" cy="3049917"/>
          </a:xfrm>
          <a:prstGeom prst="rect">
            <a:avLst/>
          </a:prstGeom>
        </p:spPr>
      </p:pic>
      <p:pic>
        <p:nvPicPr>
          <p:cNvPr id="9" name="Picture 8">
            <a:extLst>
              <a:ext uri="{FF2B5EF4-FFF2-40B4-BE49-F238E27FC236}">
                <a16:creationId xmlns:a16="http://schemas.microsoft.com/office/drawing/2014/main" id="{A034CD1F-C3B7-7947-AA59-16A0E8E0849E}"/>
              </a:ext>
            </a:extLst>
          </p:cNvPr>
          <p:cNvPicPr>
            <a:picLocks noChangeAspect="1"/>
          </p:cNvPicPr>
          <p:nvPr/>
        </p:nvPicPr>
        <p:blipFill>
          <a:blip r:embed="rId5"/>
          <a:stretch>
            <a:fillRect/>
          </a:stretch>
        </p:blipFill>
        <p:spPr>
          <a:xfrm>
            <a:off x="4249344" y="1942996"/>
            <a:ext cx="3502604" cy="3039986"/>
          </a:xfrm>
          <a:prstGeom prst="rect">
            <a:avLst/>
          </a:prstGeom>
        </p:spPr>
      </p:pic>
    </p:spTree>
    <p:extLst>
      <p:ext uri="{BB962C8B-B14F-4D97-AF65-F5344CB8AC3E}">
        <p14:creationId xmlns:p14="http://schemas.microsoft.com/office/powerpoint/2010/main" val="3188255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21A443-609B-AB67-B91C-C3A7CE0ECB8E}"/>
              </a:ext>
            </a:extLst>
          </p:cNvPr>
          <p:cNvGraphicFramePr>
            <a:graphicFrameLocks noChangeAspect="1"/>
          </p:cNvGraphicFramePr>
          <p:nvPr>
            <p:custDataLst>
              <p:tags r:id="rId1"/>
            </p:custDataLst>
            <p:extLst>
              <p:ext uri="{D42A27DB-BD31-4B8C-83A1-F6EECF244321}">
                <p14:modId xmlns:p14="http://schemas.microsoft.com/office/powerpoint/2010/main" val="28327586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3621A443-609B-AB67-B91C-C3A7CE0EC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37BB13-4AF5-4C37-A4E4-C8EBF618E4D4}"/>
              </a:ext>
            </a:extLst>
          </p:cNvPr>
          <p:cNvSpPr>
            <a:spLocks noGrp="1"/>
          </p:cNvSpPr>
          <p:nvPr>
            <p:ph type="title"/>
          </p:nvPr>
        </p:nvSpPr>
        <p:spPr/>
        <p:txBody>
          <a:bodyPr vert="horz"/>
          <a:lstStyle/>
          <a:p>
            <a:pPr algn="l"/>
            <a:r>
              <a:rPr lang="en-US"/>
              <a:t>Exploratory </a:t>
            </a:r>
            <a:r>
              <a:rPr lang="en-US" err="1"/>
              <a:t>DAta</a:t>
            </a:r>
            <a:r>
              <a:rPr lang="en-US"/>
              <a:t> analyses</a:t>
            </a:r>
          </a:p>
        </p:txBody>
      </p:sp>
      <p:sp>
        <p:nvSpPr>
          <p:cNvPr id="13" name="Slide Number Placeholder 12">
            <a:extLst>
              <a:ext uri="{FF2B5EF4-FFF2-40B4-BE49-F238E27FC236}">
                <a16:creationId xmlns:a16="http://schemas.microsoft.com/office/drawing/2014/main" id="{3C6E5E06-8936-476F-A154-802EC60B090E}"/>
              </a:ext>
            </a:extLst>
          </p:cNvPr>
          <p:cNvSpPr>
            <a:spLocks noGrp="1"/>
          </p:cNvSpPr>
          <p:nvPr>
            <p:ph type="sldNum" sz="quarter" idx="12"/>
          </p:nvPr>
        </p:nvSpPr>
        <p:spPr/>
        <p:txBody>
          <a:bodyPr/>
          <a:lstStyle/>
          <a:p>
            <a:fld id="{B5CEABB6-07DC-46E8-9B57-56EC44A396E5}" type="slidenum">
              <a:rPr lang="en-US" smtClean="0"/>
              <a:pPr/>
              <a:t>5</a:t>
            </a:fld>
            <a:endParaRPr lang="en-US"/>
          </a:p>
        </p:txBody>
      </p:sp>
      <p:sp>
        <p:nvSpPr>
          <p:cNvPr id="4" name="TextBox 3">
            <a:extLst>
              <a:ext uri="{FF2B5EF4-FFF2-40B4-BE49-F238E27FC236}">
                <a16:creationId xmlns:a16="http://schemas.microsoft.com/office/drawing/2014/main" id="{103680E3-E700-E42A-AF9A-00ADB7E2E288}"/>
              </a:ext>
            </a:extLst>
          </p:cNvPr>
          <p:cNvSpPr txBox="1"/>
          <p:nvPr/>
        </p:nvSpPr>
        <p:spPr>
          <a:xfrm>
            <a:off x="868497" y="1602955"/>
            <a:ext cx="1087731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400"/>
          </a:p>
        </p:txBody>
      </p:sp>
      <p:pic>
        <p:nvPicPr>
          <p:cNvPr id="15" name="Picture 14" descr="A blue circle with a number of percentages&#10;&#10;Description automatically generated">
            <a:extLst>
              <a:ext uri="{FF2B5EF4-FFF2-40B4-BE49-F238E27FC236}">
                <a16:creationId xmlns:a16="http://schemas.microsoft.com/office/drawing/2014/main" id="{95175BA9-C9EE-C2A0-ADBA-0012F48FD77E}"/>
              </a:ext>
            </a:extLst>
          </p:cNvPr>
          <p:cNvPicPr>
            <a:picLocks noChangeAspect="1"/>
          </p:cNvPicPr>
          <p:nvPr/>
        </p:nvPicPr>
        <p:blipFill rotWithShape="1">
          <a:blip r:embed="rId6"/>
          <a:srcRect l="-1" r="956"/>
          <a:stretch/>
        </p:blipFill>
        <p:spPr>
          <a:xfrm>
            <a:off x="6095164" y="1601023"/>
            <a:ext cx="5008207" cy="3499442"/>
          </a:xfrm>
          <a:prstGeom prst="rect">
            <a:avLst/>
          </a:prstGeom>
        </p:spPr>
      </p:pic>
      <p:pic>
        <p:nvPicPr>
          <p:cNvPr id="3" name="Picture 2">
            <a:extLst>
              <a:ext uri="{FF2B5EF4-FFF2-40B4-BE49-F238E27FC236}">
                <a16:creationId xmlns:a16="http://schemas.microsoft.com/office/drawing/2014/main" id="{3365F395-53DE-D357-482B-A29F04737FB0}"/>
              </a:ext>
            </a:extLst>
          </p:cNvPr>
          <p:cNvPicPr>
            <a:picLocks noChangeAspect="1"/>
          </p:cNvPicPr>
          <p:nvPr/>
        </p:nvPicPr>
        <p:blipFill>
          <a:blip r:embed="rId7"/>
          <a:stretch>
            <a:fillRect/>
          </a:stretch>
        </p:blipFill>
        <p:spPr>
          <a:xfrm>
            <a:off x="855215" y="1683616"/>
            <a:ext cx="4674092" cy="3498165"/>
          </a:xfrm>
          <a:prstGeom prst="rect">
            <a:avLst/>
          </a:prstGeom>
        </p:spPr>
      </p:pic>
    </p:spTree>
    <p:extLst>
      <p:ext uri="{BB962C8B-B14F-4D97-AF65-F5344CB8AC3E}">
        <p14:creationId xmlns:p14="http://schemas.microsoft.com/office/powerpoint/2010/main" val="3123035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E1C88-627C-4655-A4FB-0BB02EDB078A}"/>
              </a:ext>
            </a:extLst>
          </p:cNvPr>
          <p:cNvSpPr>
            <a:spLocks noGrp="1"/>
          </p:cNvSpPr>
          <p:nvPr>
            <p:ph type="title"/>
          </p:nvPr>
        </p:nvSpPr>
        <p:spPr/>
        <p:txBody>
          <a:bodyPr vert="horz" lIns="91440" tIns="45720" rIns="91440" bIns="45720" rtlCol="0" anchor="ctr">
            <a:normAutofit/>
          </a:bodyPr>
          <a:lstStyle/>
          <a:p>
            <a:r>
              <a:rPr lang="en-US"/>
              <a:t>Analyses</a:t>
            </a:r>
          </a:p>
        </p:txBody>
      </p:sp>
      <p:sp>
        <p:nvSpPr>
          <p:cNvPr id="4" name="Content Placeholder 3">
            <a:extLst>
              <a:ext uri="{FF2B5EF4-FFF2-40B4-BE49-F238E27FC236}">
                <a16:creationId xmlns:a16="http://schemas.microsoft.com/office/drawing/2014/main" id="{3D9117CC-67D9-9458-1361-DDC796C4407B}"/>
              </a:ext>
            </a:extLst>
          </p:cNvPr>
          <p:cNvSpPr>
            <a:spLocks noGrp="1"/>
          </p:cNvSpPr>
          <p:nvPr>
            <p:ph sz="half" idx="2"/>
          </p:nvPr>
        </p:nvSpPr>
        <p:spPr>
          <a:xfrm>
            <a:off x="642233" y="1418520"/>
            <a:ext cx="5568243" cy="5001080"/>
          </a:xfrm>
        </p:spPr>
        <p:txBody>
          <a:bodyPr vert="horz" lIns="91440" tIns="45720" rIns="91440" bIns="45720" rtlCol="0" anchor="t">
            <a:normAutofit/>
          </a:bodyPr>
          <a:lstStyle/>
          <a:p>
            <a:pPr marL="0" indent="0">
              <a:lnSpc>
                <a:spcPts val="2000"/>
              </a:lnSpc>
              <a:spcBef>
                <a:spcPts val="0"/>
              </a:spcBef>
              <a:buNone/>
            </a:pPr>
            <a:r>
              <a:rPr lang="en-US" sz="1400"/>
              <a:t>    </a:t>
            </a:r>
            <a:r>
              <a:rPr lang="en-US" sz="1800" b="1"/>
              <a:t>WHY LOGISTIC REGRESSION ?</a:t>
            </a:r>
            <a:r>
              <a:rPr lang="en-US" sz="1400" b="1"/>
              <a:t> </a:t>
            </a:r>
            <a:endParaRPr lang="en-US" b="1"/>
          </a:p>
          <a:p>
            <a:pPr>
              <a:lnSpc>
                <a:spcPts val="2000"/>
              </a:lnSpc>
              <a:spcBef>
                <a:spcPts val="0"/>
              </a:spcBef>
              <a:buFont typeface="Wingdings" panose="05000000000000000000" pitchFamily="2" charset="2"/>
              <a:buChar char="Ø"/>
            </a:pPr>
            <a:endParaRPr lang="en-US"/>
          </a:p>
          <a:p>
            <a:pPr>
              <a:lnSpc>
                <a:spcPts val="2000"/>
              </a:lnSpc>
              <a:spcBef>
                <a:spcPts val="0"/>
              </a:spcBef>
              <a:buFont typeface="Wingdings" panose="05000000000000000000" pitchFamily="2" charset="2"/>
              <a:buChar char="Ø"/>
            </a:pPr>
            <a:r>
              <a:rPr lang="en-US" sz="1400"/>
              <a:t>Binary Outcome - To predict Cancellation Status i.e. Cancelled (1) or Not-cancelled (0)</a:t>
            </a:r>
            <a:endParaRPr lang="en-US"/>
          </a:p>
          <a:p>
            <a:pPr>
              <a:lnSpc>
                <a:spcPts val="2000"/>
              </a:lnSpc>
              <a:spcBef>
                <a:spcPts val="0"/>
              </a:spcBef>
              <a:buFont typeface="Wingdings" panose="05000000000000000000" pitchFamily="2" charset="2"/>
              <a:buChar char="Ø"/>
            </a:pPr>
            <a:endParaRPr lang="en-US" sz="1400"/>
          </a:p>
          <a:p>
            <a:pPr>
              <a:lnSpc>
                <a:spcPts val="2000"/>
              </a:lnSpc>
              <a:spcBef>
                <a:spcPts val="0"/>
              </a:spcBef>
              <a:buFont typeface="Wingdings" panose="05000000000000000000" pitchFamily="2" charset="2"/>
              <a:buChar char="Ø"/>
            </a:pPr>
            <a:r>
              <a:rPr lang="en-US" sz="1400"/>
              <a:t>Logistic Regression or Tree based models are suitable for Classification</a:t>
            </a:r>
            <a:endParaRPr lang="en-US"/>
          </a:p>
          <a:p>
            <a:pPr>
              <a:lnSpc>
                <a:spcPts val="2000"/>
              </a:lnSpc>
              <a:spcBef>
                <a:spcPts val="0"/>
              </a:spcBef>
              <a:buFont typeface="Wingdings" panose="05000000000000000000" pitchFamily="2" charset="2"/>
              <a:buChar char="Ø"/>
            </a:pPr>
            <a:endParaRPr lang="en-US" sz="1400"/>
          </a:p>
          <a:p>
            <a:pPr>
              <a:lnSpc>
                <a:spcPts val="2000"/>
              </a:lnSpc>
              <a:spcBef>
                <a:spcPts val="0"/>
              </a:spcBef>
              <a:buFont typeface="Wingdings" panose="05000000000000000000" pitchFamily="2" charset="2"/>
              <a:buChar char="Ø"/>
            </a:pPr>
            <a:r>
              <a:rPr lang="en-US" sz="1400"/>
              <a:t>Probabilistic Interpretation - Predicting probabilities in scenarios where understanding the likelihood of an event (cancellation) is crucial</a:t>
            </a:r>
            <a:endParaRPr lang="en-US"/>
          </a:p>
          <a:p>
            <a:pPr>
              <a:lnSpc>
                <a:spcPts val="2000"/>
              </a:lnSpc>
              <a:spcBef>
                <a:spcPts val="0"/>
              </a:spcBef>
              <a:buFont typeface="Wingdings" panose="05000000000000000000" pitchFamily="2" charset="2"/>
              <a:buChar char="Ø"/>
            </a:pPr>
            <a:endParaRPr lang="en-US" sz="1400"/>
          </a:p>
          <a:p>
            <a:pPr>
              <a:lnSpc>
                <a:spcPts val="2000"/>
              </a:lnSpc>
              <a:spcBef>
                <a:spcPts val="0"/>
              </a:spcBef>
              <a:buFont typeface="Wingdings" panose="05000000000000000000" pitchFamily="2" charset="2"/>
              <a:buChar char="Ø"/>
            </a:pPr>
            <a:r>
              <a:rPr lang="en-US" sz="1400"/>
              <a:t>Interpretability – Using odds ratio, multiplicative change in odds for a one-unit change in the predictor variable, assuming all other variables are constant can be interpreted</a:t>
            </a:r>
            <a:endParaRPr lang="en-US"/>
          </a:p>
          <a:p>
            <a:pPr>
              <a:lnSpc>
                <a:spcPts val="2000"/>
              </a:lnSpc>
              <a:spcBef>
                <a:spcPts val="0"/>
              </a:spcBef>
              <a:buFont typeface="Wingdings" panose="05000000000000000000" pitchFamily="2" charset="2"/>
              <a:buChar char="Ø"/>
            </a:pPr>
            <a:endParaRPr lang="en-US" sz="1400"/>
          </a:p>
          <a:p>
            <a:pPr>
              <a:lnSpc>
                <a:spcPts val="2000"/>
              </a:lnSpc>
              <a:spcBef>
                <a:spcPts val="0"/>
              </a:spcBef>
              <a:buFont typeface="Wingdings" panose="05000000000000000000" pitchFamily="2" charset="2"/>
              <a:buChar char="Ø"/>
            </a:pPr>
            <a:r>
              <a:rPr lang="en-US" sz="1400"/>
              <a:t>Robustness to Outliers</a:t>
            </a:r>
            <a:endParaRPr lang="en-US"/>
          </a:p>
        </p:txBody>
      </p:sp>
      <p:pic>
        <p:nvPicPr>
          <p:cNvPr id="3" name="Picture 2" descr="A diagram of decision tree algorithm&#10;&#10;Description automatically generated">
            <a:extLst>
              <a:ext uri="{FF2B5EF4-FFF2-40B4-BE49-F238E27FC236}">
                <a16:creationId xmlns:a16="http://schemas.microsoft.com/office/drawing/2014/main" id="{5AA95329-5D1F-1A76-53B6-B852634F575C}"/>
              </a:ext>
            </a:extLst>
          </p:cNvPr>
          <p:cNvPicPr>
            <a:picLocks noChangeAspect="1"/>
          </p:cNvPicPr>
          <p:nvPr/>
        </p:nvPicPr>
        <p:blipFill>
          <a:blip r:embed="rId3"/>
          <a:stretch>
            <a:fillRect/>
          </a:stretch>
        </p:blipFill>
        <p:spPr>
          <a:xfrm>
            <a:off x="7938881" y="2920870"/>
            <a:ext cx="2459979" cy="26257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descr="A graph on a green background&#10;&#10;Description automatically generated">
            <a:extLst>
              <a:ext uri="{FF2B5EF4-FFF2-40B4-BE49-F238E27FC236}">
                <a16:creationId xmlns:a16="http://schemas.microsoft.com/office/drawing/2014/main" id="{F62FF29E-BC0A-6CA4-D7F5-CFB181E1F457}"/>
              </a:ext>
            </a:extLst>
          </p:cNvPr>
          <p:cNvPicPr>
            <a:picLocks noChangeAspect="1"/>
          </p:cNvPicPr>
          <p:nvPr/>
        </p:nvPicPr>
        <p:blipFill>
          <a:blip r:embed="rId4"/>
          <a:stretch>
            <a:fillRect/>
          </a:stretch>
        </p:blipFill>
        <p:spPr>
          <a:xfrm>
            <a:off x="6648307" y="783715"/>
            <a:ext cx="4822053" cy="20229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461528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E1C88-627C-4655-A4FB-0BB02EDB078A}"/>
              </a:ext>
            </a:extLst>
          </p:cNvPr>
          <p:cNvSpPr>
            <a:spLocks noGrp="1"/>
          </p:cNvSpPr>
          <p:nvPr>
            <p:ph type="title"/>
          </p:nvPr>
        </p:nvSpPr>
        <p:spPr>
          <a:xfrm>
            <a:off x="838200" y="365125"/>
            <a:ext cx="10515600" cy="951021"/>
          </a:xfrm>
        </p:spPr>
        <p:txBody>
          <a:bodyPr>
            <a:normAutofit/>
          </a:bodyPr>
          <a:lstStyle/>
          <a:p>
            <a:pPr algn="l"/>
            <a:r>
              <a:rPr lang="en-US"/>
              <a:t>Result &amp; Insights</a:t>
            </a:r>
          </a:p>
        </p:txBody>
      </p:sp>
      <p:sp>
        <p:nvSpPr>
          <p:cNvPr id="3" name="Subtitle 2">
            <a:extLst>
              <a:ext uri="{FF2B5EF4-FFF2-40B4-BE49-F238E27FC236}">
                <a16:creationId xmlns:a16="http://schemas.microsoft.com/office/drawing/2014/main" id="{6296F0F7-F496-D0E7-0825-D2CD566608F8}"/>
              </a:ext>
            </a:extLst>
          </p:cNvPr>
          <p:cNvSpPr txBox="1">
            <a:spLocks/>
          </p:cNvSpPr>
          <p:nvPr/>
        </p:nvSpPr>
        <p:spPr>
          <a:xfrm>
            <a:off x="710776" y="1406356"/>
            <a:ext cx="11214716" cy="4356709"/>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a:t>   Model Summary</a:t>
            </a:r>
          </a:p>
          <a:p>
            <a:endParaRPr lang="en-US"/>
          </a:p>
          <a:p>
            <a:endParaRPr lang="en-US"/>
          </a:p>
          <a:p>
            <a:endParaRPr lang="en-US"/>
          </a:p>
          <a:p>
            <a:endParaRPr lang="en-US"/>
          </a:p>
        </p:txBody>
      </p:sp>
      <p:graphicFrame>
        <p:nvGraphicFramePr>
          <p:cNvPr id="5" name="Table 4">
            <a:extLst>
              <a:ext uri="{FF2B5EF4-FFF2-40B4-BE49-F238E27FC236}">
                <a16:creationId xmlns:a16="http://schemas.microsoft.com/office/drawing/2014/main" id="{F7BDDC39-624D-30D4-2A3F-D3A45A396425}"/>
              </a:ext>
            </a:extLst>
          </p:cNvPr>
          <p:cNvGraphicFramePr>
            <a:graphicFrameLocks noGrp="1"/>
          </p:cNvGraphicFramePr>
          <p:nvPr/>
        </p:nvGraphicFramePr>
        <p:xfrm>
          <a:off x="887258" y="1714278"/>
          <a:ext cx="10571480" cy="4114800"/>
        </p:xfrm>
        <a:graphic>
          <a:graphicData uri="http://schemas.openxmlformats.org/drawingml/2006/table">
            <a:tbl>
              <a:tblPr firstRow="1" bandRow="1">
                <a:tableStyleId>{5C22544A-7EE6-4342-B048-85BDC9FD1C3A}</a:tableStyleId>
              </a:tblPr>
              <a:tblGrid>
                <a:gridCol w="1850008">
                  <a:extLst>
                    <a:ext uri="{9D8B030D-6E8A-4147-A177-3AD203B41FA5}">
                      <a16:colId xmlns:a16="http://schemas.microsoft.com/office/drawing/2014/main" val="2189858797"/>
                    </a:ext>
                  </a:extLst>
                </a:gridCol>
                <a:gridCol w="1170412">
                  <a:extLst>
                    <a:ext uri="{9D8B030D-6E8A-4147-A177-3AD203B41FA5}">
                      <a16:colId xmlns:a16="http://schemas.microsoft.com/office/drawing/2014/main" val="2197085025"/>
                    </a:ext>
                  </a:extLst>
                </a:gridCol>
                <a:gridCol w="1057148">
                  <a:extLst>
                    <a:ext uri="{9D8B030D-6E8A-4147-A177-3AD203B41FA5}">
                      <a16:colId xmlns:a16="http://schemas.microsoft.com/office/drawing/2014/main" val="601600549"/>
                    </a:ext>
                  </a:extLst>
                </a:gridCol>
                <a:gridCol w="6493912">
                  <a:extLst>
                    <a:ext uri="{9D8B030D-6E8A-4147-A177-3AD203B41FA5}">
                      <a16:colId xmlns:a16="http://schemas.microsoft.com/office/drawing/2014/main" val="1928882204"/>
                    </a:ext>
                  </a:extLst>
                </a:gridCol>
              </a:tblGrid>
              <a:tr h="246394">
                <a:tc>
                  <a:txBody>
                    <a:bodyPr/>
                    <a:lstStyle/>
                    <a:p>
                      <a:pPr algn="ctr"/>
                      <a:r>
                        <a:rPr lang="en-US" sz="1200"/>
                        <a:t>Variable</a:t>
                      </a:r>
                    </a:p>
                  </a:txBody>
                  <a:tcPr/>
                </a:tc>
                <a:tc>
                  <a:txBody>
                    <a:bodyPr/>
                    <a:lstStyle/>
                    <a:p>
                      <a:pPr algn="ctr"/>
                      <a:r>
                        <a:rPr lang="en-US" sz="1200"/>
                        <a:t>Odds Ratio</a:t>
                      </a:r>
                    </a:p>
                  </a:txBody>
                  <a:tcPr/>
                </a:tc>
                <a:tc>
                  <a:txBody>
                    <a:bodyPr/>
                    <a:lstStyle/>
                    <a:p>
                      <a:pPr algn="ctr"/>
                      <a:r>
                        <a:rPr lang="en-US" sz="1200"/>
                        <a:t>p-value**</a:t>
                      </a:r>
                    </a:p>
                  </a:txBody>
                  <a:tcPr/>
                </a:tc>
                <a:tc>
                  <a:txBody>
                    <a:bodyPr/>
                    <a:lstStyle/>
                    <a:p>
                      <a:pPr algn="ctr"/>
                      <a:r>
                        <a:rPr lang="en-US" sz="1200"/>
                        <a:t>Interpretation/Action</a:t>
                      </a:r>
                    </a:p>
                  </a:txBody>
                  <a:tcPr/>
                </a:tc>
                <a:extLst>
                  <a:ext uri="{0D108BD9-81ED-4DB2-BD59-A6C34878D82A}">
                    <a16:rowId xmlns:a16="http://schemas.microsoft.com/office/drawing/2014/main" val="2261958662"/>
                  </a:ext>
                </a:extLst>
              </a:tr>
              <a:tr h="551925">
                <a:tc>
                  <a:txBody>
                    <a:bodyPr/>
                    <a:lstStyle/>
                    <a:p>
                      <a:pPr lvl="0">
                        <a:buNone/>
                      </a:pPr>
                      <a:r>
                        <a:rPr lang="en-US" sz="1200" b="0" i="0" u="none" strike="noStrike" noProof="0">
                          <a:solidFill>
                            <a:srgbClr val="000000"/>
                          </a:solidFill>
                        </a:rPr>
                        <a:t>Car parking space </a:t>
                      </a:r>
                    </a:p>
                  </a:txBody>
                  <a:tcPr/>
                </a:tc>
                <a:tc>
                  <a:txBody>
                    <a:bodyPr/>
                    <a:lstStyle/>
                    <a:p>
                      <a:pPr lvl="0">
                        <a:buNone/>
                      </a:pPr>
                      <a:r>
                        <a:rPr lang="en-US" sz="1200" b="0" i="0" u="none" strike="noStrike" noProof="0">
                          <a:solidFill>
                            <a:srgbClr val="000000"/>
                          </a:solidFill>
                        </a:rPr>
                        <a:t>0.2052 </a:t>
                      </a:r>
                      <a:endParaRPr lang="en-US" sz="1200" b="0" i="0" u="none" strike="noStrike" noProof="0">
                        <a:latin typeface="Avenir Next LT Pro Light"/>
                      </a:endParaRPr>
                    </a:p>
                  </a:txBody>
                  <a:tcPr/>
                </a:tc>
                <a:tc>
                  <a:txBody>
                    <a:bodyPr/>
                    <a:lstStyle/>
                    <a:p>
                      <a:pPr lvl="0">
                        <a:buNone/>
                      </a:pPr>
                      <a:r>
                        <a:rPr lang="en-US" sz="1200" b="0" i="0" u="none" strike="noStrike" noProof="0">
                          <a:solidFill>
                            <a:srgbClr val="000000"/>
                          </a:solidFill>
                          <a:latin typeface="Avenir Next LT Pro Light"/>
                        </a:rPr>
                        <a:t>0.0000</a:t>
                      </a:r>
                    </a:p>
                  </a:txBody>
                  <a:tcPr/>
                </a:tc>
                <a:tc>
                  <a:txBody>
                    <a:bodyPr/>
                    <a:lstStyle/>
                    <a:p>
                      <a:pPr lvl="0" algn="l">
                        <a:lnSpc>
                          <a:spcPct val="100000"/>
                        </a:lnSpc>
                        <a:spcBef>
                          <a:spcPts val="0"/>
                        </a:spcBef>
                        <a:spcAft>
                          <a:spcPts val="0"/>
                        </a:spcAft>
                        <a:buNone/>
                      </a:pPr>
                      <a:r>
                        <a:rPr lang="en-US" sz="1200" b="0" i="0" u="none" strike="noStrike" noProof="0">
                          <a:solidFill>
                            <a:srgbClr val="000000"/>
                          </a:solidFill>
                          <a:latin typeface="Avenir Next LT Pro Light"/>
                        </a:rPr>
                        <a:t>One unit increase will decrease the odds of cancellation by 0.2 times (20%). Having a parking space will provide more convenience and security to the customers, and therefore will be beneficial for reducing cancellations </a:t>
                      </a:r>
                    </a:p>
                  </a:txBody>
                  <a:tcPr/>
                </a:tc>
                <a:extLst>
                  <a:ext uri="{0D108BD9-81ED-4DB2-BD59-A6C34878D82A}">
                    <a16:rowId xmlns:a16="http://schemas.microsoft.com/office/drawing/2014/main" val="3566347627"/>
                  </a:ext>
                </a:extLst>
              </a:tr>
              <a:tr h="551925">
                <a:tc>
                  <a:txBody>
                    <a:bodyPr/>
                    <a:lstStyle/>
                    <a:p>
                      <a:pPr lvl="0">
                        <a:buNone/>
                      </a:pPr>
                      <a:r>
                        <a:rPr lang="en-US" sz="1200" b="0" i="0" u="none" strike="noStrike" noProof="0">
                          <a:latin typeface="Avenir Next LT Pro Light"/>
                        </a:rPr>
                        <a:t>No of special requests </a:t>
                      </a:r>
                      <a:endParaRPr lang="en-US" sz="1200"/>
                    </a:p>
                  </a:txBody>
                  <a:tcPr/>
                </a:tc>
                <a:tc>
                  <a:txBody>
                    <a:bodyPr/>
                    <a:lstStyle/>
                    <a:p>
                      <a:pPr lvl="0">
                        <a:buNone/>
                      </a:pPr>
                      <a:r>
                        <a:rPr lang="en-US" sz="1200" b="0" i="0" u="none" strike="noStrike" noProof="0">
                          <a:latin typeface="Avenir Next LT Pro Light"/>
                        </a:rPr>
                        <a:t>0.2266 </a:t>
                      </a:r>
                      <a:endParaRPr lang="en-US" sz="1200"/>
                    </a:p>
                  </a:txBody>
                  <a:tcPr/>
                </a:tc>
                <a:tc>
                  <a:txBody>
                    <a:bodyPr/>
                    <a:lstStyle/>
                    <a:p>
                      <a:r>
                        <a:rPr lang="en-US" sz="1200"/>
                        <a:t>0.00000</a:t>
                      </a:r>
                    </a:p>
                  </a:txBody>
                  <a:tcPr/>
                </a:tc>
                <a:tc>
                  <a:txBody>
                    <a:bodyPr/>
                    <a:lstStyle/>
                    <a:p>
                      <a:pPr lvl="0">
                        <a:buNone/>
                      </a:pPr>
                      <a:r>
                        <a:rPr lang="en-US" sz="1200" b="0" i="0" u="none" strike="noStrike" noProof="0">
                          <a:latin typeface="Avenir Next LT Pro Light"/>
                        </a:rPr>
                        <a:t>One unit increase will decrease the odds of cancellation by 0.22 times (22%). By providing special services to the customers, will likely reduce the cancellation as customer relationship ranks highest in hospitality sector </a:t>
                      </a:r>
                      <a:endParaRPr lang="en-US" sz="1200"/>
                    </a:p>
                  </a:txBody>
                  <a:tcPr/>
                </a:tc>
                <a:extLst>
                  <a:ext uri="{0D108BD9-81ED-4DB2-BD59-A6C34878D82A}">
                    <a16:rowId xmlns:a16="http://schemas.microsoft.com/office/drawing/2014/main" val="3133304415"/>
                  </a:ext>
                </a:extLst>
              </a:tr>
              <a:tr h="551925">
                <a:tc>
                  <a:txBody>
                    <a:bodyPr/>
                    <a:lstStyle/>
                    <a:p>
                      <a:pPr lvl="0">
                        <a:buNone/>
                      </a:pPr>
                      <a:r>
                        <a:rPr lang="en-US" sz="1200" b="0" i="0" u="none" strike="noStrike" noProof="0"/>
                        <a:t>Lead time </a:t>
                      </a:r>
                      <a:endParaRPr lang="en-US" sz="1200"/>
                    </a:p>
                  </a:txBody>
                  <a:tcPr/>
                </a:tc>
                <a:tc>
                  <a:txBody>
                    <a:bodyPr/>
                    <a:lstStyle/>
                    <a:p>
                      <a:pPr lvl="0">
                        <a:buNone/>
                      </a:pPr>
                      <a:r>
                        <a:rPr lang="en-US" sz="1200" b="0" i="0" u="none" strike="noStrike" noProof="0"/>
                        <a:t>1.0159 </a:t>
                      </a:r>
                      <a:endParaRPr lang="en-US" sz="1200"/>
                    </a:p>
                  </a:txBody>
                  <a:tcPr/>
                </a:tc>
                <a:tc>
                  <a:txBody>
                    <a:bodyPr/>
                    <a:lstStyle/>
                    <a:p>
                      <a:pPr lvl="0">
                        <a:buNone/>
                      </a:pPr>
                      <a:r>
                        <a:rPr lang="en-US" sz="1200" b="0" i="0" u="none" strike="noStrike" noProof="0">
                          <a:solidFill>
                            <a:srgbClr val="000000"/>
                          </a:solidFill>
                          <a:latin typeface="Avenir Next LT Pro Light"/>
                        </a:rPr>
                        <a:t>0.0000</a:t>
                      </a:r>
                      <a:endParaRPr lang="en-US" sz="1200"/>
                    </a:p>
                  </a:txBody>
                  <a:tcPr/>
                </a:tc>
                <a:tc>
                  <a:txBody>
                    <a:bodyPr/>
                    <a:lstStyle/>
                    <a:p>
                      <a:pPr lvl="0">
                        <a:buNone/>
                      </a:pPr>
                      <a:r>
                        <a:rPr lang="en-US" sz="1200" b="0" i="0" u="none" strike="noStrike" noProof="0">
                          <a:latin typeface="Avenir Next LT Pro Light"/>
                        </a:rPr>
                        <a:t>One unit increase will increase the odds of cancellation by 1.01 times (1%). This implies as the lead time (between booking and arrival) increases, the chances of cancellation tend to increase </a:t>
                      </a:r>
                      <a:endParaRPr lang="en-US" sz="1200"/>
                    </a:p>
                  </a:txBody>
                  <a:tcPr/>
                </a:tc>
                <a:extLst>
                  <a:ext uri="{0D108BD9-81ED-4DB2-BD59-A6C34878D82A}">
                    <a16:rowId xmlns:a16="http://schemas.microsoft.com/office/drawing/2014/main" val="3101681220"/>
                  </a:ext>
                </a:extLst>
              </a:tr>
              <a:tr h="551925">
                <a:tc>
                  <a:txBody>
                    <a:bodyPr/>
                    <a:lstStyle/>
                    <a:p>
                      <a:pPr lvl="0">
                        <a:buNone/>
                      </a:pPr>
                      <a:r>
                        <a:rPr lang="en-US" sz="1200" b="0" i="0" u="none" strike="noStrike" noProof="0">
                          <a:latin typeface="Avenir Next LT Pro Light"/>
                        </a:rPr>
                        <a:t>Market segment Online</a:t>
                      </a:r>
                    </a:p>
                  </a:txBody>
                  <a:tcPr/>
                </a:tc>
                <a:tc>
                  <a:txBody>
                    <a:bodyPr/>
                    <a:lstStyle/>
                    <a:p>
                      <a:pPr lvl="0">
                        <a:buNone/>
                      </a:pPr>
                      <a:r>
                        <a:rPr lang="en-US" sz="1200" b="0" i="0" u="none" strike="noStrike" noProof="0">
                          <a:latin typeface="Avenir Next LT Pro Light"/>
                        </a:rPr>
                        <a:t>6.121</a:t>
                      </a:r>
                    </a:p>
                  </a:txBody>
                  <a:tcPr/>
                </a:tc>
                <a:tc>
                  <a:txBody>
                    <a:bodyPr/>
                    <a:lstStyle/>
                    <a:p>
                      <a:pPr lvl="0">
                        <a:buNone/>
                      </a:pPr>
                      <a:r>
                        <a:rPr lang="en-US" sz="1200"/>
                        <a:t>0.00000</a:t>
                      </a:r>
                    </a:p>
                  </a:txBody>
                  <a:tcPr/>
                </a:tc>
                <a:tc>
                  <a:txBody>
                    <a:bodyPr/>
                    <a:lstStyle/>
                    <a:p>
                      <a:pPr lvl="0">
                        <a:buNone/>
                      </a:pPr>
                      <a:r>
                        <a:rPr lang="en-US" sz="1200" b="0" i="0" u="none" strike="noStrike" noProof="0">
                          <a:solidFill>
                            <a:srgbClr val="000000"/>
                          </a:solidFill>
                        </a:rPr>
                        <a:t>One unit increase will increase the odds of cancellation by 6.121 times . Customers booking online are more likely to cancel as compared to offline customers due to more flexibility and easy </a:t>
                      </a:r>
                      <a:r>
                        <a:rPr lang="en-US" sz="1200" b="0" i="0" u="none" strike="noStrike" noProof="0" err="1">
                          <a:solidFill>
                            <a:srgbClr val="000000"/>
                          </a:solidFill>
                        </a:rPr>
                        <a:t>comparibility</a:t>
                      </a:r>
                      <a:r>
                        <a:rPr lang="en-US" sz="1200" b="0" i="0" u="none" strike="noStrike" noProof="0">
                          <a:solidFill>
                            <a:srgbClr val="000000"/>
                          </a:solidFill>
                        </a:rPr>
                        <a:t> between options available</a:t>
                      </a:r>
                    </a:p>
                  </a:txBody>
                  <a:tcPr/>
                </a:tc>
                <a:extLst>
                  <a:ext uri="{0D108BD9-81ED-4DB2-BD59-A6C34878D82A}">
                    <a16:rowId xmlns:a16="http://schemas.microsoft.com/office/drawing/2014/main" val="2698337432"/>
                  </a:ext>
                </a:extLst>
              </a:tr>
              <a:tr h="551925">
                <a:tc>
                  <a:txBody>
                    <a:bodyPr/>
                    <a:lstStyle/>
                    <a:p>
                      <a:pPr lvl="0">
                        <a:buNone/>
                      </a:pPr>
                      <a:r>
                        <a:rPr lang="en-US" sz="1200" b="0" i="0" u="none" strike="noStrike" noProof="0">
                          <a:latin typeface="Avenir Next LT Pro Light"/>
                        </a:rPr>
                        <a:t>Avg price per room </a:t>
                      </a:r>
                      <a:endParaRPr lang="en-US" sz="1200"/>
                    </a:p>
                  </a:txBody>
                  <a:tcPr/>
                </a:tc>
                <a:tc>
                  <a:txBody>
                    <a:bodyPr/>
                    <a:lstStyle/>
                    <a:p>
                      <a:pPr lvl="0">
                        <a:buNone/>
                      </a:pPr>
                      <a:r>
                        <a:rPr lang="en-US" sz="1200" b="0" i="0" u="none" strike="noStrike" noProof="0">
                          <a:latin typeface="Avenir Next LT Pro Light"/>
                        </a:rPr>
                        <a:t>1.0194 </a:t>
                      </a:r>
                      <a:endParaRPr lang="en-US" sz="1200"/>
                    </a:p>
                  </a:txBody>
                  <a:tcPr/>
                </a:tc>
                <a:tc>
                  <a:txBody>
                    <a:bodyPr/>
                    <a:lstStyle/>
                    <a:p>
                      <a:r>
                        <a:rPr lang="en-US" sz="1200"/>
                        <a:t>0.0000</a:t>
                      </a:r>
                    </a:p>
                  </a:txBody>
                  <a:tcPr/>
                </a:tc>
                <a:tc>
                  <a:txBody>
                    <a:bodyPr/>
                    <a:lstStyle/>
                    <a:p>
                      <a:pPr lvl="0">
                        <a:buNone/>
                      </a:pPr>
                      <a:r>
                        <a:rPr lang="en-US" sz="1200" b="0" i="0" u="none" strike="noStrike" noProof="0">
                          <a:latin typeface="Avenir Next LT Pro Light"/>
                        </a:rPr>
                        <a:t>One unit increase will increase the odds of cancellation by 1.01 times (1%). Price changes have impact on the cancellations, thereby if any competitor is offering more better, customers tend to cancel the booking </a:t>
                      </a:r>
                      <a:endParaRPr lang="en-US" sz="1200"/>
                    </a:p>
                  </a:txBody>
                  <a:tcPr/>
                </a:tc>
                <a:extLst>
                  <a:ext uri="{0D108BD9-81ED-4DB2-BD59-A6C34878D82A}">
                    <a16:rowId xmlns:a16="http://schemas.microsoft.com/office/drawing/2014/main" val="2159708007"/>
                  </a:ext>
                </a:extLst>
              </a:tr>
              <a:tr h="551925">
                <a:tc>
                  <a:txBody>
                    <a:bodyPr/>
                    <a:lstStyle/>
                    <a:p>
                      <a:r>
                        <a:rPr lang="en-US" sz="1200"/>
                        <a:t>More Previous cancellations</a:t>
                      </a:r>
                    </a:p>
                  </a:txBody>
                  <a:tcPr/>
                </a:tc>
                <a:tc>
                  <a:txBody>
                    <a:bodyPr/>
                    <a:lstStyle/>
                    <a:p>
                      <a:pPr lvl="0">
                        <a:buNone/>
                      </a:pPr>
                      <a:r>
                        <a:rPr lang="en-US" sz="1200" b="0" i="0" u="none" strike="noStrike" noProof="0">
                          <a:latin typeface="Avenir Next LT Pro Light"/>
                        </a:rPr>
                        <a:t>12.3591 </a:t>
                      </a:r>
                      <a:endParaRPr lang="en-US"/>
                    </a:p>
                  </a:txBody>
                  <a:tcPr/>
                </a:tc>
                <a:tc>
                  <a:txBody>
                    <a:bodyPr/>
                    <a:lstStyle/>
                    <a:p>
                      <a:r>
                        <a:rPr lang="en-US" sz="1200"/>
                        <a:t>0.0332</a:t>
                      </a:r>
                    </a:p>
                  </a:txBody>
                  <a:tcPr/>
                </a:tc>
                <a:tc>
                  <a:txBody>
                    <a:bodyPr/>
                    <a:lstStyle/>
                    <a:p>
                      <a:pPr lvl="0">
                        <a:buNone/>
                      </a:pPr>
                      <a:r>
                        <a:rPr lang="en-US" sz="1200" b="0" i="0" u="none" strike="noStrike" noProof="0">
                          <a:latin typeface="Avenir Next LT Pro Light"/>
                        </a:rPr>
                        <a:t>One unit increase will increase the odds of cancellation by 12.3591 times . Customers with history of previous cancellations, are more likely to cancel bookings as compared to less cancellations group</a:t>
                      </a:r>
                    </a:p>
                  </a:txBody>
                  <a:tcPr/>
                </a:tc>
                <a:extLst>
                  <a:ext uri="{0D108BD9-81ED-4DB2-BD59-A6C34878D82A}">
                    <a16:rowId xmlns:a16="http://schemas.microsoft.com/office/drawing/2014/main" val="2539851548"/>
                  </a:ext>
                </a:extLst>
              </a:tr>
            </a:tbl>
          </a:graphicData>
        </a:graphic>
      </p:graphicFrame>
    </p:spTree>
    <p:extLst>
      <p:ext uri="{BB962C8B-B14F-4D97-AF65-F5344CB8AC3E}">
        <p14:creationId xmlns:p14="http://schemas.microsoft.com/office/powerpoint/2010/main" val="22161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E1C88-627C-4655-A4FB-0BB02EDB078A}"/>
              </a:ext>
            </a:extLst>
          </p:cNvPr>
          <p:cNvSpPr>
            <a:spLocks noGrp="1"/>
          </p:cNvSpPr>
          <p:nvPr>
            <p:ph type="title"/>
          </p:nvPr>
        </p:nvSpPr>
        <p:spPr>
          <a:xfrm>
            <a:off x="838200" y="365125"/>
            <a:ext cx="10515600" cy="951021"/>
          </a:xfrm>
        </p:spPr>
        <p:txBody>
          <a:bodyPr>
            <a:normAutofit/>
          </a:bodyPr>
          <a:lstStyle/>
          <a:p>
            <a:pPr algn="l"/>
            <a:r>
              <a:rPr lang="en-US"/>
              <a:t>Strategies</a:t>
            </a:r>
          </a:p>
        </p:txBody>
      </p:sp>
      <p:sp>
        <p:nvSpPr>
          <p:cNvPr id="3" name="Subtitle 2">
            <a:extLst>
              <a:ext uri="{FF2B5EF4-FFF2-40B4-BE49-F238E27FC236}">
                <a16:creationId xmlns:a16="http://schemas.microsoft.com/office/drawing/2014/main" id="{6296F0F7-F496-D0E7-0825-D2CD566608F8}"/>
              </a:ext>
            </a:extLst>
          </p:cNvPr>
          <p:cNvSpPr txBox="1">
            <a:spLocks/>
          </p:cNvSpPr>
          <p:nvPr/>
        </p:nvSpPr>
        <p:spPr>
          <a:xfrm>
            <a:off x="704959" y="1639028"/>
            <a:ext cx="11214716" cy="4356709"/>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p>
          <a:p>
            <a:endParaRPr lang="en-US"/>
          </a:p>
          <a:p>
            <a:endParaRPr lang="en-US"/>
          </a:p>
          <a:p>
            <a:endParaRPr lang="en-US"/>
          </a:p>
          <a:p>
            <a:endParaRPr lang="en-US"/>
          </a:p>
        </p:txBody>
      </p:sp>
      <p:graphicFrame>
        <p:nvGraphicFramePr>
          <p:cNvPr id="7" name="Diagram 6">
            <a:extLst>
              <a:ext uri="{FF2B5EF4-FFF2-40B4-BE49-F238E27FC236}">
                <a16:creationId xmlns:a16="http://schemas.microsoft.com/office/drawing/2014/main" id="{19BDBAC5-00C5-49A5-C24C-5531942D0075}"/>
              </a:ext>
            </a:extLst>
          </p:cNvPr>
          <p:cNvGraphicFramePr/>
          <p:nvPr>
            <p:extLst>
              <p:ext uri="{D42A27DB-BD31-4B8C-83A1-F6EECF244321}">
                <p14:modId xmlns:p14="http://schemas.microsoft.com/office/powerpoint/2010/main" val="977090419"/>
              </p:ext>
            </p:extLst>
          </p:nvPr>
        </p:nvGraphicFramePr>
        <p:xfrm>
          <a:off x="701040" y="1459992"/>
          <a:ext cx="3938016" cy="39989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3" name="Content Placeholder 7">
            <a:extLst>
              <a:ext uri="{FF2B5EF4-FFF2-40B4-BE49-F238E27FC236}">
                <a16:creationId xmlns:a16="http://schemas.microsoft.com/office/drawing/2014/main" id="{D85BE4D7-EDDC-08F0-B6EE-7F9DB0D65E40}"/>
              </a:ext>
            </a:extLst>
          </p:cNvPr>
          <p:cNvGraphicFramePr>
            <a:graphicFrameLocks/>
          </p:cNvGraphicFramePr>
          <p:nvPr/>
        </p:nvGraphicFramePr>
        <p:xfrm>
          <a:off x="5317300" y="1542161"/>
          <a:ext cx="6123418" cy="3966644"/>
        </p:xfrm>
        <a:graphic>
          <a:graphicData uri="http://schemas.openxmlformats.org/drawingml/2006/table">
            <a:tbl>
              <a:tblPr firstRow="1" bandRow="1">
                <a:tableStyleId>{5C22544A-7EE6-4342-B048-85BDC9FD1C3A}</a:tableStyleId>
              </a:tblPr>
              <a:tblGrid>
                <a:gridCol w="1224684">
                  <a:extLst>
                    <a:ext uri="{9D8B030D-6E8A-4147-A177-3AD203B41FA5}">
                      <a16:colId xmlns:a16="http://schemas.microsoft.com/office/drawing/2014/main" val="326052566"/>
                    </a:ext>
                  </a:extLst>
                </a:gridCol>
                <a:gridCol w="1511955">
                  <a:extLst>
                    <a:ext uri="{9D8B030D-6E8A-4147-A177-3AD203B41FA5}">
                      <a16:colId xmlns:a16="http://schemas.microsoft.com/office/drawing/2014/main" val="2305664757"/>
                    </a:ext>
                  </a:extLst>
                </a:gridCol>
                <a:gridCol w="937411">
                  <a:extLst>
                    <a:ext uri="{9D8B030D-6E8A-4147-A177-3AD203B41FA5}">
                      <a16:colId xmlns:a16="http://schemas.microsoft.com/office/drawing/2014/main" val="506267115"/>
                    </a:ext>
                  </a:extLst>
                </a:gridCol>
                <a:gridCol w="1224684">
                  <a:extLst>
                    <a:ext uri="{9D8B030D-6E8A-4147-A177-3AD203B41FA5}">
                      <a16:colId xmlns:a16="http://schemas.microsoft.com/office/drawing/2014/main" val="171636554"/>
                    </a:ext>
                  </a:extLst>
                </a:gridCol>
                <a:gridCol w="1224684">
                  <a:extLst>
                    <a:ext uri="{9D8B030D-6E8A-4147-A177-3AD203B41FA5}">
                      <a16:colId xmlns:a16="http://schemas.microsoft.com/office/drawing/2014/main" val="1339179022"/>
                    </a:ext>
                  </a:extLst>
                </a:gridCol>
              </a:tblGrid>
              <a:tr h="763061">
                <a:tc>
                  <a:txBody>
                    <a:bodyPr/>
                    <a:lstStyle/>
                    <a:p>
                      <a:pPr lvl="0">
                        <a:buNone/>
                      </a:pPr>
                      <a:r>
                        <a:rPr lang="en-US"/>
                        <a:t>Scenario No.</a:t>
                      </a:r>
                    </a:p>
                  </a:txBody>
                  <a:tcPr/>
                </a:tc>
                <a:tc>
                  <a:txBody>
                    <a:bodyPr/>
                    <a:lstStyle/>
                    <a:p>
                      <a:pPr lvl="0">
                        <a:buNone/>
                      </a:pPr>
                      <a:r>
                        <a:rPr lang="en-US"/>
                        <a:t>Previous cancellation</a:t>
                      </a:r>
                    </a:p>
                  </a:txBody>
                  <a:tcPr/>
                </a:tc>
                <a:tc>
                  <a:txBody>
                    <a:bodyPr/>
                    <a:lstStyle/>
                    <a:p>
                      <a:pPr lvl="0">
                        <a:buNone/>
                      </a:pPr>
                      <a:r>
                        <a:rPr lang="en-US"/>
                        <a:t>Lead Time</a:t>
                      </a:r>
                    </a:p>
                  </a:txBody>
                  <a:tcPr/>
                </a:tc>
                <a:tc>
                  <a:txBody>
                    <a:bodyPr/>
                    <a:lstStyle/>
                    <a:p>
                      <a:pPr lvl="0">
                        <a:buNone/>
                      </a:pPr>
                      <a:r>
                        <a:rPr lang="en-US"/>
                        <a:t>Arrival Day</a:t>
                      </a:r>
                    </a:p>
                  </a:txBody>
                  <a:tcPr/>
                </a:tc>
                <a:tc>
                  <a:txBody>
                    <a:bodyPr/>
                    <a:lstStyle/>
                    <a:p>
                      <a:pPr lvl="0">
                        <a:buNone/>
                      </a:pPr>
                      <a:r>
                        <a:rPr lang="en-US"/>
                        <a:t>Cancellation charge</a:t>
                      </a:r>
                    </a:p>
                  </a:txBody>
                  <a:tcPr/>
                </a:tc>
                <a:extLst>
                  <a:ext uri="{0D108BD9-81ED-4DB2-BD59-A6C34878D82A}">
                    <a16:rowId xmlns:a16="http://schemas.microsoft.com/office/drawing/2014/main" val="3719368315"/>
                  </a:ext>
                </a:extLst>
              </a:tr>
              <a:tr h="763061">
                <a:tc>
                  <a:txBody>
                    <a:bodyPr/>
                    <a:lstStyle/>
                    <a:p>
                      <a:pPr lvl="0" algn="ctr">
                        <a:buNone/>
                      </a:pPr>
                      <a:r>
                        <a:rPr lang="en-US"/>
                        <a:t>1</a:t>
                      </a:r>
                    </a:p>
                  </a:txBody>
                  <a:tcPr anchor="ctr"/>
                </a:tc>
                <a:tc>
                  <a:txBody>
                    <a:bodyPr/>
                    <a:lstStyle/>
                    <a:p>
                      <a:pPr lvl="0" algn="ctr">
                        <a:buNone/>
                      </a:pPr>
                      <a:r>
                        <a:rPr lang="en-US"/>
                        <a:t>3</a:t>
                      </a:r>
                    </a:p>
                  </a:txBody>
                  <a:tcPr anchor="ctr"/>
                </a:tc>
                <a:tc>
                  <a:txBody>
                    <a:bodyPr/>
                    <a:lstStyle/>
                    <a:p>
                      <a:pPr lvl="0" algn="ctr">
                        <a:buNone/>
                      </a:pPr>
                      <a:r>
                        <a:rPr lang="en-US"/>
                        <a:t>7 days</a:t>
                      </a:r>
                    </a:p>
                  </a:txBody>
                  <a:tcPr anchor="ctr"/>
                </a:tc>
                <a:tc>
                  <a:txBody>
                    <a:bodyPr/>
                    <a:lstStyle/>
                    <a:p>
                      <a:pPr lvl="0" algn="ctr">
                        <a:buNone/>
                      </a:pPr>
                      <a:r>
                        <a:rPr lang="en-US"/>
                        <a:t>Friday</a:t>
                      </a:r>
                    </a:p>
                  </a:txBody>
                  <a:tcPr anchor="ctr"/>
                </a:tc>
                <a:tc>
                  <a:txBody>
                    <a:bodyPr/>
                    <a:lstStyle/>
                    <a:p>
                      <a:pPr lvl="0" algn="ctr">
                        <a:buNone/>
                      </a:pPr>
                      <a:r>
                        <a:rPr lang="en-US"/>
                        <a:t>1x</a:t>
                      </a:r>
                    </a:p>
                  </a:txBody>
                  <a:tcPr anchor="ctr"/>
                </a:tc>
                <a:extLst>
                  <a:ext uri="{0D108BD9-81ED-4DB2-BD59-A6C34878D82A}">
                    <a16:rowId xmlns:a16="http://schemas.microsoft.com/office/drawing/2014/main" val="2734286049"/>
                  </a:ext>
                </a:extLst>
              </a:tr>
              <a:tr h="763061">
                <a:tc>
                  <a:txBody>
                    <a:bodyPr/>
                    <a:lstStyle/>
                    <a:p>
                      <a:pPr lvl="0" algn="ctr">
                        <a:buNone/>
                      </a:pPr>
                      <a:r>
                        <a:rPr lang="en-US"/>
                        <a:t>2</a:t>
                      </a:r>
                    </a:p>
                  </a:txBody>
                  <a:tcPr anchor="ctr"/>
                </a:tc>
                <a:tc>
                  <a:txBody>
                    <a:bodyPr/>
                    <a:lstStyle/>
                    <a:p>
                      <a:pPr lvl="0" algn="ctr">
                        <a:buNone/>
                      </a:pPr>
                      <a:r>
                        <a:rPr lang="en-US"/>
                        <a:t>4</a:t>
                      </a:r>
                    </a:p>
                  </a:txBody>
                  <a:tcPr anchor="ctr"/>
                </a:tc>
                <a:tc>
                  <a:txBody>
                    <a:bodyPr/>
                    <a:lstStyle/>
                    <a:p>
                      <a:pPr lvl="0" algn="ctr">
                        <a:buNone/>
                      </a:pPr>
                      <a:r>
                        <a:rPr lang="en-US"/>
                        <a:t>15 days</a:t>
                      </a:r>
                    </a:p>
                  </a:txBody>
                  <a:tcPr anchor="ctr"/>
                </a:tc>
                <a:tc>
                  <a:txBody>
                    <a:bodyPr/>
                    <a:lstStyle/>
                    <a:p>
                      <a:pPr lvl="0" algn="ctr">
                        <a:buNone/>
                      </a:pPr>
                      <a:r>
                        <a:rPr lang="en-US"/>
                        <a:t>Friday</a:t>
                      </a:r>
                    </a:p>
                  </a:txBody>
                  <a:tcPr anchor="ctr"/>
                </a:tc>
                <a:tc>
                  <a:txBody>
                    <a:bodyPr/>
                    <a:lstStyle/>
                    <a:p>
                      <a:pPr lvl="0" algn="ctr">
                        <a:buNone/>
                      </a:pPr>
                      <a:r>
                        <a:rPr lang="en-US"/>
                        <a:t>1.5x</a:t>
                      </a:r>
                    </a:p>
                  </a:txBody>
                  <a:tcPr anchor="ctr"/>
                </a:tc>
                <a:extLst>
                  <a:ext uri="{0D108BD9-81ED-4DB2-BD59-A6C34878D82A}">
                    <a16:rowId xmlns:a16="http://schemas.microsoft.com/office/drawing/2014/main" val="331759755"/>
                  </a:ext>
                </a:extLst>
              </a:tr>
              <a:tr h="763061">
                <a:tc>
                  <a:txBody>
                    <a:bodyPr/>
                    <a:lstStyle/>
                    <a:p>
                      <a:pPr lvl="0" algn="ctr">
                        <a:buNone/>
                      </a:pPr>
                      <a:r>
                        <a:rPr lang="en-US"/>
                        <a:t>3</a:t>
                      </a:r>
                    </a:p>
                  </a:txBody>
                  <a:tcPr anchor="ctr"/>
                </a:tc>
                <a:tc>
                  <a:txBody>
                    <a:bodyPr/>
                    <a:lstStyle/>
                    <a:p>
                      <a:pPr lvl="0" algn="ctr">
                        <a:buNone/>
                      </a:pPr>
                      <a:r>
                        <a:rPr lang="en-US"/>
                        <a:t>0</a:t>
                      </a:r>
                    </a:p>
                  </a:txBody>
                  <a:tcPr anchor="ctr"/>
                </a:tc>
                <a:tc>
                  <a:txBody>
                    <a:bodyPr/>
                    <a:lstStyle/>
                    <a:p>
                      <a:pPr lvl="0" algn="ctr">
                        <a:buNone/>
                      </a:pPr>
                      <a:r>
                        <a:rPr lang="en-US"/>
                        <a:t>30 days</a:t>
                      </a:r>
                    </a:p>
                  </a:txBody>
                  <a:tcPr anchor="ctr"/>
                </a:tc>
                <a:tc>
                  <a:txBody>
                    <a:bodyPr/>
                    <a:lstStyle/>
                    <a:p>
                      <a:pPr lvl="0" algn="ctr">
                        <a:buNone/>
                      </a:pPr>
                      <a:r>
                        <a:rPr lang="en-US"/>
                        <a:t>Wed</a:t>
                      </a:r>
                    </a:p>
                  </a:txBody>
                  <a:tcPr anchor="ctr"/>
                </a:tc>
                <a:tc>
                  <a:txBody>
                    <a:bodyPr/>
                    <a:lstStyle/>
                    <a:p>
                      <a:pPr lvl="0" algn="ctr">
                        <a:buNone/>
                      </a:pPr>
                      <a:r>
                        <a:rPr lang="en-US"/>
                        <a:t>1x</a:t>
                      </a:r>
                    </a:p>
                  </a:txBody>
                  <a:tcPr anchor="ctr"/>
                </a:tc>
                <a:extLst>
                  <a:ext uri="{0D108BD9-81ED-4DB2-BD59-A6C34878D82A}">
                    <a16:rowId xmlns:a16="http://schemas.microsoft.com/office/drawing/2014/main" val="593154051"/>
                  </a:ext>
                </a:extLst>
              </a:tr>
              <a:tr h="763061">
                <a:tc>
                  <a:txBody>
                    <a:bodyPr/>
                    <a:lstStyle/>
                    <a:p>
                      <a:pPr lvl="0" algn="ctr">
                        <a:buNone/>
                      </a:pPr>
                      <a:r>
                        <a:rPr lang="en-US"/>
                        <a:t>4</a:t>
                      </a:r>
                    </a:p>
                  </a:txBody>
                  <a:tcPr anchor="ctr"/>
                </a:tc>
                <a:tc>
                  <a:txBody>
                    <a:bodyPr/>
                    <a:lstStyle/>
                    <a:p>
                      <a:pPr lvl="0" algn="ctr">
                        <a:buNone/>
                      </a:pPr>
                      <a:r>
                        <a:rPr lang="en-US"/>
                        <a:t>2</a:t>
                      </a:r>
                    </a:p>
                  </a:txBody>
                  <a:tcPr anchor="ctr"/>
                </a:tc>
                <a:tc>
                  <a:txBody>
                    <a:bodyPr/>
                    <a:lstStyle/>
                    <a:p>
                      <a:pPr lvl="0" algn="ctr">
                        <a:buNone/>
                      </a:pPr>
                      <a:r>
                        <a:rPr lang="en-US"/>
                        <a:t>30 days</a:t>
                      </a:r>
                    </a:p>
                  </a:txBody>
                  <a:tcPr anchor="ctr"/>
                </a:tc>
                <a:tc>
                  <a:txBody>
                    <a:bodyPr/>
                    <a:lstStyle/>
                    <a:p>
                      <a:pPr lvl="0" algn="ctr">
                        <a:buNone/>
                      </a:pPr>
                      <a:r>
                        <a:rPr lang="en-US"/>
                        <a:t>Wed</a:t>
                      </a:r>
                    </a:p>
                  </a:txBody>
                  <a:tcPr anchor="ctr"/>
                </a:tc>
                <a:tc>
                  <a:txBody>
                    <a:bodyPr/>
                    <a:lstStyle/>
                    <a:p>
                      <a:pPr lvl="0" algn="ctr">
                        <a:buNone/>
                      </a:pPr>
                      <a:r>
                        <a:rPr lang="en-US"/>
                        <a:t>2x</a:t>
                      </a:r>
                    </a:p>
                  </a:txBody>
                  <a:tcPr anchor="ctr"/>
                </a:tc>
                <a:extLst>
                  <a:ext uri="{0D108BD9-81ED-4DB2-BD59-A6C34878D82A}">
                    <a16:rowId xmlns:a16="http://schemas.microsoft.com/office/drawing/2014/main" val="719434447"/>
                  </a:ext>
                </a:extLst>
              </a:tr>
            </a:tbl>
          </a:graphicData>
        </a:graphic>
      </p:graphicFrame>
    </p:spTree>
    <p:extLst>
      <p:ext uri="{BB962C8B-B14F-4D97-AF65-F5344CB8AC3E}">
        <p14:creationId xmlns:p14="http://schemas.microsoft.com/office/powerpoint/2010/main" val="3882124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E1C88-627C-4655-A4FB-0BB02EDB078A}"/>
              </a:ext>
            </a:extLst>
          </p:cNvPr>
          <p:cNvSpPr>
            <a:spLocks noGrp="1"/>
          </p:cNvSpPr>
          <p:nvPr>
            <p:ph type="title"/>
          </p:nvPr>
        </p:nvSpPr>
        <p:spPr>
          <a:xfrm>
            <a:off x="838200" y="365125"/>
            <a:ext cx="10515600" cy="1128007"/>
          </a:xfrm>
        </p:spPr>
        <p:txBody>
          <a:bodyPr>
            <a:normAutofit/>
          </a:bodyPr>
          <a:lstStyle/>
          <a:p>
            <a:pPr algn="l"/>
            <a:r>
              <a:rPr lang="en-US">
                <a:ea typeface="+mj-lt"/>
                <a:cs typeface="+mj-lt"/>
              </a:rPr>
              <a:t>Strategies</a:t>
            </a:r>
            <a:endParaRPr lang="en-US">
              <a:cs typeface="Posterama"/>
            </a:endParaRPr>
          </a:p>
        </p:txBody>
      </p:sp>
      <p:sp>
        <p:nvSpPr>
          <p:cNvPr id="3" name="Subtitle 2">
            <a:extLst>
              <a:ext uri="{FF2B5EF4-FFF2-40B4-BE49-F238E27FC236}">
                <a16:creationId xmlns:a16="http://schemas.microsoft.com/office/drawing/2014/main" id="{6296F0F7-F496-D0E7-0825-D2CD566608F8}"/>
              </a:ext>
            </a:extLst>
          </p:cNvPr>
          <p:cNvSpPr txBox="1">
            <a:spLocks/>
          </p:cNvSpPr>
          <p:nvPr/>
        </p:nvSpPr>
        <p:spPr>
          <a:xfrm>
            <a:off x="1244050" y="1711854"/>
            <a:ext cx="9690717" cy="384010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1"/>
          </a:p>
          <a:p>
            <a:pPr marL="285750" indent="-285750">
              <a:buFont typeface="Calibri" panose="020B0604020202020204" pitchFamily="34" charset="0"/>
              <a:buChar char="-"/>
            </a:pPr>
            <a:endParaRPr lang="en-US"/>
          </a:p>
          <a:p>
            <a:pPr marL="285750" indent="-285750">
              <a:buFont typeface="Calibri" panose="020B0604020202020204" pitchFamily="34" charset="0"/>
              <a:buChar char="-"/>
            </a:pPr>
            <a:endParaRPr lang="en-US"/>
          </a:p>
          <a:p>
            <a:endParaRPr lang="en-US"/>
          </a:p>
          <a:p>
            <a:endParaRPr lang="en-US"/>
          </a:p>
        </p:txBody>
      </p:sp>
      <p:graphicFrame>
        <p:nvGraphicFramePr>
          <p:cNvPr id="86" name="Diagram 85">
            <a:extLst>
              <a:ext uri="{FF2B5EF4-FFF2-40B4-BE49-F238E27FC236}">
                <a16:creationId xmlns:a16="http://schemas.microsoft.com/office/drawing/2014/main" id="{D13484C1-E235-63E2-DC72-D8BE53F62174}"/>
              </a:ext>
            </a:extLst>
          </p:cNvPr>
          <p:cNvGraphicFramePr/>
          <p:nvPr>
            <p:extLst>
              <p:ext uri="{D42A27DB-BD31-4B8C-83A1-F6EECF244321}">
                <p14:modId xmlns:p14="http://schemas.microsoft.com/office/powerpoint/2010/main" val="2628582339"/>
              </p:ext>
            </p:extLst>
          </p:nvPr>
        </p:nvGraphicFramePr>
        <p:xfrm>
          <a:off x="837214" y="1492654"/>
          <a:ext cx="10589770" cy="43884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47770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2">
      <a:dk1>
        <a:sysClr val="windowText" lastClr="000000"/>
      </a:dk1>
      <a:lt1>
        <a:sysClr val="window" lastClr="FFFFFF"/>
      </a:lt1>
      <a:dk2>
        <a:srgbClr val="0A4054"/>
      </a:dk2>
      <a:lt2>
        <a:srgbClr val="E7E6E6"/>
      </a:lt2>
      <a:accent1>
        <a:srgbClr val="66B2B0"/>
      </a:accent1>
      <a:accent2>
        <a:srgbClr val="F2494C"/>
      </a:accent2>
      <a:accent3>
        <a:srgbClr val="F39891"/>
      </a:accent3>
      <a:accent4>
        <a:srgbClr val="F9AA19"/>
      </a:accent4>
      <a:accent5>
        <a:srgbClr val="F9C996"/>
      </a:accent5>
      <a:accent6>
        <a:srgbClr val="9FD1D0"/>
      </a:accent6>
      <a:hlink>
        <a:srgbClr val="0563C1"/>
      </a:hlink>
      <a:folHlink>
        <a:srgbClr val="954F72"/>
      </a:folHlink>
    </a:clrScheme>
    <a:fontScheme name="Custom 117">
      <a:majorFont>
        <a:latin typeface="Posterama"/>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chitecture pitch deck" id="{91065DBE-5BFE-48A8-88E3-00BE4E05E4F1}" vid="{764D0EE5-1C2F-4307-AB39-AA19F2A697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F948F6BEB7B341B96571AE139442B0" ma:contentTypeVersion="11" ma:contentTypeDescription="Create a new document." ma:contentTypeScope="" ma:versionID="299344638bceaad08a2e5868846b90ca">
  <xsd:schema xmlns:xsd="http://www.w3.org/2001/XMLSchema" xmlns:xs="http://www.w3.org/2001/XMLSchema" xmlns:p="http://schemas.microsoft.com/office/2006/metadata/properties" xmlns:ns3="b742ce95-2faa-4a22-82e8-96e19b9cf4ea" xmlns:ns4="2b33b4fd-0a91-449d-bd98-b20828b1ccf0" targetNamespace="http://schemas.microsoft.com/office/2006/metadata/properties" ma:root="true" ma:fieldsID="eb18e3da18cf924899601fc8f1318cd3" ns3:_="" ns4:_="">
    <xsd:import namespace="b742ce95-2faa-4a22-82e8-96e19b9cf4ea"/>
    <xsd:import namespace="2b33b4fd-0a91-449d-bd98-b20828b1ccf0"/>
    <xsd:element name="properties">
      <xsd:complexType>
        <xsd:sequence>
          <xsd:element name="documentManagement">
            <xsd:complexType>
              <xsd:all>
                <xsd:element ref="ns3:MediaServiceMetadata" minOccurs="0"/>
                <xsd:element ref="ns3:MediaServiceFastMetadata" minOccurs="0"/>
                <xsd:element ref="ns3:_activity"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42ce95-2faa-4a22-82e8-96e19b9cf4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0" nillable="true" ma:displayName="_activity" ma:hidden="true" ma:internalName="_activity">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33b4fd-0a91-449d-bd98-b20828b1ccf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b742ce95-2faa-4a22-82e8-96e19b9cf4ea" xsi:nil="true"/>
  </documentManagement>
</p:properties>
</file>

<file path=customXml/itemProps1.xml><?xml version="1.0" encoding="utf-8"?>
<ds:datastoreItem xmlns:ds="http://schemas.openxmlformats.org/officeDocument/2006/customXml" ds:itemID="{799972D5-0616-492C-93CD-BB1ADFB67788}">
  <ds:schemaRefs>
    <ds:schemaRef ds:uri="http://schemas.microsoft.com/sharepoint/v3/contenttype/forms"/>
  </ds:schemaRefs>
</ds:datastoreItem>
</file>

<file path=customXml/itemProps2.xml><?xml version="1.0" encoding="utf-8"?>
<ds:datastoreItem xmlns:ds="http://schemas.openxmlformats.org/officeDocument/2006/customXml" ds:itemID="{380957B3-FC74-4C53-81E5-32557588C29C}">
  <ds:schemaRefs>
    <ds:schemaRef ds:uri="2b33b4fd-0a91-449d-bd98-b20828b1ccf0"/>
    <ds:schemaRef ds:uri="b742ce95-2faa-4a22-82e8-96e19b9cf4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F64B861-6024-48D7-A751-9C7ADB614CF2}">
  <ds:schemaRefs>
    <ds:schemaRef ds:uri="http://schemas.microsoft.com/office/2006/documentManagement/types"/>
    <ds:schemaRef ds:uri="http://purl.org/dc/elements/1.1/"/>
    <ds:schemaRef ds:uri="http://schemas.microsoft.com/office/2006/metadata/properties"/>
    <ds:schemaRef ds:uri="http://purl.org/dc/dcmitype/"/>
    <ds:schemaRef ds:uri="2b33b4fd-0a91-449d-bd98-b20828b1ccf0"/>
    <ds:schemaRef ds:uri="http://schemas.openxmlformats.org/package/2006/metadata/core-properties"/>
    <ds:schemaRef ds:uri="b742ce95-2faa-4a22-82e8-96e19b9cf4ea"/>
    <ds:schemaRef ds:uri="http://schemas.microsoft.com/office/infopath/2007/PartnerControls"/>
    <ds:schemaRef ds:uri="http://www.w3.org/XML/1998/namespace"/>
    <ds:schemaRef ds:uri="http://purl.org/dc/terms/"/>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ACC29EA3-E7A1-4304-B489-9116A2419A9D}tf16411248_win32</Template>
  <TotalTime>1</TotalTime>
  <Words>1179</Words>
  <Application>Microsoft Macintosh PowerPoint</Application>
  <PresentationFormat>Widescreen</PresentationFormat>
  <Paragraphs>159</Paragraphs>
  <Slides>11</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Avenir Next LT Pro Light</vt:lpstr>
      <vt:lpstr>Calibri</vt:lpstr>
      <vt:lpstr>Courier New</vt:lpstr>
      <vt:lpstr>Posterama</vt:lpstr>
      <vt:lpstr>Söhne</vt:lpstr>
      <vt:lpstr>Wingdings</vt:lpstr>
      <vt:lpstr>Office Theme</vt:lpstr>
      <vt:lpstr>think-cell Slide</vt:lpstr>
      <vt:lpstr>HOTEL  BOOKING  cancellation Prediction</vt:lpstr>
      <vt:lpstr>PROBLEM STATEMENT</vt:lpstr>
      <vt:lpstr>DataSEt</vt:lpstr>
      <vt:lpstr>Exploratory DAta analyses</vt:lpstr>
      <vt:lpstr>Exploratory DAta analyses</vt:lpstr>
      <vt:lpstr>Analyses</vt:lpstr>
      <vt:lpstr>Result &amp; Insights</vt:lpstr>
      <vt:lpstr>Strategies</vt:lpstr>
      <vt:lpstr>Strategies</vt:lpstr>
      <vt:lpstr>Conclusion</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TEL RESERVATIONS cancellation</dc:title>
  <dc:creator>Shah, Parth Hitesh</dc:creator>
  <cp:lastModifiedBy>Tumu, Vamsi Sai</cp:lastModifiedBy>
  <cp:revision>2</cp:revision>
  <dcterms:created xsi:type="dcterms:W3CDTF">2023-11-28T05:25:09Z</dcterms:created>
  <dcterms:modified xsi:type="dcterms:W3CDTF">2023-12-10T15:1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F948F6BEB7B341B96571AE139442B0</vt:lpwstr>
  </property>
  <property fmtid="{D5CDD505-2E9C-101B-9397-08002B2CF9AE}" pid="3" name="MediaServiceImageTags">
    <vt:lpwstr/>
  </property>
</Properties>
</file>